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wmf" ContentType="image/x-wmf"/>
  <Default Extension="xml" ContentType="application/xml"/>
  <Default Extension="wdp" ContentType="image/vnd.ms-photo"/>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Masters/slideMaster1.xml" ContentType="application/vnd.openxmlformats-officedocument.presentationml.slideMaster+xml"/>
  <Override PartName="/ppt/notesSlides/notesSlide17.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notesSlides/notesSlide22.xml" ContentType="application/vnd.openxmlformats-officedocument.presentationml.notesSlide+xml"/>
  <Override PartName="/ppt/notesSlides/notesSlide25.xml" ContentType="application/vnd.openxmlformats-officedocument.presentationml.notesSlide+xml"/>
  <Override PartName="/ppt/notesSlides/notesSlide36.xml" ContentType="application/vnd.openxmlformats-officedocument.presentationml.notesSlide+xml"/>
  <Override PartName="/ppt/notesSlides/notesSlide35.xml" ContentType="application/vnd.openxmlformats-officedocument.presentationml.notesSlide+xml"/>
  <Override PartName="/ppt/notesSlides/notesSlide34.xml" ContentType="application/vnd.openxmlformats-officedocument.presentationml.notesSlide+xml"/>
  <Override PartName="/ppt/notesSlides/notesSlide33.xml" ContentType="application/vnd.openxmlformats-officedocument.presentationml.notesSlide+xml"/>
  <Override PartName="/ppt/notesSlides/notesSlide4.xml" ContentType="application/vnd.openxmlformats-officedocument.presentationml.notesSlide+xml"/>
  <Override PartName="/ppt/notesSlides/notesSlide32.xml" ContentType="application/vnd.openxmlformats-officedocument.presentationml.notesSlide+xml"/>
  <Override PartName="/ppt/notesSlides/notesSlide31.xml" ContentType="application/vnd.openxmlformats-officedocument.presentationml.notesSlide+xml"/>
  <Override PartName="/ppt/notesSlides/notesSlide6.xml" ContentType="application/vnd.openxmlformats-officedocument.presentationml.notesSlide+xml"/>
  <Override PartName="/ppt/notesSlides/notesSlide30.xml" ContentType="application/vnd.openxmlformats-officedocument.presentationml.notesSlide+xml"/>
  <Override PartName="/ppt/notesSlides/notesSlide29.xml" ContentType="application/vnd.openxmlformats-officedocument.presentationml.notesSlide+xml"/>
  <Override PartName="/ppt/notesSlides/notesSlide7.xml" ContentType="application/vnd.openxmlformats-officedocument.presentationml.notesSlide+xml"/>
  <Override PartName="/ppt/notesSlides/notesSlide3.xml" ContentType="application/vnd.openxmlformats-officedocument.presentationml.notesSlide+xml"/>
  <Override PartName="/ppt/notesSlides/notesSlide19.xml" ContentType="application/vnd.openxmlformats-officedocument.presentationml.notesSlide+xml"/>
  <Override PartName="/ppt/notesSlides/notesSlide8.xml" ContentType="application/vnd.openxmlformats-officedocument.presentationml.notesSlide+xml"/>
  <Override PartName="/ppt/notesSlides/notesSlide2.xml" ContentType="application/vnd.openxmlformats-officedocument.presentationml.notesSlide+xml"/>
  <Override PartName="/ppt/notesSlides/notesSlide9.xml" ContentType="application/vnd.openxmlformats-officedocument.presentationml.notesSlide+xml"/>
  <Override PartName="/ppt/notesSlides/notesSlide20.xml" ContentType="application/vnd.openxmlformats-officedocument.presentationml.notesSlide+xml"/>
  <Override PartName="/ppt/slideLayouts/slideLayout24.xml" ContentType="application/vnd.openxmlformats-officedocument.presentationml.slideLayout+xml"/>
  <Override PartName="/ppt/notesSlides/notesSlide18.xml" ContentType="application/vnd.openxmlformats-officedocument.presentationml.notesSlide+xml"/>
  <Override PartName="/ppt/notesSlides/notesSlide1.xml" ContentType="application/vnd.openxmlformats-officedocument.presentationml.notesSlide+xml"/>
  <Override PartName="/ppt/notesSlides/notesSlide44.xml" ContentType="application/vnd.openxmlformats-officedocument.presentationml.notesSlide+xml"/>
  <Override PartName="/ppt/notesSlides/notesSlide43.xml" ContentType="application/vnd.openxmlformats-officedocument.presentationml.notesSlide+xml"/>
  <Override PartName="/ppt/notesSlides/notesSlide42.xml" ContentType="application/vnd.openxmlformats-officedocument.presentationml.notesSlide+xml"/>
  <Override PartName="/ppt/notesSlides/notesSlide41.xml" ContentType="application/vnd.openxmlformats-officedocument.presentationml.notesSlide+xml"/>
  <Override PartName="/ppt/notesSlides/notesSlide10.xml" ContentType="application/vnd.openxmlformats-officedocument.presentationml.notesSlide+xml"/>
  <Override PartName="/ppt/notesSlides/notesSlide40.xml" ContentType="application/vnd.openxmlformats-officedocument.presentationml.notesSlide+xml"/>
  <Override PartName="/ppt/notesSlides/notesSlide39.xml" ContentType="application/vnd.openxmlformats-officedocument.presentationml.notesSlide+xml"/>
  <Override PartName="/ppt/notesSlides/notesSlide38.xml" ContentType="application/vnd.openxmlformats-officedocument.presentationml.notesSlide+xml"/>
  <Override PartName="/ppt/notesSlides/notesSlide11.xml" ContentType="application/vnd.openxmlformats-officedocument.presentationml.notesSlide+xml"/>
  <Override PartName="/ppt/notesSlides/notesSlide37.xml" ContentType="application/vnd.openxmlformats-officedocument.presentationml.notesSlide+xml"/>
  <Override PartName="/ppt/notesSlides/notesSlide24.xml" ContentType="application/vnd.openxmlformats-officedocument.presentationml.notesSlide+xml"/>
  <Override PartName="/ppt/notesSlides/notesSlide28.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21.xml" ContentType="application/vnd.openxmlformats-officedocument.presentationml.notesSlide+xml"/>
  <Override PartName="/ppt/notesSlides/notesSlide27.xml" ContentType="application/vnd.openxmlformats-officedocument.presentationml.notesSlide+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23.xml" ContentType="application/vnd.openxmlformats-officedocument.presentationml.notesSlide+xml"/>
  <Override PartName="/ppt/notesSlides/notesSlide16.xml" ContentType="application/vnd.openxmlformats-officedocument.presentationml.notesSlide+xml"/>
  <Override PartName="/ppt/notesSlides/notesSlide5.xml" ContentType="application/vnd.openxmlformats-officedocument.presentationml.notesSlide+xml"/>
  <Override PartName="/ppt/theme/theme2.xml" ContentType="application/vnd.openxmlformats-officedocument.theme+xml"/>
  <Override PartName="/ppt/theme/theme3.xml" ContentType="application/vnd.openxmlformats-officedocument.theme+xml"/>
  <Override PartName="/ppt/charts/chart4.xml" ContentType="application/vnd.openxmlformats-officedocument.drawingml.chart+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139.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121.xml" ContentType="application/vnd.openxmlformats-officedocument.presentationml.tags+xml"/>
  <Override PartName="/ppt/tags/tag190.xml" ContentType="application/vnd.openxmlformats-officedocument.presentationml.tags+xml"/>
  <Override PartName="/ppt/tags/tag130.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120.xml" ContentType="application/vnd.openxmlformats-officedocument.presentationml.tags+xml"/>
  <Override PartName="/ppt/tags/tag133.xml" ContentType="application/vnd.openxmlformats-officedocument.presentationml.tags+xml"/>
  <Override PartName="/ppt/tags/tag140.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119.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118.xml" ContentType="application/vnd.openxmlformats-officedocument.presentationml.tags+xml"/>
  <Override PartName="/ppt/tags/tag1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117.xml" ContentType="application/vnd.openxmlformats-officedocument.presentationml.tags+xml"/>
  <Override PartName="/ppt/tags/tag116.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138.xml" ContentType="application/vnd.openxmlformats-officedocument.presentationml.tags+xml"/>
  <Override PartName="/ppt/tags/tag145.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2.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28.xml" ContentType="application/vnd.openxmlformats-officedocument.presentationml.tags+xml"/>
  <Override PartName="/ppt/tags/tag151.xml" ContentType="application/vnd.openxmlformats-officedocument.presentationml.tags+xml"/>
  <Override PartName="/ppt/tags/tag27.xml" ContentType="application/vnd.openxmlformats-officedocument.presentationml.tags+xml"/>
  <Override PartName="/ppt/tags/tag193.xml" ContentType="application/vnd.openxmlformats-officedocument.presentationml.tags+xml"/>
  <Override PartName="/ppt/tags/tag26.xml" ContentType="application/vnd.openxmlformats-officedocument.presentationml.tags+xml"/>
  <Override PartName="/ppt/tags/tag194.xml" ContentType="application/vnd.openxmlformats-officedocument.presentationml.tags+xml"/>
  <Override PartName="/ppt/tags/tag75.xml" ContentType="application/vnd.openxmlformats-officedocument.presentationml.tags+xml"/>
  <Override PartName="/ppt/tags/tag25.xml" ContentType="application/vnd.openxmlformats-officedocument.presentationml.tags+xml"/>
  <Override PartName="/ppt/tags/tag152.xml" ContentType="application/vnd.openxmlformats-officedocument.presentationml.tags+xml"/>
  <Override PartName="/ppt/tags/tag24.xml" ContentType="application/vnd.openxmlformats-officedocument.presentationml.tags+xml"/>
  <Override PartName="/ppt/tags/tag195.xml" ContentType="application/vnd.openxmlformats-officedocument.presentationml.tags+xml"/>
  <Override PartName="/ppt/tags/tag23.xml" ContentType="application/vnd.openxmlformats-officedocument.presentationml.tags+xml"/>
  <Override PartName="/ppt/tags/tag196.xml" ContentType="application/vnd.openxmlformats-officedocument.presentationml.tags+xml"/>
  <Override PartName="/ppt/tags/tag22.xml" ContentType="application/vnd.openxmlformats-officedocument.presentationml.tags+xml"/>
  <Override PartName="/ppt/tags/tag153.xml" ContentType="application/vnd.openxmlformats-officedocument.presentationml.tags+xml"/>
  <Override PartName="/ppt/tags/tag21.xml" ContentType="application/vnd.openxmlformats-officedocument.presentationml.tags+xml"/>
  <Override PartName="/ppt/tags/tag132.xml" ContentType="application/vnd.openxmlformats-officedocument.presentationml.tags+xml"/>
  <Override PartName="/ppt/tags/tag20.xml" ContentType="application/vnd.openxmlformats-officedocument.presentationml.tags+xml"/>
  <Override PartName="/ppt/tags/tag197.xml" ContentType="application/vnd.openxmlformats-officedocument.presentationml.tags+xml"/>
  <Override PartName="/ppt/tags/tag19.xml" ContentType="application/vnd.openxmlformats-officedocument.presentationml.tags+xml"/>
  <Override PartName="/ppt/tags/tag136.xml" ContentType="application/vnd.openxmlformats-officedocument.presentationml.tags+xml"/>
  <Override PartName="/ppt/tags/tag18.xml" ContentType="application/vnd.openxmlformats-officedocument.presentationml.tags+xml"/>
  <Override PartName="/ppt/tags/tag129.xml" ContentType="application/vnd.openxmlformats-officedocument.presentationml.tags+xml"/>
  <Override PartName="/ppt/tags/tag17.xml" ContentType="application/vnd.openxmlformats-officedocument.presentationml.tags+xml"/>
  <Override PartName="/ppt/tags/tag141.xml" ContentType="application/vnd.openxmlformats-officedocument.presentationml.tags+xml"/>
  <Override PartName="/ppt/tags/tag16.xml" ContentType="application/vnd.openxmlformats-officedocument.presentationml.tags+xml"/>
  <Override PartName="/ppt/tags/tag142.xml" ContentType="application/vnd.openxmlformats-officedocument.presentationml.tags+xml"/>
  <Override PartName="/ppt/tags/tag15.xml" ContentType="application/vnd.openxmlformats-officedocument.presentationml.tags+xml"/>
  <Override PartName="/ppt/tags/tag134.xml" ContentType="application/vnd.openxmlformats-officedocument.presentationml.tags+xml"/>
  <Override PartName="/ppt/tags/tag14.xml" ContentType="application/vnd.openxmlformats-officedocument.presentationml.tags+xml"/>
  <Override PartName="/ppt/tags/tag198.xml" ContentType="application/vnd.openxmlformats-officedocument.presentationml.tags+xml"/>
  <Override PartName="/ppt/tags/tag13.xml" ContentType="application/vnd.openxmlformats-officedocument.presentationml.tags+xml"/>
  <Override PartName="/ppt/tags/tag199.xml" ContentType="application/vnd.openxmlformats-officedocument.presentationml.tags+xml"/>
  <Override PartName="/ppt/tags/tag12.xml" ContentType="application/vnd.openxmlformats-officedocument.presentationml.tags+xml"/>
  <Override PartName="/ppt/tags/tag128.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11.xml" ContentType="application/vnd.openxmlformats-officedocument.presentationml.tags+xml"/>
  <Override PartName="/ppt/tags/tag127.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0.xml" ContentType="application/vnd.openxmlformats-officedocument.presentationml.tags+xml"/>
  <Override PartName="/ppt/tags/tag160.xml" ContentType="application/vnd.openxmlformats-officedocument.presentationml.tags+xml"/>
  <Override PartName="/ppt/tags/tag9.xml" ContentType="application/vnd.openxmlformats-officedocument.presentationml.tags+xml"/>
  <Override PartName="/ppt/tags/tag202.xml" ContentType="application/vnd.openxmlformats-officedocument.presentationml.tags+xml"/>
  <Override PartName="/ppt/tags/tag8.xml" ContentType="application/vnd.openxmlformats-officedocument.presentationml.tags+xml"/>
  <Override PartName="/ppt/tags/tag203.xml" ContentType="application/vnd.openxmlformats-officedocument.presentationml.tags+xml"/>
  <Override PartName="/ppt/tags/tag7.xml" ContentType="application/vnd.openxmlformats-officedocument.presentationml.tags+xml"/>
  <Override PartName="/ppt/tags/tag126.xml" ContentType="application/vnd.openxmlformats-officedocument.presentationml.tags+xml"/>
  <Override PartName="/ppt/tags/tag161.xml" ContentType="application/vnd.openxmlformats-officedocument.presentationml.tags+xml"/>
  <Override PartName="/ppt/tags/tag6.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5.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4.xml" ContentType="application/vnd.openxmlformats-officedocument.presentationml.tags+xml"/>
  <Override PartName="/ppt/tags/tag164.xml" ContentType="application/vnd.openxmlformats-officedocument.presentationml.tags+xml"/>
  <Override PartName="/ppt/tags/tag204.xml" ContentType="application/vnd.openxmlformats-officedocument.presentationml.tags+xml"/>
  <Override PartName="/ppt/tags/tag3.xml" ContentType="application/vnd.openxmlformats-officedocument.presentationml.tags+xml"/>
  <Override PartName="/ppt/tags/tag205.xml" ContentType="application/vnd.openxmlformats-officedocument.presentationml.tags+xml"/>
  <Override PartName="/ppt/tags/tag123.xml" ContentType="application/vnd.openxmlformats-officedocument.presentationml.tags+xml"/>
  <Override PartName="/ppt/tags/tag165.xml" ContentType="application/vnd.openxmlformats-officedocument.presentationml.tags+xml"/>
  <Override PartName="/ppt/tags/tag215.xml" ContentType="application/vnd.openxmlformats-officedocument.presentationml.tags+xml"/>
  <Override PartName="/ppt/tags/tag166.xml" ContentType="application/vnd.openxmlformats-officedocument.presentationml.tags+xml"/>
  <Override PartName="/ppt/tags/tag216.xml" ContentType="application/vnd.openxmlformats-officedocument.presentationml.tags+xml"/>
  <Override PartName="/ppt/tags/tag167.xml" ContentType="application/vnd.openxmlformats-officedocument.presentationml.tags+xml"/>
  <Override PartName="/ppt/tags/tag217.xml" ContentType="application/vnd.openxmlformats-officedocument.presentationml.tags+xml"/>
  <Override PartName="/ppt/tags/tag168.xml" ContentType="application/vnd.openxmlformats-officedocument.presentationml.tags+xml"/>
  <Override PartName="/ppt/tags/tag1.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customXml/itemProps3.xml" ContentType="application/vnd.openxmlformats-officedocument.customXmlPropertie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customXml/itemProps2.xml" ContentType="application/vnd.openxmlformats-officedocument.customXmlProperties+xml"/>
  <Override PartName="/ppt/tags/tag177.xml" ContentType="application/vnd.openxmlformats-officedocument.presentationml.tags+xml"/>
  <Override PartName="/ppt/tags/tag178.xml" ContentType="application/vnd.openxmlformats-officedocument.presentationml.tags+xml"/>
  <Override PartName="/customXml/itemProps1.xml" ContentType="application/vnd.openxmlformats-officedocument.customXmlProperties+xml"/>
  <Override PartName="/ppt/tags/tag179.xml" ContentType="application/vnd.openxmlformats-officedocument.presentationml.tags+xml"/>
  <Override PartName="/ppt/tags/tag180.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122.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210.xml" ContentType="application/vnd.openxmlformats-officedocument.presentationml.tags+xml"/>
  <Override PartName="/ppt/tags/tag131.xml" ContentType="application/vnd.openxmlformats-officedocument.presentationml.tags+xml"/>
  <Override PartName="/ppt/tags/tag137.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customXml/itemProps4.xml" ContentType="application/vnd.openxmlformats-officedocument.customXmlProperties+xml"/>
  <Override PartName="/customXml/itemProps5.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65"/>
  </p:notesMasterIdLst>
  <p:handoutMasterIdLst>
    <p:handoutMasterId r:id="rId66"/>
  </p:handoutMasterIdLst>
  <p:sldIdLst>
    <p:sldId id="10060" r:id="rId5"/>
    <p:sldId id="10844" r:id="rId6"/>
    <p:sldId id="2076136040" r:id="rId7"/>
    <p:sldId id="10835" r:id="rId8"/>
    <p:sldId id="2076136041" r:id="rId9"/>
    <p:sldId id="2076136042" r:id="rId10"/>
    <p:sldId id="2076136043" r:id="rId11"/>
    <p:sldId id="10839" r:id="rId12"/>
    <p:sldId id="10834" r:id="rId13"/>
    <p:sldId id="10838" r:id="rId14"/>
    <p:sldId id="10786" r:id="rId15"/>
    <p:sldId id="10821" r:id="rId16"/>
    <p:sldId id="10822" r:id="rId17"/>
    <p:sldId id="10823" r:id="rId18"/>
    <p:sldId id="10824" r:id="rId19"/>
    <p:sldId id="10754" r:id="rId20"/>
    <p:sldId id="10825" r:id="rId21"/>
    <p:sldId id="10790" r:id="rId22"/>
    <p:sldId id="10826" r:id="rId23"/>
    <p:sldId id="10827" r:id="rId24"/>
    <p:sldId id="10757" r:id="rId25"/>
    <p:sldId id="10758" r:id="rId26"/>
    <p:sldId id="10828" r:id="rId27"/>
    <p:sldId id="10829" r:id="rId28"/>
    <p:sldId id="10755" r:id="rId29"/>
    <p:sldId id="10796" r:id="rId30"/>
    <p:sldId id="10797" r:id="rId31"/>
    <p:sldId id="10836" r:id="rId32"/>
    <p:sldId id="10752" r:id="rId33"/>
    <p:sldId id="10785" r:id="rId34"/>
    <p:sldId id="10799" r:id="rId35"/>
    <p:sldId id="10806" r:id="rId36"/>
    <p:sldId id="10807" r:id="rId37"/>
    <p:sldId id="10808" r:id="rId38"/>
    <p:sldId id="10809" r:id="rId39"/>
    <p:sldId id="10810" r:id="rId40"/>
    <p:sldId id="10811" r:id="rId41"/>
    <p:sldId id="10812" r:id="rId42"/>
    <p:sldId id="10813" r:id="rId43"/>
    <p:sldId id="10814" r:id="rId44"/>
    <p:sldId id="10841" r:id="rId45"/>
    <p:sldId id="10842" r:id="rId46"/>
    <p:sldId id="10843" r:id="rId47"/>
    <p:sldId id="10169" r:id="rId48"/>
    <p:sldId id="10212" r:id="rId49"/>
    <p:sldId id="9952" r:id="rId50"/>
    <p:sldId id="1921" r:id="rId51"/>
    <p:sldId id="10032" r:id="rId52"/>
    <p:sldId id="10033" r:id="rId53"/>
    <p:sldId id="9998" r:id="rId54"/>
    <p:sldId id="4534" r:id="rId55"/>
    <p:sldId id="4541" r:id="rId56"/>
    <p:sldId id="2945" r:id="rId57"/>
    <p:sldId id="10150" r:id="rId58"/>
    <p:sldId id="10819" r:id="rId59"/>
    <p:sldId id="10783" r:id="rId60"/>
    <p:sldId id="10815" r:id="rId61"/>
    <p:sldId id="10816" r:id="rId62"/>
    <p:sldId id="10817" r:id="rId63"/>
    <p:sldId id="10818" r:id="rId64"/>
  </p:sldIdLst>
  <p:sldSz cx="12192000" cy="6858000"/>
  <p:notesSz cx="6858000" cy="9144000"/>
  <p:custDataLst>
    <p:tags r:id="rId6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3024" userDrawn="1">
          <p15:clr>
            <a:srgbClr val="A4A3A4"/>
          </p15:clr>
        </p15:guide>
        <p15:guide id="6" pos="5424" userDrawn="1">
          <p15:clr>
            <a:srgbClr val="A4A3A4"/>
          </p15:clr>
        </p15:guide>
        <p15:guide id="7" orient="horz" pos="196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at Zborovskiy" initials="MZ" lastIdx="43" clrIdx="0">
    <p:extLst>
      <p:ext uri="{19B8F6BF-5375-455C-9EA6-DF929625EA0E}">
        <p15:presenceInfo xmlns:p15="http://schemas.microsoft.com/office/powerpoint/2012/main" userId="S-1-5-21-2485355336-4141942683-1092461697-1001" providerId="AD"/>
      </p:ext>
    </p:extLst>
  </p:cmAuthor>
  <p:cmAuthor id="2" name="Hua Gong" initials="HG" lastIdx="13" clrIdx="1">
    <p:extLst>
      <p:ext uri="{19B8F6BF-5375-455C-9EA6-DF929625EA0E}">
        <p15:presenceInfo xmlns:p15="http://schemas.microsoft.com/office/powerpoint/2012/main" userId="S-1-5-21-1955587668-3886226348-4181720252-1002" providerId="AD"/>
      </p:ext>
    </p:extLst>
  </p:cmAuthor>
  <p:cmAuthor id="3" name="Laura Harrington" initials="LH" lastIdx="5" clrIdx="2">
    <p:extLst>
      <p:ext uri="{19B8F6BF-5375-455C-9EA6-DF929625EA0E}">
        <p15:presenceInfo xmlns:p15="http://schemas.microsoft.com/office/powerpoint/2012/main" userId="S::laurhar@microsoft.com::319b21c8-2bae-41c6-8c56-a9dbaa5e0002" providerId="AD"/>
      </p:ext>
    </p:extLst>
  </p:cmAuthor>
  <p:cmAuthor id="4" name="Hua Gong" initials="HG [2]" lastIdx="6" clrIdx="3">
    <p:extLst>
      <p:ext uri="{19B8F6BF-5375-455C-9EA6-DF929625EA0E}">
        <p15:presenceInfo xmlns:p15="http://schemas.microsoft.com/office/powerpoint/2012/main" userId="S::Hua@thearnoldgroup.us::b7ca2b3e-8c2a-4a2b-8bfd-92c394567ef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D83B01"/>
    <a:srgbClr val="4C9AD4"/>
    <a:srgbClr val="3276BC"/>
    <a:srgbClr val="BFBFBF"/>
    <a:srgbClr val="404040"/>
    <a:srgbClr val="107C10"/>
    <a:srgbClr val="FADCB5"/>
    <a:srgbClr val="E1C6A3"/>
    <a:srgbClr val="CC3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986" autoAdjust="0"/>
    <p:restoredTop sz="92359" autoAdjust="0"/>
  </p:normalViewPr>
  <p:slideViewPr>
    <p:cSldViewPr snapToGrid="0">
      <p:cViewPr varScale="1">
        <p:scale>
          <a:sx n="94" d="100"/>
          <a:sy n="94" d="100"/>
        </p:scale>
        <p:origin x="81" y="60"/>
      </p:cViewPr>
      <p:guideLst>
        <p:guide pos="3024"/>
        <p:guide pos="5424"/>
        <p:guide orient="horz" pos="1968"/>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handoutMaster" Target="handoutMasters/handoutMaster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315789473684209E-2"/>
          <c:y val="4.924242424242424E-2"/>
          <c:w val="0.94736842105263164"/>
          <c:h val="0.90151515151515149"/>
        </c:manualLayout>
      </c:layout>
      <c:barChart>
        <c:barDir val="col"/>
        <c:grouping val="stacked"/>
        <c:varyColors val="0"/>
        <c:ser>
          <c:idx val="0"/>
          <c:order val="0"/>
          <c:spPr>
            <a:solidFill>
              <a:schemeClr val="accent2"/>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0-5492-4CC6-A6C2-90641E04601B}"/>
              </c:ext>
            </c:extLst>
          </c:dPt>
          <c:val>
            <c:numRef>
              <c:f>Sheet1!$A$1:$B$1</c:f>
              <c:numCache>
                <c:formatCode>General</c:formatCode>
                <c:ptCount val="2"/>
                <c:pt idx="0">
                  <c:v>40.479999999999997</c:v>
                </c:pt>
                <c:pt idx="1">
                  <c:v>6.64</c:v>
                </c:pt>
              </c:numCache>
            </c:numRef>
          </c:val>
          <c:extLst>
            <c:ext xmlns:c16="http://schemas.microsoft.com/office/drawing/2014/chart" uri="{C3380CC4-5D6E-409C-BE32-E72D297353CC}">
              <c16:uniqueId val="{00000001-5492-4CC6-A6C2-90641E04601B}"/>
            </c:ext>
          </c:extLst>
        </c:ser>
        <c:dLbls>
          <c:showLegendKey val="0"/>
          <c:showVal val="0"/>
          <c:showCatName val="0"/>
          <c:showSerName val="0"/>
          <c:showPercent val="0"/>
          <c:showBubbleSize val="0"/>
        </c:dLbls>
        <c:gapWidth val="80"/>
        <c:overlap val="100"/>
        <c:axId val="882158720"/>
        <c:axId val="1"/>
      </c:barChart>
      <c:catAx>
        <c:axId val="882158720"/>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2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40.479999999999997"/>
          <c:min val="0"/>
        </c:scaling>
        <c:delete val="1"/>
        <c:axPos val="l"/>
        <c:numFmt formatCode="General" sourceLinked="1"/>
        <c:majorTickMark val="out"/>
        <c:minorTickMark val="none"/>
        <c:tickLblPos val="nextTo"/>
        <c:crossAx val="88215872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427150380339382E-2"/>
          <c:y val="4.585537918871252E-2"/>
          <c:w val="0.93914569923932123"/>
          <c:h val="0.90828924162257496"/>
        </c:manualLayout>
      </c:layout>
      <c:barChart>
        <c:barDir val="col"/>
        <c:grouping val="stacked"/>
        <c:varyColors val="0"/>
        <c:ser>
          <c:idx val="0"/>
          <c:order val="0"/>
          <c:spPr>
            <a:solidFill>
              <a:srgbClr val="3AE63A"/>
            </a:solidFill>
            <a:ln w="3175" algn="ctr">
              <a:solidFill>
                <a:srgbClr val="FFFFFF"/>
              </a:solidFill>
              <a:prstDash val="solid"/>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292C-442A-AEEB-9C4F1C2904C7}"/>
              </c:ext>
            </c:extLst>
          </c:dPt>
          <c:val>
            <c:numRef>
              <c:f>Sheet1!$A$1:$B$1</c:f>
              <c:numCache>
                <c:formatCode>General</c:formatCode>
                <c:ptCount val="2"/>
                <c:pt idx="0">
                  <c:v>2850</c:v>
                </c:pt>
                <c:pt idx="1">
                  <c:v>670</c:v>
                </c:pt>
              </c:numCache>
            </c:numRef>
          </c:val>
          <c:extLst>
            <c:ext xmlns:c16="http://schemas.microsoft.com/office/drawing/2014/chart" uri="{C3380CC4-5D6E-409C-BE32-E72D297353CC}">
              <c16:uniqueId val="{00000001-292C-442A-AEEB-9C4F1C2904C7}"/>
            </c:ext>
          </c:extLst>
        </c:ser>
        <c:ser>
          <c:idx val="1"/>
          <c:order val="1"/>
          <c:spPr>
            <a:solidFill>
              <a:schemeClr val="accent4"/>
            </a:solidFill>
            <a:ln w="3175" algn="ctr">
              <a:solidFill>
                <a:srgbClr val="FFFFFF"/>
              </a:solidFill>
              <a:prstDash val="solid"/>
            </a:ln>
          </c:spPr>
          <c:invertIfNegative val="0"/>
          <c:val>
            <c:numRef>
              <c:f>Sheet1!$A$2:$B$2</c:f>
              <c:numCache>
                <c:formatCode>General</c:formatCode>
                <c:ptCount val="2"/>
                <c:pt idx="1">
                  <c:v>1390</c:v>
                </c:pt>
              </c:numCache>
            </c:numRef>
          </c:val>
          <c:extLst>
            <c:ext xmlns:c16="http://schemas.microsoft.com/office/drawing/2014/chart" uri="{C3380CC4-5D6E-409C-BE32-E72D297353CC}">
              <c16:uniqueId val="{00000002-292C-442A-AEEB-9C4F1C2904C7}"/>
            </c:ext>
          </c:extLst>
        </c:ser>
        <c:dLbls>
          <c:showLegendKey val="0"/>
          <c:showVal val="0"/>
          <c:showCatName val="0"/>
          <c:showSerName val="0"/>
          <c:showPercent val="0"/>
          <c:showBubbleSize val="0"/>
        </c:dLbls>
        <c:gapWidth val="80"/>
        <c:overlap val="100"/>
        <c:axId val="1025497592"/>
        <c:axId val="1"/>
      </c:barChart>
      <c:catAx>
        <c:axId val="1025497592"/>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2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2850"/>
          <c:min val="0"/>
        </c:scaling>
        <c:delete val="1"/>
        <c:axPos val="l"/>
        <c:numFmt formatCode="General" sourceLinked="1"/>
        <c:majorTickMark val="out"/>
        <c:minorTickMark val="none"/>
        <c:tickLblPos val="nextTo"/>
        <c:crossAx val="102549759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920417482061316E-2"/>
          <c:y val="4.7229791099000905E-2"/>
          <c:w val="0.93215916503587737"/>
          <c:h val="0.90554041780199812"/>
        </c:manualLayout>
      </c:layout>
      <c:barChart>
        <c:barDir val="col"/>
        <c:grouping val="stacked"/>
        <c:varyColors val="0"/>
        <c:ser>
          <c:idx val="0"/>
          <c:order val="0"/>
          <c:spPr>
            <a:solidFill>
              <a:srgbClr val="3AE63A"/>
            </a:solidFill>
            <a:ln w="3175" algn="ctr">
              <a:solidFill>
                <a:srgbClr val="FFFFFF"/>
              </a:solidFill>
              <a:prstDash val="solid"/>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8026-41E6-9473-05E8E9F25818}"/>
              </c:ext>
            </c:extLst>
          </c:dPt>
          <c:val>
            <c:numRef>
              <c:f>Sheet1!$A$1:$B$1</c:f>
              <c:numCache>
                <c:formatCode>General</c:formatCode>
                <c:ptCount val="2"/>
                <c:pt idx="0">
                  <c:v>2750</c:v>
                </c:pt>
                <c:pt idx="1">
                  <c:v>290</c:v>
                </c:pt>
              </c:numCache>
            </c:numRef>
          </c:val>
          <c:extLst>
            <c:ext xmlns:c16="http://schemas.microsoft.com/office/drawing/2014/chart" uri="{C3380CC4-5D6E-409C-BE32-E72D297353CC}">
              <c16:uniqueId val="{00000001-8026-41E6-9473-05E8E9F25818}"/>
            </c:ext>
          </c:extLst>
        </c:ser>
        <c:ser>
          <c:idx val="1"/>
          <c:order val="1"/>
          <c:spPr>
            <a:solidFill>
              <a:schemeClr val="accent4"/>
            </a:solidFill>
            <a:ln w="3175" algn="ctr">
              <a:solidFill>
                <a:srgbClr val="FFFFFF"/>
              </a:solidFill>
              <a:prstDash val="solid"/>
            </a:ln>
          </c:spPr>
          <c:invertIfNegative val="0"/>
          <c:val>
            <c:numRef>
              <c:f>Sheet1!$A$2:$B$2</c:f>
              <c:numCache>
                <c:formatCode>General</c:formatCode>
                <c:ptCount val="2"/>
                <c:pt idx="1">
                  <c:v>1945</c:v>
                </c:pt>
              </c:numCache>
            </c:numRef>
          </c:val>
          <c:extLst>
            <c:ext xmlns:c16="http://schemas.microsoft.com/office/drawing/2014/chart" uri="{C3380CC4-5D6E-409C-BE32-E72D297353CC}">
              <c16:uniqueId val="{00000002-8026-41E6-9473-05E8E9F25818}"/>
            </c:ext>
          </c:extLst>
        </c:ser>
        <c:dLbls>
          <c:showLegendKey val="0"/>
          <c:showVal val="0"/>
          <c:showCatName val="0"/>
          <c:showSerName val="0"/>
          <c:showPercent val="0"/>
          <c:showBubbleSize val="0"/>
        </c:dLbls>
        <c:gapWidth val="80"/>
        <c:overlap val="100"/>
        <c:axId val="1020816192"/>
        <c:axId val="1"/>
      </c:barChart>
      <c:catAx>
        <c:axId val="1020816192"/>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2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2750"/>
          <c:min val="0"/>
        </c:scaling>
        <c:delete val="1"/>
        <c:axPos val="l"/>
        <c:numFmt formatCode="General" sourceLinked="1"/>
        <c:majorTickMark val="out"/>
        <c:minorTickMark val="none"/>
        <c:tickLblPos val="nextTo"/>
        <c:crossAx val="1020816192"/>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000000000000002E-2"/>
          <c:y val="5.3553038105046344E-2"/>
          <c:w val="0.94800000000000006"/>
          <c:h val="0.89289392378990728"/>
        </c:manualLayout>
      </c:layout>
      <c:barChart>
        <c:barDir val="col"/>
        <c:grouping val="stacked"/>
        <c:varyColors val="0"/>
        <c:ser>
          <c:idx val="0"/>
          <c:order val="0"/>
          <c:spPr>
            <a:solidFill>
              <a:schemeClr val="accent2"/>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0-BB1D-4770-BC5C-2BE1D1778012}"/>
              </c:ext>
            </c:extLst>
          </c:dPt>
          <c:val>
            <c:numRef>
              <c:f>Sheet1!$A$1:$B$1</c:f>
              <c:numCache>
                <c:formatCode>General</c:formatCode>
                <c:ptCount val="2"/>
                <c:pt idx="0">
                  <c:v>570</c:v>
                </c:pt>
                <c:pt idx="1">
                  <c:v>200</c:v>
                </c:pt>
              </c:numCache>
            </c:numRef>
          </c:val>
          <c:extLst>
            <c:ext xmlns:c16="http://schemas.microsoft.com/office/drawing/2014/chart" uri="{C3380CC4-5D6E-409C-BE32-E72D297353CC}">
              <c16:uniqueId val="{00000001-BB1D-4770-BC5C-2BE1D1778012}"/>
            </c:ext>
          </c:extLst>
        </c:ser>
        <c:dLbls>
          <c:showLegendKey val="0"/>
          <c:showVal val="0"/>
          <c:showCatName val="0"/>
          <c:showSerName val="0"/>
          <c:showPercent val="0"/>
          <c:showBubbleSize val="0"/>
        </c:dLbls>
        <c:gapWidth val="80"/>
        <c:overlap val="100"/>
        <c:axId val="1020804712"/>
        <c:axId val="1"/>
      </c:barChart>
      <c:catAx>
        <c:axId val="1020804712"/>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2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570"/>
          <c:min val="0"/>
        </c:scaling>
        <c:delete val="1"/>
        <c:axPos val="l"/>
        <c:numFmt formatCode="General" sourceLinked="1"/>
        <c:majorTickMark val="out"/>
        <c:minorTickMark val="none"/>
        <c:tickLblPos val="nextTo"/>
        <c:crossAx val="102080471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927417547075332E-2"/>
          <c:y val="3.259653193433467E-2"/>
          <c:w val="0.93407258245292468"/>
          <c:h val="0.91549262412370758"/>
        </c:manualLayout>
      </c:layout>
      <c:barChart>
        <c:barDir val="col"/>
        <c:grouping val="clustered"/>
        <c:varyColors val="0"/>
        <c:ser>
          <c:idx val="0"/>
          <c:order val="0"/>
          <c:tx>
            <c:strRef>
              <c:f>Sheet1!$B$1</c:f>
              <c:strCache>
                <c:ptCount val="1"/>
                <c:pt idx="0">
                  <c:v>Bar</c:v>
                </c:pt>
              </c:strCache>
            </c:strRef>
          </c:tx>
          <c:spPr>
            <a:solidFill>
              <a:schemeClr val="accent1"/>
            </a:solidFill>
            <a:ln>
              <a:solidFill>
                <a:schemeClr val="accent1"/>
              </a:solidFill>
            </a:ln>
            <a:effectLst/>
          </c:spPr>
          <c:invertIfNegative val="0"/>
          <c:cat>
            <c:numRef>
              <c:f>Sheet1!$A$2:$A$5</c:f>
              <c:numCache>
                <c:formatCode>General</c:formatCode>
                <c:ptCount val="4"/>
              </c:numCache>
            </c:numRef>
          </c:cat>
          <c:val>
            <c:numRef>
              <c:f>Sheet1!$B$2:$B$5</c:f>
              <c:numCache>
                <c:formatCode>General</c:formatCode>
                <c:ptCount val="4"/>
                <c:pt idx="0">
                  <c:v>60</c:v>
                </c:pt>
                <c:pt idx="1">
                  <c:v>60</c:v>
                </c:pt>
                <c:pt idx="2">
                  <c:v>100</c:v>
                </c:pt>
                <c:pt idx="3">
                  <c:v>100</c:v>
                </c:pt>
              </c:numCache>
            </c:numRef>
          </c:val>
          <c:extLst>
            <c:ext xmlns:c16="http://schemas.microsoft.com/office/drawing/2014/chart" uri="{C3380CC4-5D6E-409C-BE32-E72D297353CC}">
              <c16:uniqueId val="{00000000-54AA-4F11-8BF0-96F1492B2BC6}"/>
            </c:ext>
          </c:extLst>
        </c:ser>
        <c:dLbls>
          <c:showLegendKey val="0"/>
          <c:showVal val="0"/>
          <c:showCatName val="0"/>
          <c:showSerName val="0"/>
          <c:showPercent val="0"/>
          <c:showBubbleSize val="0"/>
        </c:dLbls>
        <c:gapWidth val="0"/>
        <c:axId val="855961408"/>
        <c:axId val="855959112"/>
      </c:barChart>
      <c:catAx>
        <c:axId val="855961408"/>
        <c:scaling>
          <c:orientation val="minMax"/>
        </c:scaling>
        <c:delete val="0"/>
        <c:axPos val="b"/>
        <c:numFmt formatCode="General" sourceLinked="1"/>
        <c:majorTickMark val="none"/>
        <c:minorTickMark val="none"/>
        <c:tickLblPos val="none"/>
        <c:spPr>
          <a:noFill/>
          <a:ln w="15875" cap="flat" cmpd="sng" algn="ctr">
            <a:solidFill>
              <a:schemeClr val="tx1">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55959112"/>
        <c:crosses val="autoZero"/>
        <c:auto val="1"/>
        <c:lblAlgn val="ctr"/>
        <c:lblOffset val="100"/>
        <c:noMultiLvlLbl val="0"/>
      </c:catAx>
      <c:valAx>
        <c:axId val="855959112"/>
        <c:scaling>
          <c:orientation val="minMax"/>
          <c:max val="100"/>
        </c:scaling>
        <c:delete val="0"/>
        <c:axPos val="l"/>
        <c:numFmt formatCode="General" sourceLinked="1"/>
        <c:majorTickMark val="none"/>
        <c:minorTickMark val="none"/>
        <c:tickLblPos val="none"/>
        <c:spPr>
          <a:noFill/>
          <a:ln w="15875">
            <a:solidFill>
              <a:schemeClr val="tx1">
                <a:lumMod val="50000"/>
                <a:lumOff val="50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55961408"/>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tx>
            <c:strRef>
              <c:f>Sheet1!$B$1</c:f>
              <c:strCache>
                <c:ptCount val="1"/>
                <c:pt idx="0">
                  <c:v>Area</c:v>
                </c:pt>
              </c:strCache>
            </c:strRef>
          </c:tx>
          <c:spPr>
            <a:solidFill>
              <a:schemeClr val="accent1"/>
            </a:solidFill>
            <a:ln w="57150">
              <a:noFill/>
            </a:ln>
            <a:effectLst/>
          </c:spPr>
          <c:cat>
            <c:numRef>
              <c:f>Sheet1!$A$2:$A$6</c:f>
              <c:numCache>
                <c:formatCode>General</c:formatCode>
                <c:ptCount val="5"/>
              </c:numCache>
            </c:numRef>
          </c:cat>
          <c:val>
            <c:numRef>
              <c:f>Sheet1!$B$2:$B$6</c:f>
              <c:numCache>
                <c:formatCode>General</c:formatCode>
                <c:ptCount val="5"/>
                <c:pt idx="0">
                  <c:v>20</c:v>
                </c:pt>
                <c:pt idx="1">
                  <c:v>40</c:v>
                </c:pt>
                <c:pt idx="2">
                  <c:v>50</c:v>
                </c:pt>
                <c:pt idx="3">
                  <c:v>80</c:v>
                </c:pt>
                <c:pt idx="4">
                  <c:v>90</c:v>
                </c:pt>
              </c:numCache>
            </c:numRef>
          </c:val>
          <c:extLst>
            <c:ext xmlns:c16="http://schemas.microsoft.com/office/drawing/2014/chart" uri="{C3380CC4-5D6E-409C-BE32-E72D297353CC}">
              <c16:uniqueId val="{00000000-5B84-4FA9-A6CD-4C21288CF438}"/>
            </c:ext>
          </c:extLst>
        </c:ser>
        <c:dLbls>
          <c:showLegendKey val="0"/>
          <c:showVal val="0"/>
          <c:showCatName val="0"/>
          <c:showSerName val="0"/>
          <c:showPercent val="0"/>
          <c:showBubbleSize val="0"/>
        </c:dLbls>
        <c:axId val="855961408"/>
        <c:axId val="855959112"/>
      </c:areaChart>
      <c:lineChart>
        <c:grouping val="standard"/>
        <c:varyColors val="0"/>
        <c:ser>
          <c:idx val="1"/>
          <c:order val="1"/>
          <c:tx>
            <c:strRef>
              <c:f>Sheet1!$C$1</c:f>
              <c:strCache>
                <c:ptCount val="1"/>
                <c:pt idx="0">
                  <c:v>Line</c:v>
                </c:pt>
              </c:strCache>
            </c:strRef>
          </c:tx>
          <c:spPr>
            <a:ln w="31750" cap="rnd">
              <a:solidFill>
                <a:srgbClr val="FF0000"/>
              </a:solidFill>
              <a:round/>
            </a:ln>
            <a:effectLst/>
          </c:spPr>
          <c:marker>
            <c:symbol val="none"/>
          </c:marker>
          <c:cat>
            <c:numRef>
              <c:f>Sheet1!$A$2:$A$6</c:f>
              <c:numCache>
                <c:formatCode>General</c:formatCode>
                <c:ptCount val="5"/>
              </c:numCache>
            </c:numRef>
          </c:cat>
          <c:val>
            <c:numRef>
              <c:f>Sheet1!$C$2:$C$6</c:f>
              <c:numCache>
                <c:formatCode>General</c:formatCode>
                <c:ptCount val="5"/>
                <c:pt idx="0">
                  <c:v>20</c:v>
                </c:pt>
                <c:pt idx="1">
                  <c:v>40</c:v>
                </c:pt>
                <c:pt idx="2">
                  <c:v>50</c:v>
                </c:pt>
                <c:pt idx="3">
                  <c:v>80</c:v>
                </c:pt>
                <c:pt idx="4">
                  <c:v>90</c:v>
                </c:pt>
              </c:numCache>
            </c:numRef>
          </c:val>
          <c:smooth val="0"/>
          <c:extLst>
            <c:ext xmlns:c16="http://schemas.microsoft.com/office/drawing/2014/chart" uri="{C3380CC4-5D6E-409C-BE32-E72D297353CC}">
              <c16:uniqueId val="{00000001-5B84-4FA9-A6CD-4C21288CF438}"/>
            </c:ext>
          </c:extLst>
        </c:ser>
        <c:dLbls>
          <c:showLegendKey val="0"/>
          <c:showVal val="0"/>
          <c:showCatName val="0"/>
          <c:showSerName val="0"/>
          <c:showPercent val="0"/>
          <c:showBubbleSize val="0"/>
        </c:dLbls>
        <c:marker val="1"/>
        <c:smooth val="0"/>
        <c:axId val="920248384"/>
        <c:axId val="920245760"/>
      </c:lineChart>
      <c:catAx>
        <c:axId val="855961408"/>
        <c:scaling>
          <c:orientation val="minMax"/>
        </c:scaling>
        <c:delete val="0"/>
        <c:axPos val="b"/>
        <c:numFmt formatCode="General" sourceLinked="1"/>
        <c:majorTickMark val="none"/>
        <c:minorTickMark val="none"/>
        <c:tickLblPos val="none"/>
        <c:spPr>
          <a:noFill/>
          <a:ln w="15875" cap="flat" cmpd="sng" algn="ctr">
            <a:solidFill>
              <a:schemeClr val="tx1">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55959112"/>
        <c:crosses val="autoZero"/>
        <c:auto val="1"/>
        <c:lblAlgn val="ctr"/>
        <c:lblOffset val="100"/>
        <c:noMultiLvlLbl val="0"/>
      </c:catAx>
      <c:valAx>
        <c:axId val="855959112"/>
        <c:scaling>
          <c:orientation val="minMax"/>
        </c:scaling>
        <c:delete val="0"/>
        <c:axPos val="l"/>
        <c:numFmt formatCode="General" sourceLinked="1"/>
        <c:majorTickMark val="none"/>
        <c:minorTickMark val="none"/>
        <c:tickLblPos val="none"/>
        <c:spPr>
          <a:noFill/>
          <a:ln w="15875">
            <a:solidFill>
              <a:schemeClr val="tx1">
                <a:lumMod val="50000"/>
                <a:lumOff val="50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55961408"/>
        <c:crosses val="autoZero"/>
        <c:crossBetween val="midCat"/>
      </c:valAx>
      <c:valAx>
        <c:axId val="920245760"/>
        <c:scaling>
          <c:orientation val="minMax"/>
        </c:scaling>
        <c:delete val="1"/>
        <c:axPos val="r"/>
        <c:numFmt formatCode="General" sourceLinked="1"/>
        <c:majorTickMark val="out"/>
        <c:minorTickMark val="none"/>
        <c:tickLblPos val="nextTo"/>
        <c:crossAx val="920248384"/>
        <c:crosses val="max"/>
        <c:crossBetween val="between"/>
      </c:valAx>
      <c:catAx>
        <c:axId val="920248384"/>
        <c:scaling>
          <c:orientation val="minMax"/>
        </c:scaling>
        <c:delete val="1"/>
        <c:axPos val="b"/>
        <c:numFmt formatCode="General" sourceLinked="1"/>
        <c:majorTickMark val="out"/>
        <c:minorTickMark val="none"/>
        <c:tickLblPos val="nextTo"/>
        <c:crossAx val="920245760"/>
        <c:crosses val="autoZero"/>
        <c:auto val="1"/>
        <c:lblAlgn val="ctr"/>
        <c:lblOffset val="100"/>
        <c:noMultiLvlLbl val="0"/>
      </c:cat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86489252814739"/>
          <c:y val="4.0993071593533485E-2"/>
          <c:w val="0.81473899692937568"/>
          <c:h val="0.91743648960739033"/>
        </c:manualLayout>
      </c:layout>
      <c:barChart>
        <c:barDir val="col"/>
        <c:grouping val="stacked"/>
        <c:varyColors val="0"/>
        <c:ser>
          <c:idx val="0"/>
          <c:order val="0"/>
          <c:spPr>
            <a:solidFill>
              <a:schemeClr val="accent2"/>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0-70DB-4950-8A61-D6B68BC45863}"/>
              </c:ext>
            </c:extLst>
          </c:dPt>
          <c:val>
            <c:numRef>
              <c:f>Sheet1!$A$1:$B$1</c:f>
              <c:numCache>
                <c:formatCode>General</c:formatCode>
                <c:ptCount val="2"/>
                <c:pt idx="0">
                  <c:v>504</c:v>
                </c:pt>
                <c:pt idx="1">
                  <c:v>217</c:v>
                </c:pt>
              </c:numCache>
            </c:numRef>
          </c:val>
          <c:extLst>
            <c:ext xmlns:c16="http://schemas.microsoft.com/office/drawing/2014/chart" uri="{C3380CC4-5D6E-409C-BE32-E72D297353CC}">
              <c16:uniqueId val="{00000001-70DB-4950-8A61-D6B68BC45863}"/>
            </c:ext>
          </c:extLst>
        </c:ser>
        <c:dLbls>
          <c:showLegendKey val="0"/>
          <c:showVal val="0"/>
          <c:showCatName val="0"/>
          <c:showSerName val="0"/>
          <c:showPercent val="0"/>
          <c:showBubbleSize val="0"/>
        </c:dLbls>
        <c:gapWidth val="80"/>
        <c:overlap val="100"/>
        <c:axId val="882153472"/>
        <c:axId val="1"/>
      </c:barChart>
      <c:catAx>
        <c:axId val="882153472"/>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2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0;&quot;-&quot;#,##0" sourceLinked="0"/>
        <c:majorTickMark val="out"/>
        <c:minorTickMark val="none"/>
        <c:tickLblPos val="nextTo"/>
        <c:spPr>
          <a:ln w="9525" algn="ctr">
            <a:solidFill>
              <a:srgbClr val="969696"/>
            </a:solidFill>
            <a:prstDash val="solid"/>
          </a:ln>
        </c:spPr>
        <c:txPr>
          <a:bodyPr wrap="none"/>
          <a:lstStyle/>
          <a:p>
            <a:pPr>
              <a:defRPr sz="1200">
                <a:solidFill>
                  <a:schemeClr val="tx1"/>
                </a:solidFill>
                <a:latin typeface="+mn-lt"/>
                <a:ea typeface="+mn-ea"/>
                <a:cs typeface="+mn-cs"/>
                <a:sym typeface="+mn-lt"/>
              </a:defRPr>
            </a:pPr>
            <a:endParaRPr lang="en-US"/>
          </a:p>
        </c:txPr>
        <c:crossAx val="882153472"/>
        <c:crosses val="min"/>
        <c:crossBetween val="between"/>
        <c:majorUnit val="5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820800709115084E-3"/>
          <c:y val="5.1130776794493613E-2"/>
          <c:w val="0.98463583985817693"/>
          <c:h val="0.89773844641101286"/>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9E33-4B4E-81D3-266C01BC3711}"/>
              </c:ext>
            </c:extLst>
          </c:dPt>
          <c:dPt>
            <c:idx val="6"/>
            <c:invertIfNegative val="0"/>
            <c:bubble3D val="0"/>
            <c:spPr>
              <a:solidFill>
                <a:schemeClr val="accent4"/>
              </a:solidFill>
              <a:ln>
                <a:noFill/>
              </a:ln>
            </c:spPr>
            <c:extLst>
              <c:ext xmlns:c16="http://schemas.microsoft.com/office/drawing/2014/chart" uri="{C3380CC4-5D6E-409C-BE32-E72D297353CC}">
                <c16:uniqueId val="{00000001-9E33-4B4E-81D3-266C01BC3711}"/>
              </c:ext>
            </c:extLst>
          </c:dPt>
          <c:dLbls>
            <c:dLbl>
              <c:idx val="0"/>
              <c:layout>
                <c:manualLayout>
                  <c:x val="0"/>
                  <c:y val="0"/>
                </c:manualLayout>
              </c:layout>
              <c:numFmt formatCode="#,##0;#,##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E33-4B4E-81D3-266C01BC3711}"/>
                </c:ext>
              </c:extLst>
            </c:dLbl>
            <c:dLbl>
              <c:idx val="6"/>
              <c:layout>
                <c:manualLayout>
                  <c:x val="0"/>
                  <c:y val="-0.22320550639134709"/>
                </c:manualLayout>
              </c:layout>
              <c:numFmt formatCode="#,##0;&quot;-&quot;#,##0"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E33-4B4E-81D3-266C01BC37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21200</c:v>
                </c:pt>
                <c:pt idx="1">
                  <c:v>30000</c:v>
                </c:pt>
                <c:pt idx="2">
                  <c:v>24350</c:v>
                </c:pt>
                <c:pt idx="3">
                  <c:v>23700</c:v>
                </c:pt>
                <c:pt idx="4">
                  <c:v>21300</c:v>
                </c:pt>
                <c:pt idx="5">
                  <c:v>13300</c:v>
                </c:pt>
                <c:pt idx="6">
                  <c:v>13300</c:v>
                </c:pt>
              </c:numCache>
            </c:numRef>
          </c:val>
          <c:extLst>
            <c:ext xmlns:c16="http://schemas.microsoft.com/office/drawing/2014/chart" uri="{C3380CC4-5D6E-409C-BE32-E72D297353CC}">
              <c16:uniqueId val="{00000002-9E33-4B4E-81D3-266C01BC3711}"/>
            </c:ext>
          </c:extLst>
        </c:ser>
        <c:ser>
          <c:idx val="1"/>
          <c:order val="1"/>
          <c:spPr>
            <a:solidFill>
              <a:schemeClr val="accent1"/>
            </a:solidFill>
            <a:ln>
              <a:noFill/>
            </a:ln>
          </c:spPr>
          <c:invertIfNegative val="0"/>
          <c:dPt>
            <c:idx val="4"/>
            <c:invertIfNegative val="0"/>
            <c:bubble3D val="0"/>
            <c:spPr>
              <a:solidFill>
                <a:schemeClr val="accent2"/>
              </a:solidFill>
              <a:ln>
                <a:noFill/>
              </a:ln>
            </c:spPr>
            <c:extLst>
              <c:ext xmlns:c16="http://schemas.microsoft.com/office/drawing/2014/chart" uri="{C3380CC4-5D6E-409C-BE32-E72D297353CC}">
                <c16:uniqueId val="{00000003-9E33-4B4E-81D3-266C01BC3711}"/>
              </c:ext>
            </c:extLst>
          </c:dPt>
          <c:dPt>
            <c:idx val="5"/>
            <c:invertIfNegative val="0"/>
            <c:bubble3D val="0"/>
            <c:spPr>
              <a:solidFill>
                <a:schemeClr val="accent2"/>
              </a:solidFill>
              <a:ln>
                <a:noFill/>
              </a:ln>
            </c:spPr>
            <c:extLst>
              <c:ext xmlns:c16="http://schemas.microsoft.com/office/drawing/2014/chart" uri="{C3380CC4-5D6E-409C-BE32-E72D297353CC}">
                <c16:uniqueId val="{00000004-9E33-4B4E-81D3-266C01BC3711}"/>
              </c:ext>
            </c:extLst>
          </c:dPt>
          <c:dLbls>
            <c:dLbl>
              <c:idx val="0"/>
              <c:layout>
                <c:manualLayout>
                  <c:x val="0"/>
                  <c:y val="0"/>
                </c:manualLayout>
              </c:layout>
              <c:numFmt formatCode="#,##0;#,##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E33-4B4E-81D3-266C01BC3711}"/>
                </c:ext>
              </c:extLst>
            </c:dLbl>
            <c:dLbl>
              <c:idx val="1"/>
              <c:layout>
                <c:manualLayout>
                  <c:x val="0"/>
                  <c:y val="-9.8328416912487715E-4"/>
                </c:manualLayout>
              </c:layout>
              <c:numFmt formatCode="#,##0;#,##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E33-4B4E-81D3-266C01BC3711}"/>
                </c:ext>
              </c:extLst>
            </c:dLbl>
            <c:dLbl>
              <c:idx val="2"/>
              <c:layout>
                <c:manualLayout>
                  <c:x val="0"/>
                  <c:y val="0"/>
                </c:manualLayout>
              </c:layout>
              <c:numFmt formatCode="#,##0;#,##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E33-4B4E-81D3-266C01BC3711}"/>
                </c:ext>
              </c:extLst>
            </c:dLbl>
            <c:dLbl>
              <c:idx val="5"/>
              <c:layout>
                <c:manualLayout>
                  <c:x val="0"/>
                  <c:y val="-9.8328416912487715E-4"/>
                </c:manualLayout>
              </c:layout>
              <c:numFmt formatCode="#,##0;#,##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E33-4B4E-81D3-266C01BC37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17400</c:v>
                </c:pt>
                <c:pt idx="1">
                  <c:v>8600</c:v>
                </c:pt>
                <c:pt idx="2">
                  <c:v>5650</c:v>
                </c:pt>
                <c:pt idx="3">
                  <c:v>650</c:v>
                </c:pt>
                <c:pt idx="4">
                  <c:v>2400</c:v>
                </c:pt>
                <c:pt idx="5">
                  <c:v>8000</c:v>
                </c:pt>
              </c:numCache>
            </c:numRef>
          </c:val>
          <c:extLst>
            <c:ext xmlns:c16="http://schemas.microsoft.com/office/drawing/2014/chart" uri="{C3380CC4-5D6E-409C-BE32-E72D297353CC}">
              <c16:uniqueId val="{00000008-9E33-4B4E-81D3-266C01BC3711}"/>
            </c:ext>
          </c:extLst>
        </c:ser>
        <c:dLbls>
          <c:showLegendKey val="0"/>
          <c:showVal val="0"/>
          <c:showCatName val="0"/>
          <c:showSerName val="0"/>
          <c:showPercent val="0"/>
          <c:showBubbleSize val="0"/>
        </c:dLbls>
        <c:gapWidth val="80"/>
        <c:overlap val="100"/>
        <c:axId val="882156752"/>
        <c:axId val="1"/>
      </c:barChart>
      <c:catAx>
        <c:axId val="882156752"/>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4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38600"/>
          <c:min val="0"/>
        </c:scaling>
        <c:delete val="1"/>
        <c:axPos val="l"/>
        <c:numFmt formatCode="General" sourceLinked="1"/>
        <c:majorTickMark val="out"/>
        <c:minorTickMark val="none"/>
        <c:tickLblPos val="nextTo"/>
        <c:crossAx val="88215675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111447302067576E-2"/>
          <c:y val="4.2037186742118024E-2"/>
          <c:w val="0.97377710539586493"/>
          <c:h val="0.91592562651576392"/>
        </c:manualLayout>
      </c:layout>
      <c:barChart>
        <c:barDir val="col"/>
        <c:grouping val="stacked"/>
        <c:varyColors val="0"/>
        <c:ser>
          <c:idx val="0"/>
          <c:order val="0"/>
          <c:spPr>
            <a:solidFill>
              <a:schemeClr val="accent1"/>
            </a:solidFill>
            <a:ln>
              <a:noFill/>
            </a:ln>
          </c:spPr>
          <c:invertIfNegative val="0"/>
          <c:val>
            <c:numRef>
              <c:f>Sheet1!$A$1:$D$1</c:f>
              <c:numCache>
                <c:formatCode>General</c:formatCode>
                <c:ptCount val="4"/>
                <c:pt idx="0">
                  <c:v>6.7</c:v>
                </c:pt>
                <c:pt idx="1">
                  <c:v>6.7</c:v>
                </c:pt>
                <c:pt idx="2">
                  <c:v>40.71</c:v>
                </c:pt>
                <c:pt idx="3">
                  <c:v>50.03</c:v>
                </c:pt>
              </c:numCache>
            </c:numRef>
          </c:val>
          <c:extLst>
            <c:ext xmlns:c16="http://schemas.microsoft.com/office/drawing/2014/chart" uri="{C3380CC4-5D6E-409C-BE32-E72D297353CC}">
              <c16:uniqueId val="{00000000-8B33-4BEC-AC8D-805DC347EC94}"/>
            </c:ext>
          </c:extLst>
        </c:ser>
        <c:dLbls>
          <c:showLegendKey val="0"/>
          <c:showVal val="0"/>
          <c:showCatName val="0"/>
          <c:showSerName val="0"/>
          <c:showPercent val="0"/>
          <c:showBubbleSize val="0"/>
        </c:dLbls>
        <c:gapWidth val="80"/>
        <c:overlap val="100"/>
        <c:axId val="1212237536"/>
        <c:axId val="1"/>
      </c:barChart>
      <c:catAx>
        <c:axId val="1212237536"/>
        <c:scaling>
          <c:orientation val="minMax"/>
        </c:scaling>
        <c:delete val="0"/>
        <c:axPos val="b"/>
        <c:majorGridlines>
          <c:spPr>
            <a:ln>
              <a:noFill/>
            </a:ln>
          </c:spPr>
        </c:majorGridlines>
        <c:majorTickMark val="out"/>
        <c:minorTickMark val="none"/>
        <c:tickLblPos val="none"/>
        <c:spPr>
          <a:ln w="6350" algn="ctr">
            <a:solidFill>
              <a:srgbClr val="969696"/>
            </a:solidFill>
            <a:prstDash val="solid"/>
          </a:ln>
        </c:spPr>
        <c:txPr>
          <a:bodyPr wrap="none"/>
          <a:lstStyle/>
          <a:p>
            <a:pPr>
              <a:defRPr sz="14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50.03"/>
          <c:min val="0"/>
        </c:scaling>
        <c:delete val="1"/>
        <c:axPos val="l"/>
        <c:numFmt formatCode="General" sourceLinked="1"/>
        <c:majorTickMark val="out"/>
        <c:minorTickMark val="none"/>
        <c:tickLblPos val="nextTo"/>
        <c:crossAx val="1212237536"/>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A5FA2D0-EFAE-4F85-863D-1E9EB32F007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A6319B96-1A4A-4794-8936-36876492311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F1EB6F6-6343-40A8-A7AF-0E2EDA323ECB}" type="datetimeFigureOut">
              <a:rPr lang="en-US" smtClean="0"/>
              <a:t>9/23/2019</a:t>
            </a:fld>
            <a:endParaRPr lang="en-US" dirty="0"/>
          </a:p>
        </p:txBody>
      </p:sp>
      <p:sp>
        <p:nvSpPr>
          <p:cNvPr id="4" name="Footer Placeholder 3">
            <a:extLst>
              <a:ext uri="{FF2B5EF4-FFF2-40B4-BE49-F238E27FC236}">
                <a16:creationId xmlns:a16="http://schemas.microsoft.com/office/drawing/2014/main" id="{58E448ED-DE98-419E-BE99-5BCD950C8CE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BDB7E0B4-D30D-4C83-9582-CF7D1CCFE99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D8ABB52-49BF-4B30-911A-43F05EE11731}" type="slidenum">
              <a:rPr lang="en-US" smtClean="0"/>
              <a:t>‹#›</a:t>
            </a:fld>
            <a:endParaRPr lang="en-US" dirty="0"/>
          </a:p>
        </p:txBody>
      </p:sp>
    </p:spTree>
    <p:extLst>
      <p:ext uri="{BB962C8B-B14F-4D97-AF65-F5344CB8AC3E}">
        <p14:creationId xmlns:p14="http://schemas.microsoft.com/office/powerpoint/2010/main" val="3766150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12C838-23FB-48AE-8AFA-A51738B876D0}" type="datetimeFigureOut">
              <a:rPr lang="en-US" smtClean="0"/>
              <a:t>9/23/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75D05F-1C32-4348-A2A3-98843E8928AA}" type="slidenum">
              <a:rPr lang="en-US" smtClean="0"/>
              <a:t>‹#›</a:t>
            </a:fld>
            <a:endParaRPr lang="en-US" dirty="0"/>
          </a:p>
        </p:txBody>
      </p:sp>
    </p:spTree>
    <p:extLst>
      <p:ext uri="{BB962C8B-B14F-4D97-AF65-F5344CB8AC3E}">
        <p14:creationId xmlns:p14="http://schemas.microsoft.com/office/powerpoint/2010/main" val="5481977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azure.microsoft.com/en-us/pricing/calculator/" TargetMode="External"/><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hyperlink" Target="https://azure.microsoft.com/en-us/pricing/details/netapp/"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azure.microsoft.com/en-us/pricing/details/expressroute/"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nam06.safelinks.protection.outlook.com/?url=https%3A%2F%2Fdocs.microsoft.com%2Fen-us%2Fazure%2Fvirtual-desktop%2Fapply-windows-license&amp;data=02%7C01%7Cnarena%40microsoft.com%7C2009d3f4da554686d1fe08d72b05c6f6%7C72f988bf86f141af91ab2d7cd011db47%7C1%7C0%7C637025176204961738&amp;sdata=ZMYyHBb0F%2FmXJFpgUkRMj%2FoE8LzNCEImV5cWxJvmZvs%3D&amp;reserved=0"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aka.ms/AzureIPAdvantagePatentList"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76795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1</a:t>
            </a:fld>
            <a:endParaRPr lang="en-US" dirty="0"/>
          </a:p>
        </p:txBody>
      </p:sp>
    </p:spTree>
    <p:extLst>
      <p:ext uri="{BB962C8B-B14F-4D97-AF65-F5344CB8AC3E}">
        <p14:creationId xmlns:p14="http://schemas.microsoft.com/office/powerpoint/2010/main" val="35200762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lang="en-US" dirty="0">
              <a:solidFill>
                <a:prstClr val="black"/>
              </a:solidFill>
              <a:highlight>
                <a:srgbClr val="FFFF00"/>
              </a:highlight>
            </a:endParaRPr>
          </a:p>
          <a:p>
            <a:pPr marL="171450" lvl="0" indent="-171450">
              <a:spcBef>
                <a:spcPts val="1000"/>
              </a:spcBef>
              <a:buFont typeface="Arial" panose="020B0604020202020204" pitchFamily="34" charset="0"/>
              <a:buChar char="•"/>
            </a:pPr>
            <a:endParaRPr lang="en-US" sz="1200" dirty="0">
              <a:highlight>
                <a:srgbClr val="FFFF00"/>
              </a:highlight>
            </a:endParaRPr>
          </a:p>
        </p:txBody>
      </p:sp>
      <p:sp>
        <p:nvSpPr>
          <p:cNvPr id="4" name="Slide Number Placeholder 3"/>
          <p:cNvSpPr>
            <a:spLocks noGrp="1"/>
          </p:cNvSpPr>
          <p:nvPr>
            <p:ph type="sldNum" sz="quarter" idx="5"/>
          </p:nvPr>
        </p:nvSpPr>
        <p:spPr/>
        <p:txBody>
          <a:bodyPr/>
          <a:lstStyle/>
          <a:p>
            <a:fld id="{059A3614-930A-4653-9E96-958160BBEA08}" type="slidenum">
              <a:rPr lang="en-US" smtClean="0"/>
              <a:t>12</a:t>
            </a:fld>
            <a:endParaRPr lang="en-US" dirty="0"/>
          </a:p>
        </p:txBody>
      </p:sp>
    </p:spTree>
    <p:extLst>
      <p:ext uri="{BB962C8B-B14F-4D97-AF65-F5344CB8AC3E}">
        <p14:creationId xmlns:p14="http://schemas.microsoft.com/office/powerpoint/2010/main" val="25377337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lang="en-US" dirty="0">
              <a:solidFill>
                <a:prstClr val="black"/>
              </a:solidFill>
              <a:highlight>
                <a:srgbClr val="FFFF00"/>
              </a:highlight>
            </a:endParaRPr>
          </a:p>
          <a:p>
            <a:pPr marL="171450" lvl="0" indent="-171450">
              <a:spcBef>
                <a:spcPts val="1000"/>
              </a:spcBef>
              <a:buFont typeface="Arial" panose="020B0604020202020204" pitchFamily="34" charset="0"/>
              <a:buChar char="•"/>
            </a:pPr>
            <a:endParaRPr lang="en-US" sz="1200" dirty="0">
              <a:highlight>
                <a:srgbClr val="FFFF00"/>
              </a:highlight>
            </a:endParaRPr>
          </a:p>
        </p:txBody>
      </p:sp>
      <p:sp>
        <p:nvSpPr>
          <p:cNvPr id="4" name="Slide Number Placeholder 3"/>
          <p:cNvSpPr>
            <a:spLocks noGrp="1"/>
          </p:cNvSpPr>
          <p:nvPr>
            <p:ph type="sldNum" sz="quarter" idx="5"/>
          </p:nvPr>
        </p:nvSpPr>
        <p:spPr/>
        <p:txBody>
          <a:bodyPr/>
          <a:lstStyle/>
          <a:p>
            <a:fld id="{059A3614-930A-4653-9E96-958160BBEA08}" type="slidenum">
              <a:rPr lang="en-US" smtClean="0"/>
              <a:t>13</a:t>
            </a:fld>
            <a:endParaRPr lang="en-US" dirty="0"/>
          </a:p>
        </p:txBody>
      </p:sp>
    </p:spTree>
    <p:extLst>
      <p:ext uri="{BB962C8B-B14F-4D97-AF65-F5344CB8AC3E}">
        <p14:creationId xmlns:p14="http://schemas.microsoft.com/office/powerpoint/2010/main" val="2175233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highlight>
                  <a:srgbClr val="FFFF00"/>
                </a:highlight>
              </a:rPr>
              <a:t>Codec improvements </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highlight>
                  <a:srgbClr val="FFFF00"/>
                </a:highlight>
              </a:rPr>
              <a:t>Video playback always uses hardware acceleration</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highlight>
                  <a:srgbClr val="FFFF00"/>
                </a:highlight>
              </a:rPr>
              <a:t>Smooth playback when moving window </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highlight>
                  <a:srgbClr val="FFFF00"/>
                </a:highlight>
              </a:rPr>
              <a:t>4k dynamic downsampling</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highlight>
                  <a:srgbClr val="FFFF00"/>
                </a:highlight>
              </a:rPr>
              <a:t>RDPIDD (indirect display driver) based improvements resulting in 2x increase in framerate</a:t>
            </a:r>
          </a:p>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highlight>
                  <a:srgbClr val="FFFF00"/>
                </a:highlight>
              </a:rPr>
              <a:t>Device redirection</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highlight>
                  <a:srgbClr val="FFFF00"/>
                </a:highlight>
              </a:rPr>
              <a:t>High level redirection of built-in or attached video camera – up to 8 cameras</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highlight>
                  <a:srgbClr val="FFFF00"/>
                </a:highlight>
              </a:rPr>
              <a:t>USB, printers, scanners, keyboard – multi-language</a:t>
            </a:r>
          </a:p>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rPr>
              <a:t>Dynamic bandwidth allocation is a technique by which traffic bandwidth in a shared telecommunications medium can be allocated on demand and fairly between different users of that bandwidth</a:t>
            </a:r>
          </a:p>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rPr>
              <a:t>Dynamic resolution scaling (DRS) changes resolution on the fly in response to demands placed by what is happening on the user screen</a:t>
            </a:r>
            <a:endParaRPr lang="en-US" dirty="0">
              <a:solidFill>
                <a:prstClr val="black"/>
              </a:solidFill>
              <a:highlight>
                <a:srgbClr val="FFFF00"/>
              </a:highlight>
            </a:endParaRPr>
          </a:p>
          <a:p>
            <a:pPr marL="171450" lvl="0" indent="-171450">
              <a:spcBef>
                <a:spcPts val="1000"/>
              </a:spcBef>
              <a:buFont typeface="Arial" panose="020B0604020202020204" pitchFamily="34" charset="0"/>
              <a:buChar char="•"/>
            </a:pPr>
            <a:endParaRPr lang="en-US" sz="1200" dirty="0">
              <a:highlight>
                <a:srgbClr val="FFFF00"/>
              </a:highlight>
            </a:endParaRPr>
          </a:p>
        </p:txBody>
      </p:sp>
      <p:sp>
        <p:nvSpPr>
          <p:cNvPr id="4" name="Slide Number Placeholder 3"/>
          <p:cNvSpPr>
            <a:spLocks noGrp="1"/>
          </p:cNvSpPr>
          <p:nvPr>
            <p:ph type="sldNum" sz="quarter" idx="5"/>
          </p:nvPr>
        </p:nvSpPr>
        <p:spPr/>
        <p:txBody>
          <a:bodyPr/>
          <a:lstStyle/>
          <a:p>
            <a:fld id="{059A3614-930A-4653-9E96-958160BBEA08}" type="slidenum">
              <a:rPr lang="en-US" smtClean="0"/>
              <a:t>14</a:t>
            </a:fld>
            <a:endParaRPr lang="en-US" dirty="0"/>
          </a:p>
        </p:txBody>
      </p:sp>
    </p:spTree>
    <p:extLst>
      <p:ext uri="{BB962C8B-B14F-4D97-AF65-F5344CB8AC3E}">
        <p14:creationId xmlns:p14="http://schemas.microsoft.com/office/powerpoint/2010/main" val="21973392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5</a:t>
            </a:fld>
            <a:endParaRPr lang="en-US" dirty="0"/>
          </a:p>
        </p:txBody>
      </p:sp>
    </p:spTree>
    <p:extLst>
      <p:ext uri="{BB962C8B-B14F-4D97-AF65-F5344CB8AC3E}">
        <p14:creationId xmlns:p14="http://schemas.microsoft.com/office/powerpoint/2010/main" val="1902186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Outlook Online mode was the preferred mode for running Olk in virtualized environments and worked reasonably well while they were connecting to Exchange On-prem mailboxes. With the move of mailboxes from Exchange on-prem to O365, Online mode was not acceptable due to client perf issues resulting from high latency. When customers switched to cached mode, startup times were slow as a full redownload of OST files was required at boot and mail items sync'ed after calendar. With Cached Mode improvements Outlook now sync Inbox before Calendar so users start seeing mails appear in your inbox immediately. On subsequent boots Outlook no longer have to redownload the OST file as its persisted with FSLogix. Note the Outlook changes are in Office ProPlus Subscription only, not perpetual.</a:t>
            </a:r>
          </a:p>
        </p:txBody>
      </p:sp>
      <p:sp>
        <p:nvSpPr>
          <p:cNvPr id="4" name="Slide Number Placeholder 3"/>
          <p:cNvSpPr>
            <a:spLocks noGrp="1"/>
          </p:cNvSpPr>
          <p:nvPr>
            <p:ph type="sldNum" sz="quarter" idx="5"/>
          </p:nvPr>
        </p:nvSpPr>
        <p:spPr/>
        <p:txBody>
          <a:bodyPr/>
          <a:lstStyle/>
          <a:p>
            <a:fld id="{9A75D05F-1C32-4348-A2A3-98843E8928AA}" type="slidenum">
              <a:rPr lang="en-US" smtClean="0"/>
              <a:t>16</a:t>
            </a:fld>
            <a:endParaRPr lang="en-US" dirty="0"/>
          </a:p>
        </p:txBody>
      </p:sp>
    </p:spTree>
    <p:extLst>
      <p:ext uri="{BB962C8B-B14F-4D97-AF65-F5344CB8AC3E}">
        <p14:creationId xmlns:p14="http://schemas.microsoft.com/office/powerpoint/2010/main" val="19200599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282828"/>
                </a:solidFill>
              </a:rPr>
              <a:t>Teams on WVD: Reduced A/V calling CPU load and Azure network consumption</a:t>
            </a:r>
            <a:endParaRPr lang="en-US" dirty="0"/>
          </a:p>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7</a:t>
            </a:fld>
            <a:endParaRPr lang="en-US" dirty="0"/>
          </a:p>
        </p:txBody>
      </p:sp>
    </p:spTree>
    <p:extLst>
      <p:ext uri="{BB962C8B-B14F-4D97-AF65-F5344CB8AC3E}">
        <p14:creationId xmlns:p14="http://schemas.microsoft.com/office/powerpoint/2010/main" val="8178655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8</a:t>
            </a:fld>
            <a:endParaRPr lang="en-US" dirty="0"/>
          </a:p>
        </p:txBody>
      </p:sp>
    </p:spTree>
    <p:extLst>
      <p:ext uri="{BB962C8B-B14F-4D97-AF65-F5344CB8AC3E}">
        <p14:creationId xmlns:p14="http://schemas.microsoft.com/office/powerpoint/2010/main" val="20398257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23</a:t>
            </a:fld>
            <a:endParaRPr lang="en-US" dirty="0"/>
          </a:p>
        </p:txBody>
      </p:sp>
    </p:spTree>
    <p:extLst>
      <p:ext uri="{BB962C8B-B14F-4D97-AF65-F5344CB8AC3E}">
        <p14:creationId xmlns:p14="http://schemas.microsoft.com/office/powerpoint/2010/main" val="42876984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28</a:t>
            </a:fld>
            <a:endParaRPr lang="en-US" dirty="0"/>
          </a:p>
        </p:txBody>
      </p:sp>
    </p:spTree>
    <p:extLst>
      <p:ext uri="{BB962C8B-B14F-4D97-AF65-F5344CB8AC3E}">
        <p14:creationId xmlns:p14="http://schemas.microsoft.com/office/powerpoint/2010/main" val="4002037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7000"/>
              </a:lnSpc>
              <a:spcAft>
                <a:spcPts val="800"/>
              </a:spcAft>
              <a:buFont typeface="Arial" panose="020B0604020202020204" pitchFamily="34" charset="0"/>
              <a:buChar char="•"/>
            </a:pPr>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328061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D5FB26-E2D4-469A-A745-CA9313724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6730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30</a:t>
            </a:fld>
            <a:endParaRPr lang="en-US" dirty="0"/>
          </a:p>
        </p:txBody>
      </p:sp>
    </p:spTree>
    <p:extLst>
      <p:ext uri="{BB962C8B-B14F-4D97-AF65-F5344CB8AC3E}">
        <p14:creationId xmlns:p14="http://schemas.microsoft.com/office/powerpoint/2010/main" val="25278331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1"/>
                </a:solidFill>
              </a:rPr>
              <a:t>The first economic benefit for infrastructure is you can have Windows 10 experience at multi-session cost. It matters to you </a:t>
            </a:r>
            <a:r>
              <a:rPr lang="en-US" altLang="zh-CN" sz="1200" dirty="0">
                <a:solidFill>
                  <a:schemeClr val="tx1"/>
                </a:solidFill>
              </a:rPr>
              <a:t>because with today’s VDI solutions you’ll have to either go with Windows Server RDS which compromises on user experience or Windows 10 single-session which compromises on cost; but with WVD, you can get both. </a:t>
            </a:r>
            <a:r>
              <a:rPr lang="en-US" sz="1200" dirty="0">
                <a:solidFill>
                  <a:schemeClr val="tx1"/>
                </a:solidFill>
              </a:rPr>
              <a:t>Let’s take a look at a customer migration scenario here. If you are using Windows 10 single-session on-prem today for better user experience (against Windows Server RDS deployment), WVD is the best solution for you going forward because not only it provides local like Windows 10 experience for your end users but also saves you big bucks via multi-session deployment. </a:t>
            </a:r>
          </a:p>
          <a:p>
            <a:endParaRPr lang="en-US" sz="1200" dirty="0">
              <a:solidFill>
                <a:schemeClr val="tx1"/>
              </a:solidFill>
            </a:endParaRPr>
          </a:p>
          <a:p>
            <a:r>
              <a:rPr lang="en-US" altLang="zh-CN" sz="1200" dirty="0">
                <a:solidFill>
                  <a:schemeClr val="tx1"/>
                </a:solidFill>
              </a:rPr>
              <a:t>Let</a:t>
            </a:r>
            <a:r>
              <a:rPr lang="zh-CN" altLang="en-US" sz="1200" dirty="0">
                <a:solidFill>
                  <a:schemeClr val="tx1"/>
                </a:solidFill>
              </a:rPr>
              <a:t> </a:t>
            </a:r>
            <a:r>
              <a:rPr lang="en-US" altLang="zh-CN" sz="1200" dirty="0">
                <a:solidFill>
                  <a:schemeClr val="tx1"/>
                </a:solidFill>
              </a:rPr>
              <a:t>me</a:t>
            </a:r>
            <a:r>
              <a:rPr lang="zh-CN" altLang="en-US" sz="1200" dirty="0">
                <a:solidFill>
                  <a:schemeClr val="tx1"/>
                </a:solidFill>
              </a:rPr>
              <a:t> </a:t>
            </a:r>
            <a:r>
              <a:rPr lang="en-US" altLang="zh-CN" sz="1200" dirty="0">
                <a:solidFill>
                  <a:schemeClr val="tx1"/>
                </a:solidFill>
              </a:rPr>
              <a:t>explain</a:t>
            </a:r>
            <a:r>
              <a:rPr lang="zh-CN" altLang="en-US" sz="1200" dirty="0">
                <a:solidFill>
                  <a:schemeClr val="tx1"/>
                </a:solidFill>
              </a:rPr>
              <a:t> </a:t>
            </a:r>
            <a:r>
              <a:rPr lang="en-US" altLang="zh-CN" sz="1200" dirty="0">
                <a:solidFill>
                  <a:schemeClr val="tx1"/>
                </a:solidFill>
              </a:rPr>
              <a:t>why.</a:t>
            </a:r>
            <a:r>
              <a:rPr lang="zh-CN" altLang="en-US" sz="1200" dirty="0">
                <a:solidFill>
                  <a:schemeClr val="tx1"/>
                </a:solidFill>
              </a:rPr>
              <a:t> </a:t>
            </a:r>
            <a:r>
              <a:rPr lang="en-US" sz="1200" dirty="0">
                <a:solidFill>
                  <a:schemeClr val="tx1"/>
                </a:solidFill>
              </a:rPr>
              <a:t>For a single session deployment on the left hand side, you’ll need 1 small VM per user, which usually ends up with low utilization. In comparison, for a multi-session deployment in the middle pane, you can have a larger shared VM to support multiple users so that you have higher utilization. in addition to that, since you’ll have fewer VMs, you can also expect lower operational costs. As a result, you can expect your multi-session cost to be around 1/6 of your single-session cost as seen on the right hand side. This is the key differentiation of WVD as you will find no other solution in the marketplace that supports Windows 10 multi-session. </a:t>
            </a:r>
          </a:p>
          <a:p>
            <a:endParaRPr lang="en-US" sz="1200" dirty="0">
              <a:solidFill>
                <a:schemeClr val="tx1"/>
              </a:solidFill>
            </a:endParaRPr>
          </a:p>
          <a:p>
            <a:r>
              <a:rPr lang="en-US" sz="1200" u="sng" dirty="0">
                <a:solidFill>
                  <a:schemeClr val="tx1"/>
                </a:solidFill>
              </a:rPr>
              <a:t>Calculation logic and assumptions</a:t>
            </a:r>
            <a:r>
              <a:rPr lang="en-US" sz="1200" dirty="0">
                <a:solidFill>
                  <a:schemeClr val="tx1"/>
                </a:solidFill>
              </a:rPr>
              <a:t>:</a:t>
            </a:r>
          </a:p>
          <a:p>
            <a:r>
              <a:rPr lang="en-US" sz="1200" dirty="0">
                <a:solidFill>
                  <a:schemeClr val="tx1"/>
                </a:solidFill>
              </a:rPr>
              <a:t>$40 and $7 PUPM includes compute, storage, and networking cost, estimated for medium user type (basic Microsoft Office apps users) based on default assumptions from Microsoft guidance </a:t>
            </a:r>
          </a:p>
          <a:p>
            <a:endParaRPr lang="en-US" sz="1200" b="1" u="none" dirty="0">
              <a:solidFill>
                <a:schemeClr val="tx1"/>
              </a:solidFill>
            </a:endParaRPr>
          </a:p>
          <a:p>
            <a:r>
              <a:rPr lang="en-US" sz="1200" b="0" u="none" dirty="0">
                <a:solidFill>
                  <a:schemeClr val="tx1"/>
                </a:solidFill>
              </a:rPr>
              <a:t>Key assumptions:</a:t>
            </a:r>
          </a:p>
          <a:p>
            <a:pPr marL="137160" indent="-137160">
              <a:buFont typeface="Arial" panose="020B0604020202020204" pitchFamily="34" charset="0"/>
              <a:buChar char="•"/>
            </a:pPr>
            <a:r>
              <a:rPr lang="en-US" sz="1200" b="1" u="none" dirty="0">
                <a:solidFill>
                  <a:schemeClr val="tx1"/>
                </a:solidFill>
              </a:rPr>
              <a:t>Users</a:t>
            </a:r>
          </a:p>
          <a:p>
            <a:pPr marL="365760" lvl="1" indent="-137160">
              <a:buFont typeface="Segoe UI" panose="020B0502040204020203" pitchFamily="34" charset="0"/>
              <a:buChar char="–"/>
            </a:pPr>
            <a:r>
              <a:rPr lang="en-US" altLang="zh-CN" sz="1200" b="0" u="none" dirty="0">
                <a:solidFill>
                  <a:schemeClr val="tx1"/>
                </a:solidFill>
              </a:rPr>
              <a:t>1,000 medium users</a:t>
            </a:r>
            <a:endParaRPr lang="en-US" sz="1200" b="0" u="none" dirty="0">
              <a:solidFill>
                <a:schemeClr val="tx1"/>
              </a:solidFill>
            </a:endParaRPr>
          </a:p>
          <a:p>
            <a:pPr marL="137160" indent="-137160">
              <a:buFont typeface="Arial" panose="020B0604020202020204" pitchFamily="34" charset="0"/>
              <a:buChar char="•"/>
            </a:pPr>
            <a:r>
              <a:rPr lang="en-US" sz="1200" b="1" u="none" dirty="0">
                <a:solidFill>
                  <a:schemeClr val="tx1"/>
                </a:solidFill>
              </a:rPr>
              <a:t>Azure Region</a:t>
            </a:r>
          </a:p>
          <a:p>
            <a:pPr marL="365760" lvl="1" indent="-137160">
              <a:buFont typeface="Segoe UI" panose="020B0502040204020203" pitchFamily="34" charset="0"/>
              <a:buChar char="–"/>
            </a:pPr>
            <a:r>
              <a:rPr lang="en-US" sz="1200" b="0" u="none" dirty="0">
                <a:solidFill>
                  <a:schemeClr val="tx1"/>
                </a:solidFill>
              </a:rPr>
              <a:t>US East</a:t>
            </a:r>
          </a:p>
          <a:p>
            <a:pPr marL="137160" indent="-137160">
              <a:buFont typeface="Arial" panose="020B0604020202020204" pitchFamily="34" charset="0"/>
              <a:buChar char="•"/>
            </a:pPr>
            <a:r>
              <a:rPr lang="en-US" sz="1200" b="1" u="none" dirty="0">
                <a:solidFill>
                  <a:schemeClr val="tx1"/>
                </a:solidFill>
              </a:rPr>
              <a:t>Compute</a:t>
            </a:r>
          </a:p>
          <a:p>
            <a:pPr marL="365760" lvl="1" indent="-137160">
              <a:buFont typeface="Segoe UI" panose="020B0502040204020203" pitchFamily="34" charset="0"/>
              <a:buChar char="–"/>
            </a:pPr>
            <a:r>
              <a:rPr lang="en-US" altLang="zh-CN" sz="1200" dirty="0">
                <a:solidFill>
                  <a:schemeClr val="tx1"/>
                </a:solidFill>
              </a:rPr>
              <a:t>Single-session: 1 user per D2s v3 </a:t>
            </a:r>
          </a:p>
          <a:p>
            <a:pPr marL="365760" lvl="1" indent="-137160">
              <a:buFont typeface="Segoe UI" panose="020B0502040204020203" pitchFamily="34" charset="0"/>
              <a:buChar char="–"/>
            </a:pPr>
            <a:r>
              <a:rPr lang="en-US" sz="1200" dirty="0">
                <a:solidFill>
                  <a:schemeClr val="tx1"/>
                </a:solidFill>
              </a:rPr>
              <a:t>Multi-session: </a:t>
            </a:r>
            <a:r>
              <a:rPr lang="en-US" altLang="zh-CN" sz="1200" dirty="0">
                <a:solidFill>
                  <a:schemeClr val="tx1"/>
                </a:solidFill>
              </a:rPr>
              <a:t>32 users per D8s v3</a:t>
            </a:r>
          </a:p>
          <a:p>
            <a:pPr marL="365760" marR="0" lvl="1" indent="-13716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200" dirty="0">
                <a:solidFill>
                  <a:schemeClr val="tx1"/>
                </a:solidFill>
              </a:rPr>
              <a:t>3-year reserved instance rate</a:t>
            </a:r>
          </a:p>
          <a:p>
            <a:pPr marL="137160" indent="-137160">
              <a:buFont typeface="Arial" panose="020B0604020202020204" pitchFamily="34" charset="0"/>
              <a:buChar char="•"/>
            </a:pPr>
            <a:r>
              <a:rPr lang="en-US" sz="1200" b="1" u="none" dirty="0">
                <a:solidFill>
                  <a:schemeClr val="tx1"/>
                </a:solidFill>
              </a:rPr>
              <a:t>Storage</a:t>
            </a:r>
            <a:r>
              <a:rPr lang="en-US" sz="1200" u="sng" dirty="0">
                <a:solidFill>
                  <a:schemeClr val="tx1"/>
                </a:solidFill>
              </a:rPr>
              <a:t> </a:t>
            </a:r>
          </a:p>
          <a:p>
            <a:pPr marL="365760" lvl="1" indent="-137160">
              <a:buFont typeface="Segoe UI" panose="020B0502040204020203" pitchFamily="34" charset="0"/>
              <a:buChar char="–"/>
            </a:pPr>
            <a:r>
              <a:rPr lang="en-US" sz="1200" dirty="0">
                <a:solidFill>
                  <a:schemeClr val="tx1"/>
                </a:solidFill>
              </a:rPr>
              <a:t>20 GB storage requirements per user with Azure NetApp Files</a:t>
            </a:r>
          </a:p>
          <a:p>
            <a:pPr marL="137160" indent="-137160">
              <a:buFont typeface="Arial" panose="020B0604020202020204" pitchFamily="34" charset="0"/>
              <a:buChar char="•"/>
            </a:pPr>
            <a:r>
              <a:rPr lang="en-US" sz="1200" b="1" u="none" dirty="0">
                <a:solidFill>
                  <a:schemeClr val="tx1"/>
                </a:solidFill>
              </a:rPr>
              <a:t>Networking</a:t>
            </a:r>
            <a:r>
              <a:rPr lang="en-US" sz="1200" dirty="0">
                <a:solidFill>
                  <a:schemeClr val="tx1"/>
                </a:solidFill>
              </a:rPr>
              <a:t> </a:t>
            </a:r>
          </a:p>
          <a:p>
            <a:pPr marL="365760" lvl="1" indent="-137160">
              <a:buFont typeface="Segoe UI" panose="020B0502040204020203" pitchFamily="34" charset="0"/>
              <a:buChar char="–"/>
            </a:pPr>
            <a:r>
              <a:rPr lang="en-US" sz="1200" dirty="0">
                <a:solidFill>
                  <a:schemeClr val="tx1"/>
                </a:solidFill>
              </a:rPr>
              <a:t>150 kbps egress per user with virtual network</a:t>
            </a:r>
          </a:p>
          <a:p>
            <a:pPr marL="365760" lvl="1" indent="-137160">
              <a:buFont typeface="Segoe UI" panose="020B0502040204020203" pitchFamily="34" charset="0"/>
              <a:buChar char="–"/>
            </a:pPr>
            <a:r>
              <a:rPr lang="en-US" altLang="zh-CN" sz="1200" dirty="0">
                <a:solidFill>
                  <a:schemeClr val="tx1"/>
                </a:solidFill>
              </a:rPr>
              <a:t>US East same region</a:t>
            </a:r>
            <a:endParaRPr lang="en-US" sz="1200" dirty="0">
              <a:solidFill>
                <a:schemeClr val="tx1"/>
              </a:solidFill>
            </a:endParaRPr>
          </a:p>
          <a:p>
            <a:endParaRPr 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Note 1: See Appendix [WVD Cost Estimation for Win10 multi-session vs. Win10 single-session] for the complete cost calculation</a:t>
            </a:r>
          </a:p>
          <a:p>
            <a:r>
              <a:rPr lang="en-US" sz="1200" dirty="0">
                <a:solidFill>
                  <a:schemeClr val="tx1"/>
                </a:solidFill>
              </a:rPr>
              <a:t>Note 2: Numbers are rounded for simplicity</a:t>
            </a:r>
          </a:p>
        </p:txBody>
      </p:sp>
      <p:sp>
        <p:nvSpPr>
          <p:cNvPr id="4" name="Slide Number Placeholder 3"/>
          <p:cNvSpPr>
            <a:spLocks noGrp="1"/>
          </p:cNvSpPr>
          <p:nvPr>
            <p:ph type="sldNum" sz="quarter" idx="5"/>
          </p:nvPr>
        </p:nvSpPr>
        <p:spPr/>
        <p:txBody>
          <a:bodyPr/>
          <a:lstStyle/>
          <a:p>
            <a:fld id="{9A75D05F-1C32-4348-A2A3-98843E8928AA}" type="slidenum">
              <a:rPr lang="en-US" smtClean="0"/>
              <a:t>31</a:t>
            </a:fld>
            <a:endParaRPr lang="en-US" dirty="0"/>
          </a:p>
        </p:txBody>
      </p:sp>
    </p:spTree>
    <p:extLst>
      <p:ext uri="{BB962C8B-B14F-4D97-AF65-F5344CB8AC3E}">
        <p14:creationId xmlns:p14="http://schemas.microsoft.com/office/powerpoint/2010/main" val="28087603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1"/>
                </a:solidFill>
              </a:rPr>
              <a:t>Next we’ll look at compute and storage cost benefits. As you know compute and storage usually account for 90+% of your total infrastructure cost, so it’s important to get the best economics here. Following a similar process as on the previous slide, we’ll be comparing WVD with on-prem virtualization and see where WVD’s advantages come from.</a:t>
            </a:r>
          </a:p>
          <a:p>
            <a:endParaRPr lang="en-US" sz="1200" dirty="0">
              <a:solidFill>
                <a:schemeClr val="tx1"/>
              </a:solidFill>
            </a:endParaRPr>
          </a:p>
          <a:p>
            <a:r>
              <a:rPr lang="en-US" sz="1200" dirty="0">
                <a:solidFill>
                  <a:schemeClr val="tx1"/>
                </a:solidFill>
              </a:rPr>
              <a:t>For the on-prem virtualization on the left hand side, you’ll have to provision and pay for peak usage regardless of your actual usage. </a:t>
            </a:r>
          </a:p>
          <a:p>
            <a:r>
              <a:rPr lang="en-US" sz="1200" dirty="0">
                <a:solidFill>
                  <a:schemeClr val="tx1"/>
                </a:solidFill>
              </a:rPr>
              <a:t>In other words, unless you can always operate at high capacity, you’ll be paying for more than you needed due to fluctuating usage. In contrast, in WVD, you can choose to only pay for what you use via pay-as-you-go option, which enables you to achieve great cost effectiveness. Furthermore, you can opt for reserved instance option for those VMs you expect to be highly utilized while keeping low utilization with pay-as-you-go option to achieve optimized cost.</a:t>
            </a:r>
          </a:p>
          <a:p>
            <a:endParaRPr lang="en-US" sz="1200" dirty="0">
              <a:solidFill>
                <a:schemeClr val="tx1"/>
              </a:solidFill>
            </a:endParaRPr>
          </a:p>
          <a:p>
            <a:r>
              <a:rPr lang="en-US" sz="1200" dirty="0">
                <a:solidFill>
                  <a:schemeClr val="tx1"/>
                </a:solidFill>
              </a:rPr>
              <a:t>As a result, for Compute you save ~30% on VMs with the optimized mix of RI and PAYG VMs. </a:t>
            </a:r>
          </a:p>
          <a:p>
            <a:endParaRPr lang="en-US" sz="1200" dirty="0">
              <a:solidFill>
                <a:schemeClr val="tx1"/>
              </a:solidFill>
            </a:endParaRPr>
          </a:p>
          <a:p>
            <a:r>
              <a:rPr lang="en-US" sz="1200" dirty="0">
                <a:solidFill>
                  <a:schemeClr val="tx1"/>
                </a:solidFill>
              </a:rPr>
              <a:t>Azure VM pricing: </a:t>
            </a:r>
            <a:r>
              <a:rPr lang="en-US" dirty="0">
                <a:hlinkClick r:id="rId3"/>
              </a:rPr>
              <a:t>https://azure.microsoft.com/en-us/pricing/calculator/</a:t>
            </a:r>
            <a:r>
              <a:rPr lang="en-US" sz="1200" dirty="0">
                <a:solidFill>
                  <a:schemeClr val="tx1"/>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zure NetApp Files pricing: </a:t>
            </a:r>
            <a:r>
              <a:rPr lang="en-US" dirty="0">
                <a:hlinkClick r:id="rId4"/>
              </a:rPr>
              <a:t>https://azure.microsoft.com/en-us/pricing/details/netapp/</a:t>
            </a:r>
            <a:endParaRPr lang="en-US" sz="1200" dirty="0">
              <a:solidFill>
                <a:schemeClr val="tx1"/>
              </a:solidFill>
            </a:endParaRPr>
          </a:p>
          <a:p>
            <a:endParaRPr lang="en-US" sz="1200" dirty="0">
              <a:solidFill>
                <a:schemeClr val="tx1"/>
              </a:solidFill>
            </a:endParaRPr>
          </a:p>
          <a:p>
            <a:r>
              <a:rPr lang="en-US" sz="1200" dirty="0">
                <a:solidFill>
                  <a:schemeClr val="tx1"/>
                </a:solidFill>
              </a:rPr>
              <a:t>Calculation assumptions:</a:t>
            </a:r>
          </a:p>
          <a:p>
            <a:r>
              <a:rPr lang="en-US" sz="1200" dirty="0">
                <a:solidFill>
                  <a:schemeClr val="tx1"/>
                </a:solidFill>
              </a:rPr>
              <a:t>Azure Region: US East</a:t>
            </a:r>
          </a:p>
          <a:p>
            <a:r>
              <a:rPr lang="en-US" sz="1200" dirty="0">
                <a:solidFill>
                  <a:schemeClr val="tx1"/>
                </a:solidFill>
              </a:rPr>
              <a:t>Left bar: 800 concurrent users working on 25 VMs (D8s v3) with 3-year reserved instance option (proxy for on-prem cost) </a:t>
            </a:r>
          </a:p>
          <a:p>
            <a:r>
              <a:rPr lang="en-US" sz="1200" dirty="0">
                <a:solidFill>
                  <a:schemeClr val="tx1"/>
                </a:solidFill>
              </a:rPr>
              <a:t>Calculation: $0.16 / hr * 730 hrs * 25 VMs = ~$2,850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Right bar: </a:t>
            </a:r>
            <a:r>
              <a:rPr lang="en-US" altLang="zh-CN" sz="1200" dirty="0">
                <a:solidFill>
                  <a:schemeClr val="tx1"/>
                </a:solidFill>
              </a:rPr>
              <a:t>64</a:t>
            </a:r>
            <a:r>
              <a:rPr lang="en-US" sz="1200" dirty="0">
                <a:solidFill>
                  <a:schemeClr val="tx1"/>
                </a:solidFill>
              </a:rPr>
              <a:t>0 concurrent users working 180 hours on 2</a:t>
            </a:r>
            <a:r>
              <a:rPr lang="en-US" altLang="zh-CN" sz="1200" dirty="0">
                <a:solidFill>
                  <a:schemeClr val="tx1"/>
                </a:solidFill>
              </a:rPr>
              <a:t>0</a:t>
            </a:r>
            <a:r>
              <a:rPr lang="en-US" sz="1200" dirty="0">
                <a:solidFill>
                  <a:schemeClr val="tx1"/>
                </a:solidFill>
              </a:rPr>
              <a:t> VMs (D8s v3) with </a:t>
            </a:r>
            <a:r>
              <a:rPr lang="en-US" altLang="zh-CN" sz="1200" dirty="0">
                <a:solidFill>
                  <a:schemeClr val="tx1"/>
                </a:solidFill>
              </a:rPr>
              <a:t>pay-as-you-go option, and 160 concurrent users working on 5 VMs with </a:t>
            </a:r>
            <a:r>
              <a:rPr lang="en-US" sz="1200" dirty="0">
                <a:solidFill>
                  <a:schemeClr val="tx1"/>
                </a:solidFill>
              </a:rPr>
              <a:t>3-year reserved instance op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Calculation: $0.38 / hr * 180 hrs * 20 VMs = ~$1,390; $0.16 / hr * 730 hrs * 5 VMs = ~$670</a:t>
            </a:r>
          </a:p>
          <a:p>
            <a:endParaRPr 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Note 1: Modeled for compute cost only; numbers are rounded for simplic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Note 2: Same benefit applies to Azure NetApp Files and Azure Files storage, but not File Server storage</a:t>
            </a:r>
          </a:p>
        </p:txBody>
      </p:sp>
      <p:sp>
        <p:nvSpPr>
          <p:cNvPr id="4" name="Slide Number Placeholder 3"/>
          <p:cNvSpPr>
            <a:spLocks noGrp="1"/>
          </p:cNvSpPr>
          <p:nvPr>
            <p:ph type="sldNum" sz="quarter" idx="5"/>
          </p:nvPr>
        </p:nvSpPr>
        <p:spPr/>
        <p:txBody>
          <a:bodyPr/>
          <a:lstStyle/>
          <a:p>
            <a:fld id="{9A75D05F-1C32-4348-A2A3-98843E8928AA}" type="slidenum">
              <a:rPr lang="en-US" smtClean="0"/>
              <a:t>32</a:t>
            </a:fld>
            <a:endParaRPr lang="en-US" dirty="0"/>
          </a:p>
        </p:txBody>
      </p:sp>
    </p:spTree>
    <p:extLst>
      <p:ext uri="{BB962C8B-B14F-4D97-AF65-F5344CB8AC3E}">
        <p14:creationId xmlns:p14="http://schemas.microsoft.com/office/powerpoint/2010/main" val="32791507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solidFill>
              </a:rPr>
              <a:t>Similar to compute and storage, WVD customers also get better value for networking. Comparing to physical network on-prem which you would provision and pay for peak two-way traffic, in WVD you will only pay for actual outbound traffic. And again you can further optimize your cost by using fixed fee option (using an ExpressRoute data plan) to cover your base usage, and using variable outbound traffic if you need additional bandwidth. </a:t>
            </a:r>
          </a:p>
          <a:p>
            <a:endParaRPr lang="en-US" dirty="0">
              <a:solidFill>
                <a:schemeClr val="tx1"/>
              </a:solidFill>
            </a:endParaRPr>
          </a:p>
          <a:p>
            <a:r>
              <a:rPr lang="en-US" dirty="0">
                <a:solidFill>
                  <a:schemeClr val="tx1"/>
                </a:solidFill>
              </a:rPr>
              <a:t>ExpressRoute pricing: </a:t>
            </a:r>
            <a:r>
              <a:rPr lang="en-US" dirty="0">
                <a:hlinkClick r:id="rId3"/>
              </a:rPr>
              <a:t>https://azure.microsoft.com/en-us/pricing/details/expressroute/</a:t>
            </a:r>
            <a:endParaRPr lang="en-US" dirty="0">
              <a:solidFill>
                <a:schemeClr val="tx1"/>
              </a:solidFill>
            </a:endParaRPr>
          </a:p>
          <a:p>
            <a:endParaRPr lang="en-US" dirty="0">
              <a:solidFill>
                <a:schemeClr val="tx1"/>
              </a:solidFill>
            </a:endParaRPr>
          </a:p>
          <a:p>
            <a:r>
              <a:rPr lang="en-US" dirty="0">
                <a:solidFill>
                  <a:schemeClr val="tx1"/>
                </a:solidFill>
              </a:rPr>
              <a:t>Calculation assum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Left bar: ExpressRoute 500 Mbps </a:t>
            </a:r>
            <a:r>
              <a:rPr lang="en-US" altLang="zh-CN" dirty="0">
                <a:solidFill>
                  <a:schemeClr val="tx1"/>
                </a:solidFill>
              </a:rPr>
              <a:t>U</a:t>
            </a:r>
            <a:r>
              <a:rPr lang="en-US" dirty="0">
                <a:solidFill>
                  <a:schemeClr val="tx1"/>
                </a:solidFill>
              </a:rPr>
              <a:t>nlimited Plan (</a:t>
            </a:r>
            <a:r>
              <a:rPr lang="en-US" altLang="zh-CN" dirty="0">
                <a:solidFill>
                  <a:schemeClr val="tx1"/>
                </a:solidFill>
              </a:rPr>
              <a:t>East US)</a:t>
            </a:r>
            <a:r>
              <a:rPr lang="en-US" dirty="0">
                <a:solidFill>
                  <a:schemeClr val="tx1"/>
                </a:solidFill>
              </a:rPr>
              <a:t> for </a:t>
            </a:r>
            <a:r>
              <a:rPr lang="en-US" altLang="zh-CN" dirty="0">
                <a:solidFill>
                  <a:schemeClr val="tx1"/>
                </a:solidFill>
              </a:rPr>
              <a:t>240TB outbound traffic per mont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Calculation: ExpressRoute 500 Mbps </a:t>
            </a:r>
            <a:r>
              <a:rPr lang="en-US" altLang="zh-CN" dirty="0">
                <a:solidFill>
                  <a:schemeClr val="tx1"/>
                </a:solidFill>
              </a:rPr>
              <a:t>U</a:t>
            </a:r>
            <a:r>
              <a:rPr lang="en-US" dirty="0">
                <a:solidFill>
                  <a:schemeClr val="tx1"/>
                </a:solidFill>
              </a:rPr>
              <a:t>nlimited Plan for East US is $2,750</a:t>
            </a:r>
          </a:p>
          <a:p>
            <a:r>
              <a:rPr lang="en-US" dirty="0">
                <a:solidFill>
                  <a:schemeClr val="tx1"/>
                </a:solidFill>
              </a:rPr>
              <a:t>Right bar: ExpressRoute 500 Mbps Metered Plan (</a:t>
            </a:r>
            <a:r>
              <a:rPr lang="en-US" altLang="zh-CN" dirty="0">
                <a:solidFill>
                  <a:schemeClr val="tx1"/>
                </a:solidFill>
              </a:rPr>
              <a:t>East US) </a:t>
            </a:r>
            <a:r>
              <a:rPr lang="en-US" dirty="0">
                <a:solidFill>
                  <a:schemeClr val="tx1"/>
                </a:solidFill>
              </a:rPr>
              <a:t>for </a:t>
            </a:r>
            <a:r>
              <a:rPr lang="en-US" altLang="zh-CN" dirty="0">
                <a:solidFill>
                  <a:schemeClr val="tx1"/>
                </a:solidFill>
              </a:rPr>
              <a:t>240TB outbound traffic per month</a:t>
            </a:r>
          </a:p>
          <a:p>
            <a:r>
              <a:rPr lang="en-US" dirty="0">
                <a:solidFill>
                  <a:schemeClr val="tx1"/>
                </a:solidFill>
              </a:rPr>
              <a:t>Calculation: ExpressRoute 500 Mbps </a:t>
            </a:r>
            <a:r>
              <a:rPr lang="en-US" altLang="zh-CN" dirty="0">
                <a:solidFill>
                  <a:schemeClr val="tx1"/>
                </a:solidFill>
              </a:rPr>
              <a:t>Metered</a:t>
            </a:r>
            <a:r>
              <a:rPr lang="en-US" dirty="0">
                <a:solidFill>
                  <a:schemeClr val="tx1"/>
                </a:solidFill>
              </a:rPr>
              <a:t> Plan for East US is $290,</a:t>
            </a:r>
            <a:r>
              <a:rPr lang="zh-CN" altLang="en-US" dirty="0">
                <a:solidFill>
                  <a:schemeClr val="tx1"/>
                </a:solidFill>
              </a:rPr>
              <a:t> </a:t>
            </a:r>
            <a:r>
              <a:rPr lang="en-US" altLang="zh-CN" dirty="0">
                <a:solidFill>
                  <a:schemeClr val="tx1"/>
                </a:solidFill>
              </a:rPr>
              <a:t>which</a:t>
            </a:r>
            <a:r>
              <a:rPr lang="zh-CN" altLang="en-US" dirty="0">
                <a:solidFill>
                  <a:schemeClr val="tx1"/>
                </a:solidFill>
              </a:rPr>
              <a:t> </a:t>
            </a:r>
            <a:r>
              <a:rPr lang="en-US" altLang="zh-CN" dirty="0">
                <a:solidFill>
                  <a:schemeClr val="tx1"/>
                </a:solidFill>
              </a:rPr>
              <a:t>include 164TB; the additional 76TB cost = 0.025/GB * 76*1024GB = $1,945</a:t>
            </a:r>
            <a:endParaRPr lang="en-US" dirty="0">
              <a:solidFill>
                <a:schemeClr val="tx1"/>
              </a:solidFill>
            </a:endParaRPr>
          </a:p>
          <a:p>
            <a:endParaRPr lang="en-US" dirty="0">
              <a:solidFill>
                <a:schemeClr val="tx1"/>
              </a:solidFill>
            </a:endParaRPr>
          </a:p>
          <a:p>
            <a:r>
              <a:rPr lang="en-US" dirty="0">
                <a:solidFill>
                  <a:schemeClr val="tx1"/>
                </a:solidFill>
              </a:rPr>
              <a:t>240TB is calculated from the following assumptions :</a:t>
            </a:r>
          </a:p>
          <a:p>
            <a:r>
              <a:rPr lang="en-US" sz="1200" kern="1200" dirty="0">
                <a:solidFill>
                  <a:schemeClr val="tx1"/>
                </a:solidFill>
                <a:effectLst/>
                <a:latin typeface="+mn-lt"/>
                <a:ea typeface="+mn-ea"/>
                <a:cs typeface="+mn-cs"/>
              </a:rPr>
              <a:t># of users: 1,500</a:t>
            </a:r>
          </a:p>
          <a:p>
            <a:r>
              <a:rPr lang="en-US" sz="1200" kern="1200" dirty="0">
                <a:solidFill>
                  <a:schemeClr val="tx1"/>
                </a:solidFill>
                <a:effectLst/>
                <a:latin typeface="+mn-lt"/>
                <a:ea typeface="+mn-ea"/>
                <a:cs typeface="+mn-cs"/>
              </a:rPr>
              <a:t>Average # of monitors per user: 1.2 monitors</a:t>
            </a:r>
          </a:p>
          <a:p>
            <a:r>
              <a:rPr lang="en-US" sz="1200" kern="1200" dirty="0">
                <a:solidFill>
                  <a:schemeClr val="tx1"/>
                </a:solidFill>
                <a:effectLst/>
                <a:latin typeface="+mn-lt"/>
                <a:ea typeface="+mn-ea"/>
                <a:cs typeface="+mn-cs"/>
              </a:rPr>
              <a:t>Average network traffic: 200KB / second / monitor</a:t>
            </a:r>
          </a:p>
          <a:p>
            <a:r>
              <a:rPr lang="en-US" sz="1200" kern="1200" dirty="0">
                <a:solidFill>
                  <a:schemeClr val="tx1"/>
                </a:solidFill>
                <a:effectLst/>
                <a:latin typeface="+mn-lt"/>
                <a:ea typeface="+mn-ea"/>
                <a:cs typeface="+mn-cs"/>
              </a:rPr>
              <a:t>User work hours/days: 9 hours a day / 22 days a month</a:t>
            </a:r>
          </a:p>
          <a:p>
            <a:endParaRPr lang="en-US" dirty="0">
              <a:solidFill>
                <a:schemeClr val="tx1"/>
              </a:solidFill>
            </a:endParaRPr>
          </a:p>
          <a:p>
            <a:r>
              <a:rPr lang="en-US" dirty="0">
                <a:solidFill>
                  <a:schemeClr val="tx1"/>
                </a:solidFill>
              </a:rPr>
              <a:t>Note 1: Numbers are rounded for simplicity</a:t>
            </a:r>
          </a:p>
        </p:txBody>
      </p:sp>
      <p:sp>
        <p:nvSpPr>
          <p:cNvPr id="4" name="Slide Number Placeholder 3"/>
          <p:cNvSpPr>
            <a:spLocks noGrp="1"/>
          </p:cNvSpPr>
          <p:nvPr>
            <p:ph type="sldNum" sz="quarter" idx="5"/>
          </p:nvPr>
        </p:nvSpPr>
        <p:spPr/>
        <p:txBody>
          <a:bodyPr/>
          <a:lstStyle/>
          <a:p>
            <a:fld id="{9A75D05F-1C32-4348-A2A3-98843E8928AA}" type="slidenum">
              <a:rPr lang="en-US" smtClean="0"/>
              <a:t>33</a:t>
            </a:fld>
            <a:endParaRPr lang="en-US" dirty="0"/>
          </a:p>
        </p:txBody>
      </p:sp>
    </p:spTree>
    <p:extLst>
      <p:ext uri="{BB962C8B-B14F-4D97-AF65-F5344CB8AC3E}">
        <p14:creationId xmlns:p14="http://schemas.microsoft.com/office/powerpoint/2010/main" val="15472882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solidFill>
              </a:rPr>
              <a:t>Another key benefit of WVD is you don’t need to purchase Windows Server license for your session host VMs. Let’s take a look at the scenario - customers move from Windows Server RDS deployment on-prem to Windows Server in WVD. For on-prem, customers will have to have Windows Server license for each of RDSH VMs, but if they move to WVD, WVD eliminates the need to bring your own Windows Server license and every session host VM will be charged the base Linux compute rate. This is a big cost saving – 65% saving as seen in our modelled example.</a:t>
            </a:r>
          </a:p>
          <a:p>
            <a:endParaRPr lang="en-US"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Refer to </a:t>
            </a:r>
            <a:r>
              <a:rPr lang="en-US" sz="1200" u="sng" kern="1200" dirty="0">
                <a:solidFill>
                  <a:schemeClr val="tx1"/>
                </a:solidFill>
                <a:effectLst/>
                <a:latin typeface="+mn-lt"/>
                <a:ea typeface="+mn-ea"/>
                <a:cs typeface="+mn-cs"/>
                <a:hlinkClick r:id="rId3"/>
              </a:rPr>
              <a:t>https://docs.microsoft.com/en-us/azure/virtual-desktop/apply-windows-license</a:t>
            </a:r>
            <a:r>
              <a:rPr lang="en-US" sz="1200" b="0" u="none" kern="1200" dirty="0">
                <a:solidFill>
                  <a:schemeClr val="tx1"/>
                </a:solidFill>
                <a:effectLst/>
                <a:latin typeface="+mn-lt"/>
                <a:ea typeface="+mn-ea"/>
                <a:cs typeface="+mn-cs"/>
              </a:rPr>
              <a:t> for “</a:t>
            </a:r>
            <a:r>
              <a:rPr lang="en-US" sz="1200" b="0" i="0" u="none" kern="1200" dirty="0">
                <a:solidFill>
                  <a:schemeClr val="tx1"/>
                </a:solidFill>
                <a:effectLst/>
                <a:latin typeface="+mn-lt"/>
                <a:ea typeface="+mn-ea"/>
                <a:cs typeface="+mn-cs"/>
              </a:rPr>
              <a:t>Apply Windows license to session host virtual machines”.</a:t>
            </a:r>
            <a:endParaRPr lang="en-US" dirty="0">
              <a:solidFill>
                <a:schemeClr val="tx1"/>
              </a:solidFill>
            </a:endParaRPr>
          </a:p>
          <a:p>
            <a:endParaRPr lang="en-US" dirty="0">
              <a:solidFill>
                <a:schemeClr val="tx1"/>
              </a:solidFill>
            </a:endParaRPr>
          </a:p>
          <a:p>
            <a:pPr fontAlgn="base"/>
            <a:r>
              <a:rPr lang="en-US" dirty="0">
                <a:solidFill>
                  <a:schemeClr val="tx1"/>
                </a:solidFill>
              </a:rPr>
              <a:t>Note 1: </a:t>
            </a:r>
            <a:r>
              <a:rPr lang="en-US" sz="1200" dirty="0">
                <a:solidFill>
                  <a:schemeClr val="tx1"/>
                </a:solidFill>
              </a:rPr>
              <a:t>Non-session host VMs still require Windows Server license (only if Azure Hybrid Benefits are not available)</a:t>
            </a:r>
          </a:p>
          <a:p>
            <a:pPr fontAlgn="base"/>
            <a:r>
              <a:rPr lang="en-US" sz="1200" dirty="0">
                <a:solidFill>
                  <a:schemeClr val="tx1"/>
                </a:solidFill>
              </a:rPr>
              <a:t>Note 2: With Azure NetApp Files or Azure Files, customers also save the cost of Windows Server license and its hosting VM that would otherwise be required by File Server</a:t>
            </a:r>
            <a:endParaRPr lang="en-US" dirty="0">
              <a:solidFill>
                <a:schemeClr val="tx1"/>
              </a:solidFill>
            </a:endParaRPr>
          </a:p>
          <a:p>
            <a:endParaRPr lang="en-US"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Calculation assumptions:</a:t>
            </a:r>
          </a:p>
          <a:p>
            <a:r>
              <a:rPr lang="en-US" dirty="0">
                <a:solidFill>
                  <a:schemeClr val="tx1"/>
                </a:solidFill>
              </a:rPr>
              <a:t>Left bar: D8s v3 at Windows Server rate (US West) for 1000 compute hours </a:t>
            </a:r>
          </a:p>
          <a:p>
            <a:r>
              <a:rPr lang="en-US" dirty="0">
                <a:solidFill>
                  <a:schemeClr val="tx1"/>
                </a:solidFill>
              </a:rPr>
              <a:t>Calculation: $0.57/hr * 1000 hrs = $570</a:t>
            </a:r>
          </a:p>
          <a:p>
            <a:r>
              <a:rPr lang="en-US" dirty="0">
                <a:solidFill>
                  <a:schemeClr val="tx1"/>
                </a:solidFill>
              </a:rPr>
              <a:t>Right bar: D8s v3 at Linux rate (US West) for 1000 compute hours </a:t>
            </a:r>
          </a:p>
          <a:p>
            <a:r>
              <a:rPr lang="en-US" dirty="0">
                <a:solidFill>
                  <a:schemeClr val="tx1"/>
                </a:solidFill>
              </a:rPr>
              <a:t>Calculation: $0.20/hr * 1000 hrs = $200</a:t>
            </a:r>
          </a:p>
          <a:p>
            <a:endParaRPr lang="en-US" dirty="0">
              <a:solidFill>
                <a:schemeClr val="tx1"/>
              </a:solidFill>
            </a:endParaRPr>
          </a:p>
          <a:p>
            <a:r>
              <a:rPr lang="en-US" dirty="0">
                <a:solidFill>
                  <a:schemeClr val="tx1"/>
                </a:solidFill>
              </a:rPr>
              <a:t>Note 3: Numbers are rounded for simplicity</a:t>
            </a:r>
          </a:p>
        </p:txBody>
      </p:sp>
      <p:sp>
        <p:nvSpPr>
          <p:cNvPr id="4" name="Slide Number Placeholder 3"/>
          <p:cNvSpPr>
            <a:spLocks noGrp="1"/>
          </p:cNvSpPr>
          <p:nvPr>
            <p:ph type="sldNum" sz="quarter" idx="5"/>
          </p:nvPr>
        </p:nvSpPr>
        <p:spPr/>
        <p:txBody>
          <a:bodyPr/>
          <a:lstStyle/>
          <a:p>
            <a:fld id="{9A75D05F-1C32-4348-A2A3-98843E8928AA}" type="slidenum">
              <a:rPr lang="en-US" smtClean="0"/>
              <a:t>34</a:t>
            </a:fld>
            <a:endParaRPr lang="en-US" dirty="0"/>
          </a:p>
        </p:txBody>
      </p:sp>
    </p:spTree>
    <p:extLst>
      <p:ext uri="{BB962C8B-B14F-4D97-AF65-F5344CB8AC3E}">
        <p14:creationId xmlns:p14="http://schemas.microsoft.com/office/powerpoint/2010/main" val="32389985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 economics is another benefit that comes with WVD. For on-prem virtualization, customers have to invest and build infrastructure for peak demand and hence incur high upfront Capex cost, whereas with cloud you can pay on monthly basis for actual capacity consumed.</a:t>
            </a:r>
          </a:p>
          <a:p>
            <a:endParaRPr lang="en-US" dirty="0"/>
          </a:p>
          <a:p>
            <a:r>
              <a:rPr lang="en-US" dirty="0"/>
              <a:t>Cloud is usually more efficient and cost effective than on-prem because 1) you can avoid large upfront financial commitments and deployment projects, 2) you can match capacity to operational needs, 3) you can align IT HW, SW, and services with changing business requirements, 4) you can get accurate departmental cross-charge and COGS alignment</a:t>
            </a:r>
          </a:p>
        </p:txBody>
      </p:sp>
      <p:sp>
        <p:nvSpPr>
          <p:cNvPr id="4" name="Slide Number Placeholder 3"/>
          <p:cNvSpPr>
            <a:spLocks noGrp="1"/>
          </p:cNvSpPr>
          <p:nvPr>
            <p:ph type="sldNum" sz="quarter" idx="5"/>
          </p:nvPr>
        </p:nvSpPr>
        <p:spPr/>
        <p:txBody>
          <a:bodyPr/>
          <a:lstStyle/>
          <a:p>
            <a:fld id="{9A75D05F-1C32-4348-A2A3-98843E8928AA}" type="slidenum">
              <a:rPr lang="en-US" smtClean="0"/>
              <a:t>35</a:t>
            </a:fld>
            <a:endParaRPr lang="en-US" dirty="0"/>
          </a:p>
        </p:txBody>
      </p:sp>
    </p:spTree>
    <p:extLst>
      <p:ext uri="{BB962C8B-B14F-4D97-AF65-F5344CB8AC3E}">
        <p14:creationId xmlns:p14="http://schemas.microsoft.com/office/powerpoint/2010/main" val="3170589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far we have looked at what economic benefits customers can get in terms of infrastructure cost. Next we’ll see what licensing advantages WVD provides. Management service is an important part of desktop virtualization and a big cost component. In on-prem environment, customers usually have to deploy the service from scratch by internal IT or external partners, including web access, gateway, licensing server, load balancing, etc., which can be costly and time-consuming. But with WVD, management service (including management infrastructure) is already provided so you don’t have to worry about complicated deployment any more. </a:t>
            </a:r>
          </a:p>
          <a:p>
            <a:endParaRPr lang="en-US" dirty="0"/>
          </a:p>
          <a:p>
            <a:r>
              <a:rPr lang="en-US" dirty="0"/>
              <a:t>What’s better, you are probably already entitled to WVD use rights with the licenses you already own (refer to [WVD Client Licensing Requirements] slide in appendix if needed) such as Win10 E3/E5 or M365 E3/E5, etc. This means there’s probably no incremental licensing cost for you to use WVD. This comes in addition to the benefits that result from elimination of management infrastructure. This further reduces your labor cost as well.</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Note 1: Customers who require Citrix or VMware management services to meet their needs will incur additional cost</a:t>
            </a:r>
          </a:p>
        </p:txBody>
      </p:sp>
      <p:sp>
        <p:nvSpPr>
          <p:cNvPr id="4" name="Slide Number Placeholder 3"/>
          <p:cNvSpPr>
            <a:spLocks noGrp="1"/>
          </p:cNvSpPr>
          <p:nvPr>
            <p:ph type="sldNum" sz="quarter" idx="5"/>
          </p:nvPr>
        </p:nvSpPr>
        <p:spPr/>
        <p:txBody>
          <a:bodyPr/>
          <a:lstStyle/>
          <a:p>
            <a:fld id="{9A75D05F-1C32-4348-A2A3-98843E8928AA}" type="slidenum">
              <a:rPr lang="en-US" smtClean="0"/>
              <a:t>36</a:t>
            </a:fld>
            <a:endParaRPr lang="en-US" dirty="0"/>
          </a:p>
        </p:txBody>
      </p:sp>
    </p:spTree>
    <p:extLst>
      <p:ext uri="{BB962C8B-B14F-4D97-AF65-F5344CB8AC3E}">
        <p14:creationId xmlns:p14="http://schemas.microsoft.com/office/powerpoint/2010/main" val="26246063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this benefit applies to Windows Server RDS to Win 10 multi-session migration scenarios only</a:t>
            </a:r>
            <a:r>
              <a:rPr lang="zh-CN" altLang="en-US" dirty="0"/>
              <a:t>）</a:t>
            </a:r>
            <a:endParaRPr lang="en-US" altLang="zh-CN"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other key benefit of WVD applies when you move from Windows Server RDS on-prem deployment to Win 10 multi-session in WVD. For Windows Server RDS, each user needs an RDS CAL (Client Access License) to connect to RDSH V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owever, if you move to Win10 multi-session in WVD, you can get rid of RDS CAL and leverage the license that you probably already own to qualify for WVD use rights (refer to [WVD Client Licensing Requirements] slide in appendix if needed), such as Win10 E3/E5 or M365 E3/E5, etc. This means the cost of RDS CAL (the standard price of which is ~$17 per user per month) will be a saving for you.</a:t>
            </a:r>
          </a:p>
        </p:txBody>
      </p:sp>
      <p:sp>
        <p:nvSpPr>
          <p:cNvPr id="4" name="Slide Number Placeholder 3"/>
          <p:cNvSpPr>
            <a:spLocks noGrp="1"/>
          </p:cNvSpPr>
          <p:nvPr>
            <p:ph type="sldNum" sz="quarter" idx="5"/>
          </p:nvPr>
        </p:nvSpPr>
        <p:spPr/>
        <p:txBody>
          <a:bodyPr/>
          <a:lstStyle/>
          <a:p>
            <a:fld id="{9A75D05F-1C32-4348-A2A3-98843E8928AA}" type="slidenum">
              <a:rPr lang="en-US" smtClean="0"/>
              <a:t>37</a:t>
            </a:fld>
            <a:endParaRPr lang="en-US" dirty="0"/>
          </a:p>
        </p:txBody>
      </p:sp>
    </p:spTree>
    <p:extLst>
      <p:ext uri="{BB962C8B-B14F-4D97-AF65-F5344CB8AC3E}">
        <p14:creationId xmlns:p14="http://schemas.microsoft.com/office/powerpoint/2010/main" val="20948798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Win7-specific benefit)</a:t>
            </a:r>
          </a:p>
          <a:p>
            <a:endParaRPr lang="en-US" sz="1200" dirty="0"/>
          </a:p>
          <a:p>
            <a:r>
              <a:rPr lang="en-US" sz="1200" dirty="0"/>
              <a:t>If you are using Win7 today, the support for Win7 will end in January 2020, and it’ll incur additional cost if you wish to continue to get extended security updates after that. Depending on calendar year and your Win7 license tier, the cost per device per year can be up to $200. However, with WVD, 3-year Win7 ESU is already included. In other words, it can save you up to $200 per device per year if you move to WVD.</a:t>
            </a:r>
          </a:p>
          <a:p>
            <a:endParaRPr lang="en-US" sz="1200" dirty="0"/>
          </a:p>
          <a:p>
            <a:r>
              <a:rPr lang="en-US" sz="1200" dirty="0"/>
              <a:t>Note: this benefit applies to </a:t>
            </a:r>
            <a:r>
              <a:rPr lang="en-US" altLang="zh-CN" sz="1200" dirty="0">
                <a:solidFill>
                  <a:schemeClr val="tx1"/>
                </a:solidFill>
                <a:cs typeface="Segoe UI" pitchFamily="34" charset="0"/>
              </a:rPr>
              <a:t>Win 7 VMs running in WVD on Azure, not applicable to Win 7 running on local devices</a:t>
            </a:r>
            <a:endParaRPr lang="en-US" sz="1200" dirty="0"/>
          </a:p>
        </p:txBody>
      </p:sp>
      <p:sp>
        <p:nvSpPr>
          <p:cNvPr id="4" name="Slide Number Placeholder 3"/>
          <p:cNvSpPr>
            <a:spLocks noGrp="1"/>
          </p:cNvSpPr>
          <p:nvPr>
            <p:ph type="sldNum" sz="quarter" idx="5"/>
          </p:nvPr>
        </p:nvSpPr>
        <p:spPr/>
        <p:txBody>
          <a:bodyPr/>
          <a:lstStyle/>
          <a:p>
            <a:fld id="{9A75D05F-1C32-4348-A2A3-98843E8928AA}" type="slidenum">
              <a:rPr lang="en-US" smtClean="0"/>
              <a:t>38</a:t>
            </a:fld>
            <a:endParaRPr lang="en-US" dirty="0"/>
          </a:p>
        </p:txBody>
      </p:sp>
    </p:spTree>
    <p:extLst>
      <p:ext uri="{BB962C8B-B14F-4D97-AF65-F5344CB8AC3E}">
        <p14:creationId xmlns:p14="http://schemas.microsoft.com/office/powerpoint/2010/main" val="1512852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3</a:t>
            </a:fld>
            <a:endParaRPr lang="en-US"/>
          </a:p>
        </p:txBody>
      </p:sp>
    </p:spTree>
    <p:extLst>
      <p:ext uri="{BB962C8B-B14F-4D97-AF65-F5344CB8AC3E}">
        <p14:creationId xmlns:p14="http://schemas.microsoft.com/office/powerpoint/2010/main" val="26360850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ast cost component is labor. You can expect two types of savings with WVD. First, as talked in previous benefits, by migrating from on-prem to cloud, you can eliminate the high overhead associated with managing on-premise infrastructure. You also get access to a broad set of automation tools readily available on Azure marketplace. </a:t>
            </a:r>
          </a:p>
          <a:p>
            <a:endParaRPr lang="en-US" dirty="0"/>
          </a:p>
          <a:p>
            <a:r>
              <a:rPr lang="en-US" dirty="0"/>
              <a:t>In addition, WVD also reduces your labor cost since it’s delivered as an evergreen PaaS service</a:t>
            </a:r>
            <a:r>
              <a:rPr lang="en-GB" sz="1200" kern="1200" dirty="0">
                <a:solidFill>
                  <a:schemeClr val="tx1"/>
                </a:solidFill>
                <a:effectLst/>
                <a:latin typeface="+mn-lt"/>
                <a:ea typeface="+mn-ea"/>
                <a:cs typeface="+mn-cs"/>
              </a:rPr>
              <a:t> so there is no need to upgrade on-prem RDS infrastructure from 2012 to 2016 or 2019 now nor in the future as Microsoft keeps that up to date with feature/security/capability updates etc, saving you time and money in upgrade projects every 3 or 5 years (or similar). That also means you can take advantage of new features we deliver as soon as they become available and not dependant on the traditional upgrade projects. </a:t>
            </a:r>
            <a:r>
              <a:rPr lang="en-US" dirty="0"/>
              <a:t>The same argument applies to Azure NetApp Files (a PaaS storage solution) that simplifies your infrastructure management. </a:t>
            </a:r>
          </a:p>
          <a:p>
            <a:endParaRPr lang="en-US" dirty="0"/>
          </a:p>
          <a:p>
            <a:r>
              <a:rPr lang="en-US" dirty="0"/>
              <a:t>As a result, according to our industry analysis, you can save ~60% in labor costs by moving your virtual desktop solution from on-prem to Azure.</a:t>
            </a:r>
          </a:p>
        </p:txBody>
      </p:sp>
      <p:sp>
        <p:nvSpPr>
          <p:cNvPr id="4" name="Slide Number Placeholder 3"/>
          <p:cNvSpPr>
            <a:spLocks noGrp="1"/>
          </p:cNvSpPr>
          <p:nvPr>
            <p:ph type="sldNum" sz="quarter" idx="5"/>
          </p:nvPr>
        </p:nvSpPr>
        <p:spPr/>
        <p:txBody>
          <a:bodyPr/>
          <a:lstStyle/>
          <a:p>
            <a:fld id="{9A75D05F-1C32-4348-A2A3-98843E8928AA}" type="slidenum">
              <a:rPr lang="en-US" smtClean="0"/>
              <a:t>39</a:t>
            </a:fld>
            <a:endParaRPr lang="en-US" dirty="0"/>
          </a:p>
        </p:txBody>
      </p:sp>
    </p:spTree>
    <p:extLst>
      <p:ext uri="{BB962C8B-B14F-4D97-AF65-F5344CB8AC3E}">
        <p14:creationId xmlns:p14="http://schemas.microsoft.com/office/powerpoint/2010/main" val="42899162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ly, let’s bring it all together and have a holistic view of WVD economic benefits by looking at an example customer scenario. This customer has two user groups with differing user requirements: </a:t>
            </a:r>
          </a:p>
          <a:p>
            <a:endParaRPr lang="en-US" dirty="0"/>
          </a:p>
          <a:p>
            <a:r>
              <a:rPr lang="en-US" dirty="0"/>
              <a:t>User group 1 has 800 medium workload users (which you can think of as someone who primarily use Microsoft Office apps) moving from Windows Server RDS on-prem to Win 10 multi-session in WVD</a:t>
            </a:r>
          </a:p>
          <a:p>
            <a:r>
              <a:rPr lang="en-US" dirty="0"/>
              <a:t>User group 2 has 200 medium workload users moving from Windows 10 single-session on-prem to Windows 10 multi-session in WVD. </a:t>
            </a:r>
          </a:p>
          <a:p>
            <a:endParaRPr lang="en-US" dirty="0"/>
          </a:p>
          <a:p>
            <a:r>
              <a:rPr lang="en-US" dirty="0"/>
              <a:t>Let’s take a look at what types of cost savings we can achieve. Starting from the left bar, the total on-prem cost for these two user groups are $38,600, with $17,400 for infra and $21,200 for licensing. The first saving is multi-session, this is assuming user group 2 (which is currently single-session) can move to multi-session and hence save $8,600 by reducing the number of VMs required. </a:t>
            </a:r>
          </a:p>
          <a:p>
            <a:endParaRPr lang="en-US" dirty="0"/>
          </a:p>
          <a:p>
            <a:r>
              <a:rPr lang="en-US" dirty="0"/>
              <a:t>The second saving is Linux Rate. This saving applies to user group 1 as customer has to purchase Windows Server license for this group which is no longer required after moving to WVD. </a:t>
            </a:r>
          </a:p>
          <a:p>
            <a:endParaRPr lang="en-US" dirty="0"/>
          </a:p>
          <a:p>
            <a:r>
              <a:rPr lang="en-US" dirty="0"/>
              <a:t>The next benefit is pay for actual usage, which is a cost advantage of cloud – it makes more sense for user group 1 to choose pay-as-you-go option given their shorter session running times. </a:t>
            </a:r>
          </a:p>
          <a:p>
            <a:endParaRPr lang="en-US" dirty="0"/>
          </a:p>
          <a:p>
            <a:r>
              <a:rPr lang="en-US" dirty="0"/>
              <a:t>So far we looked at three types of savings (in light blue) related to infrastructure, which contribute to ~70% of savings in infrastructure when moving to WVD from on-prem. Next let’s look at the two types licensing cost savings (in dark blue). The first licensing cost saving is Management Service. The management service is provided by WVD so the customer can shift to WVD native management plane (vs. building their own infra to host management service) and save that cost. </a:t>
            </a:r>
          </a:p>
          <a:p>
            <a:endParaRPr lang="en-US" dirty="0"/>
          </a:p>
          <a:p>
            <a:r>
              <a:rPr lang="en-US" dirty="0"/>
              <a:t>In addition, for user group 1, the customer can get rid of RDS CAL by moving to Win10 MS in WVD which would otherwise be required by Windows Server RDS. These two types of WVD cost benefits can save the customer ~60% of the licensing cost compare to on-prem. After applying those benefits, the WVD cost ends up at $13,300, </a:t>
            </a:r>
            <a:r>
              <a:rPr lang="en-US" altLang="zh-CN" dirty="0"/>
              <a:t>only</a:t>
            </a:r>
            <a:r>
              <a:rPr lang="en-US" dirty="0"/>
              <a:t> ~35</a:t>
            </a:r>
            <a:r>
              <a:rPr lang="en-US" altLang="zh-CN" dirty="0"/>
              <a:t>% of your original on-prem cost!</a:t>
            </a:r>
          </a:p>
          <a:p>
            <a:endParaRPr lang="en-US" dirty="0"/>
          </a:p>
          <a:p>
            <a:pPr>
              <a:lnSpc>
                <a:spcPct val="90000"/>
              </a:lnSpc>
            </a:pPr>
            <a:r>
              <a:rPr lang="en-US" sz="1200" dirty="0"/>
              <a:t>Note 1: Given on-prem costs are highly variable, Azure reserved instance cost is used as the proxy for average on-prem cost; on-prem cost is likely underestimated</a:t>
            </a:r>
          </a:p>
          <a:p>
            <a:pPr>
              <a:lnSpc>
                <a:spcPct val="90000"/>
              </a:lnSpc>
            </a:pPr>
            <a:r>
              <a:rPr lang="en-US" sz="1200" dirty="0"/>
              <a:t>Note 2: Results generated by WVD Solution Configurator, an excel-based tool for sizing WVD opportunities; figures are rounded for simplicity</a:t>
            </a:r>
          </a:p>
          <a:p>
            <a:pPr>
              <a:lnSpc>
                <a:spcPct val="90000"/>
              </a:lnSpc>
            </a:pPr>
            <a:endParaRPr lang="en-US" sz="1200" dirty="0"/>
          </a:p>
          <a:p>
            <a:pPr>
              <a:lnSpc>
                <a:spcPct val="90000"/>
              </a:lnSpc>
            </a:pPr>
            <a:r>
              <a:rPr lang="en-US" sz="1200" u="sng" dirty="0"/>
              <a:t>License assumptions</a:t>
            </a:r>
          </a:p>
          <a:p>
            <a:pPr marL="137160" indent="-137160">
              <a:lnSpc>
                <a:spcPct val="100000"/>
              </a:lnSpc>
              <a:buFont typeface="Arial" panose="020B0604020202020204" pitchFamily="34" charset="0"/>
              <a:buChar char="•"/>
            </a:pPr>
            <a:r>
              <a:rPr lang="en-US" sz="1200" dirty="0"/>
              <a:t>Customer already owns license that entitles to WVD use rights so they don’t incur incremental licensing cost when moving from Windows Server RDS to Win10 MS in WVD </a:t>
            </a:r>
            <a:r>
              <a:rPr lang="en-US" dirty="0"/>
              <a:t>(refer to [WVD Client Licensing Requirements] slide in appendix if needed)</a:t>
            </a:r>
            <a:endParaRPr lang="en-US" sz="1200" dirty="0"/>
          </a:p>
          <a:p>
            <a:pPr marL="0" indent="0">
              <a:lnSpc>
                <a:spcPct val="90000"/>
              </a:lnSpc>
              <a:buNone/>
            </a:pPr>
            <a:endParaRPr lang="en-US" sz="1200" dirty="0"/>
          </a:p>
          <a:p>
            <a:pPr marL="0" indent="0">
              <a:lnSpc>
                <a:spcPct val="90000"/>
              </a:lnSpc>
              <a:buNone/>
            </a:pPr>
            <a:r>
              <a:rPr lang="en-US" sz="1200" u="sng" dirty="0"/>
              <a:t>Infra assumptions</a:t>
            </a:r>
          </a:p>
          <a:p>
            <a:pPr lvl="0" defTabSz="932472" fontAlgn="base">
              <a:spcBef>
                <a:spcPts val="600"/>
              </a:spcBef>
              <a:spcAft>
                <a:spcPct val="0"/>
              </a:spcAft>
              <a:defRPr/>
            </a:pPr>
            <a:r>
              <a:rPr lang="en-US" sz="1200" b="1" dirty="0">
                <a:solidFill>
                  <a:schemeClr val="tx1"/>
                </a:solidFill>
                <a:ea typeface="Segoe UI" pitchFamily="34" charset="0"/>
                <a:cs typeface="Segoe UI" pitchFamily="34" charset="0"/>
              </a:rPr>
              <a:t>Compute:</a:t>
            </a:r>
          </a:p>
          <a:p>
            <a:pPr marL="228600" lvl="0" indent="-137160" defTabSz="932472" fontAlgn="base">
              <a:spcBef>
                <a:spcPts val="200"/>
              </a:spcBef>
              <a:spcAft>
                <a:spcPct val="0"/>
              </a:spcAft>
              <a:buFont typeface="Arial" panose="020B0604020202020204" pitchFamily="34" charset="0"/>
              <a:buChar char="•"/>
              <a:defRPr/>
            </a:pPr>
            <a:r>
              <a:rPr lang="en-US" sz="1200" dirty="0">
                <a:solidFill>
                  <a:schemeClr val="tx1"/>
                </a:solidFill>
                <a:ea typeface="Segoe UI" pitchFamily="34" charset="0"/>
                <a:cs typeface="Segoe UI" pitchFamily="34" charset="0"/>
              </a:rPr>
              <a:t>East US</a:t>
            </a:r>
          </a:p>
          <a:p>
            <a:pPr marL="228600" lvl="0" indent="-137160" defTabSz="932472" fontAlgn="base">
              <a:spcBef>
                <a:spcPts val="200"/>
              </a:spcBef>
              <a:spcAft>
                <a:spcPct val="0"/>
              </a:spcAft>
              <a:buFont typeface="Arial" panose="020B0604020202020204" pitchFamily="34" charset="0"/>
              <a:buChar char="•"/>
              <a:defRPr/>
            </a:pPr>
            <a:r>
              <a:rPr lang="en-US" sz="1200" dirty="0">
                <a:solidFill>
                  <a:schemeClr val="tx1"/>
                </a:solidFill>
                <a:ea typeface="Segoe UI" pitchFamily="34" charset="0"/>
                <a:cs typeface="Segoe UI" pitchFamily="34" charset="0"/>
              </a:rPr>
              <a:t>D8s v3 (for multi-session)</a:t>
            </a:r>
          </a:p>
          <a:p>
            <a:pPr marL="228600" indent="-137160" defTabSz="932472" fontAlgn="base">
              <a:spcBef>
                <a:spcPts val="200"/>
              </a:spcBef>
              <a:spcAft>
                <a:spcPct val="0"/>
              </a:spcAft>
              <a:buFont typeface="Arial" panose="020B0604020202020204" pitchFamily="34" charset="0"/>
              <a:buChar char="•"/>
              <a:defRPr/>
            </a:pPr>
            <a:r>
              <a:rPr lang="en-US" sz="1200" dirty="0">
                <a:solidFill>
                  <a:schemeClr val="tx1"/>
                </a:solidFill>
                <a:ea typeface="Segoe UI" pitchFamily="34" charset="0"/>
                <a:cs typeface="Segoe UI" pitchFamily="34" charset="0"/>
              </a:rPr>
              <a:t>4 users/vCPU (for multi-session)</a:t>
            </a:r>
          </a:p>
          <a:p>
            <a:pPr marL="228600" indent="-137160" defTabSz="932472" fontAlgn="base">
              <a:spcBef>
                <a:spcPts val="200"/>
              </a:spcBef>
              <a:spcAft>
                <a:spcPct val="0"/>
              </a:spcAft>
              <a:buFont typeface="Arial" panose="020B0604020202020204" pitchFamily="34" charset="0"/>
              <a:buChar char="•"/>
              <a:defRPr/>
            </a:pPr>
            <a:r>
              <a:rPr lang="en-US" sz="1200" dirty="0">
                <a:solidFill>
                  <a:schemeClr val="tx1"/>
                </a:solidFill>
                <a:ea typeface="Segoe UI" pitchFamily="34" charset="0"/>
                <a:cs typeface="Segoe UI" pitchFamily="34" charset="0"/>
              </a:rPr>
              <a:t>D2s v3 (for single-session)</a:t>
            </a:r>
          </a:p>
          <a:p>
            <a:pPr marL="228600" indent="-137160" defTabSz="932472" fontAlgn="base">
              <a:spcBef>
                <a:spcPts val="200"/>
              </a:spcBef>
              <a:spcAft>
                <a:spcPct val="0"/>
              </a:spcAft>
              <a:buFont typeface="Arial" panose="020B0604020202020204" pitchFamily="34" charset="0"/>
              <a:buChar char="•"/>
              <a:defRPr/>
            </a:pPr>
            <a:r>
              <a:rPr lang="en-US" sz="1200" dirty="0">
                <a:solidFill>
                  <a:schemeClr val="tx1"/>
                </a:solidFill>
                <a:ea typeface="Segoe UI" pitchFamily="34" charset="0"/>
                <a:cs typeface="Segoe UI" pitchFamily="34" charset="0"/>
              </a:rPr>
              <a:t>1 user / VM (for single-session)</a:t>
            </a:r>
          </a:p>
          <a:p>
            <a:pPr lvl="0" defTabSz="932472" fontAlgn="base">
              <a:spcBef>
                <a:spcPts val="600"/>
              </a:spcBef>
              <a:spcAft>
                <a:spcPct val="0"/>
              </a:spcAft>
              <a:defRPr/>
            </a:pPr>
            <a:r>
              <a:rPr lang="en-US" sz="1200" b="1" dirty="0">
                <a:solidFill>
                  <a:schemeClr val="tx1"/>
                </a:solidFill>
                <a:ea typeface="Segoe UI" pitchFamily="34" charset="0"/>
                <a:cs typeface="Segoe UI" pitchFamily="34" charset="0"/>
              </a:rPr>
              <a:t>Storage:</a:t>
            </a:r>
          </a:p>
          <a:p>
            <a:pPr marL="228600" lvl="0" indent="-137160" algn="l" defTabSz="932472" rtl="0" eaLnBrk="1" fontAlgn="base" latinLnBrk="0" hangingPunct="1">
              <a:spcBef>
                <a:spcPts val="200"/>
              </a:spcBef>
              <a:spcAft>
                <a:spcPct val="0"/>
              </a:spcAft>
              <a:buFont typeface="Arial" panose="020B0604020202020204" pitchFamily="34" charset="0"/>
              <a:buChar char="•"/>
              <a:defRPr/>
            </a:pPr>
            <a:r>
              <a:rPr lang="en-US" sz="1200" kern="1200" dirty="0">
                <a:solidFill>
                  <a:schemeClr val="tx1"/>
                </a:solidFill>
                <a:latin typeface="+mn-lt"/>
                <a:ea typeface="Segoe UI" pitchFamily="34" charset="0"/>
                <a:cs typeface="Segoe UI" pitchFamily="34" charset="0"/>
              </a:rPr>
              <a:t>Azure NetApp Files</a:t>
            </a:r>
          </a:p>
          <a:p>
            <a:pPr marL="228600" lvl="0" indent="-137160" algn="l" defTabSz="932472" rtl="0" eaLnBrk="1" fontAlgn="base" latinLnBrk="0" hangingPunct="1">
              <a:spcBef>
                <a:spcPts val="200"/>
              </a:spcBef>
              <a:spcAft>
                <a:spcPct val="0"/>
              </a:spcAft>
              <a:buFont typeface="Arial" panose="020B0604020202020204" pitchFamily="34" charset="0"/>
              <a:buChar char="•"/>
              <a:defRPr/>
            </a:pPr>
            <a:r>
              <a:rPr lang="en-US" sz="1200" kern="1200" dirty="0">
                <a:solidFill>
                  <a:schemeClr val="tx1"/>
                </a:solidFill>
                <a:latin typeface="+mn-lt"/>
                <a:ea typeface="Segoe UI" pitchFamily="34" charset="0"/>
                <a:cs typeface="Segoe UI" pitchFamily="34" charset="0"/>
              </a:rPr>
              <a:t>20GB storage per user</a:t>
            </a:r>
          </a:p>
          <a:p>
            <a:pPr lvl="0" defTabSz="932472" fontAlgn="base">
              <a:spcBef>
                <a:spcPts val="600"/>
              </a:spcBef>
              <a:spcAft>
                <a:spcPct val="0"/>
              </a:spcAft>
              <a:defRPr/>
            </a:pPr>
            <a:r>
              <a:rPr lang="en-US" sz="1200" b="1" dirty="0">
                <a:solidFill>
                  <a:schemeClr val="tx1"/>
                </a:solidFill>
                <a:ea typeface="Segoe UI" pitchFamily="34" charset="0"/>
                <a:cs typeface="Segoe UI" pitchFamily="34" charset="0"/>
              </a:rPr>
              <a:t>Networking:</a:t>
            </a:r>
          </a:p>
          <a:p>
            <a:pPr marL="228600" lvl="0" indent="-137160" algn="l" defTabSz="932472" rtl="0" eaLnBrk="1" fontAlgn="base" latinLnBrk="0" hangingPunct="1">
              <a:spcBef>
                <a:spcPts val="200"/>
              </a:spcBef>
              <a:spcAft>
                <a:spcPct val="0"/>
              </a:spcAft>
              <a:buFont typeface="Arial" panose="020B0604020202020204" pitchFamily="34" charset="0"/>
              <a:buChar char="•"/>
              <a:defRPr/>
            </a:pPr>
            <a:r>
              <a:rPr lang="en-US" sz="1200" kern="1200" dirty="0">
                <a:solidFill>
                  <a:schemeClr val="tx1"/>
                </a:solidFill>
                <a:latin typeface="+mn-lt"/>
                <a:ea typeface="Segoe UI" pitchFamily="34" charset="0"/>
                <a:cs typeface="Segoe UI" pitchFamily="34" charset="0"/>
              </a:rPr>
              <a:t>Virtual Network (East US Same Region)</a:t>
            </a:r>
          </a:p>
          <a:p>
            <a:pPr marL="228600" lvl="0" indent="-137160" algn="l" defTabSz="932472" rtl="0" eaLnBrk="1" fontAlgn="base" latinLnBrk="0" hangingPunct="1">
              <a:spcBef>
                <a:spcPts val="200"/>
              </a:spcBef>
              <a:spcAft>
                <a:spcPct val="0"/>
              </a:spcAft>
              <a:buFont typeface="Arial" panose="020B0604020202020204" pitchFamily="34" charset="0"/>
              <a:buChar char="•"/>
              <a:defRPr/>
            </a:pPr>
            <a:r>
              <a:rPr lang="en-US" sz="1200" kern="1200" dirty="0">
                <a:solidFill>
                  <a:schemeClr val="tx1"/>
                </a:solidFill>
                <a:latin typeface="+mn-lt"/>
                <a:cs typeface="Segoe UI" pitchFamily="34" charset="0"/>
              </a:rPr>
              <a:t>Network egress: 100 kbps per user</a:t>
            </a:r>
          </a:p>
          <a:p>
            <a:pPr marL="285750" lvl="0" indent="-171450" defTabSz="932472" fontAlgn="base">
              <a:spcBef>
                <a:spcPts val="200"/>
              </a:spcBef>
              <a:spcAft>
                <a:spcPct val="0"/>
              </a:spcAft>
              <a:buFont typeface="Arial" panose="020B0604020202020204" pitchFamily="34" charset="0"/>
              <a:buChar char="•"/>
              <a:defRPr/>
            </a:pPr>
            <a:endParaRPr lang="en-US" sz="1200" dirty="0">
              <a:solidFill>
                <a:schemeClr val="tx1"/>
              </a:solidFill>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 3: See Appendix [Default Values (Microsoft Guidance) for WVD Cost Estimation] for a more comprehensive list of assumptions</a:t>
            </a:r>
          </a:p>
          <a:p>
            <a:r>
              <a:rPr lang="en-US" dirty="0"/>
              <a:t>Note 4: Numbers are rounded for simplicity</a:t>
            </a:r>
          </a:p>
        </p:txBody>
      </p:sp>
      <p:sp>
        <p:nvSpPr>
          <p:cNvPr id="4" name="Slide Number Placeholder 3"/>
          <p:cNvSpPr>
            <a:spLocks noGrp="1"/>
          </p:cNvSpPr>
          <p:nvPr>
            <p:ph type="sldNum" sz="quarter" idx="5"/>
          </p:nvPr>
        </p:nvSpPr>
        <p:spPr/>
        <p:txBody>
          <a:bodyPr/>
          <a:lstStyle/>
          <a:p>
            <a:fld id="{9A75D05F-1C32-4348-A2A3-98843E8928AA}" type="slidenum">
              <a:rPr lang="en-US" smtClean="0"/>
              <a:t>40</a:t>
            </a:fld>
            <a:endParaRPr lang="en-US" dirty="0"/>
          </a:p>
        </p:txBody>
      </p:sp>
    </p:spTree>
    <p:extLst>
      <p:ext uri="{BB962C8B-B14F-4D97-AF65-F5344CB8AC3E}">
        <p14:creationId xmlns:p14="http://schemas.microsoft.com/office/powerpoint/2010/main" val="36837933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41</a:t>
            </a:fld>
            <a:endParaRPr lang="en-US" dirty="0"/>
          </a:p>
        </p:txBody>
      </p:sp>
    </p:spTree>
    <p:extLst>
      <p:ext uri="{BB962C8B-B14F-4D97-AF65-F5344CB8AC3E}">
        <p14:creationId xmlns:p14="http://schemas.microsoft.com/office/powerpoint/2010/main" val="24397725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55600"/>
            <a:ext cx="4114800" cy="2314575"/>
          </a:xfrm>
          <a:prstGeom prst="rect">
            <a:avLst/>
          </a:prstGeom>
        </p:spPr>
      </p:sp>
      <p:sp>
        <p:nvSpPr>
          <p:cNvPr id="3" name="Notes Placeholder 2"/>
          <p:cNvSpPr>
            <a:spLocks noGrp="1"/>
          </p:cNvSpPr>
          <p:nvPr>
            <p:ph type="body" idx="1"/>
          </p:nvPr>
        </p:nvSpPr>
        <p:spPr>
          <a:xfrm>
            <a:off x="457200" y="3006090"/>
            <a:ext cx="5966459" cy="3507819"/>
          </a:xfrm>
          <a:prstGeom prst="rect">
            <a:avLst/>
          </a:prstGeom>
        </p:spPr>
        <p:txBody>
          <a:bodyPr/>
          <a:lstStyle/>
          <a:p>
            <a:r>
              <a:rPr lang="en-US" b="1" dirty="0"/>
              <a:t>KEY POINTS:</a:t>
            </a:r>
          </a:p>
          <a:p>
            <a:pPr marL="171450" indent="-171450">
              <a:buFont typeface="Arial" panose="020B0604020202020204" pitchFamily="34" charset="0"/>
              <a:buChar char="•"/>
            </a:pPr>
            <a:r>
              <a:rPr lang="en-US" dirty="0"/>
              <a:t>Windows Virtual Desktop (WVD) is the best virtual desktop and app experience, delivered on Azure</a:t>
            </a:r>
          </a:p>
          <a:p>
            <a:pPr marL="171450" indent="-171450">
              <a:buFont typeface="Arial" panose="020B0604020202020204" pitchFamily="34" charset="0"/>
              <a:buChar char="•"/>
            </a:pPr>
            <a:r>
              <a:rPr lang="en-US" dirty="0"/>
              <a:t>Best Product: </a:t>
            </a:r>
          </a:p>
          <a:p>
            <a:pPr marL="628650" lvl="1" indent="-171450">
              <a:buFont typeface="Arial" panose="020B0604020202020204" pitchFamily="34" charset="0"/>
              <a:buChar char="•"/>
            </a:pPr>
            <a:r>
              <a:rPr lang="en-US" dirty="0"/>
              <a:t>Multi-session Windows 10 delivers Client experience, on shared VMs </a:t>
            </a:r>
          </a:p>
          <a:p>
            <a:pPr marL="628650" lvl="1" indent="-171450">
              <a:buFont typeface="Arial" panose="020B0604020202020204" pitchFamily="34" charset="0"/>
              <a:buChar char="•"/>
            </a:pPr>
            <a:r>
              <a:rPr lang="en-US" dirty="0"/>
              <a:t>Optimized for Office 365 ProPlus – Microsoft Office applications are some of the most highly used and most commonly virtualized applications for any business. Poor email client performance is one of top issues preventing many enterprises from fully adopting non-persistent virtual desktop models. For administrators, the various workarounds to this problem can result in dramatically increased server utilization, increased cost, and ongoing poor and inconsistent performance for end users. With FSLogix, Office 365 ProPlus enables faster load times for user profiles in Outlook and OneDrive. FSLogix Apps Profile Containers move the entire User Profile, including the registry, to an in-guest container, which appears to be fully integrated with the local system. This approach completely eliminates the need for Folder Redirection or other network-share based workarounds leading to long server queues during peak periods. User email performance is returned to ‘normal’, or indistinguishable from running Outlook in a well-optimized local computing environment.</a:t>
            </a:r>
            <a:endParaRPr lang="en-US" dirty="0">
              <a:solidFill>
                <a:srgbClr val="FF0000"/>
              </a:solidFill>
            </a:endParaRPr>
          </a:p>
          <a:p>
            <a:pPr marL="628650" lvl="1" indent="-171450">
              <a:buFont typeface="Arial" panose="020B0604020202020204" pitchFamily="34" charset="0"/>
              <a:buChar char="•"/>
            </a:pPr>
            <a:r>
              <a:rPr lang="en-US" dirty="0"/>
              <a:t>Microsoft takes care of the control plane, keeps the service up and running</a:t>
            </a:r>
          </a:p>
          <a:p>
            <a:pPr marL="628650" lvl="1" indent="-171450">
              <a:buFont typeface="Arial" panose="020B0604020202020204" pitchFamily="34" charset="0"/>
              <a:buChar char="•"/>
            </a:pPr>
            <a:r>
              <a:rPr lang="en-US" dirty="0"/>
              <a:t>Includes all FSLogix technologies including, Profile Container, App Masking and Java Redirection</a:t>
            </a:r>
            <a:endParaRPr lang="en-US" dirty="0">
              <a:solidFill>
                <a:srgbClr val="FF0000"/>
              </a:solidFill>
            </a:endParaRPr>
          </a:p>
          <a:p>
            <a:pPr marL="171450" indent="-171450">
              <a:buFont typeface="Arial" panose="020B0604020202020204" pitchFamily="34" charset="0"/>
              <a:buChar char="•"/>
            </a:pPr>
            <a:r>
              <a:rPr lang="en-US" dirty="0"/>
              <a:t>Best Value</a:t>
            </a:r>
          </a:p>
          <a:p>
            <a:pPr marL="628650" lvl="1" indent="-171450">
              <a:buFont typeface="Arial" panose="020B0604020202020204" pitchFamily="34" charset="0"/>
              <a:buChar char="•"/>
            </a:pPr>
            <a:r>
              <a:rPr lang="en-US" dirty="0"/>
              <a:t>Most Enterprise customers already have the licensing they need </a:t>
            </a:r>
          </a:p>
          <a:p>
            <a:pPr marL="628650" lvl="1" indent="-171450">
              <a:buFont typeface="Arial" panose="020B0604020202020204" pitchFamily="34" charset="0"/>
              <a:buChar char="•"/>
            </a:pPr>
            <a:r>
              <a:rPr lang="en-US" dirty="0"/>
              <a:t>Avoid W7 extended support costs – Free Extended Security Updates</a:t>
            </a:r>
          </a:p>
          <a:p>
            <a:pPr marL="628650" lvl="1" indent="-171450">
              <a:buFont typeface="Arial" panose="020B0604020202020204" pitchFamily="34" charset="0"/>
              <a:buChar char="•"/>
            </a:pPr>
            <a:r>
              <a:rPr lang="en-US" dirty="0"/>
              <a:t>Improve efficiency through Windows 10 Multi-Session, intelligent load balancing, and Server (RDS) deployments</a:t>
            </a:r>
          </a:p>
          <a:p>
            <a:r>
              <a:rPr lang="en-US" dirty="0"/>
              <a:t>Cloud Scale</a:t>
            </a:r>
          </a:p>
          <a:p>
            <a:pPr marL="171450" indent="-171450">
              <a:buFont typeface="Arial" panose="020B0604020202020204" pitchFamily="34" charset="0"/>
              <a:buChar char="•"/>
            </a:pPr>
            <a:r>
              <a:rPr lang="en-US" dirty="0"/>
              <a:t>get all benefits of Microsoft’s cloud scale including high availability and scalability, cost effectiveness, security, and privacy</a:t>
            </a:r>
          </a:p>
          <a:p>
            <a:pPr marL="171450" indent="-171450">
              <a:buFont typeface="Arial" panose="020B0604020202020204" pitchFamily="34" charset="0"/>
              <a:buChar char="•"/>
            </a:pPr>
            <a:r>
              <a:rPr lang="en-US" dirty="0"/>
              <a:t>WVD is designed for customers to bring desktops to cloud, and this service is only going to get better, as MSFT wants this workload on Azure</a:t>
            </a:r>
          </a:p>
          <a:p>
            <a:pPr marL="0" indent="0">
              <a:buFont typeface="Arial" panose="020B0604020202020204" pitchFamily="34" charset="0"/>
              <a:buNone/>
            </a:pPr>
            <a:endParaRPr lang="en-US" dirty="0"/>
          </a:p>
        </p:txBody>
      </p:sp>
      <p:sp>
        <p:nvSpPr>
          <p:cNvPr id="7" name="Slide Number Placeholder 6"/>
          <p:cNvSpPr>
            <a:spLocks noGrp="1"/>
          </p:cNvSpPr>
          <p:nvPr>
            <p:ph type="sldNum" sz="quarter" idx="13"/>
          </p:nvPr>
        </p:nvSpPr>
        <p:spPr>
          <a:xfrm>
            <a:off x="5179484" y="6605695"/>
            <a:ext cx="3816927" cy="160521"/>
          </a:xfrm>
          <a:prstGeom prst="rect">
            <a:avLst/>
          </a:prstGeom>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6</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7F996261-F481-4A52-AADC-ECAA6A84873F}"/>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a:t>
            </a:r>
          </a:p>
        </p:txBody>
      </p:sp>
    </p:spTree>
    <p:extLst>
      <p:ext uri="{BB962C8B-B14F-4D97-AF65-F5344CB8AC3E}">
        <p14:creationId xmlns:p14="http://schemas.microsoft.com/office/powerpoint/2010/main" val="35299616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3/2019 3:1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00796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LKING POINTS:</a:t>
            </a:r>
          </a:p>
          <a:p>
            <a:pPr marL="171450" indent="-171450">
              <a:buFont typeface="Arial" panose="020B0604020202020204" pitchFamily="34" charset="0"/>
              <a:buChar char="•"/>
            </a:pPr>
            <a:r>
              <a:rPr lang="en-US" dirty="0"/>
              <a:t>The job of a control plane is to orchestrate the creation and management of desktop and app session hosts, authenticate users and to determine where to “land” a user’s desktop connection (meaning what desktop VM to patch the user through to). </a:t>
            </a:r>
          </a:p>
          <a:p>
            <a:pPr marL="171450" indent="-171450">
              <a:buFont typeface="Arial" panose="020B0604020202020204" pitchFamily="34" charset="0"/>
              <a:buChar char="•"/>
            </a:pPr>
            <a:r>
              <a:rPr lang="en-US" dirty="0"/>
              <a:t>In the RDS world, this was handled through a number of “RDS roles” namely: RD License Server, RD Web, RD Webclient, RD Connection Broker and RD Gateway. </a:t>
            </a:r>
          </a:p>
          <a:p>
            <a:pPr marL="171450" indent="-171450">
              <a:buFont typeface="Arial" panose="020B0604020202020204" pitchFamily="34" charset="0"/>
              <a:buChar char="•"/>
            </a:pPr>
            <a:r>
              <a:rPr lang="en-US" dirty="0"/>
              <a:t>With WVD, it is no longer necessary to install and manage any of these roles as they are now part of the WVD Management Service. Microsoft do the work and deliver you a PaaS product that can be controlled via RestAPI, PowerShell and soon the Azure admin portal.</a:t>
            </a:r>
          </a:p>
          <a:p>
            <a:pPr marL="171450" indent="-171450">
              <a:buFont typeface="Arial" panose="020B0604020202020204" pitchFamily="34" charset="0"/>
              <a:buChar char="•"/>
            </a:pPr>
            <a:r>
              <a:rPr lang="en-US" dirty="0"/>
              <a:t>There are cost savings associated with elimination of separate VMs for web access, diagnostics, gateway, and broker,</a:t>
            </a:r>
          </a:p>
          <a:p>
            <a:pPr marL="171450" indent="-171450">
              <a:buFont typeface="Arial" panose="020B0604020202020204" pitchFamily="34" charset="0"/>
              <a:buChar char="•"/>
            </a:pPr>
            <a:r>
              <a:rPr lang="en-US" dirty="0"/>
              <a:t>WVD’s evergreen control plane allows customers (and partners) to focus on value-added services like advanced desktop management, monitoring, health checks/life-cycle management, image management, etc.</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08460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LKING POINTS:</a:t>
            </a:r>
          </a:p>
          <a:p>
            <a:pPr marL="171450" indent="-171450">
              <a:buFont typeface="Arial" panose="020B0604020202020204" pitchFamily="34" charset="0"/>
              <a:buChar char="•"/>
            </a:pPr>
            <a:r>
              <a:rPr lang="en-US" dirty="0"/>
              <a:t>The job of a control plane is to orchestrate the creation and management of desktop and app session hosts, authenticate users and to determine where to “land” a user’s desktop connection (meaning what desktop VM to patch the user through to). </a:t>
            </a:r>
          </a:p>
          <a:p>
            <a:pPr marL="171450" indent="-171450">
              <a:buFont typeface="Arial" panose="020B0604020202020204" pitchFamily="34" charset="0"/>
              <a:buChar char="•"/>
            </a:pPr>
            <a:r>
              <a:rPr lang="en-US" dirty="0"/>
              <a:t>In the RDS world, this was handled through a number of “RDS roles” namely: RD License Server, RD Web, RD Webclient, RD Connection Broker and RD Gateway. </a:t>
            </a:r>
          </a:p>
          <a:p>
            <a:pPr marL="171450" indent="-171450">
              <a:buFont typeface="Arial" panose="020B0604020202020204" pitchFamily="34" charset="0"/>
              <a:buChar char="•"/>
            </a:pPr>
            <a:r>
              <a:rPr lang="en-US" dirty="0"/>
              <a:t>With WVD, it is no longer necessary to install and manage any of these roles as they are now part of the WVD Management Service. Microsoft do the work and deliver you a PaaS product that can be controlled via RestAPI, PowerShell and soon the Azure admin portal.</a:t>
            </a:r>
          </a:p>
          <a:p>
            <a:pPr marL="171450" indent="-171450">
              <a:buFont typeface="Arial" panose="020B0604020202020204" pitchFamily="34" charset="0"/>
              <a:buChar char="•"/>
            </a:pPr>
            <a:r>
              <a:rPr lang="en-US" dirty="0"/>
              <a:t>There are cost savings associated with elimination of separate VMs for web access, diagnostics, gateway, and broker,</a:t>
            </a:r>
          </a:p>
          <a:p>
            <a:pPr marL="171450" indent="-171450">
              <a:buFont typeface="Arial" panose="020B0604020202020204" pitchFamily="34" charset="0"/>
              <a:buChar char="•"/>
            </a:pPr>
            <a:r>
              <a:rPr lang="en-US" dirty="0"/>
              <a:t>WVD’s evergreen control plane allows customers (and partners) to focus on value-added services like advanced desktop management, monitoring, health checks/life-cycle management, image management, etc.</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23151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171450" indent="-171450">
              <a:buFont typeface="Arial" panose="020B0604020202020204" pitchFamily="34" charset="0"/>
              <a:buChar char="•"/>
            </a:pPr>
            <a:r>
              <a:rPr lang="en-US" dirty="0"/>
              <a:t>Many Microsoft customers are already eligible for WVD today…</a:t>
            </a:r>
          </a:p>
          <a:p>
            <a:pPr marL="171450" indent="-171450">
              <a:buFont typeface="Arial" panose="020B0604020202020204" pitchFamily="34" charset="0"/>
              <a:buChar char="•"/>
            </a:pPr>
            <a:r>
              <a:rPr lang="en-US" dirty="0"/>
              <a:t>This makes positioning WVD even easier </a:t>
            </a:r>
          </a:p>
        </p:txBody>
      </p:sp>
      <p:sp>
        <p:nvSpPr>
          <p:cNvPr id="4" name="Slide Number Placeholder 3"/>
          <p:cNvSpPr>
            <a:spLocks noGrp="1"/>
          </p:cNvSpPr>
          <p:nvPr>
            <p:ph type="sldNum" sz="quarter" idx="5"/>
          </p:nvPr>
        </p:nvSpPr>
        <p:spPr/>
        <p:txBody>
          <a:bodyPr/>
          <a:lstStyle/>
          <a:p>
            <a:fld id="{2F580FA7-2A11-4403-A54D-9B2F15AFF8CB}" type="slidenum">
              <a:rPr lang="en-US" smtClean="0"/>
              <a:t>50</a:t>
            </a:fld>
            <a:endParaRPr lang="en-US" dirty="0"/>
          </a:p>
        </p:txBody>
      </p:sp>
    </p:spTree>
    <p:extLst>
      <p:ext uri="{BB962C8B-B14F-4D97-AF65-F5344CB8AC3E}">
        <p14:creationId xmlns:p14="http://schemas.microsoft.com/office/powerpoint/2010/main" val="8466449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a few common scenarios we have seen. As you’ll notice, there are different ways to think about how you can use Azure in regards to your RDS environment:</a:t>
            </a:r>
          </a:p>
          <a:p>
            <a:r>
              <a:rPr lang="en-US" dirty="0"/>
              <a:t>1 = Extend</a:t>
            </a:r>
          </a:p>
          <a:p>
            <a:r>
              <a:rPr lang="en-US" dirty="0"/>
              <a:t>2 = Replicate for DR</a:t>
            </a:r>
          </a:p>
          <a:p>
            <a:r>
              <a:rPr lang="en-US" dirty="0"/>
              <a:t>3 = IaaS</a:t>
            </a:r>
          </a:p>
          <a:p>
            <a:r>
              <a:rPr lang="en-US" dirty="0"/>
              <a:t>4 = PaaS</a:t>
            </a:r>
          </a:p>
          <a:p>
            <a:endParaRPr lang="en-US" dirty="0"/>
          </a:p>
          <a:p>
            <a:r>
              <a:rPr lang="en-US" sz="882" b="0" i="0" kern="1200" dirty="0">
                <a:solidFill>
                  <a:schemeClr val="tx1"/>
                </a:solidFill>
                <a:effectLst/>
                <a:latin typeface="Segoe UI Light" pitchFamily="34" charset="0"/>
                <a:ea typeface="+mn-ea"/>
                <a:cs typeface="+mn-cs"/>
              </a:rPr>
              <a:t>Key enhancements for deploying RDS 2019 on Azure include using Azure Key Vault for simplified certificate management and using Azure SQL DB for the RD licensing high-availability feature.</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Also for partners…</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We announced the availability of Remote Desktop Services (RDS) subscriptions through the Cloud Solution Provider (CSP) program. The availability of RDS in CSP addresses customer needs for additional cost-effective solutions that support desktop and app virtualization.</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With RDS Subscriptions, partners can directly sell RDS subscriptions through our CSP program, eliminating the extra step of customers and partners acquiring different licenses through various programs. </a:t>
            </a:r>
          </a:p>
          <a:p>
            <a:pPr marL="384432" lvl="1"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With this model, customers can enjoy a faster licensing cycle due to CSP integration with other Microsoft licenses including Windows Server, SQL Server, and Office to make it easy for partners to simplify the buying process.</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16E4321-0401-4F63-B8C0-058A61867CB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3/2019 3:1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21322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400"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3220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a:solidFill>
                  <a:schemeClr val="tx2"/>
                </a:solidFill>
                <a:cs typeface="Segoe UI" pitchFamily="34" charset="0"/>
              </a:rPr>
              <a:t>The WVD end user experience, is the best user experience out there.  Let me tell you wh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a:solidFill>
                <a:schemeClr val="tx2"/>
              </a:solidFill>
              <a:cs typeface="Segoe UI"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a:solidFill>
                  <a:schemeClr val="tx2"/>
                </a:solidFill>
                <a:cs typeface="Segoe UI" pitchFamily="34" charset="0"/>
              </a:rPr>
              <a:t>WVD allows users to connect from any device.  The WVD experience on Mac and other OS is</a:t>
            </a:r>
            <a:r>
              <a:rPr lang="en-US" sz="1100" b="0">
                <a:cs typeface="Segoe UI" pitchFamily="34" charset="0"/>
              </a:rPr>
              <a:t> indistinguishable from native.  It’s that good.</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spc="-30">
                <a:solidFill>
                  <a:schemeClr val="tx1"/>
                </a:solidFill>
                <a:cs typeface="Segoe UI" pitchFamily="34" charset="0"/>
              </a:rPr>
              <a:t>Extremely fast logon times.  Remember that.  WVD offers extremely fast logon times…it’s because we use containerized user profiles, but the net result is extremely fast logon times.</a:t>
            </a:r>
            <a:endParaRPr lang="en-US" sz="1100" b="0">
              <a:cs typeface="Segoe UI"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a:cs typeface="Segoe UI" pitchFamily="34" charset="0"/>
              </a:rPr>
              <a:t>It</a:t>
            </a:r>
            <a:r>
              <a:rPr lang="en-US" sz="1100">
                <a:cs typeface="Segoe UI" pitchFamily="34" charset="0"/>
              </a:rPr>
              <a:t> should be no surprise that Windows devices are advantaged, because we can do more with Windows devices. Customers with Windows devices will have a “like- l</a:t>
            </a:r>
            <a:r>
              <a:rPr lang="en-US" sz="1100"/>
              <a:t>ocal” Windows experience, and the best support we can offer.</a:t>
            </a:r>
            <a:endParaRPr lang="en-US" sz="1100" b="0">
              <a:cs typeface="Segoe UI"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a:cs typeface="Segoe UI" pitchFamily="34" charset="0"/>
              </a:rPr>
              <a:t>You’ll notice two of our Core Services called out on this page – 0365 and Teams. Engineering is working hard to make sure that customers get the best experience possible, when they use 0365 and Teams in a virtual deployment. </a:t>
            </a:r>
            <a:r>
              <a:rPr lang="en-US" sz="1100" b="0" spc="-30">
                <a:solidFill>
                  <a:schemeClr val="tx1"/>
                </a:solidFill>
                <a:cs typeface="Segoe UI" pitchFamily="34" charset="0"/>
              </a:rPr>
              <a:t>Best experience for 0365, for example, means </a:t>
            </a:r>
            <a:r>
              <a:rPr lang="en-US" sz="1100" spc="-30">
                <a:solidFill>
                  <a:schemeClr val="tx1"/>
                </a:solidFill>
                <a:cs typeface="Segoe UI" pitchFamily="34" charset="0"/>
              </a:rPr>
              <a:t>that email, calendar and outlook performance is </a:t>
            </a:r>
            <a:r>
              <a:rPr lang="en-US" sz="1100" u="sng" spc="-30">
                <a:solidFill>
                  <a:schemeClr val="tx1"/>
                </a:solidFill>
                <a:cs typeface="Segoe UI" pitchFamily="34" charset="0"/>
              </a:rPr>
              <a:t>on par </a:t>
            </a:r>
            <a:r>
              <a:rPr lang="en-US" sz="1100" spc="-30">
                <a:solidFill>
                  <a:schemeClr val="tx1"/>
                </a:solidFill>
                <a:cs typeface="Segoe UI" pitchFamily="34" charset="0"/>
              </a:rPr>
              <a:t>with using 0365 on your windows cli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spc="-30">
              <a:solidFill>
                <a:schemeClr val="tx1"/>
              </a:solidFill>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zh-CN" sz="11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spc="-30">
              <a:solidFill>
                <a:schemeClr val="tx1"/>
              </a:solidFill>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fld id="{059A3614-930A-4653-9E96-958160BBEA08}" type="slidenum">
              <a:rPr lang="en-US" smtClean="0"/>
              <a:t>5</a:t>
            </a:fld>
            <a:endParaRPr lang="en-US"/>
          </a:p>
        </p:txBody>
      </p:sp>
    </p:spTree>
    <p:extLst>
      <p:ext uri="{BB962C8B-B14F-4D97-AF65-F5344CB8AC3E}">
        <p14:creationId xmlns:p14="http://schemas.microsoft.com/office/powerpoint/2010/main" val="293456272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Microsoft is a partner whose business model is aligned with our customers’ success</a:t>
            </a:r>
          </a:p>
          <a:p>
            <a:pPr marL="171450" indent="-171450">
              <a:buFont typeface="Arial" panose="020B0604020202020204" pitchFamily="34" charset="0"/>
              <a:buChar char="•"/>
            </a:pPr>
            <a:r>
              <a:rPr lang="en-US" dirty="0"/>
              <a:t>Satya Nadella quote: “</a:t>
            </a:r>
            <a:r>
              <a:rPr lang="en-US" sz="1200" b="0" i="0" kern="1200" dirty="0">
                <a:solidFill>
                  <a:schemeClr val="tx1"/>
                </a:solidFill>
                <a:effectLst/>
                <a:latin typeface="+mn-lt"/>
                <a:ea typeface="+mn-ea"/>
                <a:cs typeface="+mn-cs"/>
              </a:rPr>
              <a:t>No customer wants to be dependent on a provider that sells them technology on one end and competes with them on the other. Getting this equation right is key to their success going forward. Microsoft is uniquely positioned to help.”</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Microsoft has differentiated policies as a trusted technology partner</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Microsoft Shared Innovation Principles provide clarity for co-creating technology:</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1. Respect for ownership of existing technology</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2. Assuring customer ownership of new patents and design rights</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3. Support for open source</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4. Licensing new IP rights back to Microsoft</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5. Software portability</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6 Transparency and clarity</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7. Learning and improvement</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Azure IP Advantage offers industry protection</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Uncapped indemnification: </a:t>
            </a:r>
            <a:r>
              <a:rPr lang="en-US" sz="1200" kern="1200" dirty="0">
                <a:solidFill>
                  <a:schemeClr val="tx1"/>
                </a:solidFill>
                <a:effectLst/>
                <a:latin typeface="+mn-lt"/>
                <a:ea typeface="+mn-ea"/>
                <a:cs typeface="+mn-cs"/>
              </a:rPr>
              <a:t>Build on Azure knowing that you have best-in-industry uncapped defense and indemnification coverage that extends to any open source technology that powers Microsoft Azure services, such as Hadoop used for Azure HDInsight.</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Patent pick: </a:t>
            </a:r>
            <a:r>
              <a:rPr lang="en-US" sz="1200" kern="1200" dirty="0">
                <a:solidFill>
                  <a:schemeClr val="tx1"/>
                </a:solidFill>
                <a:effectLst/>
                <a:latin typeface="+mn-lt"/>
                <a:ea typeface="+mn-ea"/>
                <a:cs typeface="+mn-cs"/>
              </a:rPr>
              <a:t>Defend against patent lawsuits targeting your innovation with access to a large patent portfolio. You become eligible for this benefit simply by using Azure on a regular basis. If sued, eligible Azure customers can acquire one of </a:t>
            </a:r>
            <a:r>
              <a:rPr lang="en-US" sz="1200" u="sng" kern="1200" dirty="0">
                <a:solidFill>
                  <a:schemeClr val="tx1"/>
                </a:solidFill>
                <a:effectLst/>
                <a:latin typeface="+mn-lt"/>
                <a:ea typeface="+mn-ea"/>
                <a:cs typeface="+mn-cs"/>
                <a:hlinkClick r:id="rId3"/>
              </a:rPr>
              <a:t>10,000 patents</a:t>
            </a:r>
            <a:r>
              <a:rPr lang="en-US" sz="1200" kern="1200" dirty="0">
                <a:solidFill>
                  <a:schemeClr val="tx1"/>
                </a:solidFill>
                <a:effectLst/>
                <a:latin typeface="+mn-lt"/>
                <a:ea typeface="+mn-ea"/>
                <a:cs typeface="+mn-cs"/>
              </a:rPr>
              <a:t> that Microsoft makes available to help counter assert against an aggresso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Springing license: </a:t>
            </a:r>
            <a:r>
              <a:rPr lang="en-US" sz="1200" kern="1200" dirty="0">
                <a:solidFill>
                  <a:schemeClr val="tx1"/>
                </a:solidFill>
                <a:effectLst/>
                <a:latin typeface="+mn-lt"/>
                <a:ea typeface="+mn-ea"/>
                <a:cs typeface="+mn-cs"/>
              </a:rPr>
              <a:t>We are pledging to Azure customers that if we transfer patents to non-practicing entities (NPEs), these patents cannot be asserted against them in the future. Non-practicing entities are companies that primarily use patents for revenue generation. While Microsoft doesn’t have a general practice of transferring our patents to NPEs, if it were ever to occur, we offer a springing license to all eligible Azure customers.</a:t>
            </a:r>
            <a:endParaRPr lang="en-US" sz="1200" b="0" i="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Standard security, privacy, and compliance sales motion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9D0B8D-0251-4B24-A025-2F6E03D914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58916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57</a:t>
            </a:fld>
            <a:endParaRPr lang="en-US" dirty="0"/>
          </a:p>
        </p:txBody>
      </p:sp>
    </p:spTree>
    <p:extLst>
      <p:ext uri="{BB962C8B-B14F-4D97-AF65-F5344CB8AC3E}">
        <p14:creationId xmlns:p14="http://schemas.microsoft.com/office/powerpoint/2010/main" val="18543653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58</a:t>
            </a:fld>
            <a:endParaRPr lang="en-US" dirty="0"/>
          </a:p>
        </p:txBody>
      </p:sp>
    </p:spTree>
    <p:extLst>
      <p:ext uri="{BB962C8B-B14F-4D97-AF65-F5344CB8AC3E}">
        <p14:creationId xmlns:p14="http://schemas.microsoft.com/office/powerpoint/2010/main" val="14047405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59</a:t>
            </a:fld>
            <a:endParaRPr lang="en-US" dirty="0"/>
          </a:p>
        </p:txBody>
      </p:sp>
    </p:spTree>
    <p:extLst>
      <p:ext uri="{BB962C8B-B14F-4D97-AF65-F5344CB8AC3E}">
        <p14:creationId xmlns:p14="http://schemas.microsoft.com/office/powerpoint/2010/main" val="40100271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60</a:t>
            </a:fld>
            <a:endParaRPr lang="en-US" dirty="0"/>
          </a:p>
        </p:txBody>
      </p:sp>
    </p:spTree>
    <p:extLst>
      <p:ext uri="{BB962C8B-B14F-4D97-AF65-F5344CB8AC3E}">
        <p14:creationId xmlns:p14="http://schemas.microsoft.com/office/powerpoint/2010/main" val="22621691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VD customers benefit from all the investment we’ve put into Azure Security.</a:t>
            </a:r>
          </a:p>
          <a:p>
            <a:r>
              <a:rPr lang="en-US"/>
              <a:t>And customers can configure familiar Azure Security services, as they build out their deployment</a:t>
            </a:r>
          </a:p>
          <a:p>
            <a:endParaRPr lang="en-US"/>
          </a:p>
          <a:p>
            <a:r>
              <a:rPr lang="en-US"/>
              <a:t>There are 3 security advantages which belong to the WVD service alone</a:t>
            </a:r>
          </a:p>
          <a:p>
            <a:r>
              <a:rPr lang="en-US"/>
              <a:t> - the attack surface is reduced, because we use reverse connect technology.  Essentially that means we don’t open inbound ports to VMs, so there are fewer places for bad actors to attack</a:t>
            </a:r>
          </a:p>
          <a:p>
            <a:r>
              <a:rPr lang="en-US"/>
              <a:t> - The ability to define role-based access means the customer can parse out administration tasks, and also protect their most sensitive user groups and work loads</a:t>
            </a:r>
          </a:p>
          <a:p>
            <a:r>
              <a:rPr lang="en-US"/>
              <a:t> - Finally, every customer will ask you this.  Are user sessions isolated, even in a multi-session environment?  Yes. They are.  That’s important to communicate…</a:t>
            </a:r>
          </a:p>
        </p:txBody>
      </p:sp>
      <p:sp>
        <p:nvSpPr>
          <p:cNvPr id="4" name="Slide Number Placeholder 3"/>
          <p:cNvSpPr>
            <a:spLocks noGrp="1"/>
          </p:cNvSpPr>
          <p:nvPr>
            <p:ph type="sldNum" sz="quarter" idx="5"/>
          </p:nvPr>
        </p:nvSpPr>
        <p:spPr/>
        <p:txBody>
          <a:bodyPr/>
          <a:lstStyle/>
          <a:p>
            <a:fld id="{9A75D05F-1C32-4348-A2A3-98843E8928AA}" type="slidenum">
              <a:rPr lang="en-US" smtClean="0"/>
              <a:t>6</a:t>
            </a:fld>
            <a:endParaRPr lang="en-US"/>
          </a:p>
        </p:txBody>
      </p:sp>
    </p:spTree>
    <p:extLst>
      <p:ext uri="{BB962C8B-B14F-4D97-AF65-F5344CB8AC3E}">
        <p14:creationId xmlns:p14="http://schemas.microsoft.com/office/powerpoint/2010/main" val="3446989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re asserting that WVD will be more efficient and simpler for your customers to use.  Why?</a:t>
            </a:r>
          </a:p>
          <a:p>
            <a:r>
              <a:rPr lang="en-US"/>
              <a:t> - for a start, it’s one service for both desktop and Remote App.  So admins only need to learn one service</a:t>
            </a:r>
          </a:p>
          <a:p>
            <a:r>
              <a:rPr lang="en-US"/>
              <a:t> - WVD is one more service in the Azure family, and the admin will be familiar with Azure</a:t>
            </a:r>
          </a:p>
          <a:p>
            <a:r>
              <a:rPr lang="en-US"/>
              <a:t> - we are still building tools, but our aspiration is that we will have the best and most comprehensive set of management tools out there.  And our partners will help build those tools.</a:t>
            </a:r>
          </a:p>
          <a:p>
            <a:r>
              <a:rPr lang="en-US"/>
              <a:t> </a:t>
            </a:r>
            <a:r>
              <a:rPr lang="en-US">
                <a:solidFill>
                  <a:srgbClr val="FF0000"/>
                </a:solidFill>
              </a:rPr>
              <a:t>- </a:t>
            </a:r>
            <a:r>
              <a:rPr lang="en-US" i="1">
                <a:solidFill>
                  <a:schemeClr val="accent3"/>
                </a:solidFill>
              </a:rPr>
              <a:t>know that the management consoles and interfaces are still in development…but we have active deployments out there, and a workable set of tools.</a:t>
            </a:r>
          </a:p>
        </p:txBody>
      </p:sp>
      <p:sp>
        <p:nvSpPr>
          <p:cNvPr id="4" name="Slide Number Placeholder 3"/>
          <p:cNvSpPr>
            <a:spLocks noGrp="1"/>
          </p:cNvSpPr>
          <p:nvPr>
            <p:ph type="sldNum" sz="quarter" idx="5"/>
          </p:nvPr>
        </p:nvSpPr>
        <p:spPr/>
        <p:txBody>
          <a:bodyPr/>
          <a:lstStyle/>
          <a:p>
            <a:fld id="{9A75D05F-1C32-4348-A2A3-98843E8928AA}" type="slidenum">
              <a:rPr lang="en-US" smtClean="0"/>
              <a:t>7</a:t>
            </a:fld>
            <a:endParaRPr lang="en-US"/>
          </a:p>
        </p:txBody>
      </p:sp>
    </p:spTree>
    <p:extLst>
      <p:ext uri="{BB962C8B-B14F-4D97-AF65-F5344CB8AC3E}">
        <p14:creationId xmlns:p14="http://schemas.microsoft.com/office/powerpoint/2010/main" val="42092489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D5FB26-E2D4-469A-A745-CA9313724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73965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spcAft>
                <a:spcPts val="0"/>
              </a:spcAft>
            </a:pPr>
            <a:endParaRPr lang="en-US" sz="1200" dirty="0">
              <a:solidFill>
                <a:schemeClr val="tx1"/>
              </a:solidFill>
            </a:endParaRPr>
          </a:p>
        </p:txBody>
      </p:sp>
      <p:sp>
        <p:nvSpPr>
          <p:cNvPr id="4" name="Slide Number Placeholder 3"/>
          <p:cNvSpPr>
            <a:spLocks noGrp="1"/>
          </p:cNvSpPr>
          <p:nvPr>
            <p:ph type="sldNum" sz="quarter" idx="5"/>
          </p:nvPr>
        </p:nvSpPr>
        <p:spPr/>
        <p:txBody>
          <a:bodyPr/>
          <a:lstStyle/>
          <a:p>
            <a:fld id="{9A75D05F-1C32-4348-A2A3-98843E8928AA}" type="slidenum">
              <a:rPr lang="en-US" smtClean="0"/>
              <a:t>9</a:t>
            </a:fld>
            <a:endParaRPr lang="en-US" dirty="0"/>
          </a:p>
        </p:txBody>
      </p:sp>
    </p:spTree>
    <p:extLst>
      <p:ext uri="{BB962C8B-B14F-4D97-AF65-F5344CB8AC3E}">
        <p14:creationId xmlns:p14="http://schemas.microsoft.com/office/powerpoint/2010/main" val="1531876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D5FB26-E2D4-469A-A745-CA9313724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0506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820249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73619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35906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413219599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27248671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4534815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71189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4237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83959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5391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56106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042211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678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781932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33003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576654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pSp>
        <p:nvGrpSpPr>
          <p:cNvPr id="8" name="Group 7"/>
          <p:cNvGrpSpPr/>
          <p:nvPr/>
        </p:nvGrpSpPr>
        <p:grpSpPr>
          <a:xfrm>
            <a:off x="0" y="0"/>
            <a:ext cx="12192000" cy="914400"/>
            <a:chOff x="0" y="0"/>
            <a:chExt cx="12192000" cy="914400"/>
          </a:xfrm>
        </p:grpSpPr>
        <p:sp>
          <p:nvSpPr>
            <p:cNvPr id="15" name="Rectangle 14"/>
            <p:cNvSpPr/>
            <p:nvPr/>
          </p:nvSpPr>
          <p:spPr>
            <a:xfrm>
              <a:off x="0" y="0"/>
              <a:ext cx="12192000" cy="914400"/>
            </a:xfrm>
            <a:prstGeom prst="rect">
              <a:avLst/>
            </a:prstGeom>
            <a:solidFill>
              <a:srgbClr val="0036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6361113" y="0"/>
              <a:ext cx="3429000" cy="914400"/>
            </a:xfrm>
            <a:prstGeom prst="rect">
              <a:avLst/>
            </a:prstGeom>
          </p:spPr>
        </p:pic>
      </p:grpSp>
      <p:sp>
        <p:nvSpPr>
          <p:cNvPr id="3" name="Content Placeholder 2"/>
          <p:cNvSpPr>
            <a:spLocks noGrp="1"/>
          </p:cNvSpPr>
          <p:nvPr>
            <p:ph idx="1"/>
          </p:nvPr>
        </p:nvSpPr>
        <p:spPr>
          <a:xfrm>
            <a:off x="685800" y="1143000"/>
            <a:ext cx="10131425" cy="4959220"/>
          </a:xfrm>
        </p:spPr>
        <p:txBody>
          <a:bodyPr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14" name="Picture 13" descr="A close up of a sign&#10;&#10;Description generated with very high confidence">
            <a:extLst>
              <a:ext uri="{FF2B5EF4-FFF2-40B4-BE49-F238E27FC236}">
                <a16:creationId xmlns:a16="http://schemas.microsoft.com/office/drawing/2014/main" id="{B17C2D00-A4F6-4FE6-903C-C4CC66D56F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18135" y="112687"/>
            <a:ext cx="1030313" cy="1030313"/>
          </a:xfrm>
          <a:prstGeom prst="rect">
            <a:avLst/>
          </a:prstGeom>
        </p:spPr>
      </p:pic>
    </p:spTree>
    <p:extLst>
      <p:ext uri="{BB962C8B-B14F-4D97-AF65-F5344CB8AC3E}">
        <p14:creationId xmlns:p14="http://schemas.microsoft.com/office/powerpoint/2010/main" val="25379230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1067" y="92076"/>
            <a:ext cx="11176000" cy="430887"/>
          </a:xfrm>
        </p:spPr>
        <p:txBody>
          <a:bodyPr/>
          <a:lstStyle/>
          <a:p>
            <a:r>
              <a:rPr lang="en-US"/>
              <a:t>Click to edit Master title style</a:t>
            </a:r>
          </a:p>
        </p:txBody>
      </p:sp>
      <p:sp>
        <p:nvSpPr>
          <p:cNvPr id="6" name="Text Placeholder 5"/>
          <p:cNvSpPr>
            <a:spLocks noGrp="1"/>
          </p:cNvSpPr>
          <p:nvPr>
            <p:ph type="body" sz="quarter" idx="10"/>
          </p:nvPr>
        </p:nvSpPr>
        <p:spPr>
          <a:xfrm>
            <a:off x="491067" y="941388"/>
            <a:ext cx="11176000" cy="2133918"/>
          </a:xfrm>
        </p:spPr>
        <p:txBody>
          <a:bodyPr/>
          <a:lstStyle>
            <a:lvl1pPr>
              <a:lnSpc>
                <a:spcPct val="100000"/>
              </a:lnSpc>
              <a:spcBef>
                <a:spcPts val="400"/>
              </a:spcBef>
              <a:spcAft>
                <a:spcPts val="400"/>
              </a:spcAft>
              <a:defRPr sz="2800">
                <a:solidFill>
                  <a:schemeClr val="bg2"/>
                </a:solidFill>
                <a:latin typeface="+mn-lt"/>
              </a:defRPr>
            </a:lvl1pPr>
            <a:lvl2pPr>
              <a:lnSpc>
                <a:spcPct val="100000"/>
              </a:lnSpc>
              <a:spcBef>
                <a:spcPts val="400"/>
              </a:spcBef>
              <a:spcAft>
                <a:spcPts val="400"/>
              </a:spcAft>
              <a:defRPr sz="2400">
                <a:solidFill>
                  <a:schemeClr val="bg2"/>
                </a:solidFill>
                <a:latin typeface="+mn-lt"/>
              </a:defRPr>
            </a:lvl2pPr>
            <a:lvl3pPr>
              <a:lnSpc>
                <a:spcPct val="100000"/>
              </a:lnSpc>
              <a:spcBef>
                <a:spcPts val="400"/>
              </a:spcBef>
              <a:spcAft>
                <a:spcPts val="400"/>
              </a:spcAft>
              <a:defRPr sz="2000">
                <a:solidFill>
                  <a:schemeClr val="bg2"/>
                </a:solidFill>
                <a:latin typeface="+mn-lt"/>
              </a:defRPr>
            </a:lvl3pPr>
            <a:lvl4pPr>
              <a:lnSpc>
                <a:spcPct val="100000"/>
              </a:lnSpc>
              <a:spcBef>
                <a:spcPts val="400"/>
              </a:spcBef>
              <a:spcAft>
                <a:spcPts val="400"/>
              </a:spcAft>
              <a:defRPr sz="2000">
                <a:solidFill>
                  <a:schemeClr val="bg2"/>
                </a:solidFill>
                <a:latin typeface="+mn-lt"/>
              </a:defRPr>
            </a:lvl4pPr>
            <a:lvl5pPr>
              <a:lnSpc>
                <a:spcPct val="100000"/>
              </a:lnSpc>
              <a:spcBef>
                <a:spcPts val="400"/>
              </a:spcBef>
              <a:spcAft>
                <a:spcPts val="400"/>
              </a:spcAft>
              <a:defRPr sz="2000">
                <a:solidFill>
                  <a:schemeClr val="bg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4"/>
          </p:nvPr>
        </p:nvSpPr>
        <p:spPr>
          <a:xfrm>
            <a:off x="1" y="6251172"/>
            <a:ext cx="742604" cy="606829"/>
          </a:xfrm>
          <a:prstGeom prst="rect">
            <a:avLst/>
          </a:prstGeom>
        </p:spPr>
        <p:txBody>
          <a:bodyPr anchor="ctr"/>
          <a:lstStyle>
            <a:lvl1pPr marL="0" algn="ctr" defTabSz="914400" rtl="0" eaLnBrk="1" latinLnBrk="0" hangingPunct="1">
              <a:defRPr lang="en-US" sz="1100" kern="1200" smtClean="0">
                <a:ln>
                  <a:solidFill>
                    <a:srgbClr val="164268">
                      <a:lumMod val="50000"/>
                      <a:alpha val="4000"/>
                    </a:srgbClr>
                  </a:solidFill>
                </a:ln>
                <a:solidFill>
                  <a:prstClr val="white"/>
                </a:solidFill>
                <a:effectLst>
                  <a:outerShdw blurRad="38100" dist="38100" dir="2700000" algn="tl">
                    <a:srgbClr val="000000">
                      <a:alpha val="43137"/>
                    </a:srgbClr>
                  </a:outerShdw>
                </a:effectLst>
                <a:latin typeface="+mn-lt"/>
                <a:ea typeface="+mn-ea"/>
                <a:cs typeface="+mn-cs"/>
              </a:defRPr>
            </a:lvl1pPr>
          </a:lstStyle>
          <a:p>
            <a:pPr>
              <a:defRPr/>
            </a:pPr>
            <a:fld id="{0A09EE1A-6BFE-46DE-9A0B-39A7B9D3E192}" type="slidenum">
              <a:rPr lang="en-US" smtClean="0"/>
              <a:pPr>
                <a:defRPr/>
              </a:pPr>
              <a:t>‹#›</a:t>
            </a:fld>
            <a:endParaRPr lang="en-US" dirty="0"/>
          </a:p>
        </p:txBody>
      </p:sp>
    </p:spTree>
    <p:extLst>
      <p:ext uri="{BB962C8B-B14F-4D97-AF65-F5344CB8AC3E}">
        <p14:creationId xmlns:p14="http://schemas.microsoft.com/office/powerpoint/2010/main" val="414669286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9403934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Segoe UI" panose="020B0502040204020203" pitchFamily="34" charset="0"/>
              </a:rPr>
              <a:t>Click to edit Master text styl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Second level</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Third level</a:t>
            </a:r>
          </a:p>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ourth level</a:t>
            </a:r>
          </a:p>
          <a:p>
            <a:pPr marL="1023938" marR="0" lvl="4"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ifth level</a:t>
            </a:r>
          </a:p>
        </p:txBody>
      </p:sp>
    </p:spTree>
    <p:extLst>
      <p:ext uri="{BB962C8B-B14F-4D97-AF65-F5344CB8AC3E}">
        <p14:creationId xmlns:p14="http://schemas.microsoft.com/office/powerpoint/2010/main" val="41939604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56484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60510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14478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2"/>
            </p:custDataLst>
            <p:extLst>
              <p:ext uri="{D42A27DB-BD31-4B8C-83A1-F6EECF244321}">
                <p14:modId xmlns:p14="http://schemas.microsoft.com/office/powerpoint/2010/main" val="1056146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dirty="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11018520" cy="430887"/>
          </a:xfrm>
        </p:spPr>
        <p:txBody>
          <a:bodyPr/>
          <a:lstStyle/>
          <a:p>
            <a:r>
              <a:rPr lang="en-US" dirty="0"/>
              <a:t>Click to edit Master title style</a:t>
            </a:r>
          </a:p>
        </p:txBody>
      </p:sp>
    </p:spTree>
    <p:extLst>
      <p:ext uri="{BB962C8B-B14F-4D97-AF65-F5344CB8AC3E}">
        <p14:creationId xmlns:p14="http://schemas.microsoft.com/office/powerpoint/2010/main" val="274809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2"/>
            </p:custDataLst>
            <p:extLst>
              <p:ext uri="{D42A27DB-BD31-4B8C-83A1-F6EECF244321}">
                <p14:modId xmlns:p14="http://schemas.microsoft.com/office/powerpoint/2010/main" val="4044534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dirty="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9342317" cy="430887"/>
          </a:xfrm>
        </p:spPr>
        <p:txBody>
          <a:bodyPr/>
          <a:lstStyle/>
          <a:p>
            <a:r>
              <a:rPr lang="en-US" dirty="0"/>
              <a:t>Click to edit Master title style</a:t>
            </a:r>
          </a:p>
        </p:txBody>
      </p:sp>
    </p:spTree>
    <p:extLst>
      <p:ext uri="{BB962C8B-B14F-4D97-AF65-F5344CB8AC3E}">
        <p14:creationId xmlns:p14="http://schemas.microsoft.com/office/powerpoint/2010/main" val="20620940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dirty="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84200" y="897323"/>
            <a:ext cx="11018838" cy="338554"/>
          </a:xfrm>
        </p:spPr>
        <p:txBody>
          <a:bodyPr/>
          <a:lstStyle>
            <a:lvl1pPr marL="0" indent="0">
              <a:buNone/>
              <a:defRPr sz="2200">
                <a:solidFill>
                  <a:schemeClr val="tx1"/>
                </a:solidFill>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14660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3.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8A4B58-4529-4B84-8E46-99DB3001D6BB}"/>
              </a:ext>
            </a:extLst>
          </p:cNvPr>
          <p:cNvGraphicFramePr>
            <a:graphicFrameLocks noChangeAspect="1"/>
          </p:cNvGraphicFramePr>
          <p:nvPr userDrawn="1">
            <p:custDataLst>
              <p:tags r:id="rId29"/>
            </p:custDataLst>
            <p:extLst>
              <p:ext uri="{D42A27DB-BD31-4B8C-83A1-F6EECF244321}">
                <p14:modId xmlns:p14="http://schemas.microsoft.com/office/powerpoint/2010/main" val="2528857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31" imgW="425" imgH="424" progId="TCLayout.ActiveDocument.1">
                  <p:embed/>
                </p:oleObj>
              </mc:Choice>
              <mc:Fallback>
                <p:oleObj name="think-cell Slide" r:id="rId31" imgW="425" imgH="424" progId="TCLayout.ActiveDocument.1">
                  <p:embed/>
                  <p:pic>
                    <p:nvPicPr>
                      <p:cNvPr id="6" name="Object 5" hidden="1">
                        <a:extLst>
                          <a:ext uri="{FF2B5EF4-FFF2-40B4-BE49-F238E27FC236}">
                            <a16:creationId xmlns:a16="http://schemas.microsoft.com/office/drawing/2014/main" id="{358A4B58-4529-4B84-8E46-99DB3001D6BB}"/>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F3ECA-7C9B-4754-9FE4-AACA371DC5B3}"/>
              </a:ext>
            </a:extLst>
          </p:cNvPr>
          <p:cNvSpPr/>
          <p:nvPr userDrawn="1">
            <p:custDataLst>
              <p:tags r:id="rId30"/>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dirty="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203662270"/>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722" r:id="rId8"/>
    <p:sldLayoutId id="2147483670" r:id="rId9"/>
    <p:sldLayoutId id="2147483671"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2" r:id="rId22"/>
    <p:sldLayoutId id="2147483693" r:id="rId23"/>
    <p:sldLayoutId id="2147483694" r:id="rId24"/>
    <p:sldLayoutId id="2147483695" r:id="rId25"/>
    <p:sldLayoutId id="2147483721" r:id="rId26"/>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7.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6.png"/><Relationship Id="rId3" Type="http://schemas.openxmlformats.org/officeDocument/2006/relationships/tags" Target="../tags/tag33.xml"/><Relationship Id="rId7" Type="http://schemas.openxmlformats.org/officeDocument/2006/relationships/image" Target="../media/image1.emf"/><Relationship Id="rId12" Type="http://schemas.microsoft.com/office/2007/relationships/hdphoto" Target="../media/hdphoto1.wdp"/><Relationship Id="rId17" Type="http://schemas.openxmlformats.org/officeDocument/2006/relationships/image" Target="../media/image40.png"/><Relationship Id="rId2" Type="http://schemas.openxmlformats.org/officeDocument/2006/relationships/tags" Target="../tags/tag32.xml"/><Relationship Id="rId16" Type="http://schemas.openxmlformats.org/officeDocument/2006/relationships/image" Target="../media/image39.png"/><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35.png"/><Relationship Id="rId5" Type="http://schemas.openxmlformats.org/officeDocument/2006/relationships/notesSlide" Target="../notesSlides/notesSlide9.xml"/><Relationship Id="rId15" Type="http://schemas.openxmlformats.org/officeDocument/2006/relationships/image" Target="../media/image38.png"/><Relationship Id="rId10" Type="http://schemas.openxmlformats.org/officeDocument/2006/relationships/image" Target="../media/image34.png"/><Relationship Id="rId4" Type="http://schemas.openxmlformats.org/officeDocument/2006/relationships/slideLayout" Target="../slideLayouts/slideLayout8.xml"/><Relationship Id="rId9" Type="http://schemas.openxmlformats.org/officeDocument/2006/relationships/image" Target="../media/image33.jpeg"/><Relationship Id="rId14" Type="http://schemas.openxmlformats.org/officeDocument/2006/relationships/image" Target="../media/image37.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35.xml"/><Relationship Id="rId7" Type="http://schemas.openxmlformats.org/officeDocument/2006/relationships/notesSlide" Target="../notesSlides/notesSlide10.xml"/><Relationship Id="rId2" Type="http://schemas.openxmlformats.org/officeDocument/2006/relationships/tags" Target="../tags/tag34.xml"/><Relationship Id="rId1" Type="http://schemas.openxmlformats.org/officeDocument/2006/relationships/vmlDrawing" Target="../drawings/vmlDrawing15.vml"/><Relationship Id="rId6" Type="http://schemas.openxmlformats.org/officeDocument/2006/relationships/slideLayout" Target="../slideLayouts/slideLayout19.xml"/><Relationship Id="rId11" Type="http://schemas.openxmlformats.org/officeDocument/2006/relationships/image" Target="../media/image9.svg"/><Relationship Id="rId5" Type="http://schemas.openxmlformats.org/officeDocument/2006/relationships/tags" Target="../tags/tag37.xml"/><Relationship Id="rId10" Type="http://schemas.openxmlformats.org/officeDocument/2006/relationships/image" Target="../media/image41.png"/><Relationship Id="rId4" Type="http://schemas.openxmlformats.org/officeDocument/2006/relationships/tags" Target="../tags/tag36.xml"/><Relationship Id="rId9"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39.xml"/><Relationship Id="rId7" Type="http://schemas.openxmlformats.org/officeDocument/2006/relationships/image" Target="../media/image7.emf"/><Relationship Id="rId2" Type="http://schemas.openxmlformats.org/officeDocument/2006/relationships/tags" Target="../tags/tag38.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1.xml"/><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41.xml"/><Relationship Id="rId7" Type="http://schemas.openxmlformats.org/officeDocument/2006/relationships/image" Target="../media/image7.emf"/><Relationship Id="rId2" Type="http://schemas.openxmlformats.org/officeDocument/2006/relationships/tags" Target="../tags/tag4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2.xml"/><Relationship Id="rId4"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43.xml"/><Relationship Id="rId7" Type="http://schemas.openxmlformats.org/officeDocument/2006/relationships/image" Target="../media/image7.emf"/><Relationship Id="rId2" Type="http://schemas.openxmlformats.org/officeDocument/2006/relationships/tags" Target="../tags/tag4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3.xml"/><Relationship Id="rId4"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45.xml"/><Relationship Id="rId7" Type="http://schemas.openxmlformats.org/officeDocument/2006/relationships/image" Target="../media/image7.emf"/><Relationship Id="rId2" Type="http://schemas.openxmlformats.org/officeDocument/2006/relationships/tags" Target="../tags/tag4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4.xml"/><Relationship Id="rId4"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47.xml"/><Relationship Id="rId7" Type="http://schemas.openxmlformats.org/officeDocument/2006/relationships/image" Target="../media/image7.emf"/><Relationship Id="rId2" Type="http://schemas.openxmlformats.org/officeDocument/2006/relationships/tags" Target="../tags/tag4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5.xml"/><Relationship Id="rId4"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49.xml"/><Relationship Id="rId7" Type="http://schemas.openxmlformats.org/officeDocument/2006/relationships/image" Target="../media/image7.emf"/><Relationship Id="rId2" Type="http://schemas.openxmlformats.org/officeDocument/2006/relationships/tags" Target="../tags/tag48.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6.xml"/><Relationship Id="rId10" Type="http://schemas.openxmlformats.org/officeDocument/2006/relationships/image" Target="../media/image42.png"/><Relationship Id="rId4" Type="http://schemas.openxmlformats.org/officeDocument/2006/relationships/slideLayout" Target="../slideLayouts/slideLayout8.xml"/><Relationship Id="rId9" Type="http://schemas.openxmlformats.org/officeDocument/2006/relationships/image" Target="../media/image44.svg"/></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51.xml"/><Relationship Id="rId7" Type="http://schemas.openxmlformats.org/officeDocument/2006/relationships/notesSlide" Target="../notesSlides/notesSlide17.xml"/><Relationship Id="rId2" Type="http://schemas.openxmlformats.org/officeDocument/2006/relationships/tags" Target="../tags/tag50.xml"/><Relationship Id="rId1" Type="http://schemas.openxmlformats.org/officeDocument/2006/relationships/vmlDrawing" Target="../drawings/vmlDrawing22.vml"/><Relationship Id="rId6" Type="http://schemas.openxmlformats.org/officeDocument/2006/relationships/slideLayout" Target="../slideLayouts/slideLayout19.xml"/><Relationship Id="rId11" Type="http://schemas.openxmlformats.org/officeDocument/2006/relationships/image" Target="../media/image9.svg"/><Relationship Id="rId5" Type="http://schemas.openxmlformats.org/officeDocument/2006/relationships/tags" Target="../tags/tag53.xml"/><Relationship Id="rId10" Type="http://schemas.openxmlformats.org/officeDocument/2006/relationships/image" Target="../media/image41.png"/><Relationship Id="rId4" Type="http://schemas.openxmlformats.org/officeDocument/2006/relationships/tags" Target="../tags/tag52.xml"/><Relationship Id="rId9"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55.xml"/><Relationship Id="rId7" Type="http://schemas.openxmlformats.org/officeDocument/2006/relationships/image" Target="../media/image45.png"/><Relationship Id="rId2" Type="http://schemas.openxmlformats.org/officeDocument/2006/relationships/tags" Target="../tags/tag54.xml"/><Relationship Id="rId1" Type="http://schemas.openxmlformats.org/officeDocument/2006/relationships/vmlDrawing" Target="../drawings/vmlDrawing23.vml"/><Relationship Id="rId6" Type="http://schemas.openxmlformats.org/officeDocument/2006/relationships/image" Target="../media/image7.emf"/><Relationship Id="rId11" Type="http://schemas.openxmlformats.org/officeDocument/2006/relationships/image" Target="../media/image49.png"/><Relationship Id="rId5" Type="http://schemas.openxmlformats.org/officeDocument/2006/relationships/oleObject" Target="../embeddings/oleObject23.bin"/><Relationship Id="rId10" Type="http://schemas.openxmlformats.org/officeDocument/2006/relationships/image" Target="../media/image48.svg"/><Relationship Id="rId4" Type="http://schemas.openxmlformats.org/officeDocument/2006/relationships/slideLayout" Target="../slideLayouts/slideLayout8.xml"/><Relationship Id="rId9" Type="http://schemas.openxmlformats.org/officeDocument/2006/relationships/image" Target="../media/image47.png"/></Relationships>
</file>

<file path=ppt/slides/_rels/slide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7.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49.png"/><Relationship Id="rId2" Type="http://schemas.openxmlformats.org/officeDocument/2006/relationships/tags" Target="../tags/tag56.xml"/><Relationship Id="rId1" Type="http://schemas.openxmlformats.org/officeDocument/2006/relationships/vmlDrawing" Target="../drawings/vmlDrawing24.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49.png"/><Relationship Id="rId2" Type="http://schemas.openxmlformats.org/officeDocument/2006/relationships/tags" Target="../tags/tag58.xml"/><Relationship Id="rId1" Type="http://schemas.openxmlformats.org/officeDocument/2006/relationships/vmlDrawing" Target="../drawings/vmlDrawing25.vml"/><Relationship Id="rId6" Type="http://schemas.openxmlformats.org/officeDocument/2006/relationships/image" Target="../media/image7.emf"/><Relationship Id="rId5" Type="http://schemas.openxmlformats.org/officeDocument/2006/relationships/oleObject" Target="../embeddings/oleObject25.bin"/><Relationship Id="rId4"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49.png"/><Relationship Id="rId2" Type="http://schemas.openxmlformats.org/officeDocument/2006/relationships/tags" Target="../tags/tag60.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63.xml"/><Relationship Id="rId7" Type="http://schemas.openxmlformats.org/officeDocument/2006/relationships/notesSlide" Target="../notesSlides/notesSlide18.xml"/><Relationship Id="rId2" Type="http://schemas.openxmlformats.org/officeDocument/2006/relationships/tags" Target="../tags/tag62.xml"/><Relationship Id="rId1" Type="http://schemas.openxmlformats.org/officeDocument/2006/relationships/vmlDrawing" Target="../drawings/vmlDrawing27.vml"/><Relationship Id="rId6" Type="http://schemas.openxmlformats.org/officeDocument/2006/relationships/slideLayout" Target="../slideLayouts/slideLayout19.xml"/><Relationship Id="rId11" Type="http://schemas.openxmlformats.org/officeDocument/2006/relationships/image" Target="../media/image11.svg"/><Relationship Id="rId5" Type="http://schemas.openxmlformats.org/officeDocument/2006/relationships/tags" Target="../tags/tag65.xml"/><Relationship Id="rId10" Type="http://schemas.openxmlformats.org/officeDocument/2006/relationships/image" Target="../media/image50.png"/><Relationship Id="rId4" Type="http://schemas.openxmlformats.org/officeDocument/2006/relationships/tags" Target="../tags/tag64.xml"/><Relationship Id="rId9"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51.png"/><Relationship Id="rId2" Type="http://schemas.openxmlformats.org/officeDocument/2006/relationships/tags" Target="../tags/tag66.xml"/><Relationship Id="rId1" Type="http://schemas.openxmlformats.org/officeDocument/2006/relationships/vmlDrawing" Target="../drawings/vmlDrawing28.vml"/><Relationship Id="rId6" Type="http://schemas.openxmlformats.org/officeDocument/2006/relationships/image" Target="../media/image7.emf"/><Relationship Id="rId5" Type="http://schemas.openxmlformats.org/officeDocument/2006/relationships/oleObject" Target="../embeddings/oleObject28.bin"/><Relationship Id="rId4"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69.xml"/><Relationship Id="rId7" Type="http://schemas.openxmlformats.org/officeDocument/2006/relationships/image" Target="../media/image45.png"/><Relationship Id="rId2" Type="http://schemas.openxmlformats.org/officeDocument/2006/relationships/tags" Target="../tags/tag68.xml"/><Relationship Id="rId1" Type="http://schemas.openxmlformats.org/officeDocument/2006/relationships/vmlDrawing" Target="../drawings/vmlDrawing29.vml"/><Relationship Id="rId6" Type="http://schemas.openxmlformats.org/officeDocument/2006/relationships/image" Target="../media/image7.emf"/><Relationship Id="rId11" Type="http://schemas.openxmlformats.org/officeDocument/2006/relationships/image" Target="../media/image51.png"/><Relationship Id="rId5" Type="http://schemas.openxmlformats.org/officeDocument/2006/relationships/oleObject" Target="../embeddings/oleObject29.bin"/><Relationship Id="rId10" Type="http://schemas.openxmlformats.org/officeDocument/2006/relationships/image" Target="../media/image48.svg"/><Relationship Id="rId4" Type="http://schemas.openxmlformats.org/officeDocument/2006/relationships/slideLayout" Target="../slideLayouts/slideLayout8.xml"/><Relationship Id="rId9" Type="http://schemas.openxmlformats.org/officeDocument/2006/relationships/image" Target="../media/image47.png"/></Relationships>
</file>

<file path=ppt/slides/_rels/slide26.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tags" Target="../tags/tag71.xml"/><Relationship Id="rId7" Type="http://schemas.openxmlformats.org/officeDocument/2006/relationships/image" Target="../media/image52.png"/><Relationship Id="rId2" Type="http://schemas.openxmlformats.org/officeDocument/2006/relationships/tags" Target="../tags/tag70.xml"/><Relationship Id="rId1" Type="http://schemas.openxmlformats.org/officeDocument/2006/relationships/vmlDrawing" Target="../drawings/vmlDrawing30.vml"/><Relationship Id="rId6" Type="http://schemas.openxmlformats.org/officeDocument/2006/relationships/image" Target="../media/image7.emf"/><Relationship Id="rId5" Type="http://schemas.openxmlformats.org/officeDocument/2006/relationships/oleObject" Target="../embeddings/oleObject30.bin"/><Relationship Id="rId10" Type="http://schemas.openxmlformats.org/officeDocument/2006/relationships/image" Target="../media/image51.png"/><Relationship Id="rId4" Type="http://schemas.openxmlformats.org/officeDocument/2006/relationships/slideLayout" Target="../slideLayouts/slideLayout8.xml"/><Relationship Id="rId9" Type="http://schemas.openxmlformats.org/officeDocument/2006/relationships/image" Target="../media/image54.png"/></Relationships>
</file>

<file path=ppt/slides/_rels/slide2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73.xml"/><Relationship Id="rId7" Type="http://schemas.openxmlformats.org/officeDocument/2006/relationships/image" Target="../media/image55.wmf"/><Relationship Id="rId2" Type="http://schemas.openxmlformats.org/officeDocument/2006/relationships/tags" Target="../tags/tag72.xml"/><Relationship Id="rId1" Type="http://schemas.openxmlformats.org/officeDocument/2006/relationships/vmlDrawing" Target="../drawings/vmlDrawing31.vml"/><Relationship Id="rId6" Type="http://schemas.openxmlformats.org/officeDocument/2006/relationships/image" Target="../media/image7.emf"/><Relationship Id="rId5" Type="http://schemas.openxmlformats.org/officeDocument/2006/relationships/oleObject" Target="../embeddings/oleObject31.bin"/><Relationship Id="rId4"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75.xml"/><Relationship Id="rId7" Type="http://schemas.openxmlformats.org/officeDocument/2006/relationships/notesSlide" Target="../notesSlides/notesSlide19.xml"/><Relationship Id="rId2" Type="http://schemas.openxmlformats.org/officeDocument/2006/relationships/tags" Target="../tags/tag74.xml"/><Relationship Id="rId1" Type="http://schemas.openxmlformats.org/officeDocument/2006/relationships/vmlDrawing" Target="../drawings/vmlDrawing32.vml"/><Relationship Id="rId6" Type="http://schemas.openxmlformats.org/officeDocument/2006/relationships/slideLayout" Target="../slideLayouts/slideLayout19.xml"/><Relationship Id="rId11" Type="http://schemas.openxmlformats.org/officeDocument/2006/relationships/image" Target="../media/image9.svg"/><Relationship Id="rId5" Type="http://schemas.openxmlformats.org/officeDocument/2006/relationships/tags" Target="../tags/tag77.xml"/><Relationship Id="rId10" Type="http://schemas.openxmlformats.org/officeDocument/2006/relationships/image" Target="../media/image41.png"/><Relationship Id="rId4" Type="http://schemas.openxmlformats.org/officeDocument/2006/relationships/tags" Target="../tags/tag76.xml"/><Relationship Id="rId9"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0.png"/><Relationship Id="rId18" Type="http://schemas.openxmlformats.org/officeDocument/2006/relationships/image" Target="../media/image64.png"/><Relationship Id="rId3" Type="http://schemas.openxmlformats.org/officeDocument/2006/relationships/tags" Target="../tags/tag79.xml"/><Relationship Id="rId21" Type="http://schemas.openxmlformats.org/officeDocument/2006/relationships/image" Target="../media/image66.png"/><Relationship Id="rId7" Type="http://schemas.openxmlformats.org/officeDocument/2006/relationships/image" Target="../media/image1.emf"/><Relationship Id="rId12" Type="http://schemas.openxmlformats.org/officeDocument/2006/relationships/image" Target="../media/image32.png"/><Relationship Id="rId17" Type="http://schemas.openxmlformats.org/officeDocument/2006/relationships/image" Target="../media/image63.png"/><Relationship Id="rId25" Type="http://schemas.openxmlformats.org/officeDocument/2006/relationships/image" Target="../media/image29.png"/><Relationship Id="rId2" Type="http://schemas.openxmlformats.org/officeDocument/2006/relationships/tags" Target="../tags/tag78.xml"/><Relationship Id="rId16" Type="http://schemas.openxmlformats.org/officeDocument/2006/relationships/image" Target="../media/image62.png"/><Relationship Id="rId20" Type="http://schemas.openxmlformats.org/officeDocument/2006/relationships/image" Target="../media/image33.jpeg"/><Relationship Id="rId1" Type="http://schemas.openxmlformats.org/officeDocument/2006/relationships/vmlDrawing" Target="../drawings/vmlDrawing33.vml"/><Relationship Id="rId6" Type="http://schemas.openxmlformats.org/officeDocument/2006/relationships/oleObject" Target="../embeddings/oleObject33.bin"/><Relationship Id="rId11" Type="http://schemas.openxmlformats.org/officeDocument/2006/relationships/image" Target="../media/image59.png"/><Relationship Id="rId24" Type="http://schemas.openxmlformats.org/officeDocument/2006/relationships/image" Target="../media/image69.jpeg"/><Relationship Id="rId5" Type="http://schemas.openxmlformats.org/officeDocument/2006/relationships/notesSlide" Target="../notesSlides/notesSlide20.xml"/><Relationship Id="rId15" Type="http://schemas.openxmlformats.org/officeDocument/2006/relationships/image" Target="../media/image61.png"/><Relationship Id="rId23" Type="http://schemas.openxmlformats.org/officeDocument/2006/relationships/image" Target="../media/image68.jpeg"/><Relationship Id="rId10" Type="http://schemas.openxmlformats.org/officeDocument/2006/relationships/image" Target="../media/image58.svg"/><Relationship Id="rId19" Type="http://schemas.openxmlformats.org/officeDocument/2006/relationships/image" Target="../media/image65.png"/><Relationship Id="rId4" Type="http://schemas.openxmlformats.org/officeDocument/2006/relationships/slideLayout" Target="../slideLayouts/slideLayout8.xml"/><Relationship Id="rId9" Type="http://schemas.openxmlformats.org/officeDocument/2006/relationships/image" Target="../media/image57.png"/><Relationship Id="rId14" Type="http://schemas.openxmlformats.org/officeDocument/2006/relationships/image" Target="../media/image38.png"/><Relationship Id="rId22" Type="http://schemas.openxmlformats.org/officeDocument/2006/relationships/image" Target="../media/image67.sv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9.sv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8.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tags" Target="../tags/tag18.xml"/><Relationship Id="rId11" Type="http://schemas.openxmlformats.org/officeDocument/2006/relationships/image" Target="../media/image1.emf"/><Relationship Id="rId5" Type="http://schemas.openxmlformats.org/officeDocument/2006/relationships/tags" Target="../tags/tag17.xml"/><Relationship Id="rId15" Type="http://schemas.openxmlformats.org/officeDocument/2006/relationships/image" Target="../media/image11.svg"/><Relationship Id="rId10" Type="http://schemas.openxmlformats.org/officeDocument/2006/relationships/oleObject" Target="../embeddings/oleObject7.bin"/><Relationship Id="rId4" Type="http://schemas.openxmlformats.org/officeDocument/2006/relationships/tags" Target="../tags/tag16.xml"/><Relationship Id="rId9" Type="http://schemas.openxmlformats.org/officeDocument/2006/relationships/notesSlide" Target="../notesSlides/notesSlide3.xml"/><Relationship Id="rId14" Type="http://schemas.openxmlformats.org/officeDocument/2006/relationships/image" Target="../media/image10.png"/></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81.xml"/><Relationship Id="rId7" Type="http://schemas.openxmlformats.org/officeDocument/2006/relationships/notesSlide" Target="../notesSlides/notesSlide21.xml"/><Relationship Id="rId2" Type="http://schemas.openxmlformats.org/officeDocument/2006/relationships/tags" Target="../tags/tag80.xml"/><Relationship Id="rId1" Type="http://schemas.openxmlformats.org/officeDocument/2006/relationships/vmlDrawing" Target="../drawings/vmlDrawing34.vml"/><Relationship Id="rId6" Type="http://schemas.openxmlformats.org/officeDocument/2006/relationships/slideLayout" Target="../slideLayouts/slideLayout19.xml"/><Relationship Id="rId11" Type="http://schemas.openxmlformats.org/officeDocument/2006/relationships/image" Target="../media/image9.svg"/><Relationship Id="rId5" Type="http://schemas.openxmlformats.org/officeDocument/2006/relationships/tags" Target="../tags/tag83.xml"/><Relationship Id="rId10" Type="http://schemas.openxmlformats.org/officeDocument/2006/relationships/image" Target="../media/image41.png"/><Relationship Id="rId4" Type="http://schemas.openxmlformats.org/officeDocument/2006/relationships/tags" Target="../tags/tag82.xml"/><Relationship Id="rId9" Type="http://schemas.openxmlformats.org/officeDocument/2006/relationships/image" Target="../media/image1.emf"/></Relationships>
</file>

<file path=ppt/slides/_rels/slide31.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slideLayout" Target="../slideLayouts/slideLayout8.xml"/><Relationship Id="rId18" Type="http://schemas.openxmlformats.org/officeDocument/2006/relationships/chart" Target="../charts/chart1.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image" Target="../media/image70.emf"/><Relationship Id="rId2" Type="http://schemas.openxmlformats.org/officeDocument/2006/relationships/tags" Target="../tags/tag84.xml"/><Relationship Id="rId16" Type="http://schemas.openxmlformats.org/officeDocument/2006/relationships/image" Target="../media/image7.emf"/><Relationship Id="rId1" Type="http://schemas.openxmlformats.org/officeDocument/2006/relationships/vmlDrawing" Target="../drawings/vmlDrawing35.vml"/><Relationship Id="rId6" Type="http://schemas.openxmlformats.org/officeDocument/2006/relationships/tags" Target="../tags/tag88.xml"/><Relationship Id="rId11" Type="http://schemas.openxmlformats.org/officeDocument/2006/relationships/tags" Target="../tags/tag93.xml"/><Relationship Id="rId5" Type="http://schemas.openxmlformats.org/officeDocument/2006/relationships/tags" Target="../tags/tag87.xml"/><Relationship Id="rId15" Type="http://schemas.openxmlformats.org/officeDocument/2006/relationships/oleObject" Target="../embeddings/oleObject35.bin"/><Relationship Id="rId10" Type="http://schemas.openxmlformats.org/officeDocument/2006/relationships/tags" Target="../tags/tag92.xml"/><Relationship Id="rId19" Type="http://schemas.openxmlformats.org/officeDocument/2006/relationships/image" Target="../media/image31.png"/><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notesSlide" Target="../notesSlides/notesSlide22.xml"/></Relationships>
</file>

<file path=ppt/slides/_rels/slide32.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notesSlide" Target="../notesSlides/notesSlide23.xml"/><Relationship Id="rId3" Type="http://schemas.openxmlformats.org/officeDocument/2006/relationships/tags" Target="../tags/tag96.xml"/><Relationship Id="rId21" Type="http://schemas.openxmlformats.org/officeDocument/2006/relationships/chart" Target="../charts/chart2.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slideLayout" Target="../slideLayouts/slideLayout8.xml"/><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image" Target="../media/image7.emf"/><Relationship Id="rId1" Type="http://schemas.openxmlformats.org/officeDocument/2006/relationships/vmlDrawing" Target="../drawings/vmlDrawing36.vml"/><Relationship Id="rId6" Type="http://schemas.openxmlformats.org/officeDocument/2006/relationships/tags" Target="../tags/tag99.xml"/><Relationship Id="rId11" Type="http://schemas.openxmlformats.org/officeDocument/2006/relationships/tags" Target="../tags/tag104.xml"/><Relationship Id="rId5" Type="http://schemas.openxmlformats.org/officeDocument/2006/relationships/tags" Target="../tags/tag98.xml"/><Relationship Id="rId15" Type="http://schemas.openxmlformats.org/officeDocument/2006/relationships/tags" Target="../tags/tag108.xml"/><Relationship Id="rId10" Type="http://schemas.openxmlformats.org/officeDocument/2006/relationships/tags" Target="../tags/tag103.xml"/><Relationship Id="rId19" Type="http://schemas.openxmlformats.org/officeDocument/2006/relationships/oleObject" Target="../embeddings/oleObject36.bin"/><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image" Target="../media/image31.png"/></Relationships>
</file>

<file path=ppt/slides/_rels/slide33.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slideLayout" Target="../slideLayouts/slideLayout8.xml"/><Relationship Id="rId3" Type="http://schemas.openxmlformats.org/officeDocument/2006/relationships/tags" Target="../tags/tag111.xml"/><Relationship Id="rId21" Type="http://schemas.openxmlformats.org/officeDocument/2006/relationships/image" Target="../media/image7.emf"/><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tags" Target="../tags/tag125.xml"/><Relationship Id="rId2" Type="http://schemas.openxmlformats.org/officeDocument/2006/relationships/tags" Target="../tags/tag110.xml"/><Relationship Id="rId16" Type="http://schemas.openxmlformats.org/officeDocument/2006/relationships/tags" Target="../tags/tag124.xml"/><Relationship Id="rId20" Type="http://schemas.openxmlformats.org/officeDocument/2006/relationships/oleObject" Target="../embeddings/oleObject37.bin"/><Relationship Id="rId1" Type="http://schemas.openxmlformats.org/officeDocument/2006/relationships/vmlDrawing" Target="../drawings/vmlDrawing37.vml"/><Relationship Id="rId6" Type="http://schemas.openxmlformats.org/officeDocument/2006/relationships/tags" Target="../tags/tag114.xml"/><Relationship Id="rId11" Type="http://schemas.openxmlformats.org/officeDocument/2006/relationships/tags" Target="../tags/tag119.xml"/><Relationship Id="rId5" Type="http://schemas.openxmlformats.org/officeDocument/2006/relationships/tags" Target="../tags/tag113.xml"/><Relationship Id="rId15" Type="http://schemas.openxmlformats.org/officeDocument/2006/relationships/tags" Target="../tags/tag123.xml"/><Relationship Id="rId23" Type="http://schemas.openxmlformats.org/officeDocument/2006/relationships/image" Target="../media/image31.png"/><Relationship Id="rId10" Type="http://schemas.openxmlformats.org/officeDocument/2006/relationships/tags" Target="../tags/tag118.xml"/><Relationship Id="rId19" Type="http://schemas.openxmlformats.org/officeDocument/2006/relationships/notesSlide" Target="../notesSlides/notesSlide24.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 Id="rId22" Type="http://schemas.openxmlformats.org/officeDocument/2006/relationships/chart" Target="../charts/chart3.xml"/></Relationships>
</file>

<file path=ppt/slides/_rels/slide34.xml.rels><?xml version="1.0" encoding="UTF-8" standalone="yes"?>
<Relationships xmlns="http://schemas.openxmlformats.org/package/2006/relationships"><Relationship Id="rId8" Type="http://schemas.openxmlformats.org/officeDocument/2006/relationships/tags" Target="../tags/tag132.xml"/><Relationship Id="rId13" Type="http://schemas.openxmlformats.org/officeDocument/2006/relationships/slideLayout" Target="../slideLayouts/slideLayout8.xml"/><Relationship Id="rId18" Type="http://schemas.openxmlformats.org/officeDocument/2006/relationships/chart" Target="../charts/chart4.xml"/><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tags" Target="../tags/tag136.xml"/><Relationship Id="rId17" Type="http://schemas.openxmlformats.org/officeDocument/2006/relationships/image" Target="../media/image71.jpg"/><Relationship Id="rId2" Type="http://schemas.openxmlformats.org/officeDocument/2006/relationships/tags" Target="../tags/tag126.xml"/><Relationship Id="rId16" Type="http://schemas.openxmlformats.org/officeDocument/2006/relationships/image" Target="../media/image7.emf"/><Relationship Id="rId1" Type="http://schemas.openxmlformats.org/officeDocument/2006/relationships/vmlDrawing" Target="../drawings/vmlDrawing38.vml"/><Relationship Id="rId6" Type="http://schemas.openxmlformats.org/officeDocument/2006/relationships/tags" Target="../tags/tag130.xml"/><Relationship Id="rId11" Type="http://schemas.openxmlformats.org/officeDocument/2006/relationships/tags" Target="../tags/tag135.xml"/><Relationship Id="rId5" Type="http://schemas.openxmlformats.org/officeDocument/2006/relationships/tags" Target="../tags/tag129.xml"/><Relationship Id="rId15" Type="http://schemas.openxmlformats.org/officeDocument/2006/relationships/oleObject" Target="../embeddings/oleObject38.bin"/><Relationship Id="rId10" Type="http://schemas.openxmlformats.org/officeDocument/2006/relationships/tags" Target="../tags/tag134.xml"/><Relationship Id="rId19" Type="http://schemas.openxmlformats.org/officeDocument/2006/relationships/image" Target="../media/image31.png"/><Relationship Id="rId4" Type="http://schemas.openxmlformats.org/officeDocument/2006/relationships/tags" Target="../tags/tag128.xml"/><Relationship Id="rId9" Type="http://schemas.openxmlformats.org/officeDocument/2006/relationships/tags" Target="../tags/tag133.xml"/><Relationship Id="rId14" Type="http://schemas.openxmlformats.org/officeDocument/2006/relationships/notesSlide" Target="../notesSlides/notesSlide25.xml"/></Relationships>
</file>

<file path=ppt/slides/_rels/slide35.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138.xml"/><Relationship Id="rId7" Type="http://schemas.openxmlformats.org/officeDocument/2006/relationships/image" Target="../media/image7.emf"/><Relationship Id="rId2" Type="http://schemas.openxmlformats.org/officeDocument/2006/relationships/tags" Target="../tags/tag137.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26.xml"/><Relationship Id="rId10" Type="http://schemas.openxmlformats.org/officeDocument/2006/relationships/image" Target="../media/image31.png"/><Relationship Id="rId4" Type="http://schemas.openxmlformats.org/officeDocument/2006/relationships/slideLayout" Target="../slideLayouts/slideLayout8.xml"/><Relationship Id="rId9" Type="http://schemas.openxmlformats.org/officeDocument/2006/relationships/chart" Target="../charts/chart6.xml"/></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40.xml"/><Relationship Id="rId7" Type="http://schemas.openxmlformats.org/officeDocument/2006/relationships/image" Target="../media/image7.emf"/><Relationship Id="rId2" Type="http://schemas.openxmlformats.org/officeDocument/2006/relationships/tags" Target="../tags/tag139.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27.xml"/><Relationship Id="rId10" Type="http://schemas.openxmlformats.org/officeDocument/2006/relationships/image" Target="../media/image31.png"/><Relationship Id="rId4" Type="http://schemas.openxmlformats.org/officeDocument/2006/relationships/slideLayout" Target="../slideLayouts/slideLayout8.xml"/><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42.xml"/><Relationship Id="rId7" Type="http://schemas.openxmlformats.org/officeDocument/2006/relationships/image" Target="../media/image7.emf"/><Relationship Id="rId2" Type="http://schemas.openxmlformats.org/officeDocument/2006/relationships/tags" Target="../tags/tag141.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28.xml"/><Relationship Id="rId4"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tags" Target="../tags/tag144.xml"/><Relationship Id="rId7" Type="http://schemas.openxmlformats.org/officeDocument/2006/relationships/image" Target="../media/image7.emf"/><Relationship Id="rId2" Type="http://schemas.openxmlformats.org/officeDocument/2006/relationships/tags" Target="../tags/tag143.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29.xml"/><Relationship Id="rId4" Type="http://schemas.openxmlformats.org/officeDocument/2006/relationships/slideLayout" Target="../slideLayouts/slideLayout8.xml"/><Relationship Id="rId9" Type="http://schemas.openxmlformats.org/officeDocument/2006/relationships/image" Target="../media/image31.png"/></Relationships>
</file>

<file path=ppt/slides/_rels/slide39.xml.rels><?xml version="1.0" encoding="UTF-8" standalone="yes"?>
<Relationships xmlns="http://schemas.openxmlformats.org/package/2006/relationships"><Relationship Id="rId8" Type="http://schemas.openxmlformats.org/officeDocument/2006/relationships/tags" Target="../tags/tag151.xml"/><Relationship Id="rId13" Type="http://schemas.openxmlformats.org/officeDocument/2006/relationships/oleObject" Target="../embeddings/oleObject43.bin"/><Relationship Id="rId3" Type="http://schemas.openxmlformats.org/officeDocument/2006/relationships/tags" Target="../tags/tag146.xml"/><Relationship Id="rId7" Type="http://schemas.openxmlformats.org/officeDocument/2006/relationships/tags" Target="../tags/tag150.xml"/><Relationship Id="rId12" Type="http://schemas.openxmlformats.org/officeDocument/2006/relationships/notesSlide" Target="../notesSlides/notesSlide30.xml"/><Relationship Id="rId2" Type="http://schemas.openxmlformats.org/officeDocument/2006/relationships/tags" Target="../tags/tag145.xml"/><Relationship Id="rId16" Type="http://schemas.openxmlformats.org/officeDocument/2006/relationships/image" Target="../media/image31.png"/><Relationship Id="rId1" Type="http://schemas.openxmlformats.org/officeDocument/2006/relationships/vmlDrawing" Target="../drawings/vmlDrawing43.vml"/><Relationship Id="rId6" Type="http://schemas.openxmlformats.org/officeDocument/2006/relationships/tags" Target="../tags/tag149.xml"/><Relationship Id="rId11" Type="http://schemas.openxmlformats.org/officeDocument/2006/relationships/slideLayout" Target="../slideLayouts/slideLayout8.xml"/><Relationship Id="rId5" Type="http://schemas.openxmlformats.org/officeDocument/2006/relationships/tags" Target="../tags/tag148.xml"/><Relationship Id="rId15" Type="http://schemas.openxmlformats.org/officeDocument/2006/relationships/chart" Target="../charts/chart7.xml"/><Relationship Id="rId10" Type="http://schemas.openxmlformats.org/officeDocument/2006/relationships/tags" Target="../tags/tag153.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slide" Target="slide18.xml"/><Relationship Id="rId3" Type="http://schemas.openxmlformats.org/officeDocument/2006/relationships/tags" Target="../tags/tag21.xml"/><Relationship Id="rId7" Type="http://schemas.openxmlformats.org/officeDocument/2006/relationships/slide" Target="slide11.xml"/><Relationship Id="rId12" Type="http://schemas.openxmlformats.org/officeDocument/2006/relationships/slide" Target="slide41.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image" Target="../media/image7.emf"/><Relationship Id="rId11" Type="http://schemas.openxmlformats.org/officeDocument/2006/relationships/slide" Target="slide28.xml"/><Relationship Id="rId5" Type="http://schemas.openxmlformats.org/officeDocument/2006/relationships/oleObject" Target="../embeddings/oleObject8.bin"/><Relationship Id="rId10" Type="http://schemas.openxmlformats.org/officeDocument/2006/relationships/slide" Target="slide30.xml"/><Relationship Id="rId4" Type="http://schemas.openxmlformats.org/officeDocument/2006/relationships/slideLayout" Target="../slideLayouts/slideLayout7.xml"/><Relationship Id="rId9" Type="http://schemas.openxmlformats.org/officeDocument/2006/relationships/slide" Target="slide23.xml"/></Relationships>
</file>

<file path=ppt/slides/_rels/slide40.xml.rels><?xml version="1.0" encoding="UTF-8" standalone="yes"?>
<Relationships xmlns="http://schemas.openxmlformats.org/package/2006/relationships"><Relationship Id="rId13" Type="http://schemas.openxmlformats.org/officeDocument/2006/relationships/tags" Target="../tags/tag165.xml"/><Relationship Id="rId18" Type="http://schemas.openxmlformats.org/officeDocument/2006/relationships/tags" Target="../tags/tag170.xml"/><Relationship Id="rId26" Type="http://schemas.openxmlformats.org/officeDocument/2006/relationships/tags" Target="../tags/tag178.xml"/><Relationship Id="rId39" Type="http://schemas.openxmlformats.org/officeDocument/2006/relationships/chart" Target="../charts/chart8.xml"/><Relationship Id="rId21" Type="http://schemas.openxmlformats.org/officeDocument/2006/relationships/tags" Target="../tags/tag173.xml"/><Relationship Id="rId34" Type="http://schemas.openxmlformats.org/officeDocument/2006/relationships/tags" Target="../tags/tag186.xml"/><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tags" Target="../tags/tag169.xml"/><Relationship Id="rId25" Type="http://schemas.openxmlformats.org/officeDocument/2006/relationships/tags" Target="../tags/tag177.xml"/><Relationship Id="rId33" Type="http://schemas.openxmlformats.org/officeDocument/2006/relationships/tags" Target="../tags/tag185.xml"/><Relationship Id="rId38" Type="http://schemas.openxmlformats.org/officeDocument/2006/relationships/image" Target="../media/image7.emf"/><Relationship Id="rId2" Type="http://schemas.openxmlformats.org/officeDocument/2006/relationships/tags" Target="../tags/tag154.xml"/><Relationship Id="rId16" Type="http://schemas.openxmlformats.org/officeDocument/2006/relationships/tags" Target="../tags/tag168.xml"/><Relationship Id="rId20" Type="http://schemas.openxmlformats.org/officeDocument/2006/relationships/tags" Target="../tags/tag172.xml"/><Relationship Id="rId29" Type="http://schemas.openxmlformats.org/officeDocument/2006/relationships/tags" Target="../tags/tag181.xml"/><Relationship Id="rId1" Type="http://schemas.openxmlformats.org/officeDocument/2006/relationships/vmlDrawing" Target="../drawings/vmlDrawing44.vml"/><Relationship Id="rId6" Type="http://schemas.openxmlformats.org/officeDocument/2006/relationships/tags" Target="../tags/tag158.xml"/><Relationship Id="rId11" Type="http://schemas.openxmlformats.org/officeDocument/2006/relationships/tags" Target="../tags/tag163.xml"/><Relationship Id="rId24" Type="http://schemas.openxmlformats.org/officeDocument/2006/relationships/tags" Target="../tags/tag176.xml"/><Relationship Id="rId32" Type="http://schemas.openxmlformats.org/officeDocument/2006/relationships/tags" Target="../tags/tag184.xml"/><Relationship Id="rId37" Type="http://schemas.openxmlformats.org/officeDocument/2006/relationships/oleObject" Target="../embeddings/oleObject44.bin"/><Relationship Id="rId40" Type="http://schemas.openxmlformats.org/officeDocument/2006/relationships/image" Target="../media/image31.png"/><Relationship Id="rId5" Type="http://schemas.openxmlformats.org/officeDocument/2006/relationships/tags" Target="../tags/tag157.xml"/><Relationship Id="rId15" Type="http://schemas.openxmlformats.org/officeDocument/2006/relationships/tags" Target="../tags/tag167.xml"/><Relationship Id="rId23" Type="http://schemas.openxmlformats.org/officeDocument/2006/relationships/tags" Target="../tags/tag175.xml"/><Relationship Id="rId28" Type="http://schemas.openxmlformats.org/officeDocument/2006/relationships/tags" Target="../tags/tag180.xml"/><Relationship Id="rId36" Type="http://schemas.openxmlformats.org/officeDocument/2006/relationships/notesSlide" Target="../notesSlides/notesSlide31.xml"/><Relationship Id="rId10" Type="http://schemas.openxmlformats.org/officeDocument/2006/relationships/tags" Target="../tags/tag162.xml"/><Relationship Id="rId19" Type="http://schemas.openxmlformats.org/officeDocument/2006/relationships/tags" Target="../tags/tag171.xml"/><Relationship Id="rId31" Type="http://schemas.openxmlformats.org/officeDocument/2006/relationships/tags" Target="../tags/tag183.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 Id="rId22" Type="http://schemas.openxmlformats.org/officeDocument/2006/relationships/tags" Target="../tags/tag174.xml"/><Relationship Id="rId27" Type="http://schemas.openxmlformats.org/officeDocument/2006/relationships/tags" Target="../tags/tag179.xml"/><Relationship Id="rId30" Type="http://schemas.openxmlformats.org/officeDocument/2006/relationships/tags" Target="../tags/tag182.xml"/><Relationship Id="rId35" Type="http://schemas.openxmlformats.org/officeDocument/2006/relationships/slideLayout" Target="../slideLayouts/slideLayout8.xml"/><Relationship Id="rId8" Type="http://schemas.openxmlformats.org/officeDocument/2006/relationships/tags" Target="../tags/tag160.xml"/><Relationship Id="rId3" Type="http://schemas.openxmlformats.org/officeDocument/2006/relationships/tags" Target="../tags/tag155.xml"/></Relationships>
</file>

<file path=ppt/slides/_rels/slide41.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tags" Target="../tags/tag188.xml"/><Relationship Id="rId7" Type="http://schemas.openxmlformats.org/officeDocument/2006/relationships/notesSlide" Target="../notesSlides/notesSlide32.xml"/><Relationship Id="rId2" Type="http://schemas.openxmlformats.org/officeDocument/2006/relationships/tags" Target="../tags/tag187.xml"/><Relationship Id="rId1" Type="http://schemas.openxmlformats.org/officeDocument/2006/relationships/vmlDrawing" Target="../drawings/vmlDrawing45.vml"/><Relationship Id="rId6" Type="http://schemas.openxmlformats.org/officeDocument/2006/relationships/slideLayout" Target="../slideLayouts/slideLayout7.xml"/><Relationship Id="rId11" Type="http://schemas.openxmlformats.org/officeDocument/2006/relationships/image" Target="../media/image9.svg"/><Relationship Id="rId5" Type="http://schemas.openxmlformats.org/officeDocument/2006/relationships/tags" Target="../tags/tag190.xml"/><Relationship Id="rId10" Type="http://schemas.openxmlformats.org/officeDocument/2006/relationships/image" Target="../media/image41.png"/><Relationship Id="rId4" Type="http://schemas.openxmlformats.org/officeDocument/2006/relationships/tags" Target="../tags/tag189.xml"/><Relationship Id="rId9" Type="http://schemas.openxmlformats.org/officeDocument/2006/relationships/image" Target="../media/image1.emf"/></Relationships>
</file>

<file path=ppt/slides/_rels/slide42.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37.png"/><Relationship Id="rId18" Type="http://schemas.openxmlformats.org/officeDocument/2006/relationships/image" Target="../media/image75.png"/><Relationship Id="rId3" Type="http://schemas.openxmlformats.org/officeDocument/2006/relationships/tags" Target="../tags/tag192.xml"/><Relationship Id="rId21" Type="http://schemas.openxmlformats.org/officeDocument/2006/relationships/image" Target="../media/image78.png"/><Relationship Id="rId7" Type="http://schemas.openxmlformats.org/officeDocument/2006/relationships/image" Target="../media/image73.png"/><Relationship Id="rId12" Type="http://schemas.openxmlformats.org/officeDocument/2006/relationships/image" Target="../media/image36.png"/><Relationship Id="rId17" Type="http://schemas.openxmlformats.org/officeDocument/2006/relationships/image" Target="../media/image63.png"/><Relationship Id="rId2" Type="http://schemas.openxmlformats.org/officeDocument/2006/relationships/tags" Target="../tags/tag191.xml"/><Relationship Id="rId16" Type="http://schemas.openxmlformats.org/officeDocument/2006/relationships/image" Target="../media/image62.png"/><Relationship Id="rId20" Type="http://schemas.openxmlformats.org/officeDocument/2006/relationships/image" Target="../media/image77.jpg"/><Relationship Id="rId1" Type="http://schemas.openxmlformats.org/officeDocument/2006/relationships/vmlDrawing" Target="../drawings/vmlDrawing46.vml"/><Relationship Id="rId6" Type="http://schemas.openxmlformats.org/officeDocument/2006/relationships/image" Target="../media/image7.emf"/><Relationship Id="rId11" Type="http://schemas.microsoft.com/office/2007/relationships/hdphoto" Target="../media/hdphoto1.wdp"/><Relationship Id="rId5" Type="http://schemas.openxmlformats.org/officeDocument/2006/relationships/oleObject" Target="../embeddings/oleObject46.bin"/><Relationship Id="rId15" Type="http://schemas.openxmlformats.org/officeDocument/2006/relationships/image" Target="../media/image39.png"/><Relationship Id="rId23" Type="http://schemas.openxmlformats.org/officeDocument/2006/relationships/image" Target="../media/image40.png"/><Relationship Id="rId10" Type="http://schemas.openxmlformats.org/officeDocument/2006/relationships/image" Target="../media/image35.png"/><Relationship Id="rId19" Type="http://schemas.openxmlformats.org/officeDocument/2006/relationships/image" Target="../media/image76.png"/><Relationship Id="rId4" Type="http://schemas.openxmlformats.org/officeDocument/2006/relationships/slideLayout" Target="../slideLayouts/slideLayout8.xml"/><Relationship Id="rId9" Type="http://schemas.openxmlformats.org/officeDocument/2006/relationships/image" Target="../media/image34.png"/><Relationship Id="rId14" Type="http://schemas.openxmlformats.org/officeDocument/2006/relationships/image" Target="../media/image38.png"/><Relationship Id="rId22" Type="http://schemas.openxmlformats.org/officeDocument/2006/relationships/image" Target="../media/image79.png"/></Relationships>
</file>

<file path=ppt/slides/_rels/slide43.xml.rels><?xml version="1.0" encoding="UTF-8" standalone="yes"?>
<Relationships xmlns="http://schemas.openxmlformats.org/package/2006/relationships"><Relationship Id="rId3" Type="http://schemas.openxmlformats.org/officeDocument/2006/relationships/tags" Target="../tags/tag194.xml"/><Relationship Id="rId7" Type="http://schemas.openxmlformats.org/officeDocument/2006/relationships/image" Target="../media/image40.png"/><Relationship Id="rId2" Type="http://schemas.openxmlformats.org/officeDocument/2006/relationships/tags" Target="../tags/tag193.xml"/><Relationship Id="rId1" Type="http://schemas.openxmlformats.org/officeDocument/2006/relationships/vmlDrawing" Target="../drawings/vmlDrawing47.vml"/><Relationship Id="rId6" Type="http://schemas.openxmlformats.org/officeDocument/2006/relationships/image" Target="../media/image7.emf"/><Relationship Id="rId5" Type="http://schemas.openxmlformats.org/officeDocument/2006/relationships/oleObject" Target="../embeddings/oleObject47.bin"/><Relationship Id="rId4"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vmlDrawing" Target="../drawings/vmlDrawing48.vml"/><Relationship Id="rId6" Type="http://schemas.openxmlformats.org/officeDocument/2006/relationships/image" Target="../media/image7.emf"/><Relationship Id="rId5" Type="http://schemas.openxmlformats.org/officeDocument/2006/relationships/oleObject" Target="../embeddings/oleObject48.bin"/><Relationship Id="rId4"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97.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3.xml"/><Relationship Id="rId1" Type="http://schemas.openxmlformats.org/officeDocument/2006/relationships/slideLayout" Target="../slideLayouts/slideLayout12.xml"/><Relationship Id="rId4" Type="http://schemas.openxmlformats.org/officeDocument/2006/relationships/image" Target="../media/image81.png"/></Relationships>
</file>

<file path=ppt/slides/_rels/slide47.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emf"/><Relationship Id="rId2" Type="http://schemas.openxmlformats.org/officeDocument/2006/relationships/tags" Target="../tags/tag198.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34.xml"/><Relationship Id="rId4"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tags" Target="../tags/tag201.xml"/><Relationship Id="rId7" Type="http://schemas.openxmlformats.org/officeDocument/2006/relationships/image" Target="../media/image1.emf"/><Relationship Id="rId2" Type="http://schemas.openxmlformats.org/officeDocument/2006/relationships/tags" Target="../tags/tag200.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35.xml"/><Relationship Id="rId10" Type="http://schemas.openxmlformats.org/officeDocument/2006/relationships/image" Target="../media/image84.png"/><Relationship Id="rId4" Type="http://schemas.openxmlformats.org/officeDocument/2006/relationships/slideLayout" Target="../slideLayouts/slideLayout7.xml"/><Relationship Id="rId9" Type="http://schemas.openxmlformats.org/officeDocument/2006/relationships/image" Target="../media/image83.png"/></Relationships>
</file>

<file path=ppt/slides/_rels/slide49.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tags" Target="../tags/tag203.xml"/><Relationship Id="rId7" Type="http://schemas.openxmlformats.org/officeDocument/2006/relationships/image" Target="../media/image1.emf"/><Relationship Id="rId2" Type="http://schemas.openxmlformats.org/officeDocument/2006/relationships/tags" Target="../tags/tag202.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36.xml"/><Relationship Id="rId10" Type="http://schemas.openxmlformats.org/officeDocument/2006/relationships/image" Target="../media/image86.png"/><Relationship Id="rId4" Type="http://schemas.openxmlformats.org/officeDocument/2006/relationships/slideLayout" Target="../slideLayouts/slideLayout7.xml"/><Relationship Id="rId9" Type="http://schemas.openxmlformats.org/officeDocument/2006/relationships/image" Target="../media/image85.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2.svg"/><Relationship Id="rId3" Type="http://schemas.openxmlformats.org/officeDocument/2006/relationships/tags" Target="../tags/tag23.xml"/><Relationship Id="rId21" Type="http://schemas.openxmlformats.org/officeDocument/2006/relationships/image" Target="../media/image25.png"/><Relationship Id="rId7" Type="http://schemas.openxmlformats.org/officeDocument/2006/relationships/image" Target="../media/image7.emf"/><Relationship Id="rId12" Type="http://schemas.openxmlformats.org/officeDocument/2006/relationships/image" Target="../media/image16.gif"/><Relationship Id="rId17" Type="http://schemas.openxmlformats.org/officeDocument/2006/relationships/image" Target="../media/image21.png"/><Relationship Id="rId2" Type="http://schemas.openxmlformats.org/officeDocument/2006/relationships/tags" Target="../tags/tag22.xml"/><Relationship Id="rId16" Type="http://schemas.openxmlformats.org/officeDocument/2006/relationships/image" Target="../media/image20.svg"/><Relationship Id="rId20" Type="http://schemas.openxmlformats.org/officeDocument/2006/relationships/image" Target="../media/image24.svg"/><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15.png"/><Relationship Id="rId5" Type="http://schemas.openxmlformats.org/officeDocument/2006/relationships/notesSlide" Target="../notesSlides/notesSlide4.xml"/><Relationship Id="rId15" Type="http://schemas.openxmlformats.org/officeDocument/2006/relationships/image" Target="../media/image19.png"/><Relationship Id="rId10" Type="http://schemas.openxmlformats.org/officeDocument/2006/relationships/image" Target="../media/image14.svg"/><Relationship Id="rId19" Type="http://schemas.openxmlformats.org/officeDocument/2006/relationships/image" Target="../media/image23.png"/><Relationship Id="rId4" Type="http://schemas.openxmlformats.org/officeDocument/2006/relationships/slideLayout" Target="../slideLayouts/slideLayout7.xml"/><Relationship Id="rId9" Type="http://schemas.openxmlformats.org/officeDocument/2006/relationships/image" Target="../media/image13.png"/><Relationship Id="rId14" Type="http://schemas.openxmlformats.org/officeDocument/2006/relationships/image" Target="../media/image18.png"/><Relationship Id="rId22" Type="http://schemas.openxmlformats.org/officeDocument/2006/relationships/image" Target="../media/image26.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18" Type="http://schemas.openxmlformats.org/officeDocument/2006/relationships/image" Target="../media/image97.svg"/><Relationship Id="rId3" Type="http://schemas.openxmlformats.org/officeDocument/2006/relationships/tags" Target="../tags/tag205.xml"/><Relationship Id="rId21" Type="http://schemas.openxmlformats.org/officeDocument/2006/relationships/image" Target="../media/image100.jpg"/><Relationship Id="rId7" Type="http://schemas.openxmlformats.org/officeDocument/2006/relationships/image" Target="../media/image7.emf"/><Relationship Id="rId12" Type="http://schemas.openxmlformats.org/officeDocument/2006/relationships/image" Target="../media/image91.emf"/><Relationship Id="rId17" Type="http://schemas.openxmlformats.org/officeDocument/2006/relationships/image" Target="../media/image96.png"/><Relationship Id="rId2" Type="http://schemas.openxmlformats.org/officeDocument/2006/relationships/tags" Target="../tags/tag204.xml"/><Relationship Id="rId16" Type="http://schemas.openxmlformats.org/officeDocument/2006/relationships/image" Target="../media/image95.svg"/><Relationship Id="rId20" Type="http://schemas.openxmlformats.org/officeDocument/2006/relationships/image" Target="../media/image99.svg"/><Relationship Id="rId1" Type="http://schemas.openxmlformats.org/officeDocument/2006/relationships/vmlDrawing" Target="../drawings/vmlDrawing53.vml"/><Relationship Id="rId6" Type="http://schemas.openxmlformats.org/officeDocument/2006/relationships/oleObject" Target="../embeddings/oleObject53.bin"/><Relationship Id="rId11" Type="http://schemas.openxmlformats.org/officeDocument/2006/relationships/image" Target="../media/image90.emf"/><Relationship Id="rId5" Type="http://schemas.openxmlformats.org/officeDocument/2006/relationships/notesSlide" Target="../notesSlides/notesSlide39.xml"/><Relationship Id="rId15" Type="http://schemas.openxmlformats.org/officeDocument/2006/relationships/image" Target="../media/image94.png"/><Relationship Id="rId10" Type="http://schemas.openxmlformats.org/officeDocument/2006/relationships/image" Target="../media/image89.emf"/><Relationship Id="rId19" Type="http://schemas.openxmlformats.org/officeDocument/2006/relationships/image" Target="../media/image98.png"/><Relationship Id="rId4" Type="http://schemas.openxmlformats.org/officeDocument/2006/relationships/slideLayout" Target="../slideLayouts/slideLayout7.xml"/><Relationship Id="rId9" Type="http://schemas.openxmlformats.org/officeDocument/2006/relationships/image" Target="../media/image88.svg"/><Relationship Id="rId14" Type="http://schemas.openxmlformats.org/officeDocument/2006/relationships/image" Target="../media/image93.emf"/></Relationships>
</file>

<file path=ppt/slides/_rels/slide53.xml.rels><?xml version="1.0" encoding="UTF-8" standalone="yes"?>
<Relationships xmlns="http://schemas.openxmlformats.org/package/2006/relationships"><Relationship Id="rId8" Type="http://schemas.openxmlformats.org/officeDocument/2006/relationships/image" Target="../media/image101.jpeg"/><Relationship Id="rId3" Type="http://schemas.openxmlformats.org/officeDocument/2006/relationships/tags" Target="../tags/tag207.xml"/><Relationship Id="rId7" Type="http://schemas.openxmlformats.org/officeDocument/2006/relationships/image" Target="../media/image7.emf"/><Relationship Id="rId2" Type="http://schemas.openxmlformats.org/officeDocument/2006/relationships/tags" Target="../tags/tag206.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40.xml"/><Relationship Id="rId4" Type="http://schemas.openxmlformats.org/officeDocument/2006/relationships/slideLayout" Target="../slideLayouts/slideLayout7.xml"/><Relationship Id="rId9" Type="http://schemas.openxmlformats.org/officeDocument/2006/relationships/image" Target="../media/image102.png"/></Relationships>
</file>

<file path=ppt/slides/_rels/slide54.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vmlDrawing" Target="../drawings/vmlDrawing55.vml"/><Relationship Id="rId6" Type="http://schemas.openxmlformats.org/officeDocument/2006/relationships/image" Target="../media/image7.emf"/><Relationship Id="rId5" Type="http://schemas.openxmlformats.org/officeDocument/2006/relationships/oleObject" Target="../embeddings/oleObject55.bin"/><Relationship Id="rId4"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10.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s/_rels/slide56.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slideLayout" Target="../slideLayouts/slideLayout7.xml"/><Relationship Id="rId18" Type="http://schemas.openxmlformats.org/officeDocument/2006/relationships/chart" Target="../charts/chart9.xml"/><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tags" Target="../tags/tag221.xml"/><Relationship Id="rId17" Type="http://schemas.openxmlformats.org/officeDocument/2006/relationships/image" Target="../media/image104.svg"/><Relationship Id="rId2" Type="http://schemas.openxmlformats.org/officeDocument/2006/relationships/tags" Target="../tags/tag211.xml"/><Relationship Id="rId16" Type="http://schemas.openxmlformats.org/officeDocument/2006/relationships/image" Target="../media/image103.png"/><Relationship Id="rId1" Type="http://schemas.openxmlformats.org/officeDocument/2006/relationships/vmlDrawing" Target="../drawings/vmlDrawing57.vml"/><Relationship Id="rId6" Type="http://schemas.openxmlformats.org/officeDocument/2006/relationships/tags" Target="../tags/tag215.xml"/><Relationship Id="rId11" Type="http://schemas.openxmlformats.org/officeDocument/2006/relationships/tags" Target="../tags/tag220.xml"/><Relationship Id="rId5" Type="http://schemas.openxmlformats.org/officeDocument/2006/relationships/tags" Target="../tags/tag214.xml"/><Relationship Id="rId15" Type="http://schemas.openxmlformats.org/officeDocument/2006/relationships/image" Target="../media/image1.emf"/><Relationship Id="rId10" Type="http://schemas.openxmlformats.org/officeDocument/2006/relationships/tags" Target="../tags/tag219.xml"/><Relationship Id="rId4" Type="http://schemas.openxmlformats.org/officeDocument/2006/relationships/tags" Target="../tags/tag213.xml"/><Relationship Id="rId9" Type="http://schemas.openxmlformats.org/officeDocument/2006/relationships/tags" Target="../tags/tag218.xml"/><Relationship Id="rId14" Type="http://schemas.openxmlformats.org/officeDocument/2006/relationships/oleObject" Target="../embeddings/oleObject57.bin"/></Relationships>
</file>

<file path=ppt/slides/_rels/slide57.xml.rels><?xml version="1.0" encoding="UTF-8" standalone="yes"?>
<Relationships xmlns="http://schemas.openxmlformats.org/package/2006/relationships"><Relationship Id="rId3" Type="http://schemas.openxmlformats.org/officeDocument/2006/relationships/tags" Target="../tags/tag223.xml"/><Relationship Id="rId7" Type="http://schemas.openxmlformats.org/officeDocument/2006/relationships/image" Target="../media/image1.emf"/><Relationship Id="rId2" Type="http://schemas.openxmlformats.org/officeDocument/2006/relationships/tags" Target="../tags/tag222.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notesSlide" Target="../notesSlides/notesSlide41.xml"/><Relationship Id="rId4"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tags" Target="../tags/tag225.xml"/><Relationship Id="rId7" Type="http://schemas.openxmlformats.org/officeDocument/2006/relationships/image" Target="../media/image1.emf"/><Relationship Id="rId2" Type="http://schemas.openxmlformats.org/officeDocument/2006/relationships/tags" Target="../tags/tag224.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42.xml"/><Relationship Id="rId4"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tags" Target="../tags/tag227.xml"/><Relationship Id="rId7" Type="http://schemas.openxmlformats.org/officeDocument/2006/relationships/image" Target="../media/image1.emf"/><Relationship Id="rId2" Type="http://schemas.openxmlformats.org/officeDocument/2006/relationships/tags" Target="../tags/tag226.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43.xml"/><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5.xml"/><Relationship Id="rId7" Type="http://schemas.openxmlformats.org/officeDocument/2006/relationships/image" Target="../media/image7.emf"/><Relationship Id="rId2" Type="http://schemas.openxmlformats.org/officeDocument/2006/relationships/tags" Target="../tags/tag2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tags" Target="../tags/tag229.xml"/><Relationship Id="rId7" Type="http://schemas.openxmlformats.org/officeDocument/2006/relationships/image" Target="../media/image1.emf"/><Relationship Id="rId2" Type="http://schemas.openxmlformats.org/officeDocument/2006/relationships/tags" Target="../tags/tag228.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notesSlide" Target="../notesSlides/notesSlide44.xml"/><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27.xml"/><Relationship Id="rId7" Type="http://schemas.openxmlformats.org/officeDocument/2006/relationships/image" Target="../media/image7.emf"/><Relationship Id="rId2" Type="http://schemas.openxmlformats.org/officeDocument/2006/relationships/tags" Target="../tags/tag26.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6.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7.xml"/><Relationship Id="rId4"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31.xml"/><Relationship Id="rId7" Type="http://schemas.openxmlformats.org/officeDocument/2006/relationships/image" Target="../media/image7.emf"/><Relationship Id="rId2" Type="http://schemas.openxmlformats.org/officeDocument/2006/relationships/tags" Target="../tags/tag30.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8.xml"/><Relationship Id="rId10" Type="http://schemas.openxmlformats.org/officeDocument/2006/relationships/image" Target="../media/image31.png"/><Relationship Id="rId4" Type="http://schemas.openxmlformats.org/officeDocument/2006/relationships/slideLayout" Target="../slideLayouts/slideLayout7.xml"/><Relationship Id="rId9" Type="http://schemas.openxmlformats.org/officeDocument/2006/relationships/slide" Target="slide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E918C1-9DF3-4E28-8440-7D28BDCED66C}"/>
              </a:ext>
            </a:extLst>
          </p:cNvPr>
          <p:cNvGraphicFramePr>
            <a:graphicFrameLocks noChangeAspect="1"/>
          </p:cNvGraphicFramePr>
          <p:nvPr>
            <p:custDataLst>
              <p:tags r:id="rId2"/>
            </p:custDataLst>
            <p:extLst>
              <p:ext uri="{D42A27DB-BD31-4B8C-83A1-F6EECF244321}">
                <p14:modId xmlns:p14="http://schemas.microsoft.com/office/powerpoint/2010/main" val="4109268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6" imgW="377" imgH="377" progId="TCLayout.ActiveDocument.1">
                  <p:embed/>
                </p:oleObj>
              </mc:Choice>
              <mc:Fallback>
                <p:oleObj name="think-cell Slide" r:id="rId6" imgW="377" imgH="377" progId="TCLayout.ActiveDocument.1">
                  <p:embed/>
                  <p:pic>
                    <p:nvPicPr>
                      <p:cNvPr id="5" name="Object 4" hidden="1">
                        <a:extLst>
                          <a:ext uri="{FF2B5EF4-FFF2-40B4-BE49-F238E27FC236}">
                            <a16:creationId xmlns:a16="http://schemas.microsoft.com/office/drawing/2014/main" id="{6DE918C1-9DF3-4E28-8440-7D28BDCED6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FA616D7-829C-4055-B563-1D7F1B10AF5F}"/>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36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AA2AB6C-5496-4F9E-AEC6-E65093971380}"/>
              </a:ext>
            </a:extLst>
          </p:cNvPr>
          <p:cNvSpPr>
            <a:spLocks noGrp="1"/>
          </p:cNvSpPr>
          <p:nvPr>
            <p:ph type="title"/>
          </p:nvPr>
        </p:nvSpPr>
        <p:spPr/>
        <p:txBody>
          <a:bodyPr/>
          <a:lstStyle/>
          <a:p>
            <a:r>
              <a:rPr lang="en-US" dirty="0"/>
              <a:t>Windows Virtual Desktop</a:t>
            </a:r>
          </a:p>
        </p:txBody>
      </p:sp>
      <p:sp>
        <p:nvSpPr>
          <p:cNvPr id="3" name="Text Placeholder 2">
            <a:extLst>
              <a:ext uri="{FF2B5EF4-FFF2-40B4-BE49-F238E27FC236}">
                <a16:creationId xmlns:a16="http://schemas.microsoft.com/office/drawing/2014/main" id="{9A90D20A-E590-4483-8102-CE6E12AB1FEA}"/>
              </a:ext>
            </a:extLst>
          </p:cNvPr>
          <p:cNvSpPr>
            <a:spLocks noGrp="1"/>
          </p:cNvSpPr>
          <p:nvPr>
            <p:ph type="body" sz="quarter" idx="12"/>
          </p:nvPr>
        </p:nvSpPr>
        <p:spPr>
          <a:xfrm>
            <a:off x="584200" y="3962400"/>
            <a:ext cx="9144000" cy="1015663"/>
          </a:xfrm>
        </p:spPr>
        <p:txBody>
          <a:bodyPr/>
          <a:lstStyle/>
          <a:p>
            <a:r>
              <a:rPr lang="en-US" dirty="0"/>
              <a:t>Customer Presentation</a:t>
            </a:r>
          </a:p>
          <a:p>
            <a:endParaRPr lang="en-US" dirty="0"/>
          </a:p>
          <a:p>
            <a:r>
              <a:rPr lang="en-US" dirty="0"/>
              <a:t>Fall 2019</a:t>
            </a:r>
          </a:p>
        </p:txBody>
      </p:sp>
    </p:spTree>
    <p:extLst>
      <p:ext uri="{BB962C8B-B14F-4D97-AF65-F5344CB8AC3E}">
        <p14:creationId xmlns:p14="http://schemas.microsoft.com/office/powerpoint/2010/main" val="16471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2AB91D-7088-493E-B9A1-F1FA2C95F7CB}"/>
              </a:ext>
            </a:extLst>
          </p:cNvPr>
          <p:cNvGraphicFramePr>
            <a:graphicFrameLocks noChangeAspect="1"/>
          </p:cNvGraphicFramePr>
          <p:nvPr>
            <p:custDataLst>
              <p:tags r:id="rId2"/>
            </p:custDataLst>
            <p:extLst>
              <p:ext uri="{D42A27DB-BD31-4B8C-83A1-F6EECF244321}">
                <p14:modId xmlns:p14="http://schemas.microsoft.com/office/powerpoint/2010/main" val="340375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6" imgW="425" imgH="424" progId="TCLayout.ActiveDocument.1">
                  <p:embed/>
                </p:oleObj>
              </mc:Choice>
              <mc:Fallback>
                <p:oleObj name="think-cell Slide" r:id="rId6" imgW="425" imgH="424" progId="TCLayout.ActiveDocument.1">
                  <p:embed/>
                  <p:pic>
                    <p:nvPicPr>
                      <p:cNvPr id="8" name="Object 7" hidden="1">
                        <a:extLst>
                          <a:ext uri="{FF2B5EF4-FFF2-40B4-BE49-F238E27FC236}">
                            <a16:creationId xmlns:a16="http://schemas.microsoft.com/office/drawing/2014/main" id="{462AB91D-7088-493E-B9A1-F1FA2C95F7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27118D0-378C-4075-A487-9F1ACFC80E2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defRPr/>
            </a:pPr>
            <a:endParaRPr kumimoji="0" lang="en-US" sz="2800" u="none" strike="noStrike" kern="1200" cap="none" spc="0" normalizeH="0" noProof="0" dirty="0">
              <a:ln>
                <a:noFill/>
              </a:ln>
              <a:gradFill>
                <a:gsLst>
                  <a:gs pos="0">
                    <a:srgbClr val="FFFFFF"/>
                  </a:gs>
                  <a:gs pos="100000">
                    <a:srgbClr val="FFFFFF"/>
                  </a:gs>
                </a:gsLst>
                <a:lin ang="5400000" scaled="0"/>
              </a:gradFill>
              <a:effectLst/>
              <a:uLnTx/>
              <a:uFillTx/>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 name="Title 3">
            <a:extLst>
              <a:ext uri="{FF2B5EF4-FFF2-40B4-BE49-F238E27FC236}">
                <a16:creationId xmlns:a16="http://schemas.microsoft.com/office/drawing/2014/main" id="{152DF824-C8A1-42BF-9B17-B79B58CAD1A2}"/>
              </a:ext>
            </a:extLst>
          </p:cNvPr>
          <p:cNvSpPr>
            <a:spLocks noGrp="1"/>
          </p:cNvSpPr>
          <p:nvPr>
            <p:ph type="title"/>
          </p:nvPr>
        </p:nvSpPr>
        <p:spPr>
          <a:xfrm>
            <a:off x="588264" y="457200"/>
            <a:ext cx="9342317" cy="861774"/>
          </a:xfrm>
        </p:spPr>
        <p:txBody>
          <a:bodyPr/>
          <a:lstStyle/>
          <a:p>
            <a:r>
              <a:rPr lang="en-US" altLang="zh-CN" dirty="0"/>
              <a:t>Extensive Partner Ecosystem with Strong Virtual Desktop Expertise</a:t>
            </a:r>
            <a:endParaRPr lang="en-US" dirty="0"/>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352079" y="2210654"/>
            <a:ext cx="0" cy="3486442"/>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CE641B52-A80F-407E-A1E2-787D7C761C6D}"/>
              </a:ext>
            </a:extLst>
          </p:cNvPr>
          <p:cNvSpPr txBox="1"/>
          <p:nvPr/>
        </p:nvSpPr>
        <p:spPr>
          <a:xfrm>
            <a:off x="586499" y="2216043"/>
            <a:ext cx="5395455" cy="2471124"/>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a:endParaRPr lang="en-US" sz="2400" b="1" dirty="0">
              <a:solidFill>
                <a:schemeClr val="bg1"/>
              </a:solidFill>
            </a:endParaRPr>
          </a:p>
        </p:txBody>
      </p:sp>
      <p:sp>
        <p:nvSpPr>
          <p:cNvPr id="27" name="TextBox 26">
            <a:extLst>
              <a:ext uri="{FF2B5EF4-FFF2-40B4-BE49-F238E27FC236}">
                <a16:creationId xmlns:a16="http://schemas.microsoft.com/office/drawing/2014/main" id="{05BE5F5F-E6BF-4278-BBA5-ED1BF364F478}"/>
              </a:ext>
            </a:extLst>
          </p:cNvPr>
          <p:cNvSpPr txBox="1"/>
          <p:nvPr/>
        </p:nvSpPr>
        <p:spPr>
          <a:xfrm>
            <a:off x="586499" y="1795782"/>
            <a:ext cx="5395455" cy="420260"/>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2000" b="1" dirty="0">
                <a:solidFill>
                  <a:schemeClr val="bg1"/>
                </a:solidFill>
              </a:rPr>
              <a:t>WVD Approved Providers</a:t>
            </a:r>
          </a:p>
        </p:txBody>
      </p:sp>
      <p:sp>
        <p:nvSpPr>
          <p:cNvPr id="29" name="TextBox 28">
            <a:extLst>
              <a:ext uri="{FF2B5EF4-FFF2-40B4-BE49-F238E27FC236}">
                <a16:creationId xmlns:a16="http://schemas.microsoft.com/office/drawing/2014/main" id="{7394EDE4-228D-4728-A039-5A21A557AD77}"/>
              </a:ext>
            </a:extLst>
          </p:cNvPr>
          <p:cNvSpPr txBox="1"/>
          <p:nvPr/>
        </p:nvSpPr>
        <p:spPr>
          <a:xfrm>
            <a:off x="586499" y="4687165"/>
            <a:ext cx="5395455" cy="1877147"/>
          </a:xfrm>
          <a:prstGeom prst="rect">
            <a:avLst/>
          </a:prstGeom>
          <a:solidFill>
            <a:schemeClr val="bg1">
              <a:lumMod val="95000"/>
            </a:schemeClr>
          </a:solidFill>
          <a:ln w="6350">
            <a:solidFill>
              <a:schemeClr val="bg1">
                <a:lumMod val="95000"/>
              </a:schemeClr>
            </a:solidFill>
          </a:ln>
        </p:spPr>
        <p:txBody>
          <a:bodyPr wrap="square" lIns="91440" tIns="91440" rIns="91440" bIns="45720" rtlCol="0" anchor="t">
            <a:noAutofit/>
          </a:bodyPr>
          <a:lstStyle/>
          <a:p>
            <a:pPr marL="171450" indent="-171450">
              <a:spcBef>
                <a:spcPts val="500"/>
              </a:spcBef>
              <a:buFont typeface="Arial" panose="020B0604020202020204" pitchFamily="34" charset="0"/>
              <a:buChar char="•"/>
            </a:pPr>
            <a:r>
              <a:rPr lang="en-US" sz="1300" dirty="0"/>
              <a:t>Citrix and VMware provide value add to WVD (e.g. hybrid deployment management)</a:t>
            </a:r>
          </a:p>
          <a:p>
            <a:pPr marL="171450" indent="-171450">
              <a:spcBef>
                <a:spcPts val="500"/>
              </a:spcBef>
              <a:buFont typeface="Arial" panose="020B0604020202020204" pitchFamily="34" charset="0"/>
              <a:buChar char="•"/>
            </a:pPr>
            <a:r>
              <a:rPr lang="en-US" sz="1300" dirty="0"/>
              <a:t>Windows 10 Enterprise multi-session is also available with Citrix &amp; VMware management planes</a:t>
            </a:r>
          </a:p>
          <a:p>
            <a:pPr marL="171450" indent="-171450">
              <a:spcBef>
                <a:spcPts val="500"/>
              </a:spcBef>
              <a:buFont typeface="Arial" panose="020B0604020202020204" pitchFamily="34" charset="0"/>
              <a:buChar char="•"/>
            </a:pPr>
            <a:r>
              <a:rPr lang="en-US" sz="1300" dirty="0"/>
              <a:t>Customer ultimately decides the management plane(s) of choice</a:t>
            </a:r>
          </a:p>
        </p:txBody>
      </p:sp>
      <p:sp>
        <p:nvSpPr>
          <p:cNvPr id="26" name="TextBox 25">
            <a:extLst>
              <a:ext uri="{FF2B5EF4-FFF2-40B4-BE49-F238E27FC236}">
                <a16:creationId xmlns:a16="http://schemas.microsoft.com/office/drawing/2014/main" id="{EF820A4F-B81B-4C47-A1F1-957FB728E375}"/>
              </a:ext>
            </a:extLst>
          </p:cNvPr>
          <p:cNvSpPr txBox="1"/>
          <p:nvPr/>
        </p:nvSpPr>
        <p:spPr>
          <a:xfrm>
            <a:off x="6222803" y="2218465"/>
            <a:ext cx="5395455" cy="2471124"/>
          </a:xfrm>
          <a:prstGeom prst="rect">
            <a:avLst/>
          </a:prstGeom>
          <a:noFill/>
          <a:ln w="6350">
            <a:solidFill>
              <a:schemeClr val="bg1">
                <a:lumMod val="75000"/>
              </a:schemeClr>
            </a:solidFill>
          </a:ln>
        </p:spPr>
        <p:txBody>
          <a:bodyPr wrap="square" lIns="0" tIns="0" rIns="0" bIns="0" rtlCol="0" anchor="ctr">
            <a:noAutofit/>
          </a:bodyPr>
          <a:lstStyle/>
          <a:p>
            <a:pPr algn="ctr"/>
            <a:endParaRPr lang="en-US" sz="2400" b="1" dirty="0">
              <a:solidFill>
                <a:schemeClr val="bg1"/>
              </a:solidFill>
            </a:endParaRPr>
          </a:p>
        </p:txBody>
      </p:sp>
      <p:sp>
        <p:nvSpPr>
          <p:cNvPr id="28" name="TextBox 27">
            <a:extLst>
              <a:ext uri="{FF2B5EF4-FFF2-40B4-BE49-F238E27FC236}">
                <a16:creationId xmlns:a16="http://schemas.microsoft.com/office/drawing/2014/main" id="{0B4F7E32-ED97-4327-AF2D-7860E64CEC4C}"/>
              </a:ext>
            </a:extLst>
          </p:cNvPr>
          <p:cNvSpPr txBox="1"/>
          <p:nvPr/>
        </p:nvSpPr>
        <p:spPr>
          <a:xfrm>
            <a:off x="6222803" y="1795876"/>
            <a:ext cx="5395455" cy="420199"/>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2000" b="1" dirty="0">
                <a:solidFill>
                  <a:schemeClr val="bg1"/>
                </a:solidFill>
              </a:rPr>
              <a:t>WVD Value-Added Partners</a:t>
            </a:r>
          </a:p>
        </p:txBody>
      </p:sp>
      <p:sp>
        <p:nvSpPr>
          <p:cNvPr id="30" name="TextBox 29">
            <a:extLst>
              <a:ext uri="{FF2B5EF4-FFF2-40B4-BE49-F238E27FC236}">
                <a16:creationId xmlns:a16="http://schemas.microsoft.com/office/drawing/2014/main" id="{2E158572-7176-4D43-82D2-5372EF2B79F1}"/>
              </a:ext>
            </a:extLst>
          </p:cNvPr>
          <p:cNvSpPr txBox="1"/>
          <p:nvPr/>
        </p:nvSpPr>
        <p:spPr>
          <a:xfrm>
            <a:off x="6222803" y="4687165"/>
            <a:ext cx="5395455" cy="1877147"/>
          </a:xfrm>
          <a:prstGeom prst="rect">
            <a:avLst/>
          </a:prstGeom>
          <a:solidFill>
            <a:schemeClr val="bg1">
              <a:lumMod val="95000"/>
            </a:schemeClr>
          </a:solidFill>
          <a:ln w="6350">
            <a:solidFill>
              <a:schemeClr val="bg1">
                <a:lumMod val="95000"/>
              </a:schemeClr>
            </a:solidFill>
          </a:ln>
        </p:spPr>
        <p:txBody>
          <a:bodyPr wrap="square" lIns="91440" tIns="91440" rIns="91440" bIns="45720" rtlCol="0" anchor="t">
            <a:noAutofit/>
          </a:bodyPr>
          <a:lstStyle/>
          <a:p>
            <a:pPr marL="171450" indent="-171450">
              <a:spcBef>
                <a:spcPts val="500"/>
              </a:spcBef>
              <a:buFont typeface="Arial" panose="020B0604020202020204" pitchFamily="34" charset="0"/>
              <a:buChar char="•"/>
            </a:pPr>
            <a:r>
              <a:rPr lang="en-US" sz="1300" dirty="0"/>
              <a:t>WVD customers have access to a broad SW/Services partner network with expertise in</a:t>
            </a:r>
          </a:p>
          <a:p>
            <a:pPr marL="461963" lvl="1" indent="-230188">
              <a:spcAft>
                <a:spcPts val="200"/>
              </a:spcAft>
              <a:buFont typeface="Segoe UI" panose="020B0502040204020203" pitchFamily="34" charset="0"/>
              <a:buChar char="–"/>
            </a:pPr>
            <a:r>
              <a:rPr lang="en-US" sz="1300" dirty="0"/>
              <a:t>Customer Environment Assessment</a:t>
            </a:r>
          </a:p>
          <a:p>
            <a:pPr marL="461963" lvl="1" indent="-230188">
              <a:spcAft>
                <a:spcPts val="200"/>
              </a:spcAft>
              <a:buFont typeface="Segoe UI" panose="020B0502040204020203" pitchFamily="34" charset="0"/>
              <a:buChar char="–"/>
            </a:pPr>
            <a:r>
              <a:rPr lang="en-US" sz="1300" dirty="0"/>
              <a:t>Diagnostics &amp; End User Experience Monitoring</a:t>
            </a:r>
          </a:p>
          <a:p>
            <a:pPr marL="461963" lvl="1" indent="-230188">
              <a:spcAft>
                <a:spcPts val="200"/>
              </a:spcAft>
              <a:buFont typeface="Segoe UI" panose="020B0502040204020203" pitchFamily="34" charset="0"/>
              <a:buChar char="–"/>
            </a:pPr>
            <a:r>
              <a:rPr lang="en-US" sz="1300" dirty="0"/>
              <a:t>Application Layering</a:t>
            </a:r>
          </a:p>
          <a:p>
            <a:pPr marL="461963" lvl="1" indent="-230188">
              <a:spcAft>
                <a:spcPts val="200"/>
              </a:spcAft>
              <a:buFont typeface="Segoe UI" panose="020B0502040204020203" pitchFamily="34" charset="0"/>
              <a:buChar char="–"/>
            </a:pPr>
            <a:r>
              <a:rPr lang="en-US" sz="1300" dirty="0"/>
              <a:t>Management</a:t>
            </a:r>
          </a:p>
          <a:p>
            <a:pPr marL="461963" lvl="1" indent="-230188">
              <a:spcAft>
                <a:spcPts val="200"/>
              </a:spcAft>
              <a:buFont typeface="Segoe UI" panose="020B0502040204020203" pitchFamily="34" charset="0"/>
              <a:buChar char="–"/>
            </a:pPr>
            <a:r>
              <a:rPr lang="en-US" sz="1300" dirty="0"/>
              <a:t>Printing</a:t>
            </a:r>
          </a:p>
          <a:p>
            <a:pPr marL="461963" lvl="1" indent="-230188">
              <a:spcAft>
                <a:spcPts val="200"/>
              </a:spcAft>
              <a:buFont typeface="Segoe UI" panose="020B0502040204020203" pitchFamily="34" charset="0"/>
              <a:buChar char="–"/>
            </a:pPr>
            <a:r>
              <a:rPr lang="en-US" sz="1300" dirty="0"/>
              <a:t>App Compatibility Assessment / Remediation</a:t>
            </a:r>
          </a:p>
        </p:txBody>
      </p:sp>
      <p:pic>
        <p:nvPicPr>
          <p:cNvPr id="31" name="Picture 30">
            <a:extLst>
              <a:ext uri="{FF2B5EF4-FFF2-40B4-BE49-F238E27FC236}">
                <a16:creationId xmlns:a16="http://schemas.microsoft.com/office/drawing/2014/main" id="{C8EF1DF3-47DD-422D-8FF1-096ACBF65629}"/>
              </a:ext>
            </a:extLst>
          </p:cNvPr>
          <p:cNvPicPr>
            <a:picLocks noChangeAspect="1"/>
          </p:cNvPicPr>
          <p:nvPr/>
        </p:nvPicPr>
        <p:blipFill>
          <a:blip r:embed="rId8"/>
          <a:stretch>
            <a:fillRect/>
          </a:stretch>
        </p:blipFill>
        <p:spPr>
          <a:xfrm>
            <a:off x="3222431" y="3257158"/>
            <a:ext cx="2247548" cy="366350"/>
          </a:xfrm>
          <a:prstGeom prst="rect">
            <a:avLst/>
          </a:prstGeom>
        </p:spPr>
      </p:pic>
      <p:pic>
        <p:nvPicPr>
          <p:cNvPr id="32" name="Picture 31">
            <a:extLst>
              <a:ext uri="{FF2B5EF4-FFF2-40B4-BE49-F238E27FC236}">
                <a16:creationId xmlns:a16="http://schemas.microsoft.com/office/drawing/2014/main" id="{9C7A50D0-E952-49FE-AF77-3F0DB5AD23A0}"/>
              </a:ext>
            </a:extLst>
          </p:cNvPr>
          <p:cNvPicPr>
            <a:picLocks noChangeAspect="1"/>
          </p:cNvPicPr>
          <p:nvPr/>
        </p:nvPicPr>
        <p:blipFill>
          <a:blip r:embed="rId9"/>
          <a:stretch>
            <a:fillRect/>
          </a:stretch>
        </p:blipFill>
        <p:spPr>
          <a:xfrm>
            <a:off x="1098473" y="3147543"/>
            <a:ext cx="1606790" cy="608124"/>
          </a:xfrm>
          <a:prstGeom prst="rect">
            <a:avLst/>
          </a:prstGeom>
        </p:spPr>
      </p:pic>
      <p:pic>
        <p:nvPicPr>
          <p:cNvPr id="33" name="Picture 32">
            <a:extLst>
              <a:ext uri="{FF2B5EF4-FFF2-40B4-BE49-F238E27FC236}">
                <a16:creationId xmlns:a16="http://schemas.microsoft.com/office/drawing/2014/main" id="{6953BE85-4475-47B7-AFD5-82CA8035B612}"/>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9434139" y="2335953"/>
            <a:ext cx="1740296" cy="457093"/>
          </a:xfrm>
          <a:prstGeom prst="rect">
            <a:avLst/>
          </a:prstGeom>
        </p:spPr>
      </p:pic>
      <p:pic>
        <p:nvPicPr>
          <p:cNvPr id="34" name="Picture 33">
            <a:extLst>
              <a:ext uri="{FF2B5EF4-FFF2-40B4-BE49-F238E27FC236}">
                <a16:creationId xmlns:a16="http://schemas.microsoft.com/office/drawing/2014/main" id="{17D3B72A-84AC-4CEA-ABC2-24A30DE6AD83}"/>
              </a:ext>
            </a:extLst>
          </p:cNvPr>
          <p:cNvPicPr>
            <a:picLocks noChangeAspect="1"/>
          </p:cNvPicPr>
          <p:nvPr/>
        </p:nvPicPr>
        <p:blipFill rotWithShape="1">
          <a:blip r:embed="rId11" cstate="email">
            <a:extLst>
              <a:ext uri="{BEBA8EAE-BF5A-486C-A8C5-ECC9F3942E4B}">
                <a14:imgProps xmlns:a14="http://schemas.microsoft.com/office/drawing/2010/main">
                  <a14:imgLayer r:embed="rId12">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rcRect r="13771"/>
          <a:stretch/>
        </p:blipFill>
        <p:spPr>
          <a:xfrm>
            <a:off x="7016514" y="4066250"/>
            <a:ext cx="1655597" cy="576000"/>
          </a:xfrm>
          <a:prstGeom prst="rect">
            <a:avLst/>
          </a:prstGeom>
        </p:spPr>
      </p:pic>
      <p:pic>
        <p:nvPicPr>
          <p:cNvPr id="35" name="Picture 34">
            <a:extLst>
              <a:ext uri="{FF2B5EF4-FFF2-40B4-BE49-F238E27FC236}">
                <a16:creationId xmlns:a16="http://schemas.microsoft.com/office/drawing/2014/main" id="{BEC28572-EB7F-43BD-8074-22021534E905}"/>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592933" y="2976193"/>
            <a:ext cx="2502758" cy="834252"/>
          </a:xfrm>
          <a:prstGeom prst="rect">
            <a:avLst/>
          </a:prstGeom>
        </p:spPr>
      </p:pic>
      <p:pic>
        <p:nvPicPr>
          <p:cNvPr id="36" name="Picture 8" descr="See the source image">
            <a:extLst>
              <a:ext uri="{FF2B5EF4-FFF2-40B4-BE49-F238E27FC236}">
                <a16:creationId xmlns:a16="http://schemas.microsoft.com/office/drawing/2014/main" id="{D95689BF-4D03-46F2-BC7B-1036DA52C57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471" y="2257370"/>
            <a:ext cx="1517683" cy="69764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0" descr="See the source image">
            <a:extLst>
              <a:ext uri="{FF2B5EF4-FFF2-40B4-BE49-F238E27FC236}">
                <a16:creationId xmlns:a16="http://schemas.microsoft.com/office/drawing/2014/main" id="{AB70C7C1-648A-48B3-9EA8-927BA6CB5F4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360446" y="3139354"/>
            <a:ext cx="1887682" cy="61821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38C0861F-59BE-41A6-BF31-8B12340C5998}"/>
              </a:ext>
            </a:extLst>
          </p:cNvPr>
          <p:cNvPicPr>
            <a:picLocks noChangeAspect="1"/>
          </p:cNvPicPr>
          <p:nvPr/>
        </p:nvPicPr>
        <p:blipFill>
          <a:blip r:embed="rId16"/>
          <a:stretch>
            <a:fillRect/>
          </a:stretch>
        </p:blipFill>
        <p:spPr>
          <a:xfrm>
            <a:off x="9549985" y="3855883"/>
            <a:ext cx="1508604" cy="794801"/>
          </a:xfrm>
          <a:prstGeom prst="rect">
            <a:avLst/>
          </a:prstGeom>
        </p:spPr>
      </p:pic>
      <p:grpSp>
        <p:nvGrpSpPr>
          <p:cNvPr id="39" name="Group 38">
            <a:extLst>
              <a:ext uri="{FF2B5EF4-FFF2-40B4-BE49-F238E27FC236}">
                <a16:creationId xmlns:a16="http://schemas.microsoft.com/office/drawing/2014/main" id="{E30526AB-8B07-41F6-A11D-5C6F8BA73BF6}"/>
              </a:ext>
            </a:extLst>
          </p:cNvPr>
          <p:cNvGrpSpPr/>
          <p:nvPr/>
        </p:nvGrpSpPr>
        <p:grpSpPr>
          <a:xfrm>
            <a:off x="10052458" y="146014"/>
            <a:ext cx="2033626" cy="1015650"/>
            <a:chOff x="10052458" y="146014"/>
            <a:chExt cx="2033626" cy="1015650"/>
          </a:xfrm>
        </p:grpSpPr>
        <p:pic>
          <p:nvPicPr>
            <p:cNvPr id="40" name="Picture 39">
              <a:extLst>
                <a:ext uri="{FF2B5EF4-FFF2-40B4-BE49-F238E27FC236}">
                  <a16:creationId xmlns:a16="http://schemas.microsoft.com/office/drawing/2014/main" id="{F72F4269-12DE-4150-BDBE-1F0D2A0102D9}"/>
                </a:ext>
              </a:extLst>
            </p:cNvPr>
            <p:cNvPicPr>
              <a:picLocks noChangeAspect="1"/>
            </p:cNvPicPr>
            <p:nvPr/>
          </p:nvPicPr>
          <p:blipFill>
            <a:blip r:embed="rId17"/>
            <a:stretch>
              <a:fillRect/>
            </a:stretch>
          </p:blipFill>
          <p:spPr>
            <a:xfrm>
              <a:off x="10052458" y="146014"/>
              <a:ext cx="2033626" cy="1015650"/>
            </a:xfrm>
            <a:prstGeom prst="rect">
              <a:avLst/>
            </a:prstGeom>
          </p:spPr>
        </p:pic>
        <p:sp>
          <p:nvSpPr>
            <p:cNvPr id="41" name="Rectangle 40">
              <a:extLst>
                <a:ext uri="{FF2B5EF4-FFF2-40B4-BE49-F238E27FC236}">
                  <a16:creationId xmlns:a16="http://schemas.microsoft.com/office/drawing/2014/main" id="{8F1F2BDC-4265-41A6-892C-A99CD7BBE160}"/>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trong Partner Ecosystem</a:t>
              </a:r>
            </a:p>
          </p:txBody>
        </p:sp>
      </p:grpSp>
    </p:spTree>
    <p:extLst>
      <p:ext uri="{BB962C8B-B14F-4D97-AF65-F5344CB8AC3E}">
        <p14:creationId xmlns:p14="http://schemas.microsoft.com/office/powerpoint/2010/main" val="265823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2"/>
            </p:custDataLst>
            <p:extLst>
              <p:ext uri="{D42A27DB-BD31-4B8C-83A1-F6EECF244321}">
                <p14:modId xmlns:p14="http://schemas.microsoft.com/office/powerpoint/2010/main" val="104569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8" imgW="425" imgH="424" progId="TCLayout.ActiveDocument.1">
                  <p:embed/>
                </p:oleObj>
              </mc:Choice>
              <mc:Fallback>
                <p:oleObj name="think-cell Slide" r:id="rId8"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029" name="Freeform 199">
            <a:extLst>
              <a:ext uri="{FF2B5EF4-FFF2-40B4-BE49-F238E27FC236}">
                <a16:creationId xmlns:a16="http://schemas.microsoft.com/office/drawing/2014/main" id="{6870AB9F-1F5D-4332-A7C3-905660874ED6}"/>
              </a:ext>
            </a:extLst>
          </p:cNvPr>
          <p:cNvSpPr/>
          <p:nvPr/>
        </p:nvSpPr>
        <p:spPr>
          <a:xfrm>
            <a:off x="767286" y="1245870"/>
            <a:ext cx="10657428" cy="10096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1440" tIns="45720" rIns="91440" bIns="73152" rtlCol="0" anchor="b">
            <a:noAutofit/>
          </a:bodyPr>
          <a:lstStyle/>
          <a:p>
            <a:pPr algn="ctr" defTabSz="932472" fontAlgn="base"/>
            <a:r>
              <a:rPr lang="en-IN" sz="2400" kern="0" dirty="0">
                <a:solidFill>
                  <a:schemeClr val="bg1">
                    <a:lumMod val="75000"/>
                  </a:schemeClr>
                </a:solidFill>
                <a:latin typeface="+mj-lt"/>
                <a:cs typeface="JF Flat" panose="02000500000000000000" pitchFamily="2" charset="-78"/>
              </a:rPr>
              <a:t>Windows Virtual Desktop</a:t>
            </a:r>
          </a:p>
        </p:txBody>
      </p:sp>
      <p:sp>
        <p:nvSpPr>
          <p:cNvPr id="1030" name="Freeform 200">
            <a:extLst>
              <a:ext uri="{FF2B5EF4-FFF2-40B4-BE49-F238E27FC236}">
                <a16:creationId xmlns:a16="http://schemas.microsoft.com/office/drawing/2014/main" id="{D9DE304E-7781-4CC6-B4B3-26F21CF89E96}"/>
              </a:ext>
            </a:extLst>
          </p:cNvPr>
          <p:cNvSpPr>
            <a:spLocks noChangeArrowheads="1"/>
          </p:cNvSpPr>
          <p:nvPr/>
        </p:nvSpPr>
        <p:spPr bwMode="auto">
          <a:xfrm>
            <a:off x="767285" y="6278383"/>
            <a:ext cx="10657430" cy="285930"/>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1440" tIns="45720" rIns="91440" bIns="4572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ctr" defTabSz="1088105" eaLnBrk="1" fontAlgn="auto" latinLnBrk="0" hangingPunct="1">
              <a:buClrTx/>
              <a:buSzTx/>
              <a:buFontTx/>
              <a:buNone/>
              <a:tabLst/>
              <a:defRPr/>
            </a:pPr>
            <a:endParaRPr kumimoji="0" lang="en-US" sz="1600" b="0" i="0" u="none" strike="noStrike" kern="0" cap="none" spc="0" normalizeH="0" baseline="0" noProof="0" dirty="0">
              <a:ln>
                <a:noFill/>
              </a:ln>
              <a:effectLst/>
              <a:uLnTx/>
              <a:uFillTx/>
              <a:latin typeface="+mn-lt"/>
              <a:cs typeface="JF Flat" panose="02000500000000000000" pitchFamily="2" charset="-78"/>
            </a:endParaRPr>
          </a:p>
        </p:txBody>
      </p:sp>
      <p:sp>
        <p:nvSpPr>
          <p:cNvPr id="1031" name="Rectangle 1030">
            <a:extLst>
              <a:ext uri="{FF2B5EF4-FFF2-40B4-BE49-F238E27FC236}">
                <a16:creationId xmlns:a16="http://schemas.microsoft.com/office/drawing/2014/main" id="{DAEF52B3-F22E-408F-882D-1A3570815906}"/>
              </a:ext>
            </a:extLst>
          </p:cNvPr>
          <p:cNvSpPr/>
          <p:nvPr/>
        </p:nvSpPr>
        <p:spPr bwMode="auto">
          <a:xfrm>
            <a:off x="4407444"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Enhanced Security</a:t>
            </a:r>
          </a:p>
        </p:txBody>
      </p:sp>
      <p:sp>
        <p:nvSpPr>
          <p:cNvPr id="1032" name="Rectangle 1031">
            <a:extLst>
              <a:ext uri="{FF2B5EF4-FFF2-40B4-BE49-F238E27FC236}">
                <a16:creationId xmlns:a16="http://schemas.microsoft.com/office/drawing/2014/main" id="{DBA9C9BD-F4DF-4ADB-AE90-51F5BC5E0F9E}"/>
              </a:ext>
            </a:extLst>
          </p:cNvPr>
          <p:cNvSpPr/>
          <p:nvPr/>
        </p:nvSpPr>
        <p:spPr bwMode="auto">
          <a:xfrm>
            <a:off x="7839679"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implified Management</a:t>
            </a:r>
          </a:p>
        </p:txBody>
      </p:sp>
      <p:sp>
        <p:nvSpPr>
          <p:cNvPr id="1034" name="Rectangle 1033">
            <a:extLst>
              <a:ext uri="{FF2B5EF4-FFF2-40B4-BE49-F238E27FC236}">
                <a16:creationId xmlns:a16="http://schemas.microsoft.com/office/drawing/2014/main" id="{ED4F0CB4-1822-4B1F-9417-60FA36618D45}"/>
              </a:ext>
            </a:extLst>
          </p:cNvPr>
          <p:cNvSpPr/>
          <p:nvPr/>
        </p:nvSpPr>
        <p:spPr bwMode="auto">
          <a:xfrm>
            <a:off x="975208" y="3299753"/>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altLang="zh-CN" sz="1600" dirty="0">
                <a:solidFill>
                  <a:schemeClr val="bg1">
                    <a:lumMod val="75000"/>
                  </a:schemeClr>
                </a:solidFill>
                <a:latin typeface="+mj-lt"/>
                <a:cs typeface="Segoe UI" pitchFamily="34" charset="0"/>
              </a:rPr>
              <a:t>Azure</a:t>
            </a:r>
            <a:endParaRPr lang="en-US" sz="1600" dirty="0">
              <a:solidFill>
                <a:schemeClr val="bg1">
                  <a:lumMod val="75000"/>
                </a:schemeClr>
              </a:solidFill>
              <a:latin typeface="+mj-lt"/>
              <a:cs typeface="Segoe UI" pitchFamily="34" charset="0"/>
            </a:endParaRPr>
          </a:p>
        </p:txBody>
      </p:sp>
      <p:sp>
        <p:nvSpPr>
          <p:cNvPr id="1035" name="Rectangle 1034">
            <a:extLst>
              <a:ext uri="{FF2B5EF4-FFF2-40B4-BE49-F238E27FC236}">
                <a16:creationId xmlns:a16="http://schemas.microsoft.com/office/drawing/2014/main" id="{899F16FA-36C4-4147-9C94-C437F76FB3E2}"/>
              </a:ext>
            </a:extLst>
          </p:cNvPr>
          <p:cNvSpPr/>
          <p:nvPr/>
        </p:nvSpPr>
        <p:spPr bwMode="auto">
          <a:xfrm>
            <a:off x="975208" y="2313349"/>
            <a:ext cx="3377114" cy="933430"/>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tx1"/>
                </a:solidFill>
                <a:latin typeface="+mj-lt"/>
                <a:cs typeface="Segoe UI" pitchFamily="34" charset="0"/>
              </a:rPr>
              <a:t>Best User Experience</a:t>
            </a:r>
          </a:p>
        </p:txBody>
      </p:sp>
      <p:sp>
        <p:nvSpPr>
          <p:cNvPr id="1383" name="TextBox 1382">
            <a:extLst>
              <a:ext uri="{FF2B5EF4-FFF2-40B4-BE49-F238E27FC236}">
                <a16:creationId xmlns:a16="http://schemas.microsoft.com/office/drawing/2014/main" id="{232C4164-8CA2-4919-80BF-60E95C10C1E6}"/>
              </a:ext>
            </a:extLst>
          </p:cNvPr>
          <p:cNvSpPr txBox="1"/>
          <p:nvPr/>
        </p:nvSpPr>
        <p:spPr>
          <a:xfrm>
            <a:off x="3178754" y="3612580"/>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Standardized, Global, &amp; Secure</a:t>
            </a:r>
          </a:p>
        </p:txBody>
      </p:sp>
      <p:grpSp>
        <p:nvGrpSpPr>
          <p:cNvPr id="520" name="Group 519">
            <a:extLst>
              <a:ext uri="{FF2B5EF4-FFF2-40B4-BE49-F238E27FC236}">
                <a16:creationId xmlns:a16="http://schemas.microsoft.com/office/drawing/2014/main" id="{30381266-7CC5-4BB8-A930-12AE9169F586}"/>
              </a:ext>
            </a:extLst>
          </p:cNvPr>
          <p:cNvGrpSpPr/>
          <p:nvPr/>
        </p:nvGrpSpPr>
        <p:grpSpPr>
          <a:xfrm>
            <a:off x="1119407" y="3655052"/>
            <a:ext cx="450579" cy="511733"/>
            <a:chOff x="2266365" y="4401648"/>
            <a:chExt cx="1241795" cy="1412971"/>
          </a:xfrm>
          <a:solidFill>
            <a:schemeClr val="bg1">
              <a:lumMod val="75000"/>
            </a:schemeClr>
          </a:solidFill>
        </p:grpSpPr>
        <p:sp>
          <p:nvSpPr>
            <p:cNvPr id="521" name="Oval 520">
              <a:extLst>
                <a:ext uri="{FF2B5EF4-FFF2-40B4-BE49-F238E27FC236}">
                  <a16:creationId xmlns:a16="http://schemas.microsoft.com/office/drawing/2014/main" id="{46F6EEE0-0D9D-48C8-94A0-5B3C5C2E4967}"/>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2" name="Oval 521">
              <a:extLst>
                <a:ext uri="{FF2B5EF4-FFF2-40B4-BE49-F238E27FC236}">
                  <a16:creationId xmlns:a16="http://schemas.microsoft.com/office/drawing/2014/main" id="{1C46C2C4-A17C-45E4-8677-ACA7F838367C}"/>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3" name="Freeform 297">
              <a:extLst>
                <a:ext uri="{FF2B5EF4-FFF2-40B4-BE49-F238E27FC236}">
                  <a16:creationId xmlns:a16="http://schemas.microsoft.com/office/drawing/2014/main" id="{0F2CC7A5-E004-44BB-9F07-13AA12600597}"/>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4" name="Oval 523">
              <a:extLst>
                <a:ext uri="{FF2B5EF4-FFF2-40B4-BE49-F238E27FC236}">
                  <a16:creationId xmlns:a16="http://schemas.microsoft.com/office/drawing/2014/main" id="{009E855B-2CDB-4FC8-9FD6-20C90BEA463C}"/>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5" name="Oval 524">
              <a:extLst>
                <a:ext uri="{FF2B5EF4-FFF2-40B4-BE49-F238E27FC236}">
                  <a16:creationId xmlns:a16="http://schemas.microsoft.com/office/drawing/2014/main" id="{B856899E-8AF1-4DA0-B63A-34D34E6A3F82}"/>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6" name="Oval 525">
              <a:extLst>
                <a:ext uri="{FF2B5EF4-FFF2-40B4-BE49-F238E27FC236}">
                  <a16:creationId xmlns:a16="http://schemas.microsoft.com/office/drawing/2014/main" id="{0D6F3D69-9912-46F3-A83A-30ABA9DA26B5}"/>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527" name="Group 526">
              <a:extLst>
                <a:ext uri="{FF2B5EF4-FFF2-40B4-BE49-F238E27FC236}">
                  <a16:creationId xmlns:a16="http://schemas.microsoft.com/office/drawing/2014/main" id="{E0150B82-D567-4669-898D-8ECCE67540DD}"/>
                </a:ext>
              </a:extLst>
            </p:cNvPr>
            <p:cNvGrpSpPr/>
            <p:nvPr/>
          </p:nvGrpSpPr>
          <p:grpSpPr>
            <a:xfrm>
              <a:off x="3014928" y="5033031"/>
              <a:ext cx="459519" cy="459064"/>
              <a:chOff x="3112464" y="5057415"/>
              <a:chExt cx="459519" cy="459064"/>
            </a:xfrm>
            <a:grpFill/>
          </p:grpSpPr>
          <p:sp>
            <p:nvSpPr>
              <p:cNvPr id="554" name="Oval 553">
                <a:extLst>
                  <a:ext uri="{FF2B5EF4-FFF2-40B4-BE49-F238E27FC236}">
                    <a16:creationId xmlns:a16="http://schemas.microsoft.com/office/drawing/2014/main" id="{E323EC2C-80DD-4FAC-B275-0058E63085EC}"/>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5" name="Freeform 309">
                <a:extLst>
                  <a:ext uri="{FF2B5EF4-FFF2-40B4-BE49-F238E27FC236}">
                    <a16:creationId xmlns:a16="http://schemas.microsoft.com/office/drawing/2014/main" id="{D830C568-9214-4FDD-AA80-18525284EC8F}"/>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6" name="Freeform 310">
                <a:extLst>
                  <a:ext uri="{FF2B5EF4-FFF2-40B4-BE49-F238E27FC236}">
                    <a16:creationId xmlns:a16="http://schemas.microsoft.com/office/drawing/2014/main" id="{0E8B4DD9-7C69-4738-B3CB-52357454250A}"/>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7" name="Freeform 311">
                <a:extLst>
                  <a:ext uri="{FF2B5EF4-FFF2-40B4-BE49-F238E27FC236}">
                    <a16:creationId xmlns:a16="http://schemas.microsoft.com/office/drawing/2014/main" id="{49A793A7-61DD-4F9F-BF42-8FDF3139456D}"/>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8" name="Freeform 312">
                <a:extLst>
                  <a:ext uri="{FF2B5EF4-FFF2-40B4-BE49-F238E27FC236}">
                    <a16:creationId xmlns:a16="http://schemas.microsoft.com/office/drawing/2014/main" id="{11D185A5-8FD9-446A-888D-EC3C293F95AE}"/>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9" name="Rectangle 558">
                <a:extLst>
                  <a:ext uri="{FF2B5EF4-FFF2-40B4-BE49-F238E27FC236}">
                    <a16:creationId xmlns:a16="http://schemas.microsoft.com/office/drawing/2014/main" id="{EBAC87E3-8AD1-4248-8884-17FE41E66615}"/>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60" name="Rectangle 559">
                <a:extLst>
                  <a:ext uri="{FF2B5EF4-FFF2-40B4-BE49-F238E27FC236}">
                    <a16:creationId xmlns:a16="http://schemas.microsoft.com/office/drawing/2014/main" id="{E8F33CD2-1E69-44BD-B35D-38E7F841B5B1}"/>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sp>
          <p:nvSpPr>
            <p:cNvPr id="528" name="Freeform 331">
              <a:extLst>
                <a:ext uri="{FF2B5EF4-FFF2-40B4-BE49-F238E27FC236}">
                  <a16:creationId xmlns:a16="http://schemas.microsoft.com/office/drawing/2014/main" id="{EE91A7C2-3898-496E-B3C8-CBCFAF19F290}"/>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9" name="Freeform 332">
              <a:extLst>
                <a:ext uri="{FF2B5EF4-FFF2-40B4-BE49-F238E27FC236}">
                  <a16:creationId xmlns:a16="http://schemas.microsoft.com/office/drawing/2014/main" id="{B169B8B8-8AD3-4F8E-819D-73E4AAC3A870}"/>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0" name="Rectangle 333">
              <a:extLst>
                <a:ext uri="{FF2B5EF4-FFF2-40B4-BE49-F238E27FC236}">
                  <a16:creationId xmlns:a16="http://schemas.microsoft.com/office/drawing/2014/main" id="{6F2DE5C4-145D-4160-B7E8-2F6C63D888EF}"/>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1" name="Rectangle 334">
              <a:extLst>
                <a:ext uri="{FF2B5EF4-FFF2-40B4-BE49-F238E27FC236}">
                  <a16:creationId xmlns:a16="http://schemas.microsoft.com/office/drawing/2014/main" id="{9DCB75FC-C4C3-45D8-973D-839F31F3D8A3}"/>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2" name="Rectangle 335">
              <a:extLst>
                <a:ext uri="{FF2B5EF4-FFF2-40B4-BE49-F238E27FC236}">
                  <a16:creationId xmlns:a16="http://schemas.microsoft.com/office/drawing/2014/main" id="{9E3DCC05-2B90-43AF-9C90-C584DFFC4D0A}"/>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2" name="Rectangle 336">
              <a:extLst>
                <a:ext uri="{FF2B5EF4-FFF2-40B4-BE49-F238E27FC236}">
                  <a16:creationId xmlns:a16="http://schemas.microsoft.com/office/drawing/2014/main" id="{B791AEE2-386F-4D30-B3F6-7A4968B7A08B}"/>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3" name="Rectangle 337">
              <a:extLst>
                <a:ext uri="{FF2B5EF4-FFF2-40B4-BE49-F238E27FC236}">
                  <a16:creationId xmlns:a16="http://schemas.microsoft.com/office/drawing/2014/main" id="{C7277F0A-0D7A-44EF-BEF1-C183B337AE95}"/>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544" name="Group 543">
              <a:extLst>
                <a:ext uri="{FF2B5EF4-FFF2-40B4-BE49-F238E27FC236}">
                  <a16:creationId xmlns:a16="http://schemas.microsoft.com/office/drawing/2014/main" id="{47409DB4-B450-4BB8-9658-67A8E173A2AD}"/>
                </a:ext>
              </a:extLst>
            </p:cNvPr>
            <p:cNvGrpSpPr/>
            <p:nvPr/>
          </p:nvGrpSpPr>
          <p:grpSpPr>
            <a:xfrm>
              <a:off x="3120879" y="4597927"/>
              <a:ext cx="384756" cy="384300"/>
              <a:chOff x="3571983" y="4744231"/>
              <a:chExt cx="384756" cy="384300"/>
            </a:xfrm>
            <a:grpFill/>
          </p:grpSpPr>
          <p:sp>
            <p:nvSpPr>
              <p:cNvPr id="551" name="Oval 550">
                <a:extLst>
                  <a:ext uri="{FF2B5EF4-FFF2-40B4-BE49-F238E27FC236}">
                    <a16:creationId xmlns:a16="http://schemas.microsoft.com/office/drawing/2014/main" id="{213E31B6-B1E2-45C4-BD0C-22199F05805A}"/>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2" name="Freeform 338">
                <a:extLst>
                  <a:ext uri="{FF2B5EF4-FFF2-40B4-BE49-F238E27FC236}">
                    <a16:creationId xmlns:a16="http://schemas.microsoft.com/office/drawing/2014/main" id="{F48DA963-7734-42B1-9B38-2A4346431E6A}"/>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3" name="Freeform 339">
                <a:extLst>
                  <a:ext uri="{FF2B5EF4-FFF2-40B4-BE49-F238E27FC236}">
                    <a16:creationId xmlns:a16="http://schemas.microsoft.com/office/drawing/2014/main" id="{0DA99D20-EDD8-4E3E-8C0F-29738883C7FC}"/>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545" name="Group 544">
              <a:extLst>
                <a:ext uri="{FF2B5EF4-FFF2-40B4-BE49-F238E27FC236}">
                  <a16:creationId xmlns:a16="http://schemas.microsoft.com/office/drawing/2014/main" id="{289D33FE-DF1A-4554-9859-767116759C94}"/>
                </a:ext>
              </a:extLst>
            </p:cNvPr>
            <p:cNvGrpSpPr/>
            <p:nvPr/>
          </p:nvGrpSpPr>
          <p:grpSpPr>
            <a:xfrm>
              <a:off x="2782979" y="4401648"/>
              <a:ext cx="277626" cy="278082"/>
              <a:chOff x="3843683" y="4426032"/>
              <a:chExt cx="277626" cy="278082"/>
            </a:xfrm>
            <a:grpFill/>
          </p:grpSpPr>
          <p:sp>
            <p:nvSpPr>
              <p:cNvPr id="546" name="Oval 545">
                <a:extLst>
                  <a:ext uri="{FF2B5EF4-FFF2-40B4-BE49-F238E27FC236}">
                    <a16:creationId xmlns:a16="http://schemas.microsoft.com/office/drawing/2014/main" id="{BE2C96DD-92D9-4788-A4F2-920D506183E5}"/>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7" name="Freeform 340">
                <a:extLst>
                  <a:ext uri="{FF2B5EF4-FFF2-40B4-BE49-F238E27FC236}">
                    <a16:creationId xmlns:a16="http://schemas.microsoft.com/office/drawing/2014/main" id="{9C899348-81FB-4A19-8FAA-DC702E7D2BE6}"/>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8" name="Freeform 341">
                <a:extLst>
                  <a:ext uri="{FF2B5EF4-FFF2-40B4-BE49-F238E27FC236}">
                    <a16:creationId xmlns:a16="http://schemas.microsoft.com/office/drawing/2014/main" id="{9231DE93-A376-4545-9AD0-E9B9B243EAE0}"/>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9" name="Rectangle 342">
                <a:extLst>
                  <a:ext uri="{FF2B5EF4-FFF2-40B4-BE49-F238E27FC236}">
                    <a16:creationId xmlns:a16="http://schemas.microsoft.com/office/drawing/2014/main" id="{A96C8477-0CFE-4FA7-A17D-17C1B17C0D77}"/>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0" name="Freeform 343">
                <a:extLst>
                  <a:ext uri="{FF2B5EF4-FFF2-40B4-BE49-F238E27FC236}">
                    <a16:creationId xmlns:a16="http://schemas.microsoft.com/office/drawing/2014/main" id="{7A9CCDBF-AB50-4CBE-9E19-2E44DBE139DC}"/>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sp>
        <p:nvSpPr>
          <p:cNvPr id="1033" name="Rectangle 1032">
            <a:extLst>
              <a:ext uri="{FF2B5EF4-FFF2-40B4-BE49-F238E27FC236}">
                <a16:creationId xmlns:a16="http://schemas.microsoft.com/office/drawing/2014/main" id="{A62E18BA-29D5-4D42-8873-47F7D8033A4A}"/>
              </a:ext>
            </a:extLst>
          </p:cNvPr>
          <p:cNvSpPr/>
          <p:nvPr/>
        </p:nvSpPr>
        <p:spPr bwMode="auto">
          <a:xfrm>
            <a:off x="972967" y="4290740"/>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uperior Economics</a:t>
            </a:r>
          </a:p>
        </p:txBody>
      </p:sp>
      <p:sp>
        <p:nvSpPr>
          <p:cNvPr id="1384" name="TextBox 1383">
            <a:extLst>
              <a:ext uri="{FF2B5EF4-FFF2-40B4-BE49-F238E27FC236}">
                <a16:creationId xmlns:a16="http://schemas.microsoft.com/office/drawing/2014/main" id="{EF060875-ACD7-46D0-B10C-8D41EC2E4CA4}"/>
              </a:ext>
            </a:extLst>
          </p:cNvPr>
          <p:cNvSpPr txBox="1"/>
          <p:nvPr/>
        </p:nvSpPr>
        <p:spPr>
          <a:xfrm>
            <a:off x="3176513" y="4603567"/>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Cost effective, Flexible, &amp; Opex</a:t>
            </a:r>
          </a:p>
        </p:txBody>
      </p:sp>
      <p:grpSp>
        <p:nvGrpSpPr>
          <p:cNvPr id="265" name="Group 264">
            <a:extLst>
              <a:ext uri="{FF2B5EF4-FFF2-40B4-BE49-F238E27FC236}">
                <a16:creationId xmlns:a16="http://schemas.microsoft.com/office/drawing/2014/main" id="{92850EFB-D342-47AF-A7F0-8605E0DF4E58}"/>
              </a:ext>
            </a:extLst>
          </p:cNvPr>
          <p:cNvGrpSpPr>
            <a:grpSpLocks noChangeAspect="1"/>
          </p:cNvGrpSpPr>
          <p:nvPr/>
        </p:nvGrpSpPr>
        <p:grpSpPr>
          <a:xfrm>
            <a:off x="1142531" y="4642160"/>
            <a:ext cx="626689" cy="492542"/>
            <a:chOff x="2008187" y="2241223"/>
            <a:chExt cx="1068391" cy="909679"/>
          </a:xfrm>
          <a:solidFill>
            <a:schemeClr val="bg1">
              <a:lumMod val="75000"/>
            </a:schemeClr>
          </a:solidFill>
        </p:grpSpPr>
        <p:grpSp>
          <p:nvGrpSpPr>
            <p:cNvPr id="266" name="Group 265">
              <a:extLst>
                <a:ext uri="{FF2B5EF4-FFF2-40B4-BE49-F238E27FC236}">
                  <a16:creationId xmlns:a16="http://schemas.microsoft.com/office/drawing/2014/main" id="{0BB65542-8663-4C36-BBF8-A0D2BC747D39}"/>
                </a:ext>
              </a:extLst>
            </p:cNvPr>
            <p:cNvGrpSpPr/>
            <p:nvPr/>
          </p:nvGrpSpPr>
          <p:grpSpPr>
            <a:xfrm>
              <a:off x="2064334" y="2241223"/>
              <a:ext cx="1012244" cy="811309"/>
              <a:chOff x="-1341882" y="2279901"/>
              <a:chExt cx="1941919" cy="1556440"/>
            </a:xfrm>
            <a:grpFill/>
          </p:grpSpPr>
          <p:sp>
            <p:nvSpPr>
              <p:cNvPr id="268" name="Rectangle 70">
                <a:extLst>
                  <a:ext uri="{FF2B5EF4-FFF2-40B4-BE49-F238E27FC236}">
                    <a16:creationId xmlns:a16="http://schemas.microsoft.com/office/drawing/2014/main" id="{81A706DE-6EE2-42C1-9E4C-711B8B852CF2}"/>
                  </a:ext>
                </a:extLst>
              </p:cNvPr>
              <p:cNvSpPr>
                <a:spLocks noChangeArrowheads="1"/>
              </p:cNvSpPr>
              <p:nvPr/>
            </p:nvSpPr>
            <p:spPr bwMode="auto">
              <a:xfrm>
                <a:off x="-135529" y="2948792"/>
                <a:ext cx="175980" cy="88754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69" name="Rectangle 71">
                <a:extLst>
                  <a:ext uri="{FF2B5EF4-FFF2-40B4-BE49-F238E27FC236}">
                    <a16:creationId xmlns:a16="http://schemas.microsoft.com/office/drawing/2014/main" id="{C82BAF7F-A118-4F76-AE96-04F666BD23C2}"/>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1" name="Freeform 72">
                <a:extLst>
                  <a:ext uri="{FF2B5EF4-FFF2-40B4-BE49-F238E27FC236}">
                    <a16:creationId xmlns:a16="http://schemas.microsoft.com/office/drawing/2014/main" id="{5B2034DC-B743-4D17-A4D7-D750B13D66F9}"/>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72" name="Freeform 73">
                <a:extLst>
                  <a:ext uri="{FF2B5EF4-FFF2-40B4-BE49-F238E27FC236}">
                    <a16:creationId xmlns:a16="http://schemas.microsoft.com/office/drawing/2014/main" id="{88EB9212-D548-4B71-B799-B7E069EA05B1}"/>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73" name="Freeform 74">
                <a:extLst>
                  <a:ext uri="{FF2B5EF4-FFF2-40B4-BE49-F238E27FC236}">
                    <a16:creationId xmlns:a16="http://schemas.microsoft.com/office/drawing/2014/main" id="{7F918420-8AA5-40A6-81C3-3A7D26A27456}"/>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32" name="Freeform 75">
                <a:extLst>
                  <a:ext uri="{FF2B5EF4-FFF2-40B4-BE49-F238E27FC236}">
                    <a16:creationId xmlns:a16="http://schemas.microsoft.com/office/drawing/2014/main" id="{A54A375F-01FD-46A7-BAD2-6C6F0060368D}"/>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3" name="Freeform 76">
                <a:extLst>
                  <a:ext uri="{FF2B5EF4-FFF2-40B4-BE49-F238E27FC236}">
                    <a16:creationId xmlns:a16="http://schemas.microsoft.com/office/drawing/2014/main" id="{2056AC40-0436-4418-94E7-A2D2D626AC3F}"/>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34" name="Freeform 77">
                <a:extLst>
                  <a:ext uri="{FF2B5EF4-FFF2-40B4-BE49-F238E27FC236}">
                    <a16:creationId xmlns:a16="http://schemas.microsoft.com/office/drawing/2014/main" id="{3AB0B60E-3A41-4EEC-95D2-E2F0302E09BE}"/>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5" name="Rectangle 78">
                <a:extLst>
                  <a:ext uri="{FF2B5EF4-FFF2-40B4-BE49-F238E27FC236}">
                    <a16:creationId xmlns:a16="http://schemas.microsoft.com/office/drawing/2014/main" id="{7BEC7456-6A80-422F-A80F-C8C1A9D48794}"/>
                  </a:ext>
                </a:extLst>
              </p:cNvPr>
              <p:cNvSpPr>
                <a:spLocks noChangeArrowheads="1"/>
              </p:cNvSpPr>
              <p:nvPr/>
            </p:nvSpPr>
            <p:spPr bwMode="auto">
              <a:xfrm>
                <a:off x="-427553" y="3137524"/>
                <a:ext cx="175980" cy="69881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36" name="Rectangle 79">
                <a:extLst>
                  <a:ext uri="{FF2B5EF4-FFF2-40B4-BE49-F238E27FC236}">
                    <a16:creationId xmlns:a16="http://schemas.microsoft.com/office/drawing/2014/main" id="{555ABDE3-C614-46C0-95F8-B555D94F2332}"/>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7" name="Freeform 80">
                <a:extLst>
                  <a:ext uri="{FF2B5EF4-FFF2-40B4-BE49-F238E27FC236}">
                    <a16:creationId xmlns:a16="http://schemas.microsoft.com/office/drawing/2014/main" id="{EE47EB1D-DD22-4016-A79B-F8467D7E75CE}"/>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38" name="Freeform 81">
                <a:extLst>
                  <a:ext uri="{FF2B5EF4-FFF2-40B4-BE49-F238E27FC236}">
                    <a16:creationId xmlns:a16="http://schemas.microsoft.com/office/drawing/2014/main" id="{61179006-5E77-4AA8-8BE8-E977D512D855}"/>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39" name="Freeform 82">
                <a:extLst>
                  <a:ext uri="{FF2B5EF4-FFF2-40B4-BE49-F238E27FC236}">
                    <a16:creationId xmlns:a16="http://schemas.microsoft.com/office/drawing/2014/main" id="{AB375294-3601-46F3-A156-A40DEF815D55}"/>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40" name="Freeform 83">
                <a:extLst>
                  <a:ext uri="{FF2B5EF4-FFF2-40B4-BE49-F238E27FC236}">
                    <a16:creationId xmlns:a16="http://schemas.microsoft.com/office/drawing/2014/main" id="{079F1D53-BF83-41A4-8C77-C6493131D290}"/>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41" name="Freeform 84">
                <a:extLst>
                  <a:ext uri="{FF2B5EF4-FFF2-40B4-BE49-F238E27FC236}">
                    <a16:creationId xmlns:a16="http://schemas.microsoft.com/office/drawing/2014/main" id="{E9A8E418-5D1F-4D1D-952A-715324A6079E}"/>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2" name="Freeform 85">
                <a:extLst>
                  <a:ext uri="{FF2B5EF4-FFF2-40B4-BE49-F238E27FC236}">
                    <a16:creationId xmlns:a16="http://schemas.microsoft.com/office/drawing/2014/main" id="{46030DAC-AACE-4976-A266-02DCBD4EF5A5}"/>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3" name="Freeform 86">
                <a:extLst>
                  <a:ext uri="{FF2B5EF4-FFF2-40B4-BE49-F238E27FC236}">
                    <a16:creationId xmlns:a16="http://schemas.microsoft.com/office/drawing/2014/main" id="{B26E3DA7-A883-4095-870C-1120903A8921}"/>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4" name="Freeform 87">
                <a:extLst>
                  <a:ext uri="{FF2B5EF4-FFF2-40B4-BE49-F238E27FC236}">
                    <a16:creationId xmlns:a16="http://schemas.microsoft.com/office/drawing/2014/main" id="{CF3B9309-0AA2-4653-A506-34820801E33A}"/>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5" name="Rectangle 88">
                <a:extLst>
                  <a:ext uri="{FF2B5EF4-FFF2-40B4-BE49-F238E27FC236}">
                    <a16:creationId xmlns:a16="http://schemas.microsoft.com/office/drawing/2014/main" id="{F344F70F-78AC-41E5-B594-2106B2A1B431}"/>
                  </a:ext>
                </a:extLst>
              </p:cNvPr>
              <p:cNvSpPr>
                <a:spLocks noChangeArrowheads="1"/>
              </p:cNvSpPr>
              <p:nvPr/>
            </p:nvSpPr>
            <p:spPr bwMode="auto">
              <a:xfrm>
                <a:off x="-718302" y="3323704"/>
                <a:ext cx="174705" cy="51263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46" name="Rectangle 89">
                <a:extLst>
                  <a:ext uri="{FF2B5EF4-FFF2-40B4-BE49-F238E27FC236}">
                    <a16:creationId xmlns:a16="http://schemas.microsoft.com/office/drawing/2014/main" id="{064B6C37-006B-492E-A6C8-66DF1F886965}"/>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7" name="Freeform 90">
                <a:extLst>
                  <a:ext uri="{FF2B5EF4-FFF2-40B4-BE49-F238E27FC236}">
                    <a16:creationId xmlns:a16="http://schemas.microsoft.com/office/drawing/2014/main" id="{11CCCF82-91B4-4C1D-A636-340EFC0321B5}"/>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48" name="Freeform 91">
                <a:extLst>
                  <a:ext uri="{FF2B5EF4-FFF2-40B4-BE49-F238E27FC236}">
                    <a16:creationId xmlns:a16="http://schemas.microsoft.com/office/drawing/2014/main" id="{96F544AD-9A36-4EC7-BD20-0A583F208367}"/>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49" name="Freeform 92">
                <a:extLst>
                  <a:ext uri="{FF2B5EF4-FFF2-40B4-BE49-F238E27FC236}">
                    <a16:creationId xmlns:a16="http://schemas.microsoft.com/office/drawing/2014/main" id="{D5A8B6BB-5741-476E-AA73-D631C2148A0C}"/>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50" name="Freeform 93">
                <a:extLst>
                  <a:ext uri="{FF2B5EF4-FFF2-40B4-BE49-F238E27FC236}">
                    <a16:creationId xmlns:a16="http://schemas.microsoft.com/office/drawing/2014/main" id="{114E33D6-83E8-42EA-915D-6AA8239FA5BB}"/>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51" name="Freeform 94">
                <a:extLst>
                  <a:ext uri="{FF2B5EF4-FFF2-40B4-BE49-F238E27FC236}">
                    <a16:creationId xmlns:a16="http://schemas.microsoft.com/office/drawing/2014/main" id="{67887864-6849-47AE-8A53-EB1A39EEA69A}"/>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2" name="Freeform 95">
                <a:extLst>
                  <a:ext uri="{FF2B5EF4-FFF2-40B4-BE49-F238E27FC236}">
                    <a16:creationId xmlns:a16="http://schemas.microsoft.com/office/drawing/2014/main" id="{D5DAFB94-FB21-4B7D-82C8-BEE5450C1FDB}"/>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3" name="Freeform 96">
                <a:extLst>
                  <a:ext uri="{FF2B5EF4-FFF2-40B4-BE49-F238E27FC236}">
                    <a16:creationId xmlns:a16="http://schemas.microsoft.com/office/drawing/2014/main" id="{3002ACF9-A1A0-4DE7-93EA-7F78F6576F29}"/>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4" name="Freeform 97">
                <a:extLst>
                  <a:ext uri="{FF2B5EF4-FFF2-40B4-BE49-F238E27FC236}">
                    <a16:creationId xmlns:a16="http://schemas.microsoft.com/office/drawing/2014/main" id="{DA485054-5C55-4E87-A611-94F13E65AC38}"/>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5" name="Rectangle 98">
                <a:extLst>
                  <a:ext uri="{FF2B5EF4-FFF2-40B4-BE49-F238E27FC236}">
                    <a16:creationId xmlns:a16="http://schemas.microsoft.com/office/drawing/2014/main" id="{B703F51B-07E1-4905-A7AA-FC39EF8EFC13}"/>
                  </a:ext>
                </a:extLst>
              </p:cNvPr>
              <p:cNvSpPr>
                <a:spLocks noChangeArrowheads="1"/>
              </p:cNvSpPr>
              <p:nvPr/>
            </p:nvSpPr>
            <p:spPr bwMode="auto">
              <a:xfrm>
                <a:off x="-1009051" y="3511161"/>
                <a:ext cx="174705" cy="32518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56" name="Rectangle 99">
                <a:extLst>
                  <a:ext uri="{FF2B5EF4-FFF2-40B4-BE49-F238E27FC236}">
                    <a16:creationId xmlns:a16="http://schemas.microsoft.com/office/drawing/2014/main" id="{CDA606CF-F735-4BC9-85FE-1432DB5204F8}"/>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7" name="Freeform 100">
                <a:extLst>
                  <a:ext uri="{FF2B5EF4-FFF2-40B4-BE49-F238E27FC236}">
                    <a16:creationId xmlns:a16="http://schemas.microsoft.com/office/drawing/2014/main" id="{9808637E-37F4-407F-B13A-2B05B059C1BD}"/>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58" name="Freeform 101">
                <a:extLst>
                  <a:ext uri="{FF2B5EF4-FFF2-40B4-BE49-F238E27FC236}">
                    <a16:creationId xmlns:a16="http://schemas.microsoft.com/office/drawing/2014/main" id="{7CE0AB2F-06F2-455A-ABFF-1DE86235DF8B}"/>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59" name="Freeform 102">
                <a:extLst>
                  <a:ext uri="{FF2B5EF4-FFF2-40B4-BE49-F238E27FC236}">
                    <a16:creationId xmlns:a16="http://schemas.microsoft.com/office/drawing/2014/main" id="{A1315810-A191-404D-90EB-5158D569DC29}"/>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60" name="Freeform 103">
                <a:extLst>
                  <a:ext uri="{FF2B5EF4-FFF2-40B4-BE49-F238E27FC236}">
                    <a16:creationId xmlns:a16="http://schemas.microsoft.com/office/drawing/2014/main" id="{BA5B5B5F-9522-4EF8-8AE5-C18B3F61D3E3}"/>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61" name="Freeform 104">
                <a:extLst>
                  <a:ext uri="{FF2B5EF4-FFF2-40B4-BE49-F238E27FC236}">
                    <a16:creationId xmlns:a16="http://schemas.microsoft.com/office/drawing/2014/main" id="{29D253D1-3887-4C55-AF68-B22E73EDC641}"/>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2" name="Freeform 105">
                <a:extLst>
                  <a:ext uri="{FF2B5EF4-FFF2-40B4-BE49-F238E27FC236}">
                    <a16:creationId xmlns:a16="http://schemas.microsoft.com/office/drawing/2014/main" id="{5D80AEA3-D36B-48D0-9951-665D49C5B31C}"/>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3" name="Freeform 106">
                <a:extLst>
                  <a:ext uri="{FF2B5EF4-FFF2-40B4-BE49-F238E27FC236}">
                    <a16:creationId xmlns:a16="http://schemas.microsoft.com/office/drawing/2014/main" id="{F31B5EC9-5BE5-4901-80D8-F67F299BE247}"/>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4" name="Freeform 107">
                <a:extLst>
                  <a:ext uri="{FF2B5EF4-FFF2-40B4-BE49-F238E27FC236}">
                    <a16:creationId xmlns:a16="http://schemas.microsoft.com/office/drawing/2014/main" id="{1F061A9B-83E1-486A-ACA3-A11F67DD219A}"/>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5" name="Rectangle 108">
                <a:extLst>
                  <a:ext uri="{FF2B5EF4-FFF2-40B4-BE49-F238E27FC236}">
                    <a16:creationId xmlns:a16="http://schemas.microsoft.com/office/drawing/2014/main" id="{FDB35576-8DE4-4980-981B-91B859239F1A}"/>
                  </a:ext>
                </a:extLst>
              </p:cNvPr>
              <p:cNvSpPr>
                <a:spLocks noChangeArrowheads="1"/>
              </p:cNvSpPr>
              <p:nvPr/>
            </p:nvSpPr>
            <p:spPr bwMode="auto">
              <a:xfrm>
                <a:off x="-1301075" y="3638682"/>
                <a:ext cx="175980" cy="19765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66" name="Rectangle 109">
                <a:extLst>
                  <a:ext uri="{FF2B5EF4-FFF2-40B4-BE49-F238E27FC236}">
                    <a16:creationId xmlns:a16="http://schemas.microsoft.com/office/drawing/2014/main" id="{556852FB-9820-4A7D-8831-029293795DAA}"/>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7" name="Freeform 110">
                <a:extLst>
                  <a:ext uri="{FF2B5EF4-FFF2-40B4-BE49-F238E27FC236}">
                    <a16:creationId xmlns:a16="http://schemas.microsoft.com/office/drawing/2014/main" id="{7280F82B-3957-4197-8B2C-755CDD6A3F8E}"/>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68" name="Freeform 111">
                <a:extLst>
                  <a:ext uri="{FF2B5EF4-FFF2-40B4-BE49-F238E27FC236}">
                    <a16:creationId xmlns:a16="http://schemas.microsoft.com/office/drawing/2014/main" id="{011AC2C1-8242-42E3-8F9C-1BF34B047578}"/>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69" name="Freeform 112">
                <a:extLst>
                  <a:ext uri="{FF2B5EF4-FFF2-40B4-BE49-F238E27FC236}">
                    <a16:creationId xmlns:a16="http://schemas.microsoft.com/office/drawing/2014/main" id="{F8AEE9FC-01DC-4CD3-AB44-8407F4B848D1}"/>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70" name="Freeform 113">
                <a:extLst>
                  <a:ext uri="{FF2B5EF4-FFF2-40B4-BE49-F238E27FC236}">
                    <a16:creationId xmlns:a16="http://schemas.microsoft.com/office/drawing/2014/main" id="{4AF7D34D-5CE6-49D8-8C64-8A62CCA9EDFA}"/>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71" name="Freeform 114">
                <a:extLst>
                  <a:ext uri="{FF2B5EF4-FFF2-40B4-BE49-F238E27FC236}">
                    <a16:creationId xmlns:a16="http://schemas.microsoft.com/office/drawing/2014/main" id="{84CAFBB1-5C71-437E-8510-A948DA25ACB1}"/>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2" name="Freeform 115">
                <a:extLst>
                  <a:ext uri="{FF2B5EF4-FFF2-40B4-BE49-F238E27FC236}">
                    <a16:creationId xmlns:a16="http://schemas.microsoft.com/office/drawing/2014/main" id="{D286F974-5A32-44EB-AAF7-57C7159B4B03}"/>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3" name="Freeform 116">
                <a:extLst>
                  <a:ext uri="{FF2B5EF4-FFF2-40B4-BE49-F238E27FC236}">
                    <a16:creationId xmlns:a16="http://schemas.microsoft.com/office/drawing/2014/main" id="{E4D0DA69-2B00-43EB-A819-F09E0DFA8B78}"/>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4" name="Freeform 117">
                <a:extLst>
                  <a:ext uri="{FF2B5EF4-FFF2-40B4-BE49-F238E27FC236}">
                    <a16:creationId xmlns:a16="http://schemas.microsoft.com/office/drawing/2014/main" id="{BA170016-AE1E-49D9-9C49-8C5E54446279}"/>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375" name="Group 374">
                <a:extLst>
                  <a:ext uri="{FF2B5EF4-FFF2-40B4-BE49-F238E27FC236}">
                    <a16:creationId xmlns:a16="http://schemas.microsoft.com/office/drawing/2014/main" id="{88B3C484-EBB5-43C0-BCF8-B8D81E91CB85}"/>
                  </a:ext>
                </a:extLst>
              </p:cNvPr>
              <p:cNvGrpSpPr/>
              <p:nvPr/>
            </p:nvGrpSpPr>
            <p:grpSpPr>
              <a:xfrm>
                <a:off x="-54543" y="2279901"/>
                <a:ext cx="654580" cy="588705"/>
                <a:chOff x="-54543" y="2279901"/>
                <a:chExt cx="654580" cy="588705"/>
              </a:xfrm>
              <a:grpFill/>
            </p:grpSpPr>
            <p:sp>
              <p:nvSpPr>
                <p:cNvPr id="384" name="Freeform 68">
                  <a:extLst>
                    <a:ext uri="{FF2B5EF4-FFF2-40B4-BE49-F238E27FC236}">
                      <a16:creationId xmlns:a16="http://schemas.microsoft.com/office/drawing/2014/main" id="{C1D44AC1-6491-4997-9F9D-188EEE2BF05E}"/>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85" name="Freeform 118">
                  <a:extLst>
                    <a:ext uri="{FF2B5EF4-FFF2-40B4-BE49-F238E27FC236}">
                      <a16:creationId xmlns:a16="http://schemas.microsoft.com/office/drawing/2014/main" id="{7D7B0592-F9C7-4AA1-BAC2-96992F0DD39E}"/>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86" name="Freeform 119">
                  <a:extLst>
                    <a:ext uri="{FF2B5EF4-FFF2-40B4-BE49-F238E27FC236}">
                      <a16:creationId xmlns:a16="http://schemas.microsoft.com/office/drawing/2014/main" id="{E0A2A743-1169-4548-9EA5-30E83A8DB0CD}"/>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7" name="Freeform 120">
                  <a:extLst>
                    <a:ext uri="{FF2B5EF4-FFF2-40B4-BE49-F238E27FC236}">
                      <a16:creationId xmlns:a16="http://schemas.microsoft.com/office/drawing/2014/main" id="{3AA4E97D-00D4-4310-9386-2F08A3C465F0}"/>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8" name="Freeform 121">
                  <a:extLst>
                    <a:ext uri="{FF2B5EF4-FFF2-40B4-BE49-F238E27FC236}">
                      <a16:creationId xmlns:a16="http://schemas.microsoft.com/office/drawing/2014/main" id="{3D223B2F-E568-45E5-BAFB-E1BE8D557F6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9" name="Freeform 122">
                  <a:extLst>
                    <a:ext uri="{FF2B5EF4-FFF2-40B4-BE49-F238E27FC236}">
                      <a16:creationId xmlns:a16="http://schemas.microsoft.com/office/drawing/2014/main" id="{8A8FC21E-1EE9-4134-8A14-AF41BC2ABB57}"/>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90" name="Freeform 124">
                  <a:extLst>
                    <a:ext uri="{FF2B5EF4-FFF2-40B4-BE49-F238E27FC236}">
                      <a16:creationId xmlns:a16="http://schemas.microsoft.com/office/drawing/2014/main" id="{61885647-0BE3-4F4E-8189-6E388CE9C902}"/>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1" name="Freeform 125">
                  <a:extLst>
                    <a:ext uri="{FF2B5EF4-FFF2-40B4-BE49-F238E27FC236}">
                      <a16:creationId xmlns:a16="http://schemas.microsoft.com/office/drawing/2014/main" id="{5B4E5B56-E8C2-4B7E-B09D-A1CAAB24C793}"/>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2" name="Freeform 126">
                  <a:extLst>
                    <a:ext uri="{FF2B5EF4-FFF2-40B4-BE49-F238E27FC236}">
                      <a16:creationId xmlns:a16="http://schemas.microsoft.com/office/drawing/2014/main" id="{6F3C2A3E-41EB-4751-A96F-77D180ACD0D4}"/>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3" name="Freeform 127">
                  <a:extLst>
                    <a:ext uri="{FF2B5EF4-FFF2-40B4-BE49-F238E27FC236}">
                      <a16:creationId xmlns:a16="http://schemas.microsoft.com/office/drawing/2014/main" id="{78E386E6-0D0A-433A-92A6-808AEF1B3DFA}"/>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4" name="Freeform 128">
                  <a:extLst>
                    <a:ext uri="{FF2B5EF4-FFF2-40B4-BE49-F238E27FC236}">
                      <a16:creationId xmlns:a16="http://schemas.microsoft.com/office/drawing/2014/main" id="{6505CCB3-02CB-42E0-9E03-7F42F5F2954E}"/>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5" name="Freeform 129">
                  <a:extLst>
                    <a:ext uri="{FF2B5EF4-FFF2-40B4-BE49-F238E27FC236}">
                      <a16:creationId xmlns:a16="http://schemas.microsoft.com/office/drawing/2014/main" id="{86078589-8CD4-4A60-8298-A1EA5609F4F2}"/>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96" name="Freeform 130">
                  <a:extLst>
                    <a:ext uri="{FF2B5EF4-FFF2-40B4-BE49-F238E27FC236}">
                      <a16:creationId xmlns:a16="http://schemas.microsoft.com/office/drawing/2014/main" id="{438AFDB1-CD16-45DF-9684-7A095FC98DE9}"/>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7" name="Freeform 131">
                  <a:extLst>
                    <a:ext uri="{FF2B5EF4-FFF2-40B4-BE49-F238E27FC236}">
                      <a16:creationId xmlns:a16="http://schemas.microsoft.com/office/drawing/2014/main" id="{2161E084-0343-40C4-8DC4-1C48079A2D8E}"/>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8" name="Freeform 132">
                  <a:extLst>
                    <a:ext uri="{FF2B5EF4-FFF2-40B4-BE49-F238E27FC236}">
                      <a16:creationId xmlns:a16="http://schemas.microsoft.com/office/drawing/2014/main" id="{B1B1008B-C21B-4D8A-B1AD-AF3627BA1DB5}"/>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9" name="Freeform 133">
                  <a:extLst>
                    <a:ext uri="{FF2B5EF4-FFF2-40B4-BE49-F238E27FC236}">
                      <a16:creationId xmlns:a16="http://schemas.microsoft.com/office/drawing/2014/main" id="{75B536DE-8AFF-4FCD-A26F-EEC9465E312C}"/>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76" name="Group 375">
                <a:extLst>
                  <a:ext uri="{FF2B5EF4-FFF2-40B4-BE49-F238E27FC236}">
                    <a16:creationId xmlns:a16="http://schemas.microsoft.com/office/drawing/2014/main" id="{8113708F-4D9C-4FE9-BF88-1F501216442E}"/>
                  </a:ext>
                </a:extLst>
              </p:cNvPr>
              <p:cNvGrpSpPr/>
              <p:nvPr/>
            </p:nvGrpSpPr>
            <p:grpSpPr>
              <a:xfrm>
                <a:off x="-108104" y="2554074"/>
                <a:ext cx="132971" cy="160137"/>
                <a:chOff x="7094929" y="5488305"/>
                <a:chExt cx="132971" cy="160137"/>
              </a:xfrm>
              <a:grpFill/>
            </p:grpSpPr>
            <p:sp>
              <p:nvSpPr>
                <p:cNvPr id="382" name="Freeform 66">
                  <a:extLst>
                    <a:ext uri="{FF2B5EF4-FFF2-40B4-BE49-F238E27FC236}">
                      <a16:creationId xmlns:a16="http://schemas.microsoft.com/office/drawing/2014/main" id="{F64DF6A4-EAFF-41A3-A878-B96A294BD5C9}"/>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83" name="Freeform 127">
                  <a:extLst>
                    <a:ext uri="{FF2B5EF4-FFF2-40B4-BE49-F238E27FC236}">
                      <a16:creationId xmlns:a16="http://schemas.microsoft.com/office/drawing/2014/main" id="{CF0F3FA2-C425-442F-9D52-2D098CDC7BDC}"/>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377" name="Freeform 127">
                <a:extLst>
                  <a:ext uri="{FF2B5EF4-FFF2-40B4-BE49-F238E27FC236}">
                    <a16:creationId xmlns:a16="http://schemas.microsoft.com/office/drawing/2014/main" id="{0A03C792-0D60-4734-94D6-45FF52271EBE}"/>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378" name="Freeform 127">
                <a:extLst>
                  <a:ext uri="{FF2B5EF4-FFF2-40B4-BE49-F238E27FC236}">
                    <a16:creationId xmlns:a16="http://schemas.microsoft.com/office/drawing/2014/main" id="{9BC1E9C3-FA48-4B0B-AA39-EFCF619BEDF6}"/>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379" name="Freeform 127">
                <a:extLst>
                  <a:ext uri="{FF2B5EF4-FFF2-40B4-BE49-F238E27FC236}">
                    <a16:creationId xmlns:a16="http://schemas.microsoft.com/office/drawing/2014/main" id="{3EB4EDE8-AD33-4DFF-B304-AB32555FF75D}"/>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380" name="Freeform 127">
                <a:extLst>
                  <a:ext uri="{FF2B5EF4-FFF2-40B4-BE49-F238E27FC236}">
                    <a16:creationId xmlns:a16="http://schemas.microsoft.com/office/drawing/2014/main" id="{F3265258-101F-49F0-93DD-F9AF2F0773B3}"/>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381" name="Freeform 127">
                <a:extLst>
                  <a:ext uri="{FF2B5EF4-FFF2-40B4-BE49-F238E27FC236}">
                    <a16:creationId xmlns:a16="http://schemas.microsoft.com/office/drawing/2014/main" id="{5279EFFA-1A85-4039-95E9-7BC91B4560DB}"/>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267" name="Rectangle 266">
              <a:extLst>
                <a:ext uri="{FF2B5EF4-FFF2-40B4-BE49-F238E27FC236}">
                  <a16:creationId xmlns:a16="http://schemas.microsoft.com/office/drawing/2014/main" id="{6AABBA91-AEC3-4FC1-8D9D-67013D396D05}"/>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819" name="Group 818">
            <a:extLst>
              <a:ext uri="{FF2B5EF4-FFF2-40B4-BE49-F238E27FC236}">
                <a16:creationId xmlns:a16="http://schemas.microsoft.com/office/drawing/2014/main" id="{DB8EFF56-E5B8-4C69-A936-F1AFFEF5226F}"/>
              </a:ext>
            </a:extLst>
          </p:cNvPr>
          <p:cNvGrpSpPr/>
          <p:nvPr/>
        </p:nvGrpSpPr>
        <p:grpSpPr>
          <a:xfrm>
            <a:off x="10504155" y="2496766"/>
            <a:ext cx="616488" cy="651720"/>
            <a:chOff x="13973841" y="3823518"/>
            <a:chExt cx="1577751" cy="1687170"/>
          </a:xfrm>
          <a:solidFill>
            <a:schemeClr val="bg1">
              <a:lumMod val="75000"/>
            </a:schemeClr>
          </a:solidFill>
        </p:grpSpPr>
        <p:sp>
          <p:nvSpPr>
            <p:cNvPr id="820" name="Oval 240">
              <a:extLst>
                <a:ext uri="{FF2B5EF4-FFF2-40B4-BE49-F238E27FC236}">
                  <a16:creationId xmlns:a16="http://schemas.microsoft.com/office/drawing/2014/main" id="{4D63F9B5-3171-460B-BB51-3C110665E476}"/>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21" name="Oval 242">
              <a:extLst>
                <a:ext uri="{FF2B5EF4-FFF2-40B4-BE49-F238E27FC236}">
                  <a16:creationId xmlns:a16="http://schemas.microsoft.com/office/drawing/2014/main" id="{656F92A0-0F9B-4352-BEDA-3D5F51C1A90E}"/>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22" name="Freeform 129">
              <a:extLst>
                <a:ext uri="{FF2B5EF4-FFF2-40B4-BE49-F238E27FC236}">
                  <a16:creationId xmlns:a16="http://schemas.microsoft.com/office/drawing/2014/main" id="{BF526B10-1B9A-4B67-ADAF-BD6F013A0977}"/>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23" name="Freeform 130">
              <a:extLst>
                <a:ext uri="{FF2B5EF4-FFF2-40B4-BE49-F238E27FC236}">
                  <a16:creationId xmlns:a16="http://schemas.microsoft.com/office/drawing/2014/main" id="{7536BD4F-7CFB-4890-9E69-5A42B7BDEBCD}"/>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24" name="Freeform 232">
              <a:extLst>
                <a:ext uri="{FF2B5EF4-FFF2-40B4-BE49-F238E27FC236}">
                  <a16:creationId xmlns:a16="http://schemas.microsoft.com/office/drawing/2014/main" id="{E02E36E2-309C-452A-A85F-1C3877276690}"/>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pic>
          <p:nvPicPr>
            <p:cNvPr id="825" name="Graphic 824">
              <a:extLst>
                <a:ext uri="{FF2B5EF4-FFF2-40B4-BE49-F238E27FC236}">
                  <a16:creationId xmlns:a16="http://schemas.microsoft.com/office/drawing/2014/main" id="{A5AC0B53-A8CA-42BA-8003-5B08D4C0D7F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715068" y="3908875"/>
              <a:ext cx="192326" cy="150595"/>
            </a:xfrm>
            <a:prstGeom prst="rect">
              <a:avLst/>
            </a:prstGeom>
          </p:spPr>
        </p:pic>
        <p:sp>
          <p:nvSpPr>
            <p:cNvPr id="826" name="Oval 240">
              <a:extLst>
                <a:ext uri="{FF2B5EF4-FFF2-40B4-BE49-F238E27FC236}">
                  <a16:creationId xmlns:a16="http://schemas.microsoft.com/office/drawing/2014/main" id="{C7BA5F5C-0414-4E96-B69A-6120E27D91D0}"/>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27" name="Oval 240">
              <a:extLst>
                <a:ext uri="{FF2B5EF4-FFF2-40B4-BE49-F238E27FC236}">
                  <a16:creationId xmlns:a16="http://schemas.microsoft.com/office/drawing/2014/main" id="{BCD0DC32-CAFF-4F0A-BEAF-1033491198FD}"/>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28" name="Circle: Hollow 827">
              <a:extLst>
                <a:ext uri="{FF2B5EF4-FFF2-40B4-BE49-F238E27FC236}">
                  <a16:creationId xmlns:a16="http://schemas.microsoft.com/office/drawing/2014/main" id="{4132BE1B-5754-4A07-BED8-4CA0176BEB27}"/>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sp>
          <p:nvSpPr>
            <p:cNvPr id="829" name="Freeform 501">
              <a:extLst>
                <a:ext uri="{FF2B5EF4-FFF2-40B4-BE49-F238E27FC236}">
                  <a16:creationId xmlns:a16="http://schemas.microsoft.com/office/drawing/2014/main" id="{3D4C2E0F-A182-4738-A973-5E5E07524D95}"/>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30" name="Rounded Rectangle 13">
              <a:extLst>
                <a:ext uri="{FF2B5EF4-FFF2-40B4-BE49-F238E27FC236}">
                  <a16:creationId xmlns:a16="http://schemas.microsoft.com/office/drawing/2014/main" id="{9B82F2C6-3183-4053-82FE-E48079A338FC}"/>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831" name="Freeform: Shape 830">
              <a:extLst>
                <a:ext uri="{FF2B5EF4-FFF2-40B4-BE49-F238E27FC236}">
                  <a16:creationId xmlns:a16="http://schemas.microsoft.com/office/drawing/2014/main" id="{6E69709F-6ABD-4882-830A-2F920F5D626F}"/>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832" name="Group 831">
            <a:extLst>
              <a:ext uri="{FF2B5EF4-FFF2-40B4-BE49-F238E27FC236}">
                <a16:creationId xmlns:a16="http://schemas.microsoft.com/office/drawing/2014/main" id="{A0190462-FA57-43A2-948B-94FF4331C672}"/>
              </a:ext>
            </a:extLst>
          </p:cNvPr>
          <p:cNvGrpSpPr>
            <a:grpSpLocks noChangeAspect="1"/>
          </p:cNvGrpSpPr>
          <p:nvPr/>
        </p:nvGrpSpPr>
        <p:grpSpPr>
          <a:xfrm>
            <a:off x="6697244" y="2633218"/>
            <a:ext cx="943275" cy="575451"/>
            <a:chOff x="880735" y="570156"/>
            <a:chExt cx="9823008" cy="5992590"/>
          </a:xfrm>
        </p:grpSpPr>
        <p:grpSp>
          <p:nvGrpSpPr>
            <p:cNvPr id="833" name="Group 832">
              <a:extLst>
                <a:ext uri="{FF2B5EF4-FFF2-40B4-BE49-F238E27FC236}">
                  <a16:creationId xmlns:a16="http://schemas.microsoft.com/office/drawing/2014/main" id="{19E4D7B4-2C0C-43DF-B8BC-EFB28659FBE1}"/>
                </a:ext>
              </a:extLst>
            </p:cNvPr>
            <p:cNvGrpSpPr/>
            <p:nvPr/>
          </p:nvGrpSpPr>
          <p:grpSpPr>
            <a:xfrm>
              <a:off x="880735" y="570156"/>
              <a:ext cx="9823008" cy="5216554"/>
              <a:chOff x="880735" y="570156"/>
              <a:chExt cx="9823008" cy="5216554"/>
            </a:xfrm>
          </p:grpSpPr>
          <p:grpSp>
            <p:nvGrpSpPr>
              <p:cNvPr id="838" name="Group 837">
                <a:extLst>
                  <a:ext uri="{FF2B5EF4-FFF2-40B4-BE49-F238E27FC236}">
                    <a16:creationId xmlns:a16="http://schemas.microsoft.com/office/drawing/2014/main" id="{CF593998-D7F7-4E28-94BE-4D1656C9FAD0}"/>
                  </a:ext>
                </a:extLst>
              </p:cNvPr>
              <p:cNvGrpSpPr/>
              <p:nvPr/>
            </p:nvGrpSpPr>
            <p:grpSpPr>
              <a:xfrm>
                <a:off x="1860203" y="570156"/>
                <a:ext cx="3248557" cy="3248553"/>
                <a:chOff x="3695059" y="2057989"/>
                <a:chExt cx="825500" cy="825500"/>
              </a:xfrm>
            </p:grpSpPr>
            <p:sp>
              <p:nvSpPr>
                <p:cNvPr id="919" name="Oval 918">
                  <a:extLst>
                    <a:ext uri="{FF2B5EF4-FFF2-40B4-BE49-F238E27FC236}">
                      <a16:creationId xmlns:a16="http://schemas.microsoft.com/office/drawing/2014/main" id="{9F3AC86D-30A9-48AD-B551-869AB303884E}"/>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32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20" name="Freeform 82">
                  <a:extLst>
                    <a:ext uri="{FF2B5EF4-FFF2-40B4-BE49-F238E27FC236}">
                      <a16:creationId xmlns:a16="http://schemas.microsoft.com/office/drawing/2014/main" id="{DE4A69E0-32A1-4AFE-9119-1FCE7BADC5A7}"/>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sp>
            <p:nvSpPr>
              <p:cNvPr id="839" name="Rectangle 838">
                <a:extLst>
                  <a:ext uri="{FF2B5EF4-FFF2-40B4-BE49-F238E27FC236}">
                    <a16:creationId xmlns:a16="http://schemas.microsoft.com/office/drawing/2014/main" id="{586BED90-637A-4A31-8614-DE7E2294348B}"/>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0" name="Rectangle 839">
                <a:extLst>
                  <a:ext uri="{FF2B5EF4-FFF2-40B4-BE49-F238E27FC236}">
                    <a16:creationId xmlns:a16="http://schemas.microsoft.com/office/drawing/2014/main" id="{E8AD79DA-9254-43C0-9B89-ED4FE3FEDF89}"/>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1" name="Freeform 7">
                <a:extLst>
                  <a:ext uri="{FF2B5EF4-FFF2-40B4-BE49-F238E27FC236}">
                    <a16:creationId xmlns:a16="http://schemas.microsoft.com/office/drawing/2014/main" id="{537C24AC-2137-40BA-8252-76726DD4FBDC}"/>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2" name="Freeform 8">
                <a:extLst>
                  <a:ext uri="{FF2B5EF4-FFF2-40B4-BE49-F238E27FC236}">
                    <a16:creationId xmlns:a16="http://schemas.microsoft.com/office/drawing/2014/main" id="{99610A47-7944-4E6E-B672-C9CE03F4CC9B}"/>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3" name="Rectangle 842">
                <a:extLst>
                  <a:ext uri="{FF2B5EF4-FFF2-40B4-BE49-F238E27FC236}">
                    <a16:creationId xmlns:a16="http://schemas.microsoft.com/office/drawing/2014/main" id="{0DAA1973-78E3-4AE9-99F4-B8D36EC51AF3}"/>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4" name="Rectangle 843">
                <a:extLst>
                  <a:ext uri="{FF2B5EF4-FFF2-40B4-BE49-F238E27FC236}">
                    <a16:creationId xmlns:a16="http://schemas.microsoft.com/office/drawing/2014/main" id="{AA1646E4-9F11-4AF8-BC34-C035CDFBD0E4}"/>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5" name="Rectangle 844">
                <a:extLst>
                  <a:ext uri="{FF2B5EF4-FFF2-40B4-BE49-F238E27FC236}">
                    <a16:creationId xmlns:a16="http://schemas.microsoft.com/office/drawing/2014/main" id="{77465E9C-0376-4523-A65C-92D85EFE0772}"/>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6" name="Rectangle 845">
                <a:extLst>
                  <a:ext uri="{FF2B5EF4-FFF2-40B4-BE49-F238E27FC236}">
                    <a16:creationId xmlns:a16="http://schemas.microsoft.com/office/drawing/2014/main" id="{9567167A-0C00-4436-9CC0-0920421D5508}"/>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7" name="Rectangle 846">
                <a:extLst>
                  <a:ext uri="{FF2B5EF4-FFF2-40B4-BE49-F238E27FC236}">
                    <a16:creationId xmlns:a16="http://schemas.microsoft.com/office/drawing/2014/main" id="{C390F7F0-0A80-4AB7-8000-5A6B3A0074E0}"/>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8" name="Rectangle 847">
                <a:extLst>
                  <a:ext uri="{FF2B5EF4-FFF2-40B4-BE49-F238E27FC236}">
                    <a16:creationId xmlns:a16="http://schemas.microsoft.com/office/drawing/2014/main" id="{70C6E4C9-4FE5-479A-A979-AF79FC1F00A0}"/>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9" name="Rectangle 848">
                <a:extLst>
                  <a:ext uri="{FF2B5EF4-FFF2-40B4-BE49-F238E27FC236}">
                    <a16:creationId xmlns:a16="http://schemas.microsoft.com/office/drawing/2014/main" id="{4A259700-96AA-407B-9505-135E63074CDA}"/>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0" name="Rectangle 849">
                <a:extLst>
                  <a:ext uri="{FF2B5EF4-FFF2-40B4-BE49-F238E27FC236}">
                    <a16:creationId xmlns:a16="http://schemas.microsoft.com/office/drawing/2014/main" id="{3E995B1E-BECE-4EAF-9F33-9BB39FC23F92}"/>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1" name="Rectangle 850">
                <a:extLst>
                  <a:ext uri="{FF2B5EF4-FFF2-40B4-BE49-F238E27FC236}">
                    <a16:creationId xmlns:a16="http://schemas.microsoft.com/office/drawing/2014/main" id="{E22232E3-510C-4DD2-95AD-11D5D35588D4}"/>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2" name="Rectangle 851">
                <a:extLst>
                  <a:ext uri="{FF2B5EF4-FFF2-40B4-BE49-F238E27FC236}">
                    <a16:creationId xmlns:a16="http://schemas.microsoft.com/office/drawing/2014/main" id="{35681636-2D5A-4F66-892D-A46C4A89CBD2}"/>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3" name="Freeform 19">
                <a:extLst>
                  <a:ext uri="{FF2B5EF4-FFF2-40B4-BE49-F238E27FC236}">
                    <a16:creationId xmlns:a16="http://schemas.microsoft.com/office/drawing/2014/main" id="{867E8CA0-F8D3-4674-A4DE-904023B4CFB9}"/>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4" name="Freeform 20">
                <a:extLst>
                  <a:ext uri="{FF2B5EF4-FFF2-40B4-BE49-F238E27FC236}">
                    <a16:creationId xmlns:a16="http://schemas.microsoft.com/office/drawing/2014/main" id="{BB500D63-8BFB-46D4-8D00-912494289E86}"/>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5" name="Freeform 21">
                <a:extLst>
                  <a:ext uri="{FF2B5EF4-FFF2-40B4-BE49-F238E27FC236}">
                    <a16:creationId xmlns:a16="http://schemas.microsoft.com/office/drawing/2014/main" id="{374D30F7-2E9C-489B-91A6-04A7F0AA7BEB}"/>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6" name="Rectangle 855">
                <a:extLst>
                  <a:ext uri="{FF2B5EF4-FFF2-40B4-BE49-F238E27FC236}">
                    <a16:creationId xmlns:a16="http://schemas.microsoft.com/office/drawing/2014/main" id="{BF061CBA-5E61-4146-89C3-DB99CBF46067}"/>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7" name="Rectangle 856">
                <a:extLst>
                  <a:ext uri="{FF2B5EF4-FFF2-40B4-BE49-F238E27FC236}">
                    <a16:creationId xmlns:a16="http://schemas.microsoft.com/office/drawing/2014/main" id="{43FE9DE4-C28C-4622-B326-11A925F99C02}"/>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8" name="Rectangle 857">
                <a:extLst>
                  <a:ext uri="{FF2B5EF4-FFF2-40B4-BE49-F238E27FC236}">
                    <a16:creationId xmlns:a16="http://schemas.microsoft.com/office/drawing/2014/main" id="{CB47A05F-7C9E-4910-9ECF-E1867B26EE8C}"/>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9" name="Rectangle 858">
                <a:extLst>
                  <a:ext uri="{FF2B5EF4-FFF2-40B4-BE49-F238E27FC236}">
                    <a16:creationId xmlns:a16="http://schemas.microsoft.com/office/drawing/2014/main" id="{372B3DFD-1A8E-4667-BC86-134C78538112}"/>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0" name="Rectangle 859">
                <a:extLst>
                  <a:ext uri="{FF2B5EF4-FFF2-40B4-BE49-F238E27FC236}">
                    <a16:creationId xmlns:a16="http://schemas.microsoft.com/office/drawing/2014/main" id="{1D14F3D5-CB4E-4291-B65C-B0AF1ADDA1A8}"/>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1" name="Rectangle 860">
                <a:extLst>
                  <a:ext uri="{FF2B5EF4-FFF2-40B4-BE49-F238E27FC236}">
                    <a16:creationId xmlns:a16="http://schemas.microsoft.com/office/drawing/2014/main" id="{C9DB3D3B-FEB4-44AE-BAAB-6952527A3216}"/>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2" name="Rectangle 861">
                <a:extLst>
                  <a:ext uri="{FF2B5EF4-FFF2-40B4-BE49-F238E27FC236}">
                    <a16:creationId xmlns:a16="http://schemas.microsoft.com/office/drawing/2014/main" id="{DC3CDA14-6216-4F10-97C1-B889193E4585}"/>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3" name="Rectangle 862">
                <a:extLst>
                  <a:ext uri="{FF2B5EF4-FFF2-40B4-BE49-F238E27FC236}">
                    <a16:creationId xmlns:a16="http://schemas.microsoft.com/office/drawing/2014/main" id="{6E1C732B-A309-4823-A4B1-AAC84E66EF53}"/>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4" name="Rectangle 863">
                <a:extLst>
                  <a:ext uri="{FF2B5EF4-FFF2-40B4-BE49-F238E27FC236}">
                    <a16:creationId xmlns:a16="http://schemas.microsoft.com/office/drawing/2014/main" id="{A53F0616-0690-4B77-9269-D90A97B4DA8C}"/>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5" name="Rectangle 864">
                <a:extLst>
                  <a:ext uri="{FF2B5EF4-FFF2-40B4-BE49-F238E27FC236}">
                    <a16:creationId xmlns:a16="http://schemas.microsoft.com/office/drawing/2014/main" id="{7E716483-C602-4D33-87E5-F657E510222B}"/>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6" name="Rectangle 865">
                <a:extLst>
                  <a:ext uri="{FF2B5EF4-FFF2-40B4-BE49-F238E27FC236}">
                    <a16:creationId xmlns:a16="http://schemas.microsoft.com/office/drawing/2014/main" id="{34AA8D0B-D4A0-4C7E-B27F-B16B14D6F517}"/>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7" name="Freeform 33">
                <a:extLst>
                  <a:ext uri="{FF2B5EF4-FFF2-40B4-BE49-F238E27FC236}">
                    <a16:creationId xmlns:a16="http://schemas.microsoft.com/office/drawing/2014/main" id="{C2E34810-B5C4-42F7-BC06-A96C77D70C15}"/>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8" name="Freeform 34">
                <a:extLst>
                  <a:ext uri="{FF2B5EF4-FFF2-40B4-BE49-F238E27FC236}">
                    <a16:creationId xmlns:a16="http://schemas.microsoft.com/office/drawing/2014/main" id="{693829AF-27DF-43C5-B600-3DA6E40A400F}"/>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9" name="Freeform 36">
                <a:extLst>
                  <a:ext uri="{FF2B5EF4-FFF2-40B4-BE49-F238E27FC236}">
                    <a16:creationId xmlns:a16="http://schemas.microsoft.com/office/drawing/2014/main" id="{3AC1945B-E515-41C2-9DCA-AF6E6B664D08}"/>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0" name="Freeform 37">
                <a:extLst>
                  <a:ext uri="{FF2B5EF4-FFF2-40B4-BE49-F238E27FC236}">
                    <a16:creationId xmlns:a16="http://schemas.microsoft.com/office/drawing/2014/main" id="{10335611-B32C-4D73-A585-9C32576D866B}"/>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1" name="Freeform 38">
                <a:extLst>
                  <a:ext uri="{FF2B5EF4-FFF2-40B4-BE49-F238E27FC236}">
                    <a16:creationId xmlns:a16="http://schemas.microsoft.com/office/drawing/2014/main" id="{3D1518EB-24D9-4627-B051-6A7FCCF898A6}"/>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2" name="Freeform 39">
                <a:extLst>
                  <a:ext uri="{FF2B5EF4-FFF2-40B4-BE49-F238E27FC236}">
                    <a16:creationId xmlns:a16="http://schemas.microsoft.com/office/drawing/2014/main" id="{FA5B060D-225D-4064-9F1B-6A92EDF4A55C}"/>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3" name="Freeform 40">
                <a:extLst>
                  <a:ext uri="{FF2B5EF4-FFF2-40B4-BE49-F238E27FC236}">
                    <a16:creationId xmlns:a16="http://schemas.microsoft.com/office/drawing/2014/main" id="{4067AD2C-AE74-44EE-9348-2C758EBC3805}"/>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4" name="Freeform 41">
                <a:extLst>
                  <a:ext uri="{FF2B5EF4-FFF2-40B4-BE49-F238E27FC236}">
                    <a16:creationId xmlns:a16="http://schemas.microsoft.com/office/drawing/2014/main" id="{C54BD3F0-F824-42D2-9240-DED24316DE7D}"/>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5" name="Freeform 42">
                <a:extLst>
                  <a:ext uri="{FF2B5EF4-FFF2-40B4-BE49-F238E27FC236}">
                    <a16:creationId xmlns:a16="http://schemas.microsoft.com/office/drawing/2014/main" id="{A943B46D-EAF9-4D2A-A596-0D87C7C0CF68}"/>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6" name="Freeform 43">
                <a:extLst>
                  <a:ext uri="{FF2B5EF4-FFF2-40B4-BE49-F238E27FC236}">
                    <a16:creationId xmlns:a16="http://schemas.microsoft.com/office/drawing/2014/main" id="{46D28B85-8B8D-4BB6-8F7D-A3AEEF8CA8EA}"/>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7" name="Freeform 44">
                <a:extLst>
                  <a:ext uri="{FF2B5EF4-FFF2-40B4-BE49-F238E27FC236}">
                    <a16:creationId xmlns:a16="http://schemas.microsoft.com/office/drawing/2014/main" id="{073BDEB3-E71F-4BAD-9310-BA7C0E0F9E0D}"/>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8" name="Freeform 45">
                <a:extLst>
                  <a:ext uri="{FF2B5EF4-FFF2-40B4-BE49-F238E27FC236}">
                    <a16:creationId xmlns:a16="http://schemas.microsoft.com/office/drawing/2014/main" id="{9FC4B3B6-EA79-45AF-879C-68511D41B0CF}"/>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9" name="Rectangle 46">
                <a:extLst>
                  <a:ext uri="{FF2B5EF4-FFF2-40B4-BE49-F238E27FC236}">
                    <a16:creationId xmlns:a16="http://schemas.microsoft.com/office/drawing/2014/main" id="{DB4896D5-EAC1-4C0B-9463-EA6147F940F3}"/>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80" name="Rectangle 47">
                <a:extLst>
                  <a:ext uri="{FF2B5EF4-FFF2-40B4-BE49-F238E27FC236}">
                    <a16:creationId xmlns:a16="http://schemas.microsoft.com/office/drawing/2014/main" id="{39BA7C42-8392-40D1-ACEA-16BCCE82B645}"/>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81" name="Freeform 48">
                <a:extLst>
                  <a:ext uri="{FF2B5EF4-FFF2-40B4-BE49-F238E27FC236}">
                    <a16:creationId xmlns:a16="http://schemas.microsoft.com/office/drawing/2014/main" id="{456BC1A9-66FF-4A83-A01A-458D9EE8C7EC}"/>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82" name="Freeform 49">
                <a:extLst>
                  <a:ext uri="{FF2B5EF4-FFF2-40B4-BE49-F238E27FC236}">
                    <a16:creationId xmlns:a16="http://schemas.microsoft.com/office/drawing/2014/main" id="{86FB1869-EAD2-424B-BBE9-5F4A3B11DA3F}"/>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83" name="Freeform 157">
                <a:extLst>
                  <a:ext uri="{FF2B5EF4-FFF2-40B4-BE49-F238E27FC236}">
                    <a16:creationId xmlns:a16="http://schemas.microsoft.com/office/drawing/2014/main" id="{97307FFC-1E42-4FE5-851E-7494D9499F84}"/>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84" name="Freeform 125">
                <a:extLst>
                  <a:ext uri="{FF2B5EF4-FFF2-40B4-BE49-F238E27FC236}">
                    <a16:creationId xmlns:a16="http://schemas.microsoft.com/office/drawing/2014/main" id="{738DC757-8576-476E-AB1B-DB766AB219A7}"/>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8C00"/>
                  </a:solidFill>
                  <a:effectLst/>
                  <a:uLnTx/>
                  <a:uFillTx/>
                  <a:latin typeface="Times New Roman" charset="0"/>
                  <a:ea typeface="ＭＳ Ｐゴシック" charset="0"/>
                </a:endParaRPr>
              </a:p>
            </p:txBody>
          </p:sp>
          <p:grpSp>
            <p:nvGrpSpPr>
              <p:cNvPr id="885" name="Group 884">
                <a:extLst>
                  <a:ext uri="{FF2B5EF4-FFF2-40B4-BE49-F238E27FC236}">
                    <a16:creationId xmlns:a16="http://schemas.microsoft.com/office/drawing/2014/main" id="{A56CD8F6-5E1B-4827-B623-C4F5F86C9412}"/>
                  </a:ext>
                </a:extLst>
              </p:cNvPr>
              <p:cNvGrpSpPr/>
              <p:nvPr/>
            </p:nvGrpSpPr>
            <p:grpSpPr>
              <a:xfrm>
                <a:off x="880735" y="3233589"/>
                <a:ext cx="4515429" cy="2553121"/>
                <a:chOff x="2267710" y="3645408"/>
                <a:chExt cx="1887955" cy="1067493"/>
              </a:xfrm>
              <a:solidFill>
                <a:schemeClr val="bg1">
                  <a:lumMod val="75000"/>
                </a:schemeClr>
              </a:solidFill>
            </p:grpSpPr>
            <p:sp>
              <p:nvSpPr>
                <p:cNvPr id="886" name="Freeform 151">
                  <a:extLst>
                    <a:ext uri="{FF2B5EF4-FFF2-40B4-BE49-F238E27FC236}">
                      <a16:creationId xmlns:a16="http://schemas.microsoft.com/office/drawing/2014/main" id="{AA4F5C45-CF5F-461B-B75B-BB55D036B150}"/>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7" name="Freeform 152">
                  <a:extLst>
                    <a:ext uri="{FF2B5EF4-FFF2-40B4-BE49-F238E27FC236}">
                      <a16:creationId xmlns:a16="http://schemas.microsoft.com/office/drawing/2014/main" id="{B2AD97F0-BFE7-4864-BC89-CF6CB0D8B9D4}"/>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8" name="Freeform 158">
                  <a:extLst>
                    <a:ext uri="{FF2B5EF4-FFF2-40B4-BE49-F238E27FC236}">
                      <a16:creationId xmlns:a16="http://schemas.microsoft.com/office/drawing/2014/main" id="{EA2C7F48-4E0C-4F00-B88B-AB95E483DAA5}"/>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9" name="Freeform 168">
                  <a:extLst>
                    <a:ext uri="{FF2B5EF4-FFF2-40B4-BE49-F238E27FC236}">
                      <a16:creationId xmlns:a16="http://schemas.microsoft.com/office/drawing/2014/main" id="{FE04A1EA-33E5-4D71-B189-6F89D42EA479}"/>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90" name="Group 889">
                  <a:extLst>
                    <a:ext uri="{FF2B5EF4-FFF2-40B4-BE49-F238E27FC236}">
                      <a16:creationId xmlns:a16="http://schemas.microsoft.com/office/drawing/2014/main" id="{E0B0610F-F99F-4FD1-AA4B-186B806C1284}"/>
                    </a:ext>
                  </a:extLst>
                </p:cNvPr>
                <p:cNvGrpSpPr/>
                <p:nvPr/>
              </p:nvGrpSpPr>
              <p:grpSpPr>
                <a:xfrm>
                  <a:off x="2677694" y="3839497"/>
                  <a:ext cx="1155716" cy="644026"/>
                  <a:chOff x="2726462" y="3839497"/>
                  <a:chExt cx="1155716" cy="644026"/>
                </a:xfrm>
                <a:grpFill/>
              </p:grpSpPr>
              <p:sp>
                <p:nvSpPr>
                  <p:cNvPr id="891" name="Freeform 153">
                    <a:extLst>
                      <a:ext uri="{FF2B5EF4-FFF2-40B4-BE49-F238E27FC236}">
                        <a16:creationId xmlns:a16="http://schemas.microsoft.com/office/drawing/2014/main" id="{E4414B90-34BA-400E-AD60-51D55652AA6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2" name="Freeform 154">
                    <a:extLst>
                      <a:ext uri="{FF2B5EF4-FFF2-40B4-BE49-F238E27FC236}">
                        <a16:creationId xmlns:a16="http://schemas.microsoft.com/office/drawing/2014/main" id="{71FEB9E5-2055-4D3B-918B-5126BBBEEE82}"/>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3" name="Freeform 155">
                    <a:extLst>
                      <a:ext uri="{FF2B5EF4-FFF2-40B4-BE49-F238E27FC236}">
                        <a16:creationId xmlns:a16="http://schemas.microsoft.com/office/drawing/2014/main" id="{BE43E8AD-86C3-4DB4-A736-30EE66EC1E02}"/>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4" name="Freeform 156">
                    <a:extLst>
                      <a:ext uri="{FF2B5EF4-FFF2-40B4-BE49-F238E27FC236}">
                        <a16:creationId xmlns:a16="http://schemas.microsoft.com/office/drawing/2014/main" id="{5EF9629A-F806-4C95-819D-9D1895113AF8}"/>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5" name="Freeform 157">
                    <a:extLst>
                      <a:ext uri="{FF2B5EF4-FFF2-40B4-BE49-F238E27FC236}">
                        <a16:creationId xmlns:a16="http://schemas.microsoft.com/office/drawing/2014/main" id="{ED9558AA-5306-4A45-99A4-D4737E4630CE}"/>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6" name="Freeform 159">
                    <a:extLst>
                      <a:ext uri="{FF2B5EF4-FFF2-40B4-BE49-F238E27FC236}">
                        <a16:creationId xmlns:a16="http://schemas.microsoft.com/office/drawing/2014/main" id="{D1CF8A3D-3AD6-40AE-A1F5-AD48AC34106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7" name="Freeform 160">
                    <a:extLst>
                      <a:ext uri="{FF2B5EF4-FFF2-40B4-BE49-F238E27FC236}">
                        <a16:creationId xmlns:a16="http://schemas.microsoft.com/office/drawing/2014/main" id="{26DA076D-FCF8-4E5E-8622-E162BDB9E2E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8" name="Freeform 161">
                    <a:extLst>
                      <a:ext uri="{FF2B5EF4-FFF2-40B4-BE49-F238E27FC236}">
                        <a16:creationId xmlns:a16="http://schemas.microsoft.com/office/drawing/2014/main" id="{FE74E20D-96C2-4C3F-B5B1-ADDC13BCA875}"/>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9" name="Freeform 162">
                    <a:extLst>
                      <a:ext uri="{FF2B5EF4-FFF2-40B4-BE49-F238E27FC236}">
                        <a16:creationId xmlns:a16="http://schemas.microsoft.com/office/drawing/2014/main" id="{5701A7CD-35A9-45A0-B9B7-B73D45C6AB9E}"/>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0" name="Freeform 163">
                    <a:extLst>
                      <a:ext uri="{FF2B5EF4-FFF2-40B4-BE49-F238E27FC236}">
                        <a16:creationId xmlns:a16="http://schemas.microsoft.com/office/drawing/2014/main" id="{FD0B29D3-7D19-49EB-A923-BDF8B0FAD19E}"/>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1" name="Freeform 164">
                    <a:extLst>
                      <a:ext uri="{FF2B5EF4-FFF2-40B4-BE49-F238E27FC236}">
                        <a16:creationId xmlns:a16="http://schemas.microsoft.com/office/drawing/2014/main" id="{85968C76-38BC-4B55-8B2B-901AE5E504B7}"/>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2" name="Freeform 165">
                    <a:extLst>
                      <a:ext uri="{FF2B5EF4-FFF2-40B4-BE49-F238E27FC236}">
                        <a16:creationId xmlns:a16="http://schemas.microsoft.com/office/drawing/2014/main" id="{6644C904-A181-4387-B77C-2A1488211A10}"/>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3" name="Freeform 166">
                    <a:extLst>
                      <a:ext uri="{FF2B5EF4-FFF2-40B4-BE49-F238E27FC236}">
                        <a16:creationId xmlns:a16="http://schemas.microsoft.com/office/drawing/2014/main" id="{9735524E-E285-4AC3-824F-A5A03367C9D4}"/>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4" name="Freeform 167">
                    <a:extLst>
                      <a:ext uri="{FF2B5EF4-FFF2-40B4-BE49-F238E27FC236}">
                        <a16:creationId xmlns:a16="http://schemas.microsoft.com/office/drawing/2014/main" id="{D51B4055-D0BB-42D7-820C-71B61579BDF7}"/>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5" name="Freeform 169">
                    <a:extLst>
                      <a:ext uri="{FF2B5EF4-FFF2-40B4-BE49-F238E27FC236}">
                        <a16:creationId xmlns:a16="http://schemas.microsoft.com/office/drawing/2014/main" id="{5F5C615F-A067-49E4-BE62-A35F797EE743}"/>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6" name="Freeform 170">
                    <a:extLst>
                      <a:ext uri="{FF2B5EF4-FFF2-40B4-BE49-F238E27FC236}">
                        <a16:creationId xmlns:a16="http://schemas.microsoft.com/office/drawing/2014/main" id="{D416392F-B606-4B6E-AAED-61153876FEFC}"/>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7" name="Freeform 171">
                    <a:extLst>
                      <a:ext uri="{FF2B5EF4-FFF2-40B4-BE49-F238E27FC236}">
                        <a16:creationId xmlns:a16="http://schemas.microsoft.com/office/drawing/2014/main" id="{30C76625-6988-4F16-8D51-AE8D6588733D}"/>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8" name="Freeform 172">
                    <a:extLst>
                      <a:ext uri="{FF2B5EF4-FFF2-40B4-BE49-F238E27FC236}">
                        <a16:creationId xmlns:a16="http://schemas.microsoft.com/office/drawing/2014/main" id="{BFF9F4E0-A947-4949-9278-28C53FDB5559}"/>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9" name="Freeform 173">
                    <a:extLst>
                      <a:ext uri="{FF2B5EF4-FFF2-40B4-BE49-F238E27FC236}">
                        <a16:creationId xmlns:a16="http://schemas.microsoft.com/office/drawing/2014/main" id="{827F30E3-53F4-40DD-AD7A-4CBC7245F03C}"/>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0" name="Freeform 174">
                    <a:extLst>
                      <a:ext uri="{FF2B5EF4-FFF2-40B4-BE49-F238E27FC236}">
                        <a16:creationId xmlns:a16="http://schemas.microsoft.com/office/drawing/2014/main" id="{4C3FCEA9-E001-40EE-8220-5766C303D1DB}"/>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1" name="Freeform 175">
                    <a:extLst>
                      <a:ext uri="{FF2B5EF4-FFF2-40B4-BE49-F238E27FC236}">
                        <a16:creationId xmlns:a16="http://schemas.microsoft.com/office/drawing/2014/main" id="{0177CF66-10B3-4D9A-A3A2-D18A8812E239}"/>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2" name="Freeform 176">
                    <a:extLst>
                      <a:ext uri="{FF2B5EF4-FFF2-40B4-BE49-F238E27FC236}">
                        <a16:creationId xmlns:a16="http://schemas.microsoft.com/office/drawing/2014/main" id="{03E61E6D-C577-4B64-B1A4-CB2736C75045}"/>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3" name="Freeform 177">
                    <a:extLst>
                      <a:ext uri="{FF2B5EF4-FFF2-40B4-BE49-F238E27FC236}">
                        <a16:creationId xmlns:a16="http://schemas.microsoft.com/office/drawing/2014/main" id="{A51B7639-D181-4E01-B3BB-43B0FCCF51C8}"/>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4" name="Freeform 186">
                    <a:extLst>
                      <a:ext uri="{FF2B5EF4-FFF2-40B4-BE49-F238E27FC236}">
                        <a16:creationId xmlns:a16="http://schemas.microsoft.com/office/drawing/2014/main" id="{290456A3-7CF2-458B-AFEC-EB8E60BBC152}"/>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5" name="Freeform 187">
                    <a:extLst>
                      <a:ext uri="{FF2B5EF4-FFF2-40B4-BE49-F238E27FC236}">
                        <a16:creationId xmlns:a16="http://schemas.microsoft.com/office/drawing/2014/main" id="{67F40899-210C-42C1-83FE-D206D5704C40}"/>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6" name="Freeform 188">
                    <a:extLst>
                      <a:ext uri="{FF2B5EF4-FFF2-40B4-BE49-F238E27FC236}">
                        <a16:creationId xmlns:a16="http://schemas.microsoft.com/office/drawing/2014/main" id="{1BA27CC2-4541-4CF1-8B33-D862841D5FA0}"/>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7" name="Freeform 189">
                    <a:extLst>
                      <a:ext uri="{FF2B5EF4-FFF2-40B4-BE49-F238E27FC236}">
                        <a16:creationId xmlns:a16="http://schemas.microsoft.com/office/drawing/2014/main" id="{D27AC3A3-0FCB-49B2-B374-A7297F375839}"/>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8" name="Freeform 190">
                    <a:extLst>
                      <a:ext uri="{FF2B5EF4-FFF2-40B4-BE49-F238E27FC236}">
                        <a16:creationId xmlns:a16="http://schemas.microsoft.com/office/drawing/2014/main" id="{81C8133C-4DC2-461A-B3BC-8F34779A8E3E}"/>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834" name="Group 833">
              <a:extLst>
                <a:ext uri="{FF2B5EF4-FFF2-40B4-BE49-F238E27FC236}">
                  <a16:creationId xmlns:a16="http://schemas.microsoft.com/office/drawing/2014/main" id="{F788D2AC-6A58-4274-A64D-7F4F8A4A074D}"/>
                </a:ext>
              </a:extLst>
            </p:cNvPr>
            <p:cNvGrpSpPr/>
            <p:nvPr/>
          </p:nvGrpSpPr>
          <p:grpSpPr>
            <a:xfrm>
              <a:off x="3852490" y="3233304"/>
              <a:ext cx="3961965" cy="3329442"/>
              <a:chOff x="3484242" y="3413760"/>
              <a:chExt cx="1656542" cy="1392080"/>
            </a:xfrm>
          </p:grpSpPr>
          <p:sp>
            <p:nvSpPr>
              <p:cNvPr id="835" name="Freeform: Shape 834">
                <a:extLst>
                  <a:ext uri="{FF2B5EF4-FFF2-40B4-BE49-F238E27FC236}">
                    <a16:creationId xmlns:a16="http://schemas.microsoft.com/office/drawing/2014/main" id="{17A13BBD-D203-406C-8208-9E709F11FA4C}"/>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6" name="Freeform: Shape 835">
                <a:extLst>
                  <a:ext uri="{FF2B5EF4-FFF2-40B4-BE49-F238E27FC236}">
                    <a16:creationId xmlns:a16="http://schemas.microsoft.com/office/drawing/2014/main" id="{851BE08B-11A0-44E2-BC93-215D490C0CEB}"/>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7" name="Freeform 164">
                <a:extLst>
                  <a:ext uri="{FF2B5EF4-FFF2-40B4-BE49-F238E27FC236}">
                    <a16:creationId xmlns:a16="http://schemas.microsoft.com/office/drawing/2014/main" id="{CD0E523F-CCA1-4789-98A0-6FC6680CEBB8}"/>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grpSp>
        <p:nvGrpSpPr>
          <p:cNvPr id="1386" name="Group 1385">
            <a:extLst>
              <a:ext uri="{FF2B5EF4-FFF2-40B4-BE49-F238E27FC236}">
                <a16:creationId xmlns:a16="http://schemas.microsoft.com/office/drawing/2014/main" id="{65D44FC0-DEF9-40C9-A701-1DF4AFEAF891}"/>
              </a:ext>
            </a:extLst>
          </p:cNvPr>
          <p:cNvGrpSpPr/>
          <p:nvPr/>
        </p:nvGrpSpPr>
        <p:grpSpPr>
          <a:xfrm>
            <a:off x="3124214" y="2758441"/>
            <a:ext cx="1120333" cy="385043"/>
            <a:chOff x="8598308" y="5131729"/>
            <a:chExt cx="2593567" cy="965651"/>
          </a:xfrm>
        </p:grpSpPr>
        <p:grpSp>
          <p:nvGrpSpPr>
            <p:cNvPr id="1387" name="Group 1386">
              <a:extLst>
                <a:ext uri="{FF2B5EF4-FFF2-40B4-BE49-F238E27FC236}">
                  <a16:creationId xmlns:a16="http://schemas.microsoft.com/office/drawing/2014/main" id="{6EB07175-8727-4114-B976-363BC3A469F7}"/>
                </a:ext>
              </a:extLst>
            </p:cNvPr>
            <p:cNvGrpSpPr>
              <a:grpSpLocks noChangeAspect="1"/>
            </p:cNvGrpSpPr>
            <p:nvPr/>
          </p:nvGrpSpPr>
          <p:grpSpPr>
            <a:xfrm>
              <a:off x="8706960" y="5131729"/>
              <a:ext cx="2361059" cy="927114"/>
              <a:chOff x="13708063" y="7653374"/>
              <a:chExt cx="17978438" cy="7059577"/>
            </a:xfrm>
          </p:grpSpPr>
          <p:sp>
            <p:nvSpPr>
              <p:cNvPr id="1389" name="Freeform 5">
                <a:extLst>
                  <a:ext uri="{FF2B5EF4-FFF2-40B4-BE49-F238E27FC236}">
                    <a16:creationId xmlns:a16="http://schemas.microsoft.com/office/drawing/2014/main" id="{457D5BF5-7C9F-41BE-AB85-7E0602F8A502}"/>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0" name="Freeform 6">
                <a:extLst>
                  <a:ext uri="{FF2B5EF4-FFF2-40B4-BE49-F238E27FC236}">
                    <a16:creationId xmlns:a16="http://schemas.microsoft.com/office/drawing/2014/main" id="{EE1B4CF3-AAA3-410F-91EF-3629A02EC54E}"/>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1" name="Freeform 7">
                <a:extLst>
                  <a:ext uri="{FF2B5EF4-FFF2-40B4-BE49-F238E27FC236}">
                    <a16:creationId xmlns:a16="http://schemas.microsoft.com/office/drawing/2014/main" id="{85293568-4F25-4C19-B98C-CC3B21AFD9EA}"/>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2" name="Freeform 8">
                <a:extLst>
                  <a:ext uri="{FF2B5EF4-FFF2-40B4-BE49-F238E27FC236}">
                    <a16:creationId xmlns:a16="http://schemas.microsoft.com/office/drawing/2014/main" id="{43114FF7-0EC4-4AC2-A485-E49A5752D782}"/>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3" name="Freeform 9">
                <a:extLst>
                  <a:ext uri="{FF2B5EF4-FFF2-40B4-BE49-F238E27FC236}">
                    <a16:creationId xmlns:a16="http://schemas.microsoft.com/office/drawing/2014/main" id="{12D0266D-DE01-4A82-9F14-A03392461D6C}"/>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4" name="Freeform 10">
                <a:extLst>
                  <a:ext uri="{FF2B5EF4-FFF2-40B4-BE49-F238E27FC236}">
                    <a16:creationId xmlns:a16="http://schemas.microsoft.com/office/drawing/2014/main" id="{4CD48387-562F-4FDF-A7F8-F60994EAC27A}"/>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5" name="Freeform 11">
                <a:extLst>
                  <a:ext uri="{FF2B5EF4-FFF2-40B4-BE49-F238E27FC236}">
                    <a16:creationId xmlns:a16="http://schemas.microsoft.com/office/drawing/2014/main" id="{BC90BD6F-A82B-4E79-BDDB-A6323D6A69CA}"/>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6" name="Freeform 12">
                <a:extLst>
                  <a:ext uri="{FF2B5EF4-FFF2-40B4-BE49-F238E27FC236}">
                    <a16:creationId xmlns:a16="http://schemas.microsoft.com/office/drawing/2014/main" id="{952074EC-4B8D-4E0C-BCF4-2685B007D289}"/>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7" name="Freeform 13">
                <a:extLst>
                  <a:ext uri="{FF2B5EF4-FFF2-40B4-BE49-F238E27FC236}">
                    <a16:creationId xmlns:a16="http://schemas.microsoft.com/office/drawing/2014/main" id="{E1A416E8-D939-48E3-B9B2-48B5093D063D}"/>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8" name="Freeform 14">
                <a:extLst>
                  <a:ext uri="{FF2B5EF4-FFF2-40B4-BE49-F238E27FC236}">
                    <a16:creationId xmlns:a16="http://schemas.microsoft.com/office/drawing/2014/main" id="{2B5AA2AF-E8C2-4BD1-B175-F12DF10E37DC}"/>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9" name="Freeform 15">
                <a:extLst>
                  <a:ext uri="{FF2B5EF4-FFF2-40B4-BE49-F238E27FC236}">
                    <a16:creationId xmlns:a16="http://schemas.microsoft.com/office/drawing/2014/main" id="{A65A1DB8-F9AC-4625-A6EB-2BCDBE3EE1A2}"/>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0" name="Freeform 16">
                <a:extLst>
                  <a:ext uri="{FF2B5EF4-FFF2-40B4-BE49-F238E27FC236}">
                    <a16:creationId xmlns:a16="http://schemas.microsoft.com/office/drawing/2014/main" id="{20282904-860C-488D-91C9-2B02D4259F6E}"/>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1" name="Freeform 17">
                <a:extLst>
                  <a:ext uri="{FF2B5EF4-FFF2-40B4-BE49-F238E27FC236}">
                    <a16:creationId xmlns:a16="http://schemas.microsoft.com/office/drawing/2014/main" id="{1A80B716-31E2-464E-8D5D-2406DEC99F3C}"/>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2" name="Freeform 18">
                <a:extLst>
                  <a:ext uri="{FF2B5EF4-FFF2-40B4-BE49-F238E27FC236}">
                    <a16:creationId xmlns:a16="http://schemas.microsoft.com/office/drawing/2014/main" id="{6402035C-79EF-49BA-AD33-73AB1D8183E6}"/>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3" name="Freeform 19">
                <a:extLst>
                  <a:ext uri="{FF2B5EF4-FFF2-40B4-BE49-F238E27FC236}">
                    <a16:creationId xmlns:a16="http://schemas.microsoft.com/office/drawing/2014/main" id="{72195BB7-C35E-484F-AC8E-60C68DB75DEB}"/>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4" name="Freeform 20">
                <a:extLst>
                  <a:ext uri="{FF2B5EF4-FFF2-40B4-BE49-F238E27FC236}">
                    <a16:creationId xmlns:a16="http://schemas.microsoft.com/office/drawing/2014/main" id="{41D00715-8DF1-48DE-A6EA-824161881474}"/>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5" name="Freeform 21">
                <a:extLst>
                  <a:ext uri="{FF2B5EF4-FFF2-40B4-BE49-F238E27FC236}">
                    <a16:creationId xmlns:a16="http://schemas.microsoft.com/office/drawing/2014/main" id="{673CE09E-F273-4A36-8A99-D9DC683CBBC7}"/>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6" name="Freeform 22">
                <a:extLst>
                  <a:ext uri="{FF2B5EF4-FFF2-40B4-BE49-F238E27FC236}">
                    <a16:creationId xmlns:a16="http://schemas.microsoft.com/office/drawing/2014/main" id="{12EF1AAF-BFFF-4FC4-9EFC-6CFC8A23911D}"/>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7" name="Freeform 23">
                <a:extLst>
                  <a:ext uri="{FF2B5EF4-FFF2-40B4-BE49-F238E27FC236}">
                    <a16:creationId xmlns:a16="http://schemas.microsoft.com/office/drawing/2014/main" id="{1D0BA961-7693-44F5-9680-F769993B3DA7}"/>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8" name="Freeform 24">
                <a:extLst>
                  <a:ext uri="{FF2B5EF4-FFF2-40B4-BE49-F238E27FC236}">
                    <a16:creationId xmlns:a16="http://schemas.microsoft.com/office/drawing/2014/main" id="{C2A29FA7-4E98-4278-AB5F-E5A546A8AD10}"/>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9" name="Freeform 25">
                <a:extLst>
                  <a:ext uri="{FF2B5EF4-FFF2-40B4-BE49-F238E27FC236}">
                    <a16:creationId xmlns:a16="http://schemas.microsoft.com/office/drawing/2014/main" id="{4A470C41-8356-4C92-B3FC-9B430EC22403}"/>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0" name="Freeform 26">
                <a:extLst>
                  <a:ext uri="{FF2B5EF4-FFF2-40B4-BE49-F238E27FC236}">
                    <a16:creationId xmlns:a16="http://schemas.microsoft.com/office/drawing/2014/main" id="{7F5EFA3A-38EF-4765-8B40-5FE84BBAEEAC}"/>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1" name="Freeform 27">
                <a:extLst>
                  <a:ext uri="{FF2B5EF4-FFF2-40B4-BE49-F238E27FC236}">
                    <a16:creationId xmlns:a16="http://schemas.microsoft.com/office/drawing/2014/main" id="{167AD395-4A02-4892-BBE1-3FA9AEC43F53}"/>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2" name="Freeform 28">
                <a:extLst>
                  <a:ext uri="{FF2B5EF4-FFF2-40B4-BE49-F238E27FC236}">
                    <a16:creationId xmlns:a16="http://schemas.microsoft.com/office/drawing/2014/main" id="{A6CA6182-E343-4C8E-B593-288FB5B5E3F8}"/>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3" name="Freeform 30">
                <a:extLst>
                  <a:ext uri="{FF2B5EF4-FFF2-40B4-BE49-F238E27FC236}">
                    <a16:creationId xmlns:a16="http://schemas.microsoft.com/office/drawing/2014/main" id="{CB176F94-50D0-4972-9AE7-11C7F7F0AD50}"/>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4" name="Freeform 31">
                <a:extLst>
                  <a:ext uri="{FF2B5EF4-FFF2-40B4-BE49-F238E27FC236}">
                    <a16:creationId xmlns:a16="http://schemas.microsoft.com/office/drawing/2014/main" id="{F3C1F9C8-BFE5-4A16-B144-2B9C369190B4}"/>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5" name="Freeform 32">
                <a:extLst>
                  <a:ext uri="{FF2B5EF4-FFF2-40B4-BE49-F238E27FC236}">
                    <a16:creationId xmlns:a16="http://schemas.microsoft.com/office/drawing/2014/main" id="{63E75A02-DE80-4B02-9B69-0A18508C8E0D}"/>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6" name="Freeform 33">
                <a:extLst>
                  <a:ext uri="{FF2B5EF4-FFF2-40B4-BE49-F238E27FC236}">
                    <a16:creationId xmlns:a16="http://schemas.microsoft.com/office/drawing/2014/main" id="{458DF228-DA2D-4215-8310-07A5D717ECE9}"/>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7" name="Freeform 37">
                <a:extLst>
                  <a:ext uri="{FF2B5EF4-FFF2-40B4-BE49-F238E27FC236}">
                    <a16:creationId xmlns:a16="http://schemas.microsoft.com/office/drawing/2014/main" id="{F9A4794D-D4F6-46F1-89AA-DC12FAC1771E}"/>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8" name="Rectangle 38">
                <a:extLst>
                  <a:ext uri="{FF2B5EF4-FFF2-40B4-BE49-F238E27FC236}">
                    <a16:creationId xmlns:a16="http://schemas.microsoft.com/office/drawing/2014/main" id="{24DCE284-C929-4E96-B24B-D17BC425041A}"/>
                  </a:ext>
                </a:extLst>
              </p:cNvPr>
              <p:cNvSpPr>
                <a:spLocks noChangeArrowheads="1"/>
              </p:cNvSpPr>
              <p:nvPr/>
            </p:nvSpPr>
            <p:spPr bwMode="auto">
              <a:xfrm>
                <a:off x="17970018" y="7900981"/>
                <a:ext cx="4603121" cy="2632074"/>
              </a:xfrm>
              <a:prstGeom prst="rect">
                <a:avLst/>
              </a:prstGeom>
              <a:solidFill>
                <a:srgbClr val="00BC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9" name="Freeform 39">
                <a:extLst>
                  <a:ext uri="{FF2B5EF4-FFF2-40B4-BE49-F238E27FC236}">
                    <a16:creationId xmlns:a16="http://schemas.microsoft.com/office/drawing/2014/main" id="{E566AEA6-BCE9-4AB9-AEC2-CFDDD18F9BE1}"/>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0" name="Freeform 40">
                <a:extLst>
                  <a:ext uri="{FF2B5EF4-FFF2-40B4-BE49-F238E27FC236}">
                    <a16:creationId xmlns:a16="http://schemas.microsoft.com/office/drawing/2014/main" id="{E63975EB-5E32-4176-991C-7782B3FE062F}"/>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1" name="Freeform 41">
                <a:extLst>
                  <a:ext uri="{FF2B5EF4-FFF2-40B4-BE49-F238E27FC236}">
                    <a16:creationId xmlns:a16="http://schemas.microsoft.com/office/drawing/2014/main" id="{1637E3EC-1AB1-4B94-BB22-776EE756E1A1}"/>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2" name="Rectangle 42">
                <a:extLst>
                  <a:ext uri="{FF2B5EF4-FFF2-40B4-BE49-F238E27FC236}">
                    <a16:creationId xmlns:a16="http://schemas.microsoft.com/office/drawing/2014/main" id="{77A3C477-EC28-4475-B2FB-13FA98A5C62D}"/>
                  </a:ext>
                </a:extLst>
              </p:cNvPr>
              <p:cNvSpPr>
                <a:spLocks noChangeArrowheads="1"/>
              </p:cNvSpPr>
              <p:nvPr/>
            </p:nvSpPr>
            <p:spPr bwMode="auto">
              <a:xfrm>
                <a:off x="25590501" y="11085513"/>
                <a:ext cx="998538" cy="1984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3" name="Freeform 43">
                <a:extLst>
                  <a:ext uri="{FF2B5EF4-FFF2-40B4-BE49-F238E27FC236}">
                    <a16:creationId xmlns:a16="http://schemas.microsoft.com/office/drawing/2014/main" id="{829B4954-4932-481D-A835-83AF4BD0BB2E}"/>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4" name="Rectangle 44">
                <a:extLst>
                  <a:ext uri="{FF2B5EF4-FFF2-40B4-BE49-F238E27FC236}">
                    <a16:creationId xmlns:a16="http://schemas.microsoft.com/office/drawing/2014/main" id="{2C62815F-5179-4A69-A7B0-7C70516493AF}"/>
                  </a:ext>
                </a:extLst>
              </p:cNvPr>
              <p:cNvSpPr>
                <a:spLocks noChangeArrowheads="1"/>
              </p:cNvSpPr>
              <p:nvPr/>
            </p:nvSpPr>
            <p:spPr bwMode="auto">
              <a:xfrm>
                <a:off x="28171776" y="12095163"/>
                <a:ext cx="968375" cy="2000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5" name="Freeform 45">
                <a:extLst>
                  <a:ext uri="{FF2B5EF4-FFF2-40B4-BE49-F238E27FC236}">
                    <a16:creationId xmlns:a16="http://schemas.microsoft.com/office/drawing/2014/main" id="{0DC07D88-000D-431B-AA67-0374ADF732C8}"/>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6" name="Freeform 46">
                <a:extLst>
                  <a:ext uri="{FF2B5EF4-FFF2-40B4-BE49-F238E27FC236}">
                    <a16:creationId xmlns:a16="http://schemas.microsoft.com/office/drawing/2014/main" id="{13A3139F-87B6-44E4-8D34-A2B88177B5E8}"/>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solidFill>
                <a:srgbClr val="B957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7" name="Freeform 47">
                <a:extLst>
                  <a:ext uri="{FF2B5EF4-FFF2-40B4-BE49-F238E27FC236}">
                    <a16:creationId xmlns:a16="http://schemas.microsoft.com/office/drawing/2014/main" id="{AF80D2D5-A0D3-499F-86C4-277FCA297ECA}"/>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solidFill>
                <a:srgbClr val="00B29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8" name="Freeform 48">
                <a:extLst>
                  <a:ext uri="{FF2B5EF4-FFF2-40B4-BE49-F238E27FC236}">
                    <a16:creationId xmlns:a16="http://schemas.microsoft.com/office/drawing/2014/main" id="{9E56F482-D774-41A5-BAB8-C96A3DCCB3BE}"/>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9" name="Freeform 49">
                <a:extLst>
                  <a:ext uri="{FF2B5EF4-FFF2-40B4-BE49-F238E27FC236}">
                    <a16:creationId xmlns:a16="http://schemas.microsoft.com/office/drawing/2014/main" id="{7195265E-F7BA-4F23-8D58-D8B323870749}"/>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solidFill>
                <a:srgbClr val="008DB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0" name="Rectangle 50">
                <a:extLst>
                  <a:ext uri="{FF2B5EF4-FFF2-40B4-BE49-F238E27FC236}">
                    <a16:creationId xmlns:a16="http://schemas.microsoft.com/office/drawing/2014/main" id="{5CC5AC79-F866-4967-8ADB-6D1E24B53E70}"/>
                  </a:ext>
                </a:extLst>
              </p:cNvPr>
              <p:cNvSpPr>
                <a:spLocks noChangeArrowheads="1"/>
              </p:cNvSpPr>
              <p:nvPr/>
            </p:nvSpPr>
            <p:spPr bwMode="auto">
              <a:xfrm>
                <a:off x="27790339" y="9455158"/>
                <a:ext cx="2580131" cy="1674811"/>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1" name="Freeform 51">
                <a:extLst>
                  <a:ext uri="{FF2B5EF4-FFF2-40B4-BE49-F238E27FC236}">
                    <a16:creationId xmlns:a16="http://schemas.microsoft.com/office/drawing/2014/main" id="{BE73C70D-F40B-4162-A3D7-12FCD51DB785}"/>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2" name="Freeform 52">
                <a:extLst>
                  <a:ext uri="{FF2B5EF4-FFF2-40B4-BE49-F238E27FC236}">
                    <a16:creationId xmlns:a16="http://schemas.microsoft.com/office/drawing/2014/main" id="{CE754E0E-DD0E-425B-90A2-2B1FB052B89F}"/>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3" name="Freeform 53">
                <a:extLst>
                  <a:ext uri="{FF2B5EF4-FFF2-40B4-BE49-F238E27FC236}">
                    <a16:creationId xmlns:a16="http://schemas.microsoft.com/office/drawing/2014/main" id="{14F25617-9BC0-48F8-9AE4-749066E0A9B2}"/>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4" name="Freeform 54">
                <a:extLst>
                  <a:ext uri="{FF2B5EF4-FFF2-40B4-BE49-F238E27FC236}">
                    <a16:creationId xmlns:a16="http://schemas.microsoft.com/office/drawing/2014/main" id="{4DD77AEE-7E0D-4F31-822B-AC6D2D638828}"/>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5" name="Freeform 55">
                <a:extLst>
                  <a:ext uri="{FF2B5EF4-FFF2-40B4-BE49-F238E27FC236}">
                    <a16:creationId xmlns:a16="http://schemas.microsoft.com/office/drawing/2014/main" id="{E11A6AEF-DCC4-45F7-8E3F-402C14DAC238}"/>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6" name="Freeform 56">
                <a:extLst>
                  <a:ext uri="{FF2B5EF4-FFF2-40B4-BE49-F238E27FC236}">
                    <a16:creationId xmlns:a16="http://schemas.microsoft.com/office/drawing/2014/main" id="{6CAC2F21-F519-41D2-AC44-67BD7DD607FD}"/>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7" name="Freeform 57">
                <a:extLst>
                  <a:ext uri="{FF2B5EF4-FFF2-40B4-BE49-F238E27FC236}">
                    <a16:creationId xmlns:a16="http://schemas.microsoft.com/office/drawing/2014/main" id="{B1634BC9-B436-43C0-A289-7718ECFEDA64}"/>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8" name="Freeform 58">
                <a:extLst>
                  <a:ext uri="{FF2B5EF4-FFF2-40B4-BE49-F238E27FC236}">
                    <a16:creationId xmlns:a16="http://schemas.microsoft.com/office/drawing/2014/main" id="{ED83DF75-A5C3-42B6-9BF8-46546F9FDCC6}"/>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9" name="Freeform 59">
                <a:extLst>
                  <a:ext uri="{FF2B5EF4-FFF2-40B4-BE49-F238E27FC236}">
                    <a16:creationId xmlns:a16="http://schemas.microsoft.com/office/drawing/2014/main" id="{88A2FC4C-9836-499A-B91B-EF0426B69A4B}"/>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0" name="Freeform 60">
                <a:extLst>
                  <a:ext uri="{FF2B5EF4-FFF2-40B4-BE49-F238E27FC236}">
                    <a16:creationId xmlns:a16="http://schemas.microsoft.com/office/drawing/2014/main" id="{857E03DB-D2F6-45E4-8BBC-F8CFA45E2600}"/>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1" name="Freeform 61">
                <a:extLst>
                  <a:ext uri="{FF2B5EF4-FFF2-40B4-BE49-F238E27FC236}">
                    <a16:creationId xmlns:a16="http://schemas.microsoft.com/office/drawing/2014/main" id="{45751FA1-31F2-45C4-975B-16A2A9304AD7}"/>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2" name="Freeform 62">
                <a:extLst>
                  <a:ext uri="{FF2B5EF4-FFF2-40B4-BE49-F238E27FC236}">
                    <a16:creationId xmlns:a16="http://schemas.microsoft.com/office/drawing/2014/main" id="{B0BF7F77-B0DE-47C7-AAAD-22A78DF424E5}"/>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3" name="Freeform 63">
                <a:extLst>
                  <a:ext uri="{FF2B5EF4-FFF2-40B4-BE49-F238E27FC236}">
                    <a16:creationId xmlns:a16="http://schemas.microsoft.com/office/drawing/2014/main" id="{934F4E28-1998-45C7-906B-56A2B39AB3EA}"/>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4" name="Freeform 64">
                <a:extLst>
                  <a:ext uri="{FF2B5EF4-FFF2-40B4-BE49-F238E27FC236}">
                    <a16:creationId xmlns:a16="http://schemas.microsoft.com/office/drawing/2014/main" id="{228EA064-BD19-4CB1-A20E-8DF733D9BDEB}"/>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5" name="Freeform 65">
                <a:extLst>
                  <a:ext uri="{FF2B5EF4-FFF2-40B4-BE49-F238E27FC236}">
                    <a16:creationId xmlns:a16="http://schemas.microsoft.com/office/drawing/2014/main" id="{CD2204E2-0C94-487D-87E0-972ACFE803C4}"/>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6" name="Freeform 66">
                <a:extLst>
                  <a:ext uri="{FF2B5EF4-FFF2-40B4-BE49-F238E27FC236}">
                    <a16:creationId xmlns:a16="http://schemas.microsoft.com/office/drawing/2014/main" id="{5E685110-E104-4747-B0CA-9B8B339F3C62}"/>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7" name="Freeform 67">
                <a:extLst>
                  <a:ext uri="{FF2B5EF4-FFF2-40B4-BE49-F238E27FC236}">
                    <a16:creationId xmlns:a16="http://schemas.microsoft.com/office/drawing/2014/main" id="{83ACB1C2-BCE7-426D-84DF-9460361C5A61}"/>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8" name="Freeform 68">
                <a:extLst>
                  <a:ext uri="{FF2B5EF4-FFF2-40B4-BE49-F238E27FC236}">
                    <a16:creationId xmlns:a16="http://schemas.microsoft.com/office/drawing/2014/main" id="{B6773B7B-2906-4B58-90EB-7B7E0A0C500A}"/>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9" name="Freeform 69">
                <a:extLst>
                  <a:ext uri="{FF2B5EF4-FFF2-40B4-BE49-F238E27FC236}">
                    <a16:creationId xmlns:a16="http://schemas.microsoft.com/office/drawing/2014/main" id="{9835008C-A698-409F-AE96-D3AFDE99F93F}"/>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0" name="Freeform 70">
                <a:extLst>
                  <a:ext uri="{FF2B5EF4-FFF2-40B4-BE49-F238E27FC236}">
                    <a16:creationId xmlns:a16="http://schemas.microsoft.com/office/drawing/2014/main" id="{3AC5E7BC-830F-401B-AA2C-5B9804E38101}"/>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1" name="Freeform 71">
                <a:extLst>
                  <a:ext uri="{FF2B5EF4-FFF2-40B4-BE49-F238E27FC236}">
                    <a16:creationId xmlns:a16="http://schemas.microsoft.com/office/drawing/2014/main" id="{690A07E5-5734-491E-9377-F9C69999DEBD}"/>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2" name="Freeform 72">
                <a:extLst>
                  <a:ext uri="{FF2B5EF4-FFF2-40B4-BE49-F238E27FC236}">
                    <a16:creationId xmlns:a16="http://schemas.microsoft.com/office/drawing/2014/main" id="{5D8971EF-5A06-497A-A39F-60A36EB4F3DE}"/>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solidFill>
                <a:srgbClr val="00D8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3" name="Freeform 73">
                <a:extLst>
                  <a:ext uri="{FF2B5EF4-FFF2-40B4-BE49-F238E27FC236}">
                    <a16:creationId xmlns:a16="http://schemas.microsoft.com/office/drawing/2014/main" id="{3CBA1CD1-6B16-4AC7-8078-6A027BDE23FA}"/>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4" name="Freeform 74">
                <a:extLst>
                  <a:ext uri="{FF2B5EF4-FFF2-40B4-BE49-F238E27FC236}">
                    <a16:creationId xmlns:a16="http://schemas.microsoft.com/office/drawing/2014/main" id="{EE8837ED-66E3-4C89-85E1-E67D6713B62E}"/>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5" name="Freeform 75">
                <a:extLst>
                  <a:ext uri="{FF2B5EF4-FFF2-40B4-BE49-F238E27FC236}">
                    <a16:creationId xmlns:a16="http://schemas.microsoft.com/office/drawing/2014/main" id="{150E304F-FAFE-42CA-84B9-42E47179C01F}"/>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6" name="Freeform 76">
                <a:extLst>
                  <a:ext uri="{FF2B5EF4-FFF2-40B4-BE49-F238E27FC236}">
                    <a16:creationId xmlns:a16="http://schemas.microsoft.com/office/drawing/2014/main" id="{E83A8133-1F3F-4BB4-8911-C2602375A169}"/>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solidFill>
                <a:srgbClr val="00827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7" name="Freeform 77">
                <a:extLst>
                  <a:ext uri="{FF2B5EF4-FFF2-40B4-BE49-F238E27FC236}">
                    <a16:creationId xmlns:a16="http://schemas.microsoft.com/office/drawing/2014/main" id="{1D256B14-BF3C-4EDB-B5CE-BCAC194F3B76}"/>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solidFill>
                <a:srgbClr val="00827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8" name="Freeform 78">
                <a:extLst>
                  <a:ext uri="{FF2B5EF4-FFF2-40B4-BE49-F238E27FC236}">
                    <a16:creationId xmlns:a16="http://schemas.microsoft.com/office/drawing/2014/main" id="{895B0252-ECA2-4F8C-844B-96F931F2637C}"/>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9" name="Freeform 79">
                <a:extLst>
                  <a:ext uri="{FF2B5EF4-FFF2-40B4-BE49-F238E27FC236}">
                    <a16:creationId xmlns:a16="http://schemas.microsoft.com/office/drawing/2014/main" id="{B53CDD88-A1FB-45D2-B5D4-0132A4EC21E6}"/>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60" name="Freeform 80">
                <a:extLst>
                  <a:ext uri="{FF2B5EF4-FFF2-40B4-BE49-F238E27FC236}">
                    <a16:creationId xmlns:a16="http://schemas.microsoft.com/office/drawing/2014/main" id="{33D015AC-720A-464D-99AC-E96A7D104A21}"/>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61" name="Freeform 81">
                <a:extLst>
                  <a:ext uri="{FF2B5EF4-FFF2-40B4-BE49-F238E27FC236}">
                    <a16:creationId xmlns:a16="http://schemas.microsoft.com/office/drawing/2014/main" id="{7398CBD7-3F81-48A7-8A34-4C5F5D2782F7}"/>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1388" name="Rectangle 1387">
              <a:extLst>
                <a:ext uri="{FF2B5EF4-FFF2-40B4-BE49-F238E27FC236}">
                  <a16:creationId xmlns:a16="http://schemas.microsoft.com/office/drawing/2014/main" id="{B6DA2E9D-2460-41CB-BEAD-12784A189A3D}"/>
                </a:ext>
              </a:extLst>
            </p:cNvPr>
            <p:cNvSpPr/>
            <p:nvPr/>
          </p:nvSpPr>
          <p:spPr bwMode="auto">
            <a:xfrm>
              <a:off x="8598308" y="6051661"/>
              <a:ext cx="2593567" cy="45719"/>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sp>
        <p:nvSpPr>
          <p:cNvPr id="1036" name="Rectangle 1035">
            <a:extLst>
              <a:ext uri="{FF2B5EF4-FFF2-40B4-BE49-F238E27FC236}">
                <a16:creationId xmlns:a16="http://schemas.microsoft.com/office/drawing/2014/main" id="{4A7C7860-52BD-460F-AE1D-F8935ED914C5}"/>
              </a:ext>
            </a:extLst>
          </p:cNvPr>
          <p:cNvSpPr/>
          <p:nvPr/>
        </p:nvSpPr>
        <p:spPr bwMode="auto">
          <a:xfrm>
            <a:off x="975207" y="5293025"/>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trong Partner Ecosystem</a:t>
            </a:r>
          </a:p>
        </p:txBody>
      </p:sp>
      <p:sp>
        <p:nvSpPr>
          <p:cNvPr id="1385" name="TextBox 1384">
            <a:extLst>
              <a:ext uri="{FF2B5EF4-FFF2-40B4-BE49-F238E27FC236}">
                <a16:creationId xmlns:a16="http://schemas.microsoft.com/office/drawing/2014/main" id="{102AE47F-4122-41E5-8E62-FC8F30099224}"/>
              </a:ext>
            </a:extLst>
          </p:cNvPr>
          <p:cNvSpPr txBox="1"/>
          <p:nvPr/>
        </p:nvSpPr>
        <p:spPr>
          <a:xfrm>
            <a:off x="3178753" y="5605852"/>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altLang="zh-CN" dirty="0"/>
              <a:t>Extensive</a:t>
            </a:r>
            <a:r>
              <a:rPr lang="en-US" dirty="0"/>
              <a:t>, Integrated, &amp; </a:t>
            </a:r>
            <a:r>
              <a:rPr lang="en-US" altLang="zh-CN" dirty="0"/>
              <a:t>Experienced</a:t>
            </a:r>
            <a:endParaRPr lang="en-US" dirty="0"/>
          </a:p>
        </p:txBody>
      </p:sp>
      <p:grpSp>
        <p:nvGrpSpPr>
          <p:cNvPr id="1462" name="Group 1461">
            <a:extLst>
              <a:ext uri="{FF2B5EF4-FFF2-40B4-BE49-F238E27FC236}">
                <a16:creationId xmlns:a16="http://schemas.microsoft.com/office/drawing/2014/main" id="{0162614A-1ACB-4DC0-9663-AB3542CE8F04}"/>
              </a:ext>
            </a:extLst>
          </p:cNvPr>
          <p:cNvGrpSpPr>
            <a:grpSpLocks/>
          </p:cNvGrpSpPr>
          <p:nvPr/>
        </p:nvGrpSpPr>
        <p:grpSpPr>
          <a:xfrm>
            <a:off x="1133415" y="5615537"/>
            <a:ext cx="651068" cy="609601"/>
            <a:chOff x="5965396" y="2936940"/>
            <a:chExt cx="3001924" cy="2810728"/>
          </a:xfrm>
          <a:solidFill>
            <a:srgbClr val="BFBFBF"/>
          </a:solidFill>
        </p:grpSpPr>
        <p:sp>
          <p:nvSpPr>
            <p:cNvPr id="1463" name="Arc 1462">
              <a:extLst>
                <a:ext uri="{FF2B5EF4-FFF2-40B4-BE49-F238E27FC236}">
                  <a16:creationId xmlns:a16="http://schemas.microsoft.com/office/drawing/2014/main" id="{21694EB8-1171-4F89-AAA9-C16441A07385}"/>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1464" name="Group 1463">
              <a:extLst>
                <a:ext uri="{FF2B5EF4-FFF2-40B4-BE49-F238E27FC236}">
                  <a16:creationId xmlns:a16="http://schemas.microsoft.com/office/drawing/2014/main" id="{AE939155-4EAB-43BB-AD0E-A5B9E2E61118}"/>
                </a:ext>
              </a:extLst>
            </p:cNvPr>
            <p:cNvGrpSpPr/>
            <p:nvPr/>
          </p:nvGrpSpPr>
          <p:grpSpPr>
            <a:xfrm>
              <a:off x="6393887" y="4600791"/>
              <a:ext cx="2131513" cy="969039"/>
              <a:chOff x="6037944" y="4939646"/>
              <a:chExt cx="1762503" cy="801278"/>
            </a:xfrm>
            <a:grpFill/>
          </p:grpSpPr>
          <p:grpSp>
            <p:nvGrpSpPr>
              <p:cNvPr id="1485" name="Group 1484">
                <a:extLst>
                  <a:ext uri="{FF2B5EF4-FFF2-40B4-BE49-F238E27FC236}">
                    <a16:creationId xmlns:a16="http://schemas.microsoft.com/office/drawing/2014/main" id="{ADBA6025-6363-41D8-B7F4-C5BFC1861C51}"/>
                  </a:ext>
                </a:extLst>
              </p:cNvPr>
              <p:cNvGrpSpPr/>
              <p:nvPr/>
            </p:nvGrpSpPr>
            <p:grpSpPr>
              <a:xfrm>
                <a:off x="6056747" y="4972281"/>
                <a:ext cx="1718033" cy="610616"/>
                <a:chOff x="2058988" y="3915711"/>
                <a:chExt cx="1927661" cy="685122"/>
              </a:xfrm>
              <a:grpFill/>
            </p:grpSpPr>
            <p:sp>
              <p:nvSpPr>
                <p:cNvPr id="1497" name="Freeform 6">
                  <a:extLst>
                    <a:ext uri="{FF2B5EF4-FFF2-40B4-BE49-F238E27FC236}">
                      <a16:creationId xmlns:a16="http://schemas.microsoft.com/office/drawing/2014/main" id="{836B6D76-B72E-4872-A83A-78CF5ADEB7CF}"/>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498" name="Freeform 7">
                  <a:extLst>
                    <a:ext uri="{FF2B5EF4-FFF2-40B4-BE49-F238E27FC236}">
                      <a16:creationId xmlns:a16="http://schemas.microsoft.com/office/drawing/2014/main" id="{4E897A24-0790-48E1-8F78-117E1D8E7654}"/>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499" name="Freeform 8">
                  <a:extLst>
                    <a:ext uri="{FF2B5EF4-FFF2-40B4-BE49-F238E27FC236}">
                      <a16:creationId xmlns:a16="http://schemas.microsoft.com/office/drawing/2014/main" id="{EEB2FEA1-D0C9-4149-AD47-6B77954D5042}"/>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500" name="Freeform 9">
                  <a:extLst>
                    <a:ext uri="{FF2B5EF4-FFF2-40B4-BE49-F238E27FC236}">
                      <a16:creationId xmlns:a16="http://schemas.microsoft.com/office/drawing/2014/main" id="{1183BE5D-F3D2-4B72-8209-DB6AC262A56C}"/>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1" name="Freeform 10">
                  <a:extLst>
                    <a:ext uri="{FF2B5EF4-FFF2-40B4-BE49-F238E27FC236}">
                      <a16:creationId xmlns:a16="http://schemas.microsoft.com/office/drawing/2014/main" id="{43073B36-658A-47C2-84FD-6F418A63CCFE}"/>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2" name="Freeform 11">
                  <a:extLst>
                    <a:ext uri="{FF2B5EF4-FFF2-40B4-BE49-F238E27FC236}">
                      <a16:creationId xmlns:a16="http://schemas.microsoft.com/office/drawing/2014/main" id="{D9A01E18-4E4A-4A1E-9F1D-345DBB17FFEE}"/>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3" name="Freeform 12">
                  <a:extLst>
                    <a:ext uri="{FF2B5EF4-FFF2-40B4-BE49-F238E27FC236}">
                      <a16:creationId xmlns:a16="http://schemas.microsoft.com/office/drawing/2014/main" id="{DFED17D9-C3A0-4ADD-A041-13AC134395DA}"/>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4" name="Freeform 13">
                  <a:extLst>
                    <a:ext uri="{FF2B5EF4-FFF2-40B4-BE49-F238E27FC236}">
                      <a16:creationId xmlns:a16="http://schemas.microsoft.com/office/drawing/2014/main" id="{79DC2F15-55A8-49EF-80FB-9BBF8FB84420}"/>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5" name="Freeform 14">
                  <a:extLst>
                    <a:ext uri="{FF2B5EF4-FFF2-40B4-BE49-F238E27FC236}">
                      <a16:creationId xmlns:a16="http://schemas.microsoft.com/office/drawing/2014/main" id="{74975F21-E6F2-4ECF-ABD4-7CE07C0EFEFA}"/>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6" name="Freeform 15">
                  <a:extLst>
                    <a:ext uri="{FF2B5EF4-FFF2-40B4-BE49-F238E27FC236}">
                      <a16:creationId xmlns:a16="http://schemas.microsoft.com/office/drawing/2014/main" id="{75EDC4C8-D546-457F-935B-C115FA3CFEB1}"/>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7" name="Freeform 16">
                  <a:extLst>
                    <a:ext uri="{FF2B5EF4-FFF2-40B4-BE49-F238E27FC236}">
                      <a16:creationId xmlns:a16="http://schemas.microsoft.com/office/drawing/2014/main" id="{66E1839F-0B19-4FE6-9417-477E73E09EC3}"/>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8" name="Freeform 17">
                  <a:extLst>
                    <a:ext uri="{FF2B5EF4-FFF2-40B4-BE49-F238E27FC236}">
                      <a16:creationId xmlns:a16="http://schemas.microsoft.com/office/drawing/2014/main" id="{022E47F6-422B-4730-952A-90B98D5B301B}"/>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9" name="Freeform: Shape 1508">
                  <a:extLst>
                    <a:ext uri="{FF2B5EF4-FFF2-40B4-BE49-F238E27FC236}">
                      <a16:creationId xmlns:a16="http://schemas.microsoft.com/office/drawing/2014/main" id="{611444C9-426D-4C11-9918-A6F7140BBB57}"/>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510" name="Freeform 19">
                  <a:extLst>
                    <a:ext uri="{FF2B5EF4-FFF2-40B4-BE49-F238E27FC236}">
                      <a16:creationId xmlns:a16="http://schemas.microsoft.com/office/drawing/2014/main" id="{68B52120-5594-4178-A6A8-44F8972D90B0}"/>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1" name="Freeform 20">
                  <a:extLst>
                    <a:ext uri="{FF2B5EF4-FFF2-40B4-BE49-F238E27FC236}">
                      <a16:creationId xmlns:a16="http://schemas.microsoft.com/office/drawing/2014/main" id="{A5B67F97-EC04-46B8-868D-5DF050903775}"/>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2" name="Freeform 21">
                  <a:extLst>
                    <a:ext uri="{FF2B5EF4-FFF2-40B4-BE49-F238E27FC236}">
                      <a16:creationId xmlns:a16="http://schemas.microsoft.com/office/drawing/2014/main" id="{A264ECD2-50CD-45C7-91B7-E33C927DFA40}"/>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513" name="Freeform 23">
                  <a:extLst>
                    <a:ext uri="{FF2B5EF4-FFF2-40B4-BE49-F238E27FC236}">
                      <a16:creationId xmlns:a16="http://schemas.microsoft.com/office/drawing/2014/main" id="{424C11DA-428E-40CD-9127-C1E3A070F44B}"/>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514" name="Freeform 24">
                  <a:extLst>
                    <a:ext uri="{FF2B5EF4-FFF2-40B4-BE49-F238E27FC236}">
                      <a16:creationId xmlns:a16="http://schemas.microsoft.com/office/drawing/2014/main" id="{4CA643EE-A6D9-42DE-880F-FA1A6BFF8845}"/>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5" name="Freeform: Shape 1514">
                  <a:extLst>
                    <a:ext uri="{FF2B5EF4-FFF2-40B4-BE49-F238E27FC236}">
                      <a16:creationId xmlns:a16="http://schemas.microsoft.com/office/drawing/2014/main" id="{3C0E3771-57A2-4344-B153-FC04D8FF2094}"/>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516" name="Freeform 26">
                  <a:extLst>
                    <a:ext uri="{FF2B5EF4-FFF2-40B4-BE49-F238E27FC236}">
                      <a16:creationId xmlns:a16="http://schemas.microsoft.com/office/drawing/2014/main" id="{902DD112-E633-4CAC-92EA-A33BC67AB433}"/>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7" name="Freeform 27">
                  <a:extLst>
                    <a:ext uri="{FF2B5EF4-FFF2-40B4-BE49-F238E27FC236}">
                      <a16:creationId xmlns:a16="http://schemas.microsoft.com/office/drawing/2014/main" id="{D6A9CF08-C5E1-4A7B-9490-DB9441D6D739}"/>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8" name="Freeform 28">
                  <a:extLst>
                    <a:ext uri="{FF2B5EF4-FFF2-40B4-BE49-F238E27FC236}">
                      <a16:creationId xmlns:a16="http://schemas.microsoft.com/office/drawing/2014/main" id="{92798091-69C2-45F1-93B7-7E3701E9D95F}"/>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519" name="Freeform 29">
                  <a:extLst>
                    <a:ext uri="{FF2B5EF4-FFF2-40B4-BE49-F238E27FC236}">
                      <a16:creationId xmlns:a16="http://schemas.microsoft.com/office/drawing/2014/main" id="{D34E5821-ECAB-40BE-88B0-FF431B75D6E4}"/>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520" name="Freeform 30">
                  <a:extLst>
                    <a:ext uri="{FF2B5EF4-FFF2-40B4-BE49-F238E27FC236}">
                      <a16:creationId xmlns:a16="http://schemas.microsoft.com/office/drawing/2014/main" id="{8FFA8B71-7228-4413-87C4-7843080B5DFA}"/>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521" name="Freeform 31">
                  <a:extLst>
                    <a:ext uri="{FF2B5EF4-FFF2-40B4-BE49-F238E27FC236}">
                      <a16:creationId xmlns:a16="http://schemas.microsoft.com/office/drawing/2014/main" id="{99662963-B7BB-4191-A8A1-2778B0AC4C87}"/>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522" name="Freeform 22">
                  <a:extLst>
                    <a:ext uri="{FF2B5EF4-FFF2-40B4-BE49-F238E27FC236}">
                      <a16:creationId xmlns:a16="http://schemas.microsoft.com/office/drawing/2014/main" id="{E902C033-F326-4CB4-9DF9-1F04ECC5D515}"/>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486" name="Group 1485">
                <a:extLst>
                  <a:ext uri="{FF2B5EF4-FFF2-40B4-BE49-F238E27FC236}">
                    <a16:creationId xmlns:a16="http://schemas.microsoft.com/office/drawing/2014/main" id="{5FE7F87F-80D9-468B-902E-48C36F0A7030}"/>
                  </a:ext>
                </a:extLst>
              </p:cNvPr>
              <p:cNvGrpSpPr/>
              <p:nvPr/>
            </p:nvGrpSpPr>
            <p:grpSpPr>
              <a:xfrm>
                <a:off x="6037944" y="4939646"/>
                <a:ext cx="1762503" cy="801278"/>
                <a:chOff x="6066224" y="4894724"/>
                <a:chExt cx="2213813" cy="1006455"/>
              </a:xfrm>
              <a:grpFill/>
            </p:grpSpPr>
            <p:grpSp>
              <p:nvGrpSpPr>
                <p:cNvPr id="1487" name="Group 1486">
                  <a:extLst>
                    <a:ext uri="{FF2B5EF4-FFF2-40B4-BE49-F238E27FC236}">
                      <a16:creationId xmlns:a16="http://schemas.microsoft.com/office/drawing/2014/main" id="{6ED9413F-F2F0-4B34-A4E7-418641196E95}"/>
                    </a:ext>
                  </a:extLst>
                </p:cNvPr>
                <p:cNvGrpSpPr/>
                <p:nvPr/>
              </p:nvGrpSpPr>
              <p:grpSpPr>
                <a:xfrm>
                  <a:off x="6066224" y="4894724"/>
                  <a:ext cx="1082597" cy="1006455"/>
                  <a:chOff x="3869780" y="1229273"/>
                  <a:chExt cx="4710340" cy="4379047"/>
                </a:xfrm>
                <a:grpFill/>
              </p:grpSpPr>
              <p:sp>
                <p:nvSpPr>
                  <p:cNvPr id="1493" name="Freeform: Shape 1492">
                    <a:extLst>
                      <a:ext uri="{FF2B5EF4-FFF2-40B4-BE49-F238E27FC236}">
                        <a16:creationId xmlns:a16="http://schemas.microsoft.com/office/drawing/2014/main" id="{3C4F9089-12DF-43FD-9775-D60F2E8F3AF2}"/>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4" name="Rectangle 1493">
                    <a:extLst>
                      <a:ext uri="{FF2B5EF4-FFF2-40B4-BE49-F238E27FC236}">
                        <a16:creationId xmlns:a16="http://schemas.microsoft.com/office/drawing/2014/main" id="{81EAA7EE-8949-45E4-B0EB-E3B3E7A237CF}"/>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5" name="Freeform: Shape 1494">
                    <a:extLst>
                      <a:ext uri="{FF2B5EF4-FFF2-40B4-BE49-F238E27FC236}">
                        <a16:creationId xmlns:a16="http://schemas.microsoft.com/office/drawing/2014/main" id="{9BC4E0C5-D613-4CE5-9067-07F863D73BF7}"/>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6" name="Freeform: Shape 1495">
                    <a:extLst>
                      <a:ext uri="{FF2B5EF4-FFF2-40B4-BE49-F238E27FC236}">
                        <a16:creationId xmlns:a16="http://schemas.microsoft.com/office/drawing/2014/main" id="{1BDE7707-20C9-4A03-9B8E-6AF00672E6EB}"/>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488" name="Group 1487">
                  <a:extLst>
                    <a:ext uri="{FF2B5EF4-FFF2-40B4-BE49-F238E27FC236}">
                      <a16:creationId xmlns:a16="http://schemas.microsoft.com/office/drawing/2014/main" id="{DF1481ED-A04C-4D76-8518-EDAA6F18A18C}"/>
                    </a:ext>
                  </a:extLst>
                </p:cNvPr>
                <p:cNvGrpSpPr/>
                <p:nvPr/>
              </p:nvGrpSpPr>
              <p:grpSpPr>
                <a:xfrm flipH="1">
                  <a:off x="7197440" y="4894724"/>
                  <a:ext cx="1082597" cy="1006455"/>
                  <a:chOff x="3869780" y="1229273"/>
                  <a:chExt cx="4710340" cy="4379047"/>
                </a:xfrm>
                <a:grpFill/>
              </p:grpSpPr>
              <p:sp>
                <p:nvSpPr>
                  <p:cNvPr id="1489" name="Freeform: Shape 1488">
                    <a:extLst>
                      <a:ext uri="{FF2B5EF4-FFF2-40B4-BE49-F238E27FC236}">
                        <a16:creationId xmlns:a16="http://schemas.microsoft.com/office/drawing/2014/main" id="{966E7737-73E3-48C5-9B65-0F5CE78CF92D}"/>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0" name="Rectangle 1489">
                    <a:extLst>
                      <a:ext uri="{FF2B5EF4-FFF2-40B4-BE49-F238E27FC236}">
                        <a16:creationId xmlns:a16="http://schemas.microsoft.com/office/drawing/2014/main" id="{FBECBD20-B8F1-4C00-A788-F0CFF9F304B1}"/>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1" name="Freeform: Shape 1490">
                    <a:extLst>
                      <a:ext uri="{FF2B5EF4-FFF2-40B4-BE49-F238E27FC236}">
                        <a16:creationId xmlns:a16="http://schemas.microsoft.com/office/drawing/2014/main" id="{2BF1475F-0D57-4213-A764-0B4656034913}"/>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2" name="Freeform: Shape 1491">
                    <a:extLst>
                      <a:ext uri="{FF2B5EF4-FFF2-40B4-BE49-F238E27FC236}">
                        <a16:creationId xmlns:a16="http://schemas.microsoft.com/office/drawing/2014/main" id="{C77A39C3-B848-4575-98E9-292871985582}"/>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1465" name="Group 1464">
              <a:extLst>
                <a:ext uri="{FF2B5EF4-FFF2-40B4-BE49-F238E27FC236}">
                  <a16:creationId xmlns:a16="http://schemas.microsoft.com/office/drawing/2014/main" id="{6CF4AFD8-E262-46A5-BC0F-82F0ECB5F4E2}"/>
                </a:ext>
              </a:extLst>
            </p:cNvPr>
            <p:cNvGrpSpPr/>
            <p:nvPr/>
          </p:nvGrpSpPr>
          <p:grpSpPr>
            <a:xfrm>
              <a:off x="6546812" y="3467555"/>
              <a:ext cx="1806614" cy="1013352"/>
              <a:chOff x="6391393" y="1624932"/>
              <a:chExt cx="1350970" cy="757777"/>
            </a:xfrm>
            <a:grpFill/>
          </p:grpSpPr>
          <p:sp>
            <p:nvSpPr>
              <p:cNvPr id="1483" name="Freeform 119">
                <a:extLst>
                  <a:ext uri="{FF2B5EF4-FFF2-40B4-BE49-F238E27FC236}">
                    <a16:creationId xmlns:a16="http://schemas.microsoft.com/office/drawing/2014/main" id="{A9F97CCC-210C-43FB-93E5-8A0E5B3FCAF0}"/>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1484" name="Freeform 120">
                <a:extLst>
                  <a:ext uri="{FF2B5EF4-FFF2-40B4-BE49-F238E27FC236}">
                    <a16:creationId xmlns:a16="http://schemas.microsoft.com/office/drawing/2014/main" id="{173549FE-DBFE-41DC-BA86-3C69384C3711}"/>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1466" name="Group 1465">
              <a:extLst>
                <a:ext uri="{FF2B5EF4-FFF2-40B4-BE49-F238E27FC236}">
                  <a16:creationId xmlns:a16="http://schemas.microsoft.com/office/drawing/2014/main" id="{64BD6E04-2299-446C-BE48-3E1D056AA4BA}"/>
                </a:ext>
              </a:extLst>
            </p:cNvPr>
            <p:cNvGrpSpPr/>
            <p:nvPr/>
          </p:nvGrpSpPr>
          <p:grpSpPr>
            <a:xfrm>
              <a:off x="5965396" y="4132683"/>
              <a:ext cx="389280" cy="389280"/>
              <a:chOff x="5999956" y="4167243"/>
              <a:chExt cx="320160" cy="320160"/>
            </a:xfrm>
            <a:grpFill/>
          </p:grpSpPr>
          <p:sp>
            <p:nvSpPr>
              <p:cNvPr id="1481" name="Oval 1480">
                <a:extLst>
                  <a:ext uri="{FF2B5EF4-FFF2-40B4-BE49-F238E27FC236}">
                    <a16:creationId xmlns:a16="http://schemas.microsoft.com/office/drawing/2014/main" id="{279BB913-29E9-428E-B51C-EA636564CE22}"/>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482" name="Freeform 339">
                <a:extLst>
                  <a:ext uri="{FF2B5EF4-FFF2-40B4-BE49-F238E27FC236}">
                    <a16:creationId xmlns:a16="http://schemas.microsoft.com/office/drawing/2014/main" id="{9B862F2D-47F1-4A4B-8058-DBF0F8150429}"/>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467" name="Group 1466">
              <a:extLst>
                <a:ext uri="{FF2B5EF4-FFF2-40B4-BE49-F238E27FC236}">
                  <a16:creationId xmlns:a16="http://schemas.microsoft.com/office/drawing/2014/main" id="{EAF8A969-8DE5-4577-8028-50EC5BBA5A0B}"/>
                </a:ext>
              </a:extLst>
            </p:cNvPr>
            <p:cNvGrpSpPr/>
            <p:nvPr/>
          </p:nvGrpSpPr>
          <p:grpSpPr>
            <a:xfrm>
              <a:off x="8249851" y="3414960"/>
              <a:ext cx="389280" cy="389280"/>
              <a:chOff x="8616644" y="4279108"/>
              <a:chExt cx="320160" cy="320160"/>
            </a:xfrm>
            <a:grpFill/>
          </p:grpSpPr>
          <p:sp>
            <p:nvSpPr>
              <p:cNvPr id="1478" name="Oval 1477">
                <a:extLst>
                  <a:ext uri="{FF2B5EF4-FFF2-40B4-BE49-F238E27FC236}">
                    <a16:creationId xmlns:a16="http://schemas.microsoft.com/office/drawing/2014/main" id="{162709FD-87FB-496E-88A5-B77C89C9510F}"/>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479" name="Freeform 324">
                <a:extLst>
                  <a:ext uri="{FF2B5EF4-FFF2-40B4-BE49-F238E27FC236}">
                    <a16:creationId xmlns:a16="http://schemas.microsoft.com/office/drawing/2014/main" id="{7FAF677F-8839-45C2-B65A-4B7EBA82B8C4}"/>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80" name="Freeform 324">
                <a:extLst>
                  <a:ext uri="{FF2B5EF4-FFF2-40B4-BE49-F238E27FC236}">
                    <a16:creationId xmlns:a16="http://schemas.microsoft.com/office/drawing/2014/main" id="{082B3BF0-EF66-4EA2-B49B-4841959A2778}"/>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468" name="Group 1467">
              <a:extLst>
                <a:ext uri="{FF2B5EF4-FFF2-40B4-BE49-F238E27FC236}">
                  <a16:creationId xmlns:a16="http://schemas.microsoft.com/office/drawing/2014/main" id="{57CC2DF0-6E56-4E9E-8033-49C83D4FB261}"/>
                </a:ext>
              </a:extLst>
            </p:cNvPr>
            <p:cNvGrpSpPr/>
            <p:nvPr/>
          </p:nvGrpSpPr>
          <p:grpSpPr>
            <a:xfrm>
              <a:off x="6310201" y="3304407"/>
              <a:ext cx="389280" cy="389280"/>
              <a:chOff x="6344761" y="3338967"/>
              <a:chExt cx="320160" cy="320160"/>
            </a:xfrm>
            <a:grpFill/>
          </p:grpSpPr>
          <p:sp>
            <p:nvSpPr>
              <p:cNvPr id="1475" name="Oval 1474">
                <a:extLst>
                  <a:ext uri="{FF2B5EF4-FFF2-40B4-BE49-F238E27FC236}">
                    <a16:creationId xmlns:a16="http://schemas.microsoft.com/office/drawing/2014/main" id="{30165FCE-3AC4-42DB-BC63-A3CF27282830}"/>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476" name="Freeform 440">
                <a:extLst>
                  <a:ext uri="{FF2B5EF4-FFF2-40B4-BE49-F238E27FC236}">
                    <a16:creationId xmlns:a16="http://schemas.microsoft.com/office/drawing/2014/main" id="{2865326F-AC80-44E4-A43D-2762052995CA}"/>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477" name="Freeform 441">
                <a:extLst>
                  <a:ext uri="{FF2B5EF4-FFF2-40B4-BE49-F238E27FC236}">
                    <a16:creationId xmlns:a16="http://schemas.microsoft.com/office/drawing/2014/main" id="{781804AD-9EFF-4FBB-BA20-66EDB88DCC13}"/>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1469" name="Group 1468">
              <a:extLst>
                <a:ext uri="{FF2B5EF4-FFF2-40B4-BE49-F238E27FC236}">
                  <a16:creationId xmlns:a16="http://schemas.microsoft.com/office/drawing/2014/main" id="{6FA0F28F-3E93-4996-AA79-2F29BA5374CC}"/>
                </a:ext>
              </a:extLst>
            </p:cNvPr>
            <p:cNvGrpSpPr/>
            <p:nvPr/>
          </p:nvGrpSpPr>
          <p:grpSpPr>
            <a:xfrm>
              <a:off x="7307066" y="2936940"/>
              <a:ext cx="389134" cy="389134"/>
              <a:chOff x="9322484" y="3467555"/>
              <a:chExt cx="557223" cy="557223"/>
            </a:xfrm>
            <a:grpFill/>
          </p:grpSpPr>
          <p:sp>
            <p:nvSpPr>
              <p:cNvPr id="1473" name="Oval 1472">
                <a:extLst>
                  <a:ext uri="{FF2B5EF4-FFF2-40B4-BE49-F238E27FC236}">
                    <a16:creationId xmlns:a16="http://schemas.microsoft.com/office/drawing/2014/main" id="{37348E4F-06DF-4A46-93F7-A554DCA512F9}"/>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4" name="Rectangle 74">
                <a:extLst>
                  <a:ext uri="{FF2B5EF4-FFF2-40B4-BE49-F238E27FC236}">
                    <a16:creationId xmlns:a16="http://schemas.microsoft.com/office/drawing/2014/main" id="{A121CE80-B59C-4A3F-B1CF-045C0DD183DC}"/>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470" name="Group 1469">
              <a:extLst>
                <a:ext uri="{FF2B5EF4-FFF2-40B4-BE49-F238E27FC236}">
                  <a16:creationId xmlns:a16="http://schemas.microsoft.com/office/drawing/2014/main" id="{751131AC-A712-4A3D-9ADA-699AC766A82E}"/>
                </a:ext>
              </a:extLst>
            </p:cNvPr>
            <p:cNvGrpSpPr/>
            <p:nvPr/>
          </p:nvGrpSpPr>
          <p:grpSpPr>
            <a:xfrm>
              <a:off x="8578186" y="4208712"/>
              <a:ext cx="389134" cy="389134"/>
              <a:chOff x="8225290" y="3217894"/>
              <a:chExt cx="621190" cy="621190"/>
            </a:xfrm>
            <a:grpFill/>
          </p:grpSpPr>
          <p:sp>
            <p:nvSpPr>
              <p:cNvPr id="1471" name="Oval 1470">
                <a:extLst>
                  <a:ext uri="{FF2B5EF4-FFF2-40B4-BE49-F238E27FC236}">
                    <a16:creationId xmlns:a16="http://schemas.microsoft.com/office/drawing/2014/main" id="{733BE1BD-1D8E-476E-8BB2-6388861D01B9}"/>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2" name="Rounded Rectangle 4">
                <a:extLst>
                  <a:ext uri="{FF2B5EF4-FFF2-40B4-BE49-F238E27FC236}">
                    <a16:creationId xmlns:a16="http://schemas.microsoft.com/office/drawing/2014/main" id="{C0DF3454-9999-44BA-83A3-1EC2E5E5EA76}"/>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a:ea typeface="+mn-ea"/>
                  <a:cs typeface="+mn-cs"/>
                </a:endParaRPr>
              </a:p>
            </p:txBody>
          </p:sp>
        </p:grpSp>
      </p:grpSp>
      <p:sp>
        <p:nvSpPr>
          <p:cNvPr id="400" name="Title 1">
            <a:extLst>
              <a:ext uri="{FF2B5EF4-FFF2-40B4-BE49-F238E27FC236}">
                <a16:creationId xmlns:a16="http://schemas.microsoft.com/office/drawing/2014/main" id="{2F9E8E20-220F-4D4B-A0CE-A3C0BDFA08C0}"/>
              </a:ext>
            </a:extLst>
          </p:cNvPr>
          <p:cNvSpPr txBox="1">
            <a:spLocks/>
          </p:cNvSpPr>
          <p:nvPr/>
        </p:nvSpPr>
        <p:spPr>
          <a:xfrm>
            <a:off x="588264" y="457200"/>
            <a:ext cx="11018520" cy="430887"/>
          </a:xfrm>
          <a:prstGeom prst="rect">
            <a:avLst/>
          </a:prstGeom>
        </p:spPr>
        <p:txBody>
          <a:bodyPr/>
          <a:lst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tail on WVD value drivers follows (“double-click”)</a:t>
            </a:r>
          </a:p>
        </p:txBody>
      </p:sp>
    </p:spTree>
    <p:extLst>
      <p:ext uri="{BB962C8B-B14F-4D97-AF65-F5344CB8AC3E}">
        <p14:creationId xmlns:p14="http://schemas.microsoft.com/office/powerpoint/2010/main" val="164684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213996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520" name="TextBox 519">
            <a:extLst>
              <a:ext uri="{FF2B5EF4-FFF2-40B4-BE49-F238E27FC236}">
                <a16:creationId xmlns:a16="http://schemas.microsoft.com/office/drawing/2014/main" id="{6AB37C95-F799-4A3D-B435-9370EEE1DAC9}"/>
              </a:ext>
            </a:extLst>
          </p:cNvPr>
          <p:cNvSpPr txBox="1"/>
          <p:nvPr/>
        </p:nvSpPr>
        <p:spPr>
          <a:xfrm>
            <a:off x="584199" y="3093720"/>
            <a:ext cx="11017779" cy="3085764"/>
          </a:xfrm>
          <a:prstGeom prst="rect">
            <a:avLst/>
          </a:prstGeom>
          <a:solidFill>
            <a:schemeClr val="bg1"/>
          </a:solidFill>
          <a:ln w="6350">
            <a:solidFill>
              <a:schemeClr val="bg1">
                <a:lumMod val="85000"/>
              </a:schemeClr>
            </a:solidFill>
          </a:ln>
        </p:spPr>
        <p:txBody>
          <a:bodyPr wrap="square" lIns="137160" tIns="91440" rIns="91440" bIns="45720" rtlCol="0" anchor="t">
            <a:noAutofit/>
          </a:bodyPr>
          <a:lstStyle>
            <a:defPPr>
              <a:defRPr lang="en-US"/>
            </a:defPPr>
            <a:lvl1pPr algn="ctr">
              <a:defRPr b="1" i="1">
                <a:solidFill>
                  <a:schemeClr val="tx2"/>
                </a:solidFill>
                <a:latin typeface="+mj-lt"/>
              </a:defRPr>
            </a:lvl1pPr>
          </a:lstStyle>
          <a:p>
            <a:pPr algn="l">
              <a:spcAft>
                <a:spcPts val="1800"/>
              </a:spcAft>
            </a:pPr>
            <a:r>
              <a:rPr lang="en-US" dirty="0"/>
              <a:t>Local and remote UI is optimized for the various form factors across all supported platforms: Windows, macOS, iOS, HTML5, and Android</a:t>
            </a:r>
          </a:p>
          <a:p>
            <a:pPr algn="l">
              <a:spcAft>
                <a:spcPts val="1800"/>
              </a:spcAft>
            </a:pPr>
            <a:r>
              <a:rPr lang="en-US" dirty="0">
                <a:cs typeface="Segoe UI" pitchFamily="34" charset="0"/>
              </a:rPr>
              <a:t>Linux SDK</a:t>
            </a:r>
            <a:r>
              <a:rPr lang="en-US" baseline="30000" dirty="0"/>
              <a:t>*</a:t>
            </a:r>
            <a:r>
              <a:rPr lang="en-US" dirty="0">
                <a:cs typeface="Segoe UI" pitchFamily="34" charset="0"/>
              </a:rPr>
              <a:t> will enable partners to build their own high performance WVD clients for their Linux endpoints</a:t>
            </a:r>
            <a:br>
              <a:rPr lang="en-US" dirty="0">
                <a:cs typeface="Segoe UI" pitchFamily="34" charset="0"/>
              </a:rPr>
            </a:br>
            <a:r>
              <a:rPr lang="en-US" sz="1600" dirty="0">
                <a:latin typeface="Segoe UI Light" panose="020B0502040204020203" pitchFamily="34" charset="0"/>
              </a:rPr>
              <a:t>Performance of clients built on Linux SDK is at parity with other non-Windows clients</a:t>
            </a:r>
          </a:p>
          <a:p>
            <a:pPr algn="l" defTabSz="914102" fontAlgn="base">
              <a:spcBef>
                <a:spcPts val="300"/>
              </a:spcBef>
            </a:pPr>
            <a:r>
              <a:rPr lang="en-US" dirty="0">
                <a:cs typeface="Segoe UI" pitchFamily="34" charset="0"/>
              </a:rPr>
              <a:t>Windows experience is indistinguishable from native</a:t>
            </a:r>
          </a:p>
          <a:p>
            <a:pPr algn="l" defTabSz="914102" fontAlgn="base">
              <a:spcBef>
                <a:spcPts val="300"/>
              </a:spcBef>
            </a:pPr>
            <a:r>
              <a:rPr lang="en-US" sz="1600" dirty="0">
                <a:latin typeface="Segoe UI Light" panose="020B0502040204020203" pitchFamily="34" charset="0"/>
              </a:rPr>
              <a:t>MacOS client provides integrated RemoteApp experience</a:t>
            </a:r>
          </a:p>
          <a:p>
            <a:pPr algn="l" defTabSz="914102" fontAlgn="base">
              <a:spcBef>
                <a:spcPts val="300"/>
              </a:spcBef>
            </a:pPr>
            <a:r>
              <a:rPr lang="en-US" sz="1600" dirty="0">
                <a:latin typeface="Segoe UI Light" panose="020B0502040204020203" pitchFamily="34" charset="0"/>
              </a:rPr>
              <a:t>iOS, Android, and HTML5 clients provide immersive RemoteApp experience</a:t>
            </a:r>
            <a:endParaRPr lang="en-US" sz="1600" dirty="0"/>
          </a:p>
        </p:txBody>
      </p:sp>
      <p:sp>
        <p:nvSpPr>
          <p:cNvPr id="521" name="TextBox 520">
            <a:extLst>
              <a:ext uri="{FF2B5EF4-FFF2-40B4-BE49-F238E27FC236}">
                <a16:creationId xmlns:a16="http://schemas.microsoft.com/office/drawing/2014/main" id="{3FD1832E-E245-45B8-97CF-8CB4555460EE}"/>
              </a:ext>
            </a:extLst>
          </p:cNvPr>
          <p:cNvSpPr txBox="1"/>
          <p:nvPr/>
        </p:nvSpPr>
        <p:spPr>
          <a:xfrm>
            <a:off x="583459" y="2555874"/>
            <a:ext cx="11018520" cy="544063"/>
          </a:xfrm>
          <a:prstGeom prst="rect">
            <a:avLst/>
          </a:prstGeom>
          <a:solidFill>
            <a:schemeClr val="accent1"/>
          </a:solidFill>
          <a:ln w="6350">
            <a:solidFill>
              <a:schemeClr val="accent1"/>
            </a:solidFill>
          </a:ln>
        </p:spPr>
        <p:txBody>
          <a:bodyPr wrap="square" lIns="0" tIns="0" rIns="0" bIns="0" rtlCol="0" anchor="ctr">
            <a:noAutofit/>
          </a:bodyPr>
          <a:lstStyle/>
          <a:p>
            <a:pPr algn="ctr"/>
            <a:r>
              <a:rPr lang="en-US" sz="2000" dirty="0">
                <a:solidFill>
                  <a:schemeClr val="bg1"/>
                </a:solidFill>
                <a:latin typeface="+mj-lt"/>
              </a:rPr>
              <a:t>User Experience Benefits</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Platform of choice</a:t>
            </a:r>
          </a:p>
        </p:txBody>
      </p:sp>
      <p:sp>
        <p:nvSpPr>
          <p:cNvPr id="247" name="Freeform: Shape 246">
            <a:extLst>
              <a:ext uri="{FF2B5EF4-FFF2-40B4-BE49-F238E27FC236}">
                <a16:creationId xmlns:a16="http://schemas.microsoft.com/office/drawing/2014/main" id="{7953571A-41B1-4264-B5C4-16D553DEC093}"/>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b="1" dirty="0">
                <a:solidFill>
                  <a:schemeClr val="tx2"/>
                </a:solidFill>
                <a:cs typeface="Segoe UI" pitchFamily="34" charset="0"/>
              </a:rPr>
              <a:t>WVD allows users to connect from any device of their choice</a:t>
            </a:r>
            <a:endParaRPr lang="en-US" spc="-30" dirty="0">
              <a:solidFill>
                <a:schemeClr val="tx1"/>
              </a:solidFill>
              <a:cs typeface="Segoe UI" pitchFamily="34" charset="0"/>
            </a:endParaRPr>
          </a:p>
        </p:txBody>
      </p:sp>
      <p:grpSp>
        <p:nvGrpSpPr>
          <p:cNvPr id="248" name="Group 247">
            <a:extLst>
              <a:ext uri="{FF2B5EF4-FFF2-40B4-BE49-F238E27FC236}">
                <a16:creationId xmlns:a16="http://schemas.microsoft.com/office/drawing/2014/main" id="{5D36947D-1A9E-4CBC-9F58-07694FE8672B}"/>
              </a:ext>
            </a:extLst>
          </p:cNvPr>
          <p:cNvGrpSpPr>
            <a:grpSpLocks noChangeAspect="1"/>
          </p:cNvGrpSpPr>
          <p:nvPr/>
        </p:nvGrpSpPr>
        <p:grpSpPr>
          <a:xfrm>
            <a:off x="10777886" y="1372926"/>
            <a:ext cx="806355" cy="914400"/>
            <a:chOff x="797126" y="3893732"/>
            <a:chExt cx="1125722" cy="1276864"/>
          </a:xfrm>
        </p:grpSpPr>
        <p:sp>
          <p:nvSpPr>
            <p:cNvPr id="249" name="Freeform 403">
              <a:extLst>
                <a:ext uri="{FF2B5EF4-FFF2-40B4-BE49-F238E27FC236}">
                  <a16:creationId xmlns:a16="http://schemas.microsoft.com/office/drawing/2014/main" id="{93715FDD-1EED-4F6A-BC9B-F946D4AB223D}"/>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250" name="Freeform: Shape 249">
              <a:extLst>
                <a:ext uri="{FF2B5EF4-FFF2-40B4-BE49-F238E27FC236}">
                  <a16:creationId xmlns:a16="http://schemas.microsoft.com/office/drawing/2014/main" id="{0F1715C5-9AB6-403D-9B80-F7FFEA1FDAA2}"/>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251" name="Group 250">
              <a:extLst>
                <a:ext uri="{FF2B5EF4-FFF2-40B4-BE49-F238E27FC236}">
                  <a16:creationId xmlns:a16="http://schemas.microsoft.com/office/drawing/2014/main" id="{5CB463BF-F0EC-470B-973F-3249BE705183}"/>
                </a:ext>
              </a:extLst>
            </p:cNvPr>
            <p:cNvGrpSpPr/>
            <p:nvPr/>
          </p:nvGrpSpPr>
          <p:grpSpPr>
            <a:xfrm>
              <a:off x="971699" y="4043345"/>
              <a:ext cx="773592" cy="920012"/>
              <a:chOff x="993458" y="3447450"/>
              <a:chExt cx="682781" cy="812014"/>
            </a:xfrm>
          </p:grpSpPr>
          <p:grpSp>
            <p:nvGrpSpPr>
              <p:cNvPr id="252" name="Group 251">
                <a:extLst>
                  <a:ext uri="{FF2B5EF4-FFF2-40B4-BE49-F238E27FC236}">
                    <a16:creationId xmlns:a16="http://schemas.microsoft.com/office/drawing/2014/main" id="{01061A00-3555-4575-A9E1-1E3C494ACFA9}"/>
                  </a:ext>
                </a:extLst>
              </p:cNvPr>
              <p:cNvGrpSpPr/>
              <p:nvPr/>
            </p:nvGrpSpPr>
            <p:grpSpPr>
              <a:xfrm>
                <a:off x="993458" y="3447450"/>
                <a:ext cx="576652" cy="812014"/>
                <a:chOff x="499414" y="1517311"/>
                <a:chExt cx="3686809" cy="5340604"/>
              </a:xfrm>
            </p:grpSpPr>
            <p:sp>
              <p:nvSpPr>
                <p:cNvPr id="360" name="Rectangle 359">
                  <a:extLst>
                    <a:ext uri="{FF2B5EF4-FFF2-40B4-BE49-F238E27FC236}">
                      <a16:creationId xmlns:a16="http://schemas.microsoft.com/office/drawing/2014/main" id="{3FDD0808-F70F-401F-B0AE-B1F91EB2EBB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361" name="Group 360">
                  <a:extLst>
                    <a:ext uri="{FF2B5EF4-FFF2-40B4-BE49-F238E27FC236}">
                      <a16:creationId xmlns:a16="http://schemas.microsoft.com/office/drawing/2014/main" id="{770EC971-E917-49A8-B524-319B6DA99DF0}"/>
                    </a:ext>
                  </a:extLst>
                </p:cNvPr>
                <p:cNvGrpSpPr/>
                <p:nvPr/>
              </p:nvGrpSpPr>
              <p:grpSpPr>
                <a:xfrm rot="20371446">
                  <a:off x="2524661" y="2299216"/>
                  <a:ext cx="859576" cy="554927"/>
                  <a:chOff x="4775201" y="792163"/>
                  <a:chExt cx="2024063" cy="1306513"/>
                </a:xfrm>
              </p:grpSpPr>
              <p:sp>
                <p:nvSpPr>
                  <p:cNvPr id="455" name="Freeform 354">
                    <a:extLst>
                      <a:ext uri="{FF2B5EF4-FFF2-40B4-BE49-F238E27FC236}">
                        <a16:creationId xmlns:a16="http://schemas.microsoft.com/office/drawing/2014/main" id="{C333865D-1D92-4049-8DC6-2C8B2D35F543}"/>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6" name="Rectangle 455">
                    <a:extLst>
                      <a:ext uri="{FF2B5EF4-FFF2-40B4-BE49-F238E27FC236}">
                        <a16:creationId xmlns:a16="http://schemas.microsoft.com/office/drawing/2014/main" id="{B5E0DBF6-44EC-4A66-A72E-61DFB7F9C4B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7" name="Freeform 356">
                    <a:extLst>
                      <a:ext uri="{FF2B5EF4-FFF2-40B4-BE49-F238E27FC236}">
                        <a16:creationId xmlns:a16="http://schemas.microsoft.com/office/drawing/2014/main" id="{2BC5BD4B-A809-4C56-BAD3-5CF953DA7BD3}"/>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8" name="Freeform 357">
                    <a:extLst>
                      <a:ext uri="{FF2B5EF4-FFF2-40B4-BE49-F238E27FC236}">
                        <a16:creationId xmlns:a16="http://schemas.microsoft.com/office/drawing/2014/main" id="{30AB537B-2B84-4792-9A34-27C12C3DC55F}"/>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9" name="Freeform 358">
                    <a:extLst>
                      <a:ext uri="{FF2B5EF4-FFF2-40B4-BE49-F238E27FC236}">
                        <a16:creationId xmlns:a16="http://schemas.microsoft.com/office/drawing/2014/main" id="{62083777-6681-4C0B-B16B-90DFE2273ED7}"/>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0" name="Rectangle 459">
                    <a:extLst>
                      <a:ext uri="{FF2B5EF4-FFF2-40B4-BE49-F238E27FC236}">
                        <a16:creationId xmlns:a16="http://schemas.microsoft.com/office/drawing/2014/main" id="{85B5F34C-0C6A-45C3-9672-1BFDDB640A69}"/>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1" name="Freeform 360">
                    <a:extLst>
                      <a:ext uri="{FF2B5EF4-FFF2-40B4-BE49-F238E27FC236}">
                        <a16:creationId xmlns:a16="http://schemas.microsoft.com/office/drawing/2014/main" id="{387E5986-E75F-41DA-B21C-A9C09104617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2" name="Rectangle 461">
                    <a:extLst>
                      <a:ext uri="{FF2B5EF4-FFF2-40B4-BE49-F238E27FC236}">
                        <a16:creationId xmlns:a16="http://schemas.microsoft.com/office/drawing/2014/main" id="{85B8E395-E403-46F7-AC6A-8F315297820F}"/>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3" name="Rectangle 462">
                    <a:extLst>
                      <a:ext uri="{FF2B5EF4-FFF2-40B4-BE49-F238E27FC236}">
                        <a16:creationId xmlns:a16="http://schemas.microsoft.com/office/drawing/2014/main" id="{27546CDB-0760-4FF2-960A-CCEA56B93C26}"/>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4" name="Rectangle 463">
                    <a:extLst>
                      <a:ext uri="{FF2B5EF4-FFF2-40B4-BE49-F238E27FC236}">
                        <a16:creationId xmlns:a16="http://schemas.microsoft.com/office/drawing/2014/main" id="{25E1DFF5-EA41-4795-94BF-6FA93674D09F}"/>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5" name="Rectangle 464">
                    <a:extLst>
                      <a:ext uri="{FF2B5EF4-FFF2-40B4-BE49-F238E27FC236}">
                        <a16:creationId xmlns:a16="http://schemas.microsoft.com/office/drawing/2014/main" id="{F56BF763-FB66-4CC4-9557-8CE8F3E3DD9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6" name="Rectangle 465">
                    <a:extLst>
                      <a:ext uri="{FF2B5EF4-FFF2-40B4-BE49-F238E27FC236}">
                        <a16:creationId xmlns:a16="http://schemas.microsoft.com/office/drawing/2014/main" id="{7FECAFEC-BE84-4984-B8FD-0D6F2BB52768}"/>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362" name="Group 361">
                  <a:extLst>
                    <a:ext uri="{FF2B5EF4-FFF2-40B4-BE49-F238E27FC236}">
                      <a16:creationId xmlns:a16="http://schemas.microsoft.com/office/drawing/2014/main" id="{6C623F03-3F03-444A-97D6-398CE0AC3DEE}"/>
                    </a:ext>
                  </a:extLst>
                </p:cNvPr>
                <p:cNvGrpSpPr/>
                <p:nvPr/>
              </p:nvGrpSpPr>
              <p:grpSpPr>
                <a:xfrm>
                  <a:off x="1190120" y="2235988"/>
                  <a:ext cx="983059" cy="983198"/>
                  <a:chOff x="5413781" y="5749281"/>
                  <a:chExt cx="652036" cy="652036"/>
                </a:xfrm>
              </p:grpSpPr>
              <p:sp>
                <p:nvSpPr>
                  <p:cNvPr id="453" name="Oval 452">
                    <a:extLst>
                      <a:ext uri="{FF2B5EF4-FFF2-40B4-BE49-F238E27FC236}">
                        <a16:creationId xmlns:a16="http://schemas.microsoft.com/office/drawing/2014/main" id="{16D7C7C3-7D77-4F3B-B6D5-355E6FA79154}"/>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454" name="Freeform 353">
                    <a:extLst>
                      <a:ext uri="{FF2B5EF4-FFF2-40B4-BE49-F238E27FC236}">
                        <a16:creationId xmlns:a16="http://schemas.microsoft.com/office/drawing/2014/main" id="{972EADB4-F29A-499B-AB53-416715B6DEB2}"/>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63" name="Group 362">
                  <a:extLst>
                    <a:ext uri="{FF2B5EF4-FFF2-40B4-BE49-F238E27FC236}">
                      <a16:creationId xmlns:a16="http://schemas.microsoft.com/office/drawing/2014/main" id="{8447F914-E6D7-476A-9DBF-5CBFDEAD5770}"/>
                    </a:ext>
                  </a:extLst>
                </p:cNvPr>
                <p:cNvGrpSpPr>
                  <a:grpSpLocks noChangeAspect="1"/>
                </p:cNvGrpSpPr>
                <p:nvPr/>
              </p:nvGrpSpPr>
              <p:grpSpPr bwMode="auto">
                <a:xfrm rot="1800000">
                  <a:off x="3563928" y="2295726"/>
                  <a:ext cx="622295" cy="847393"/>
                  <a:chOff x="6652" y="1661"/>
                  <a:chExt cx="260" cy="354"/>
                </a:xfrm>
              </p:grpSpPr>
              <p:sp>
                <p:nvSpPr>
                  <p:cNvPr id="449" name="AutoShape 138">
                    <a:extLst>
                      <a:ext uri="{FF2B5EF4-FFF2-40B4-BE49-F238E27FC236}">
                        <a16:creationId xmlns:a16="http://schemas.microsoft.com/office/drawing/2014/main" id="{2B20D5DB-E073-41E3-B623-F2183BE7083E}"/>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450" name="Freeform 349">
                    <a:extLst>
                      <a:ext uri="{FF2B5EF4-FFF2-40B4-BE49-F238E27FC236}">
                        <a16:creationId xmlns:a16="http://schemas.microsoft.com/office/drawing/2014/main" id="{2AE950FC-A0D1-46FA-A50E-17AD9F89B4C8}"/>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451" name="Rectangle 450">
                    <a:extLst>
                      <a:ext uri="{FF2B5EF4-FFF2-40B4-BE49-F238E27FC236}">
                        <a16:creationId xmlns:a16="http://schemas.microsoft.com/office/drawing/2014/main" id="{8AC50F59-C527-45B4-ABB3-A682276CE557}"/>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452" name="Freeform 351">
                    <a:extLst>
                      <a:ext uri="{FF2B5EF4-FFF2-40B4-BE49-F238E27FC236}">
                        <a16:creationId xmlns:a16="http://schemas.microsoft.com/office/drawing/2014/main" id="{7F1730C7-8AE8-4492-A31D-3DEB32C74181}"/>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364" name="Group 363">
                  <a:extLst>
                    <a:ext uri="{FF2B5EF4-FFF2-40B4-BE49-F238E27FC236}">
                      <a16:creationId xmlns:a16="http://schemas.microsoft.com/office/drawing/2014/main" id="{C8200A40-BC1C-4C90-95E2-3E85760A09A5}"/>
                    </a:ext>
                  </a:extLst>
                </p:cNvPr>
                <p:cNvGrpSpPr/>
                <p:nvPr/>
              </p:nvGrpSpPr>
              <p:grpSpPr>
                <a:xfrm flipH="1">
                  <a:off x="499414" y="3565526"/>
                  <a:ext cx="1323206" cy="3292389"/>
                  <a:chOff x="8371759" y="2973033"/>
                  <a:chExt cx="1482609" cy="3688507"/>
                </a:xfrm>
              </p:grpSpPr>
              <p:sp>
                <p:nvSpPr>
                  <p:cNvPr id="375" name="Freeform 314">
                    <a:extLst>
                      <a:ext uri="{FF2B5EF4-FFF2-40B4-BE49-F238E27FC236}">
                        <a16:creationId xmlns:a16="http://schemas.microsoft.com/office/drawing/2014/main" id="{AEC9D6AC-D687-443C-9D6B-A7343343B7D0}"/>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76" name="Freeform 315">
                    <a:extLst>
                      <a:ext uri="{FF2B5EF4-FFF2-40B4-BE49-F238E27FC236}">
                        <a16:creationId xmlns:a16="http://schemas.microsoft.com/office/drawing/2014/main" id="{DCF88E10-F331-4CAF-9C3B-D64E15CDD54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77" name="Freeform 316">
                    <a:extLst>
                      <a:ext uri="{FF2B5EF4-FFF2-40B4-BE49-F238E27FC236}">
                        <a16:creationId xmlns:a16="http://schemas.microsoft.com/office/drawing/2014/main" id="{BBE694D5-175C-4795-AA84-723BDE7C99A5}"/>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78" name="Rectangle 377">
                    <a:extLst>
                      <a:ext uri="{FF2B5EF4-FFF2-40B4-BE49-F238E27FC236}">
                        <a16:creationId xmlns:a16="http://schemas.microsoft.com/office/drawing/2014/main" id="{ABD26DF0-DFF2-479B-948A-986FDEC13D3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79" name="Rectangle 378">
                    <a:extLst>
                      <a:ext uri="{FF2B5EF4-FFF2-40B4-BE49-F238E27FC236}">
                        <a16:creationId xmlns:a16="http://schemas.microsoft.com/office/drawing/2014/main" id="{76E25D63-B090-4BE0-93EE-CD647F72752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0" name="Rectangle 379">
                    <a:extLst>
                      <a:ext uri="{FF2B5EF4-FFF2-40B4-BE49-F238E27FC236}">
                        <a16:creationId xmlns:a16="http://schemas.microsoft.com/office/drawing/2014/main" id="{A34978AB-4682-4FEA-B56D-60BEFEDF13F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1" name="Rectangle 380">
                    <a:extLst>
                      <a:ext uri="{FF2B5EF4-FFF2-40B4-BE49-F238E27FC236}">
                        <a16:creationId xmlns:a16="http://schemas.microsoft.com/office/drawing/2014/main" id="{CA11AEC1-ABD5-48D4-875D-78A2F7E1F31E}"/>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2" name="Freeform 321">
                    <a:extLst>
                      <a:ext uri="{FF2B5EF4-FFF2-40B4-BE49-F238E27FC236}">
                        <a16:creationId xmlns:a16="http://schemas.microsoft.com/office/drawing/2014/main" id="{9BADB1CE-7798-4CA7-8FF1-928C2FBBE48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3" name="Rectangle 382">
                    <a:extLst>
                      <a:ext uri="{FF2B5EF4-FFF2-40B4-BE49-F238E27FC236}">
                        <a16:creationId xmlns:a16="http://schemas.microsoft.com/office/drawing/2014/main" id="{E6C81656-F75E-40E8-8DAB-E813800AA7BA}"/>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4" name="Rectangle 383">
                    <a:extLst>
                      <a:ext uri="{FF2B5EF4-FFF2-40B4-BE49-F238E27FC236}">
                        <a16:creationId xmlns:a16="http://schemas.microsoft.com/office/drawing/2014/main" id="{48A9F5C4-0127-44C9-8B9C-7D1B5DA53503}"/>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5" name="Freeform 324">
                    <a:extLst>
                      <a:ext uri="{FF2B5EF4-FFF2-40B4-BE49-F238E27FC236}">
                        <a16:creationId xmlns:a16="http://schemas.microsoft.com/office/drawing/2014/main" id="{2AE8ACD3-801A-4651-A245-EE06792734E0}"/>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6" name="Freeform 325">
                    <a:extLst>
                      <a:ext uri="{FF2B5EF4-FFF2-40B4-BE49-F238E27FC236}">
                        <a16:creationId xmlns:a16="http://schemas.microsoft.com/office/drawing/2014/main" id="{85B4D663-7AAD-4DBE-B175-9BDE6CC28785}"/>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7" name="Freeform 326">
                    <a:extLst>
                      <a:ext uri="{FF2B5EF4-FFF2-40B4-BE49-F238E27FC236}">
                        <a16:creationId xmlns:a16="http://schemas.microsoft.com/office/drawing/2014/main" id="{073E0E92-7AAB-4448-99B4-394E43FA0FED}"/>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28" name="Freeform 327">
                    <a:extLst>
                      <a:ext uri="{FF2B5EF4-FFF2-40B4-BE49-F238E27FC236}">
                        <a16:creationId xmlns:a16="http://schemas.microsoft.com/office/drawing/2014/main" id="{0AF16DDB-4C30-4E5A-8CC7-9B4F729DFC6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29" name="Freeform 328">
                    <a:extLst>
                      <a:ext uri="{FF2B5EF4-FFF2-40B4-BE49-F238E27FC236}">
                        <a16:creationId xmlns:a16="http://schemas.microsoft.com/office/drawing/2014/main" id="{D2382219-1035-48CC-9D31-0598350BF48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0" name="Freeform 329">
                    <a:extLst>
                      <a:ext uri="{FF2B5EF4-FFF2-40B4-BE49-F238E27FC236}">
                        <a16:creationId xmlns:a16="http://schemas.microsoft.com/office/drawing/2014/main" id="{70685AFF-A19E-4830-9700-5793C808A38C}"/>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1" name="Freeform 330">
                    <a:extLst>
                      <a:ext uri="{FF2B5EF4-FFF2-40B4-BE49-F238E27FC236}">
                        <a16:creationId xmlns:a16="http://schemas.microsoft.com/office/drawing/2014/main" id="{98393626-EEE1-4334-BEB5-0A066152B5B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2" name="Freeform 331">
                    <a:extLst>
                      <a:ext uri="{FF2B5EF4-FFF2-40B4-BE49-F238E27FC236}">
                        <a16:creationId xmlns:a16="http://schemas.microsoft.com/office/drawing/2014/main" id="{FBD1DBF0-EF29-49D2-80C5-280C85C43C0D}"/>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3" name="Freeform 332">
                    <a:extLst>
                      <a:ext uri="{FF2B5EF4-FFF2-40B4-BE49-F238E27FC236}">
                        <a16:creationId xmlns:a16="http://schemas.microsoft.com/office/drawing/2014/main" id="{9660C4AB-2269-4173-B8DE-65086632D4D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4" name="Freeform 333">
                    <a:extLst>
                      <a:ext uri="{FF2B5EF4-FFF2-40B4-BE49-F238E27FC236}">
                        <a16:creationId xmlns:a16="http://schemas.microsoft.com/office/drawing/2014/main" id="{3ECC6A3F-A743-42FF-8600-1634B569CD5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5" name="Freeform 334">
                    <a:extLst>
                      <a:ext uri="{FF2B5EF4-FFF2-40B4-BE49-F238E27FC236}">
                        <a16:creationId xmlns:a16="http://schemas.microsoft.com/office/drawing/2014/main" id="{D0C6ACD4-EE23-4E00-8B3A-4DFC449770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6" name="Freeform 335">
                    <a:extLst>
                      <a:ext uri="{FF2B5EF4-FFF2-40B4-BE49-F238E27FC236}">
                        <a16:creationId xmlns:a16="http://schemas.microsoft.com/office/drawing/2014/main" id="{722162AE-7106-49E4-878B-BA44E2F3C5B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7" name="Freeform 336">
                    <a:extLst>
                      <a:ext uri="{FF2B5EF4-FFF2-40B4-BE49-F238E27FC236}">
                        <a16:creationId xmlns:a16="http://schemas.microsoft.com/office/drawing/2014/main" id="{5DFA80BF-4A2E-4ED0-A6B3-5986F8577423}"/>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8" name="Freeform 337">
                    <a:extLst>
                      <a:ext uri="{FF2B5EF4-FFF2-40B4-BE49-F238E27FC236}">
                        <a16:creationId xmlns:a16="http://schemas.microsoft.com/office/drawing/2014/main" id="{BD8237F5-E74C-435E-962E-C22514DEBE4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9" name="Freeform 338">
                    <a:extLst>
                      <a:ext uri="{FF2B5EF4-FFF2-40B4-BE49-F238E27FC236}">
                        <a16:creationId xmlns:a16="http://schemas.microsoft.com/office/drawing/2014/main" id="{3E2012DD-ECD4-4513-A784-A37D2011539F}"/>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0" name="Freeform 339">
                    <a:extLst>
                      <a:ext uri="{FF2B5EF4-FFF2-40B4-BE49-F238E27FC236}">
                        <a16:creationId xmlns:a16="http://schemas.microsoft.com/office/drawing/2014/main" id="{73ACD26F-F148-4EAF-87DD-83E8C0CCC1C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1" name="Freeform 340">
                    <a:extLst>
                      <a:ext uri="{FF2B5EF4-FFF2-40B4-BE49-F238E27FC236}">
                        <a16:creationId xmlns:a16="http://schemas.microsoft.com/office/drawing/2014/main" id="{7405B830-9CF1-4738-A07D-F69D49BE244B}"/>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2" name="Freeform 341">
                    <a:extLst>
                      <a:ext uri="{FF2B5EF4-FFF2-40B4-BE49-F238E27FC236}">
                        <a16:creationId xmlns:a16="http://schemas.microsoft.com/office/drawing/2014/main" id="{B37EFB4D-928E-4405-A36B-5E133105223C}"/>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3" name="Freeform 342">
                    <a:extLst>
                      <a:ext uri="{FF2B5EF4-FFF2-40B4-BE49-F238E27FC236}">
                        <a16:creationId xmlns:a16="http://schemas.microsoft.com/office/drawing/2014/main" id="{0C46F03A-463C-4713-ABDC-FBC981D97A2A}"/>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4" name="Freeform 343">
                    <a:extLst>
                      <a:ext uri="{FF2B5EF4-FFF2-40B4-BE49-F238E27FC236}">
                        <a16:creationId xmlns:a16="http://schemas.microsoft.com/office/drawing/2014/main" id="{32876294-7ADE-4343-8BEE-30B22015130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5" name="Freeform 344">
                    <a:extLst>
                      <a:ext uri="{FF2B5EF4-FFF2-40B4-BE49-F238E27FC236}">
                        <a16:creationId xmlns:a16="http://schemas.microsoft.com/office/drawing/2014/main" id="{5BB22532-7EBA-408B-AB3F-C8F9E233ECCA}"/>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6" name="Freeform 345">
                    <a:extLst>
                      <a:ext uri="{FF2B5EF4-FFF2-40B4-BE49-F238E27FC236}">
                        <a16:creationId xmlns:a16="http://schemas.microsoft.com/office/drawing/2014/main" id="{7ED6C94A-4B14-43CF-9F40-1CB27DC54808}"/>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7" name="Freeform 346">
                    <a:extLst>
                      <a:ext uri="{FF2B5EF4-FFF2-40B4-BE49-F238E27FC236}">
                        <a16:creationId xmlns:a16="http://schemas.microsoft.com/office/drawing/2014/main" id="{D8FFBCC6-BE4C-4AC8-8ED2-C70DAAFE6EA3}"/>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8" name="Freeform 347">
                    <a:extLst>
                      <a:ext uri="{FF2B5EF4-FFF2-40B4-BE49-F238E27FC236}">
                        <a16:creationId xmlns:a16="http://schemas.microsoft.com/office/drawing/2014/main" id="{1A00B8AB-0628-499F-B889-2DC28864AD48}"/>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365" name="Straight Connector 364">
                  <a:extLst>
                    <a:ext uri="{FF2B5EF4-FFF2-40B4-BE49-F238E27FC236}">
                      <a16:creationId xmlns:a16="http://schemas.microsoft.com/office/drawing/2014/main" id="{9E34F7AE-F874-4E68-B065-2DF886F1AE9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366" name="Straight Connector 365">
                  <a:extLst>
                    <a:ext uri="{FF2B5EF4-FFF2-40B4-BE49-F238E27FC236}">
                      <a16:creationId xmlns:a16="http://schemas.microsoft.com/office/drawing/2014/main" id="{018648D2-109B-4876-8729-00A69111ED3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367" name="Straight Connector 366">
                  <a:extLst>
                    <a:ext uri="{FF2B5EF4-FFF2-40B4-BE49-F238E27FC236}">
                      <a16:creationId xmlns:a16="http://schemas.microsoft.com/office/drawing/2014/main" id="{F396AE80-67FA-4AA3-B961-E6C4F0ADF5B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368" name="Straight Connector 367">
                  <a:extLst>
                    <a:ext uri="{FF2B5EF4-FFF2-40B4-BE49-F238E27FC236}">
                      <a16:creationId xmlns:a16="http://schemas.microsoft.com/office/drawing/2014/main" id="{7ECC4822-7644-46AB-95B8-1B2840610E9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369" name="Group 368">
                  <a:extLst>
                    <a:ext uri="{FF2B5EF4-FFF2-40B4-BE49-F238E27FC236}">
                      <a16:creationId xmlns:a16="http://schemas.microsoft.com/office/drawing/2014/main" id="{B35BE6F1-7E6E-491C-8871-46ED25777E51}"/>
                    </a:ext>
                  </a:extLst>
                </p:cNvPr>
                <p:cNvGrpSpPr/>
                <p:nvPr/>
              </p:nvGrpSpPr>
              <p:grpSpPr>
                <a:xfrm>
                  <a:off x="2022695" y="1566515"/>
                  <a:ext cx="766903" cy="767014"/>
                  <a:chOff x="9123445" y="2463609"/>
                  <a:chExt cx="652033" cy="652035"/>
                </a:xfrm>
              </p:grpSpPr>
              <p:sp>
                <p:nvSpPr>
                  <p:cNvPr id="373" name="Oval 372">
                    <a:extLst>
                      <a:ext uri="{FF2B5EF4-FFF2-40B4-BE49-F238E27FC236}">
                        <a16:creationId xmlns:a16="http://schemas.microsoft.com/office/drawing/2014/main" id="{4D41579C-52B6-465D-BC68-FBF1F085B15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74" name="Freeform 313">
                    <a:extLst>
                      <a:ext uri="{FF2B5EF4-FFF2-40B4-BE49-F238E27FC236}">
                        <a16:creationId xmlns:a16="http://schemas.microsoft.com/office/drawing/2014/main" id="{E5EC868E-ABEE-4B97-B9A3-3BC26201A22F}"/>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370" name="Group 369">
                  <a:extLst>
                    <a:ext uri="{FF2B5EF4-FFF2-40B4-BE49-F238E27FC236}">
                      <a16:creationId xmlns:a16="http://schemas.microsoft.com/office/drawing/2014/main" id="{CE724CF0-1614-4F3C-981C-6B532BCB193E}"/>
                    </a:ext>
                  </a:extLst>
                </p:cNvPr>
                <p:cNvGrpSpPr/>
                <p:nvPr/>
              </p:nvGrpSpPr>
              <p:grpSpPr>
                <a:xfrm>
                  <a:off x="1973388" y="1517311"/>
                  <a:ext cx="853073" cy="853194"/>
                  <a:chOff x="9123452" y="2463609"/>
                  <a:chExt cx="652035" cy="652035"/>
                </a:xfrm>
              </p:grpSpPr>
              <p:sp>
                <p:nvSpPr>
                  <p:cNvPr id="371" name="Oval 370">
                    <a:extLst>
                      <a:ext uri="{FF2B5EF4-FFF2-40B4-BE49-F238E27FC236}">
                        <a16:creationId xmlns:a16="http://schemas.microsoft.com/office/drawing/2014/main" id="{58C407B6-03B3-4F80-AEDC-0FD960FA3986}"/>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72" name="Freeform 311">
                    <a:extLst>
                      <a:ext uri="{FF2B5EF4-FFF2-40B4-BE49-F238E27FC236}">
                        <a16:creationId xmlns:a16="http://schemas.microsoft.com/office/drawing/2014/main" id="{728BD067-514C-40B6-8BDC-C89C11ABB12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253" name="Group 252">
                <a:extLst>
                  <a:ext uri="{FF2B5EF4-FFF2-40B4-BE49-F238E27FC236}">
                    <a16:creationId xmlns:a16="http://schemas.microsoft.com/office/drawing/2014/main" id="{3C6E3F85-62CF-4494-A8B5-DF9E292035E4}"/>
                  </a:ext>
                </a:extLst>
              </p:cNvPr>
              <p:cNvGrpSpPr/>
              <p:nvPr/>
            </p:nvGrpSpPr>
            <p:grpSpPr>
              <a:xfrm>
                <a:off x="1226671" y="3909844"/>
                <a:ext cx="304563" cy="307388"/>
                <a:chOff x="4471988" y="3821062"/>
                <a:chExt cx="2035176" cy="2113013"/>
              </a:xfrm>
            </p:grpSpPr>
            <p:sp>
              <p:nvSpPr>
                <p:cNvPr id="297" name="Rectangle 6">
                  <a:extLst>
                    <a:ext uri="{FF2B5EF4-FFF2-40B4-BE49-F238E27FC236}">
                      <a16:creationId xmlns:a16="http://schemas.microsoft.com/office/drawing/2014/main" id="{69FD16A2-762E-450B-8209-8A1A9E5B5CAF}"/>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8" name="Freeform 7">
                  <a:extLst>
                    <a:ext uri="{FF2B5EF4-FFF2-40B4-BE49-F238E27FC236}">
                      <a16:creationId xmlns:a16="http://schemas.microsoft.com/office/drawing/2014/main" id="{01690F96-EDAA-464E-935A-34A7C0E33C0D}"/>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9" name="Freeform 10">
                  <a:extLst>
                    <a:ext uri="{FF2B5EF4-FFF2-40B4-BE49-F238E27FC236}">
                      <a16:creationId xmlns:a16="http://schemas.microsoft.com/office/drawing/2014/main" id="{1558E4FE-E89D-434A-91CA-06F40C9F602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0" name="Freeform 11">
                  <a:extLst>
                    <a:ext uri="{FF2B5EF4-FFF2-40B4-BE49-F238E27FC236}">
                      <a16:creationId xmlns:a16="http://schemas.microsoft.com/office/drawing/2014/main" id="{9F6AA46A-CE86-46B2-AB4A-F95A7741DBBB}"/>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1" name="Oval 12">
                  <a:extLst>
                    <a:ext uri="{FF2B5EF4-FFF2-40B4-BE49-F238E27FC236}">
                      <a16:creationId xmlns:a16="http://schemas.microsoft.com/office/drawing/2014/main" id="{6A284F17-9FA6-4277-A4DE-811A5E1C247F}"/>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2" name="Oval 13">
                  <a:extLst>
                    <a:ext uri="{FF2B5EF4-FFF2-40B4-BE49-F238E27FC236}">
                      <a16:creationId xmlns:a16="http://schemas.microsoft.com/office/drawing/2014/main" id="{6C3634A5-B96B-41A8-9963-338B8EA7D610}"/>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3" name="Freeform 14">
                  <a:extLst>
                    <a:ext uri="{FF2B5EF4-FFF2-40B4-BE49-F238E27FC236}">
                      <a16:creationId xmlns:a16="http://schemas.microsoft.com/office/drawing/2014/main" id="{4524B4BA-27B1-4318-8023-22361798913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4" name="Rectangle 15">
                  <a:extLst>
                    <a:ext uri="{FF2B5EF4-FFF2-40B4-BE49-F238E27FC236}">
                      <a16:creationId xmlns:a16="http://schemas.microsoft.com/office/drawing/2014/main" id="{8638293D-33AA-44ED-87C6-5E14E3A2D146}"/>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5" name="Rectangle 16">
                  <a:extLst>
                    <a:ext uri="{FF2B5EF4-FFF2-40B4-BE49-F238E27FC236}">
                      <a16:creationId xmlns:a16="http://schemas.microsoft.com/office/drawing/2014/main" id="{8B8C31D0-AB07-4557-B78E-AEA965ECCA94}"/>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6" name="Freeform 17">
                  <a:extLst>
                    <a:ext uri="{FF2B5EF4-FFF2-40B4-BE49-F238E27FC236}">
                      <a16:creationId xmlns:a16="http://schemas.microsoft.com/office/drawing/2014/main" id="{B2FF59F6-112B-4C65-AE60-10184CE5D28A}"/>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7" name="Freeform 18">
                  <a:extLst>
                    <a:ext uri="{FF2B5EF4-FFF2-40B4-BE49-F238E27FC236}">
                      <a16:creationId xmlns:a16="http://schemas.microsoft.com/office/drawing/2014/main" id="{B8786315-DEA5-4FB5-BDDB-C4B54A2CB83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8" name="Rectangle 19">
                  <a:extLst>
                    <a:ext uri="{FF2B5EF4-FFF2-40B4-BE49-F238E27FC236}">
                      <a16:creationId xmlns:a16="http://schemas.microsoft.com/office/drawing/2014/main" id="{C1FE717D-027E-4CAE-81FD-6717D4B00A3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9" name="Freeform 20">
                  <a:extLst>
                    <a:ext uri="{FF2B5EF4-FFF2-40B4-BE49-F238E27FC236}">
                      <a16:creationId xmlns:a16="http://schemas.microsoft.com/office/drawing/2014/main" id="{664FDB90-2DE1-407A-94F1-12DE0DEE569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0" name="Freeform 21">
                  <a:extLst>
                    <a:ext uri="{FF2B5EF4-FFF2-40B4-BE49-F238E27FC236}">
                      <a16:creationId xmlns:a16="http://schemas.microsoft.com/office/drawing/2014/main" id="{A7EFF13A-7B63-4EB7-8E68-5BD009C20250}"/>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1" name="Freeform 22">
                  <a:extLst>
                    <a:ext uri="{FF2B5EF4-FFF2-40B4-BE49-F238E27FC236}">
                      <a16:creationId xmlns:a16="http://schemas.microsoft.com/office/drawing/2014/main" id="{F29F6A25-7240-4E60-9230-97439CE2D8B8}"/>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2" name="Freeform 23">
                  <a:extLst>
                    <a:ext uri="{FF2B5EF4-FFF2-40B4-BE49-F238E27FC236}">
                      <a16:creationId xmlns:a16="http://schemas.microsoft.com/office/drawing/2014/main" id="{58F3C249-515B-4833-B132-04B54CC3165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3" name="Freeform 24">
                  <a:extLst>
                    <a:ext uri="{FF2B5EF4-FFF2-40B4-BE49-F238E27FC236}">
                      <a16:creationId xmlns:a16="http://schemas.microsoft.com/office/drawing/2014/main" id="{76200606-9182-4B01-A270-F6DFA493D0BB}"/>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4" name="Rectangle 25">
                  <a:extLst>
                    <a:ext uri="{FF2B5EF4-FFF2-40B4-BE49-F238E27FC236}">
                      <a16:creationId xmlns:a16="http://schemas.microsoft.com/office/drawing/2014/main" id="{1958F8B3-B78E-4E1F-BF12-FE7A7B6BEC0A}"/>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5" name="Freeform 26">
                  <a:extLst>
                    <a:ext uri="{FF2B5EF4-FFF2-40B4-BE49-F238E27FC236}">
                      <a16:creationId xmlns:a16="http://schemas.microsoft.com/office/drawing/2014/main" id="{F75B683C-5CB8-40F5-8B75-0C404D180925}"/>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6" name="Freeform 27">
                  <a:extLst>
                    <a:ext uri="{FF2B5EF4-FFF2-40B4-BE49-F238E27FC236}">
                      <a16:creationId xmlns:a16="http://schemas.microsoft.com/office/drawing/2014/main" id="{198CF702-51CC-4B6F-BF96-D1DB811450BA}"/>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7" name="Freeform 28">
                  <a:extLst>
                    <a:ext uri="{FF2B5EF4-FFF2-40B4-BE49-F238E27FC236}">
                      <a16:creationId xmlns:a16="http://schemas.microsoft.com/office/drawing/2014/main" id="{30AB7774-34C3-4D12-B0A0-F8EA1BFDA15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8" name="Freeform 29">
                  <a:extLst>
                    <a:ext uri="{FF2B5EF4-FFF2-40B4-BE49-F238E27FC236}">
                      <a16:creationId xmlns:a16="http://schemas.microsoft.com/office/drawing/2014/main" id="{AA16E4D1-E426-4112-ADDD-E90416349E3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9" name="Freeform 30">
                  <a:extLst>
                    <a:ext uri="{FF2B5EF4-FFF2-40B4-BE49-F238E27FC236}">
                      <a16:creationId xmlns:a16="http://schemas.microsoft.com/office/drawing/2014/main" id="{71997603-AB43-4E09-B5D0-D4E00590D2B0}"/>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0" name="Freeform 31">
                  <a:extLst>
                    <a:ext uri="{FF2B5EF4-FFF2-40B4-BE49-F238E27FC236}">
                      <a16:creationId xmlns:a16="http://schemas.microsoft.com/office/drawing/2014/main" id="{C2B3725C-26DF-4095-86F0-9A6DA0D1B804}"/>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1" name="Freeform 32">
                  <a:extLst>
                    <a:ext uri="{FF2B5EF4-FFF2-40B4-BE49-F238E27FC236}">
                      <a16:creationId xmlns:a16="http://schemas.microsoft.com/office/drawing/2014/main" id="{11A5CB8E-DD74-4652-B0B5-1C5CB417221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2" name="Freeform 102">
                  <a:extLst>
                    <a:ext uri="{FF2B5EF4-FFF2-40B4-BE49-F238E27FC236}">
                      <a16:creationId xmlns:a16="http://schemas.microsoft.com/office/drawing/2014/main" id="{8FC742CB-A059-4770-9688-1576723DAB21}"/>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3" name="Freeform 103">
                  <a:extLst>
                    <a:ext uri="{FF2B5EF4-FFF2-40B4-BE49-F238E27FC236}">
                      <a16:creationId xmlns:a16="http://schemas.microsoft.com/office/drawing/2014/main" id="{8DBC6D6B-D353-4110-B913-0D215793F314}"/>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4" name="Freeform 104">
                  <a:extLst>
                    <a:ext uri="{FF2B5EF4-FFF2-40B4-BE49-F238E27FC236}">
                      <a16:creationId xmlns:a16="http://schemas.microsoft.com/office/drawing/2014/main" id="{844EC1B3-099C-4BE2-A444-1DC92CC0AEDF}"/>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5" name="Freeform 105">
                  <a:extLst>
                    <a:ext uri="{FF2B5EF4-FFF2-40B4-BE49-F238E27FC236}">
                      <a16:creationId xmlns:a16="http://schemas.microsoft.com/office/drawing/2014/main" id="{EEA4EC27-7052-4756-B9FF-CEA82CF2727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6" name="Freeform 106">
                  <a:extLst>
                    <a:ext uri="{FF2B5EF4-FFF2-40B4-BE49-F238E27FC236}">
                      <a16:creationId xmlns:a16="http://schemas.microsoft.com/office/drawing/2014/main" id="{02FDC6C5-C022-4368-8C19-337A889A5D5F}"/>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7" name="Freeform 107">
                  <a:extLst>
                    <a:ext uri="{FF2B5EF4-FFF2-40B4-BE49-F238E27FC236}">
                      <a16:creationId xmlns:a16="http://schemas.microsoft.com/office/drawing/2014/main" id="{47C60BE2-5C2C-4844-B6BA-E727B973A7B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8" name="Freeform 108">
                  <a:extLst>
                    <a:ext uri="{FF2B5EF4-FFF2-40B4-BE49-F238E27FC236}">
                      <a16:creationId xmlns:a16="http://schemas.microsoft.com/office/drawing/2014/main" id="{E86B7110-AFEE-458B-8930-7F33944915B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9" name="Rectangle 328">
                  <a:extLst>
                    <a:ext uri="{FF2B5EF4-FFF2-40B4-BE49-F238E27FC236}">
                      <a16:creationId xmlns:a16="http://schemas.microsoft.com/office/drawing/2014/main" id="{32CAC4C5-E8CE-43AA-8632-D8937737F36F}"/>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0" name="Freeform 110">
                  <a:extLst>
                    <a:ext uri="{FF2B5EF4-FFF2-40B4-BE49-F238E27FC236}">
                      <a16:creationId xmlns:a16="http://schemas.microsoft.com/office/drawing/2014/main" id="{1C8913C5-45F7-42CA-A2B1-70C3D9C3D25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1" name="Freeform 111">
                  <a:extLst>
                    <a:ext uri="{FF2B5EF4-FFF2-40B4-BE49-F238E27FC236}">
                      <a16:creationId xmlns:a16="http://schemas.microsoft.com/office/drawing/2014/main" id="{8CFFC1C8-0CFC-4B73-A3E4-5078F1CA105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5" name="Freeform 112">
                  <a:extLst>
                    <a:ext uri="{FF2B5EF4-FFF2-40B4-BE49-F238E27FC236}">
                      <a16:creationId xmlns:a16="http://schemas.microsoft.com/office/drawing/2014/main" id="{FF74597F-D8ED-44CE-981D-B1D639C414A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6" name="Freeform 113">
                  <a:extLst>
                    <a:ext uri="{FF2B5EF4-FFF2-40B4-BE49-F238E27FC236}">
                      <a16:creationId xmlns:a16="http://schemas.microsoft.com/office/drawing/2014/main" id="{B61FE460-C731-4861-A770-2B3502A98EC3}"/>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7" name="Rectangle 336">
                  <a:extLst>
                    <a:ext uri="{FF2B5EF4-FFF2-40B4-BE49-F238E27FC236}">
                      <a16:creationId xmlns:a16="http://schemas.microsoft.com/office/drawing/2014/main" id="{7FA3646B-196B-49D1-B600-EF22D8A571C3}"/>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9" name="Freeform 115">
                  <a:extLst>
                    <a:ext uri="{FF2B5EF4-FFF2-40B4-BE49-F238E27FC236}">
                      <a16:creationId xmlns:a16="http://schemas.microsoft.com/office/drawing/2014/main" id="{DA1C1976-5809-4DEE-8570-855CD239C11D}"/>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5" name="Freeform 116">
                  <a:extLst>
                    <a:ext uri="{FF2B5EF4-FFF2-40B4-BE49-F238E27FC236}">
                      <a16:creationId xmlns:a16="http://schemas.microsoft.com/office/drawing/2014/main" id="{35B79164-A4A8-4461-8292-D843BB1E7F06}"/>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6" name="Freeform 117">
                  <a:extLst>
                    <a:ext uri="{FF2B5EF4-FFF2-40B4-BE49-F238E27FC236}">
                      <a16:creationId xmlns:a16="http://schemas.microsoft.com/office/drawing/2014/main" id="{CF1A1170-F480-4128-B2A5-0DE52B75E1C7}"/>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7" name="Freeform 118">
                  <a:extLst>
                    <a:ext uri="{FF2B5EF4-FFF2-40B4-BE49-F238E27FC236}">
                      <a16:creationId xmlns:a16="http://schemas.microsoft.com/office/drawing/2014/main" id="{4BCD88C8-4727-4E30-AC85-637034B7A05D}"/>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8" name="Oval 347">
                  <a:extLst>
                    <a:ext uri="{FF2B5EF4-FFF2-40B4-BE49-F238E27FC236}">
                      <a16:creationId xmlns:a16="http://schemas.microsoft.com/office/drawing/2014/main" id="{817AF9B5-D106-441C-AB74-C5FF1BDF2258}"/>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9" name="Freeform 120">
                  <a:extLst>
                    <a:ext uri="{FF2B5EF4-FFF2-40B4-BE49-F238E27FC236}">
                      <a16:creationId xmlns:a16="http://schemas.microsoft.com/office/drawing/2014/main" id="{57F0731D-68C7-440D-A9C7-44376EF5060D}"/>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0" name="Freeform 121">
                  <a:extLst>
                    <a:ext uri="{FF2B5EF4-FFF2-40B4-BE49-F238E27FC236}">
                      <a16:creationId xmlns:a16="http://schemas.microsoft.com/office/drawing/2014/main" id="{5516B0C4-A7D5-4582-8FCA-FAE2A3A6498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1" name="Freeform 122">
                  <a:extLst>
                    <a:ext uri="{FF2B5EF4-FFF2-40B4-BE49-F238E27FC236}">
                      <a16:creationId xmlns:a16="http://schemas.microsoft.com/office/drawing/2014/main" id="{AAB6B710-A2B5-4B9C-A18B-4B2401944AB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2" name="Freeform 123">
                  <a:extLst>
                    <a:ext uri="{FF2B5EF4-FFF2-40B4-BE49-F238E27FC236}">
                      <a16:creationId xmlns:a16="http://schemas.microsoft.com/office/drawing/2014/main" id="{6D676AB2-E141-46EF-8F93-F68BB2FFFE6E}"/>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3" name="Freeform 124">
                  <a:extLst>
                    <a:ext uri="{FF2B5EF4-FFF2-40B4-BE49-F238E27FC236}">
                      <a16:creationId xmlns:a16="http://schemas.microsoft.com/office/drawing/2014/main" id="{DADC9226-1E15-44CE-9A91-4023178FFDFE}"/>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4" name="Freeform 63">
                  <a:extLst>
                    <a:ext uri="{FF2B5EF4-FFF2-40B4-BE49-F238E27FC236}">
                      <a16:creationId xmlns:a16="http://schemas.microsoft.com/office/drawing/2014/main" id="{62D00E13-10CF-40F3-9150-68CD3AAD60C5}"/>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5" name="Freeform 65">
                  <a:extLst>
                    <a:ext uri="{FF2B5EF4-FFF2-40B4-BE49-F238E27FC236}">
                      <a16:creationId xmlns:a16="http://schemas.microsoft.com/office/drawing/2014/main" id="{363CC235-EE80-4C01-8038-C633882CECAC}"/>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6" name="Freeform 66">
                  <a:extLst>
                    <a:ext uri="{FF2B5EF4-FFF2-40B4-BE49-F238E27FC236}">
                      <a16:creationId xmlns:a16="http://schemas.microsoft.com/office/drawing/2014/main" id="{37E90DDE-DC58-4DAD-9149-8E38462FA7A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7" name="Freeform 67">
                  <a:extLst>
                    <a:ext uri="{FF2B5EF4-FFF2-40B4-BE49-F238E27FC236}">
                      <a16:creationId xmlns:a16="http://schemas.microsoft.com/office/drawing/2014/main" id="{D8A76092-A926-47D8-86EA-97730779B927}"/>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8" name="Oval 68">
                  <a:extLst>
                    <a:ext uri="{FF2B5EF4-FFF2-40B4-BE49-F238E27FC236}">
                      <a16:creationId xmlns:a16="http://schemas.microsoft.com/office/drawing/2014/main" id="{B051EAF7-274B-4F06-874B-B9D6ED760A74}"/>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9" name="Oval 69">
                  <a:extLst>
                    <a:ext uri="{FF2B5EF4-FFF2-40B4-BE49-F238E27FC236}">
                      <a16:creationId xmlns:a16="http://schemas.microsoft.com/office/drawing/2014/main" id="{07F289A5-6463-4395-B65D-02EC2BAB652B}"/>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254" name="Group 253">
                <a:extLst>
                  <a:ext uri="{FF2B5EF4-FFF2-40B4-BE49-F238E27FC236}">
                    <a16:creationId xmlns:a16="http://schemas.microsoft.com/office/drawing/2014/main" id="{FB94A58C-6C56-4648-B01C-40E635F415F4}"/>
                  </a:ext>
                </a:extLst>
              </p:cNvPr>
              <p:cNvGrpSpPr/>
              <p:nvPr/>
            </p:nvGrpSpPr>
            <p:grpSpPr>
              <a:xfrm>
                <a:off x="1206839" y="3914891"/>
                <a:ext cx="469400" cy="342521"/>
                <a:chOff x="1557350" y="4606481"/>
                <a:chExt cx="3001095" cy="2252753"/>
              </a:xfrm>
            </p:grpSpPr>
            <p:sp>
              <p:nvSpPr>
                <p:cNvPr id="256" name="Rectangle 255">
                  <a:extLst>
                    <a:ext uri="{FF2B5EF4-FFF2-40B4-BE49-F238E27FC236}">
                      <a16:creationId xmlns:a16="http://schemas.microsoft.com/office/drawing/2014/main" id="{64AA85AD-0DA7-4D9A-B754-AFFA3378637E}"/>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7" name="Rectangle 256">
                  <a:extLst>
                    <a:ext uri="{FF2B5EF4-FFF2-40B4-BE49-F238E27FC236}">
                      <a16:creationId xmlns:a16="http://schemas.microsoft.com/office/drawing/2014/main" id="{29A7EEE1-E12C-4363-A86E-1989F70F8B58}"/>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8" name="Rectangle 257">
                  <a:extLst>
                    <a:ext uri="{FF2B5EF4-FFF2-40B4-BE49-F238E27FC236}">
                      <a16:creationId xmlns:a16="http://schemas.microsoft.com/office/drawing/2014/main" id="{D77F03DA-A841-4D43-B7B1-7C0696A7680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9" name="Rectangle 258">
                  <a:extLst>
                    <a:ext uri="{FF2B5EF4-FFF2-40B4-BE49-F238E27FC236}">
                      <a16:creationId xmlns:a16="http://schemas.microsoft.com/office/drawing/2014/main" id="{7EEEA124-402A-4BE5-875C-FA8812BDA654}"/>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0" name="Freeform 12">
                  <a:extLst>
                    <a:ext uri="{FF2B5EF4-FFF2-40B4-BE49-F238E27FC236}">
                      <a16:creationId xmlns:a16="http://schemas.microsoft.com/office/drawing/2014/main" id="{26FD4FC4-2ECC-4717-AA1C-9E9146D254DB}"/>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1" name="Rectangle 260">
                  <a:extLst>
                    <a:ext uri="{FF2B5EF4-FFF2-40B4-BE49-F238E27FC236}">
                      <a16:creationId xmlns:a16="http://schemas.microsoft.com/office/drawing/2014/main" id="{976D73CA-7BBB-418C-AE54-3B915E23F4C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2" name="Freeform 14">
                  <a:extLst>
                    <a:ext uri="{FF2B5EF4-FFF2-40B4-BE49-F238E27FC236}">
                      <a16:creationId xmlns:a16="http://schemas.microsoft.com/office/drawing/2014/main" id="{E2367B0E-789F-41A7-886E-A39B03DD98C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3" name="Rectangle 262">
                  <a:extLst>
                    <a:ext uri="{FF2B5EF4-FFF2-40B4-BE49-F238E27FC236}">
                      <a16:creationId xmlns:a16="http://schemas.microsoft.com/office/drawing/2014/main" id="{81412476-B5AE-4626-9E46-2D57A8946510}"/>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4" name="Freeform 16">
                  <a:extLst>
                    <a:ext uri="{FF2B5EF4-FFF2-40B4-BE49-F238E27FC236}">
                      <a16:creationId xmlns:a16="http://schemas.microsoft.com/office/drawing/2014/main" id="{BD544194-D4D8-4236-A84B-23A69554DBE7}"/>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5" name="Freeform 17">
                  <a:extLst>
                    <a:ext uri="{FF2B5EF4-FFF2-40B4-BE49-F238E27FC236}">
                      <a16:creationId xmlns:a16="http://schemas.microsoft.com/office/drawing/2014/main" id="{2967923B-C03C-47C0-8401-2D180AADBF1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6" name="Oval 265">
                  <a:extLst>
                    <a:ext uri="{FF2B5EF4-FFF2-40B4-BE49-F238E27FC236}">
                      <a16:creationId xmlns:a16="http://schemas.microsoft.com/office/drawing/2014/main" id="{00DD9556-5842-4D77-9653-D024F33E9716}"/>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7" name="Rectangle 266">
                  <a:extLst>
                    <a:ext uri="{FF2B5EF4-FFF2-40B4-BE49-F238E27FC236}">
                      <a16:creationId xmlns:a16="http://schemas.microsoft.com/office/drawing/2014/main" id="{8AA39DB1-FFF7-4E84-B115-4FD324B41279}"/>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8" name="Freeform 20">
                  <a:extLst>
                    <a:ext uri="{FF2B5EF4-FFF2-40B4-BE49-F238E27FC236}">
                      <a16:creationId xmlns:a16="http://schemas.microsoft.com/office/drawing/2014/main" id="{3635E48D-5E5A-4AEE-B300-9149FB26DE5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9" name="Freeform 21">
                  <a:extLst>
                    <a:ext uri="{FF2B5EF4-FFF2-40B4-BE49-F238E27FC236}">
                      <a16:creationId xmlns:a16="http://schemas.microsoft.com/office/drawing/2014/main" id="{4AEFC042-7E5F-4A9D-81CB-38F2D73D8293}"/>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270" name="Group 269">
                  <a:extLst>
                    <a:ext uri="{FF2B5EF4-FFF2-40B4-BE49-F238E27FC236}">
                      <a16:creationId xmlns:a16="http://schemas.microsoft.com/office/drawing/2014/main" id="{D9E38562-7FBF-4EA7-BE53-FEAA0292D479}"/>
                    </a:ext>
                  </a:extLst>
                </p:cNvPr>
                <p:cNvGrpSpPr/>
                <p:nvPr/>
              </p:nvGrpSpPr>
              <p:grpSpPr>
                <a:xfrm>
                  <a:off x="3298176" y="4606481"/>
                  <a:ext cx="1260269" cy="2252753"/>
                  <a:chOff x="10352191" y="4087395"/>
                  <a:chExt cx="1336826" cy="2389605"/>
                </a:xfrm>
              </p:grpSpPr>
              <p:sp>
                <p:nvSpPr>
                  <p:cNvPr id="271" name="Rectangle 270">
                    <a:extLst>
                      <a:ext uri="{FF2B5EF4-FFF2-40B4-BE49-F238E27FC236}">
                        <a16:creationId xmlns:a16="http://schemas.microsoft.com/office/drawing/2014/main" id="{2F501968-C384-4DFF-9D75-C5E21A05DC2A}"/>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2" name="Round Same Side Corner Rectangle 52">
                    <a:extLst>
                      <a:ext uri="{FF2B5EF4-FFF2-40B4-BE49-F238E27FC236}">
                        <a16:creationId xmlns:a16="http://schemas.microsoft.com/office/drawing/2014/main" id="{7FE12884-840D-4C55-B7C5-EC3C44AD5C83}"/>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273" name="Rectangle 272">
                    <a:extLst>
                      <a:ext uri="{FF2B5EF4-FFF2-40B4-BE49-F238E27FC236}">
                        <a16:creationId xmlns:a16="http://schemas.microsoft.com/office/drawing/2014/main" id="{CD15CCC4-85BC-4104-AB5C-F5171DB3F59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4" name="Freeform 54">
                    <a:extLst>
                      <a:ext uri="{FF2B5EF4-FFF2-40B4-BE49-F238E27FC236}">
                        <a16:creationId xmlns:a16="http://schemas.microsoft.com/office/drawing/2014/main" id="{CCE8B56D-D011-48B1-8F4D-42BE983E4062}"/>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5" name="Freeform 55">
                    <a:extLst>
                      <a:ext uri="{FF2B5EF4-FFF2-40B4-BE49-F238E27FC236}">
                        <a16:creationId xmlns:a16="http://schemas.microsoft.com/office/drawing/2014/main" id="{5CA0DCF6-49E0-4437-AB9C-92E7752BF43D}"/>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6" name="Freeform 56">
                    <a:extLst>
                      <a:ext uri="{FF2B5EF4-FFF2-40B4-BE49-F238E27FC236}">
                        <a16:creationId xmlns:a16="http://schemas.microsoft.com/office/drawing/2014/main" id="{CAFD3558-D0B3-4A81-B6F4-F495C9B71BC2}"/>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7" name="Freeform 57">
                    <a:extLst>
                      <a:ext uri="{FF2B5EF4-FFF2-40B4-BE49-F238E27FC236}">
                        <a16:creationId xmlns:a16="http://schemas.microsoft.com/office/drawing/2014/main" id="{CB29B28F-CA15-4C9D-9F3D-A2EE0B83332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8" name="Freeform 58">
                    <a:extLst>
                      <a:ext uri="{FF2B5EF4-FFF2-40B4-BE49-F238E27FC236}">
                        <a16:creationId xmlns:a16="http://schemas.microsoft.com/office/drawing/2014/main" id="{ED26110A-5729-4FA8-8233-052EAC1BF3E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9" name="Freeform 59">
                    <a:extLst>
                      <a:ext uri="{FF2B5EF4-FFF2-40B4-BE49-F238E27FC236}">
                        <a16:creationId xmlns:a16="http://schemas.microsoft.com/office/drawing/2014/main" id="{AE296E62-FB72-4765-8BAB-3A9EC16FFA48}"/>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0" name="Freeform 60">
                    <a:extLst>
                      <a:ext uri="{FF2B5EF4-FFF2-40B4-BE49-F238E27FC236}">
                        <a16:creationId xmlns:a16="http://schemas.microsoft.com/office/drawing/2014/main" id="{7A9CEAFE-68C1-4DB7-A54C-60DB8DCCFE94}"/>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1" name="Freeform 61">
                    <a:extLst>
                      <a:ext uri="{FF2B5EF4-FFF2-40B4-BE49-F238E27FC236}">
                        <a16:creationId xmlns:a16="http://schemas.microsoft.com/office/drawing/2014/main" id="{A2BC14C2-A29F-448E-A598-2E4C6C7BDBB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2" name="Oval 281">
                    <a:extLst>
                      <a:ext uri="{FF2B5EF4-FFF2-40B4-BE49-F238E27FC236}">
                        <a16:creationId xmlns:a16="http://schemas.microsoft.com/office/drawing/2014/main" id="{983CD198-4225-4FCF-BDB8-75F09C8D73CE}"/>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3" name="Freeform 63">
                    <a:extLst>
                      <a:ext uri="{FF2B5EF4-FFF2-40B4-BE49-F238E27FC236}">
                        <a16:creationId xmlns:a16="http://schemas.microsoft.com/office/drawing/2014/main" id="{8D3CCC93-912E-4B16-AD06-3FAFE19470A1}"/>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4" name="Rectangle 283">
                    <a:extLst>
                      <a:ext uri="{FF2B5EF4-FFF2-40B4-BE49-F238E27FC236}">
                        <a16:creationId xmlns:a16="http://schemas.microsoft.com/office/drawing/2014/main" id="{0BC77ED3-5CD4-4450-BEE0-71C23F26E23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5" name="Freeform 65">
                    <a:extLst>
                      <a:ext uri="{FF2B5EF4-FFF2-40B4-BE49-F238E27FC236}">
                        <a16:creationId xmlns:a16="http://schemas.microsoft.com/office/drawing/2014/main" id="{B4D40948-24CD-4E63-AADF-2B20F8B2FBA7}"/>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6" name="Freeform 66">
                    <a:extLst>
                      <a:ext uri="{FF2B5EF4-FFF2-40B4-BE49-F238E27FC236}">
                        <a16:creationId xmlns:a16="http://schemas.microsoft.com/office/drawing/2014/main" id="{A76C08F2-6FD4-4ED4-B664-05B5235BDAF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7" name="Rectangle 286">
                    <a:extLst>
                      <a:ext uri="{FF2B5EF4-FFF2-40B4-BE49-F238E27FC236}">
                        <a16:creationId xmlns:a16="http://schemas.microsoft.com/office/drawing/2014/main" id="{4EC494E8-830D-4E92-9338-B55FE379F852}"/>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8" name="Freeform 68">
                    <a:extLst>
                      <a:ext uri="{FF2B5EF4-FFF2-40B4-BE49-F238E27FC236}">
                        <a16:creationId xmlns:a16="http://schemas.microsoft.com/office/drawing/2014/main" id="{1B492A83-6ED1-4059-86D1-1BD847E06A3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9" name="Freeform 69">
                    <a:extLst>
                      <a:ext uri="{FF2B5EF4-FFF2-40B4-BE49-F238E27FC236}">
                        <a16:creationId xmlns:a16="http://schemas.microsoft.com/office/drawing/2014/main" id="{34F66EEA-BB0A-432D-8B3D-9A1A25DEC26D}"/>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0" name="Freeform 70">
                    <a:extLst>
                      <a:ext uri="{FF2B5EF4-FFF2-40B4-BE49-F238E27FC236}">
                        <a16:creationId xmlns:a16="http://schemas.microsoft.com/office/drawing/2014/main" id="{F3344736-A055-47B7-8D2D-B1E11C0CC587}"/>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1" name="Freeform 71">
                    <a:extLst>
                      <a:ext uri="{FF2B5EF4-FFF2-40B4-BE49-F238E27FC236}">
                        <a16:creationId xmlns:a16="http://schemas.microsoft.com/office/drawing/2014/main" id="{44D5BCD1-E416-4DC1-8E21-4944B23433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2" name="Freeform 72">
                    <a:extLst>
                      <a:ext uri="{FF2B5EF4-FFF2-40B4-BE49-F238E27FC236}">
                        <a16:creationId xmlns:a16="http://schemas.microsoft.com/office/drawing/2014/main" id="{D0886D0A-B0DF-41D5-BD12-52F92A42F5D4}"/>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3" name="Freeform 73">
                    <a:extLst>
                      <a:ext uri="{FF2B5EF4-FFF2-40B4-BE49-F238E27FC236}">
                        <a16:creationId xmlns:a16="http://schemas.microsoft.com/office/drawing/2014/main" id="{79A1EB61-789C-4597-BDB8-C8B1444A5794}"/>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4" name="Freeform 74">
                    <a:extLst>
                      <a:ext uri="{FF2B5EF4-FFF2-40B4-BE49-F238E27FC236}">
                        <a16:creationId xmlns:a16="http://schemas.microsoft.com/office/drawing/2014/main" id="{6CECBBA6-2492-4D2B-9AD2-C35BA1F357A8}"/>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5" name="Rectangle 294">
                    <a:extLst>
                      <a:ext uri="{FF2B5EF4-FFF2-40B4-BE49-F238E27FC236}">
                        <a16:creationId xmlns:a16="http://schemas.microsoft.com/office/drawing/2014/main" id="{553B39AB-3F7F-4C1A-8C92-3CACF20D9B2B}"/>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6" name="Rectangle 295">
                    <a:extLst>
                      <a:ext uri="{FF2B5EF4-FFF2-40B4-BE49-F238E27FC236}">
                        <a16:creationId xmlns:a16="http://schemas.microsoft.com/office/drawing/2014/main" id="{BC973495-52E5-4035-B89D-5BC3407710B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255" name="Rectangle 254">
                <a:extLst>
                  <a:ext uri="{FF2B5EF4-FFF2-40B4-BE49-F238E27FC236}">
                    <a16:creationId xmlns:a16="http://schemas.microsoft.com/office/drawing/2014/main" id="{A193E4AF-2C40-4AF5-ACA2-F2F6495559E1}"/>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78" name="Rectangle 177">
            <a:extLst>
              <a:ext uri="{FF2B5EF4-FFF2-40B4-BE49-F238E27FC236}">
                <a16:creationId xmlns:a16="http://schemas.microsoft.com/office/drawing/2014/main" id="{06B651B3-E442-4217-88B5-F2F2853FBB35}"/>
              </a:ext>
            </a:extLst>
          </p:cNvPr>
          <p:cNvSpPr/>
          <p:nvPr/>
        </p:nvSpPr>
        <p:spPr>
          <a:xfrm>
            <a:off x="583459" y="6306045"/>
            <a:ext cx="11017779" cy="230222"/>
          </a:xfrm>
          <a:prstGeom prst="rect">
            <a:avLst/>
          </a:prstGeom>
        </p:spPr>
        <p:txBody>
          <a:bodyPr wrap="square" lIns="0" tIns="0" rIns="0" bIns="0" anchor="t">
            <a:noAutofit/>
          </a:bodyPr>
          <a:lstStyle/>
          <a:p>
            <a:pPr fontAlgn="base"/>
            <a:r>
              <a:rPr lang="en-US" sz="1000" dirty="0"/>
              <a:t>* Coming soon</a:t>
            </a:r>
          </a:p>
        </p:txBody>
      </p:sp>
      <p:sp>
        <p:nvSpPr>
          <p:cNvPr id="179" name="Rectangle 178">
            <a:extLst>
              <a:ext uri="{FF2B5EF4-FFF2-40B4-BE49-F238E27FC236}">
                <a16:creationId xmlns:a16="http://schemas.microsoft.com/office/drawing/2014/main" id="{1C8585C3-BC94-45FA-BFB0-214D9388C08D}"/>
              </a:ext>
            </a:extLst>
          </p:cNvPr>
          <p:cNvSpPr/>
          <p:nvPr/>
        </p:nvSpPr>
        <p:spPr>
          <a:xfrm>
            <a:off x="533943" y="114846"/>
            <a:ext cx="4133119" cy="369332"/>
          </a:xfrm>
          <a:prstGeom prst="rect">
            <a:avLst/>
          </a:prstGeom>
        </p:spPr>
        <p:txBody>
          <a:bodyPr wrap="none">
            <a:spAutoFit/>
          </a:bodyPr>
          <a:lstStyle/>
          <a:p>
            <a:r>
              <a:rPr lang="en-US" b="1" i="1" dirty="0"/>
              <a:t>Best Virtualized End-user Experience</a:t>
            </a:r>
          </a:p>
        </p:txBody>
      </p:sp>
      <p:grpSp>
        <p:nvGrpSpPr>
          <p:cNvPr id="186" name="Group 185">
            <a:extLst>
              <a:ext uri="{FF2B5EF4-FFF2-40B4-BE49-F238E27FC236}">
                <a16:creationId xmlns:a16="http://schemas.microsoft.com/office/drawing/2014/main" id="{45B93727-9564-41BC-A07E-CCC90664A999}"/>
              </a:ext>
            </a:extLst>
          </p:cNvPr>
          <p:cNvGrpSpPr/>
          <p:nvPr/>
        </p:nvGrpSpPr>
        <p:grpSpPr>
          <a:xfrm>
            <a:off x="10052458" y="146014"/>
            <a:ext cx="2033626" cy="1015650"/>
            <a:chOff x="10052458" y="146014"/>
            <a:chExt cx="2033626" cy="1015650"/>
          </a:xfrm>
        </p:grpSpPr>
        <p:pic>
          <p:nvPicPr>
            <p:cNvPr id="187" name="Picture 186">
              <a:extLst>
                <a:ext uri="{FF2B5EF4-FFF2-40B4-BE49-F238E27FC236}">
                  <a16:creationId xmlns:a16="http://schemas.microsoft.com/office/drawing/2014/main" id="{7D7EC739-A04E-4318-BDC4-CB191BC10E76}"/>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188" name="Rectangle 187">
              <a:extLst>
                <a:ext uri="{FF2B5EF4-FFF2-40B4-BE49-F238E27FC236}">
                  <a16:creationId xmlns:a16="http://schemas.microsoft.com/office/drawing/2014/main" id="{1C8E3C3C-7F29-45EA-A09B-54B816148FF4}"/>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2608293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1237767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Differentiated Windows Experience</a:t>
            </a:r>
          </a:p>
        </p:txBody>
      </p:sp>
      <p:sp>
        <p:nvSpPr>
          <p:cNvPr id="247" name="Freeform: Shape 246">
            <a:extLst>
              <a:ext uri="{FF2B5EF4-FFF2-40B4-BE49-F238E27FC236}">
                <a16:creationId xmlns:a16="http://schemas.microsoft.com/office/drawing/2014/main" id="{7953571A-41B1-4264-B5C4-16D553DEC093}"/>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b="1" spc="-30" dirty="0">
                <a:solidFill>
                  <a:schemeClr val="tx2"/>
                </a:solidFill>
                <a:cs typeface="Segoe UI" pitchFamily="34" charset="0"/>
              </a:rPr>
              <a:t>Windows devices deliver the best WVD experience for end users</a:t>
            </a:r>
            <a:endParaRPr lang="en-US" spc="-30" dirty="0">
              <a:solidFill>
                <a:schemeClr val="tx1"/>
              </a:solidFill>
              <a:cs typeface="Segoe UI" pitchFamily="34" charset="0"/>
            </a:endParaRPr>
          </a:p>
        </p:txBody>
      </p:sp>
      <p:grpSp>
        <p:nvGrpSpPr>
          <p:cNvPr id="248" name="Group 247">
            <a:extLst>
              <a:ext uri="{FF2B5EF4-FFF2-40B4-BE49-F238E27FC236}">
                <a16:creationId xmlns:a16="http://schemas.microsoft.com/office/drawing/2014/main" id="{5D36947D-1A9E-4CBC-9F58-07694FE8672B}"/>
              </a:ext>
            </a:extLst>
          </p:cNvPr>
          <p:cNvGrpSpPr>
            <a:grpSpLocks noChangeAspect="1"/>
          </p:cNvGrpSpPr>
          <p:nvPr/>
        </p:nvGrpSpPr>
        <p:grpSpPr>
          <a:xfrm>
            <a:off x="10777886" y="1372927"/>
            <a:ext cx="806355" cy="914400"/>
            <a:chOff x="797126" y="3893732"/>
            <a:chExt cx="1125722" cy="1276864"/>
          </a:xfrm>
        </p:grpSpPr>
        <p:sp>
          <p:nvSpPr>
            <p:cNvPr id="249" name="Freeform 403">
              <a:extLst>
                <a:ext uri="{FF2B5EF4-FFF2-40B4-BE49-F238E27FC236}">
                  <a16:creationId xmlns:a16="http://schemas.microsoft.com/office/drawing/2014/main" id="{93715FDD-1EED-4F6A-BC9B-F946D4AB223D}"/>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250" name="Freeform: Shape 249">
              <a:extLst>
                <a:ext uri="{FF2B5EF4-FFF2-40B4-BE49-F238E27FC236}">
                  <a16:creationId xmlns:a16="http://schemas.microsoft.com/office/drawing/2014/main" id="{0F1715C5-9AB6-403D-9B80-F7FFEA1FDAA2}"/>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251" name="Group 250">
              <a:extLst>
                <a:ext uri="{FF2B5EF4-FFF2-40B4-BE49-F238E27FC236}">
                  <a16:creationId xmlns:a16="http://schemas.microsoft.com/office/drawing/2014/main" id="{5CB463BF-F0EC-470B-973F-3249BE705183}"/>
                </a:ext>
              </a:extLst>
            </p:cNvPr>
            <p:cNvGrpSpPr/>
            <p:nvPr/>
          </p:nvGrpSpPr>
          <p:grpSpPr>
            <a:xfrm>
              <a:off x="971699" y="4043345"/>
              <a:ext cx="773592" cy="920012"/>
              <a:chOff x="993458" y="3447450"/>
              <a:chExt cx="682781" cy="812014"/>
            </a:xfrm>
          </p:grpSpPr>
          <p:grpSp>
            <p:nvGrpSpPr>
              <p:cNvPr id="252" name="Group 251">
                <a:extLst>
                  <a:ext uri="{FF2B5EF4-FFF2-40B4-BE49-F238E27FC236}">
                    <a16:creationId xmlns:a16="http://schemas.microsoft.com/office/drawing/2014/main" id="{01061A00-3555-4575-A9E1-1E3C494ACFA9}"/>
                  </a:ext>
                </a:extLst>
              </p:cNvPr>
              <p:cNvGrpSpPr/>
              <p:nvPr/>
            </p:nvGrpSpPr>
            <p:grpSpPr>
              <a:xfrm>
                <a:off x="993458" y="3447450"/>
                <a:ext cx="576652" cy="812014"/>
                <a:chOff x="499414" y="1517311"/>
                <a:chExt cx="3686809" cy="5340604"/>
              </a:xfrm>
            </p:grpSpPr>
            <p:sp>
              <p:nvSpPr>
                <p:cNvPr id="360" name="Rectangle 359">
                  <a:extLst>
                    <a:ext uri="{FF2B5EF4-FFF2-40B4-BE49-F238E27FC236}">
                      <a16:creationId xmlns:a16="http://schemas.microsoft.com/office/drawing/2014/main" id="{3FDD0808-F70F-401F-B0AE-B1F91EB2EBB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361" name="Group 360">
                  <a:extLst>
                    <a:ext uri="{FF2B5EF4-FFF2-40B4-BE49-F238E27FC236}">
                      <a16:creationId xmlns:a16="http://schemas.microsoft.com/office/drawing/2014/main" id="{770EC971-E917-49A8-B524-319B6DA99DF0}"/>
                    </a:ext>
                  </a:extLst>
                </p:cNvPr>
                <p:cNvGrpSpPr/>
                <p:nvPr/>
              </p:nvGrpSpPr>
              <p:grpSpPr>
                <a:xfrm rot="20371446">
                  <a:off x="2524661" y="2299216"/>
                  <a:ext cx="859576" cy="554927"/>
                  <a:chOff x="4775201" y="792163"/>
                  <a:chExt cx="2024063" cy="1306513"/>
                </a:xfrm>
              </p:grpSpPr>
              <p:sp>
                <p:nvSpPr>
                  <p:cNvPr id="455" name="Freeform 354">
                    <a:extLst>
                      <a:ext uri="{FF2B5EF4-FFF2-40B4-BE49-F238E27FC236}">
                        <a16:creationId xmlns:a16="http://schemas.microsoft.com/office/drawing/2014/main" id="{C333865D-1D92-4049-8DC6-2C8B2D35F543}"/>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6" name="Rectangle 455">
                    <a:extLst>
                      <a:ext uri="{FF2B5EF4-FFF2-40B4-BE49-F238E27FC236}">
                        <a16:creationId xmlns:a16="http://schemas.microsoft.com/office/drawing/2014/main" id="{B5E0DBF6-44EC-4A66-A72E-61DFB7F9C4B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7" name="Freeform 356">
                    <a:extLst>
                      <a:ext uri="{FF2B5EF4-FFF2-40B4-BE49-F238E27FC236}">
                        <a16:creationId xmlns:a16="http://schemas.microsoft.com/office/drawing/2014/main" id="{2BC5BD4B-A809-4C56-BAD3-5CF953DA7BD3}"/>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8" name="Freeform 357">
                    <a:extLst>
                      <a:ext uri="{FF2B5EF4-FFF2-40B4-BE49-F238E27FC236}">
                        <a16:creationId xmlns:a16="http://schemas.microsoft.com/office/drawing/2014/main" id="{30AB537B-2B84-4792-9A34-27C12C3DC55F}"/>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9" name="Freeform 358">
                    <a:extLst>
                      <a:ext uri="{FF2B5EF4-FFF2-40B4-BE49-F238E27FC236}">
                        <a16:creationId xmlns:a16="http://schemas.microsoft.com/office/drawing/2014/main" id="{62083777-6681-4C0B-B16B-90DFE2273ED7}"/>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0" name="Rectangle 459">
                    <a:extLst>
                      <a:ext uri="{FF2B5EF4-FFF2-40B4-BE49-F238E27FC236}">
                        <a16:creationId xmlns:a16="http://schemas.microsoft.com/office/drawing/2014/main" id="{85B5F34C-0C6A-45C3-9672-1BFDDB640A69}"/>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1" name="Freeform 360">
                    <a:extLst>
                      <a:ext uri="{FF2B5EF4-FFF2-40B4-BE49-F238E27FC236}">
                        <a16:creationId xmlns:a16="http://schemas.microsoft.com/office/drawing/2014/main" id="{387E5986-E75F-41DA-B21C-A9C09104617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2" name="Rectangle 461">
                    <a:extLst>
                      <a:ext uri="{FF2B5EF4-FFF2-40B4-BE49-F238E27FC236}">
                        <a16:creationId xmlns:a16="http://schemas.microsoft.com/office/drawing/2014/main" id="{85B8E395-E403-46F7-AC6A-8F315297820F}"/>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3" name="Rectangle 462">
                    <a:extLst>
                      <a:ext uri="{FF2B5EF4-FFF2-40B4-BE49-F238E27FC236}">
                        <a16:creationId xmlns:a16="http://schemas.microsoft.com/office/drawing/2014/main" id="{27546CDB-0760-4FF2-960A-CCEA56B93C26}"/>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4" name="Rectangle 463">
                    <a:extLst>
                      <a:ext uri="{FF2B5EF4-FFF2-40B4-BE49-F238E27FC236}">
                        <a16:creationId xmlns:a16="http://schemas.microsoft.com/office/drawing/2014/main" id="{25E1DFF5-EA41-4795-94BF-6FA93674D09F}"/>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5" name="Rectangle 464">
                    <a:extLst>
                      <a:ext uri="{FF2B5EF4-FFF2-40B4-BE49-F238E27FC236}">
                        <a16:creationId xmlns:a16="http://schemas.microsoft.com/office/drawing/2014/main" id="{F56BF763-FB66-4CC4-9557-8CE8F3E3DD9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6" name="Rectangle 465">
                    <a:extLst>
                      <a:ext uri="{FF2B5EF4-FFF2-40B4-BE49-F238E27FC236}">
                        <a16:creationId xmlns:a16="http://schemas.microsoft.com/office/drawing/2014/main" id="{7FECAFEC-BE84-4984-B8FD-0D6F2BB52768}"/>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362" name="Group 361">
                  <a:extLst>
                    <a:ext uri="{FF2B5EF4-FFF2-40B4-BE49-F238E27FC236}">
                      <a16:creationId xmlns:a16="http://schemas.microsoft.com/office/drawing/2014/main" id="{6C623F03-3F03-444A-97D6-398CE0AC3DEE}"/>
                    </a:ext>
                  </a:extLst>
                </p:cNvPr>
                <p:cNvGrpSpPr/>
                <p:nvPr/>
              </p:nvGrpSpPr>
              <p:grpSpPr>
                <a:xfrm>
                  <a:off x="1190120" y="2235988"/>
                  <a:ext cx="983059" cy="983198"/>
                  <a:chOff x="5413781" y="5749281"/>
                  <a:chExt cx="652036" cy="652036"/>
                </a:xfrm>
              </p:grpSpPr>
              <p:sp>
                <p:nvSpPr>
                  <p:cNvPr id="453" name="Oval 452">
                    <a:extLst>
                      <a:ext uri="{FF2B5EF4-FFF2-40B4-BE49-F238E27FC236}">
                        <a16:creationId xmlns:a16="http://schemas.microsoft.com/office/drawing/2014/main" id="{16D7C7C3-7D77-4F3B-B6D5-355E6FA79154}"/>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454" name="Freeform 353">
                    <a:extLst>
                      <a:ext uri="{FF2B5EF4-FFF2-40B4-BE49-F238E27FC236}">
                        <a16:creationId xmlns:a16="http://schemas.microsoft.com/office/drawing/2014/main" id="{972EADB4-F29A-499B-AB53-416715B6DEB2}"/>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63" name="Group 362">
                  <a:extLst>
                    <a:ext uri="{FF2B5EF4-FFF2-40B4-BE49-F238E27FC236}">
                      <a16:creationId xmlns:a16="http://schemas.microsoft.com/office/drawing/2014/main" id="{8447F914-E6D7-476A-9DBF-5CBFDEAD5770}"/>
                    </a:ext>
                  </a:extLst>
                </p:cNvPr>
                <p:cNvGrpSpPr>
                  <a:grpSpLocks noChangeAspect="1"/>
                </p:cNvGrpSpPr>
                <p:nvPr/>
              </p:nvGrpSpPr>
              <p:grpSpPr bwMode="auto">
                <a:xfrm rot="1800000">
                  <a:off x="3563928" y="2295726"/>
                  <a:ext cx="622295" cy="847393"/>
                  <a:chOff x="6652" y="1661"/>
                  <a:chExt cx="260" cy="354"/>
                </a:xfrm>
              </p:grpSpPr>
              <p:sp>
                <p:nvSpPr>
                  <p:cNvPr id="449" name="AutoShape 138">
                    <a:extLst>
                      <a:ext uri="{FF2B5EF4-FFF2-40B4-BE49-F238E27FC236}">
                        <a16:creationId xmlns:a16="http://schemas.microsoft.com/office/drawing/2014/main" id="{2B20D5DB-E073-41E3-B623-F2183BE7083E}"/>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450" name="Freeform 349">
                    <a:extLst>
                      <a:ext uri="{FF2B5EF4-FFF2-40B4-BE49-F238E27FC236}">
                        <a16:creationId xmlns:a16="http://schemas.microsoft.com/office/drawing/2014/main" id="{2AE950FC-A0D1-46FA-A50E-17AD9F89B4C8}"/>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451" name="Rectangle 450">
                    <a:extLst>
                      <a:ext uri="{FF2B5EF4-FFF2-40B4-BE49-F238E27FC236}">
                        <a16:creationId xmlns:a16="http://schemas.microsoft.com/office/drawing/2014/main" id="{8AC50F59-C527-45B4-ABB3-A682276CE557}"/>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452" name="Freeform 351">
                    <a:extLst>
                      <a:ext uri="{FF2B5EF4-FFF2-40B4-BE49-F238E27FC236}">
                        <a16:creationId xmlns:a16="http://schemas.microsoft.com/office/drawing/2014/main" id="{7F1730C7-8AE8-4492-A31D-3DEB32C74181}"/>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364" name="Group 363">
                  <a:extLst>
                    <a:ext uri="{FF2B5EF4-FFF2-40B4-BE49-F238E27FC236}">
                      <a16:creationId xmlns:a16="http://schemas.microsoft.com/office/drawing/2014/main" id="{C8200A40-BC1C-4C90-95E2-3E85760A09A5}"/>
                    </a:ext>
                  </a:extLst>
                </p:cNvPr>
                <p:cNvGrpSpPr/>
                <p:nvPr/>
              </p:nvGrpSpPr>
              <p:grpSpPr>
                <a:xfrm flipH="1">
                  <a:off x="499414" y="3565526"/>
                  <a:ext cx="1323206" cy="3292389"/>
                  <a:chOff x="8371759" y="2973033"/>
                  <a:chExt cx="1482609" cy="3688507"/>
                </a:xfrm>
              </p:grpSpPr>
              <p:sp>
                <p:nvSpPr>
                  <p:cNvPr id="375" name="Freeform 314">
                    <a:extLst>
                      <a:ext uri="{FF2B5EF4-FFF2-40B4-BE49-F238E27FC236}">
                        <a16:creationId xmlns:a16="http://schemas.microsoft.com/office/drawing/2014/main" id="{AEC9D6AC-D687-443C-9D6B-A7343343B7D0}"/>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76" name="Freeform 315">
                    <a:extLst>
                      <a:ext uri="{FF2B5EF4-FFF2-40B4-BE49-F238E27FC236}">
                        <a16:creationId xmlns:a16="http://schemas.microsoft.com/office/drawing/2014/main" id="{DCF88E10-F331-4CAF-9C3B-D64E15CDD54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77" name="Freeform 316">
                    <a:extLst>
                      <a:ext uri="{FF2B5EF4-FFF2-40B4-BE49-F238E27FC236}">
                        <a16:creationId xmlns:a16="http://schemas.microsoft.com/office/drawing/2014/main" id="{BBE694D5-175C-4795-AA84-723BDE7C99A5}"/>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78" name="Rectangle 377">
                    <a:extLst>
                      <a:ext uri="{FF2B5EF4-FFF2-40B4-BE49-F238E27FC236}">
                        <a16:creationId xmlns:a16="http://schemas.microsoft.com/office/drawing/2014/main" id="{ABD26DF0-DFF2-479B-948A-986FDEC13D3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79" name="Rectangle 378">
                    <a:extLst>
                      <a:ext uri="{FF2B5EF4-FFF2-40B4-BE49-F238E27FC236}">
                        <a16:creationId xmlns:a16="http://schemas.microsoft.com/office/drawing/2014/main" id="{76E25D63-B090-4BE0-93EE-CD647F72752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0" name="Rectangle 379">
                    <a:extLst>
                      <a:ext uri="{FF2B5EF4-FFF2-40B4-BE49-F238E27FC236}">
                        <a16:creationId xmlns:a16="http://schemas.microsoft.com/office/drawing/2014/main" id="{A34978AB-4682-4FEA-B56D-60BEFEDF13F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1" name="Rectangle 380">
                    <a:extLst>
                      <a:ext uri="{FF2B5EF4-FFF2-40B4-BE49-F238E27FC236}">
                        <a16:creationId xmlns:a16="http://schemas.microsoft.com/office/drawing/2014/main" id="{CA11AEC1-ABD5-48D4-875D-78A2F7E1F31E}"/>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2" name="Freeform 321">
                    <a:extLst>
                      <a:ext uri="{FF2B5EF4-FFF2-40B4-BE49-F238E27FC236}">
                        <a16:creationId xmlns:a16="http://schemas.microsoft.com/office/drawing/2014/main" id="{9BADB1CE-7798-4CA7-8FF1-928C2FBBE48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3" name="Rectangle 382">
                    <a:extLst>
                      <a:ext uri="{FF2B5EF4-FFF2-40B4-BE49-F238E27FC236}">
                        <a16:creationId xmlns:a16="http://schemas.microsoft.com/office/drawing/2014/main" id="{E6C81656-F75E-40E8-8DAB-E813800AA7BA}"/>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4" name="Rectangle 383">
                    <a:extLst>
                      <a:ext uri="{FF2B5EF4-FFF2-40B4-BE49-F238E27FC236}">
                        <a16:creationId xmlns:a16="http://schemas.microsoft.com/office/drawing/2014/main" id="{48A9F5C4-0127-44C9-8B9C-7D1B5DA53503}"/>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5" name="Freeform 324">
                    <a:extLst>
                      <a:ext uri="{FF2B5EF4-FFF2-40B4-BE49-F238E27FC236}">
                        <a16:creationId xmlns:a16="http://schemas.microsoft.com/office/drawing/2014/main" id="{2AE8ACD3-801A-4651-A245-EE06792734E0}"/>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6" name="Freeform 325">
                    <a:extLst>
                      <a:ext uri="{FF2B5EF4-FFF2-40B4-BE49-F238E27FC236}">
                        <a16:creationId xmlns:a16="http://schemas.microsoft.com/office/drawing/2014/main" id="{85B4D663-7AAD-4DBE-B175-9BDE6CC28785}"/>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7" name="Freeform 326">
                    <a:extLst>
                      <a:ext uri="{FF2B5EF4-FFF2-40B4-BE49-F238E27FC236}">
                        <a16:creationId xmlns:a16="http://schemas.microsoft.com/office/drawing/2014/main" id="{073E0E92-7AAB-4448-99B4-394E43FA0FED}"/>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28" name="Freeform 327">
                    <a:extLst>
                      <a:ext uri="{FF2B5EF4-FFF2-40B4-BE49-F238E27FC236}">
                        <a16:creationId xmlns:a16="http://schemas.microsoft.com/office/drawing/2014/main" id="{0AF16DDB-4C30-4E5A-8CC7-9B4F729DFC6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29" name="Freeform 328">
                    <a:extLst>
                      <a:ext uri="{FF2B5EF4-FFF2-40B4-BE49-F238E27FC236}">
                        <a16:creationId xmlns:a16="http://schemas.microsoft.com/office/drawing/2014/main" id="{D2382219-1035-48CC-9D31-0598350BF48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0" name="Freeform 329">
                    <a:extLst>
                      <a:ext uri="{FF2B5EF4-FFF2-40B4-BE49-F238E27FC236}">
                        <a16:creationId xmlns:a16="http://schemas.microsoft.com/office/drawing/2014/main" id="{70685AFF-A19E-4830-9700-5793C808A38C}"/>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1" name="Freeform 330">
                    <a:extLst>
                      <a:ext uri="{FF2B5EF4-FFF2-40B4-BE49-F238E27FC236}">
                        <a16:creationId xmlns:a16="http://schemas.microsoft.com/office/drawing/2014/main" id="{98393626-EEE1-4334-BEB5-0A066152B5B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2" name="Freeform 331">
                    <a:extLst>
                      <a:ext uri="{FF2B5EF4-FFF2-40B4-BE49-F238E27FC236}">
                        <a16:creationId xmlns:a16="http://schemas.microsoft.com/office/drawing/2014/main" id="{FBD1DBF0-EF29-49D2-80C5-280C85C43C0D}"/>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3" name="Freeform 332">
                    <a:extLst>
                      <a:ext uri="{FF2B5EF4-FFF2-40B4-BE49-F238E27FC236}">
                        <a16:creationId xmlns:a16="http://schemas.microsoft.com/office/drawing/2014/main" id="{9660C4AB-2269-4173-B8DE-65086632D4D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4" name="Freeform 333">
                    <a:extLst>
                      <a:ext uri="{FF2B5EF4-FFF2-40B4-BE49-F238E27FC236}">
                        <a16:creationId xmlns:a16="http://schemas.microsoft.com/office/drawing/2014/main" id="{3ECC6A3F-A743-42FF-8600-1634B569CD5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5" name="Freeform 334">
                    <a:extLst>
                      <a:ext uri="{FF2B5EF4-FFF2-40B4-BE49-F238E27FC236}">
                        <a16:creationId xmlns:a16="http://schemas.microsoft.com/office/drawing/2014/main" id="{D0C6ACD4-EE23-4E00-8B3A-4DFC449770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6" name="Freeform 335">
                    <a:extLst>
                      <a:ext uri="{FF2B5EF4-FFF2-40B4-BE49-F238E27FC236}">
                        <a16:creationId xmlns:a16="http://schemas.microsoft.com/office/drawing/2014/main" id="{722162AE-7106-49E4-878B-BA44E2F3C5B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7" name="Freeform 336">
                    <a:extLst>
                      <a:ext uri="{FF2B5EF4-FFF2-40B4-BE49-F238E27FC236}">
                        <a16:creationId xmlns:a16="http://schemas.microsoft.com/office/drawing/2014/main" id="{5DFA80BF-4A2E-4ED0-A6B3-5986F8577423}"/>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8" name="Freeform 337">
                    <a:extLst>
                      <a:ext uri="{FF2B5EF4-FFF2-40B4-BE49-F238E27FC236}">
                        <a16:creationId xmlns:a16="http://schemas.microsoft.com/office/drawing/2014/main" id="{BD8237F5-E74C-435E-962E-C22514DEBE4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9" name="Freeform 338">
                    <a:extLst>
                      <a:ext uri="{FF2B5EF4-FFF2-40B4-BE49-F238E27FC236}">
                        <a16:creationId xmlns:a16="http://schemas.microsoft.com/office/drawing/2014/main" id="{3E2012DD-ECD4-4513-A784-A37D2011539F}"/>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0" name="Freeform 339">
                    <a:extLst>
                      <a:ext uri="{FF2B5EF4-FFF2-40B4-BE49-F238E27FC236}">
                        <a16:creationId xmlns:a16="http://schemas.microsoft.com/office/drawing/2014/main" id="{73ACD26F-F148-4EAF-87DD-83E8C0CCC1C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1" name="Freeform 340">
                    <a:extLst>
                      <a:ext uri="{FF2B5EF4-FFF2-40B4-BE49-F238E27FC236}">
                        <a16:creationId xmlns:a16="http://schemas.microsoft.com/office/drawing/2014/main" id="{7405B830-9CF1-4738-A07D-F69D49BE244B}"/>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2" name="Freeform 341">
                    <a:extLst>
                      <a:ext uri="{FF2B5EF4-FFF2-40B4-BE49-F238E27FC236}">
                        <a16:creationId xmlns:a16="http://schemas.microsoft.com/office/drawing/2014/main" id="{B37EFB4D-928E-4405-A36B-5E133105223C}"/>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3" name="Freeform 342">
                    <a:extLst>
                      <a:ext uri="{FF2B5EF4-FFF2-40B4-BE49-F238E27FC236}">
                        <a16:creationId xmlns:a16="http://schemas.microsoft.com/office/drawing/2014/main" id="{0C46F03A-463C-4713-ABDC-FBC981D97A2A}"/>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4" name="Freeform 343">
                    <a:extLst>
                      <a:ext uri="{FF2B5EF4-FFF2-40B4-BE49-F238E27FC236}">
                        <a16:creationId xmlns:a16="http://schemas.microsoft.com/office/drawing/2014/main" id="{32876294-7ADE-4343-8BEE-30B22015130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5" name="Freeform 344">
                    <a:extLst>
                      <a:ext uri="{FF2B5EF4-FFF2-40B4-BE49-F238E27FC236}">
                        <a16:creationId xmlns:a16="http://schemas.microsoft.com/office/drawing/2014/main" id="{5BB22532-7EBA-408B-AB3F-C8F9E233ECCA}"/>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6" name="Freeform 345">
                    <a:extLst>
                      <a:ext uri="{FF2B5EF4-FFF2-40B4-BE49-F238E27FC236}">
                        <a16:creationId xmlns:a16="http://schemas.microsoft.com/office/drawing/2014/main" id="{7ED6C94A-4B14-43CF-9F40-1CB27DC54808}"/>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7" name="Freeform 346">
                    <a:extLst>
                      <a:ext uri="{FF2B5EF4-FFF2-40B4-BE49-F238E27FC236}">
                        <a16:creationId xmlns:a16="http://schemas.microsoft.com/office/drawing/2014/main" id="{D8FFBCC6-BE4C-4AC8-8ED2-C70DAAFE6EA3}"/>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8" name="Freeform 347">
                    <a:extLst>
                      <a:ext uri="{FF2B5EF4-FFF2-40B4-BE49-F238E27FC236}">
                        <a16:creationId xmlns:a16="http://schemas.microsoft.com/office/drawing/2014/main" id="{1A00B8AB-0628-499F-B889-2DC28864AD48}"/>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365" name="Straight Connector 364">
                  <a:extLst>
                    <a:ext uri="{FF2B5EF4-FFF2-40B4-BE49-F238E27FC236}">
                      <a16:creationId xmlns:a16="http://schemas.microsoft.com/office/drawing/2014/main" id="{9E34F7AE-F874-4E68-B065-2DF886F1AE9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366" name="Straight Connector 365">
                  <a:extLst>
                    <a:ext uri="{FF2B5EF4-FFF2-40B4-BE49-F238E27FC236}">
                      <a16:creationId xmlns:a16="http://schemas.microsoft.com/office/drawing/2014/main" id="{018648D2-109B-4876-8729-00A69111ED3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367" name="Straight Connector 366">
                  <a:extLst>
                    <a:ext uri="{FF2B5EF4-FFF2-40B4-BE49-F238E27FC236}">
                      <a16:creationId xmlns:a16="http://schemas.microsoft.com/office/drawing/2014/main" id="{F396AE80-67FA-4AA3-B961-E6C4F0ADF5B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368" name="Straight Connector 367">
                  <a:extLst>
                    <a:ext uri="{FF2B5EF4-FFF2-40B4-BE49-F238E27FC236}">
                      <a16:creationId xmlns:a16="http://schemas.microsoft.com/office/drawing/2014/main" id="{7ECC4822-7644-46AB-95B8-1B2840610E9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369" name="Group 368">
                  <a:extLst>
                    <a:ext uri="{FF2B5EF4-FFF2-40B4-BE49-F238E27FC236}">
                      <a16:creationId xmlns:a16="http://schemas.microsoft.com/office/drawing/2014/main" id="{B35BE6F1-7E6E-491C-8871-46ED25777E51}"/>
                    </a:ext>
                  </a:extLst>
                </p:cNvPr>
                <p:cNvGrpSpPr/>
                <p:nvPr/>
              </p:nvGrpSpPr>
              <p:grpSpPr>
                <a:xfrm>
                  <a:off x="2022695" y="1566515"/>
                  <a:ext cx="766903" cy="767014"/>
                  <a:chOff x="9123445" y="2463609"/>
                  <a:chExt cx="652033" cy="652035"/>
                </a:xfrm>
              </p:grpSpPr>
              <p:sp>
                <p:nvSpPr>
                  <p:cNvPr id="373" name="Oval 372">
                    <a:extLst>
                      <a:ext uri="{FF2B5EF4-FFF2-40B4-BE49-F238E27FC236}">
                        <a16:creationId xmlns:a16="http://schemas.microsoft.com/office/drawing/2014/main" id="{4D41579C-52B6-465D-BC68-FBF1F085B15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74" name="Freeform 313">
                    <a:extLst>
                      <a:ext uri="{FF2B5EF4-FFF2-40B4-BE49-F238E27FC236}">
                        <a16:creationId xmlns:a16="http://schemas.microsoft.com/office/drawing/2014/main" id="{E5EC868E-ABEE-4B97-B9A3-3BC26201A22F}"/>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370" name="Group 369">
                  <a:extLst>
                    <a:ext uri="{FF2B5EF4-FFF2-40B4-BE49-F238E27FC236}">
                      <a16:creationId xmlns:a16="http://schemas.microsoft.com/office/drawing/2014/main" id="{CE724CF0-1614-4F3C-981C-6B532BCB193E}"/>
                    </a:ext>
                  </a:extLst>
                </p:cNvPr>
                <p:cNvGrpSpPr/>
                <p:nvPr/>
              </p:nvGrpSpPr>
              <p:grpSpPr>
                <a:xfrm>
                  <a:off x="1973388" y="1517311"/>
                  <a:ext cx="853073" cy="853194"/>
                  <a:chOff x="9123452" y="2463609"/>
                  <a:chExt cx="652035" cy="652035"/>
                </a:xfrm>
              </p:grpSpPr>
              <p:sp>
                <p:nvSpPr>
                  <p:cNvPr id="371" name="Oval 370">
                    <a:extLst>
                      <a:ext uri="{FF2B5EF4-FFF2-40B4-BE49-F238E27FC236}">
                        <a16:creationId xmlns:a16="http://schemas.microsoft.com/office/drawing/2014/main" id="{58C407B6-03B3-4F80-AEDC-0FD960FA3986}"/>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72" name="Freeform 311">
                    <a:extLst>
                      <a:ext uri="{FF2B5EF4-FFF2-40B4-BE49-F238E27FC236}">
                        <a16:creationId xmlns:a16="http://schemas.microsoft.com/office/drawing/2014/main" id="{728BD067-514C-40B6-8BDC-C89C11ABB12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253" name="Group 252">
                <a:extLst>
                  <a:ext uri="{FF2B5EF4-FFF2-40B4-BE49-F238E27FC236}">
                    <a16:creationId xmlns:a16="http://schemas.microsoft.com/office/drawing/2014/main" id="{3C6E3F85-62CF-4494-A8B5-DF9E292035E4}"/>
                  </a:ext>
                </a:extLst>
              </p:cNvPr>
              <p:cNvGrpSpPr/>
              <p:nvPr/>
            </p:nvGrpSpPr>
            <p:grpSpPr>
              <a:xfrm>
                <a:off x="1226671" y="3909844"/>
                <a:ext cx="304563" cy="307388"/>
                <a:chOff x="4471988" y="3821062"/>
                <a:chExt cx="2035176" cy="2113013"/>
              </a:xfrm>
            </p:grpSpPr>
            <p:sp>
              <p:nvSpPr>
                <p:cNvPr id="297" name="Rectangle 6">
                  <a:extLst>
                    <a:ext uri="{FF2B5EF4-FFF2-40B4-BE49-F238E27FC236}">
                      <a16:creationId xmlns:a16="http://schemas.microsoft.com/office/drawing/2014/main" id="{69FD16A2-762E-450B-8209-8A1A9E5B5CAF}"/>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8" name="Freeform 7">
                  <a:extLst>
                    <a:ext uri="{FF2B5EF4-FFF2-40B4-BE49-F238E27FC236}">
                      <a16:creationId xmlns:a16="http://schemas.microsoft.com/office/drawing/2014/main" id="{01690F96-EDAA-464E-935A-34A7C0E33C0D}"/>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9" name="Freeform 10">
                  <a:extLst>
                    <a:ext uri="{FF2B5EF4-FFF2-40B4-BE49-F238E27FC236}">
                      <a16:creationId xmlns:a16="http://schemas.microsoft.com/office/drawing/2014/main" id="{1558E4FE-E89D-434A-91CA-06F40C9F602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0" name="Freeform 11">
                  <a:extLst>
                    <a:ext uri="{FF2B5EF4-FFF2-40B4-BE49-F238E27FC236}">
                      <a16:creationId xmlns:a16="http://schemas.microsoft.com/office/drawing/2014/main" id="{9F6AA46A-CE86-46B2-AB4A-F95A7741DBBB}"/>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1" name="Oval 12">
                  <a:extLst>
                    <a:ext uri="{FF2B5EF4-FFF2-40B4-BE49-F238E27FC236}">
                      <a16:creationId xmlns:a16="http://schemas.microsoft.com/office/drawing/2014/main" id="{6A284F17-9FA6-4277-A4DE-811A5E1C247F}"/>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2" name="Oval 13">
                  <a:extLst>
                    <a:ext uri="{FF2B5EF4-FFF2-40B4-BE49-F238E27FC236}">
                      <a16:creationId xmlns:a16="http://schemas.microsoft.com/office/drawing/2014/main" id="{6C3634A5-B96B-41A8-9963-338B8EA7D610}"/>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3" name="Freeform 14">
                  <a:extLst>
                    <a:ext uri="{FF2B5EF4-FFF2-40B4-BE49-F238E27FC236}">
                      <a16:creationId xmlns:a16="http://schemas.microsoft.com/office/drawing/2014/main" id="{4524B4BA-27B1-4318-8023-22361798913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4" name="Rectangle 15">
                  <a:extLst>
                    <a:ext uri="{FF2B5EF4-FFF2-40B4-BE49-F238E27FC236}">
                      <a16:creationId xmlns:a16="http://schemas.microsoft.com/office/drawing/2014/main" id="{8638293D-33AA-44ED-87C6-5E14E3A2D146}"/>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5" name="Rectangle 16">
                  <a:extLst>
                    <a:ext uri="{FF2B5EF4-FFF2-40B4-BE49-F238E27FC236}">
                      <a16:creationId xmlns:a16="http://schemas.microsoft.com/office/drawing/2014/main" id="{8B8C31D0-AB07-4557-B78E-AEA965ECCA94}"/>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6" name="Freeform 17">
                  <a:extLst>
                    <a:ext uri="{FF2B5EF4-FFF2-40B4-BE49-F238E27FC236}">
                      <a16:creationId xmlns:a16="http://schemas.microsoft.com/office/drawing/2014/main" id="{B2FF59F6-112B-4C65-AE60-10184CE5D28A}"/>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7" name="Freeform 18">
                  <a:extLst>
                    <a:ext uri="{FF2B5EF4-FFF2-40B4-BE49-F238E27FC236}">
                      <a16:creationId xmlns:a16="http://schemas.microsoft.com/office/drawing/2014/main" id="{B8786315-DEA5-4FB5-BDDB-C4B54A2CB83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8" name="Rectangle 19">
                  <a:extLst>
                    <a:ext uri="{FF2B5EF4-FFF2-40B4-BE49-F238E27FC236}">
                      <a16:creationId xmlns:a16="http://schemas.microsoft.com/office/drawing/2014/main" id="{C1FE717D-027E-4CAE-81FD-6717D4B00A3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9" name="Freeform 20">
                  <a:extLst>
                    <a:ext uri="{FF2B5EF4-FFF2-40B4-BE49-F238E27FC236}">
                      <a16:creationId xmlns:a16="http://schemas.microsoft.com/office/drawing/2014/main" id="{664FDB90-2DE1-407A-94F1-12DE0DEE569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0" name="Freeform 21">
                  <a:extLst>
                    <a:ext uri="{FF2B5EF4-FFF2-40B4-BE49-F238E27FC236}">
                      <a16:creationId xmlns:a16="http://schemas.microsoft.com/office/drawing/2014/main" id="{A7EFF13A-7B63-4EB7-8E68-5BD009C20250}"/>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1" name="Freeform 22">
                  <a:extLst>
                    <a:ext uri="{FF2B5EF4-FFF2-40B4-BE49-F238E27FC236}">
                      <a16:creationId xmlns:a16="http://schemas.microsoft.com/office/drawing/2014/main" id="{F29F6A25-7240-4E60-9230-97439CE2D8B8}"/>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2" name="Freeform 23">
                  <a:extLst>
                    <a:ext uri="{FF2B5EF4-FFF2-40B4-BE49-F238E27FC236}">
                      <a16:creationId xmlns:a16="http://schemas.microsoft.com/office/drawing/2014/main" id="{58F3C249-515B-4833-B132-04B54CC3165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3" name="Freeform 24">
                  <a:extLst>
                    <a:ext uri="{FF2B5EF4-FFF2-40B4-BE49-F238E27FC236}">
                      <a16:creationId xmlns:a16="http://schemas.microsoft.com/office/drawing/2014/main" id="{76200606-9182-4B01-A270-F6DFA493D0BB}"/>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4" name="Rectangle 25">
                  <a:extLst>
                    <a:ext uri="{FF2B5EF4-FFF2-40B4-BE49-F238E27FC236}">
                      <a16:creationId xmlns:a16="http://schemas.microsoft.com/office/drawing/2014/main" id="{1958F8B3-B78E-4E1F-BF12-FE7A7B6BEC0A}"/>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5" name="Freeform 26">
                  <a:extLst>
                    <a:ext uri="{FF2B5EF4-FFF2-40B4-BE49-F238E27FC236}">
                      <a16:creationId xmlns:a16="http://schemas.microsoft.com/office/drawing/2014/main" id="{F75B683C-5CB8-40F5-8B75-0C404D180925}"/>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6" name="Freeform 27">
                  <a:extLst>
                    <a:ext uri="{FF2B5EF4-FFF2-40B4-BE49-F238E27FC236}">
                      <a16:creationId xmlns:a16="http://schemas.microsoft.com/office/drawing/2014/main" id="{198CF702-51CC-4B6F-BF96-D1DB811450BA}"/>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7" name="Freeform 28">
                  <a:extLst>
                    <a:ext uri="{FF2B5EF4-FFF2-40B4-BE49-F238E27FC236}">
                      <a16:creationId xmlns:a16="http://schemas.microsoft.com/office/drawing/2014/main" id="{30AB7774-34C3-4D12-B0A0-F8EA1BFDA15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8" name="Freeform 29">
                  <a:extLst>
                    <a:ext uri="{FF2B5EF4-FFF2-40B4-BE49-F238E27FC236}">
                      <a16:creationId xmlns:a16="http://schemas.microsoft.com/office/drawing/2014/main" id="{AA16E4D1-E426-4112-ADDD-E90416349E3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9" name="Freeform 30">
                  <a:extLst>
                    <a:ext uri="{FF2B5EF4-FFF2-40B4-BE49-F238E27FC236}">
                      <a16:creationId xmlns:a16="http://schemas.microsoft.com/office/drawing/2014/main" id="{71997603-AB43-4E09-B5D0-D4E00590D2B0}"/>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0" name="Freeform 31">
                  <a:extLst>
                    <a:ext uri="{FF2B5EF4-FFF2-40B4-BE49-F238E27FC236}">
                      <a16:creationId xmlns:a16="http://schemas.microsoft.com/office/drawing/2014/main" id="{C2B3725C-26DF-4095-86F0-9A6DA0D1B804}"/>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1" name="Freeform 32">
                  <a:extLst>
                    <a:ext uri="{FF2B5EF4-FFF2-40B4-BE49-F238E27FC236}">
                      <a16:creationId xmlns:a16="http://schemas.microsoft.com/office/drawing/2014/main" id="{11A5CB8E-DD74-4652-B0B5-1C5CB417221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2" name="Freeform 102">
                  <a:extLst>
                    <a:ext uri="{FF2B5EF4-FFF2-40B4-BE49-F238E27FC236}">
                      <a16:creationId xmlns:a16="http://schemas.microsoft.com/office/drawing/2014/main" id="{8FC742CB-A059-4770-9688-1576723DAB21}"/>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3" name="Freeform 103">
                  <a:extLst>
                    <a:ext uri="{FF2B5EF4-FFF2-40B4-BE49-F238E27FC236}">
                      <a16:creationId xmlns:a16="http://schemas.microsoft.com/office/drawing/2014/main" id="{8DBC6D6B-D353-4110-B913-0D215793F314}"/>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4" name="Freeform 104">
                  <a:extLst>
                    <a:ext uri="{FF2B5EF4-FFF2-40B4-BE49-F238E27FC236}">
                      <a16:creationId xmlns:a16="http://schemas.microsoft.com/office/drawing/2014/main" id="{844EC1B3-099C-4BE2-A444-1DC92CC0AEDF}"/>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5" name="Freeform 105">
                  <a:extLst>
                    <a:ext uri="{FF2B5EF4-FFF2-40B4-BE49-F238E27FC236}">
                      <a16:creationId xmlns:a16="http://schemas.microsoft.com/office/drawing/2014/main" id="{EEA4EC27-7052-4756-B9FF-CEA82CF2727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6" name="Freeform 106">
                  <a:extLst>
                    <a:ext uri="{FF2B5EF4-FFF2-40B4-BE49-F238E27FC236}">
                      <a16:creationId xmlns:a16="http://schemas.microsoft.com/office/drawing/2014/main" id="{02FDC6C5-C022-4368-8C19-337A889A5D5F}"/>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7" name="Freeform 107">
                  <a:extLst>
                    <a:ext uri="{FF2B5EF4-FFF2-40B4-BE49-F238E27FC236}">
                      <a16:creationId xmlns:a16="http://schemas.microsoft.com/office/drawing/2014/main" id="{47C60BE2-5C2C-4844-B6BA-E727B973A7B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8" name="Freeform 108">
                  <a:extLst>
                    <a:ext uri="{FF2B5EF4-FFF2-40B4-BE49-F238E27FC236}">
                      <a16:creationId xmlns:a16="http://schemas.microsoft.com/office/drawing/2014/main" id="{E86B7110-AFEE-458B-8930-7F33944915B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9" name="Rectangle 328">
                  <a:extLst>
                    <a:ext uri="{FF2B5EF4-FFF2-40B4-BE49-F238E27FC236}">
                      <a16:creationId xmlns:a16="http://schemas.microsoft.com/office/drawing/2014/main" id="{32CAC4C5-E8CE-43AA-8632-D8937737F36F}"/>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0" name="Freeform 110">
                  <a:extLst>
                    <a:ext uri="{FF2B5EF4-FFF2-40B4-BE49-F238E27FC236}">
                      <a16:creationId xmlns:a16="http://schemas.microsoft.com/office/drawing/2014/main" id="{1C8913C5-45F7-42CA-A2B1-70C3D9C3D25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1" name="Freeform 111">
                  <a:extLst>
                    <a:ext uri="{FF2B5EF4-FFF2-40B4-BE49-F238E27FC236}">
                      <a16:creationId xmlns:a16="http://schemas.microsoft.com/office/drawing/2014/main" id="{8CFFC1C8-0CFC-4B73-A3E4-5078F1CA105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5" name="Freeform 112">
                  <a:extLst>
                    <a:ext uri="{FF2B5EF4-FFF2-40B4-BE49-F238E27FC236}">
                      <a16:creationId xmlns:a16="http://schemas.microsoft.com/office/drawing/2014/main" id="{FF74597F-D8ED-44CE-981D-B1D639C414A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6" name="Freeform 113">
                  <a:extLst>
                    <a:ext uri="{FF2B5EF4-FFF2-40B4-BE49-F238E27FC236}">
                      <a16:creationId xmlns:a16="http://schemas.microsoft.com/office/drawing/2014/main" id="{B61FE460-C731-4861-A770-2B3502A98EC3}"/>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7" name="Rectangle 336">
                  <a:extLst>
                    <a:ext uri="{FF2B5EF4-FFF2-40B4-BE49-F238E27FC236}">
                      <a16:creationId xmlns:a16="http://schemas.microsoft.com/office/drawing/2014/main" id="{7FA3646B-196B-49D1-B600-EF22D8A571C3}"/>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9" name="Freeform 115">
                  <a:extLst>
                    <a:ext uri="{FF2B5EF4-FFF2-40B4-BE49-F238E27FC236}">
                      <a16:creationId xmlns:a16="http://schemas.microsoft.com/office/drawing/2014/main" id="{DA1C1976-5809-4DEE-8570-855CD239C11D}"/>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5" name="Freeform 116">
                  <a:extLst>
                    <a:ext uri="{FF2B5EF4-FFF2-40B4-BE49-F238E27FC236}">
                      <a16:creationId xmlns:a16="http://schemas.microsoft.com/office/drawing/2014/main" id="{35B79164-A4A8-4461-8292-D843BB1E7F06}"/>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6" name="Freeform 117">
                  <a:extLst>
                    <a:ext uri="{FF2B5EF4-FFF2-40B4-BE49-F238E27FC236}">
                      <a16:creationId xmlns:a16="http://schemas.microsoft.com/office/drawing/2014/main" id="{CF1A1170-F480-4128-B2A5-0DE52B75E1C7}"/>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7" name="Freeform 118">
                  <a:extLst>
                    <a:ext uri="{FF2B5EF4-FFF2-40B4-BE49-F238E27FC236}">
                      <a16:creationId xmlns:a16="http://schemas.microsoft.com/office/drawing/2014/main" id="{4BCD88C8-4727-4E30-AC85-637034B7A05D}"/>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8" name="Oval 347">
                  <a:extLst>
                    <a:ext uri="{FF2B5EF4-FFF2-40B4-BE49-F238E27FC236}">
                      <a16:creationId xmlns:a16="http://schemas.microsoft.com/office/drawing/2014/main" id="{817AF9B5-D106-441C-AB74-C5FF1BDF2258}"/>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9" name="Freeform 120">
                  <a:extLst>
                    <a:ext uri="{FF2B5EF4-FFF2-40B4-BE49-F238E27FC236}">
                      <a16:creationId xmlns:a16="http://schemas.microsoft.com/office/drawing/2014/main" id="{57F0731D-68C7-440D-A9C7-44376EF5060D}"/>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0" name="Freeform 121">
                  <a:extLst>
                    <a:ext uri="{FF2B5EF4-FFF2-40B4-BE49-F238E27FC236}">
                      <a16:creationId xmlns:a16="http://schemas.microsoft.com/office/drawing/2014/main" id="{5516B0C4-A7D5-4582-8FCA-FAE2A3A6498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1" name="Freeform 122">
                  <a:extLst>
                    <a:ext uri="{FF2B5EF4-FFF2-40B4-BE49-F238E27FC236}">
                      <a16:creationId xmlns:a16="http://schemas.microsoft.com/office/drawing/2014/main" id="{AAB6B710-A2B5-4B9C-A18B-4B2401944AB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2" name="Freeform 123">
                  <a:extLst>
                    <a:ext uri="{FF2B5EF4-FFF2-40B4-BE49-F238E27FC236}">
                      <a16:creationId xmlns:a16="http://schemas.microsoft.com/office/drawing/2014/main" id="{6D676AB2-E141-46EF-8F93-F68BB2FFFE6E}"/>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3" name="Freeform 124">
                  <a:extLst>
                    <a:ext uri="{FF2B5EF4-FFF2-40B4-BE49-F238E27FC236}">
                      <a16:creationId xmlns:a16="http://schemas.microsoft.com/office/drawing/2014/main" id="{DADC9226-1E15-44CE-9A91-4023178FFDFE}"/>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4" name="Freeform 63">
                  <a:extLst>
                    <a:ext uri="{FF2B5EF4-FFF2-40B4-BE49-F238E27FC236}">
                      <a16:creationId xmlns:a16="http://schemas.microsoft.com/office/drawing/2014/main" id="{62D00E13-10CF-40F3-9150-68CD3AAD60C5}"/>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5" name="Freeform 65">
                  <a:extLst>
                    <a:ext uri="{FF2B5EF4-FFF2-40B4-BE49-F238E27FC236}">
                      <a16:creationId xmlns:a16="http://schemas.microsoft.com/office/drawing/2014/main" id="{363CC235-EE80-4C01-8038-C633882CECAC}"/>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6" name="Freeform 66">
                  <a:extLst>
                    <a:ext uri="{FF2B5EF4-FFF2-40B4-BE49-F238E27FC236}">
                      <a16:creationId xmlns:a16="http://schemas.microsoft.com/office/drawing/2014/main" id="{37E90DDE-DC58-4DAD-9149-8E38462FA7A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7" name="Freeform 67">
                  <a:extLst>
                    <a:ext uri="{FF2B5EF4-FFF2-40B4-BE49-F238E27FC236}">
                      <a16:creationId xmlns:a16="http://schemas.microsoft.com/office/drawing/2014/main" id="{D8A76092-A926-47D8-86EA-97730779B927}"/>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8" name="Oval 68">
                  <a:extLst>
                    <a:ext uri="{FF2B5EF4-FFF2-40B4-BE49-F238E27FC236}">
                      <a16:creationId xmlns:a16="http://schemas.microsoft.com/office/drawing/2014/main" id="{B051EAF7-274B-4F06-874B-B9D6ED760A74}"/>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9" name="Oval 69">
                  <a:extLst>
                    <a:ext uri="{FF2B5EF4-FFF2-40B4-BE49-F238E27FC236}">
                      <a16:creationId xmlns:a16="http://schemas.microsoft.com/office/drawing/2014/main" id="{07F289A5-6463-4395-B65D-02EC2BAB652B}"/>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254" name="Group 253">
                <a:extLst>
                  <a:ext uri="{FF2B5EF4-FFF2-40B4-BE49-F238E27FC236}">
                    <a16:creationId xmlns:a16="http://schemas.microsoft.com/office/drawing/2014/main" id="{FB94A58C-6C56-4648-B01C-40E635F415F4}"/>
                  </a:ext>
                </a:extLst>
              </p:cNvPr>
              <p:cNvGrpSpPr/>
              <p:nvPr/>
            </p:nvGrpSpPr>
            <p:grpSpPr>
              <a:xfrm>
                <a:off x="1206839" y="3914891"/>
                <a:ext cx="469400" cy="342521"/>
                <a:chOff x="1557350" y="4606481"/>
                <a:chExt cx="3001095" cy="2252753"/>
              </a:xfrm>
            </p:grpSpPr>
            <p:sp>
              <p:nvSpPr>
                <p:cNvPr id="256" name="Rectangle 255">
                  <a:extLst>
                    <a:ext uri="{FF2B5EF4-FFF2-40B4-BE49-F238E27FC236}">
                      <a16:creationId xmlns:a16="http://schemas.microsoft.com/office/drawing/2014/main" id="{64AA85AD-0DA7-4D9A-B754-AFFA3378637E}"/>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7" name="Rectangle 256">
                  <a:extLst>
                    <a:ext uri="{FF2B5EF4-FFF2-40B4-BE49-F238E27FC236}">
                      <a16:creationId xmlns:a16="http://schemas.microsoft.com/office/drawing/2014/main" id="{29A7EEE1-E12C-4363-A86E-1989F70F8B58}"/>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8" name="Rectangle 257">
                  <a:extLst>
                    <a:ext uri="{FF2B5EF4-FFF2-40B4-BE49-F238E27FC236}">
                      <a16:creationId xmlns:a16="http://schemas.microsoft.com/office/drawing/2014/main" id="{D77F03DA-A841-4D43-B7B1-7C0696A7680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9" name="Rectangle 258">
                  <a:extLst>
                    <a:ext uri="{FF2B5EF4-FFF2-40B4-BE49-F238E27FC236}">
                      <a16:creationId xmlns:a16="http://schemas.microsoft.com/office/drawing/2014/main" id="{7EEEA124-402A-4BE5-875C-FA8812BDA654}"/>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0" name="Freeform 12">
                  <a:extLst>
                    <a:ext uri="{FF2B5EF4-FFF2-40B4-BE49-F238E27FC236}">
                      <a16:creationId xmlns:a16="http://schemas.microsoft.com/office/drawing/2014/main" id="{26FD4FC4-2ECC-4717-AA1C-9E9146D254DB}"/>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1" name="Rectangle 260">
                  <a:extLst>
                    <a:ext uri="{FF2B5EF4-FFF2-40B4-BE49-F238E27FC236}">
                      <a16:creationId xmlns:a16="http://schemas.microsoft.com/office/drawing/2014/main" id="{976D73CA-7BBB-418C-AE54-3B915E23F4C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2" name="Freeform 14">
                  <a:extLst>
                    <a:ext uri="{FF2B5EF4-FFF2-40B4-BE49-F238E27FC236}">
                      <a16:creationId xmlns:a16="http://schemas.microsoft.com/office/drawing/2014/main" id="{E2367B0E-789F-41A7-886E-A39B03DD98C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3" name="Rectangle 262">
                  <a:extLst>
                    <a:ext uri="{FF2B5EF4-FFF2-40B4-BE49-F238E27FC236}">
                      <a16:creationId xmlns:a16="http://schemas.microsoft.com/office/drawing/2014/main" id="{81412476-B5AE-4626-9E46-2D57A8946510}"/>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4" name="Freeform 16">
                  <a:extLst>
                    <a:ext uri="{FF2B5EF4-FFF2-40B4-BE49-F238E27FC236}">
                      <a16:creationId xmlns:a16="http://schemas.microsoft.com/office/drawing/2014/main" id="{BD544194-D4D8-4236-A84B-23A69554DBE7}"/>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5" name="Freeform 17">
                  <a:extLst>
                    <a:ext uri="{FF2B5EF4-FFF2-40B4-BE49-F238E27FC236}">
                      <a16:creationId xmlns:a16="http://schemas.microsoft.com/office/drawing/2014/main" id="{2967923B-C03C-47C0-8401-2D180AADBF1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6" name="Oval 265">
                  <a:extLst>
                    <a:ext uri="{FF2B5EF4-FFF2-40B4-BE49-F238E27FC236}">
                      <a16:creationId xmlns:a16="http://schemas.microsoft.com/office/drawing/2014/main" id="{00DD9556-5842-4D77-9653-D024F33E9716}"/>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7" name="Rectangle 266">
                  <a:extLst>
                    <a:ext uri="{FF2B5EF4-FFF2-40B4-BE49-F238E27FC236}">
                      <a16:creationId xmlns:a16="http://schemas.microsoft.com/office/drawing/2014/main" id="{8AA39DB1-FFF7-4E84-B115-4FD324B41279}"/>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8" name="Freeform 20">
                  <a:extLst>
                    <a:ext uri="{FF2B5EF4-FFF2-40B4-BE49-F238E27FC236}">
                      <a16:creationId xmlns:a16="http://schemas.microsoft.com/office/drawing/2014/main" id="{3635E48D-5E5A-4AEE-B300-9149FB26DE5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9" name="Freeform 21">
                  <a:extLst>
                    <a:ext uri="{FF2B5EF4-FFF2-40B4-BE49-F238E27FC236}">
                      <a16:creationId xmlns:a16="http://schemas.microsoft.com/office/drawing/2014/main" id="{4AEFC042-7E5F-4A9D-81CB-38F2D73D8293}"/>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270" name="Group 269">
                  <a:extLst>
                    <a:ext uri="{FF2B5EF4-FFF2-40B4-BE49-F238E27FC236}">
                      <a16:creationId xmlns:a16="http://schemas.microsoft.com/office/drawing/2014/main" id="{D9E38562-7FBF-4EA7-BE53-FEAA0292D479}"/>
                    </a:ext>
                  </a:extLst>
                </p:cNvPr>
                <p:cNvGrpSpPr/>
                <p:nvPr/>
              </p:nvGrpSpPr>
              <p:grpSpPr>
                <a:xfrm>
                  <a:off x="3298176" y="4606481"/>
                  <a:ext cx="1260269" cy="2252753"/>
                  <a:chOff x="10352191" y="4087395"/>
                  <a:chExt cx="1336826" cy="2389605"/>
                </a:xfrm>
              </p:grpSpPr>
              <p:sp>
                <p:nvSpPr>
                  <p:cNvPr id="271" name="Rectangle 270">
                    <a:extLst>
                      <a:ext uri="{FF2B5EF4-FFF2-40B4-BE49-F238E27FC236}">
                        <a16:creationId xmlns:a16="http://schemas.microsoft.com/office/drawing/2014/main" id="{2F501968-C384-4DFF-9D75-C5E21A05DC2A}"/>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2" name="Round Same Side Corner Rectangle 52">
                    <a:extLst>
                      <a:ext uri="{FF2B5EF4-FFF2-40B4-BE49-F238E27FC236}">
                        <a16:creationId xmlns:a16="http://schemas.microsoft.com/office/drawing/2014/main" id="{7FE12884-840D-4C55-B7C5-EC3C44AD5C83}"/>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273" name="Rectangle 272">
                    <a:extLst>
                      <a:ext uri="{FF2B5EF4-FFF2-40B4-BE49-F238E27FC236}">
                        <a16:creationId xmlns:a16="http://schemas.microsoft.com/office/drawing/2014/main" id="{CD15CCC4-85BC-4104-AB5C-F5171DB3F59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4" name="Freeform 54">
                    <a:extLst>
                      <a:ext uri="{FF2B5EF4-FFF2-40B4-BE49-F238E27FC236}">
                        <a16:creationId xmlns:a16="http://schemas.microsoft.com/office/drawing/2014/main" id="{CCE8B56D-D011-48B1-8F4D-42BE983E4062}"/>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5" name="Freeform 55">
                    <a:extLst>
                      <a:ext uri="{FF2B5EF4-FFF2-40B4-BE49-F238E27FC236}">
                        <a16:creationId xmlns:a16="http://schemas.microsoft.com/office/drawing/2014/main" id="{5CA0DCF6-49E0-4437-AB9C-92E7752BF43D}"/>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6" name="Freeform 56">
                    <a:extLst>
                      <a:ext uri="{FF2B5EF4-FFF2-40B4-BE49-F238E27FC236}">
                        <a16:creationId xmlns:a16="http://schemas.microsoft.com/office/drawing/2014/main" id="{CAFD3558-D0B3-4A81-B6F4-F495C9B71BC2}"/>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7" name="Freeform 57">
                    <a:extLst>
                      <a:ext uri="{FF2B5EF4-FFF2-40B4-BE49-F238E27FC236}">
                        <a16:creationId xmlns:a16="http://schemas.microsoft.com/office/drawing/2014/main" id="{CB29B28F-CA15-4C9D-9F3D-A2EE0B83332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8" name="Freeform 58">
                    <a:extLst>
                      <a:ext uri="{FF2B5EF4-FFF2-40B4-BE49-F238E27FC236}">
                        <a16:creationId xmlns:a16="http://schemas.microsoft.com/office/drawing/2014/main" id="{ED26110A-5729-4FA8-8233-052EAC1BF3E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9" name="Freeform 59">
                    <a:extLst>
                      <a:ext uri="{FF2B5EF4-FFF2-40B4-BE49-F238E27FC236}">
                        <a16:creationId xmlns:a16="http://schemas.microsoft.com/office/drawing/2014/main" id="{AE296E62-FB72-4765-8BAB-3A9EC16FFA48}"/>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0" name="Freeform 60">
                    <a:extLst>
                      <a:ext uri="{FF2B5EF4-FFF2-40B4-BE49-F238E27FC236}">
                        <a16:creationId xmlns:a16="http://schemas.microsoft.com/office/drawing/2014/main" id="{7A9CEAFE-68C1-4DB7-A54C-60DB8DCCFE94}"/>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1" name="Freeform 61">
                    <a:extLst>
                      <a:ext uri="{FF2B5EF4-FFF2-40B4-BE49-F238E27FC236}">
                        <a16:creationId xmlns:a16="http://schemas.microsoft.com/office/drawing/2014/main" id="{A2BC14C2-A29F-448E-A598-2E4C6C7BDBB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2" name="Oval 281">
                    <a:extLst>
                      <a:ext uri="{FF2B5EF4-FFF2-40B4-BE49-F238E27FC236}">
                        <a16:creationId xmlns:a16="http://schemas.microsoft.com/office/drawing/2014/main" id="{983CD198-4225-4FCF-BDB8-75F09C8D73CE}"/>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3" name="Freeform 63">
                    <a:extLst>
                      <a:ext uri="{FF2B5EF4-FFF2-40B4-BE49-F238E27FC236}">
                        <a16:creationId xmlns:a16="http://schemas.microsoft.com/office/drawing/2014/main" id="{8D3CCC93-912E-4B16-AD06-3FAFE19470A1}"/>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4" name="Rectangle 283">
                    <a:extLst>
                      <a:ext uri="{FF2B5EF4-FFF2-40B4-BE49-F238E27FC236}">
                        <a16:creationId xmlns:a16="http://schemas.microsoft.com/office/drawing/2014/main" id="{0BC77ED3-5CD4-4450-BEE0-71C23F26E23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5" name="Freeform 65">
                    <a:extLst>
                      <a:ext uri="{FF2B5EF4-FFF2-40B4-BE49-F238E27FC236}">
                        <a16:creationId xmlns:a16="http://schemas.microsoft.com/office/drawing/2014/main" id="{B4D40948-24CD-4E63-AADF-2B20F8B2FBA7}"/>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6" name="Freeform 66">
                    <a:extLst>
                      <a:ext uri="{FF2B5EF4-FFF2-40B4-BE49-F238E27FC236}">
                        <a16:creationId xmlns:a16="http://schemas.microsoft.com/office/drawing/2014/main" id="{A76C08F2-6FD4-4ED4-B664-05B5235BDAF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7" name="Rectangle 286">
                    <a:extLst>
                      <a:ext uri="{FF2B5EF4-FFF2-40B4-BE49-F238E27FC236}">
                        <a16:creationId xmlns:a16="http://schemas.microsoft.com/office/drawing/2014/main" id="{4EC494E8-830D-4E92-9338-B55FE379F852}"/>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8" name="Freeform 68">
                    <a:extLst>
                      <a:ext uri="{FF2B5EF4-FFF2-40B4-BE49-F238E27FC236}">
                        <a16:creationId xmlns:a16="http://schemas.microsoft.com/office/drawing/2014/main" id="{1B492A83-6ED1-4059-86D1-1BD847E06A3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9" name="Freeform 69">
                    <a:extLst>
                      <a:ext uri="{FF2B5EF4-FFF2-40B4-BE49-F238E27FC236}">
                        <a16:creationId xmlns:a16="http://schemas.microsoft.com/office/drawing/2014/main" id="{34F66EEA-BB0A-432D-8B3D-9A1A25DEC26D}"/>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0" name="Freeform 70">
                    <a:extLst>
                      <a:ext uri="{FF2B5EF4-FFF2-40B4-BE49-F238E27FC236}">
                        <a16:creationId xmlns:a16="http://schemas.microsoft.com/office/drawing/2014/main" id="{F3344736-A055-47B7-8D2D-B1E11C0CC587}"/>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1" name="Freeform 71">
                    <a:extLst>
                      <a:ext uri="{FF2B5EF4-FFF2-40B4-BE49-F238E27FC236}">
                        <a16:creationId xmlns:a16="http://schemas.microsoft.com/office/drawing/2014/main" id="{44D5BCD1-E416-4DC1-8E21-4944B23433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2" name="Freeform 72">
                    <a:extLst>
                      <a:ext uri="{FF2B5EF4-FFF2-40B4-BE49-F238E27FC236}">
                        <a16:creationId xmlns:a16="http://schemas.microsoft.com/office/drawing/2014/main" id="{D0886D0A-B0DF-41D5-BD12-52F92A42F5D4}"/>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3" name="Freeform 73">
                    <a:extLst>
                      <a:ext uri="{FF2B5EF4-FFF2-40B4-BE49-F238E27FC236}">
                        <a16:creationId xmlns:a16="http://schemas.microsoft.com/office/drawing/2014/main" id="{79A1EB61-789C-4597-BDB8-C8B1444A5794}"/>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4" name="Freeform 74">
                    <a:extLst>
                      <a:ext uri="{FF2B5EF4-FFF2-40B4-BE49-F238E27FC236}">
                        <a16:creationId xmlns:a16="http://schemas.microsoft.com/office/drawing/2014/main" id="{6CECBBA6-2492-4D2B-9AD2-C35BA1F357A8}"/>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5" name="Rectangle 294">
                    <a:extLst>
                      <a:ext uri="{FF2B5EF4-FFF2-40B4-BE49-F238E27FC236}">
                        <a16:creationId xmlns:a16="http://schemas.microsoft.com/office/drawing/2014/main" id="{553B39AB-3F7F-4C1A-8C92-3CACF20D9B2B}"/>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6" name="Rectangle 295">
                    <a:extLst>
                      <a:ext uri="{FF2B5EF4-FFF2-40B4-BE49-F238E27FC236}">
                        <a16:creationId xmlns:a16="http://schemas.microsoft.com/office/drawing/2014/main" id="{BC973495-52E5-4035-B89D-5BC3407710B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255" name="Rectangle 254">
                <a:extLst>
                  <a:ext uri="{FF2B5EF4-FFF2-40B4-BE49-F238E27FC236}">
                    <a16:creationId xmlns:a16="http://schemas.microsoft.com/office/drawing/2014/main" id="{A193E4AF-2C40-4AF5-ACA2-F2F6495559E1}"/>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79" name="TextBox 178">
            <a:extLst>
              <a:ext uri="{FF2B5EF4-FFF2-40B4-BE49-F238E27FC236}">
                <a16:creationId xmlns:a16="http://schemas.microsoft.com/office/drawing/2014/main" id="{EC3DE00D-C795-43C3-BDB6-61881EC0754C}"/>
              </a:ext>
            </a:extLst>
          </p:cNvPr>
          <p:cNvSpPr txBox="1"/>
          <p:nvPr/>
        </p:nvSpPr>
        <p:spPr>
          <a:xfrm>
            <a:off x="584199" y="3093720"/>
            <a:ext cx="11017779" cy="3085764"/>
          </a:xfrm>
          <a:prstGeom prst="rect">
            <a:avLst/>
          </a:prstGeom>
          <a:solidFill>
            <a:schemeClr val="bg1"/>
          </a:solidFill>
          <a:ln w="6350">
            <a:solidFill>
              <a:schemeClr val="bg1">
                <a:lumMod val="85000"/>
              </a:schemeClr>
            </a:solidFill>
          </a:ln>
        </p:spPr>
        <p:txBody>
          <a:bodyPr wrap="square" lIns="137160" tIns="91440" rIns="91440" bIns="45720" rtlCol="0" anchor="t">
            <a:noAutofit/>
          </a:bodyPr>
          <a:lstStyle>
            <a:defPPr>
              <a:defRPr lang="en-US"/>
            </a:defPPr>
            <a:lvl1pPr algn="ctr">
              <a:defRPr b="1" i="1">
                <a:solidFill>
                  <a:schemeClr val="tx2"/>
                </a:solidFill>
                <a:latin typeface="+mj-lt"/>
              </a:defRPr>
            </a:lvl1pPr>
          </a:lstStyle>
          <a:p>
            <a:pPr algn="l">
              <a:spcAft>
                <a:spcPts val="1800"/>
              </a:spcAft>
            </a:pPr>
            <a:r>
              <a:rPr lang="en-US" dirty="0"/>
              <a:t>Like-local Windows experience (integrated Start Menu, task bar, action center, App Switcher)</a:t>
            </a:r>
          </a:p>
          <a:p>
            <a:pPr algn="l">
              <a:spcAft>
                <a:spcPts val="1800"/>
              </a:spcAft>
            </a:pPr>
            <a:r>
              <a:rPr lang="en-US" dirty="0"/>
              <a:t>Extensive support for devices</a:t>
            </a:r>
            <a:br>
              <a:rPr lang="en-US" dirty="0">
                <a:cs typeface="Segoe UI" pitchFamily="34" charset="0"/>
              </a:rPr>
            </a:br>
            <a:r>
              <a:rPr lang="en-US" sz="1600" dirty="0">
                <a:latin typeface="Segoe UI Light" panose="020B0502040204020203" pitchFamily="34" charset="0"/>
              </a:rPr>
              <a:t>Multiple monitor support (max 16 monitors with up to 8k x 8k resolution each)</a:t>
            </a:r>
          </a:p>
          <a:p>
            <a:pPr algn="l">
              <a:spcAft>
                <a:spcPts val="1800"/>
              </a:spcAft>
            </a:pPr>
            <a:r>
              <a:rPr lang="en-US" dirty="0"/>
              <a:t>RemoteApp indistinguishable from local apps</a:t>
            </a:r>
          </a:p>
          <a:p>
            <a:pPr algn="l">
              <a:spcAft>
                <a:spcPts val="1800"/>
              </a:spcAft>
            </a:pPr>
            <a:r>
              <a:rPr lang="en-US" dirty="0"/>
              <a:t>Integration with accessibility tools (e.g. Jaws)</a:t>
            </a:r>
          </a:p>
          <a:p>
            <a:pPr algn="l">
              <a:spcAft>
                <a:spcPts val="1800"/>
              </a:spcAft>
            </a:pPr>
            <a:r>
              <a:rPr lang="en-US" dirty="0"/>
              <a:t>Support for 3</a:t>
            </a:r>
            <a:r>
              <a:rPr lang="en-US" baseline="30000" dirty="0"/>
              <a:t>rd</a:t>
            </a:r>
            <a:r>
              <a:rPr lang="en-US" dirty="0"/>
              <a:t> party extensions</a:t>
            </a:r>
          </a:p>
        </p:txBody>
      </p:sp>
      <p:sp>
        <p:nvSpPr>
          <p:cNvPr id="180" name="TextBox 179">
            <a:extLst>
              <a:ext uri="{FF2B5EF4-FFF2-40B4-BE49-F238E27FC236}">
                <a16:creationId xmlns:a16="http://schemas.microsoft.com/office/drawing/2014/main" id="{42FE5150-089F-4598-A7D5-60A97E9612BF}"/>
              </a:ext>
            </a:extLst>
          </p:cNvPr>
          <p:cNvSpPr txBox="1"/>
          <p:nvPr/>
        </p:nvSpPr>
        <p:spPr>
          <a:xfrm>
            <a:off x="583459" y="2555874"/>
            <a:ext cx="11018520" cy="544063"/>
          </a:xfrm>
          <a:prstGeom prst="rect">
            <a:avLst/>
          </a:prstGeom>
          <a:solidFill>
            <a:schemeClr val="accent1"/>
          </a:solidFill>
          <a:ln w="6350">
            <a:solidFill>
              <a:schemeClr val="accent1"/>
            </a:solidFill>
          </a:ln>
        </p:spPr>
        <p:txBody>
          <a:bodyPr wrap="square" lIns="0" tIns="0" rIns="0" bIns="0" rtlCol="0" anchor="ctr">
            <a:noAutofit/>
          </a:bodyPr>
          <a:lstStyle/>
          <a:p>
            <a:pPr algn="ctr"/>
            <a:r>
              <a:rPr lang="en-US" sz="2000" dirty="0">
                <a:solidFill>
                  <a:schemeClr val="bg1"/>
                </a:solidFill>
                <a:latin typeface="+mj-lt"/>
              </a:rPr>
              <a:t>User Experience Benefits</a:t>
            </a:r>
          </a:p>
        </p:txBody>
      </p:sp>
      <p:sp>
        <p:nvSpPr>
          <p:cNvPr id="178" name="Rectangle 177">
            <a:extLst>
              <a:ext uri="{FF2B5EF4-FFF2-40B4-BE49-F238E27FC236}">
                <a16:creationId xmlns:a16="http://schemas.microsoft.com/office/drawing/2014/main" id="{6A0C1344-A031-4E53-AB28-1143F7E2A63F}"/>
              </a:ext>
            </a:extLst>
          </p:cNvPr>
          <p:cNvSpPr/>
          <p:nvPr/>
        </p:nvSpPr>
        <p:spPr>
          <a:xfrm>
            <a:off x="533943" y="114846"/>
            <a:ext cx="4133119" cy="369332"/>
          </a:xfrm>
          <a:prstGeom prst="rect">
            <a:avLst/>
          </a:prstGeom>
        </p:spPr>
        <p:txBody>
          <a:bodyPr wrap="none">
            <a:spAutoFit/>
          </a:bodyPr>
          <a:lstStyle/>
          <a:p>
            <a:r>
              <a:rPr lang="en-US" b="1" i="1" dirty="0"/>
              <a:t>Best Virtualized End-user Experience</a:t>
            </a:r>
          </a:p>
        </p:txBody>
      </p:sp>
      <p:grpSp>
        <p:nvGrpSpPr>
          <p:cNvPr id="184" name="Group 183">
            <a:extLst>
              <a:ext uri="{FF2B5EF4-FFF2-40B4-BE49-F238E27FC236}">
                <a16:creationId xmlns:a16="http://schemas.microsoft.com/office/drawing/2014/main" id="{283F733C-5976-40DD-A24B-3D430B176777}"/>
              </a:ext>
            </a:extLst>
          </p:cNvPr>
          <p:cNvGrpSpPr/>
          <p:nvPr/>
        </p:nvGrpSpPr>
        <p:grpSpPr>
          <a:xfrm>
            <a:off x="10052458" y="146014"/>
            <a:ext cx="2033626" cy="1015650"/>
            <a:chOff x="10052458" y="146014"/>
            <a:chExt cx="2033626" cy="1015650"/>
          </a:xfrm>
        </p:grpSpPr>
        <p:pic>
          <p:nvPicPr>
            <p:cNvPr id="185" name="Picture 184">
              <a:extLst>
                <a:ext uri="{FF2B5EF4-FFF2-40B4-BE49-F238E27FC236}">
                  <a16:creationId xmlns:a16="http://schemas.microsoft.com/office/drawing/2014/main" id="{E34FA962-B506-4EC1-BB57-3E6B8DB61FE3}"/>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186" name="Rectangle 185">
              <a:extLst>
                <a:ext uri="{FF2B5EF4-FFF2-40B4-BE49-F238E27FC236}">
                  <a16:creationId xmlns:a16="http://schemas.microsoft.com/office/drawing/2014/main" id="{0625D2C6-463F-4CBA-B5CB-D92E9554B5D1}"/>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1611888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369794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Enhanced WVD / remote desktop protocol</a:t>
            </a:r>
          </a:p>
        </p:txBody>
      </p:sp>
      <p:sp>
        <p:nvSpPr>
          <p:cNvPr id="247" name="Freeform: Shape 246">
            <a:extLst>
              <a:ext uri="{FF2B5EF4-FFF2-40B4-BE49-F238E27FC236}">
                <a16:creationId xmlns:a16="http://schemas.microsoft.com/office/drawing/2014/main" id="{7953571A-41B1-4264-B5C4-16D553DEC093}"/>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b="1" dirty="0">
                <a:solidFill>
                  <a:schemeClr val="tx2"/>
                </a:solidFill>
                <a:cs typeface="Segoe UI" pitchFamily="34" charset="0"/>
              </a:rPr>
              <a:t>RDP enhancements deliver the optimized WVD experience for end users </a:t>
            </a:r>
            <a:endParaRPr lang="en-US" spc="-30" dirty="0">
              <a:solidFill>
                <a:schemeClr val="tx1"/>
              </a:solidFill>
              <a:cs typeface="Segoe UI" pitchFamily="34" charset="0"/>
            </a:endParaRPr>
          </a:p>
        </p:txBody>
      </p:sp>
      <p:grpSp>
        <p:nvGrpSpPr>
          <p:cNvPr id="248" name="Group 247">
            <a:extLst>
              <a:ext uri="{FF2B5EF4-FFF2-40B4-BE49-F238E27FC236}">
                <a16:creationId xmlns:a16="http://schemas.microsoft.com/office/drawing/2014/main" id="{5D36947D-1A9E-4CBC-9F58-07694FE8672B}"/>
              </a:ext>
            </a:extLst>
          </p:cNvPr>
          <p:cNvGrpSpPr>
            <a:grpSpLocks noChangeAspect="1"/>
          </p:cNvGrpSpPr>
          <p:nvPr/>
        </p:nvGrpSpPr>
        <p:grpSpPr>
          <a:xfrm>
            <a:off x="10777886" y="1372927"/>
            <a:ext cx="806355" cy="914400"/>
            <a:chOff x="797126" y="3893732"/>
            <a:chExt cx="1125722" cy="1276864"/>
          </a:xfrm>
        </p:grpSpPr>
        <p:sp>
          <p:nvSpPr>
            <p:cNvPr id="249" name="Freeform 403">
              <a:extLst>
                <a:ext uri="{FF2B5EF4-FFF2-40B4-BE49-F238E27FC236}">
                  <a16:creationId xmlns:a16="http://schemas.microsoft.com/office/drawing/2014/main" id="{93715FDD-1EED-4F6A-BC9B-F946D4AB223D}"/>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250" name="Freeform: Shape 249">
              <a:extLst>
                <a:ext uri="{FF2B5EF4-FFF2-40B4-BE49-F238E27FC236}">
                  <a16:creationId xmlns:a16="http://schemas.microsoft.com/office/drawing/2014/main" id="{0F1715C5-9AB6-403D-9B80-F7FFEA1FDAA2}"/>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251" name="Group 250">
              <a:extLst>
                <a:ext uri="{FF2B5EF4-FFF2-40B4-BE49-F238E27FC236}">
                  <a16:creationId xmlns:a16="http://schemas.microsoft.com/office/drawing/2014/main" id="{5CB463BF-F0EC-470B-973F-3249BE705183}"/>
                </a:ext>
              </a:extLst>
            </p:cNvPr>
            <p:cNvGrpSpPr/>
            <p:nvPr/>
          </p:nvGrpSpPr>
          <p:grpSpPr>
            <a:xfrm>
              <a:off x="971699" y="4043345"/>
              <a:ext cx="773592" cy="920012"/>
              <a:chOff x="993458" y="3447450"/>
              <a:chExt cx="682781" cy="812014"/>
            </a:xfrm>
          </p:grpSpPr>
          <p:grpSp>
            <p:nvGrpSpPr>
              <p:cNvPr id="252" name="Group 251">
                <a:extLst>
                  <a:ext uri="{FF2B5EF4-FFF2-40B4-BE49-F238E27FC236}">
                    <a16:creationId xmlns:a16="http://schemas.microsoft.com/office/drawing/2014/main" id="{01061A00-3555-4575-A9E1-1E3C494ACFA9}"/>
                  </a:ext>
                </a:extLst>
              </p:cNvPr>
              <p:cNvGrpSpPr/>
              <p:nvPr/>
            </p:nvGrpSpPr>
            <p:grpSpPr>
              <a:xfrm>
                <a:off x="993458" y="3447450"/>
                <a:ext cx="576652" cy="812014"/>
                <a:chOff x="499414" y="1517311"/>
                <a:chExt cx="3686809" cy="5340604"/>
              </a:xfrm>
            </p:grpSpPr>
            <p:sp>
              <p:nvSpPr>
                <p:cNvPr id="360" name="Rectangle 359">
                  <a:extLst>
                    <a:ext uri="{FF2B5EF4-FFF2-40B4-BE49-F238E27FC236}">
                      <a16:creationId xmlns:a16="http://schemas.microsoft.com/office/drawing/2014/main" id="{3FDD0808-F70F-401F-B0AE-B1F91EB2EBB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361" name="Group 360">
                  <a:extLst>
                    <a:ext uri="{FF2B5EF4-FFF2-40B4-BE49-F238E27FC236}">
                      <a16:creationId xmlns:a16="http://schemas.microsoft.com/office/drawing/2014/main" id="{770EC971-E917-49A8-B524-319B6DA99DF0}"/>
                    </a:ext>
                  </a:extLst>
                </p:cNvPr>
                <p:cNvGrpSpPr/>
                <p:nvPr/>
              </p:nvGrpSpPr>
              <p:grpSpPr>
                <a:xfrm rot="20371446">
                  <a:off x="2524661" y="2299216"/>
                  <a:ext cx="859576" cy="554927"/>
                  <a:chOff x="4775201" y="792163"/>
                  <a:chExt cx="2024063" cy="1306513"/>
                </a:xfrm>
              </p:grpSpPr>
              <p:sp>
                <p:nvSpPr>
                  <p:cNvPr id="455" name="Freeform 354">
                    <a:extLst>
                      <a:ext uri="{FF2B5EF4-FFF2-40B4-BE49-F238E27FC236}">
                        <a16:creationId xmlns:a16="http://schemas.microsoft.com/office/drawing/2014/main" id="{C333865D-1D92-4049-8DC6-2C8B2D35F543}"/>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6" name="Rectangle 455">
                    <a:extLst>
                      <a:ext uri="{FF2B5EF4-FFF2-40B4-BE49-F238E27FC236}">
                        <a16:creationId xmlns:a16="http://schemas.microsoft.com/office/drawing/2014/main" id="{B5E0DBF6-44EC-4A66-A72E-61DFB7F9C4B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7" name="Freeform 356">
                    <a:extLst>
                      <a:ext uri="{FF2B5EF4-FFF2-40B4-BE49-F238E27FC236}">
                        <a16:creationId xmlns:a16="http://schemas.microsoft.com/office/drawing/2014/main" id="{2BC5BD4B-A809-4C56-BAD3-5CF953DA7BD3}"/>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8" name="Freeform 357">
                    <a:extLst>
                      <a:ext uri="{FF2B5EF4-FFF2-40B4-BE49-F238E27FC236}">
                        <a16:creationId xmlns:a16="http://schemas.microsoft.com/office/drawing/2014/main" id="{30AB537B-2B84-4792-9A34-27C12C3DC55F}"/>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9" name="Freeform 358">
                    <a:extLst>
                      <a:ext uri="{FF2B5EF4-FFF2-40B4-BE49-F238E27FC236}">
                        <a16:creationId xmlns:a16="http://schemas.microsoft.com/office/drawing/2014/main" id="{62083777-6681-4C0B-B16B-90DFE2273ED7}"/>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0" name="Rectangle 459">
                    <a:extLst>
                      <a:ext uri="{FF2B5EF4-FFF2-40B4-BE49-F238E27FC236}">
                        <a16:creationId xmlns:a16="http://schemas.microsoft.com/office/drawing/2014/main" id="{85B5F34C-0C6A-45C3-9672-1BFDDB640A69}"/>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1" name="Freeform 360">
                    <a:extLst>
                      <a:ext uri="{FF2B5EF4-FFF2-40B4-BE49-F238E27FC236}">
                        <a16:creationId xmlns:a16="http://schemas.microsoft.com/office/drawing/2014/main" id="{387E5986-E75F-41DA-B21C-A9C09104617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2" name="Rectangle 461">
                    <a:extLst>
                      <a:ext uri="{FF2B5EF4-FFF2-40B4-BE49-F238E27FC236}">
                        <a16:creationId xmlns:a16="http://schemas.microsoft.com/office/drawing/2014/main" id="{85B8E395-E403-46F7-AC6A-8F315297820F}"/>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3" name="Rectangle 462">
                    <a:extLst>
                      <a:ext uri="{FF2B5EF4-FFF2-40B4-BE49-F238E27FC236}">
                        <a16:creationId xmlns:a16="http://schemas.microsoft.com/office/drawing/2014/main" id="{27546CDB-0760-4FF2-960A-CCEA56B93C26}"/>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4" name="Rectangle 463">
                    <a:extLst>
                      <a:ext uri="{FF2B5EF4-FFF2-40B4-BE49-F238E27FC236}">
                        <a16:creationId xmlns:a16="http://schemas.microsoft.com/office/drawing/2014/main" id="{25E1DFF5-EA41-4795-94BF-6FA93674D09F}"/>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5" name="Rectangle 464">
                    <a:extLst>
                      <a:ext uri="{FF2B5EF4-FFF2-40B4-BE49-F238E27FC236}">
                        <a16:creationId xmlns:a16="http://schemas.microsoft.com/office/drawing/2014/main" id="{F56BF763-FB66-4CC4-9557-8CE8F3E3DD9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6" name="Rectangle 465">
                    <a:extLst>
                      <a:ext uri="{FF2B5EF4-FFF2-40B4-BE49-F238E27FC236}">
                        <a16:creationId xmlns:a16="http://schemas.microsoft.com/office/drawing/2014/main" id="{7FECAFEC-BE84-4984-B8FD-0D6F2BB52768}"/>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362" name="Group 361">
                  <a:extLst>
                    <a:ext uri="{FF2B5EF4-FFF2-40B4-BE49-F238E27FC236}">
                      <a16:creationId xmlns:a16="http://schemas.microsoft.com/office/drawing/2014/main" id="{6C623F03-3F03-444A-97D6-398CE0AC3DEE}"/>
                    </a:ext>
                  </a:extLst>
                </p:cNvPr>
                <p:cNvGrpSpPr/>
                <p:nvPr/>
              </p:nvGrpSpPr>
              <p:grpSpPr>
                <a:xfrm>
                  <a:off x="1190120" y="2235988"/>
                  <a:ext cx="983059" cy="983198"/>
                  <a:chOff x="5413781" y="5749281"/>
                  <a:chExt cx="652036" cy="652036"/>
                </a:xfrm>
              </p:grpSpPr>
              <p:sp>
                <p:nvSpPr>
                  <p:cNvPr id="453" name="Oval 452">
                    <a:extLst>
                      <a:ext uri="{FF2B5EF4-FFF2-40B4-BE49-F238E27FC236}">
                        <a16:creationId xmlns:a16="http://schemas.microsoft.com/office/drawing/2014/main" id="{16D7C7C3-7D77-4F3B-B6D5-355E6FA79154}"/>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454" name="Freeform 353">
                    <a:extLst>
                      <a:ext uri="{FF2B5EF4-FFF2-40B4-BE49-F238E27FC236}">
                        <a16:creationId xmlns:a16="http://schemas.microsoft.com/office/drawing/2014/main" id="{972EADB4-F29A-499B-AB53-416715B6DEB2}"/>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63" name="Group 362">
                  <a:extLst>
                    <a:ext uri="{FF2B5EF4-FFF2-40B4-BE49-F238E27FC236}">
                      <a16:creationId xmlns:a16="http://schemas.microsoft.com/office/drawing/2014/main" id="{8447F914-E6D7-476A-9DBF-5CBFDEAD5770}"/>
                    </a:ext>
                  </a:extLst>
                </p:cNvPr>
                <p:cNvGrpSpPr>
                  <a:grpSpLocks noChangeAspect="1"/>
                </p:cNvGrpSpPr>
                <p:nvPr/>
              </p:nvGrpSpPr>
              <p:grpSpPr bwMode="auto">
                <a:xfrm rot="1800000">
                  <a:off x="3563928" y="2295726"/>
                  <a:ext cx="622295" cy="847393"/>
                  <a:chOff x="6652" y="1661"/>
                  <a:chExt cx="260" cy="354"/>
                </a:xfrm>
              </p:grpSpPr>
              <p:sp>
                <p:nvSpPr>
                  <p:cNvPr id="449" name="AutoShape 138">
                    <a:extLst>
                      <a:ext uri="{FF2B5EF4-FFF2-40B4-BE49-F238E27FC236}">
                        <a16:creationId xmlns:a16="http://schemas.microsoft.com/office/drawing/2014/main" id="{2B20D5DB-E073-41E3-B623-F2183BE7083E}"/>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450" name="Freeform 349">
                    <a:extLst>
                      <a:ext uri="{FF2B5EF4-FFF2-40B4-BE49-F238E27FC236}">
                        <a16:creationId xmlns:a16="http://schemas.microsoft.com/office/drawing/2014/main" id="{2AE950FC-A0D1-46FA-A50E-17AD9F89B4C8}"/>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451" name="Rectangle 450">
                    <a:extLst>
                      <a:ext uri="{FF2B5EF4-FFF2-40B4-BE49-F238E27FC236}">
                        <a16:creationId xmlns:a16="http://schemas.microsoft.com/office/drawing/2014/main" id="{8AC50F59-C527-45B4-ABB3-A682276CE557}"/>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452" name="Freeform 351">
                    <a:extLst>
                      <a:ext uri="{FF2B5EF4-FFF2-40B4-BE49-F238E27FC236}">
                        <a16:creationId xmlns:a16="http://schemas.microsoft.com/office/drawing/2014/main" id="{7F1730C7-8AE8-4492-A31D-3DEB32C74181}"/>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364" name="Group 363">
                  <a:extLst>
                    <a:ext uri="{FF2B5EF4-FFF2-40B4-BE49-F238E27FC236}">
                      <a16:creationId xmlns:a16="http://schemas.microsoft.com/office/drawing/2014/main" id="{C8200A40-BC1C-4C90-95E2-3E85760A09A5}"/>
                    </a:ext>
                  </a:extLst>
                </p:cNvPr>
                <p:cNvGrpSpPr/>
                <p:nvPr/>
              </p:nvGrpSpPr>
              <p:grpSpPr>
                <a:xfrm flipH="1">
                  <a:off x="499414" y="3565526"/>
                  <a:ext cx="1323206" cy="3292389"/>
                  <a:chOff x="8371759" y="2973033"/>
                  <a:chExt cx="1482609" cy="3688507"/>
                </a:xfrm>
              </p:grpSpPr>
              <p:sp>
                <p:nvSpPr>
                  <p:cNvPr id="375" name="Freeform 314">
                    <a:extLst>
                      <a:ext uri="{FF2B5EF4-FFF2-40B4-BE49-F238E27FC236}">
                        <a16:creationId xmlns:a16="http://schemas.microsoft.com/office/drawing/2014/main" id="{AEC9D6AC-D687-443C-9D6B-A7343343B7D0}"/>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76" name="Freeform 315">
                    <a:extLst>
                      <a:ext uri="{FF2B5EF4-FFF2-40B4-BE49-F238E27FC236}">
                        <a16:creationId xmlns:a16="http://schemas.microsoft.com/office/drawing/2014/main" id="{DCF88E10-F331-4CAF-9C3B-D64E15CDD54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77" name="Freeform 316">
                    <a:extLst>
                      <a:ext uri="{FF2B5EF4-FFF2-40B4-BE49-F238E27FC236}">
                        <a16:creationId xmlns:a16="http://schemas.microsoft.com/office/drawing/2014/main" id="{BBE694D5-175C-4795-AA84-723BDE7C99A5}"/>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78" name="Rectangle 377">
                    <a:extLst>
                      <a:ext uri="{FF2B5EF4-FFF2-40B4-BE49-F238E27FC236}">
                        <a16:creationId xmlns:a16="http://schemas.microsoft.com/office/drawing/2014/main" id="{ABD26DF0-DFF2-479B-948A-986FDEC13D3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79" name="Rectangle 378">
                    <a:extLst>
                      <a:ext uri="{FF2B5EF4-FFF2-40B4-BE49-F238E27FC236}">
                        <a16:creationId xmlns:a16="http://schemas.microsoft.com/office/drawing/2014/main" id="{76E25D63-B090-4BE0-93EE-CD647F72752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0" name="Rectangle 379">
                    <a:extLst>
                      <a:ext uri="{FF2B5EF4-FFF2-40B4-BE49-F238E27FC236}">
                        <a16:creationId xmlns:a16="http://schemas.microsoft.com/office/drawing/2014/main" id="{A34978AB-4682-4FEA-B56D-60BEFEDF13F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1" name="Rectangle 380">
                    <a:extLst>
                      <a:ext uri="{FF2B5EF4-FFF2-40B4-BE49-F238E27FC236}">
                        <a16:creationId xmlns:a16="http://schemas.microsoft.com/office/drawing/2014/main" id="{CA11AEC1-ABD5-48D4-875D-78A2F7E1F31E}"/>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2" name="Freeform 321">
                    <a:extLst>
                      <a:ext uri="{FF2B5EF4-FFF2-40B4-BE49-F238E27FC236}">
                        <a16:creationId xmlns:a16="http://schemas.microsoft.com/office/drawing/2014/main" id="{9BADB1CE-7798-4CA7-8FF1-928C2FBBE48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3" name="Rectangle 382">
                    <a:extLst>
                      <a:ext uri="{FF2B5EF4-FFF2-40B4-BE49-F238E27FC236}">
                        <a16:creationId xmlns:a16="http://schemas.microsoft.com/office/drawing/2014/main" id="{E6C81656-F75E-40E8-8DAB-E813800AA7BA}"/>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4" name="Rectangle 383">
                    <a:extLst>
                      <a:ext uri="{FF2B5EF4-FFF2-40B4-BE49-F238E27FC236}">
                        <a16:creationId xmlns:a16="http://schemas.microsoft.com/office/drawing/2014/main" id="{48A9F5C4-0127-44C9-8B9C-7D1B5DA53503}"/>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5" name="Freeform 324">
                    <a:extLst>
                      <a:ext uri="{FF2B5EF4-FFF2-40B4-BE49-F238E27FC236}">
                        <a16:creationId xmlns:a16="http://schemas.microsoft.com/office/drawing/2014/main" id="{2AE8ACD3-801A-4651-A245-EE06792734E0}"/>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6" name="Freeform 325">
                    <a:extLst>
                      <a:ext uri="{FF2B5EF4-FFF2-40B4-BE49-F238E27FC236}">
                        <a16:creationId xmlns:a16="http://schemas.microsoft.com/office/drawing/2014/main" id="{85B4D663-7AAD-4DBE-B175-9BDE6CC28785}"/>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7" name="Freeform 326">
                    <a:extLst>
                      <a:ext uri="{FF2B5EF4-FFF2-40B4-BE49-F238E27FC236}">
                        <a16:creationId xmlns:a16="http://schemas.microsoft.com/office/drawing/2014/main" id="{073E0E92-7AAB-4448-99B4-394E43FA0FED}"/>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28" name="Freeform 327">
                    <a:extLst>
                      <a:ext uri="{FF2B5EF4-FFF2-40B4-BE49-F238E27FC236}">
                        <a16:creationId xmlns:a16="http://schemas.microsoft.com/office/drawing/2014/main" id="{0AF16DDB-4C30-4E5A-8CC7-9B4F729DFC6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29" name="Freeform 328">
                    <a:extLst>
                      <a:ext uri="{FF2B5EF4-FFF2-40B4-BE49-F238E27FC236}">
                        <a16:creationId xmlns:a16="http://schemas.microsoft.com/office/drawing/2014/main" id="{D2382219-1035-48CC-9D31-0598350BF48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0" name="Freeform 329">
                    <a:extLst>
                      <a:ext uri="{FF2B5EF4-FFF2-40B4-BE49-F238E27FC236}">
                        <a16:creationId xmlns:a16="http://schemas.microsoft.com/office/drawing/2014/main" id="{70685AFF-A19E-4830-9700-5793C808A38C}"/>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1" name="Freeform 330">
                    <a:extLst>
                      <a:ext uri="{FF2B5EF4-FFF2-40B4-BE49-F238E27FC236}">
                        <a16:creationId xmlns:a16="http://schemas.microsoft.com/office/drawing/2014/main" id="{98393626-EEE1-4334-BEB5-0A066152B5B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2" name="Freeform 331">
                    <a:extLst>
                      <a:ext uri="{FF2B5EF4-FFF2-40B4-BE49-F238E27FC236}">
                        <a16:creationId xmlns:a16="http://schemas.microsoft.com/office/drawing/2014/main" id="{FBD1DBF0-EF29-49D2-80C5-280C85C43C0D}"/>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3" name="Freeform 332">
                    <a:extLst>
                      <a:ext uri="{FF2B5EF4-FFF2-40B4-BE49-F238E27FC236}">
                        <a16:creationId xmlns:a16="http://schemas.microsoft.com/office/drawing/2014/main" id="{9660C4AB-2269-4173-B8DE-65086632D4D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4" name="Freeform 333">
                    <a:extLst>
                      <a:ext uri="{FF2B5EF4-FFF2-40B4-BE49-F238E27FC236}">
                        <a16:creationId xmlns:a16="http://schemas.microsoft.com/office/drawing/2014/main" id="{3ECC6A3F-A743-42FF-8600-1634B569CD5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5" name="Freeform 334">
                    <a:extLst>
                      <a:ext uri="{FF2B5EF4-FFF2-40B4-BE49-F238E27FC236}">
                        <a16:creationId xmlns:a16="http://schemas.microsoft.com/office/drawing/2014/main" id="{D0C6ACD4-EE23-4E00-8B3A-4DFC449770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6" name="Freeform 335">
                    <a:extLst>
                      <a:ext uri="{FF2B5EF4-FFF2-40B4-BE49-F238E27FC236}">
                        <a16:creationId xmlns:a16="http://schemas.microsoft.com/office/drawing/2014/main" id="{722162AE-7106-49E4-878B-BA44E2F3C5B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7" name="Freeform 336">
                    <a:extLst>
                      <a:ext uri="{FF2B5EF4-FFF2-40B4-BE49-F238E27FC236}">
                        <a16:creationId xmlns:a16="http://schemas.microsoft.com/office/drawing/2014/main" id="{5DFA80BF-4A2E-4ED0-A6B3-5986F8577423}"/>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8" name="Freeform 337">
                    <a:extLst>
                      <a:ext uri="{FF2B5EF4-FFF2-40B4-BE49-F238E27FC236}">
                        <a16:creationId xmlns:a16="http://schemas.microsoft.com/office/drawing/2014/main" id="{BD8237F5-E74C-435E-962E-C22514DEBE4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9" name="Freeform 338">
                    <a:extLst>
                      <a:ext uri="{FF2B5EF4-FFF2-40B4-BE49-F238E27FC236}">
                        <a16:creationId xmlns:a16="http://schemas.microsoft.com/office/drawing/2014/main" id="{3E2012DD-ECD4-4513-A784-A37D2011539F}"/>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0" name="Freeform 339">
                    <a:extLst>
                      <a:ext uri="{FF2B5EF4-FFF2-40B4-BE49-F238E27FC236}">
                        <a16:creationId xmlns:a16="http://schemas.microsoft.com/office/drawing/2014/main" id="{73ACD26F-F148-4EAF-87DD-83E8C0CCC1C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1" name="Freeform 340">
                    <a:extLst>
                      <a:ext uri="{FF2B5EF4-FFF2-40B4-BE49-F238E27FC236}">
                        <a16:creationId xmlns:a16="http://schemas.microsoft.com/office/drawing/2014/main" id="{7405B830-9CF1-4738-A07D-F69D49BE244B}"/>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2" name="Freeform 341">
                    <a:extLst>
                      <a:ext uri="{FF2B5EF4-FFF2-40B4-BE49-F238E27FC236}">
                        <a16:creationId xmlns:a16="http://schemas.microsoft.com/office/drawing/2014/main" id="{B37EFB4D-928E-4405-A36B-5E133105223C}"/>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3" name="Freeform 342">
                    <a:extLst>
                      <a:ext uri="{FF2B5EF4-FFF2-40B4-BE49-F238E27FC236}">
                        <a16:creationId xmlns:a16="http://schemas.microsoft.com/office/drawing/2014/main" id="{0C46F03A-463C-4713-ABDC-FBC981D97A2A}"/>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4" name="Freeform 343">
                    <a:extLst>
                      <a:ext uri="{FF2B5EF4-FFF2-40B4-BE49-F238E27FC236}">
                        <a16:creationId xmlns:a16="http://schemas.microsoft.com/office/drawing/2014/main" id="{32876294-7ADE-4343-8BEE-30B22015130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5" name="Freeform 344">
                    <a:extLst>
                      <a:ext uri="{FF2B5EF4-FFF2-40B4-BE49-F238E27FC236}">
                        <a16:creationId xmlns:a16="http://schemas.microsoft.com/office/drawing/2014/main" id="{5BB22532-7EBA-408B-AB3F-C8F9E233ECCA}"/>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6" name="Freeform 345">
                    <a:extLst>
                      <a:ext uri="{FF2B5EF4-FFF2-40B4-BE49-F238E27FC236}">
                        <a16:creationId xmlns:a16="http://schemas.microsoft.com/office/drawing/2014/main" id="{7ED6C94A-4B14-43CF-9F40-1CB27DC54808}"/>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7" name="Freeform 346">
                    <a:extLst>
                      <a:ext uri="{FF2B5EF4-FFF2-40B4-BE49-F238E27FC236}">
                        <a16:creationId xmlns:a16="http://schemas.microsoft.com/office/drawing/2014/main" id="{D8FFBCC6-BE4C-4AC8-8ED2-C70DAAFE6EA3}"/>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8" name="Freeform 347">
                    <a:extLst>
                      <a:ext uri="{FF2B5EF4-FFF2-40B4-BE49-F238E27FC236}">
                        <a16:creationId xmlns:a16="http://schemas.microsoft.com/office/drawing/2014/main" id="{1A00B8AB-0628-499F-B889-2DC28864AD48}"/>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365" name="Straight Connector 364">
                  <a:extLst>
                    <a:ext uri="{FF2B5EF4-FFF2-40B4-BE49-F238E27FC236}">
                      <a16:creationId xmlns:a16="http://schemas.microsoft.com/office/drawing/2014/main" id="{9E34F7AE-F874-4E68-B065-2DF886F1AE9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366" name="Straight Connector 365">
                  <a:extLst>
                    <a:ext uri="{FF2B5EF4-FFF2-40B4-BE49-F238E27FC236}">
                      <a16:creationId xmlns:a16="http://schemas.microsoft.com/office/drawing/2014/main" id="{018648D2-109B-4876-8729-00A69111ED3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367" name="Straight Connector 366">
                  <a:extLst>
                    <a:ext uri="{FF2B5EF4-FFF2-40B4-BE49-F238E27FC236}">
                      <a16:creationId xmlns:a16="http://schemas.microsoft.com/office/drawing/2014/main" id="{F396AE80-67FA-4AA3-B961-E6C4F0ADF5B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368" name="Straight Connector 367">
                  <a:extLst>
                    <a:ext uri="{FF2B5EF4-FFF2-40B4-BE49-F238E27FC236}">
                      <a16:creationId xmlns:a16="http://schemas.microsoft.com/office/drawing/2014/main" id="{7ECC4822-7644-46AB-95B8-1B2840610E9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369" name="Group 368">
                  <a:extLst>
                    <a:ext uri="{FF2B5EF4-FFF2-40B4-BE49-F238E27FC236}">
                      <a16:creationId xmlns:a16="http://schemas.microsoft.com/office/drawing/2014/main" id="{B35BE6F1-7E6E-491C-8871-46ED25777E51}"/>
                    </a:ext>
                  </a:extLst>
                </p:cNvPr>
                <p:cNvGrpSpPr/>
                <p:nvPr/>
              </p:nvGrpSpPr>
              <p:grpSpPr>
                <a:xfrm>
                  <a:off x="2022695" y="1566515"/>
                  <a:ext cx="766903" cy="767014"/>
                  <a:chOff x="9123445" y="2463609"/>
                  <a:chExt cx="652033" cy="652035"/>
                </a:xfrm>
              </p:grpSpPr>
              <p:sp>
                <p:nvSpPr>
                  <p:cNvPr id="373" name="Oval 372">
                    <a:extLst>
                      <a:ext uri="{FF2B5EF4-FFF2-40B4-BE49-F238E27FC236}">
                        <a16:creationId xmlns:a16="http://schemas.microsoft.com/office/drawing/2014/main" id="{4D41579C-52B6-465D-BC68-FBF1F085B15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74" name="Freeform 313">
                    <a:extLst>
                      <a:ext uri="{FF2B5EF4-FFF2-40B4-BE49-F238E27FC236}">
                        <a16:creationId xmlns:a16="http://schemas.microsoft.com/office/drawing/2014/main" id="{E5EC868E-ABEE-4B97-B9A3-3BC26201A22F}"/>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370" name="Group 369">
                  <a:extLst>
                    <a:ext uri="{FF2B5EF4-FFF2-40B4-BE49-F238E27FC236}">
                      <a16:creationId xmlns:a16="http://schemas.microsoft.com/office/drawing/2014/main" id="{CE724CF0-1614-4F3C-981C-6B532BCB193E}"/>
                    </a:ext>
                  </a:extLst>
                </p:cNvPr>
                <p:cNvGrpSpPr/>
                <p:nvPr/>
              </p:nvGrpSpPr>
              <p:grpSpPr>
                <a:xfrm>
                  <a:off x="1973388" y="1517311"/>
                  <a:ext cx="853073" cy="853194"/>
                  <a:chOff x="9123452" y="2463609"/>
                  <a:chExt cx="652035" cy="652035"/>
                </a:xfrm>
              </p:grpSpPr>
              <p:sp>
                <p:nvSpPr>
                  <p:cNvPr id="371" name="Oval 370">
                    <a:extLst>
                      <a:ext uri="{FF2B5EF4-FFF2-40B4-BE49-F238E27FC236}">
                        <a16:creationId xmlns:a16="http://schemas.microsoft.com/office/drawing/2014/main" id="{58C407B6-03B3-4F80-AEDC-0FD960FA3986}"/>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72" name="Freeform 311">
                    <a:extLst>
                      <a:ext uri="{FF2B5EF4-FFF2-40B4-BE49-F238E27FC236}">
                        <a16:creationId xmlns:a16="http://schemas.microsoft.com/office/drawing/2014/main" id="{728BD067-514C-40B6-8BDC-C89C11ABB12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253" name="Group 252">
                <a:extLst>
                  <a:ext uri="{FF2B5EF4-FFF2-40B4-BE49-F238E27FC236}">
                    <a16:creationId xmlns:a16="http://schemas.microsoft.com/office/drawing/2014/main" id="{3C6E3F85-62CF-4494-A8B5-DF9E292035E4}"/>
                  </a:ext>
                </a:extLst>
              </p:cNvPr>
              <p:cNvGrpSpPr/>
              <p:nvPr/>
            </p:nvGrpSpPr>
            <p:grpSpPr>
              <a:xfrm>
                <a:off x="1226671" y="3909844"/>
                <a:ext cx="304563" cy="307388"/>
                <a:chOff x="4471988" y="3821062"/>
                <a:chExt cx="2035176" cy="2113013"/>
              </a:xfrm>
            </p:grpSpPr>
            <p:sp>
              <p:nvSpPr>
                <p:cNvPr id="297" name="Rectangle 6">
                  <a:extLst>
                    <a:ext uri="{FF2B5EF4-FFF2-40B4-BE49-F238E27FC236}">
                      <a16:creationId xmlns:a16="http://schemas.microsoft.com/office/drawing/2014/main" id="{69FD16A2-762E-450B-8209-8A1A9E5B5CAF}"/>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8" name="Freeform 7">
                  <a:extLst>
                    <a:ext uri="{FF2B5EF4-FFF2-40B4-BE49-F238E27FC236}">
                      <a16:creationId xmlns:a16="http://schemas.microsoft.com/office/drawing/2014/main" id="{01690F96-EDAA-464E-935A-34A7C0E33C0D}"/>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9" name="Freeform 10">
                  <a:extLst>
                    <a:ext uri="{FF2B5EF4-FFF2-40B4-BE49-F238E27FC236}">
                      <a16:creationId xmlns:a16="http://schemas.microsoft.com/office/drawing/2014/main" id="{1558E4FE-E89D-434A-91CA-06F40C9F602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0" name="Freeform 11">
                  <a:extLst>
                    <a:ext uri="{FF2B5EF4-FFF2-40B4-BE49-F238E27FC236}">
                      <a16:creationId xmlns:a16="http://schemas.microsoft.com/office/drawing/2014/main" id="{9F6AA46A-CE86-46B2-AB4A-F95A7741DBBB}"/>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1" name="Oval 12">
                  <a:extLst>
                    <a:ext uri="{FF2B5EF4-FFF2-40B4-BE49-F238E27FC236}">
                      <a16:creationId xmlns:a16="http://schemas.microsoft.com/office/drawing/2014/main" id="{6A284F17-9FA6-4277-A4DE-811A5E1C247F}"/>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2" name="Oval 13">
                  <a:extLst>
                    <a:ext uri="{FF2B5EF4-FFF2-40B4-BE49-F238E27FC236}">
                      <a16:creationId xmlns:a16="http://schemas.microsoft.com/office/drawing/2014/main" id="{6C3634A5-B96B-41A8-9963-338B8EA7D610}"/>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3" name="Freeform 14">
                  <a:extLst>
                    <a:ext uri="{FF2B5EF4-FFF2-40B4-BE49-F238E27FC236}">
                      <a16:creationId xmlns:a16="http://schemas.microsoft.com/office/drawing/2014/main" id="{4524B4BA-27B1-4318-8023-22361798913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4" name="Rectangle 15">
                  <a:extLst>
                    <a:ext uri="{FF2B5EF4-FFF2-40B4-BE49-F238E27FC236}">
                      <a16:creationId xmlns:a16="http://schemas.microsoft.com/office/drawing/2014/main" id="{8638293D-33AA-44ED-87C6-5E14E3A2D146}"/>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5" name="Rectangle 16">
                  <a:extLst>
                    <a:ext uri="{FF2B5EF4-FFF2-40B4-BE49-F238E27FC236}">
                      <a16:creationId xmlns:a16="http://schemas.microsoft.com/office/drawing/2014/main" id="{8B8C31D0-AB07-4557-B78E-AEA965ECCA94}"/>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6" name="Freeform 17">
                  <a:extLst>
                    <a:ext uri="{FF2B5EF4-FFF2-40B4-BE49-F238E27FC236}">
                      <a16:creationId xmlns:a16="http://schemas.microsoft.com/office/drawing/2014/main" id="{B2FF59F6-112B-4C65-AE60-10184CE5D28A}"/>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7" name="Freeform 18">
                  <a:extLst>
                    <a:ext uri="{FF2B5EF4-FFF2-40B4-BE49-F238E27FC236}">
                      <a16:creationId xmlns:a16="http://schemas.microsoft.com/office/drawing/2014/main" id="{B8786315-DEA5-4FB5-BDDB-C4B54A2CB83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8" name="Rectangle 19">
                  <a:extLst>
                    <a:ext uri="{FF2B5EF4-FFF2-40B4-BE49-F238E27FC236}">
                      <a16:creationId xmlns:a16="http://schemas.microsoft.com/office/drawing/2014/main" id="{C1FE717D-027E-4CAE-81FD-6717D4B00A3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9" name="Freeform 20">
                  <a:extLst>
                    <a:ext uri="{FF2B5EF4-FFF2-40B4-BE49-F238E27FC236}">
                      <a16:creationId xmlns:a16="http://schemas.microsoft.com/office/drawing/2014/main" id="{664FDB90-2DE1-407A-94F1-12DE0DEE569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0" name="Freeform 21">
                  <a:extLst>
                    <a:ext uri="{FF2B5EF4-FFF2-40B4-BE49-F238E27FC236}">
                      <a16:creationId xmlns:a16="http://schemas.microsoft.com/office/drawing/2014/main" id="{A7EFF13A-7B63-4EB7-8E68-5BD009C20250}"/>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1" name="Freeform 22">
                  <a:extLst>
                    <a:ext uri="{FF2B5EF4-FFF2-40B4-BE49-F238E27FC236}">
                      <a16:creationId xmlns:a16="http://schemas.microsoft.com/office/drawing/2014/main" id="{F29F6A25-7240-4E60-9230-97439CE2D8B8}"/>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2" name="Freeform 23">
                  <a:extLst>
                    <a:ext uri="{FF2B5EF4-FFF2-40B4-BE49-F238E27FC236}">
                      <a16:creationId xmlns:a16="http://schemas.microsoft.com/office/drawing/2014/main" id="{58F3C249-515B-4833-B132-04B54CC3165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3" name="Freeform 24">
                  <a:extLst>
                    <a:ext uri="{FF2B5EF4-FFF2-40B4-BE49-F238E27FC236}">
                      <a16:creationId xmlns:a16="http://schemas.microsoft.com/office/drawing/2014/main" id="{76200606-9182-4B01-A270-F6DFA493D0BB}"/>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4" name="Rectangle 25">
                  <a:extLst>
                    <a:ext uri="{FF2B5EF4-FFF2-40B4-BE49-F238E27FC236}">
                      <a16:creationId xmlns:a16="http://schemas.microsoft.com/office/drawing/2014/main" id="{1958F8B3-B78E-4E1F-BF12-FE7A7B6BEC0A}"/>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5" name="Freeform 26">
                  <a:extLst>
                    <a:ext uri="{FF2B5EF4-FFF2-40B4-BE49-F238E27FC236}">
                      <a16:creationId xmlns:a16="http://schemas.microsoft.com/office/drawing/2014/main" id="{F75B683C-5CB8-40F5-8B75-0C404D180925}"/>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6" name="Freeform 27">
                  <a:extLst>
                    <a:ext uri="{FF2B5EF4-FFF2-40B4-BE49-F238E27FC236}">
                      <a16:creationId xmlns:a16="http://schemas.microsoft.com/office/drawing/2014/main" id="{198CF702-51CC-4B6F-BF96-D1DB811450BA}"/>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7" name="Freeform 28">
                  <a:extLst>
                    <a:ext uri="{FF2B5EF4-FFF2-40B4-BE49-F238E27FC236}">
                      <a16:creationId xmlns:a16="http://schemas.microsoft.com/office/drawing/2014/main" id="{30AB7774-34C3-4D12-B0A0-F8EA1BFDA15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8" name="Freeform 29">
                  <a:extLst>
                    <a:ext uri="{FF2B5EF4-FFF2-40B4-BE49-F238E27FC236}">
                      <a16:creationId xmlns:a16="http://schemas.microsoft.com/office/drawing/2014/main" id="{AA16E4D1-E426-4112-ADDD-E90416349E3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9" name="Freeform 30">
                  <a:extLst>
                    <a:ext uri="{FF2B5EF4-FFF2-40B4-BE49-F238E27FC236}">
                      <a16:creationId xmlns:a16="http://schemas.microsoft.com/office/drawing/2014/main" id="{71997603-AB43-4E09-B5D0-D4E00590D2B0}"/>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0" name="Freeform 31">
                  <a:extLst>
                    <a:ext uri="{FF2B5EF4-FFF2-40B4-BE49-F238E27FC236}">
                      <a16:creationId xmlns:a16="http://schemas.microsoft.com/office/drawing/2014/main" id="{C2B3725C-26DF-4095-86F0-9A6DA0D1B804}"/>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1" name="Freeform 32">
                  <a:extLst>
                    <a:ext uri="{FF2B5EF4-FFF2-40B4-BE49-F238E27FC236}">
                      <a16:creationId xmlns:a16="http://schemas.microsoft.com/office/drawing/2014/main" id="{11A5CB8E-DD74-4652-B0B5-1C5CB417221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2" name="Freeform 102">
                  <a:extLst>
                    <a:ext uri="{FF2B5EF4-FFF2-40B4-BE49-F238E27FC236}">
                      <a16:creationId xmlns:a16="http://schemas.microsoft.com/office/drawing/2014/main" id="{8FC742CB-A059-4770-9688-1576723DAB21}"/>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3" name="Freeform 103">
                  <a:extLst>
                    <a:ext uri="{FF2B5EF4-FFF2-40B4-BE49-F238E27FC236}">
                      <a16:creationId xmlns:a16="http://schemas.microsoft.com/office/drawing/2014/main" id="{8DBC6D6B-D353-4110-B913-0D215793F314}"/>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4" name="Freeform 104">
                  <a:extLst>
                    <a:ext uri="{FF2B5EF4-FFF2-40B4-BE49-F238E27FC236}">
                      <a16:creationId xmlns:a16="http://schemas.microsoft.com/office/drawing/2014/main" id="{844EC1B3-099C-4BE2-A444-1DC92CC0AEDF}"/>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5" name="Freeform 105">
                  <a:extLst>
                    <a:ext uri="{FF2B5EF4-FFF2-40B4-BE49-F238E27FC236}">
                      <a16:creationId xmlns:a16="http://schemas.microsoft.com/office/drawing/2014/main" id="{EEA4EC27-7052-4756-B9FF-CEA82CF2727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6" name="Freeform 106">
                  <a:extLst>
                    <a:ext uri="{FF2B5EF4-FFF2-40B4-BE49-F238E27FC236}">
                      <a16:creationId xmlns:a16="http://schemas.microsoft.com/office/drawing/2014/main" id="{02FDC6C5-C022-4368-8C19-337A889A5D5F}"/>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7" name="Freeform 107">
                  <a:extLst>
                    <a:ext uri="{FF2B5EF4-FFF2-40B4-BE49-F238E27FC236}">
                      <a16:creationId xmlns:a16="http://schemas.microsoft.com/office/drawing/2014/main" id="{47C60BE2-5C2C-4844-B6BA-E727B973A7B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8" name="Freeform 108">
                  <a:extLst>
                    <a:ext uri="{FF2B5EF4-FFF2-40B4-BE49-F238E27FC236}">
                      <a16:creationId xmlns:a16="http://schemas.microsoft.com/office/drawing/2014/main" id="{E86B7110-AFEE-458B-8930-7F33944915B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9" name="Rectangle 328">
                  <a:extLst>
                    <a:ext uri="{FF2B5EF4-FFF2-40B4-BE49-F238E27FC236}">
                      <a16:creationId xmlns:a16="http://schemas.microsoft.com/office/drawing/2014/main" id="{32CAC4C5-E8CE-43AA-8632-D8937737F36F}"/>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0" name="Freeform 110">
                  <a:extLst>
                    <a:ext uri="{FF2B5EF4-FFF2-40B4-BE49-F238E27FC236}">
                      <a16:creationId xmlns:a16="http://schemas.microsoft.com/office/drawing/2014/main" id="{1C8913C5-45F7-42CA-A2B1-70C3D9C3D25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1" name="Freeform 111">
                  <a:extLst>
                    <a:ext uri="{FF2B5EF4-FFF2-40B4-BE49-F238E27FC236}">
                      <a16:creationId xmlns:a16="http://schemas.microsoft.com/office/drawing/2014/main" id="{8CFFC1C8-0CFC-4B73-A3E4-5078F1CA105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5" name="Freeform 112">
                  <a:extLst>
                    <a:ext uri="{FF2B5EF4-FFF2-40B4-BE49-F238E27FC236}">
                      <a16:creationId xmlns:a16="http://schemas.microsoft.com/office/drawing/2014/main" id="{FF74597F-D8ED-44CE-981D-B1D639C414A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6" name="Freeform 113">
                  <a:extLst>
                    <a:ext uri="{FF2B5EF4-FFF2-40B4-BE49-F238E27FC236}">
                      <a16:creationId xmlns:a16="http://schemas.microsoft.com/office/drawing/2014/main" id="{B61FE460-C731-4861-A770-2B3502A98EC3}"/>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7" name="Rectangle 336">
                  <a:extLst>
                    <a:ext uri="{FF2B5EF4-FFF2-40B4-BE49-F238E27FC236}">
                      <a16:creationId xmlns:a16="http://schemas.microsoft.com/office/drawing/2014/main" id="{7FA3646B-196B-49D1-B600-EF22D8A571C3}"/>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9" name="Freeform 115">
                  <a:extLst>
                    <a:ext uri="{FF2B5EF4-FFF2-40B4-BE49-F238E27FC236}">
                      <a16:creationId xmlns:a16="http://schemas.microsoft.com/office/drawing/2014/main" id="{DA1C1976-5809-4DEE-8570-855CD239C11D}"/>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5" name="Freeform 116">
                  <a:extLst>
                    <a:ext uri="{FF2B5EF4-FFF2-40B4-BE49-F238E27FC236}">
                      <a16:creationId xmlns:a16="http://schemas.microsoft.com/office/drawing/2014/main" id="{35B79164-A4A8-4461-8292-D843BB1E7F06}"/>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6" name="Freeform 117">
                  <a:extLst>
                    <a:ext uri="{FF2B5EF4-FFF2-40B4-BE49-F238E27FC236}">
                      <a16:creationId xmlns:a16="http://schemas.microsoft.com/office/drawing/2014/main" id="{CF1A1170-F480-4128-B2A5-0DE52B75E1C7}"/>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7" name="Freeform 118">
                  <a:extLst>
                    <a:ext uri="{FF2B5EF4-FFF2-40B4-BE49-F238E27FC236}">
                      <a16:creationId xmlns:a16="http://schemas.microsoft.com/office/drawing/2014/main" id="{4BCD88C8-4727-4E30-AC85-637034B7A05D}"/>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8" name="Oval 347">
                  <a:extLst>
                    <a:ext uri="{FF2B5EF4-FFF2-40B4-BE49-F238E27FC236}">
                      <a16:creationId xmlns:a16="http://schemas.microsoft.com/office/drawing/2014/main" id="{817AF9B5-D106-441C-AB74-C5FF1BDF2258}"/>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9" name="Freeform 120">
                  <a:extLst>
                    <a:ext uri="{FF2B5EF4-FFF2-40B4-BE49-F238E27FC236}">
                      <a16:creationId xmlns:a16="http://schemas.microsoft.com/office/drawing/2014/main" id="{57F0731D-68C7-440D-A9C7-44376EF5060D}"/>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0" name="Freeform 121">
                  <a:extLst>
                    <a:ext uri="{FF2B5EF4-FFF2-40B4-BE49-F238E27FC236}">
                      <a16:creationId xmlns:a16="http://schemas.microsoft.com/office/drawing/2014/main" id="{5516B0C4-A7D5-4582-8FCA-FAE2A3A6498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1" name="Freeform 122">
                  <a:extLst>
                    <a:ext uri="{FF2B5EF4-FFF2-40B4-BE49-F238E27FC236}">
                      <a16:creationId xmlns:a16="http://schemas.microsoft.com/office/drawing/2014/main" id="{AAB6B710-A2B5-4B9C-A18B-4B2401944AB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2" name="Freeform 123">
                  <a:extLst>
                    <a:ext uri="{FF2B5EF4-FFF2-40B4-BE49-F238E27FC236}">
                      <a16:creationId xmlns:a16="http://schemas.microsoft.com/office/drawing/2014/main" id="{6D676AB2-E141-46EF-8F93-F68BB2FFFE6E}"/>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3" name="Freeform 124">
                  <a:extLst>
                    <a:ext uri="{FF2B5EF4-FFF2-40B4-BE49-F238E27FC236}">
                      <a16:creationId xmlns:a16="http://schemas.microsoft.com/office/drawing/2014/main" id="{DADC9226-1E15-44CE-9A91-4023178FFDFE}"/>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4" name="Freeform 63">
                  <a:extLst>
                    <a:ext uri="{FF2B5EF4-FFF2-40B4-BE49-F238E27FC236}">
                      <a16:creationId xmlns:a16="http://schemas.microsoft.com/office/drawing/2014/main" id="{62D00E13-10CF-40F3-9150-68CD3AAD60C5}"/>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5" name="Freeform 65">
                  <a:extLst>
                    <a:ext uri="{FF2B5EF4-FFF2-40B4-BE49-F238E27FC236}">
                      <a16:creationId xmlns:a16="http://schemas.microsoft.com/office/drawing/2014/main" id="{363CC235-EE80-4C01-8038-C633882CECAC}"/>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6" name="Freeform 66">
                  <a:extLst>
                    <a:ext uri="{FF2B5EF4-FFF2-40B4-BE49-F238E27FC236}">
                      <a16:creationId xmlns:a16="http://schemas.microsoft.com/office/drawing/2014/main" id="{37E90DDE-DC58-4DAD-9149-8E38462FA7A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7" name="Freeform 67">
                  <a:extLst>
                    <a:ext uri="{FF2B5EF4-FFF2-40B4-BE49-F238E27FC236}">
                      <a16:creationId xmlns:a16="http://schemas.microsoft.com/office/drawing/2014/main" id="{D8A76092-A926-47D8-86EA-97730779B927}"/>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8" name="Oval 68">
                  <a:extLst>
                    <a:ext uri="{FF2B5EF4-FFF2-40B4-BE49-F238E27FC236}">
                      <a16:creationId xmlns:a16="http://schemas.microsoft.com/office/drawing/2014/main" id="{B051EAF7-274B-4F06-874B-B9D6ED760A74}"/>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9" name="Oval 69">
                  <a:extLst>
                    <a:ext uri="{FF2B5EF4-FFF2-40B4-BE49-F238E27FC236}">
                      <a16:creationId xmlns:a16="http://schemas.microsoft.com/office/drawing/2014/main" id="{07F289A5-6463-4395-B65D-02EC2BAB652B}"/>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254" name="Group 253">
                <a:extLst>
                  <a:ext uri="{FF2B5EF4-FFF2-40B4-BE49-F238E27FC236}">
                    <a16:creationId xmlns:a16="http://schemas.microsoft.com/office/drawing/2014/main" id="{FB94A58C-6C56-4648-B01C-40E635F415F4}"/>
                  </a:ext>
                </a:extLst>
              </p:cNvPr>
              <p:cNvGrpSpPr/>
              <p:nvPr/>
            </p:nvGrpSpPr>
            <p:grpSpPr>
              <a:xfrm>
                <a:off x="1206839" y="3914891"/>
                <a:ext cx="469400" cy="342521"/>
                <a:chOff x="1557350" y="4606481"/>
                <a:chExt cx="3001095" cy="2252753"/>
              </a:xfrm>
            </p:grpSpPr>
            <p:sp>
              <p:nvSpPr>
                <p:cNvPr id="256" name="Rectangle 255">
                  <a:extLst>
                    <a:ext uri="{FF2B5EF4-FFF2-40B4-BE49-F238E27FC236}">
                      <a16:creationId xmlns:a16="http://schemas.microsoft.com/office/drawing/2014/main" id="{64AA85AD-0DA7-4D9A-B754-AFFA3378637E}"/>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7" name="Rectangle 256">
                  <a:extLst>
                    <a:ext uri="{FF2B5EF4-FFF2-40B4-BE49-F238E27FC236}">
                      <a16:creationId xmlns:a16="http://schemas.microsoft.com/office/drawing/2014/main" id="{29A7EEE1-E12C-4363-A86E-1989F70F8B58}"/>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8" name="Rectangle 257">
                  <a:extLst>
                    <a:ext uri="{FF2B5EF4-FFF2-40B4-BE49-F238E27FC236}">
                      <a16:creationId xmlns:a16="http://schemas.microsoft.com/office/drawing/2014/main" id="{D77F03DA-A841-4D43-B7B1-7C0696A7680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9" name="Rectangle 258">
                  <a:extLst>
                    <a:ext uri="{FF2B5EF4-FFF2-40B4-BE49-F238E27FC236}">
                      <a16:creationId xmlns:a16="http://schemas.microsoft.com/office/drawing/2014/main" id="{7EEEA124-402A-4BE5-875C-FA8812BDA654}"/>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0" name="Freeform 12">
                  <a:extLst>
                    <a:ext uri="{FF2B5EF4-FFF2-40B4-BE49-F238E27FC236}">
                      <a16:creationId xmlns:a16="http://schemas.microsoft.com/office/drawing/2014/main" id="{26FD4FC4-2ECC-4717-AA1C-9E9146D254DB}"/>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1" name="Rectangle 260">
                  <a:extLst>
                    <a:ext uri="{FF2B5EF4-FFF2-40B4-BE49-F238E27FC236}">
                      <a16:creationId xmlns:a16="http://schemas.microsoft.com/office/drawing/2014/main" id="{976D73CA-7BBB-418C-AE54-3B915E23F4C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2" name="Freeform 14">
                  <a:extLst>
                    <a:ext uri="{FF2B5EF4-FFF2-40B4-BE49-F238E27FC236}">
                      <a16:creationId xmlns:a16="http://schemas.microsoft.com/office/drawing/2014/main" id="{E2367B0E-789F-41A7-886E-A39B03DD98C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3" name="Rectangle 262">
                  <a:extLst>
                    <a:ext uri="{FF2B5EF4-FFF2-40B4-BE49-F238E27FC236}">
                      <a16:creationId xmlns:a16="http://schemas.microsoft.com/office/drawing/2014/main" id="{81412476-B5AE-4626-9E46-2D57A8946510}"/>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4" name="Freeform 16">
                  <a:extLst>
                    <a:ext uri="{FF2B5EF4-FFF2-40B4-BE49-F238E27FC236}">
                      <a16:creationId xmlns:a16="http://schemas.microsoft.com/office/drawing/2014/main" id="{BD544194-D4D8-4236-A84B-23A69554DBE7}"/>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5" name="Freeform 17">
                  <a:extLst>
                    <a:ext uri="{FF2B5EF4-FFF2-40B4-BE49-F238E27FC236}">
                      <a16:creationId xmlns:a16="http://schemas.microsoft.com/office/drawing/2014/main" id="{2967923B-C03C-47C0-8401-2D180AADBF1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6" name="Oval 265">
                  <a:extLst>
                    <a:ext uri="{FF2B5EF4-FFF2-40B4-BE49-F238E27FC236}">
                      <a16:creationId xmlns:a16="http://schemas.microsoft.com/office/drawing/2014/main" id="{00DD9556-5842-4D77-9653-D024F33E9716}"/>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7" name="Rectangle 266">
                  <a:extLst>
                    <a:ext uri="{FF2B5EF4-FFF2-40B4-BE49-F238E27FC236}">
                      <a16:creationId xmlns:a16="http://schemas.microsoft.com/office/drawing/2014/main" id="{8AA39DB1-FFF7-4E84-B115-4FD324B41279}"/>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8" name="Freeform 20">
                  <a:extLst>
                    <a:ext uri="{FF2B5EF4-FFF2-40B4-BE49-F238E27FC236}">
                      <a16:creationId xmlns:a16="http://schemas.microsoft.com/office/drawing/2014/main" id="{3635E48D-5E5A-4AEE-B300-9149FB26DE5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9" name="Freeform 21">
                  <a:extLst>
                    <a:ext uri="{FF2B5EF4-FFF2-40B4-BE49-F238E27FC236}">
                      <a16:creationId xmlns:a16="http://schemas.microsoft.com/office/drawing/2014/main" id="{4AEFC042-7E5F-4A9D-81CB-38F2D73D8293}"/>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270" name="Group 269">
                  <a:extLst>
                    <a:ext uri="{FF2B5EF4-FFF2-40B4-BE49-F238E27FC236}">
                      <a16:creationId xmlns:a16="http://schemas.microsoft.com/office/drawing/2014/main" id="{D9E38562-7FBF-4EA7-BE53-FEAA0292D479}"/>
                    </a:ext>
                  </a:extLst>
                </p:cNvPr>
                <p:cNvGrpSpPr/>
                <p:nvPr/>
              </p:nvGrpSpPr>
              <p:grpSpPr>
                <a:xfrm>
                  <a:off x="3298176" y="4606481"/>
                  <a:ext cx="1260269" cy="2252753"/>
                  <a:chOff x="10352191" y="4087395"/>
                  <a:chExt cx="1336826" cy="2389605"/>
                </a:xfrm>
              </p:grpSpPr>
              <p:sp>
                <p:nvSpPr>
                  <p:cNvPr id="271" name="Rectangle 270">
                    <a:extLst>
                      <a:ext uri="{FF2B5EF4-FFF2-40B4-BE49-F238E27FC236}">
                        <a16:creationId xmlns:a16="http://schemas.microsoft.com/office/drawing/2014/main" id="{2F501968-C384-4DFF-9D75-C5E21A05DC2A}"/>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2" name="Round Same Side Corner Rectangle 52">
                    <a:extLst>
                      <a:ext uri="{FF2B5EF4-FFF2-40B4-BE49-F238E27FC236}">
                        <a16:creationId xmlns:a16="http://schemas.microsoft.com/office/drawing/2014/main" id="{7FE12884-840D-4C55-B7C5-EC3C44AD5C83}"/>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273" name="Rectangle 272">
                    <a:extLst>
                      <a:ext uri="{FF2B5EF4-FFF2-40B4-BE49-F238E27FC236}">
                        <a16:creationId xmlns:a16="http://schemas.microsoft.com/office/drawing/2014/main" id="{CD15CCC4-85BC-4104-AB5C-F5171DB3F59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4" name="Freeform 54">
                    <a:extLst>
                      <a:ext uri="{FF2B5EF4-FFF2-40B4-BE49-F238E27FC236}">
                        <a16:creationId xmlns:a16="http://schemas.microsoft.com/office/drawing/2014/main" id="{CCE8B56D-D011-48B1-8F4D-42BE983E4062}"/>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5" name="Freeform 55">
                    <a:extLst>
                      <a:ext uri="{FF2B5EF4-FFF2-40B4-BE49-F238E27FC236}">
                        <a16:creationId xmlns:a16="http://schemas.microsoft.com/office/drawing/2014/main" id="{5CA0DCF6-49E0-4437-AB9C-92E7752BF43D}"/>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6" name="Freeform 56">
                    <a:extLst>
                      <a:ext uri="{FF2B5EF4-FFF2-40B4-BE49-F238E27FC236}">
                        <a16:creationId xmlns:a16="http://schemas.microsoft.com/office/drawing/2014/main" id="{CAFD3558-D0B3-4A81-B6F4-F495C9B71BC2}"/>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7" name="Freeform 57">
                    <a:extLst>
                      <a:ext uri="{FF2B5EF4-FFF2-40B4-BE49-F238E27FC236}">
                        <a16:creationId xmlns:a16="http://schemas.microsoft.com/office/drawing/2014/main" id="{CB29B28F-CA15-4C9D-9F3D-A2EE0B83332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8" name="Freeform 58">
                    <a:extLst>
                      <a:ext uri="{FF2B5EF4-FFF2-40B4-BE49-F238E27FC236}">
                        <a16:creationId xmlns:a16="http://schemas.microsoft.com/office/drawing/2014/main" id="{ED26110A-5729-4FA8-8233-052EAC1BF3E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9" name="Freeform 59">
                    <a:extLst>
                      <a:ext uri="{FF2B5EF4-FFF2-40B4-BE49-F238E27FC236}">
                        <a16:creationId xmlns:a16="http://schemas.microsoft.com/office/drawing/2014/main" id="{AE296E62-FB72-4765-8BAB-3A9EC16FFA48}"/>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0" name="Freeform 60">
                    <a:extLst>
                      <a:ext uri="{FF2B5EF4-FFF2-40B4-BE49-F238E27FC236}">
                        <a16:creationId xmlns:a16="http://schemas.microsoft.com/office/drawing/2014/main" id="{7A9CEAFE-68C1-4DB7-A54C-60DB8DCCFE94}"/>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1" name="Freeform 61">
                    <a:extLst>
                      <a:ext uri="{FF2B5EF4-FFF2-40B4-BE49-F238E27FC236}">
                        <a16:creationId xmlns:a16="http://schemas.microsoft.com/office/drawing/2014/main" id="{A2BC14C2-A29F-448E-A598-2E4C6C7BDBB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2" name="Oval 281">
                    <a:extLst>
                      <a:ext uri="{FF2B5EF4-FFF2-40B4-BE49-F238E27FC236}">
                        <a16:creationId xmlns:a16="http://schemas.microsoft.com/office/drawing/2014/main" id="{983CD198-4225-4FCF-BDB8-75F09C8D73CE}"/>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3" name="Freeform 63">
                    <a:extLst>
                      <a:ext uri="{FF2B5EF4-FFF2-40B4-BE49-F238E27FC236}">
                        <a16:creationId xmlns:a16="http://schemas.microsoft.com/office/drawing/2014/main" id="{8D3CCC93-912E-4B16-AD06-3FAFE19470A1}"/>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4" name="Rectangle 283">
                    <a:extLst>
                      <a:ext uri="{FF2B5EF4-FFF2-40B4-BE49-F238E27FC236}">
                        <a16:creationId xmlns:a16="http://schemas.microsoft.com/office/drawing/2014/main" id="{0BC77ED3-5CD4-4450-BEE0-71C23F26E23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5" name="Freeform 65">
                    <a:extLst>
                      <a:ext uri="{FF2B5EF4-FFF2-40B4-BE49-F238E27FC236}">
                        <a16:creationId xmlns:a16="http://schemas.microsoft.com/office/drawing/2014/main" id="{B4D40948-24CD-4E63-AADF-2B20F8B2FBA7}"/>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6" name="Freeform 66">
                    <a:extLst>
                      <a:ext uri="{FF2B5EF4-FFF2-40B4-BE49-F238E27FC236}">
                        <a16:creationId xmlns:a16="http://schemas.microsoft.com/office/drawing/2014/main" id="{A76C08F2-6FD4-4ED4-B664-05B5235BDAF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7" name="Rectangle 286">
                    <a:extLst>
                      <a:ext uri="{FF2B5EF4-FFF2-40B4-BE49-F238E27FC236}">
                        <a16:creationId xmlns:a16="http://schemas.microsoft.com/office/drawing/2014/main" id="{4EC494E8-830D-4E92-9338-B55FE379F852}"/>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8" name="Freeform 68">
                    <a:extLst>
                      <a:ext uri="{FF2B5EF4-FFF2-40B4-BE49-F238E27FC236}">
                        <a16:creationId xmlns:a16="http://schemas.microsoft.com/office/drawing/2014/main" id="{1B492A83-6ED1-4059-86D1-1BD847E06A3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9" name="Freeform 69">
                    <a:extLst>
                      <a:ext uri="{FF2B5EF4-FFF2-40B4-BE49-F238E27FC236}">
                        <a16:creationId xmlns:a16="http://schemas.microsoft.com/office/drawing/2014/main" id="{34F66EEA-BB0A-432D-8B3D-9A1A25DEC26D}"/>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0" name="Freeform 70">
                    <a:extLst>
                      <a:ext uri="{FF2B5EF4-FFF2-40B4-BE49-F238E27FC236}">
                        <a16:creationId xmlns:a16="http://schemas.microsoft.com/office/drawing/2014/main" id="{F3344736-A055-47B7-8D2D-B1E11C0CC587}"/>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1" name="Freeform 71">
                    <a:extLst>
                      <a:ext uri="{FF2B5EF4-FFF2-40B4-BE49-F238E27FC236}">
                        <a16:creationId xmlns:a16="http://schemas.microsoft.com/office/drawing/2014/main" id="{44D5BCD1-E416-4DC1-8E21-4944B23433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2" name="Freeform 72">
                    <a:extLst>
                      <a:ext uri="{FF2B5EF4-FFF2-40B4-BE49-F238E27FC236}">
                        <a16:creationId xmlns:a16="http://schemas.microsoft.com/office/drawing/2014/main" id="{D0886D0A-B0DF-41D5-BD12-52F92A42F5D4}"/>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3" name="Freeform 73">
                    <a:extLst>
                      <a:ext uri="{FF2B5EF4-FFF2-40B4-BE49-F238E27FC236}">
                        <a16:creationId xmlns:a16="http://schemas.microsoft.com/office/drawing/2014/main" id="{79A1EB61-789C-4597-BDB8-C8B1444A5794}"/>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4" name="Freeform 74">
                    <a:extLst>
                      <a:ext uri="{FF2B5EF4-FFF2-40B4-BE49-F238E27FC236}">
                        <a16:creationId xmlns:a16="http://schemas.microsoft.com/office/drawing/2014/main" id="{6CECBBA6-2492-4D2B-9AD2-C35BA1F357A8}"/>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5" name="Rectangle 294">
                    <a:extLst>
                      <a:ext uri="{FF2B5EF4-FFF2-40B4-BE49-F238E27FC236}">
                        <a16:creationId xmlns:a16="http://schemas.microsoft.com/office/drawing/2014/main" id="{553B39AB-3F7F-4C1A-8C92-3CACF20D9B2B}"/>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6" name="Rectangle 295">
                    <a:extLst>
                      <a:ext uri="{FF2B5EF4-FFF2-40B4-BE49-F238E27FC236}">
                        <a16:creationId xmlns:a16="http://schemas.microsoft.com/office/drawing/2014/main" id="{BC973495-52E5-4035-B89D-5BC3407710B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255" name="Rectangle 254">
                <a:extLst>
                  <a:ext uri="{FF2B5EF4-FFF2-40B4-BE49-F238E27FC236}">
                    <a16:creationId xmlns:a16="http://schemas.microsoft.com/office/drawing/2014/main" id="{A193E4AF-2C40-4AF5-ACA2-F2F6495559E1}"/>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79" name="TextBox 178">
            <a:extLst>
              <a:ext uri="{FF2B5EF4-FFF2-40B4-BE49-F238E27FC236}">
                <a16:creationId xmlns:a16="http://schemas.microsoft.com/office/drawing/2014/main" id="{1CC9AA00-BCB0-4662-A3EE-1BCF0CDF74A5}"/>
              </a:ext>
            </a:extLst>
          </p:cNvPr>
          <p:cNvSpPr txBox="1"/>
          <p:nvPr/>
        </p:nvSpPr>
        <p:spPr>
          <a:xfrm>
            <a:off x="584199" y="3093720"/>
            <a:ext cx="11017779" cy="3085764"/>
          </a:xfrm>
          <a:prstGeom prst="rect">
            <a:avLst/>
          </a:prstGeom>
          <a:solidFill>
            <a:schemeClr val="bg1"/>
          </a:solidFill>
          <a:ln w="6350">
            <a:solidFill>
              <a:schemeClr val="bg1">
                <a:lumMod val="85000"/>
              </a:schemeClr>
            </a:solidFill>
          </a:ln>
        </p:spPr>
        <p:txBody>
          <a:bodyPr wrap="square" lIns="137160" tIns="91440" rIns="91440" bIns="45720" rtlCol="0" anchor="t">
            <a:noAutofit/>
          </a:bodyPr>
          <a:lstStyle>
            <a:defPPr>
              <a:defRPr lang="en-US"/>
            </a:defPPr>
            <a:lvl1pPr algn="ctr">
              <a:defRPr b="1" i="1">
                <a:solidFill>
                  <a:schemeClr val="tx2"/>
                </a:solidFill>
                <a:latin typeface="+mj-lt"/>
              </a:defRPr>
            </a:lvl1pPr>
          </a:lstStyle>
          <a:p>
            <a:pPr algn="l">
              <a:spcAft>
                <a:spcPts val="1800"/>
              </a:spcAft>
            </a:pPr>
            <a:r>
              <a:rPr lang="en-US" dirty="0"/>
              <a:t>Support for Windows Hello for Business and smartcard authentication</a:t>
            </a:r>
          </a:p>
          <a:p>
            <a:pPr algn="l">
              <a:spcAft>
                <a:spcPts val="1800"/>
              </a:spcAft>
            </a:pPr>
            <a:r>
              <a:rPr lang="en-US" dirty="0"/>
              <a:t>Dynamically adapting bandwidth utilization</a:t>
            </a:r>
          </a:p>
          <a:p>
            <a:pPr algn="l">
              <a:spcAft>
                <a:spcPts val="1800"/>
              </a:spcAft>
            </a:pPr>
            <a:r>
              <a:rPr lang="en-US" dirty="0"/>
              <a:t>Devices and resources redirection (camera, printers, multi-touch, pen, time zone, clipboard)</a:t>
            </a:r>
          </a:p>
          <a:p>
            <a:pPr algn="l">
              <a:spcAft>
                <a:spcPts val="1800"/>
              </a:spcAft>
            </a:pPr>
            <a:r>
              <a:rPr lang="en-US" dirty="0"/>
              <a:t>Dynamic resolution and scaling</a:t>
            </a:r>
          </a:p>
          <a:p>
            <a:pPr algn="l">
              <a:spcAft>
                <a:spcPts val="1800"/>
              </a:spcAft>
            </a:pPr>
            <a:r>
              <a:rPr lang="en-US" dirty="0"/>
              <a:t>Better user experience with graphics optimized with mixed-mode encoding (clear text code for text and H.264 for video)</a:t>
            </a:r>
          </a:p>
        </p:txBody>
      </p:sp>
      <p:sp>
        <p:nvSpPr>
          <p:cNvPr id="180" name="TextBox 179">
            <a:extLst>
              <a:ext uri="{FF2B5EF4-FFF2-40B4-BE49-F238E27FC236}">
                <a16:creationId xmlns:a16="http://schemas.microsoft.com/office/drawing/2014/main" id="{05A8AE0B-712F-49DC-97BD-BF030BDB01FA}"/>
              </a:ext>
            </a:extLst>
          </p:cNvPr>
          <p:cNvSpPr txBox="1"/>
          <p:nvPr/>
        </p:nvSpPr>
        <p:spPr>
          <a:xfrm>
            <a:off x="583459" y="2555874"/>
            <a:ext cx="11018520" cy="544063"/>
          </a:xfrm>
          <a:prstGeom prst="rect">
            <a:avLst/>
          </a:prstGeom>
          <a:solidFill>
            <a:schemeClr val="accent1"/>
          </a:solidFill>
          <a:ln w="6350">
            <a:solidFill>
              <a:schemeClr val="accent1"/>
            </a:solidFill>
          </a:ln>
        </p:spPr>
        <p:txBody>
          <a:bodyPr wrap="square" lIns="0" tIns="0" rIns="0" bIns="0" rtlCol="0" anchor="ctr">
            <a:noAutofit/>
          </a:bodyPr>
          <a:lstStyle/>
          <a:p>
            <a:pPr algn="ctr"/>
            <a:r>
              <a:rPr lang="en-US" sz="2000" dirty="0">
                <a:solidFill>
                  <a:schemeClr val="bg1"/>
                </a:solidFill>
                <a:latin typeface="+mj-lt"/>
              </a:rPr>
              <a:t>User Experience Benefits</a:t>
            </a:r>
          </a:p>
        </p:txBody>
      </p:sp>
      <p:sp>
        <p:nvSpPr>
          <p:cNvPr id="178" name="Rectangle 177">
            <a:extLst>
              <a:ext uri="{FF2B5EF4-FFF2-40B4-BE49-F238E27FC236}">
                <a16:creationId xmlns:a16="http://schemas.microsoft.com/office/drawing/2014/main" id="{2D89BC3F-9592-47DB-ABA9-08B049776C3A}"/>
              </a:ext>
            </a:extLst>
          </p:cNvPr>
          <p:cNvSpPr/>
          <p:nvPr/>
        </p:nvSpPr>
        <p:spPr>
          <a:xfrm>
            <a:off x="533943" y="114846"/>
            <a:ext cx="4133119" cy="369332"/>
          </a:xfrm>
          <a:prstGeom prst="rect">
            <a:avLst/>
          </a:prstGeom>
        </p:spPr>
        <p:txBody>
          <a:bodyPr wrap="none">
            <a:spAutoFit/>
          </a:bodyPr>
          <a:lstStyle/>
          <a:p>
            <a:r>
              <a:rPr lang="en-US" b="1" i="1" dirty="0"/>
              <a:t>Best Virtualized End-user Experience</a:t>
            </a:r>
          </a:p>
        </p:txBody>
      </p:sp>
      <p:grpSp>
        <p:nvGrpSpPr>
          <p:cNvPr id="185" name="Group 184">
            <a:extLst>
              <a:ext uri="{FF2B5EF4-FFF2-40B4-BE49-F238E27FC236}">
                <a16:creationId xmlns:a16="http://schemas.microsoft.com/office/drawing/2014/main" id="{1564857E-412A-4C44-9C12-1CF2FDEFFB53}"/>
              </a:ext>
            </a:extLst>
          </p:cNvPr>
          <p:cNvGrpSpPr/>
          <p:nvPr/>
        </p:nvGrpSpPr>
        <p:grpSpPr>
          <a:xfrm>
            <a:off x="10052458" y="146014"/>
            <a:ext cx="2033626" cy="1015650"/>
            <a:chOff x="10052458" y="146014"/>
            <a:chExt cx="2033626" cy="1015650"/>
          </a:xfrm>
        </p:grpSpPr>
        <p:pic>
          <p:nvPicPr>
            <p:cNvPr id="186" name="Picture 185">
              <a:extLst>
                <a:ext uri="{FF2B5EF4-FFF2-40B4-BE49-F238E27FC236}">
                  <a16:creationId xmlns:a16="http://schemas.microsoft.com/office/drawing/2014/main" id="{A4D3A93A-991A-46A3-9F69-75A9A5EFF357}"/>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187" name="Rectangle 186">
              <a:extLst>
                <a:ext uri="{FF2B5EF4-FFF2-40B4-BE49-F238E27FC236}">
                  <a16:creationId xmlns:a16="http://schemas.microsoft.com/office/drawing/2014/main" id="{464136BB-DF65-4F20-BA1C-2B779DA36F8F}"/>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401317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262898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691" name="Freeform: Shape 690">
            <a:extLst>
              <a:ext uri="{FF2B5EF4-FFF2-40B4-BE49-F238E27FC236}">
                <a16:creationId xmlns:a16="http://schemas.microsoft.com/office/drawing/2014/main" id="{1C012C5E-6908-4699-A246-D487D69BAF3B}"/>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b="1" dirty="0">
                <a:solidFill>
                  <a:schemeClr val="tx2"/>
                </a:solidFill>
                <a:cs typeface="Segoe UI" pitchFamily="34" charset="0"/>
              </a:rPr>
              <a:t>End users receive seamless O365 experience</a:t>
            </a:r>
            <a:endParaRPr lang="en-US" spc="-30" dirty="0">
              <a:solidFill>
                <a:schemeClr val="tx1"/>
              </a:solidFill>
              <a:cs typeface="Segoe UI"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Containerized user profiles enable fast VHD load times</a:t>
            </a:r>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777886" y="1372927"/>
            <a:ext cx="806355" cy="914400"/>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278" name="Rectangle 277">
            <a:extLst>
              <a:ext uri="{FF2B5EF4-FFF2-40B4-BE49-F238E27FC236}">
                <a16:creationId xmlns:a16="http://schemas.microsoft.com/office/drawing/2014/main" id="{91831A7C-61AC-4633-AE7B-78987F418378}"/>
              </a:ext>
            </a:extLst>
          </p:cNvPr>
          <p:cNvSpPr/>
          <p:nvPr/>
        </p:nvSpPr>
        <p:spPr>
          <a:xfrm>
            <a:off x="533943" y="114846"/>
            <a:ext cx="4133119" cy="369332"/>
          </a:xfrm>
          <a:prstGeom prst="rect">
            <a:avLst/>
          </a:prstGeom>
        </p:spPr>
        <p:txBody>
          <a:bodyPr wrap="none">
            <a:spAutoFit/>
          </a:bodyPr>
          <a:lstStyle/>
          <a:p>
            <a:r>
              <a:rPr lang="en-US" b="1" i="1" dirty="0"/>
              <a:t>Best Virtualized End-user Experience</a:t>
            </a:r>
          </a:p>
        </p:txBody>
      </p:sp>
      <p:sp>
        <p:nvSpPr>
          <p:cNvPr id="286" name="Rectangle 285">
            <a:extLst>
              <a:ext uri="{FF2B5EF4-FFF2-40B4-BE49-F238E27FC236}">
                <a16:creationId xmlns:a16="http://schemas.microsoft.com/office/drawing/2014/main" id="{E98FED12-7E22-44E7-B04A-C8D39E120112}"/>
              </a:ext>
            </a:extLst>
          </p:cNvPr>
          <p:cNvSpPr/>
          <p:nvPr/>
        </p:nvSpPr>
        <p:spPr bwMode="auto">
          <a:xfrm>
            <a:off x="584200" y="2351226"/>
            <a:ext cx="6340383" cy="42172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287" name="TextBox 286">
            <a:extLst>
              <a:ext uri="{FF2B5EF4-FFF2-40B4-BE49-F238E27FC236}">
                <a16:creationId xmlns:a16="http://schemas.microsoft.com/office/drawing/2014/main" id="{4DCECFD8-3F16-4415-B2C6-8645E814E436}"/>
              </a:ext>
            </a:extLst>
          </p:cNvPr>
          <p:cNvSpPr txBox="1"/>
          <p:nvPr/>
        </p:nvSpPr>
        <p:spPr>
          <a:xfrm>
            <a:off x="689892" y="2411900"/>
            <a:ext cx="6128158" cy="402553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b" anchorCtr="0" forceAA="0" compatLnSpc="1">
            <a:prstTxWarp prst="textNoShape">
              <a:avLst/>
            </a:prstTxWarp>
            <a:noAutofit/>
          </a:bodyPr>
          <a:lstStyle>
            <a:defPPr>
              <a:defRPr lang="en-US"/>
            </a:defPPr>
            <a:lvl1pPr marL="53975" lvl="0" defTabSz="914102" fontAlgn="base">
              <a:spcBef>
                <a:spcPts val="0"/>
              </a:spcBef>
              <a:spcAft>
                <a:spcPts val="0"/>
              </a:spcAft>
              <a:defRPr sz="1600">
                <a:solidFill>
                  <a:srgbClr val="000000"/>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fontAlgn="auto">
              <a:defRPr/>
            </a:pPr>
            <a:r>
              <a:rPr lang="en-US" dirty="0">
                <a:cs typeface="+mn-cs"/>
              </a:rPr>
              <a:t>Placed into a VHD container that is stored on Azure</a:t>
            </a:r>
          </a:p>
          <a:p>
            <a:pPr marL="290513" lvl="0" indent="-177800" fontAlgn="auto">
              <a:spcBef>
                <a:spcPts val="300"/>
              </a:spcBef>
              <a:buFont typeface="Arial" panose="020B0604020202020204" pitchFamily="34" charset="0"/>
              <a:buChar char="•"/>
              <a:defRPr/>
            </a:pPr>
            <a:r>
              <a:rPr lang="en-US" sz="1400" dirty="0">
                <a:cs typeface="+mn-cs"/>
              </a:rPr>
              <a:t>Dynamically attached at user logon</a:t>
            </a:r>
          </a:p>
          <a:p>
            <a:pPr marL="290513" lvl="0" indent="-177800" fontAlgn="auto">
              <a:spcBef>
                <a:spcPts val="300"/>
              </a:spcBef>
              <a:buFont typeface="Arial" panose="020B0604020202020204" pitchFamily="34" charset="0"/>
              <a:buChar char="•"/>
              <a:defRPr/>
            </a:pPr>
            <a:r>
              <a:rPr lang="en-US" sz="1400" dirty="0">
                <a:cs typeface="+mn-cs"/>
              </a:rPr>
              <a:t>Content appears to be in its native location</a:t>
            </a:r>
          </a:p>
        </p:txBody>
      </p:sp>
      <p:sp>
        <p:nvSpPr>
          <p:cNvPr id="288" name="TextBox 287">
            <a:extLst>
              <a:ext uri="{FF2B5EF4-FFF2-40B4-BE49-F238E27FC236}">
                <a16:creationId xmlns:a16="http://schemas.microsoft.com/office/drawing/2014/main" id="{625598C1-1D21-4717-A7F4-29BE4F531DEB}"/>
              </a:ext>
            </a:extLst>
          </p:cNvPr>
          <p:cNvSpPr txBox="1"/>
          <p:nvPr/>
        </p:nvSpPr>
        <p:spPr>
          <a:xfrm>
            <a:off x="689892" y="2411902"/>
            <a:ext cx="6128158"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600" b="1" dirty="0">
                <a:solidFill>
                  <a:schemeClr val="bg1"/>
                </a:solidFill>
              </a:rPr>
              <a:t>WVD</a:t>
            </a:r>
          </a:p>
        </p:txBody>
      </p:sp>
      <p:sp>
        <p:nvSpPr>
          <p:cNvPr id="290" name="TextBox 289">
            <a:extLst>
              <a:ext uri="{FF2B5EF4-FFF2-40B4-BE49-F238E27FC236}">
                <a16:creationId xmlns:a16="http://schemas.microsoft.com/office/drawing/2014/main" id="{0E16052F-6880-4CDD-B2CD-34EB5A5070AA}"/>
              </a:ext>
            </a:extLst>
          </p:cNvPr>
          <p:cNvSpPr txBox="1"/>
          <p:nvPr/>
        </p:nvSpPr>
        <p:spPr>
          <a:xfrm>
            <a:off x="7044213" y="2429311"/>
            <a:ext cx="4565176" cy="40080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45720" numCol="1" spcCol="0" rtlCol="0" fromWordArt="0" anchor="t" anchorCtr="0" forceAA="0" compatLnSpc="1">
            <a:prstTxWarp prst="textNoShape">
              <a:avLst/>
            </a:prstTxWarp>
            <a:noAutofit/>
          </a:bodyPr>
          <a:lstStyle>
            <a:defPPr>
              <a:defRPr lang="en-US"/>
            </a:defPPr>
            <a:lvl1pPr algn="ctr" fontAlgn="auto">
              <a:spcBef>
                <a:spcPts val="1200"/>
              </a:spcBef>
              <a:spcAft>
                <a:spcPts val="0"/>
              </a:spcAft>
              <a:defRPr sz="1600" b="1" i="1">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t>Achieves extremely fast logon times</a:t>
            </a:r>
          </a:p>
          <a:p>
            <a:r>
              <a:rPr lang="en-US" altLang="zh-CN" dirty="0"/>
              <a:t>Uses native Windows VHD capabilities – </a:t>
            </a:r>
            <a:br>
              <a:rPr lang="en-US" altLang="zh-CN" dirty="0"/>
            </a:br>
            <a:r>
              <a:rPr lang="en-US" altLang="zh-CN" dirty="0"/>
              <a:t>no hypervisor</a:t>
            </a:r>
          </a:p>
        </p:txBody>
      </p:sp>
      <p:sp>
        <p:nvSpPr>
          <p:cNvPr id="291" name="TextBox 290">
            <a:extLst>
              <a:ext uri="{FF2B5EF4-FFF2-40B4-BE49-F238E27FC236}">
                <a16:creationId xmlns:a16="http://schemas.microsoft.com/office/drawing/2014/main" id="{F4D5D1A3-8A66-4D37-8846-463A6BAD68C9}"/>
              </a:ext>
            </a:extLst>
          </p:cNvPr>
          <p:cNvSpPr txBox="1"/>
          <p:nvPr/>
        </p:nvSpPr>
        <p:spPr>
          <a:xfrm>
            <a:off x="7044213" y="2411902"/>
            <a:ext cx="4565176"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600" b="1" dirty="0">
                <a:solidFill>
                  <a:schemeClr val="bg1"/>
                </a:solidFill>
              </a:rPr>
              <a:t>User Experience Benefits</a:t>
            </a:r>
          </a:p>
        </p:txBody>
      </p:sp>
      <p:sp>
        <p:nvSpPr>
          <p:cNvPr id="1655" name="TextBox 1654">
            <a:extLst>
              <a:ext uri="{FF2B5EF4-FFF2-40B4-BE49-F238E27FC236}">
                <a16:creationId xmlns:a16="http://schemas.microsoft.com/office/drawing/2014/main" id="{672E9532-405F-4F58-95B2-8B0D26D4CE9C}"/>
              </a:ext>
            </a:extLst>
          </p:cNvPr>
          <p:cNvSpPr txBox="1"/>
          <p:nvPr/>
        </p:nvSpPr>
        <p:spPr>
          <a:xfrm>
            <a:off x="695302" y="2945859"/>
            <a:ext cx="6122747" cy="325242"/>
          </a:xfrm>
          <a:prstGeom prst="rect">
            <a:avLst/>
          </a:prstGeom>
          <a:solidFill>
            <a:schemeClr val="bg1">
              <a:lumMod val="85000"/>
            </a:schemeClr>
          </a:solidFill>
          <a:ln w="6350">
            <a:noFill/>
          </a:ln>
        </p:spPr>
        <p:txBody>
          <a:bodyPr wrap="square" lIns="0" tIns="0" rIns="0" bIns="0" rtlCol="0" anchor="ctr">
            <a:noAutofit/>
          </a:bodyPr>
          <a:lstStyle/>
          <a:p>
            <a:pPr algn="ctr"/>
            <a:r>
              <a:rPr lang="en-US" sz="1400" dirty="0">
                <a:solidFill>
                  <a:schemeClr val="accent4"/>
                </a:solidFill>
              </a:rPr>
              <a:t>Containerized profiles</a:t>
            </a:r>
          </a:p>
        </p:txBody>
      </p:sp>
      <p:sp>
        <p:nvSpPr>
          <p:cNvPr id="13" name="TextBox 12">
            <a:extLst>
              <a:ext uri="{FF2B5EF4-FFF2-40B4-BE49-F238E27FC236}">
                <a16:creationId xmlns:a16="http://schemas.microsoft.com/office/drawing/2014/main" id="{1B9FAE90-7489-4E14-AD79-05B5FEC0D963}"/>
              </a:ext>
            </a:extLst>
          </p:cNvPr>
          <p:cNvSpPr txBox="1"/>
          <p:nvPr/>
        </p:nvSpPr>
        <p:spPr>
          <a:xfrm>
            <a:off x="3211705" y="3331091"/>
            <a:ext cx="1064201" cy="215444"/>
          </a:xfrm>
          <a:prstGeom prst="rect">
            <a:avLst/>
          </a:prstGeom>
          <a:noFill/>
        </p:spPr>
        <p:txBody>
          <a:bodyPr wrap="none" lIns="0" tIns="0" rIns="0" bIns="0" rtlCol="0">
            <a:spAutoFit/>
          </a:bodyPr>
          <a:lstStyle/>
          <a:p>
            <a:pPr algn="ctr"/>
            <a:r>
              <a:rPr lang="en-US" sz="1400" b="1" dirty="0"/>
              <a:t>User profiles</a:t>
            </a:r>
          </a:p>
        </p:txBody>
      </p:sp>
      <p:grpSp>
        <p:nvGrpSpPr>
          <p:cNvPr id="392" name="Group 391">
            <a:extLst>
              <a:ext uri="{FF2B5EF4-FFF2-40B4-BE49-F238E27FC236}">
                <a16:creationId xmlns:a16="http://schemas.microsoft.com/office/drawing/2014/main" id="{D48E287F-EDD2-4829-A518-34356D979C51}"/>
              </a:ext>
            </a:extLst>
          </p:cNvPr>
          <p:cNvGrpSpPr/>
          <p:nvPr/>
        </p:nvGrpSpPr>
        <p:grpSpPr>
          <a:xfrm>
            <a:off x="2249630" y="3687990"/>
            <a:ext cx="1116937" cy="1690834"/>
            <a:chOff x="5012124" y="3640814"/>
            <a:chExt cx="864425" cy="1308578"/>
          </a:xfrm>
        </p:grpSpPr>
        <p:sp>
          <p:nvSpPr>
            <p:cNvPr id="752" name="Rectangle: Rounded Corners 380">
              <a:extLst>
                <a:ext uri="{FF2B5EF4-FFF2-40B4-BE49-F238E27FC236}">
                  <a16:creationId xmlns:a16="http://schemas.microsoft.com/office/drawing/2014/main" id="{3133ED75-F779-4D9E-84F6-C90B862D0C5D}"/>
                </a:ext>
              </a:extLst>
            </p:cNvPr>
            <p:cNvSpPr/>
            <p:nvPr/>
          </p:nvSpPr>
          <p:spPr bwMode="auto">
            <a:xfrm>
              <a:off x="5012124" y="3867150"/>
              <a:ext cx="245291" cy="874972"/>
            </a:xfrm>
            <a:custGeom>
              <a:avLst/>
              <a:gdLst>
                <a:gd name="connsiteX0" fmla="*/ 0 w 294350"/>
                <a:gd name="connsiteY0" fmla="*/ 49059 h 874972"/>
                <a:gd name="connsiteX1" fmla="*/ 49059 w 294350"/>
                <a:gd name="connsiteY1" fmla="*/ 0 h 874972"/>
                <a:gd name="connsiteX2" fmla="*/ 245291 w 294350"/>
                <a:gd name="connsiteY2" fmla="*/ 0 h 874972"/>
                <a:gd name="connsiteX3" fmla="*/ 294350 w 294350"/>
                <a:gd name="connsiteY3" fmla="*/ 49059 h 874972"/>
                <a:gd name="connsiteX4" fmla="*/ 294350 w 294350"/>
                <a:gd name="connsiteY4" fmla="*/ 825913 h 874972"/>
                <a:gd name="connsiteX5" fmla="*/ 245291 w 294350"/>
                <a:gd name="connsiteY5" fmla="*/ 874972 h 874972"/>
                <a:gd name="connsiteX6" fmla="*/ 49059 w 294350"/>
                <a:gd name="connsiteY6" fmla="*/ 874972 h 874972"/>
                <a:gd name="connsiteX7" fmla="*/ 0 w 294350"/>
                <a:gd name="connsiteY7" fmla="*/ 825913 h 874972"/>
                <a:gd name="connsiteX8" fmla="*/ 0 w 294350"/>
                <a:gd name="connsiteY8" fmla="*/ 49059 h 874972"/>
                <a:gd name="connsiteX0" fmla="*/ 294350 w 385790"/>
                <a:gd name="connsiteY0" fmla="*/ 49059 h 874972"/>
                <a:gd name="connsiteX1" fmla="*/ 294350 w 385790"/>
                <a:gd name="connsiteY1" fmla="*/ 825913 h 874972"/>
                <a:gd name="connsiteX2" fmla="*/ 245291 w 385790"/>
                <a:gd name="connsiteY2" fmla="*/ 874972 h 874972"/>
                <a:gd name="connsiteX3" fmla="*/ 49059 w 385790"/>
                <a:gd name="connsiteY3" fmla="*/ 874972 h 874972"/>
                <a:gd name="connsiteX4" fmla="*/ 0 w 385790"/>
                <a:gd name="connsiteY4" fmla="*/ 825913 h 874972"/>
                <a:gd name="connsiteX5" fmla="*/ 0 w 385790"/>
                <a:gd name="connsiteY5" fmla="*/ 49059 h 874972"/>
                <a:gd name="connsiteX6" fmla="*/ 49059 w 385790"/>
                <a:gd name="connsiteY6" fmla="*/ 0 h 874972"/>
                <a:gd name="connsiteX7" fmla="*/ 245291 w 385790"/>
                <a:gd name="connsiteY7" fmla="*/ 0 h 874972"/>
                <a:gd name="connsiteX8" fmla="*/ 385790 w 385790"/>
                <a:gd name="connsiteY8" fmla="*/ 140499 h 874972"/>
                <a:gd name="connsiteX0" fmla="*/ 294350 w 385790"/>
                <a:gd name="connsiteY0" fmla="*/ 825913 h 874972"/>
                <a:gd name="connsiteX1" fmla="*/ 245291 w 385790"/>
                <a:gd name="connsiteY1" fmla="*/ 874972 h 874972"/>
                <a:gd name="connsiteX2" fmla="*/ 49059 w 385790"/>
                <a:gd name="connsiteY2" fmla="*/ 874972 h 874972"/>
                <a:gd name="connsiteX3" fmla="*/ 0 w 385790"/>
                <a:gd name="connsiteY3" fmla="*/ 825913 h 874972"/>
                <a:gd name="connsiteX4" fmla="*/ 0 w 385790"/>
                <a:gd name="connsiteY4" fmla="*/ 49059 h 874972"/>
                <a:gd name="connsiteX5" fmla="*/ 49059 w 385790"/>
                <a:gd name="connsiteY5" fmla="*/ 0 h 874972"/>
                <a:gd name="connsiteX6" fmla="*/ 245291 w 385790"/>
                <a:gd name="connsiteY6" fmla="*/ 0 h 874972"/>
                <a:gd name="connsiteX7" fmla="*/ 385790 w 385790"/>
                <a:gd name="connsiteY7" fmla="*/ 140499 h 874972"/>
                <a:gd name="connsiteX0" fmla="*/ 294350 w 294350"/>
                <a:gd name="connsiteY0" fmla="*/ 825913 h 874972"/>
                <a:gd name="connsiteX1" fmla="*/ 245291 w 294350"/>
                <a:gd name="connsiteY1" fmla="*/ 874972 h 874972"/>
                <a:gd name="connsiteX2" fmla="*/ 49059 w 294350"/>
                <a:gd name="connsiteY2" fmla="*/ 874972 h 874972"/>
                <a:gd name="connsiteX3" fmla="*/ 0 w 294350"/>
                <a:gd name="connsiteY3" fmla="*/ 825913 h 874972"/>
                <a:gd name="connsiteX4" fmla="*/ 0 w 294350"/>
                <a:gd name="connsiteY4" fmla="*/ 49059 h 874972"/>
                <a:gd name="connsiteX5" fmla="*/ 49059 w 294350"/>
                <a:gd name="connsiteY5" fmla="*/ 0 h 874972"/>
                <a:gd name="connsiteX6" fmla="*/ 245291 w 294350"/>
                <a:gd name="connsiteY6" fmla="*/ 0 h 874972"/>
                <a:gd name="connsiteX0" fmla="*/ 245291 w 245291"/>
                <a:gd name="connsiteY0" fmla="*/ 874972 h 874972"/>
                <a:gd name="connsiteX1" fmla="*/ 49059 w 245291"/>
                <a:gd name="connsiteY1" fmla="*/ 874972 h 874972"/>
                <a:gd name="connsiteX2" fmla="*/ 0 w 245291"/>
                <a:gd name="connsiteY2" fmla="*/ 825913 h 874972"/>
                <a:gd name="connsiteX3" fmla="*/ 0 w 245291"/>
                <a:gd name="connsiteY3" fmla="*/ 49059 h 874972"/>
                <a:gd name="connsiteX4" fmla="*/ 49059 w 245291"/>
                <a:gd name="connsiteY4" fmla="*/ 0 h 874972"/>
                <a:gd name="connsiteX5" fmla="*/ 245291 w 245291"/>
                <a:gd name="connsiteY5" fmla="*/ 0 h 87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291" h="874972">
                  <a:moveTo>
                    <a:pt x="245291" y="874972"/>
                  </a:moveTo>
                  <a:lnTo>
                    <a:pt x="49059" y="874972"/>
                  </a:lnTo>
                  <a:cubicBezTo>
                    <a:pt x="21964" y="874972"/>
                    <a:pt x="0" y="853008"/>
                    <a:pt x="0" y="825913"/>
                  </a:cubicBezTo>
                  <a:lnTo>
                    <a:pt x="0" y="49059"/>
                  </a:lnTo>
                  <a:cubicBezTo>
                    <a:pt x="0" y="21964"/>
                    <a:pt x="21964" y="0"/>
                    <a:pt x="49059" y="0"/>
                  </a:cubicBezTo>
                  <a:lnTo>
                    <a:pt x="245291" y="0"/>
                  </a:lnTo>
                </a:path>
              </a:pathLst>
            </a:custGeom>
            <a:no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79" name="Group 378">
              <a:extLst>
                <a:ext uri="{FF2B5EF4-FFF2-40B4-BE49-F238E27FC236}">
                  <a16:creationId xmlns:a16="http://schemas.microsoft.com/office/drawing/2014/main" id="{6F238CE4-39BC-4B34-8998-B70AE87326C7}"/>
                </a:ext>
              </a:extLst>
            </p:cNvPr>
            <p:cNvGrpSpPr/>
            <p:nvPr/>
          </p:nvGrpSpPr>
          <p:grpSpPr>
            <a:xfrm>
              <a:off x="5137350" y="3640814"/>
              <a:ext cx="682082" cy="708010"/>
              <a:chOff x="8428037" y="6810375"/>
              <a:chExt cx="542925" cy="563563"/>
            </a:xfrm>
          </p:grpSpPr>
          <p:sp>
            <p:nvSpPr>
              <p:cNvPr id="289" name="Freeform 64">
                <a:extLst>
                  <a:ext uri="{FF2B5EF4-FFF2-40B4-BE49-F238E27FC236}">
                    <a16:creationId xmlns:a16="http://schemas.microsoft.com/office/drawing/2014/main" id="{411F18A7-5B37-4E93-A1EC-E2E10633169E}"/>
                  </a:ext>
                </a:extLst>
              </p:cNvPr>
              <p:cNvSpPr>
                <a:spLocks/>
              </p:cNvSpPr>
              <p:nvPr/>
            </p:nvSpPr>
            <p:spPr bwMode="auto">
              <a:xfrm>
                <a:off x="8428037" y="7113588"/>
                <a:ext cx="384175" cy="192087"/>
              </a:xfrm>
              <a:custGeom>
                <a:avLst/>
                <a:gdLst>
                  <a:gd name="T0" fmla="*/ 879 w 908"/>
                  <a:gd name="T1" fmla="*/ 454 h 454"/>
                  <a:gd name="T2" fmla="*/ 908 w 908"/>
                  <a:gd name="T3" fmla="*/ 352 h 454"/>
                  <a:gd name="T4" fmla="*/ 720 w 908"/>
                  <a:gd name="T5" fmla="*/ 164 h 454"/>
                  <a:gd name="T6" fmla="*/ 668 w 908"/>
                  <a:gd name="T7" fmla="*/ 172 h 454"/>
                  <a:gd name="T8" fmla="*/ 413 w 908"/>
                  <a:gd name="T9" fmla="*/ 0 h 454"/>
                  <a:gd name="T10" fmla="*/ 138 w 908"/>
                  <a:gd name="T11" fmla="*/ 259 h 454"/>
                  <a:gd name="T12" fmla="*/ 0 w 908"/>
                  <a:gd name="T13" fmla="*/ 402 h 454"/>
                  <a:gd name="T14" fmla="*/ 9 w 908"/>
                  <a:gd name="T15" fmla="*/ 454 h 454"/>
                  <a:gd name="T16" fmla="*/ 879 w 908"/>
                  <a:gd name="T17"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454">
                    <a:moveTo>
                      <a:pt x="879" y="454"/>
                    </a:moveTo>
                    <a:cubicBezTo>
                      <a:pt x="897" y="424"/>
                      <a:pt x="908" y="390"/>
                      <a:pt x="908" y="352"/>
                    </a:cubicBezTo>
                    <a:cubicBezTo>
                      <a:pt x="908" y="248"/>
                      <a:pt x="824" y="164"/>
                      <a:pt x="720" y="164"/>
                    </a:cubicBezTo>
                    <a:cubicBezTo>
                      <a:pt x="702" y="164"/>
                      <a:pt x="684" y="167"/>
                      <a:pt x="668" y="172"/>
                    </a:cubicBezTo>
                    <a:cubicBezTo>
                      <a:pt x="627" y="71"/>
                      <a:pt x="528" y="0"/>
                      <a:pt x="413" y="0"/>
                    </a:cubicBezTo>
                    <a:cubicBezTo>
                      <a:pt x="266" y="0"/>
                      <a:pt x="147" y="115"/>
                      <a:pt x="138" y="259"/>
                    </a:cubicBezTo>
                    <a:cubicBezTo>
                      <a:pt x="61" y="261"/>
                      <a:pt x="0" y="324"/>
                      <a:pt x="0" y="402"/>
                    </a:cubicBezTo>
                    <a:cubicBezTo>
                      <a:pt x="0" y="420"/>
                      <a:pt x="3" y="437"/>
                      <a:pt x="9" y="454"/>
                    </a:cubicBezTo>
                    <a:lnTo>
                      <a:pt x="879" y="45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 name="Freeform 73">
                <a:extLst>
                  <a:ext uri="{FF2B5EF4-FFF2-40B4-BE49-F238E27FC236}">
                    <a16:creationId xmlns:a16="http://schemas.microsoft.com/office/drawing/2014/main" id="{06FF40B9-0C43-47E6-A15E-946B768BC3E1}"/>
                  </a:ext>
                </a:extLst>
              </p:cNvPr>
              <p:cNvSpPr>
                <a:spLocks/>
              </p:cNvSpPr>
              <p:nvPr/>
            </p:nvSpPr>
            <p:spPr bwMode="auto">
              <a:xfrm>
                <a:off x="8488362" y="7135052"/>
                <a:ext cx="482600" cy="238886"/>
              </a:xfrm>
              <a:custGeom>
                <a:avLst/>
                <a:gdLst>
                  <a:gd name="T0" fmla="*/ 724 w 749"/>
                  <a:gd name="T1" fmla="*/ 373 h 373"/>
                  <a:gd name="T2" fmla="*/ 749 w 749"/>
                  <a:gd name="T3" fmla="*/ 290 h 373"/>
                  <a:gd name="T4" fmla="*/ 594 w 749"/>
                  <a:gd name="T5" fmla="*/ 135 h 373"/>
                  <a:gd name="T6" fmla="*/ 550 w 749"/>
                  <a:gd name="T7" fmla="*/ 141 h 373"/>
                  <a:gd name="T8" fmla="*/ 340 w 749"/>
                  <a:gd name="T9" fmla="*/ 0 h 373"/>
                  <a:gd name="T10" fmla="*/ 114 w 749"/>
                  <a:gd name="T11" fmla="*/ 213 h 373"/>
                  <a:gd name="T12" fmla="*/ 0 w 749"/>
                  <a:gd name="T13" fmla="*/ 330 h 373"/>
                  <a:gd name="T14" fmla="*/ 8 w 749"/>
                  <a:gd name="T15" fmla="*/ 373 h 373"/>
                  <a:gd name="T16" fmla="*/ 724 w 749"/>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9" h="373">
                    <a:moveTo>
                      <a:pt x="724" y="373"/>
                    </a:moveTo>
                    <a:cubicBezTo>
                      <a:pt x="740" y="349"/>
                      <a:pt x="749" y="320"/>
                      <a:pt x="749" y="290"/>
                    </a:cubicBezTo>
                    <a:cubicBezTo>
                      <a:pt x="749" y="204"/>
                      <a:pt x="679" y="135"/>
                      <a:pt x="594" y="135"/>
                    </a:cubicBezTo>
                    <a:cubicBezTo>
                      <a:pt x="579" y="135"/>
                      <a:pt x="564" y="137"/>
                      <a:pt x="550" y="141"/>
                    </a:cubicBezTo>
                    <a:cubicBezTo>
                      <a:pt x="516" y="58"/>
                      <a:pt x="435" y="0"/>
                      <a:pt x="340" y="0"/>
                    </a:cubicBezTo>
                    <a:cubicBezTo>
                      <a:pt x="220" y="0"/>
                      <a:pt x="121" y="94"/>
                      <a:pt x="114" y="213"/>
                    </a:cubicBezTo>
                    <a:cubicBezTo>
                      <a:pt x="51" y="214"/>
                      <a:pt x="0" y="266"/>
                      <a:pt x="0" y="330"/>
                    </a:cubicBezTo>
                    <a:cubicBezTo>
                      <a:pt x="0" y="345"/>
                      <a:pt x="2" y="360"/>
                      <a:pt x="8" y="373"/>
                    </a:cubicBezTo>
                    <a:lnTo>
                      <a:pt x="724" y="37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75" name="Group 374">
                <a:extLst>
                  <a:ext uri="{FF2B5EF4-FFF2-40B4-BE49-F238E27FC236}">
                    <a16:creationId xmlns:a16="http://schemas.microsoft.com/office/drawing/2014/main" id="{06355368-B81A-40D4-8574-8CB321DA8E05}"/>
                  </a:ext>
                </a:extLst>
              </p:cNvPr>
              <p:cNvGrpSpPr/>
              <p:nvPr/>
            </p:nvGrpSpPr>
            <p:grpSpPr>
              <a:xfrm>
                <a:off x="8445500" y="6810375"/>
                <a:ext cx="427416" cy="532649"/>
                <a:chOff x="8445500" y="6810375"/>
                <a:chExt cx="427416" cy="532649"/>
              </a:xfrm>
            </p:grpSpPr>
            <p:sp>
              <p:nvSpPr>
                <p:cNvPr id="295" name="Freeform 70">
                  <a:extLst>
                    <a:ext uri="{FF2B5EF4-FFF2-40B4-BE49-F238E27FC236}">
                      <a16:creationId xmlns:a16="http://schemas.microsoft.com/office/drawing/2014/main" id="{62856B93-5C49-4D14-B623-ED7C5DBE7469}"/>
                    </a:ext>
                  </a:extLst>
                </p:cNvPr>
                <p:cNvSpPr>
                  <a:spLocks/>
                </p:cNvSpPr>
                <p:nvPr/>
              </p:nvSpPr>
              <p:spPr bwMode="auto">
                <a:xfrm>
                  <a:off x="8709025" y="6929438"/>
                  <a:ext cx="95250" cy="138112"/>
                </a:xfrm>
                <a:custGeom>
                  <a:avLst/>
                  <a:gdLst>
                    <a:gd name="T0" fmla="*/ 228 w 228"/>
                    <a:gd name="T1" fmla="*/ 233 h 327"/>
                    <a:gd name="T2" fmla="*/ 228 w 228"/>
                    <a:gd name="T3" fmla="*/ 0 h 327"/>
                    <a:gd name="T4" fmla="*/ 203 w 228"/>
                    <a:gd name="T5" fmla="*/ 7 h 327"/>
                    <a:gd name="T6" fmla="*/ 203 w 228"/>
                    <a:gd name="T7" fmla="*/ 266 h 327"/>
                    <a:gd name="T8" fmla="*/ 0 w 228"/>
                    <a:gd name="T9" fmla="*/ 266 h 327"/>
                    <a:gd name="T10" fmla="*/ 29 w 228"/>
                    <a:gd name="T11" fmla="*/ 284 h 327"/>
                    <a:gd name="T12" fmla="*/ 29 w 228"/>
                    <a:gd name="T13" fmla="*/ 327 h 327"/>
                    <a:gd name="T14" fmla="*/ 196 w 228"/>
                    <a:gd name="T15" fmla="*/ 327 h 327"/>
                    <a:gd name="T16" fmla="*/ 196 w 228"/>
                    <a:gd name="T17" fmla="*/ 284 h 327"/>
                    <a:gd name="T18" fmla="*/ 228 w 228"/>
                    <a:gd name="T19" fmla="*/ 2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327">
                      <a:moveTo>
                        <a:pt x="228" y="233"/>
                      </a:moveTo>
                      <a:cubicBezTo>
                        <a:pt x="228" y="0"/>
                        <a:pt x="228" y="0"/>
                        <a:pt x="228" y="0"/>
                      </a:cubicBezTo>
                      <a:cubicBezTo>
                        <a:pt x="219" y="0"/>
                        <a:pt x="210" y="3"/>
                        <a:pt x="203" y="7"/>
                      </a:cubicBezTo>
                      <a:cubicBezTo>
                        <a:pt x="203" y="266"/>
                        <a:pt x="203" y="266"/>
                        <a:pt x="203" y="266"/>
                      </a:cubicBezTo>
                      <a:cubicBezTo>
                        <a:pt x="0" y="266"/>
                        <a:pt x="0" y="266"/>
                        <a:pt x="0" y="266"/>
                      </a:cubicBezTo>
                      <a:cubicBezTo>
                        <a:pt x="6" y="276"/>
                        <a:pt x="17" y="282"/>
                        <a:pt x="29" y="284"/>
                      </a:cubicBezTo>
                      <a:cubicBezTo>
                        <a:pt x="29" y="327"/>
                        <a:pt x="29" y="327"/>
                        <a:pt x="29" y="327"/>
                      </a:cubicBezTo>
                      <a:cubicBezTo>
                        <a:pt x="196" y="327"/>
                        <a:pt x="196" y="327"/>
                        <a:pt x="196" y="327"/>
                      </a:cubicBezTo>
                      <a:cubicBezTo>
                        <a:pt x="196" y="284"/>
                        <a:pt x="196" y="284"/>
                        <a:pt x="196" y="284"/>
                      </a:cubicBezTo>
                      <a:lnTo>
                        <a:pt x="228" y="23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 name="Freeform 71">
                  <a:extLst>
                    <a:ext uri="{FF2B5EF4-FFF2-40B4-BE49-F238E27FC236}">
                      <a16:creationId xmlns:a16="http://schemas.microsoft.com/office/drawing/2014/main" id="{DC8196B5-719B-4792-920F-C93192ADAF87}"/>
                    </a:ext>
                  </a:extLst>
                </p:cNvPr>
                <p:cNvSpPr>
                  <a:spLocks/>
                </p:cNvSpPr>
                <p:nvPr/>
              </p:nvSpPr>
              <p:spPr bwMode="auto">
                <a:xfrm>
                  <a:off x="8715375" y="7081838"/>
                  <a:ext cx="80963" cy="131762"/>
                </a:xfrm>
                <a:custGeom>
                  <a:avLst/>
                  <a:gdLst>
                    <a:gd name="T0" fmla="*/ 192 w 192"/>
                    <a:gd name="T1" fmla="*/ 312 h 312"/>
                    <a:gd name="T2" fmla="*/ 192 w 192"/>
                    <a:gd name="T3" fmla="*/ 0 h 312"/>
                    <a:gd name="T4" fmla="*/ 0 w 192"/>
                    <a:gd name="T5" fmla="*/ 0 h 312"/>
                    <a:gd name="T6" fmla="*/ 0 w 192"/>
                    <a:gd name="T7" fmla="*/ 235 h 312"/>
                    <a:gd name="T8" fmla="*/ 21 w 192"/>
                    <a:gd name="T9" fmla="*/ 234 h 312"/>
                    <a:gd name="T10" fmla="*/ 192 w 192"/>
                    <a:gd name="T11" fmla="*/ 312 h 312"/>
                  </a:gdLst>
                  <a:ahLst/>
                  <a:cxnLst>
                    <a:cxn ang="0">
                      <a:pos x="T0" y="T1"/>
                    </a:cxn>
                    <a:cxn ang="0">
                      <a:pos x="T2" y="T3"/>
                    </a:cxn>
                    <a:cxn ang="0">
                      <a:pos x="T4" y="T5"/>
                    </a:cxn>
                    <a:cxn ang="0">
                      <a:pos x="T6" y="T7"/>
                    </a:cxn>
                    <a:cxn ang="0">
                      <a:pos x="T8" y="T9"/>
                    </a:cxn>
                    <a:cxn ang="0">
                      <a:pos x="T10" y="T11"/>
                    </a:cxn>
                  </a:cxnLst>
                  <a:rect l="0" t="0" r="r" b="b"/>
                  <a:pathLst>
                    <a:path w="192" h="312">
                      <a:moveTo>
                        <a:pt x="192" y="312"/>
                      </a:moveTo>
                      <a:cubicBezTo>
                        <a:pt x="192" y="0"/>
                        <a:pt x="192" y="0"/>
                        <a:pt x="192" y="0"/>
                      </a:cubicBezTo>
                      <a:cubicBezTo>
                        <a:pt x="0" y="0"/>
                        <a:pt x="0" y="0"/>
                        <a:pt x="0" y="0"/>
                      </a:cubicBezTo>
                      <a:cubicBezTo>
                        <a:pt x="0" y="235"/>
                        <a:pt x="0" y="235"/>
                        <a:pt x="0" y="235"/>
                      </a:cubicBezTo>
                      <a:cubicBezTo>
                        <a:pt x="7" y="235"/>
                        <a:pt x="14" y="234"/>
                        <a:pt x="21" y="234"/>
                      </a:cubicBezTo>
                      <a:cubicBezTo>
                        <a:pt x="89" y="234"/>
                        <a:pt x="151" y="265"/>
                        <a:pt x="192" y="312"/>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 name="Rectangle 72">
                  <a:extLst>
                    <a:ext uri="{FF2B5EF4-FFF2-40B4-BE49-F238E27FC236}">
                      <a16:creationId xmlns:a16="http://schemas.microsoft.com/office/drawing/2014/main" id="{00B7F05E-4F81-447F-9B29-392B5491B9C4}"/>
                    </a:ext>
                  </a:extLst>
                </p:cNvPr>
                <p:cNvSpPr>
                  <a:spLocks noChangeArrowheads="1"/>
                </p:cNvSpPr>
                <p:nvPr/>
              </p:nvSpPr>
              <p:spPr bwMode="auto">
                <a:xfrm>
                  <a:off x="8718550" y="7067550"/>
                  <a:ext cx="76200" cy="142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9" name="Rectangle 74">
                  <a:extLst>
                    <a:ext uri="{FF2B5EF4-FFF2-40B4-BE49-F238E27FC236}">
                      <a16:creationId xmlns:a16="http://schemas.microsoft.com/office/drawing/2014/main" id="{3EF63B25-7E67-4884-AD55-175DA1DCDB31}"/>
                    </a:ext>
                  </a:extLst>
                </p:cNvPr>
                <p:cNvSpPr>
                  <a:spLocks noChangeArrowheads="1"/>
                </p:cNvSpPr>
                <p:nvPr/>
              </p:nvSpPr>
              <p:spPr bwMode="auto">
                <a:xfrm>
                  <a:off x="8445500" y="6977063"/>
                  <a:ext cx="14288" cy="28575"/>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 name="Freeform 86">
                  <a:extLst>
                    <a:ext uri="{FF2B5EF4-FFF2-40B4-BE49-F238E27FC236}">
                      <a16:creationId xmlns:a16="http://schemas.microsoft.com/office/drawing/2014/main" id="{E45045D0-EF99-41FA-A564-4BC7D28D22A5}"/>
                    </a:ext>
                  </a:extLst>
                </p:cNvPr>
                <p:cNvSpPr>
                  <a:spLocks/>
                </p:cNvSpPr>
                <p:nvPr/>
              </p:nvSpPr>
              <p:spPr bwMode="auto">
                <a:xfrm>
                  <a:off x="8459787" y="6810375"/>
                  <a:ext cx="334963" cy="230187"/>
                </a:xfrm>
                <a:custGeom>
                  <a:avLst/>
                  <a:gdLst>
                    <a:gd name="T0" fmla="*/ 211 w 211"/>
                    <a:gd name="T1" fmla="*/ 145 h 145"/>
                    <a:gd name="T2" fmla="*/ 211 w 211"/>
                    <a:gd name="T3" fmla="*/ 0 h 145"/>
                    <a:gd name="T4" fmla="*/ 105 w 211"/>
                    <a:gd name="T5" fmla="*/ 0 h 145"/>
                    <a:gd name="T6" fmla="*/ 0 w 211"/>
                    <a:gd name="T7" fmla="*/ 0 h 145"/>
                    <a:gd name="T8" fmla="*/ 0 w 211"/>
                    <a:gd name="T9" fmla="*/ 145 h 145"/>
                    <a:gd name="T10" fmla="*/ 105 w 211"/>
                    <a:gd name="T11" fmla="*/ 145 h 145"/>
                    <a:gd name="T12" fmla="*/ 211 w 211"/>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211" h="145">
                      <a:moveTo>
                        <a:pt x="211" y="145"/>
                      </a:moveTo>
                      <a:lnTo>
                        <a:pt x="211" y="0"/>
                      </a:lnTo>
                      <a:lnTo>
                        <a:pt x="105" y="0"/>
                      </a:lnTo>
                      <a:lnTo>
                        <a:pt x="0" y="0"/>
                      </a:lnTo>
                      <a:lnTo>
                        <a:pt x="0" y="145"/>
                      </a:lnTo>
                      <a:lnTo>
                        <a:pt x="105" y="145"/>
                      </a:lnTo>
                      <a:lnTo>
                        <a:pt x="211" y="14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 name="Rectangle 87">
                  <a:extLst>
                    <a:ext uri="{FF2B5EF4-FFF2-40B4-BE49-F238E27FC236}">
                      <a16:creationId xmlns:a16="http://schemas.microsoft.com/office/drawing/2014/main" id="{4A398E77-C64E-47FF-A24B-E1A09924C801}"/>
                    </a:ext>
                  </a:extLst>
                </p:cNvPr>
                <p:cNvSpPr>
                  <a:spLocks noChangeArrowheads="1"/>
                </p:cNvSpPr>
                <p:nvPr/>
              </p:nvSpPr>
              <p:spPr bwMode="auto">
                <a:xfrm>
                  <a:off x="8477250" y="6823075"/>
                  <a:ext cx="300038" cy="180975"/>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 name="Freeform 88">
                  <a:extLst>
                    <a:ext uri="{FF2B5EF4-FFF2-40B4-BE49-F238E27FC236}">
                      <a16:creationId xmlns:a16="http://schemas.microsoft.com/office/drawing/2014/main" id="{C6F86669-5A93-487B-8842-C0A5239AE87D}"/>
                    </a:ext>
                  </a:extLst>
                </p:cNvPr>
                <p:cNvSpPr>
                  <a:spLocks noEditPoints="1"/>
                </p:cNvSpPr>
                <p:nvPr/>
              </p:nvSpPr>
              <p:spPr bwMode="auto">
                <a:xfrm>
                  <a:off x="8497887" y="6946900"/>
                  <a:ext cx="257175" cy="31750"/>
                </a:xfrm>
                <a:custGeom>
                  <a:avLst/>
                  <a:gdLst>
                    <a:gd name="T0" fmla="*/ 564 w 607"/>
                    <a:gd name="T1" fmla="*/ 0 h 75"/>
                    <a:gd name="T2" fmla="*/ 578 w 607"/>
                    <a:gd name="T3" fmla="*/ 10 h 75"/>
                    <a:gd name="T4" fmla="*/ 559 w 607"/>
                    <a:gd name="T5" fmla="*/ 70 h 75"/>
                    <a:gd name="T6" fmla="*/ 607 w 607"/>
                    <a:gd name="T7" fmla="*/ 70 h 75"/>
                    <a:gd name="T8" fmla="*/ 597 w 607"/>
                    <a:gd name="T9" fmla="*/ 46 h 75"/>
                    <a:gd name="T10" fmla="*/ 499 w 607"/>
                    <a:gd name="T11" fmla="*/ 10 h 75"/>
                    <a:gd name="T12" fmla="*/ 499 w 607"/>
                    <a:gd name="T13" fmla="*/ 66 h 75"/>
                    <a:gd name="T14" fmla="*/ 489 w 607"/>
                    <a:gd name="T15" fmla="*/ 10 h 75"/>
                    <a:gd name="T16" fmla="*/ 527 w 607"/>
                    <a:gd name="T17" fmla="*/ 75 h 75"/>
                    <a:gd name="T18" fmla="*/ 527 w 607"/>
                    <a:gd name="T19" fmla="*/ 0 h 75"/>
                    <a:gd name="T20" fmla="*/ 448 w 607"/>
                    <a:gd name="T21" fmla="*/ 0 h 75"/>
                    <a:gd name="T22" fmla="*/ 424 w 607"/>
                    <a:gd name="T23" fmla="*/ 10 h 75"/>
                    <a:gd name="T24" fmla="*/ 424 w 607"/>
                    <a:gd name="T25" fmla="*/ 66 h 75"/>
                    <a:gd name="T26" fmla="*/ 462 w 607"/>
                    <a:gd name="T27" fmla="*/ 75 h 75"/>
                    <a:gd name="T28" fmla="*/ 462 w 607"/>
                    <a:gd name="T29" fmla="*/ 41 h 75"/>
                    <a:gd name="T30" fmla="*/ 448 w 607"/>
                    <a:gd name="T31" fmla="*/ 66 h 75"/>
                    <a:gd name="T32" fmla="*/ 354 w 607"/>
                    <a:gd name="T33" fmla="*/ 0 h 75"/>
                    <a:gd name="T34" fmla="*/ 369 w 607"/>
                    <a:gd name="T35" fmla="*/ 10 h 75"/>
                    <a:gd name="T36" fmla="*/ 349 w 607"/>
                    <a:gd name="T37" fmla="*/ 70 h 75"/>
                    <a:gd name="T38" fmla="*/ 397 w 607"/>
                    <a:gd name="T39" fmla="*/ 70 h 75"/>
                    <a:gd name="T40" fmla="*/ 388 w 607"/>
                    <a:gd name="T41" fmla="*/ 46 h 75"/>
                    <a:gd name="T42" fmla="*/ 289 w 607"/>
                    <a:gd name="T43" fmla="*/ 10 h 75"/>
                    <a:gd name="T44" fmla="*/ 289 w 607"/>
                    <a:gd name="T45" fmla="*/ 66 h 75"/>
                    <a:gd name="T46" fmla="*/ 280 w 607"/>
                    <a:gd name="T47" fmla="*/ 10 h 75"/>
                    <a:gd name="T48" fmla="*/ 318 w 607"/>
                    <a:gd name="T49" fmla="*/ 75 h 75"/>
                    <a:gd name="T50" fmla="*/ 318 w 607"/>
                    <a:gd name="T51" fmla="*/ 0 h 75"/>
                    <a:gd name="T52" fmla="*/ 248 w 607"/>
                    <a:gd name="T53" fmla="*/ 10 h 75"/>
                    <a:gd name="T54" fmla="*/ 220 w 607"/>
                    <a:gd name="T55" fmla="*/ 10 h 75"/>
                    <a:gd name="T56" fmla="*/ 210 w 607"/>
                    <a:gd name="T57" fmla="*/ 66 h 75"/>
                    <a:gd name="T58" fmla="*/ 258 w 607"/>
                    <a:gd name="T59" fmla="*/ 66 h 75"/>
                    <a:gd name="T60" fmla="*/ 220 w 607"/>
                    <a:gd name="T61" fmla="*/ 0 h 75"/>
                    <a:gd name="T62" fmla="*/ 178 w 607"/>
                    <a:gd name="T63" fmla="*/ 66 h 75"/>
                    <a:gd name="T64" fmla="*/ 150 w 607"/>
                    <a:gd name="T65" fmla="*/ 0 h 75"/>
                    <a:gd name="T66" fmla="*/ 150 w 607"/>
                    <a:gd name="T67" fmla="*/ 75 h 75"/>
                    <a:gd name="T68" fmla="*/ 188 w 607"/>
                    <a:gd name="T69" fmla="*/ 10 h 75"/>
                    <a:gd name="T70" fmla="*/ 99 w 607"/>
                    <a:gd name="T71" fmla="*/ 66 h 75"/>
                    <a:gd name="T72" fmla="*/ 70 w 607"/>
                    <a:gd name="T73" fmla="*/ 5 h 75"/>
                    <a:gd name="T74" fmla="*/ 89 w 607"/>
                    <a:gd name="T75" fmla="*/ 66 h 75"/>
                    <a:gd name="T76" fmla="*/ 75 w 607"/>
                    <a:gd name="T77" fmla="*/ 75 h 75"/>
                    <a:gd name="T78" fmla="*/ 118 w 607"/>
                    <a:gd name="T79" fmla="*/ 46 h 75"/>
                    <a:gd name="T80" fmla="*/ 108 w 607"/>
                    <a:gd name="T81" fmla="*/ 66 h 75"/>
                    <a:gd name="T82" fmla="*/ 39 w 607"/>
                    <a:gd name="T83" fmla="*/ 10 h 75"/>
                    <a:gd name="T84" fmla="*/ 10 w 607"/>
                    <a:gd name="T85" fmla="*/ 10 h 75"/>
                    <a:gd name="T86" fmla="*/ 0 w 607"/>
                    <a:gd name="T87" fmla="*/ 66 h 75"/>
                    <a:gd name="T88" fmla="*/ 48 w 607"/>
                    <a:gd name="T89" fmla="*/ 66 h 75"/>
                    <a:gd name="T90" fmla="*/ 10 w 607"/>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7" h="75">
                      <a:moveTo>
                        <a:pt x="588" y="66"/>
                      </a:moveTo>
                      <a:cubicBezTo>
                        <a:pt x="588" y="0"/>
                        <a:pt x="588" y="0"/>
                        <a:pt x="588" y="0"/>
                      </a:cubicBezTo>
                      <a:cubicBezTo>
                        <a:pt x="564" y="0"/>
                        <a:pt x="564" y="0"/>
                        <a:pt x="564" y="0"/>
                      </a:cubicBezTo>
                      <a:cubicBezTo>
                        <a:pt x="561" y="0"/>
                        <a:pt x="559" y="1"/>
                        <a:pt x="559" y="5"/>
                      </a:cubicBezTo>
                      <a:cubicBezTo>
                        <a:pt x="559" y="8"/>
                        <a:pt x="561" y="10"/>
                        <a:pt x="564" y="10"/>
                      </a:cubicBezTo>
                      <a:cubicBezTo>
                        <a:pt x="578" y="10"/>
                        <a:pt x="578" y="10"/>
                        <a:pt x="578" y="10"/>
                      </a:cubicBezTo>
                      <a:cubicBezTo>
                        <a:pt x="578" y="66"/>
                        <a:pt x="578" y="66"/>
                        <a:pt x="578" y="66"/>
                      </a:cubicBezTo>
                      <a:cubicBezTo>
                        <a:pt x="564" y="66"/>
                        <a:pt x="564" y="66"/>
                        <a:pt x="564" y="66"/>
                      </a:cubicBezTo>
                      <a:cubicBezTo>
                        <a:pt x="561" y="66"/>
                        <a:pt x="559" y="67"/>
                        <a:pt x="559" y="70"/>
                      </a:cubicBezTo>
                      <a:cubicBezTo>
                        <a:pt x="559" y="74"/>
                        <a:pt x="561" y="75"/>
                        <a:pt x="564" y="75"/>
                      </a:cubicBezTo>
                      <a:cubicBezTo>
                        <a:pt x="602" y="75"/>
                        <a:pt x="602" y="75"/>
                        <a:pt x="602" y="75"/>
                      </a:cubicBezTo>
                      <a:cubicBezTo>
                        <a:pt x="604" y="75"/>
                        <a:pt x="607" y="74"/>
                        <a:pt x="607" y="70"/>
                      </a:cubicBezTo>
                      <a:cubicBezTo>
                        <a:pt x="607" y="46"/>
                        <a:pt x="607" y="46"/>
                        <a:pt x="607" y="46"/>
                      </a:cubicBezTo>
                      <a:cubicBezTo>
                        <a:pt x="607" y="43"/>
                        <a:pt x="605" y="41"/>
                        <a:pt x="602" y="41"/>
                      </a:cubicBezTo>
                      <a:cubicBezTo>
                        <a:pt x="598" y="41"/>
                        <a:pt x="597" y="43"/>
                        <a:pt x="597" y="46"/>
                      </a:cubicBezTo>
                      <a:cubicBezTo>
                        <a:pt x="597" y="66"/>
                        <a:pt x="597" y="66"/>
                        <a:pt x="597" y="66"/>
                      </a:cubicBezTo>
                      <a:lnTo>
                        <a:pt x="588" y="66"/>
                      </a:lnTo>
                      <a:close/>
                      <a:moveTo>
                        <a:pt x="499" y="10"/>
                      </a:moveTo>
                      <a:cubicBezTo>
                        <a:pt x="527" y="10"/>
                        <a:pt x="527" y="10"/>
                        <a:pt x="527" y="10"/>
                      </a:cubicBezTo>
                      <a:cubicBezTo>
                        <a:pt x="527" y="66"/>
                        <a:pt x="527" y="66"/>
                        <a:pt x="527" y="66"/>
                      </a:cubicBezTo>
                      <a:cubicBezTo>
                        <a:pt x="499" y="66"/>
                        <a:pt x="499" y="66"/>
                        <a:pt x="499" y="66"/>
                      </a:cubicBezTo>
                      <a:lnTo>
                        <a:pt x="499" y="10"/>
                      </a:lnTo>
                      <a:close/>
                      <a:moveTo>
                        <a:pt x="499" y="0"/>
                      </a:moveTo>
                      <a:cubicBezTo>
                        <a:pt x="493" y="0"/>
                        <a:pt x="489" y="4"/>
                        <a:pt x="489" y="10"/>
                      </a:cubicBezTo>
                      <a:cubicBezTo>
                        <a:pt x="489" y="66"/>
                        <a:pt x="489" y="66"/>
                        <a:pt x="489" y="66"/>
                      </a:cubicBezTo>
                      <a:cubicBezTo>
                        <a:pt x="489" y="71"/>
                        <a:pt x="493" y="75"/>
                        <a:pt x="499" y="75"/>
                      </a:cubicBezTo>
                      <a:cubicBezTo>
                        <a:pt x="527" y="75"/>
                        <a:pt x="527" y="75"/>
                        <a:pt x="527" y="75"/>
                      </a:cubicBezTo>
                      <a:cubicBezTo>
                        <a:pt x="533" y="75"/>
                        <a:pt x="537" y="71"/>
                        <a:pt x="537" y="66"/>
                      </a:cubicBezTo>
                      <a:cubicBezTo>
                        <a:pt x="537" y="10"/>
                        <a:pt x="537" y="10"/>
                        <a:pt x="537" y="10"/>
                      </a:cubicBezTo>
                      <a:cubicBezTo>
                        <a:pt x="537" y="4"/>
                        <a:pt x="533" y="0"/>
                        <a:pt x="527" y="0"/>
                      </a:cubicBezTo>
                      <a:lnTo>
                        <a:pt x="499" y="0"/>
                      </a:lnTo>
                      <a:close/>
                      <a:moveTo>
                        <a:pt x="448" y="66"/>
                      </a:moveTo>
                      <a:cubicBezTo>
                        <a:pt x="448" y="0"/>
                        <a:pt x="448" y="0"/>
                        <a:pt x="448" y="0"/>
                      </a:cubicBezTo>
                      <a:cubicBezTo>
                        <a:pt x="424" y="0"/>
                        <a:pt x="424" y="0"/>
                        <a:pt x="424" y="0"/>
                      </a:cubicBezTo>
                      <a:cubicBezTo>
                        <a:pt x="422" y="0"/>
                        <a:pt x="419" y="1"/>
                        <a:pt x="419" y="5"/>
                      </a:cubicBezTo>
                      <a:cubicBezTo>
                        <a:pt x="419" y="8"/>
                        <a:pt x="422" y="10"/>
                        <a:pt x="424" y="10"/>
                      </a:cubicBezTo>
                      <a:cubicBezTo>
                        <a:pt x="438" y="10"/>
                        <a:pt x="438" y="10"/>
                        <a:pt x="438" y="10"/>
                      </a:cubicBezTo>
                      <a:cubicBezTo>
                        <a:pt x="438" y="66"/>
                        <a:pt x="438" y="66"/>
                        <a:pt x="438" y="66"/>
                      </a:cubicBezTo>
                      <a:cubicBezTo>
                        <a:pt x="424" y="66"/>
                        <a:pt x="424" y="66"/>
                        <a:pt x="424" y="66"/>
                      </a:cubicBezTo>
                      <a:cubicBezTo>
                        <a:pt x="422" y="66"/>
                        <a:pt x="419" y="67"/>
                        <a:pt x="419" y="70"/>
                      </a:cubicBezTo>
                      <a:cubicBezTo>
                        <a:pt x="419" y="74"/>
                        <a:pt x="422" y="75"/>
                        <a:pt x="424" y="75"/>
                      </a:cubicBezTo>
                      <a:cubicBezTo>
                        <a:pt x="462" y="75"/>
                        <a:pt x="462" y="75"/>
                        <a:pt x="462" y="75"/>
                      </a:cubicBezTo>
                      <a:cubicBezTo>
                        <a:pt x="465" y="75"/>
                        <a:pt x="467" y="74"/>
                        <a:pt x="467" y="70"/>
                      </a:cubicBezTo>
                      <a:cubicBezTo>
                        <a:pt x="467" y="46"/>
                        <a:pt x="467" y="46"/>
                        <a:pt x="467" y="46"/>
                      </a:cubicBezTo>
                      <a:cubicBezTo>
                        <a:pt x="467" y="43"/>
                        <a:pt x="466" y="41"/>
                        <a:pt x="462" y="41"/>
                      </a:cubicBezTo>
                      <a:cubicBezTo>
                        <a:pt x="459" y="41"/>
                        <a:pt x="457" y="43"/>
                        <a:pt x="457" y="46"/>
                      </a:cubicBezTo>
                      <a:cubicBezTo>
                        <a:pt x="457" y="66"/>
                        <a:pt x="457" y="66"/>
                        <a:pt x="457" y="66"/>
                      </a:cubicBezTo>
                      <a:lnTo>
                        <a:pt x="448" y="66"/>
                      </a:lnTo>
                      <a:close/>
                      <a:moveTo>
                        <a:pt x="378" y="66"/>
                      </a:moveTo>
                      <a:cubicBezTo>
                        <a:pt x="378" y="0"/>
                        <a:pt x="378" y="0"/>
                        <a:pt x="378" y="0"/>
                      </a:cubicBezTo>
                      <a:cubicBezTo>
                        <a:pt x="354" y="0"/>
                        <a:pt x="354" y="0"/>
                        <a:pt x="354" y="0"/>
                      </a:cubicBezTo>
                      <a:cubicBezTo>
                        <a:pt x="352" y="0"/>
                        <a:pt x="349" y="1"/>
                        <a:pt x="349" y="5"/>
                      </a:cubicBezTo>
                      <a:cubicBezTo>
                        <a:pt x="349" y="8"/>
                        <a:pt x="352" y="10"/>
                        <a:pt x="354" y="10"/>
                      </a:cubicBezTo>
                      <a:cubicBezTo>
                        <a:pt x="369" y="10"/>
                        <a:pt x="369" y="10"/>
                        <a:pt x="369" y="10"/>
                      </a:cubicBezTo>
                      <a:cubicBezTo>
                        <a:pt x="369" y="66"/>
                        <a:pt x="369" y="66"/>
                        <a:pt x="369" y="66"/>
                      </a:cubicBezTo>
                      <a:cubicBezTo>
                        <a:pt x="354" y="66"/>
                        <a:pt x="354" y="66"/>
                        <a:pt x="354" y="66"/>
                      </a:cubicBezTo>
                      <a:cubicBezTo>
                        <a:pt x="352" y="66"/>
                        <a:pt x="349" y="67"/>
                        <a:pt x="349" y="70"/>
                      </a:cubicBezTo>
                      <a:cubicBezTo>
                        <a:pt x="349" y="74"/>
                        <a:pt x="352" y="75"/>
                        <a:pt x="354" y="75"/>
                      </a:cubicBezTo>
                      <a:cubicBezTo>
                        <a:pt x="392" y="75"/>
                        <a:pt x="392" y="75"/>
                        <a:pt x="392" y="75"/>
                      </a:cubicBezTo>
                      <a:cubicBezTo>
                        <a:pt x="395" y="75"/>
                        <a:pt x="397" y="74"/>
                        <a:pt x="397" y="70"/>
                      </a:cubicBezTo>
                      <a:cubicBezTo>
                        <a:pt x="397" y="46"/>
                        <a:pt x="397" y="46"/>
                        <a:pt x="397" y="46"/>
                      </a:cubicBezTo>
                      <a:cubicBezTo>
                        <a:pt x="397" y="43"/>
                        <a:pt x="396" y="41"/>
                        <a:pt x="392" y="41"/>
                      </a:cubicBezTo>
                      <a:cubicBezTo>
                        <a:pt x="389" y="41"/>
                        <a:pt x="388" y="43"/>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4"/>
                        <a:pt x="280" y="10"/>
                      </a:cubicBezTo>
                      <a:cubicBezTo>
                        <a:pt x="280" y="66"/>
                        <a:pt x="280" y="66"/>
                        <a:pt x="280" y="66"/>
                      </a:cubicBezTo>
                      <a:cubicBezTo>
                        <a:pt x="280" y="71"/>
                        <a:pt x="284" y="75"/>
                        <a:pt x="289" y="75"/>
                      </a:cubicBezTo>
                      <a:cubicBezTo>
                        <a:pt x="318" y="75"/>
                        <a:pt x="318" y="75"/>
                        <a:pt x="318" y="75"/>
                      </a:cubicBezTo>
                      <a:cubicBezTo>
                        <a:pt x="323" y="75"/>
                        <a:pt x="328" y="71"/>
                        <a:pt x="328" y="66"/>
                      </a:cubicBezTo>
                      <a:cubicBezTo>
                        <a:pt x="328" y="10"/>
                        <a:pt x="328" y="10"/>
                        <a:pt x="328" y="10"/>
                      </a:cubicBezTo>
                      <a:cubicBezTo>
                        <a:pt x="328" y="4"/>
                        <a:pt x="323" y="0"/>
                        <a:pt x="318" y="0"/>
                      </a:cubicBezTo>
                      <a:lnTo>
                        <a:pt x="289" y="0"/>
                      </a:lnTo>
                      <a:close/>
                      <a:moveTo>
                        <a:pt x="220" y="10"/>
                      </a:moveTo>
                      <a:cubicBezTo>
                        <a:pt x="248" y="10"/>
                        <a:pt x="248" y="10"/>
                        <a:pt x="248" y="10"/>
                      </a:cubicBezTo>
                      <a:cubicBezTo>
                        <a:pt x="248" y="66"/>
                        <a:pt x="248" y="66"/>
                        <a:pt x="248" y="66"/>
                      </a:cubicBezTo>
                      <a:cubicBezTo>
                        <a:pt x="220" y="66"/>
                        <a:pt x="220" y="66"/>
                        <a:pt x="220" y="66"/>
                      </a:cubicBezTo>
                      <a:lnTo>
                        <a:pt x="220" y="10"/>
                      </a:lnTo>
                      <a:close/>
                      <a:moveTo>
                        <a:pt x="220" y="0"/>
                      </a:moveTo>
                      <a:cubicBezTo>
                        <a:pt x="214" y="0"/>
                        <a:pt x="210" y="4"/>
                        <a:pt x="210" y="10"/>
                      </a:cubicBezTo>
                      <a:cubicBezTo>
                        <a:pt x="210" y="66"/>
                        <a:pt x="210" y="66"/>
                        <a:pt x="210" y="66"/>
                      </a:cubicBezTo>
                      <a:cubicBezTo>
                        <a:pt x="210" y="71"/>
                        <a:pt x="214" y="75"/>
                        <a:pt x="220" y="75"/>
                      </a:cubicBezTo>
                      <a:cubicBezTo>
                        <a:pt x="248" y="75"/>
                        <a:pt x="248" y="75"/>
                        <a:pt x="248" y="75"/>
                      </a:cubicBezTo>
                      <a:cubicBezTo>
                        <a:pt x="254" y="75"/>
                        <a:pt x="258" y="71"/>
                        <a:pt x="258" y="66"/>
                      </a:cubicBezTo>
                      <a:cubicBezTo>
                        <a:pt x="258" y="10"/>
                        <a:pt x="258" y="10"/>
                        <a:pt x="258" y="10"/>
                      </a:cubicBezTo>
                      <a:cubicBezTo>
                        <a:pt x="258" y="4"/>
                        <a:pt x="253" y="0"/>
                        <a:pt x="248" y="0"/>
                      </a:cubicBezTo>
                      <a:lnTo>
                        <a:pt x="220" y="0"/>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4"/>
                        <a:pt x="140" y="10"/>
                      </a:cubicBezTo>
                      <a:cubicBezTo>
                        <a:pt x="140" y="66"/>
                        <a:pt x="140" y="66"/>
                        <a:pt x="140" y="66"/>
                      </a:cubicBezTo>
                      <a:cubicBezTo>
                        <a:pt x="140" y="71"/>
                        <a:pt x="144" y="75"/>
                        <a:pt x="150" y="75"/>
                      </a:cubicBezTo>
                      <a:cubicBezTo>
                        <a:pt x="178" y="75"/>
                        <a:pt x="178" y="75"/>
                        <a:pt x="178" y="75"/>
                      </a:cubicBezTo>
                      <a:cubicBezTo>
                        <a:pt x="184" y="75"/>
                        <a:pt x="188" y="71"/>
                        <a:pt x="188" y="66"/>
                      </a:cubicBezTo>
                      <a:cubicBezTo>
                        <a:pt x="188" y="10"/>
                        <a:pt x="188" y="10"/>
                        <a:pt x="188" y="10"/>
                      </a:cubicBezTo>
                      <a:cubicBezTo>
                        <a:pt x="188" y="4"/>
                        <a:pt x="184" y="0"/>
                        <a:pt x="178" y="0"/>
                      </a:cubicBezTo>
                      <a:lnTo>
                        <a:pt x="150" y="0"/>
                      </a:lnTo>
                      <a:close/>
                      <a:moveTo>
                        <a:pt x="99" y="66"/>
                      </a:moveTo>
                      <a:cubicBezTo>
                        <a:pt x="99" y="0"/>
                        <a:pt x="99" y="0"/>
                        <a:pt x="99" y="0"/>
                      </a:cubicBezTo>
                      <a:cubicBezTo>
                        <a:pt x="75" y="0"/>
                        <a:pt x="75" y="0"/>
                        <a:pt x="75" y="0"/>
                      </a:cubicBezTo>
                      <a:cubicBezTo>
                        <a:pt x="73" y="0"/>
                        <a:pt x="70" y="1"/>
                        <a:pt x="70" y="5"/>
                      </a:cubicBezTo>
                      <a:cubicBezTo>
                        <a:pt x="70" y="8"/>
                        <a:pt x="73" y="10"/>
                        <a:pt x="75" y="10"/>
                      </a:cubicBezTo>
                      <a:cubicBezTo>
                        <a:pt x="89" y="10"/>
                        <a:pt x="89" y="10"/>
                        <a:pt x="89" y="10"/>
                      </a:cubicBezTo>
                      <a:cubicBezTo>
                        <a:pt x="89" y="66"/>
                        <a:pt x="89" y="66"/>
                        <a:pt x="89" y="66"/>
                      </a:cubicBezTo>
                      <a:cubicBezTo>
                        <a:pt x="75" y="66"/>
                        <a:pt x="75" y="66"/>
                        <a:pt x="75" y="66"/>
                      </a:cubicBezTo>
                      <a:cubicBezTo>
                        <a:pt x="73" y="66"/>
                        <a:pt x="70" y="67"/>
                        <a:pt x="70" y="70"/>
                      </a:cubicBezTo>
                      <a:cubicBezTo>
                        <a:pt x="70" y="74"/>
                        <a:pt x="73" y="75"/>
                        <a:pt x="75" y="75"/>
                      </a:cubicBezTo>
                      <a:cubicBezTo>
                        <a:pt x="113" y="75"/>
                        <a:pt x="113" y="75"/>
                        <a:pt x="113" y="75"/>
                      </a:cubicBezTo>
                      <a:cubicBezTo>
                        <a:pt x="116" y="75"/>
                        <a:pt x="118" y="74"/>
                        <a:pt x="118" y="70"/>
                      </a:cubicBezTo>
                      <a:cubicBezTo>
                        <a:pt x="118" y="46"/>
                        <a:pt x="118" y="46"/>
                        <a:pt x="118" y="46"/>
                      </a:cubicBezTo>
                      <a:cubicBezTo>
                        <a:pt x="118" y="43"/>
                        <a:pt x="117" y="41"/>
                        <a:pt x="113" y="41"/>
                      </a:cubicBezTo>
                      <a:cubicBezTo>
                        <a:pt x="110" y="41"/>
                        <a:pt x="108" y="43"/>
                        <a:pt x="108" y="46"/>
                      </a:cubicBezTo>
                      <a:cubicBezTo>
                        <a:pt x="108" y="66"/>
                        <a:pt x="108" y="66"/>
                        <a:pt x="108" y="66"/>
                      </a:cubicBezTo>
                      <a:lnTo>
                        <a:pt x="99" y="66"/>
                      </a:lnTo>
                      <a:close/>
                      <a:moveTo>
                        <a:pt x="10" y="10"/>
                      </a:moveTo>
                      <a:cubicBezTo>
                        <a:pt x="39" y="10"/>
                        <a:pt x="39" y="10"/>
                        <a:pt x="39" y="10"/>
                      </a:cubicBezTo>
                      <a:cubicBezTo>
                        <a:pt x="39" y="66"/>
                        <a:pt x="39" y="66"/>
                        <a:pt x="39" y="66"/>
                      </a:cubicBezTo>
                      <a:cubicBezTo>
                        <a:pt x="10" y="66"/>
                        <a:pt x="10" y="66"/>
                        <a:pt x="10" y="66"/>
                      </a:cubicBezTo>
                      <a:lnTo>
                        <a:pt x="10" y="10"/>
                      </a:lnTo>
                      <a:close/>
                      <a:moveTo>
                        <a:pt x="10" y="0"/>
                      </a:moveTo>
                      <a:cubicBezTo>
                        <a:pt x="5" y="0"/>
                        <a:pt x="0" y="4"/>
                        <a:pt x="0" y="10"/>
                      </a:cubicBezTo>
                      <a:cubicBezTo>
                        <a:pt x="0" y="66"/>
                        <a:pt x="0" y="66"/>
                        <a:pt x="0" y="66"/>
                      </a:cubicBezTo>
                      <a:cubicBezTo>
                        <a:pt x="0" y="71"/>
                        <a:pt x="5" y="75"/>
                        <a:pt x="10" y="75"/>
                      </a:cubicBezTo>
                      <a:cubicBezTo>
                        <a:pt x="39" y="75"/>
                        <a:pt x="39" y="75"/>
                        <a:pt x="39" y="75"/>
                      </a:cubicBezTo>
                      <a:cubicBezTo>
                        <a:pt x="44" y="75"/>
                        <a:pt x="48" y="71"/>
                        <a:pt x="48" y="66"/>
                      </a:cubicBezTo>
                      <a:cubicBezTo>
                        <a:pt x="48" y="10"/>
                        <a:pt x="48" y="10"/>
                        <a:pt x="48" y="10"/>
                      </a:cubicBezTo>
                      <a:cubicBezTo>
                        <a:pt x="48" y="4"/>
                        <a:pt x="44" y="0"/>
                        <a:pt x="39" y="0"/>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 name="Freeform 89">
                  <a:extLst>
                    <a:ext uri="{FF2B5EF4-FFF2-40B4-BE49-F238E27FC236}">
                      <a16:creationId xmlns:a16="http://schemas.microsoft.com/office/drawing/2014/main" id="{DA16F366-9C96-4E4F-9192-5BC3E750BB90}"/>
                    </a:ext>
                  </a:extLst>
                </p:cNvPr>
                <p:cNvSpPr>
                  <a:spLocks noEditPoints="1"/>
                </p:cNvSpPr>
                <p:nvPr/>
              </p:nvSpPr>
              <p:spPr bwMode="auto">
                <a:xfrm>
                  <a:off x="8497887" y="6897688"/>
                  <a:ext cx="257175" cy="31750"/>
                </a:xfrm>
                <a:custGeom>
                  <a:avLst/>
                  <a:gdLst>
                    <a:gd name="T0" fmla="*/ 597 w 607"/>
                    <a:gd name="T1" fmla="*/ 65 h 75"/>
                    <a:gd name="T2" fmla="*/ 569 w 607"/>
                    <a:gd name="T3" fmla="*/ 0 h 75"/>
                    <a:gd name="T4" fmla="*/ 569 w 607"/>
                    <a:gd name="T5" fmla="*/ 75 h 75"/>
                    <a:gd name="T6" fmla="*/ 607 w 607"/>
                    <a:gd name="T7" fmla="*/ 9 h 75"/>
                    <a:gd name="T8" fmla="*/ 518 w 607"/>
                    <a:gd name="T9" fmla="*/ 65 h 75"/>
                    <a:gd name="T10" fmla="*/ 489 w 607"/>
                    <a:gd name="T11" fmla="*/ 4 h 75"/>
                    <a:gd name="T12" fmla="*/ 508 w 607"/>
                    <a:gd name="T13" fmla="*/ 65 h 75"/>
                    <a:gd name="T14" fmla="*/ 494 w 607"/>
                    <a:gd name="T15" fmla="*/ 75 h 75"/>
                    <a:gd name="T16" fmla="*/ 537 w 607"/>
                    <a:gd name="T17" fmla="*/ 46 h 75"/>
                    <a:gd name="T18" fmla="*/ 527 w 607"/>
                    <a:gd name="T19" fmla="*/ 65 h 75"/>
                    <a:gd name="T20" fmla="*/ 457 w 607"/>
                    <a:gd name="T21" fmla="*/ 9 h 75"/>
                    <a:gd name="T22" fmla="*/ 429 w 607"/>
                    <a:gd name="T23" fmla="*/ 9 h 75"/>
                    <a:gd name="T24" fmla="*/ 419 w 607"/>
                    <a:gd name="T25" fmla="*/ 65 h 75"/>
                    <a:gd name="T26" fmla="*/ 467 w 607"/>
                    <a:gd name="T27" fmla="*/ 65 h 75"/>
                    <a:gd name="T28" fmla="*/ 429 w 607"/>
                    <a:gd name="T29" fmla="*/ 0 h 75"/>
                    <a:gd name="T30" fmla="*/ 388 w 607"/>
                    <a:gd name="T31" fmla="*/ 65 h 75"/>
                    <a:gd name="T32" fmla="*/ 359 w 607"/>
                    <a:gd name="T33" fmla="*/ 0 h 75"/>
                    <a:gd name="T34" fmla="*/ 359 w 607"/>
                    <a:gd name="T35" fmla="*/ 75 h 75"/>
                    <a:gd name="T36" fmla="*/ 397 w 607"/>
                    <a:gd name="T37" fmla="*/ 9 h 75"/>
                    <a:gd name="T38" fmla="*/ 308 w 607"/>
                    <a:gd name="T39" fmla="*/ 65 h 75"/>
                    <a:gd name="T40" fmla="*/ 280 w 607"/>
                    <a:gd name="T41" fmla="*/ 4 h 75"/>
                    <a:gd name="T42" fmla="*/ 299 w 607"/>
                    <a:gd name="T43" fmla="*/ 65 h 75"/>
                    <a:gd name="T44" fmla="*/ 284 w 607"/>
                    <a:gd name="T45" fmla="*/ 75 h 75"/>
                    <a:gd name="T46" fmla="*/ 328 w 607"/>
                    <a:gd name="T47" fmla="*/ 46 h 75"/>
                    <a:gd name="T48" fmla="*/ 318 w 607"/>
                    <a:gd name="T49" fmla="*/ 65 h 75"/>
                    <a:gd name="T50" fmla="*/ 248 w 607"/>
                    <a:gd name="T51" fmla="*/ 9 h 75"/>
                    <a:gd name="T52" fmla="*/ 220 w 607"/>
                    <a:gd name="T53" fmla="*/ 9 h 75"/>
                    <a:gd name="T54" fmla="*/ 210 w 607"/>
                    <a:gd name="T55" fmla="*/ 65 h 75"/>
                    <a:gd name="T56" fmla="*/ 258 w 607"/>
                    <a:gd name="T57" fmla="*/ 65 h 75"/>
                    <a:gd name="T58" fmla="*/ 220 w 607"/>
                    <a:gd name="T59" fmla="*/ 0 h 75"/>
                    <a:gd name="T60" fmla="*/ 145 w 607"/>
                    <a:gd name="T61" fmla="*/ 0 h 75"/>
                    <a:gd name="T62" fmla="*/ 159 w 607"/>
                    <a:gd name="T63" fmla="*/ 9 h 75"/>
                    <a:gd name="T64" fmla="*/ 140 w 607"/>
                    <a:gd name="T65" fmla="*/ 70 h 75"/>
                    <a:gd name="T66" fmla="*/ 188 w 607"/>
                    <a:gd name="T67" fmla="*/ 70 h 75"/>
                    <a:gd name="T68" fmla="*/ 178 w 607"/>
                    <a:gd name="T69" fmla="*/ 46 h 75"/>
                    <a:gd name="T70" fmla="*/ 99 w 607"/>
                    <a:gd name="T71" fmla="*/ 65 h 75"/>
                    <a:gd name="T72" fmla="*/ 70 w 607"/>
                    <a:gd name="T73" fmla="*/ 4 h 75"/>
                    <a:gd name="T74" fmla="*/ 89 w 607"/>
                    <a:gd name="T75" fmla="*/ 65 h 75"/>
                    <a:gd name="T76" fmla="*/ 75 w 607"/>
                    <a:gd name="T77" fmla="*/ 75 h 75"/>
                    <a:gd name="T78" fmla="*/ 118 w 607"/>
                    <a:gd name="T79" fmla="*/ 46 h 75"/>
                    <a:gd name="T80" fmla="*/ 108 w 607"/>
                    <a:gd name="T81" fmla="*/ 65 h 75"/>
                    <a:gd name="T82" fmla="*/ 29 w 607"/>
                    <a:gd name="T83" fmla="*/ 0 h 75"/>
                    <a:gd name="T84" fmla="*/ 5 w 607"/>
                    <a:gd name="T85" fmla="*/ 9 h 75"/>
                    <a:gd name="T86" fmla="*/ 5 w 607"/>
                    <a:gd name="T87" fmla="*/ 65 h 75"/>
                    <a:gd name="T88" fmla="*/ 43 w 607"/>
                    <a:gd name="T89" fmla="*/ 75 h 75"/>
                    <a:gd name="T90" fmla="*/ 43 w 607"/>
                    <a:gd name="T91" fmla="*/ 41 h 75"/>
                    <a:gd name="T92" fmla="*/ 29 w 607"/>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5">
                      <a:moveTo>
                        <a:pt x="569" y="9"/>
                      </a:moveTo>
                      <a:cubicBezTo>
                        <a:pt x="597" y="9"/>
                        <a:pt x="597" y="9"/>
                        <a:pt x="597" y="9"/>
                      </a:cubicBezTo>
                      <a:cubicBezTo>
                        <a:pt x="597" y="65"/>
                        <a:pt x="597" y="65"/>
                        <a:pt x="597" y="65"/>
                      </a:cubicBezTo>
                      <a:cubicBezTo>
                        <a:pt x="569" y="65"/>
                        <a:pt x="569" y="65"/>
                        <a:pt x="569" y="65"/>
                      </a:cubicBezTo>
                      <a:lnTo>
                        <a:pt x="569" y="9"/>
                      </a:lnTo>
                      <a:close/>
                      <a:moveTo>
                        <a:pt x="569" y="0"/>
                      </a:moveTo>
                      <a:cubicBezTo>
                        <a:pt x="563" y="0"/>
                        <a:pt x="559" y="4"/>
                        <a:pt x="559" y="9"/>
                      </a:cubicBezTo>
                      <a:cubicBezTo>
                        <a:pt x="559" y="65"/>
                        <a:pt x="559" y="65"/>
                        <a:pt x="559" y="65"/>
                      </a:cubicBezTo>
                      <a:cubicBezTo>
                        <a:pt x="559" y="71"/>
                        <a:pt x="563" y="75"/>
                        <a:pt x="569" y="75"/>
                      </a:cubicBezTo>
                      <a:cubicBezTo>
                        <a:pt x="597" y="75"/>
                        <a:pt x="597" y="75"/>
                        <a:pt x="597" y="75"/>
                      </a:cubicBezTo>
                      <a:cubicBezTo>
                        <a:pt x="603" y="75"/>
                        <a:pt x="607" y="71"/>
                        <a:pt x="607" y="65"/>
                      </a:cubicBezTo>
                      <a:cubicBezTo>
                        <a:pt x="607" y="9"/>
                        <a:pt x="607" y="9"/>
                        <a:pt x="607" y="9"/>
                      </a:cubicBezTo>
                      <a:cubicBezTo>
                        <a:pt x="607" y="4"/>
                        <a:pt x="602" y="0"/>
                        <a:pt x="597" y="0"/>
                      </a:cubicBezTo>
                      <a:lnTo>
                        <a:pt x="569" y="0"/>
                      </a:lnTo>
                      <a:close/>
                      <a:moveTo>
                        <a:pt x="518" y="65"/>
                      </a:moveTo>
                      <a:cubicBezTo>
                        <a:pt x="518" y="0"/>
                        <a:pt x="518" y="0"/>
                        <a:pt x="518" y="0"/>
                      </a:cubicBezTo>
                      <a:cubicBezTo>
                        <a:pt x="494" y="0"/>
                        <a:pt x="494" y="0"/>
                        <a:pt x="494" y="0"/>
                      </a:cubicBezTo>
                      <a:cubicBezTo>
                        <a:pt x="491" y="0"/>
                        <a:pt x="489" y="1"/>
                        <a:pt x="489" y="4"/>
                      </a:cubicBezTo>
                      <a:cubicBezTo>
                        <a:pt x="489" y="8"/>
                        <a:pt x="491" y="9"/>
                        <a:pt x="494" y="9"/>
                      </a:cubicBezTo>
                      <a:cubicBezTo>
                        <a:pt x="508" y="9"/>
                        <a:pt x="508" y="9"/>
                        <a:pt x="508" y="9"/>
                      </a:cubicBezTo>
                      <a:cubicBezTo>
                        <a:pt x="508" y="65"/>
                        <a:pt x="508" y="65"/>
                        <a:pt x="508" y="65"/>
                      </a:cubicBezTo>
                      <a:cubicBezTo>
                        <a:pt x="494" y="65"/>
                        <a:pt x="494" y="65"/>
                        <a:pt x="494" y="65"/>
                      </a:cubicBezTo>
                      <a:cubicBezTo>
                        <a:pt x="491" y="65"/>
                        <a:pt x="489" y="67"/>
                        <a:pt x="489" y="70"/>
                      </a:cubicBezTo>
                      <a:cubicBezTo>
                        <a:pt x="489" y="74"/>
                        <a:pt x="491" y="75"/>
                        <a:pt x="494" y="75"/>
                      </a:cubicBezTo>
                      <a:cubicBezTo>
                        <a:pt x="532" y="75"/>
                        <a:pt x="532" y="75"/>
                        <a:pt x="532" y="75"/>
                      </a:cubicBezTo>
                      <a:cubicBezTo>
                        <a:pt x="535" y="75"/>
                        <a:pt x="537" y="74"/>
                        <a:pt x="537" y="70"/>
                      </a:cubicBezTo>
                      <a:cubicBezTo>
                        <a:pt x="537" y="46"/>
                        <a:pt x="537" y="46"/>
                        <a:pt x="537" y="46"/>
                      </a:cubicBezTo>
                      <a:cubicBezTo>
                        <a:pt x="537" y="43"/>
                        <a:pt x="536" y="41"/>
                        <a:pt x="532" y="41"/>
                      </a:cubicBezTo>
                      <a:cubicBezTo>
                        <a:pt x="528" y="41"/>
                        <a:pt x="527" y="43"/>
                        <a:pt x="527" y="46"/>
                      </a:cubicBezTo>
                      <a:cubicBezTo>
                        <a:pt x="527" y="65"/>
                        <a:pt x="527" y="65"/>
                        <a:pt x="527" y="65"/>
                      </a:cubicBezTo>
                      <a:lnTo>
                        <a:pt x="518" y="65"/>
                      </a:lnTo>
                      <a:close/>
                      <a:moveTo>
                        <a:pt x="429" y="9"/>
                      </a:moveTo>
                      <a:cubicBezTo>
                        <a:pt x="457" y="9"/>
                        <a:pt x="457" y="9"/>
                        <a:pt x="457" y="9"/>
                      </a:cubicBezTo>
                      <a:cubicBezTo>
                        <a:pt x="457" y="65"/>
                        <a:pt x="457" y="65"/>
                        <a:pt x="457" y="65"/>
                      </a:cubicBezTo>
                      <a:cubicBezTo>
                        <a:pt x="429" y="65"/>
                        <a:pt x="429" y="65"/>
                        <a:pt x="429" y="65"/>
                      </a:cubicBezTo>
                      <a:lnTo>
                        <a:pt x="429" y="9"/>
                      </a:lnTo>
                      <a:close/>
                      <a:moveTo>
                        <a:pt x="429" y="0"/>
                      </a:moveTo>
                      <a:cubicBezTo>
                        <a:pt x="424" y="0"/>
                        <a:pt x="419" y="4"/>
                        <a:pt x="419" y="9"/>
                      </a:cubicBezTo>
                      <a:cubicBezTo>
                        <a:pt x="419" y="65"/>
                        <a:pt x="419" y="65"/>
                        <a:pt x="419" y="65"/>
                      </a:cubicBezTo>
                      <a:cubicBezTo>
                        <a:pt x="419" y="71"/>
                        <a:pt x="423" y="75"/>
                        <a:pt x="429" y="75"/>
                      </a:cubicBezTo>
                      <a:cubicBezTo>
                        <a:pt x="457" y="75"/>
                        <a:pt x="457" y="75"/>
                        <a:pt x="457" y="75"/>
                      </a:cubicBezTo>
                      <a:cubicBezTo>
                        <a:pt x="463" y="75"/>
                        <a:pt x="467" y="71"/>
                        <a:pt x="467" y="65"/>
                      </a:cubicBezTo>
                      <a:cubicBezTo>
                        <a:pt x="467" y="9"/>
                        <a:pt x="467" y="9"/>
                        <a:pt x="467" y="9"/>
                      </a:cubicBezTo>
                      <a:cubicBezTo>
                        <a:pt x="467" y="4"/>
                        <a:pt x="463" y="0"/>
                        <a:pt x="457" y="0"/>
                      </a:cubicBezTo>
                      <a:lnTo>
                        <a:pt x="429" y="0"/>
                      </a:lnTo>
                      <a:close/>
                      <a:moveTo>
                        <a:pt x="359" y="9"/>
                      </a:moveTo>
                      <a:cubicBezTo>
                        <a:pt x="388" y="9"/>
                        <a:pt x="388" y="9"/>
                        <a:pt x="388" y="9"/>
                      </a:cubicBezTo>
                      <a:cubicBezTo>
                        <a:pt x="388" y="65"/>
                        <a:pt x="388" y="65"/>
                        <a:pt x="388" y="65"/>
                      </a:cubicBezTo>
                      <a:cubicBezTo>
                        <a:pt x="359" y="65"/>
                        <a:pt x="359" y="65"/>
                        <a:pt x="359" y="65"/>
                      </a:cubicBezTo>
                      <a:lnTo>
                        <a:pt x="359" y="9"/>
                      </a:lnTo>
                      <a:close/>
                      <a:moveTo>
                        <a:pt x="359" y="0"/>
                      </a:moveTo>
                      <a:cubicBezTo>
                        <a:pt x="354" y="0"/>
                        <a:pt x="349" y="4"/>
                        <a:pt x="349" y="9"/>
                      </a:cubicBezTo>
                      <a:cubicBezTo>
                        <a:pt x="349" y="65"/>
                        <a:pt x="349" y="65"/>
                        <a:pt x="349" y="65"/>
                      </a:cubicBezTo>
                      <a:cubicBezTo>
                        <a:pt x="349" y="71"/>
                        <a:pt x="354" y="75"/>
                        <a:pt x="359" y="75"/>
                      </a:cubicBezTo>
                      <a:cubicBezTo>
                        <a:pt x="388" y="75"/>
                        <a:pt x="388" y="75"/>
                        <a:pt x="388" y="75"/>
                      </a:cubicBezTo>
                      <a:cubicBezTo>
                        <a:pt x="393" y="75"/>
                        <a:pt x="397" y="71"/>
                        <a:pt x="397" y="65"/>
                      </a:cubicBezTo>
                      <a:cubicBezTo>
                        <a:pt x="397" y="9"/>
                        <a:pt x="397" y="9"/>
                        <a:pt x="397" y="9"/>
                      </a:cubicBezTo>
                      <a:cubicBezTo>
                        <a:pt x="397" y="4"/>
                        <a:pt x="393" y="0"/>
                        <a:pt x="388" y="0"/>
                      </a:cubicBezTo>
                      <a:lnTo>
                        <a:pt x="359" y="0"/>
                      </a:lnTo>
                      <a:close/>
                      <a:moveTo>
                        <a:pt x="308" y="65"/>
                      </a:moveTo>
                      <a:cubicBezTo>
                        <a:pt x="308" y="0"/>
                        <a:pt x="308" y="0"/>
                        <a:pt x="308" y="0"/>
                      </a:cubicBezTo>
                      <a:cubicBezTo>
                        <a:pt x="284" y="0"/>
                        <a:pt x="284" y="0"/>
                        <a:pt x="284" y="0"/>
                      </a:cubicBezTo>
                      <a:cubicBezTo>
                        <a:pt x="282" y="0"/>
                        <a:pt x="280" y="1"/>
                        <a:pt x="280" y="4"/>
                      </a:cubicBezTo>
                      <a:cubicBezTo>
                        <a:pt x="280" y="8"/>
                        <a:pt x="282" y="9"/>
                        <a:pt x="284" y="9"/>
                      </a:cubicBezTo>
                      <a:cubicBezTo>
                        <a:pt x="299" y="9"/>
                        <a:pt x="299" y="9"/>
                        <a:pt x="299" y="9"/>
                      </a:cubicBezTo>
                      <a:cubicBezTo>
                        <a:pt x="299" y="65"/>
                        <a:pt x="299" y="65"/>
                        <a:pt x="299" y="65"/>
                      </a:cubicBezTo>
                      <a:cubicBezTo>
                        <a:pt x="284" y="65"/>
                        <a:pt x="284" y="65"/>
                        <a:pt x="284" y="65"/>
                      </a:cubicBezTo>
                      <a:cubicBezTo>
                        <a:pt x="282" y="65"/>
                        <a:pt x="280" y="67"/>
                        <a:pt x="280" y="70"/>
                      </a:cubicBezTo>
                      <a:cubicBezTo>
                        <a:pt x="280" y="74"/>
                        <a:pt x="282" y="75"/>
                        <a:pt x="284" y="75"/>
                      </a:cubicBezTo>
                      <a:cubicBezTo>
                        <a:pt x="323" y="75"/>
                        <a:pt x="323" y="75"/>
                        <a:pt x="323" y="75"/>
                      </a:cubicBezTo>
                      <a:cubicBezTo>
                        <a:pt x="325" y="75"/>
                        <a:pt x="328" y="74"/>
                        <a:pt x="328" y="70"/>
                      </a:cubicBezTo>
                      <a:cubicBezTo>
                        <a:pt x="328" y="46"/>
                        <a:pt x="328" y="46"/>
                        <a:pt x="328" y="46"/>
                      </a:cubicBezTo>
                      <a:cubicBezTo>
                        <a:pt x="328" y="43"/>
                        <a:pt x="326" y="41"/>
                        <a:pt x="323" y="41"/>
                      </a:cubicBezTo>
                      <a:cubicBezTo>
                        <a:pt x="319" y="41"/>
                        <a:pt x="318" y="43"/>
                        <a:pt x="318" y="46"/>
                      </a:cubicBezTo>
                      <a:cubicBezTo>
                        <a:pt x="318" y="65"/>
                        <a:pt x="318" y="65"/>
                        <a:pt x="318" y="65"/>
                      </a:cubicBezTo>
                      <a:lnTo>
                        <a:pt x="308" y="65"/>
                      </a:lnTo>
                      <a:close/>
                      <a:moveTo>
                        <a:pt x="220" y="9"/>
                      </a:moveTo>
                      <a:cubicBezTo>
                        <a:pt x="248" y="9"/>
                        <a:pt x="248" y="9"/>
                        <a:pt x="248" y="9"/>
                      </a:cubicBezTo>
                      <a:cubicBezTo>
                        <a:pt x="248" y="65"/>
                        <a:pt x="248" y="65"/>
                        <a:pt x="248" y="65"/>
                      </a:cubicBezTo>
                      <a:cubicBezTo>
                        <a:pt x="220" y="65"/>
                        <a:pt x="220" y="65"/>
                        <a:pt x="220" y="65"/>
                      </a:cubicBezTo>
                      <a:lnTo>
                        <a:pt x="220" y="9"/>
                      </a:lnTo>
                      <a:close/>
                      <a:moveTo>
                        <a:pt x="220" y="0"/>
                      </a:moveTo>
                      <a:cubicBezTo>
                        <a:pt x="214" y="0"/>
                        <a:pt x="210" y="4"/>
                        <a:pt x="210" y="9"/>
                      </a:cubicBezTo>
                      <a:cubicBezTo>
                        <a:pt x="210" y="65"/>
                        <a:pt x="210" y="65"/>
                        <a:pt x="210" y="65"/>
                      </a:cubicBezTo>
                      <a:cubicBezTo>
                        <a:pt x="210" y="71"/>
                        <a:pt x="214" y="75"/>
                        <a:pt x="220" y="75"/>
                      </a:cubicBezTo>
                      <a:cubicBezTo>
                        <a:pt x="248" y="75"/>
                        <a:pt x="248" y="75"/>
                        <a:pt x="248" y="75"/>
                      </a:cubicBezTo>
                      <a:cubicBezTo>
                        <a:pt x="254" y="75"/>
                        <a:pt x="258" y="71"/>
                        <a:pt x="258" y="65"/>
                      </a:cubicBezTo>
                      <a:cubicBezTo>
                        <a:pt x="258" y="9"/>
                        <a:pt x="258" y="9"/>
                        <a:pt x="258" y="9"/>
                      </a:cubicBezTo>
                      <a:cubicBezTo>
                        <a:pt x="258" y="4"/>
                        <a:pt x="253" y="0"/>
                        <a:pt x="248" y="0"/>
                      </a:cubicBezTo>
                      <a:lnTo>
                        <a:pt x="220" y="0"/>
                      </a:lnTo>
                      <a:close/>
                      <a:moveTo>
                        <a:pt x="169" y="65"/>
                      </a:moveTo>
                      <a:cubicBezTo>
                        <a:pt x="169" y="0"/>
                        <a:pt x="169" y="0"/>
                        <a:pt x="169" y="0"/>
                      </a:cubicBezTo>
                      <a:cubicBezTo>
                        <a:pt x="145" y="0"/>
                        <a:pt x="145" y="0"/>
                        <a:pt x="145" y="0"/>
                      </a:cubicBezTo>
                      <a:cubicBezTo>
                        <a:pt x="142" y="0"/>
                        <a:pt x="140" y="1"/>
                        <a:pt x="140" y="4"/>
                      </a:cubicBezTo>
                      <a:cubicBezTo>
                        <a:pt x="140" y="8"/>
                        <a:pt x="142" y="9"/>
                        <a:pt x="145" y="9"/>
                      </a:cubicBezTo>
                      <a:cubicBezTo>
                        <a:pt x="159" y="9"/>
                        <a:pt x="159" y="9"/>
                        <a:pt x="159" y="9"/>
                      </a:cubicBezTo>
                      <a:cubicBezTo>
                        <a:pt x="159" y="65"/>
                        <a:pt x="159" y="65"/>
                        <a:pt x="159" y="65"/>
                      </a:cubicBezTo>
                      <a:cubicBezTo>
                        <a:pt x="145" y="65"/>
                        <a:pt x="145" y="65"/>
                        <a:pt x="145" y="65"/>
                      </a:cubicBezTo>
                      <a:cubicBezTo>
                        <a:pt x="142" y="65"/>
                        <a:pt x="140" y="67"/>
                        <a:pt x="140" y="70"/>
                      </a:cubicBezTo>
                      <a:cubicBezTo>
                        <a:pt x="140" y="74"/>
                        <a:pt x="142" y="75"/>
                        <a:pt x="145" y="75"/>
                      </a:cubicBezTo>
                      <a:cubicBezTo>
                        <a:pt x="183" y="75"/>
                        <a:pt x="183" y="75"/>
                        <a:pt x="183" y="75"/>
                      </a:cubicBezTo>
                      <a:cubicBezTo>
                        <a:pt x="186" y="75"/>
                        <a:pt x="188" y="74"/>
                        <a:pt x="188" y="70"/>
                      </a:cubicBezTo>
                      <a:cubicBezTo>
                        <a:pt x="188" y="46"/>
                        <a:pt x="188" y="46"/>
                        <a:pt x="188" y="46"/>
                      </a:cubicBezTo>
                      <a:cubicBezTo>
                        <a:pt x="188" y="43"/>
                        <a:pt x="187" y="41"/>
                        <a:pt x="183" y="41"/>
                      </a:cubicBezTo>
                      <a:cubicBezTo>
                        <a:pt x="180" y="41"/>
                        <a:pt x="178" y="43"/>
                        <a:pt x="178" y="46"/>
                      </a:cubicBezTo>
                      <a:cubicBezTo>
                        <a:pt x="178" y="65"/>
                        <a:pt x="178" y="65"/>
                        <a:pt x="178" y="65"/>
                      </a:cubicBezTo>
                      <a:lnTo>
                        <a:pt x="169" y="65"/>
                      </a:lnTo>
                      <a:close/>
                      <a:moveTo>
                        <a:pt x="99" y="65"/>
                      </a:moveTo>
                      <a:cubicBezTo>
                        <a:pt x="99" y="0"/>
                        <a:pt x="99" y="0"/>
                        <a:pt x="99" y="0"/>
                      </a:cubicBezTo>
                      <a:cubicBezTo>
                        <a:pt x="75" y="0"/>
                        <a:pt x="75" y="0"/>
                        <a:pt x="75" y="0"/>
                      </a:cubicBezTo>
                      <a:cubicBezTo>
                        <a:pt x="73" y="0"/>
                        <a:pt x="70" y="1"/>
                        <a:pt x="70" y="4"/>
                      </a:cubicBezTo>
                      <a:cubicBezTo>
                        <a:pt x="70" y="8"/>
                        <a:pt x="73" y="9"/>
                        <a:pt x="75" y="9"/>
                      </a:cubicBezTo>
                      <a:cubicBezTo>
                        <a:pt x="89" y="9"/>
                        <a:pt x="89" y="9"/>
                        <a:pt x="89" y="9"/>
                      </a:cubicBezTo>
                      <a:cubicBezTo>
                        <a:pt x="89" y="65"/>
                        <a:pt x="89" y="65"/>
                        <a:pt x="89" y="65"/>
                      </a:cubicBezTo>
                      <a:cubicBezTo>
                        <a:pt x="75" y="65"/>
                        <a:pt x="75" y="65"/>
                        <a:pt x="75" y="65"/>
                      </a:cubicBezTo>
                      <a:cubicBezTo>
                        <a:pt x="73" y="65"/>
                        <a:pt x="70" y="67"/>
                        <a:pt x="70" y="70"/>
                      </a:cubicBezTo>
                      <a:cubicBezTo>
                        <a:pt x="70" y="74"/>
                        <a:pt x="73" y="75"/>
                        <a:pt x="75" y="75"/>
                      </a:cubicBezTo>
                      <a:cubicBezTo>
                        <a:pt x="113" y="75"/>
                        <a:pt x="113" y="75"/>
                        <a:pt x="113" y="75"/>
                      </a:cubicBezTo>
                      <a:cubicBezTo>
                        <a:pt x="116" y="75"/>
                        <a:pt x="118" y="74"/>
                        <a:pt x="118" y="70"/>
                      </a:cubicBezTo>
                      <a:cubicBezTo>
                        <a:pt x="118" y="46"/>
                        <a:pt x="118" y="46"/>
                        <a:pt x="118" y="46"/>
                      </a:cubicBezTo>
                      <a:cubicBezTo>
                        <a:pt x="118" y="43"/>
                        <a:pt x="117" y="41"/>
                        <a:pt x="113" y="41"/>
                      </a:cubicBezTo>
                      <a:cubicBezTo>
                        <a:pt x="110" y="41"/>
                        <a:pt x="108" y="43"/>
                        <a:pt x="108" y="46"/>
                      </a:cubicBezTo>
                      <a:cubicBezTo>
                        <a:pt x="108" y="65"/>
                        <a:pt x="108" y="65"/>
                        <a:pt x="108" y="65"/>
                      </a:cubicBezTo>
                      <a:lnTo>
                        <a:pt x="99" y="65"/>
                      </a:lnTo>
                      <a:close/>
                      <a:moveTo>
                        <a:pt x="29" y="65"/>
                      </a:moveTo>
                      <a:cubicBezTo>
                        <a:pt x="29" y="0"/>
                        <a:pt x="29" y="0"/>
                        <a:pt x="29" y="0"/>
                      </a:cubicBezTo>
                      <a:cubicBezTo>
                        <a:pt x="5" y="0"/>
                        <a:pt x="5" y="0"/>
                        <a:pt x="5" y="0"/>
                      </a:cubicBezTo>
                      <a:cubicBezTo>
                        <a:pt x="3" y="0"/>
                        <a:pt x="0" y="1"/>
                        <a:pt x="0" y="4"/>
                      </a:cubicBezTo>
                      <a:cubicBezTo>
                        <a:pt x="0" y="8"/>
                        <a:pt x="3" y="9"/>
                        <a:pt x="5" y="9"/>
                      </a:cubicBezTo>
                      <a:cubicBezTo>
                        <a:pt x="20" y="9"/>
                        <a:pt x="20" y="9"/>
                        <a:pt x="20" y="9"/>
                      </a:cubicBezTo>
                      <a:cubicBezTo>
                        <a:pt x="20" y="65"/>
                        <a:pt x="20" y="65"/>
                        <a:pt x="20" y="65"/>
                      </a:cubicBezTo>
                      <a:cubicBezTo>
                        <a:pt x="5" y="65"/>
                        <a:pt x="5" y="65"/>
                        <a:pt x="5" y="65"/>
                      </a:cubicBezTo>
                      <a:cubicBezTo>
                        <a:pt x="3" y="65"/>
                        <a:pt x="0" y="67"/>
                        <a:pt x="0" y="70"/>
                      </a:cubicBezTo>
                      <a:cubicBezTo>
                        <a:pt x="0" y="74"/>
                        <a:pt x="3" y="75"/>
                        <a:pt x="5" y="75"/>
                      </a:cubicBezTo>
                      <a:cubicBezTo>
                        <a:pt x="43" y="75"/>
                        <a:pt x="43" y="75"/>
                        <a:pt x="43" y="75"/>
                      </a:cubicBezTo>
                      <a:cubicBezTo>
                        <a:pt x="46" y="75"/>
                        <a:pt x="48" y="74"/>
                        <a:pt x="48" y="70"/>
                      </a:cubicBezTo>
                      <a:cubicBezTo>
                        <a:pt x="48" y="46"/>
                        <a:pt x="48" y="46"/>
                        <a:pt x="48" y="46"/>
                      </a:cubicBezTo>
                      <a:cubicBezTo>
                        <a:pt x="48" y="43"/>
                        <a:pt x="47" y="41"/>
                        <a:pt x="43" y="41"/>
                      </a:cubicBezTo>
                      <a:cubicBezTo>
                        <a:pt x="40" y="41"/>
                        <a:pt x="39" y="43"/>
                        <a:pt x="39" y="46"/>
                      </a:cubicBezTo>
                      <a:cubicBezTo>
                        <a:pt x="39" y="65"/>
                        <a:pt x="39" y="65"/>
                        <a:pt x="39"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 name="Freeform 90">
                  <a:extLst>
                    <a:ext uri="{FF2B5EF4-FFF2-40B4-BE49-F238E27FC236}">
                      <a16:creationId xmlns:a16="http://schemas.microsoft.com/office/drawing/2014/main" id="{EB4128D1-0DCC-42C7-85A9-6631DF25512A}"/>
                    </a:ext>
                  </a:extLst>
                </p:cNvPr>
                <p:cNvSpPr>
                  <a:spLocks noEditPoints="1"/>
                </p:cNvSpPr>
                <p:nvPr/>
              </p:nvSpPr>
              <p:spPr bwMode="auto">
                <a:xfrm>
                  <a:off x="8497887" y="6848475"/>
                  <a:ext cx="257175" cy="31750"/>
                </a:xfrm>
                <a:custGeom>
                  <a:avLst/>
                  <a:gdLst>
                    <a:gd name="T0" fmla="*/ 564 w 607"/>
                    <a:gd name="T1" fmla="*/ 0 h 76"/>
                    <a:gd name="T2" fmla="*/ 578 w 607"/>
                    <a:gd name="T3" fmla="*/ 10 h 76"/>
                    <a:gd name="T4" fmla="*/ 559 w 607"/>
                    <a:gd name="T5" fmla="*/ 71 h 76"/>
                    <a:gd name="T6" fmla="*/ 607 w 607"/>
                    <a:gd name="T7" fmla="*/ 71 h 76"/>
                    <a:gd name="T8" fmla="*/ 597 w 607"/>
                    <a:gd name="T9" fmla="*/ 46 h 76"/>
                    <a:gd name="T10" fmla="*/ 518 w 607"/>
                    <a:gd name="T11" fmla="*/ 66 h 76"/>
                    <a:gd name="T12" fmla="*/ 489 w 607"/>
                    <a:gd name="T13" fmla="*/ 5 h 76"/>
                    <a:gd name="T14" fmla="*/ 508 w 607"/>
                    <a:gd name="T15" fmla="*/ 66 h 76"/>
                    <a:gd name="T16" fmla="*/ 494 w 607"/>
                    <a:gd name="T17" fmla="*/ 76 h 76"/>
                    <a:gd name="T18" fmla="*/ 537 w 607"/>
                    <a:gd name="T19" fmla="*/ 46 h 76"/>
                    <a:gd name="T20" fmla="*/ 527 w 607"/>
                    <a:gd name="T21" fmla="*/ 66 h 76"/>
                    <a:gd name="T22" fmla="*/ 457 w 607"/>
                    <a:gd name="T23" fmla="*/ 10 h 76"/>
                    <a:gd name="T24" fmla="*/ 429 w 607"/>
                    <a:gd name="T25" fmla="*/ 10 h 76"/>
                    <a:gd name="T26" fmla="*/ 419 w 607"/>
                    <a:gd name="T27" fmla="*/ 66 h 76"/>
                    <a:gd name="T28" fmla="*/ 467 w 607"/>
                    <a:gd name="T29" fmla="*/ 66 h 76"/>
                    <a:gd name="T30" fmla="*/ 429 w 607"/>
                    <a:gd name="T31" fmla="*/ 0 h 76"/>
                    <a:gd name="T32" fmla="*/ 354 w 607"/>
                    <a:gd name="T33" fmla="*/ 0 h 76"/>
                    <a:gd name="T34" fmla="*/ 369 w 607"/>
                    <a:gd name="T35" fmla="*/ 10 h 76"/>
                    <a:gd name="T36" fmla="*/ 349 w 607"/>
                    <a:gd name="T37" fmla="*/ 71 h 76"/>
                    <a:gd name="T38" fmla="*/ 397 w 607"/>
                    <a:gd name="T39" fmla="*/ 71 h 76"/>
                    <a:gd name="T40" fmla="*/ 388 w 607"/>
                    <a:gd name="T41" fmla="*/ 46 h 76"/>
                    <a:gd name="T42" fmla="*/ 289 w 607"/>
                    <a:gd name="T43" fmla="*/ 10 h 76"/>
                    <a:gd name="T44" fmla="*/ 289 w 607"/>
                    <a:gd name="T45" fmla="*/ 66 h 76"/>
                    <a:gd name="T46" fmla="*/ 280 w 607"/>
                    <a:gd name="T47" fmla="*/ 10 h 76"/>
                    <a:gd name="T48" fmla="*/ 318 w 607"/>
                    <a:gd name="T49" fmla="*/ 76 h 76"/>
                    <a:gd name="T50" fmla="*/ 318 w 607"/>
                    <a:gd name="T51" fmla="*/ 0 h 76"/>
                    <a:gd name="T52" fmla="*/ 239 w 607"/>
                    <a:gd name="T53" fmla="*/ 0 h 76"/>
                    <a:gd name="T54" fmla="*/ 215 w 607"/>
                    <a:gd name="T55" fmla="*/ 10 h 76"/>
                    <a:gd name="T56" fmla="*/ 215 w 607"/>
                    <a:gd name="T57" fmla="*/ 66 h 76"/>
                    <a:gd name="T58" fmla="*/ 253 w 607"/>
                    <a:gd name="T59" fmla="*/ 76 h 76"/>
                    <a:gd name="T60" fmla="*/ 253 w 607"/>
                    <a:gd name="T61" fmla="*/ 41 h 76"/>
                    <a:gd name="T62" fmla="*/ 239 w 607"/>
                    <a:gd name="T63" fmla="*/ 66 h 76"/>
                    <a:gd name="T64" fmla="*/ 178 w 607"/>
                    <a:gd name="T65" fmla="*/ 66 h 76"/>
                    <a:gd name="T66" fmla="*/ 150 w 607"/>
                    <a:gd name="T67" fmla="*/ 0 h 76"/>
                    <a:gd name="T68" fmla="*/ 150 w 607"/>
                    <a:gd name="T69" fmla="*/ 76 h 76"/>
                    <a:gd name="T70" fmla="*/ 188 w 607"/>
                    <a:gd name="T71" fmla="*/ 10 h 76"/>
                    <a:gd name="T72" fmla="*/ 80 w 607"/>
                    <a:gd name="T73" fmla="*/ 10 h 76"/>
                    <a:gd name="T74" fmla="*/ 80 w 607"/>
                    <a:gd name="T75" fmla="*/ 66 h 76"/>
                    <a:gd name="T76" fmla="*/ 70 w 607"/>
                    <a:gd name="T77" fmla="*/ 10 h 76"/>
                    <a:gd name="T78" fmla="*/ 108 w 607"/>
                    <a:gd name="T79" fmla="*/ 76 h 76"/>
                    <a:gd name="T80" fmla="*/ 108 w 607"/>
                    <a:gd name="T81" fmla="*/ 0 h 76"/>
                    <a:gd name="T82" fmla="*/ 29 w 607"/>
                    <a:gd name="T83" fmla="*/ 0 h 76"/>
                    <a:gd name="T84" fmla="*/ 5 w 607"/>
                    <a:gd name="T85" fmla="*/ 10 h 76"/>
                    <a:gd name="T86" fmla="*/ 5 w 607"/>
                    <a:gd name="T87" fmla="*/ 66 h 76"/>
                    <a:gd name="T88" fmla="*/ 43 w 607"/>
                    <a:gd name="T89" fmla="*/ 76 h 76"/>
                    <a:gd name="T90" fmla="*/ 43 w 607"/>
                    <a:gd name="T91" fmla="*/ 41 h 76"/>
                    <a:gd name="T92" fmla="*/ 29 w 607"/>
                    <a:gd name="T93"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6">
                      <a:moveTo>
                        <a:pt x="588" y="66"/>
                      </a:moveTo>
                      <a:cubicBezTo>
                        <a:pt x="588" y="0"/>
                        <a:pt x="588" y="0"/>
                        <a:pt x="588" y="0"/>
                      </a:cubicBezTo>
                      <a:cubicBezTo>
                        <a:pt x="564" y="0"/>
                        <a:pt x="564" y="0"/>
                        <a:pt x="564" y="0"/>
                      </a:cubicBezTo>
                      <a:cubicBezTo>
                        <a:pt x="561" y="0"/>
                        <a:pt x="559" y="2"/>
                        <a:pt x="559" y="5"/>
                      </a:cubicBezTo>
                      <a:cubicBezTo>
                        <a:pt x="559" y="9"/>
                        <a:pt x="561" y="10"/>
                        <a:pt x="564" y="10"/>
                      </a:cubicBezTo>
                      <a:cubicBezTo>
                        <a:pt x="578" y="10"/>
                        <a:pt x="578" y="10"/>
                        <a:pt x="578" y="10"/>
                      </a:cubicBezTo>
                      <a:cubicBezTo>
                        <a:pt x="578" y="66"/>
                        <a:pt x="578" y="66"/>
                        <a:pt x="578" y="66"/>
                      </a:cubicBezTo>
                      <a:cubicBezTo>
                        <a:pt x="564" y="66"/>
                        <a:pt x="564" y="66"/>
                        <a:pt x="564" y="66"/>
                      </a:cubicBezTo>
                      <a:cubicBezTo>
                        <a:pt x="561" y="66"/>
                        <a:pt x="559" y="67"/>
                        <a:pt x="559" y="71"/>
                      </a:cubicBezTo>
                      <a:cubicBezTo>
                        <a:pt x="559" y="74"/>
                        <a:pt x="561" y="76"/>
                        <a:pt x="564" y="76"/>
                      </a:cubicBezTo>
                      <a:cubicBezTo>
                        <a:pt x="602" y="76"/>
                        <a:pt x="602" y="76"/>
                        <a:pt x="602" y="76"/>
                      </a:cubicBezTo>
                      <a:cubicBezTo>
                        <a:pt x="604" y="76"/>
                        <a:pt x="607" y="74"/>
                        <a:pt x="607" y="71"/>
                      </a:cubicBezTo>
                      <a:cubicBezTo>
                        <a:pt x="607" y="46"/>
                        <a:pt x="607" y="46"/>
                        <a:pt x="607" y="46"/>
                      </a:cubicBezTo>
                      <a:cubicBezTo>
                        <a:pt x="607" y="44"/>
                        <a:pt x="605" y="41"/>
                        <a:pt x="602" y="41"/>
                      </a:cubicBezTo>
                      <a:cubicBezTo>
                        <a:pt x="598" y="41"/>
                        <a:pt x="597" y="44"/>
                        <a:pt x="597" y="46"/>
                      </a:cubicBezTo>
                      <a:cubicBezTo>
                        <a:pt x="597" y="66"/>
                        <a:pt x="597" y="66"/>
                        <a:pt x="597" y="66"/>
                      </a:cubicBezTo>
                      <a:lnTo>
                        <a:pt x="588" y="66"/>
                      </a:lnTo>
                      <a:close/>
                      <a:moveTo>
                        <a:pt x="518" y="66"/>
                      </a:moveTo>
                      <a:cubicBezTo>
                        <a:pt x="518" y="0"/>
                        <a:pt x="518" y="0"/>
                        <a:pt x="518" y="0"/>
                      </a:cubicBezTo>
                      <a:cubicBezTo>
                        <a:pt x="494" y="0"/>
                        <a:pt x="494" y="0"/>
                        <a:pt x="494" y="0"/>
                      </a:cubicBezTo>
                      <a:cubicBezTo>
                        <a:pt x="491" y="0"/>
                        <a:pt x="489" y="2"/>
                        <a:pt x="489" y="5"/>
                      </a:cubicBezTo>
                      <a:cubicBezTo>
                        <a:pt x="489" y="9"/>
                        <a:pt x="491" y="10"/>
                        <a:pt x="494" y="10"/>
                      </a:cubicBezTo>
                      <a:cubicBezTo>
                        <a:pt x="508" y="10"/>
                        <a:pt x="508" y="10"/>
                        <a:pt x="508" y="10"/>
                      </a:cubicBezTo>
                      <a:cubicBezTo>
                        <a:pt x="508" y="66"/>
                        <a:pt x="508" y="66"/>
                        <a:pt x="508" y="66"/>
                      </a:cubicBezTo>
                      <a:cubicBezTo>
                        <a:pt x="494" y="66"/>
                        <a:pt x="494" y="66"/>
                        <a:pt x="494" y="66"/>
                      </a:cubicBezTo>
                      <a:cubicBezTo>
                        <a:pt x="491" y="66"/>
                        <a:pt x="489" y="67"/>
                        <a:pt x="489" y="71"/>
                      </a:cubicBezTo>
                      <a:cubicBezTo>
                        <a:pt x="489" y="74"/>
                        <a:pt x="491" y="76"/>
                        <a:pt x="494" y="76"/>
                      </a:cubicBezTo>
                      <a:cubicBezTo>
                        <a:pt x="532" y="76"/>
                        <a:pt x="532" y="76"/>
                        <a:pt x="532" y="76"/>
                      </a:cubicBezTo>
                      <a:cubicBezTo>
                        <a:pt x="535" y="76"/>
                        <a:pt x="537" y="74"/>
                        <a:pt x="537" y="71"/>
                      </a:cubicBezTo>
                      <a:cubicBezTo>
                        <a:pt x="537" y="46"/>
                        <a:pt x="537" y="46"/>
                        <a:pt x="537" y="46"/>
                      </a:cubicBezTo>
                      <a:cubicBezTo>
                        <a:pt x="537" y="44"/>
                        <a:pt x="536" y="41"/>
                        <a:pt x="532" y="41"/>
                      </a:cubicBezTo>
                      <a:cubicBezTo>
                        <a:pt x="528" y="41"/>
                        <a:pt x="527" y="44"/>
                        <a:pt x="527" y="46"/>
                      </a:cubicBezTo>
                      <a:cubicBezTo>
                        <a:pt x="527" y="66"/>
                        <a:pt x="527" y="66"/>
                        <a:pt x="527" y="66"/>
                      </a:cubicBezTo>
                      <a:lnTo>
                        <a:pt x="518" y="66"/>
                      </a:lnTo>
                      <a:close/>
                      <a:moveTo>
                        <a:pt x="429" y="10"/>
                      </a:moveTo>
                      <a:cubicBezTo>
                        <a:pt x="457" y="10"/>
                        <a:pt x="457" y="10"/>
                        <a:pt x="457" y="10"/>
                      </a:cubicBezTo>
                      <a:cubicBezTo>
                        <a:pt x="457" y="66"/>
                        <a:pt x="457" y="66"/>
                        <a:pt x="457" y="66"/>
                      </a:cubicBezTo>
                      <a:cubicBezTo>
                        <a:pt x="429" y="66"/>
                        <a:pt x="429" y="66"/>
                        <a:pt x="429" y="66"/>
                      </a:cubicBezTo>
                      <a:lnTo>
                        <a:pt x="429" y="10"/>
                      </a:lnTo>
                      <a:close/>
                      <a:moveTo>
                        <a:pt x="429" y="0"/>
                      </a:moveTo>
                      <a:cubicBezTo>
                        <a:pt x="424" y="0"/>
                        <a:pt x="419" y="5"/>
                        <a:pt x="419" y="10"/>
                      </a:cubicBezTo>
                      <a:cubicBezTo>
                        <a:pt x="419" y="66"/>
                        <a:pt x="419" y="66"/>
                        <a:pt x="419" y="66"/>
                      </a:cubicBezTo>
                      <a:cubicBezTo>
                        <a:pt x="419" y="71"/>
                        <a:pt x="423" y="76"/>
                        <a:pt x="429" y="76"/>
                      </a:cubicBezTo>
                      <a:cubicBezTo>
                        <a:pt x="457" y="76"/>
                        <a:pt x="457" y="76"/>
                        <a:pt x="457" y="76"/>
                      </a:cubicBezTo>
                      <a:cubicBezTo>
                        <a:pt x="463" y="76"/>
                        <a:pt x="467" y="71"/>
                        <a:pt x="467" y="66"/>
                      </a:cubicBezTo>
                      <a:cubicBezTo>
                        <a:pt x="467" y="10"/>
                        <a:pt x="467" y="10"/>
                        <a:pt x="467" y="10"/>
                      </a:cubicBezTo>
                      <a:cubicBezTo>
                        <a:pt x="467" y="5"/>
                        <a:pt x="463" y="0"/>
                        <a:pt x="457" y="0"/>
                      </a:cubicBezTo>
                      <a:lnTo>
                        <a:pt x="429" y="0"/>
                      </a:lnTo>
                      <a:close/>
                      <a:moveTo>
                        <a:pt x="378" y="66"/>
                      </a:moveTo>
                      <a:cubicBezTo>
                        <a:pt x="378" y="0"/>
                        <a:pt x="378" y="0"/>
                        <a:pt x="378" y="0"/>
                      </a:cubicBezTo>
                      <a:cubicBezTo>
                        <a:pt x="354" y="0"/>
                        <a:pt x="354" y="0"/>
                        <a:pt x="354" y="0"/>
                      </a:cubicBezTo>
                      <a:cubicBezTo>
                        <a:pt x="352" y="0"/>
                        <a:pt x="349" y="2"/>
                        <a:pt x="349" y="5"/>
                      </a:cubicBezTo>
                      <a:cubicBezTo>
                        <a:pt x="349" y="9"/>
                        <a:pt x="352" y="10"/>
                        <a:pt x="354" y="10"/>
                      </a:cubicBezTo>
                      <a:cubicBezTo>
                        <a:pt x="369" y="10"/>
                        <a:pt x="369" y="10"/>
                        <a:pt x="369" y="10"/>
                      </a:cubicBezTo>
                      <a:cubicBezTo>
                        <a:pt x="369" y="66"/>
                        <a:pt x="369" y="66"/>
                        <a:pt x="369" y="66"/>
                      </a:cubicBezTo>
                      <a:cubicBezTo>
                        <a:pt x="354" y="66"/>
                        <a:pt x="354" y="66"/>
                        <a:pt x="354" y="66"/>
                      </a:cubicBezTo>
                      <a:cubicBezTo>
                        <a:pt x="352" y="66"/>
                        <a:pt x="349" y="67"/>
                        <a:pt x="349" y="71"/>
                      </a:cubicBezTo>
                      <a:cubicBezTo>
                        <a:pt x="349" y="74"/>
                        <a:pt x="352" y="76"/>
                        <a:pt x="354" y="76"/>
                      </a:cubicBezTo>
                      <a:cubicBezTo>
                        <a:pt x="392" y="76"/>
                        <a:pt x="392" y="76"/>
                        <a:pt x="392" y="76"/>
                      </a:cubicBezTo>
                      <a:cubicBezTo>
                        <a:pt x="395" y="76"/>
                        <a:pt x="397" y="74"/>
                        <a:pt x="397" y="71"/>
                      </a:cubicBezTo>
                      <a:cubicBezTo>
                        <a:pt x="397" y="46"/>
                        <a:pt x="397" y="46"/>
                        <a:pt x="397" y="46"/>
                      </a:cubicBezTo>
                      <a:cubicBezTo>
                        <a:pt x="397" y="44"/>
                        <a:pt x="396" y="41"/>
                        <a:pt x="392" y="41"/>
                      </a:cubicBezTo>
                      <a:cubicBezTo>
                        <a:pt x="389" y="41"/>
                        <a:pt x="388" y="44"/>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5"/>
                        <a:pt x="280" y="10"/>
                      </a:cubicBezTo>
                      <a:cubicBezTo>
                        <a:pt x="280" y="66"/>
                        <a:pt x="280" y="66"/>
                        <a:pt x="280" y="66"/>
                      </a:cubicBezTo>
                      <a:cubicBezTo>
                        <a:pt x="280" y="71"/>
                        <a:pt x="284" y="76"/>
                        <a:pt x="289" y="76"/>
                      </a:cubicBezTo>
                      <a:cubicBezTo>
                        <a:pt x="318" y="76"/>
                        <a:pt x="318" y="76"/>
                        <a:pt x="318" y="76"/>
                      </a:cubicBezTo>
                      <a:cubicBezTo>
                        <a:pt x="323" y="76"/>
                        <a:pt x="328" y="71"/>
                        <a:pt x="328" y="66"/>
                      </a:cubicBezTo>
                      <a:cubicBezTo>
                        <a:pt x="328" y="10"/>
                        <a:pt x="328" y="10"/>
                        <a:pt x="328" y="10"/>
                      </a:cubicBezTo>
                      <a:cubicBezTo>
                        <a:pt x="328" y="5"/>
                        <a:pt x="323" y="0"/>
                        <a:pt x="318" y="0"/>
                      </a:cubicBezTo>
                      <a:lnTo>
                        <a:pt x="289" y="0"/>
                      </a:lnTo>
                      <a:close/>
                      <a:moveTo>
                        <a:pt x="239" y="66"/>
                      </a:moveTo>
                      <a:cubicBezTo>
                        <a:pt x="239" y="0"/>
                        <a:pt x="239" y="0"/>
                        <a:pt x="239" y="0"/>
                      </a:cubicBezTo>
                      <a:cubicBezTo>
                        <a:pt x="215" y="0"/>
                        <a:pt x="215" y="0"/>
                        <a:pt x="215" y="0"/>
                      </a:cubicBezTo>
                      <a:cubicBezTo>
                        <a:pt x="212" y="0"/>
                        <a:pt x="210" y="2"/>
                        <a:pt x="210" y="5"/>
                      </a:cubicBezTo>
                      <a:cubicBezTo>
                        <a:pt x="210" y="9"/>
                        <a:pt x="212" y="10"/>
                        <a:pt x="215" y="10"/>
                      </a:cubicBezTo>
                      <a:cubicBezTo>
                        <a:pt x="229" y="10"/>
                        <a:pt x="229" y="10"/>
                        <a:pt x="229" y="10"/>
                      </a:cubicBezTo>
                      <a:cubicBezTo>
                        <a:pt x="229" y="66"/>
                        <a:pt x="229" y="66"/>
                        <a:pt x="229" y="66"/>
                      </a:cubicBezTo>
                      <a:cubicBezTo>
                        <a:pt x="215" y="66"/>
                        <a:pt x="215" y="66"/>
                        <a:pt x="215" y="66"/>
                      </a:cubicBezTo>
                      <a:cubicBezTo>
                        <a:pt x="212" y="66"/>
                        <a:pt x="210" y="67"/>
                        <a:pt x="210" y="71"/>
                      </a:cubicBezTo>
                      <a:cubicBezTo>
                        <a:pt x="210" y="74"/>
                        <a:pt x="212" y="76"/>
                        <a:pt x="215" y="76"/>
                      </a:cubicBezTo>
                      <a:cubicBezTo>
                        <a:pt x="253" y="76"/>
                        <a:pt x="253" y="76"/>
                        <a:pt x="253" y="76"/>
                      </a:cubicBezTo>
                      <a:cubicBezTo>
                        <a:pt x="255" y="76"/>
                        <a:pt x="258" y="74"/>
                        <a:pt x="258" y="71"/>
                      </a:cubicBezTo>
                      <a:cubicBezTo>
                        <a:pt x="258" y="46"/>
                        <a:pt x="258" y="46"/>
                        <a:pt x="258" y="46"/>
                      </a:cubicBezTo>
                      <a:cubicBezTo>
                        <a:pt x="258" y="44"/>
                        <a:pt x="256" y="41"/>
                        <a:pt x="253" y="41"/>
                      </a:cubicBezTo>
                      <a:cubicBezTo>
                        <a:pt x="249" y="41"/>
                        <a:pt x="248" y="44"/>
                        <a:pt x="248" y="46"/>
                      </a:cubicBezTo>
                      <a:cubicBezTo>
                        <a:pt x="248" y="66"/>
                        <a:pt x="248" y="66"/>
                        <a:pt x="248" y="66"/>
                      </a:cubicBezTo>
                      <a:lnTo>
                        <a:pt x="239" y="66"/>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5"/>
                        <a:pt x="140" y="10"/>
                      </a:cubicBezTo>
                      <a:cubicBezTo>
                        <a:pt x="140" y="66"/>
                        <a:pt x="140" y="66"/>
                        <a:pt x="140" y="66"/>
                      </a:cubicBezTo>
                      <a:cubicBezTo>
                        <a:pt x="140" y="71"/>
                        <a:pt x="144" y="76"/>
                        <a:pt x="150" y="76"/>
                      </a:cubicBezTo>
                      <a:cubicBezTo>
                        <a:pt x="178" y="76"/>
                        <a:pt x="178" y="76"/>
                        <a:pt x="178" y="76"/>
                      </a:cubicBezTo>
                      <a:cubicBezTo>
                        <a:pt x="184" y="76"/>
                        <a:pt x="188" y="71"/>
                        <a:pt x="188" y="66"/>
                      </a:cubicBezTo>
                      <a:cubicBezTo>
                        <a:pt x="188" y="10"/>
                        <a:pt x="188" y="10"/>
                        <a:pt x="188" y="10"/>
                      </a:cubicBezTo>
                      <a:cubicBezTo>
                        <a:pt x="188" y="5"/>
                        <a:pt x="184" y="0"/>
                        <a:pt x="178" y="0"/>
                      </a:cubicBezTo>
                      <a:lnTo>
                        <a:pt x="150" y="0"/>
                      </a:lnTo>
                      <a:close/>
                      <a:moveTo>
                        <a:pt x="80" y="10"/>
                      </a:moveTo>
                      <a:cubicBezTo>
                        <a:pt x="108" y="10"/>
                        <a:pt x="108" y="10"/>
                        <a:pt x="108" y="10"/>
                      </a:cubicBezTo>
                      <a:cubicBezTo>
                        <a:pt x="108" y="66"/>
                        <a:pt x="108" y="66"/>
                        <a:pt x="108" y="66"/>
                      </a:cubicBezTo>
                      <a:cubicBezTo>
                        <a:pt x="80" y="66"/>
                        <a:pt x="80" y="66"/>
                        <a:pt x="80" y="66"/>
                      </a:cubicBezTo>
                      <a:lnTo>
                        <a:pt x="80" y="10"/>
                      </a:lnTo>
                      <a:close/>
                      <a:moveTo>
                        <a:pt x="80" y="0"/>
                      </a:moveTo>
                      <a:cubicBezTo>
                        <a:pt x="75" y="0"/>
                        <a:pt x="70" y="5"/>
                        <a:pt x="70" y="10"/>
                      </a:cubicBezTo>
                      <a:cubicBezTo>
                        <a:pt x="70" y="66"/>
                        <a:pt x="70" y="66"/>
                        <a:pt x="70" y="66"/>
                      </a:cubicBezTo>
                      <a:cubicBezTo>
                        <a:pt x="70" y="71"/>
                        <a:pt x="74" y="76"/>
                        <a:pt x="80" y="76"/>
                      </a:cubicBezTo>
                      <a:cubicBezTo>
                        <a:pt x="108" y="76"/>
                        <a:pt x="108" y="76"/>
                        <a:pt x="108" y="76"/>
                      </a:cubicBezTo>
                      <a:cubicBezTo>
                        <a:pt x="114" y="76"/>
                        <a:pt x="118" y="71"/>
                        <a:pt x="118" y="66"/>
                      </a:cubicBezTo>
                      <a:cubicBezTo>
                        <a:pt x="118" y="10"/>
                        <a:pt x="118" y="10"/>
                        <a:pt x="118" y="10"/>
                      </a:cubicBezTo>
                      <a:cubicBezTo>
                        <a:pt x="118" y="5"/>
                        <a:pt x="114" y="0"/>
                        <a:pt x="108" y="0"/>
                      </a:cubicBezTo>
                      <a:lnTo>
                        <a:pt x="80" y="0"/>
                      </a:lnTo>
                      <a:close/>
                      <a:moveTo>
                        <a:pt x="29" y="66"/>
                      </a:moveTo>
                      <a:cubicBezTo>
                        <a:pt x="29" y="0"/>
                        <a:pt x="29" y="0"/>
                        <a:pt x="29" y="0"/>
                      </a:cubicBezTo>
                      <a:cubicBezTo>
                        <a:pt x="5" y="0"/>
                        <a:pt x="5" y="0"/>
                        <a:pt x="5" y="0"/>
                      </a:cubicBezTo>
                      <a:cubicBezTo>
                        <a:pt x="3" y="0"/>
                        <a:pt x="0" y="2"/>
                        <a:pt x="0" y="5"/>
                      </a:cubicBezTo>
                      <a:cubicBezTo>
                        <a:pt x="0" y="9"/>
                        <a:pt x="3" y="10"/>
                        <a:pt x="5" y="10"/>
                      </a:cubicBezTo>
                      <a:cubicBezTo>
                        <a:pt x="20" y="10"/>
                        <a:pt x="20" y="10"/>
                        <a:pt x="20" y="10"/>
                      </a:cubicBezTo>
                      <a:cubicBezTo>
                        <a:pt x="20" y="66"/>
                        <a:pt x="20" y="66"/>
                        <a:pt x="20" y="66"/>
                      </a:cubicBezTo>
                      <a:cubicBezTo>
                        <a:pt x="5" y="66"/>
                        <a:pt x="5" y="66"/>
                        <a:pt x="5" y="66"/>
                      </a:cubicBezTo>
                      <a:cubicBezTo>
                        <a:pt x="3" y="66"/>
                        <a:pt x="0" y="67"/>
                        <a:pt x="0" y="71"/>
                      </a:cubicBezTo>
                      <a:cubicBezTo>
                        <a:pt x="0" y="74"/>
                        <a:pt x="3" y="76"/>
                        <a:pt x="5" y="76"/>
                      </a:cubicBezTo>
                      <a:cubicBezTo>
                        <a:pt x="43" y="76"/>
                        <a:pt x="43" y="76"/>
                        <a:pt x="43" y="76"/>
                      </a:cubicBezTo>
                      <a:cubicBezTo>
                        <a:pt x="46" y="76"/>
                        <a:pt x="48" y="74"/>
                        <a:pt x="48" y="71"/>
                      </a:cubicBezTo>
                      <a:cubicBezTo>
                        <a:pt x="48" y="46"/>
                        <a:pt x="48" y="46"/>
                        <a:pt x="48" y="46"/>
                      </a:cubicBezTo>
                      <a:cubicBezTo>
                        <a:pt x="48" y="44"/>
                        <a:pt x="47" y="41"/>
                        <a:pt x="43" y="41"/>
                      </a:cubicBezTo>
                      <a:cubicBezTo>
                        <a:pt x="40" y="41"/>
                        <a:pt x="39" y="44"/>
                        <a:pt x="39" y="46"/>
                      </a:cubicBezTo>
                      <a:cubicBezTo>
                        <a:pt x="39" y="66"/>
                        <a:pt x="39" y="66"/>
                        <a:pt x="39"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9" name="Rectangle 74">
                  <a:extLst>
                    <a:ext uri="{FF2B5EF4-FFF2-40B4-BE49-F238E27FC236}">
                      <a16:creationId xmlns:a16="http://schemas.microsoft.com/office/drawing/2014/main" id="{8843DE0C-7471-4862-8578-AE0B2D2D384A}"/>
                    </a:ext>
                  </a:extLst>
                </p:cNvPr>
                <p:cNvSpPr>
                  <a:spLocks noChangeArrowheads="1"/>
                </p:cNvSpPr>
                <p:nvPr/>
              </p:nvSpPr>
              <p:spPr bwMode="auto">
                <a:xfrm>
                  <a:off x="8519421" y="7196933"/>
                  <a:ext cx="14288" cy="28575"/>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0" name="Rectangle 74">
                  <a:extLst>
                    <a:ext uri="{FF2B5EF4-FFF2-40B4-BE49-F238E27FC236}">
                      <a16:creationId xmlns:a16="http://schemas.microsoft.com/office/drawing/2014/main" id="{D2901A8B-BFE9-4865-9BE8-B6EA9DA9C769}"/>
                    </a:ext>
                  </a:extLst>
                </p:cNvPr>
                <p:cNvSpPr>
                  <a:spLocks noChangeArrowheads="1"/>
                </p:cNvSpPr>
                <p:nvPr/>
              </p:nvSpPr>
              <p:spPr bwMode="auto">
                <a:xfrm>
                  <a:off x="8858628" y="7314449"/>
                  <a:ext cx="14288" cy="28575"/>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89" name="Rectangle: Rounded Corners 388">
              <a:extLst>
                <a:ext uri="{FF2B5EF4-FFF2-40B4-BE49-F238E27FC236}">
                  <a16:creationId xmlns:a16="http://schemas.microsoft.com/office/drawing/2014/main" id="{F6CF33BE-65B3-4085-AC15-139319D3DA93}"/>
                </a:ext>
              </a:extLst>
            </p:cNvPr>
            <p:cNvSpPr/>
            <p:nvPr/>
          </p:nvSpPr>
          <p:spPr bwMode="auto">
            <a:xfrm>
              <a:off x="5103159" y="4142404"/>
              <a:ext cx="190948" cy="559166"/>
            </a:xfrm>
            <a:custGeom>
              <a:avLst/>
              <a:gdLst>
                <a:gd name="connsiteX0" fmla="*/ 0 w 229139"/>
                <a:gd name="connsiteY0" fmla="*/ 38191 h 559166"/>
                <a:gd name="connsiteX1" fmla="*/ 38191 w 229139"/>
                <a:gd name="connsiteY1" fmla="*/ 0 h 559166"/>
                <a:gd name="connsiteX2" fmla="*/ 190948 w 229139"/>
                <a:gd name="connsiteY2" fmla="*/ 0 h 559166"/>
                <a:gd name="connsiteX3" fmla="*/ 229139 w 229139"/>
                <a:gd name="connsiteY3" fmla="*/ 38191 h 559166"/>
                <a:gd name="connsiteX4" fmla="*/ 229139 w 229139"/>
                <a:gd name="connsiteY4" fmla="*/ 520975 h 559166"/>
                <a:gd name="connsiteX5" fmla="*/ 190948 w 229139"/>
                <a:gd name="connsiteY5" fmla="*/ 559166 h 559166"/>
                <a:gd name="connsiteX6" fmla="*/ 38191 w 229139"/>
                <a:gd name="connsiteY6" fmla="*/ 559166 h 559166"/>
                <a:gd name="connsiteX7" fmla="*/ 0 w 229139"/>
                <a:gd name="connsiteY7" fmla="*/ 520975 h 559166"/>
                <a:gd name="connsiteX8" fmla="*/ 0 w 229139"/>
                <a:gd name="connsiteY8" fmla="*/ 38191 h 559166"/>
                <a:gd name="connsiteX0" fmla="*/ 229139 w 320579"/>
                <a:gd name="connsiteY0" fmla="*/ 38191 h 559166"/>
                <a:gd name="connsiteX1" fmla="*/ 229139 w 320579"/>
                <a:gd name="connsiteY1" fmla="*/ 520975 h 559166"/>
                <a:gd name="connsiteX2" fmla="*/ 190948 w 320579"/>
                <a:gd name="connsiteY2" fmla="*/ 559166 h 559166"/>
                <a:gd name="connsiteX3" fmla="*/ 38191 w 320579"/>
                <a:gd name="connsiteY3" fmla="*/ 559166 h 559166"/>
                <a:gd name="connsiteX4" fmla="*/ 0 w 320579"/>
                <a:gd name="connsiteY4" fmla="*/ 520975 h 559166"/>
                <a:gd name="connsiteX5" fmla="*/ 0 w 320579"/>
                <a:gd name="connsiteY5" fmla="*/ 38191 h 559166"/>
                <a:gd name="connsiteX6" fmla="*/ 38191 w 320579"/>
                <a:gd name="connsiteY6" fmla="*/ 0 h 559166"/>
                <a:gd name="connsiteX7" fmla="*/ 190948 w 320579"/>
                <a:gd name="connsiteY7" fmla="*/ 0 h 559166"/>
                <a:gd name="connsiteX8" fmla="*/ 320579 w 320579"/>
                <a:gd name="connsiteY8" fmla="*/ 129631 h 559166"/>
                <a:gd name="connsiteX0" fmla="*/ 229139 w 320579"/>
                <a:gd name="connsiteY0" fmla="*/ 520975 h 559166"/>
                <a:gd name="connsiteX1" fmla="*/ 190948 w 320579"/>
                <a:gd name="connsiteY1" fmla="*/ 559166 h 559166"/>
                <a:gd name="connsiteX2" fmla="*/ 38191 w 320579"/>
                <a:gd name="connsiteY2" fmla="*/ 559166 h 559166"/>
                <a:gd name="connsiteX3" fmla="*/ 0 w 320579"/>
                <a:gd name="connsiteY3" fmla="*/ 520975 h 559166"/>
                <a:gd name="connsiteX4" fmla="*/ 0 w 320579"/>
                <a:gd name="connsiteY4" fmla="*/ 38191 h 559166"/>
                <a:gd name="connsiteX5" fmla="*/ 38191 w 320579"/>
                <a:gd name="connsiteY5" fmla="*/ 0 h 559166"/>
                <a:gd name="connsiteX6" fmla="*/ 190948 w 320579"/>
                <a:gd name="connsiteY6" fmla="*/ 0 h 559166"/>
                <a:gd name="connsiteX7" fmla="*/ 320579 w 320579"/>
                <a:gd name="connsiteY7" fmla="*/ 129631 h 559166"/>
                <a:gd name="connsiteX0" fmla="*/ 229139 w 229139"/>
                <a:gd name="connsiteY0" fmla="*/ 520975 h 559166"/>
                <a:gd name="connsiteX1" fmla="*/ 190948 w 229139"/>
                <a:gd name="connsiteY1" fmla="*/ 559166 h 559166"/>
                <a:gd name="connsiteX2" fmla="*/ 38191 w 229139"/>
                <a:gd name="connsiteY2" fmla="*/ 559166 h 559166"/>
                <a:gd name="connsiteX3" fmla="*/ 0 w 229139"/>
                <a:gd name="connsiteY3" fmla="*/ 520975 h 559166"/>
                <a:gd name="connsiteX4" fmla="*/ 0 w 229139"/>
                <a:gd name="connsiteY4" fmla="*/ 38191 h 559166"/>
                <a:gd name="connsiteX5" fmla="*/ 38191 w 229139"/>
                <a:gd name="connsiteY5" fmla="*/ 0 h 559166"/>
                <a:gd name="connsiteX6" fmla="*/ 190948 w 229139"/>
                <a:gd name="connsiteY6" fmla="*/ 0 h 559166"/>
                <a:gd name="connsiteX0" fmla="*/ 190948 w 190948"/>
                <a:gd name="connsiteY0" fmla="*/ 559166 h 559166"/>
                <a:gd name="connsiteX1" fmla="*/ 38191 w 190948"/>
                <a:gd name="connsiteY1" fmla="*/ 559166 h 559166"/>
                <a:gd name="connsiteX2" fmla="*/ 0 w 190948"/>
                <a:gd name="connsiteY2" fmla="*/ 520975 h 559166"/>
                <a:gd name="connsiteX3" fmla="*/ 0 w 190948"/>
                <a:gd name="connsiteY3" fmla="*/ 38191 h 559166"/>
                <a:gd name="connsiteX4" fmla="*/ 38191 w 190948"/>
                <a:gd name="connsiteY4" fmla="*/ 0 h 559166"/>
                <a:gd name="connsiteX5" fmla="*/ 190948 w 190948"/>
                <a:gd name="connsiteY5" fmla="*/ 0 h 559166"/>
                <a:gd name="connsiteX0" fmla="*/ 190948 w 190948"/>
                <a:gd name="connsiteY0" fmla="*/ 559166 h 559166"/>
                <a:gd name="connsiteX1" fmla="*/ 38191 w 190948"/>
                <a:gd name="connsiteY1" fmla="*/ 559166 h 559166"/>
                <a:gd name="connsiteX2" fmla="*/ 0 w 190948"/>
                <a:gd name="connsiteY2" fmla="*/ 520975 h 559166"/>
                <a:gd name="connsiteX3" fmla="*/ 0 w 190948"/>
                <a:gd name="connsiteY3" fmla="*/ 38191 h 559166"/>
                <a:gd name="connsiteX4" fmla="*/ 38191 w 190948"/>
                <a:gd name="connsiteY4" fmla="*/ 0 h 559166"/>
                <a:gd name="connsiteX5" fmla="*/ 159992 w 190948"/>
                <a:gd name="connsiteY5" fmla="*/ 0 h 559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948" h="559166">
                  <a:moveTo>
                    <a:pt x="190948" y="559166"/>
                  </a:moveTo>
                  <a:lnTo>
                    <a:pt x="38191" y="559166"/>
                  </a:lnTo>
                  <a:cubicBezTo>
                    <a:pt x="17099" y="559166"/>
                    <a:pt x="0" y="542067"/>
                    <a:pt x="0" y="520975"/>
                  </a:cubicBezTo>
                  <a:lnTo>
                    <a:pt x="0" y="38191"/>
                  </a:lnTo>
                  <a:cubicBezTo>
                    <a:pt x="0" y="17099"/>
                    <a:pt x="17099" y="0"/>
                    <a:pt x="38191" y="0"/>
                  </a:cubicBezTo>
                  <a:lnTo>
                    <a:pt x="159992" y="0"/>
                  </a:lnTo>
                </a:path>
              </a:pathLst>
            </a:custGeom>
            <a:no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54" name="Rectangle: Rounded Corners 753">
              <a:extLst>
                <a:ext uri="{FF2B5EF4-FFF2-40B4-BE49-F238E27FC236}">
                  <a16:creationId xmlns:a16="http://schemas.microsoft.com/office/drawing/2014/main" id="{68295FF5-BE67-470A-87B4-7E381FBD7E08}"/>
                </a:ext>
              </a:extLst>
            </p:cNvPr>
            <p:cNvSpPr/>
            <p:nvPr/>
          </p:nvSpPr>
          <p:spPr bwMode="auto">
            <a:xfrm flipH="1">
              <a:off x="5685601" y="4290029"/>
              <a:ext cx="190948" cy="449560"/>
            </a:xfrm>
            <a:custGeom>
              <a:avLst/>
              <a:gdLst>
                <a:gd name="connsiteX0" fmla="*/ 0 w 229139"/>
                <a:gd name="connsiteY0" fmla="*/ 38191 h 371805"/>
                <a:gd name="connsiteX1" fmla="*/ 38191 w 229139"/>
                <a:gd name="connsiteY1" fmla="*/ 0 h 371805"/>
                <a:gd name="connsiteX2" fmla="*/ 190948 w 229139"/>
                <a:gd name="connsiteY2" fmla="*/ 0 h 371805"/>
                <a:gd name="connsiteX3" fmla="*/ 229139 w 229139"/>
                <a:gd name="connsiteY3" fmla="*/ 38191 h 371805"/>
                <a:gd name="connsiteX4" fmla="*/ 229139 w 229139"/>
                <a:gd name="connsiteY4" fmla="*/ 333614 h 371805"/>
                <a:gd name="connsiteX5" fmla="*/ 190948 w 229139"/>
                <a:gd name="connsiteY5" fmla="*/ 371805 h 371805"/>
                <a:gd name="connsiteX6" fmla="*/ 38191 w 229139"/>
                <a:gd name="connsiteY6" fmla="*/ 371805 h 371805"/>
                <a:gd name="connsiteX7" fmla="*/ 0 w 229139"/>
                <a:gd name="connsiteY7" fmla="*/ 333614 h 371805"/>
                <a:gd name="connsiteX8" fmla="*/ 0 w 229139"/>
                <a:gd name="connsiteY8" fmla="*/ 38191 h 371805"/>
                <a:gd name="connsiteX0" fmla="*/ 229139 w 320579"/>
                <a:gd name="connsiteY0" fmla="*/ 38191 h 371805"/>
                <a:gd name="connsiteX1" fmla="*/ 229139 w 320579"/>
                <a:gd name="connsiteY1" fmla="*/ 333614 h 371805"/>
                <a:gd name="connsiteX2" fmla="*/ 190948 w 320579"/>
                <a:gd name="connsiteY2" fmla="*/ 371805 h 371805"/>
                <a:gd name="connsiteX3" fmla="*/ 38191 w 320579"/>
                <a:gd name="connsiteY3" fmla="*/ 371805 h 371805"/>
                <a:gd name="connsiteX4" fmla="*/ 0 w 320579"/>
                <a:gd name="connsiteY4" fmla="*/ 333614 h 371805"/>
                <a:gd name="connsiteX5" fmla="*/ 0 w 320579"/>
                <a:gd name="connsiteY5" fmla="*/ 38191 h 371805"/>
                <a:gd name="connsiteX6" fmla="*/ 38191 w 320579"/>
                <a:gd name="connsiteY6" fmla="*/ 0 h 371805"/>
                <a:gd name="connsiteX7" fmla="*/ 190948 w 320579"/>
                <a:gd name="connsiteY7" fmla="*/ 0 h 371805"/>
                <a:gd name="connsiteX8" fmla="*/ 320579 w 320579"/>
                <a:gd name="connsiteY8" fmla="*/ 129631 h 371805"/>
                <a:gd name="connsiteX0" fmla="*/ 229139 w 320579"/>
                <a:gd name="connsiteY0" fmla="*/ 333614 h 371805"/>
                <a:gd name="connsiteX1" fmla="*/ 190948 w 320579"/>
                <a:gd name="connsiteY1" fmla="*/ 371805 h 371805"/>
                <a:gd name="connsiteX2" fmla="*/ 38191 w 320579"/>
                <a:gd name="connsiteY2" fmla="*/ 371805 h 371805"/>
                <a:gd name="connsiteX3" fmla="*/ 0 w 320579"/>
                <a:gd name="connsiteY3" fmla="*/ 333614 h 371805"/>
                <a:gd name="connsiteX4" fmla="*/ 0 w 320579"/>
                <a:gd name="connsiteY4" fmla="*/ 38191 h 371805"/>
                <a:gd name="connsiteX5" fmla="*/ 38191 w 320579"/>
                <a:gd name="connsiteY5" fmla="*/ 0 h 371805"/>
                <a:gd name="connsiteX6" fmla="*/ 190948 w 320579"/>
                <a:gd name="connsiteY6" fmla="*/ 0 h 371805"/>
                <a:gd name="connsiteX7" fmla="*/ 320579 w 320579"/>
                <a:gd name="connsiteY7" fmla="*/ 129631 h 371805"/>
                <a:gd name="connsiteX0" fmla="*/ 229139 w 229139"/>
                <a:gd name="connsiteY0" fmla="*/ 333614 h 371805"/>
                <a:gd name="connsiteX1" fmla="*/ 190948 w 229139"/>
                <a:gd name="connsiteY1" fmla="*/ 371805 h 371805"/>
                <a:gd name="connsiteX2" fmla="*/ 38191 w 229139"/>
                <a:gd name="connsiteY2" fmla="*/ 371805 h 371805"/>
                <a:gd name="connsiteX3" fmla="*/ 0 w 229139"/>
                <a:gd name="connsiteY3" fmla="*/ 333614 h 371805"/>
                <a:gd name="connsiteX4" fmla="*/ 0 w 229139"/>
                <a:gd name="connsiteY4" fmla="*/ 38191 h 371805"/>
                <a:gd name="connsiteX5" fmla="*/ 38191 w 229139"/>
                <a:gd name="connsiteY5" fmla="*/ 0 h 371805"/>
                <a:gd name="connsiteX6" fmla="*/ 190948 w 229139"/>
                <a:gd name="connsiteY6" fmla="*/ 0 h 371805"/>
                <a:gd name="connsiteX0" fmla="*/ 190948 w 190948"/>
                <a:gd name="connsiteY0" fmla="*/ 371805 h 371805"/>
                <a:gd name="connsiteX1" fmla="*/ 38191 w 190948"/>
                <a:gd name="connsiteY1" fmla="*/ 371805 h 371805"/>
                <a:gd name="connsiteX2" fmla="*/ 0 w 190948"/>
                <a:gd name="connsiteY2" fmla="*/ 333614 h 371805"/>
                <a:gd name="connsiteX3" fmla="*/ 0 w 190948"/>
                <a:gd name="connsiteY3" fmla="*/ 38191 h 371805"/>
                <a:gd name="connsiteX4" fmla="*/ 38191 w 190948"/>
                <a:gd name="connsiteY4" fmla="*/ 0 h 371805"/>
                <a:gd name="connsiteX5" fmla="*/ 190948 w 190948"/>
                <a:gd name="connsiteY5" fmla="*/ 0 h 37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948" h="371805">
                  <a:moveTo>
                    <a:pt x="190948" y="371805"/>
                  </a:moveTo>
                  <a:lnTo>
                    <a:pt x="38191" y="371805"/>
                  </a:lnTo>
                  <a:cubicBezTo>
                    <a:pt x="17099" y="371805"/>
                    <a:pt x="0" y="354706"/>
                    <a:pt x="0" y="333614"/>
                  </a:cubicBezTo>
                  <a:lnTo>
                    <a:pt x="0" y="38191"/>
                  </a:lnTo>
                  <a:cubicBezTo>
                    <a:pt x="0" y="17099"/>
                    <a:pt x="17099" y="0"/>
                    <a:pt x="38191" y="0"/>
                  </a:cubicBezTo>
                  <a:lnTo>
                    <a:pt x="190948" y="0"/>
                  </a:lnTo>
                </a:path>
              </a:pathLst>
            </a:custGeom>
            <a:no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96" name="Group 153">
              <a:extLst>
                <a:ext uri="{FF2B5EF4-FFF2-40B4-BE49-F238E27FC236}">
                  <a16:creationId xmlns:a16="http://schemas.microsoft.com/office/drawing/2014/main" id="{AC533515-335E-437D-BDB2-F62EA3A88FC5}"/>
                </a:ext>
              </a:extLst>
            </p:cNvPr>
            <p:cNvGrpSpPr>
              <a:grpSpLocks noChangeAspect="1"/>
            </p:cNvGrpSpPr>
            <p:nvPr/>
          </p:nvGrpSpPr>
          <p:grpSpPr bwMode="auto">
            <a:xfrm>
              <a:off x="5254535" y="4499832"/>
              <a:ext cx="449878" cy="449560"/>
              <a:chOff x="2501" y="790"/>
              <a:chExt cx="2832" cy="2830"/>
            </a:xfrm>
          </p:grpSpPr>
          <p:sp>
            <p:nvSpPr>
              <p:cNvPr id="697" name="Oval 154">
                <a:extLst>
                  <a:ext uri="{FF2B5EF4-FFF2-40B4-BE49-F238E27FC236}">
                    <a16:creationId xmlns:a16="http://schemas.microsoft.com/office/drawing/2014/main" id="{B969563D-D656-4880-9B14-3A43D36FBB39}"/>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8" name="Freeform 155">
                <a:extLst>
                  <a:ext uri="{FF2B5EF4-FFF2-40B4-BE49-F238E27FC236}">
                    <a16:creationId xmlns:a16="http://schemas.microsoft.com/office/drawing/2014/main" id="{4EE65DE5-8EAB-4263-8F88-A8CDD4968DAE}"/>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9" name="Freeform 156">
                <a:extLst>
                  <a:ext uri="{FF2B5EF4-FFF2-40B4-BE49-F238E27FC236}">
                    <a16:creationId xmlns:a16="http://schemas.microsoft.com/office/drawing/2014/main" id="{1FDA5935-4654-4AED-93EF-FB22C434962A}"/>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0" name="Freeform 157">
                <a:extLst>
                  <a:ext uri="{FF2B5EF4-FFF2-40B4-BE49-F238E27FC236}">
                    <a16:creationId xmlns:a16="http://schemas.microsoft.com/office/drawing/2014/main" id="{33878289-874F-4230-BA18-16E6F0E92425}"/>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1" name="Freeform 158">
                <a:extLst>
                  <a:ext uri="{FF2B5EF4-FFF2-40B4-BE49-F238E27FC236}">
                    <a16:creationId xmlns:a16="http://schemas.microsoft.com/office/drawing/2014/main" id="{77B61C3E-BCBB-4B2A-977C-DF4C80EBFD19}"/>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2" name="Freeform 159">
                <a:extLst>
                  <a:ext uri="{FF2B5EF4-FFF2-40B4-BE49-F238E27FC236}">
                    <a16:creationId xmlns:a16="http://schemas.microsoft.com/office/drawing/2014/main" id="{F533E6E2-8876-4DEC-A29E-767F66704488}"/>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3" name="Freeform 160">
                <a:extLst>
                  <a:ext uri="{FF2B5EF4-FFF2-40B4-BE49-F238E27FC236}">
                    <a16:creationId xmlns:a16="http://schemas.microsoft.com/office/drawing/2014/main" id="{2DDEE976-600F-43BD-9C59-D60E230E733C}"/>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4" name="Freeform 161">
                <a:extLst>
                  <a:ext uri="{FF2B5EF4-FFF2-40B4-BE49-F238E27FC236}">
                    <a16:creationId xmlns:a16="http://schemas.microsoft.com/office/drawing/2014/main" id="{89D319A4-D8BD-41B7-8FF3-897224EF83CF}"/>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5" name="Freeform 162">
                <a:extLst>
                  <a:ext uri="{FF2B5EF4-FFF2-40B4-BE49-F238E27FC236}">
                    <a16:creationId xmlns:a16="http://schemas.microsoft.com/office/drawing/2014/main" id="{43B8A3EA-D887-4769-B441-2DB375926F7F}"/>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6" name="Freeform 163">
                <a:extLst>
                  <a:ext uri="{FF2B5EF4-FFF2-40B4-BE49-F238E27FC236}">
                    <a16:creationId xmlns:a16="http://schemas.microsoft.com/office/drawing/2014/main" id="{5424167C-A13E-4414-A102-2DB27DDE34B2}"/>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7" name="Freeform 164">
                <a:extLst>
                  <a:ext uri="{FF2B5EF4-FFF2-40B4-BE49-F238E27FC236}">
                    <a16:creationId xmlns:a16="http://schemas.microsoft.com/office/drawing/2014/main" id="{A1121DD6-65F8-47A7-BC06-9841A15CCCE2}"/>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8" name="Oval 165">
                <a:extLst>
                  <a:ext uri="{FF2B5EF4-FFF2-40B4-BE49-F238E27FC236}">
                    <a16:creationId xmlns:a16="http://schemas.microsoft.com/office/drawing/2014/main" id="{122F58E1-6636-4B19-AFF8-5679B0D8D1EE}"/>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9" name="Oval 166">
                <a:extLst>
                  <a:ext uri="{FF2B5EF4-FFF2-40B4-BE49-F238E27FC236}">
                    <a16:creationId xmlns:a16="http://schemas.microsoft.com/office/drawing/2014/main" id="{80E6C6D7-BB8A-454F-A30B-2D9E2997A04E}"/>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0" name="Freeform 167">
                <a:extLst>
                  <a:ext uri="{FF2B5EF4-FFF2-40B4-BE49-F238E27FC236}">
                    <a16:creationId xmlns:a16="http://schemas.microsoft.com/office/drawing/2014/main" id="{5F0C3D79-37B5-475A-BE85-358A71464AAE}"/>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1" name="Freeform 168">
                <a:extLst>
                  <a:ext uri="{FF2B5EF4-FFF2-40B4-BE49-F238E27FC236}">
                    <a16:creationId xmlns:a16="http://schemas.microsoft.com/office/drawing/2014/main" id="{2748A672-4E84-4442-BAA4-00E5B7FA8F7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2" name="Freeform 169">
                <a:extLst>
                  <a:ext uri="{FF2B5EF4-FFF2-40B4-BE49-F238E27FC236}">
                    <a16:creationId xmlns:a16="http://schemas.microsoft.com/office/drawing/2014/main" id="{C5483CEA-5D0F-41F8-A40E-FC1C2CD86BC0}"/>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3" name="Freeform 170">
                <a:extLst>
                  <a:ext uri="{FF2B5EF4-FFF2-40B4-BE49-F238E27FC236}">
                    <a16:creationId xmlns:a16="http://schemas.microsoft.com/office/drawing/2014/main" id="{804E98F2-1544-40E2-B958-9D784B9F1DF3}"/>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4" name="Freeform 171">
                <a:extLst>
                  <a:ext uri="{FF2B5EF4-FFF2-40B4-BE49-F238E27FC236}">
                    <a16:creationId xmlns:a16="http://schemas.microsoft.com/office/drawing/2014/main" id="{CF0296CD-5845-4B08-A90C-E7E2E4100E91}"/>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5" name="Freeform 172">
                <a:extLst>
                  <a:ext uri="{FF2B5EF4-FFF2-40B4-BE49-F238E27FC236}">
                    <a16:creationId xmlns:a16="http://schemas.microsoft.com/office/drawing/2014/main" id="{B1EFBD63-262F-49C0-A601-7A67882D81DE}"/>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6" name="Freeform 173">
                <a:extLst>
                  <a:ext uri="{FF2B5EF4-FFF2-40B4-BE49-F238E27FC236}">
                    <a16:creationId xmlns:a16="http://schemas.microsoft.com/office/drawing/2014/main" id="{C2396E6C-88B6-41F7-B47A-52E58D673ADB}"/>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 name="Freeform 174">
                <a:extLst>
                  <a:ext uri="{FF2B5EF4-FFF2-40B4-BE49-F238E27FC236}">
                    <a16:creationId xmlns:a16="http://schemas.microsoft.com/office/drawing/2014/main" id="{E5C10B78-269B-4D71-AAE7-293D6FB8E5DA}"/>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15" name="Group 414">
            <a:extLst>
              <a:ext uri="{FF2B5EF4-FFF2-40B4-BE49-F238E27FC236}">
                <a16:creationId xmlns:a16="http://schemas.microsoft.com/office/drawing/2014/main" id="{C3F198AE-3C9F-408D-B5B3-8958D0CEFA83}"/>
              </a:ext>
            </a:extLst>
          </p:cNvPr>
          <p:cNvGrpSpPr/>
          <p:nvPr/>
        </p:nvGrpSpPr>
        <p:grpSpPr>
          <a:xfrm>
            <a:off x="4153583" y="3687990"/>
            <a:ext cx="1104730" cy="1689763"/>
            <a:chOff x="6485640" y="3640814"/>
            <a:chExt cx="854978" cy="1307749"/>
          </a:xfrm>
        </p:grpSpPr>
        <p:sp>
          <p:nvSpPr>
            <p:cNvPr id="381" name="Rectangle: Rounded Corners 380">
              <a:extLst>
                <a:ext uri="{FF2B5EF4-FFF2-40B4-BE49-F238E27FC236}">
                  <a16:creationId xmlns:a16="http://schemas.microsoft.com/office/drawing/2014/main" id="{1BF5DF8E-A18B-4A8D-8074-9B17DACBB5FA}"/>
                </a:ext>
              </a:extLst>
            </p:cNvPr>
            <p:cNvSpPr/>
            <p:nvPr/>
          </p:nvSpPr>
          <p:spPr bwMode="auto">
            <a:xfrm>
              <a:off x="6485640" y="3867150"/>
              <a:ext cx="245291" cy="874972"/>
            </a:xfrm>
            <a:custGeom>
              <a:avLst/>
              <a:gdLst>
                <a:gd name="connsiteX0" fmla="*/ 0 w 294350"/>
                <a:gd name="connsiteY0" fmla="*/ 49059 h 874972"/>
                <a:gd name="connsiteX1" fmla="*/ 49059 w 294350"/>
                <a:gd name="connsiteY1" fmla="*/ 0 h 874972"/>
                <a:gd name="connsiteX2" fmla="*/ 245291 w 294350"/>
                <a:gd name="connsiteY2" fmla="*/ 0 h 874972"/>
                <a:gd name="connsiteX3" fmla="*/ 294350 w 294350"/>
                <a:gd name="connsiteY3" fmla="*/ 49059 h 874972"/>
                <a:gd name="connsiteX4" fmla="*/ 294350 w 294350"/>
                <a:gd name="connsiteY4" fmla="*/ 825913 h 874972"/>
                <a:gd name="connsiteX5" fmla="*/ 245291 w 294350"/>
                <a:gd name="connsiteY5" fmla="*/ 874972 h 874972"/>
                <a:gd name="connsiteX6" fmla="*/ 49059 w 294350"/>
                <a:gd name="connsiteY6" fmla="*/ 874972 h 874972"/>
                <a:gd name="connsiteX7" fmla="*/ 0 w 294350"/>
                <a:gd name="connsiteY7" fmla="*/ 825913 h 874972"/>
                <a:gd name="connsiteX8" fmla="*/ 0 w 294350"/>
                <a:gd name="connsiteY8" fmla="*/ 49059 h 874972"/>
                <a:gd name="connsiteX0" fmla="*/ 294350 w 385790"/>
                <a:gd name="connsiteY0" fmla="*/ 49059 h 874972"/>
                <a:gd name="connsiteX1" fmla="*/ 294350 w 385790"/>
                <a:gd name="connsiteY1" fmla="*/ 825913 h 874972"/>
                <a:gd name="connsiteX2" fmla="*/ 245291 w 385790"/>
                <a:gd name="connsiteY2" fmla="*/ 874972 h 874972"/>
                <a:gd name="connsiteX3" fmla="*/ 49059 w 385790"/>
                <a:gd name="connsiteY3" fmla="*/ 874972 h 874972"/>
                <a:gd name="connsiteX4" fmla="*/ 0 w 385790"/>
                <a:gd name="connsiteY4" fmla="*/ 825913 h 874972"/>
                <a:gd name="connsiteX5" fmla="*/ 0 w 385790"/>
                <a:gd name="connsiteY5" fmla="*/ 49059 h 874972"/>
                <a:gd name="connsiteX6" fmla="*/ 49059 w 385790"/>
                <a:gd name="connsiteY6" fmla="*/ 0 h 874972"/>
                <a:gd name="connsiteX7" fmla="*/ 245291 w 385790"/>
                <a:gd name="connsiteY7" fmla="*/ 0 h 874972"/>
                <a:gd name="connsiteX8" fmla="*/ 385790 w 385790"/>
                <a:gd name="connsiteY8" fmla="*/ 140499 h 874972"/>
                <a:gd name="connsiteX0" fmla="*/ 294350 w 385790"/>
                <a:gd name="connsiteY0" fmla="*/ 825913 h 874972"/>
                <a:gd name="connsiteX1" fmla="*/ 245291 w 385790"/>
                <a:gd name="connsiteY1" fmla="*/ 874972 h 874972"/>
                <a:gd name="connsiteX2" fmla="*/ 49059 w 385790"/>
                <a:gd name="connsiteY2" fmla="*/ 874972 h 874972"/>
                <a:gd name="connsiteX3" fmla="*/ 0 w 385790"/>
                <a:gd name="connsiteY3" fmla="*/ 825913 h 874972"/>
                <a:gd name="connsiteX4" fmla="*/ 0 w 385790"/>
                <a:gd name="connsiteY4" fmla="*/ 49059 h 874972"/>
                <a:gd name="connsiteX5" fmla="*/ 49059 w 385790"/>
                <a:gd name="connsiteY5" fmla="*/ 0 h 874972"/>
                <a:gd name="connsiteX6" fmla="*/ 245291 w 385790"/>
                <a:gd name="connsiteY6" fmla="*/ 0 h 874972"/>
                <a:gd name="connsiteX7" fmla="*/ 385790 w 385790"/>
                <a:gd name="connsiteY7" fmla="*/ 140499 h 874972"/>
                <a:gd name="connsiteX0" fmla="*/ 294350 w 294350"/>
                <a:gd name="connsiteY0" fmla="*/ 825913 h 874972"/>
                <a:gd name="connsiteX1" fmla="*/ 245291 w 294350"/>
                <a:gd name="connsiteY1" fmla="*/ 874972 h 874972"/>
                <a:gd name="connsiteX2" fmla="*/ 49059 w 294350"/>
                <a:gd name="connsiteY2" fmla="*/ 874972 h 874972"/>
                <a:gd name="connsiteX3" fmla="*/ 0 w 294350"/>
                <a:gd name="connsiteY3" fmla="*/ 825913 h 874972"/>
                <a:gd name="connsiteX4" fmla="*/ 0 w 294350"/>
                <a:gd name="connsiteY4" fmla="*/ 49059 h 874972"/>
                <a:gd name="connsiteX5" fmla="*/ 49059 w 294350"/>
                <a:gd name="connsiteY5" fmla="*/ 0 h 874972"/>
                <a:gd name="connsiteX6" fmla="*/ 245291 w 294350"/>
                <a:gd name="connsiteY6" fmla="*/ 0 h 874972"/>
                <a:gd name="connsiteX0" fmla="*/ 245291 w 245291"/>
                <a:gd name="connsiteY0" fmla="*/ 874972 h 874972"/>
                <a:gd name="connsiteX1" fmla="*/ 49059 w 245291"/>
                <a:gd name="connsiteY1" fmla="*/ 874972 h 874972"/>
                <a:gd name="connsiteX2" fmla="*/ 0 w 245291"/>
                <a:gd name="connsiteY2" fmla="*/ 825913 h 874972"/>
                <a:gd name="connsiteX3" fmla="*/ 0 w 245291"/>
                <a:gd name="connsiteY3" fmla="*/ 49059 h 874972"/>
                <a:gd name="connsiteX4" fmla="*/ 49059 w 245291"/>
                <a:gd name="connsiteY4" fmla="*/ 0 h 874972"/>
                <a:gd name="connsiteX5" fmla="*/ 245291 w 245291"/>
                <a:gd name="connsiteY5" fmla="*/ 0 h 87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291" h="874972">
                  <a:moveTo>
                    <a:pt x="245291" y="874972"/>
                  </a:moveTo>
                  <a:lnTo>
                    <a:pt x="49059" y="874972"/>
                  </a:lnTo>
                  <a:cubicBezTo>
                    <a:pt x="21964" y="874972"/>
                    <a:pt x="0" y="853008"/>
                    <a:pt x="0" y="825913"/>
                  </a:cubicBezTo>
                  <a:lnTo>
                    <a:pt x="0" y="49059"/>
                  </a:lnTo>
                  <a:cubicBezTo>
                    <a:pt x="0" y="21964"/>
                    <a:pt x="21964" y="0"/>
                    <a:pt x="49059" y="0"/>
                  </a:cubicBezTo>
                  <a:lnTo>
                    <a:pt x="245291" y="0"/>
                  </a:lnTo>
                </a:path>
              </a:pathLst>
            </a:custGeom>
            <a:no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39" name="Group 738">
              <a:extLst>
                <a:ext uri="{FF2B5EF4-FFF2-40B4-BE49-F238E27FC236}">
                  <a16:creationId xmlns:a16="http://schemas.microsoft.com/office/drawing/2014/main" id="{87CE12AB-8796-4639-9963-141503768B9D}"/>
                </a:ext>
              </a:extLst>
            </p:cNvPr>
            <p:cNvGrpSpPr/>
            <p:nvPr/>
          </p:nvGrpSpPr>
          <p:grpSpPr>
            <a:xfrm>
              <a:off x="6615245" y="3640814"/>
              <a:ext cx="682082" cy="708010"/>
              <a:chOff x="8428037" y="6810375"/>
              <a:chExt cx="542925" cy="563563"/>
            </a:xfrm>
          </p:grpSpPr>
          <p:sp>
            <p:nvSpPr>
              <p:cNvPr id="740" name="Freeform 64">
                <a:extLst>
                  <a:ext uri="{FF2B5EF4-FFF2-40B4-BE49-F238E27FC236}">
                    <a16:creationId xmlns:a16="http://schemas.microsoft.com/office/drawing/2014/main" id="{0576B7E6-EF5D-466D-B3B0-29B5F2BF4B7F}"/>
                  </a:ext>
                </a:extLst>
              </p:cNvPr>
              <p:cNvSpPr>
                <a:spLocks/>
              </p:cNvSpPr>
              <p:nvPr/>
            </p:nvSpPr>
            <p:spPr bwMode="auto">
              <a:xfrm>
                <a:off x="8428037" y="7113588"/>
                <a:ext cx="384175" cy="192087"/>
              </a:xfrm>
              <a:custGeom>
                <a:avLst/>
                <a:gdLst>
                  <a:gd name="T0" fmla="*/ 879 w 908"/>
                  <a:gd name="T1" fmla="*/ 454 h 454"/>
                  <a:gd name="T2" fmla="*/ 908 w 908"/>
                  <a:gd name="T3" fmla="*/ 352 h 454"/>
                  <a:gd name="T4" fmla="*/ 720 w 908"/>
                  <a:gd name="T5" fmla="*/ 164 h 454"/>
                  <a:gd name="T6" fmla="*/ 668 w 908"/>
                  <a:gd name="T7" fmla="*/ 172 h 454"/>
                  <a:gd name="T8" fmla="*/ 413 w 908"/>
                  <a:gd name="T9" fmla="*/ 0 h 454"/>
                  <a:gd name="T10" fmla="*/ 138 w 908"/>
                  <a:gd name="T11" fmla="*/ 259 h 454"/>
                  <a:gd name="T12" fmla="*/ 0 w 908"/>
                  <a:gd name="T13" fmla="*/ 402 h 454"/>
                  <a:gd name="T14" fmla="*/ 9 w 908"/>
                  <a:gd name="T15" fmla="*/ 454 h 454"/>
                  <a:gd name="T16" fmla="*/ 879 w 908"/>
                  <a:gd name="T17"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454">
                    <a:moveTo>
                      <a:pt x="879" y="454"/>
                    </a:moveTo>
                    <a:cubicBezTo>
                      <a:pt x="897" y="424"/>
                      <a:pt x="908" y="390"/>
                      <a:pt x="908" y="352"/>
                    </a:cubicBezTo>
                    <a:cubicBezTo>
                      <a:pt x="908" y="248"/>
                      <a:pt x="824" y="164"/>
                      <a:pt x="720" y="164"/>
                    </a:cubicBezTo>
                    <a:cubicBezTo>
                      <a:pt x="702" y="164"/>
                      <a:pt x="684" y="167"/>
                      <a:pt x="668" y="172"/>
                    </a:cubicBezTo>
                    <a:cubicBezTo>
                      <a:pt x="627" y="71"/>
                      <a:pt x="528" y="0"/>
                      <a:pt x="413" y="0"/>
                    </a:cubicBezTo>
                    <a:cubicBezTo>
                      <a:pt x="266" y="0"/>
                      <a:pt x="147" y="115"/>
                      <a:pt x="138" y="259"/>
                    </a:cubicBezTo>
                    <a:cubicBezTo>
                      <a:pt x="61" y="261"/>
                      <a:pt x="0" y="324"/>
                      <a:pt x="0" y="402"/>
                    </a:cubicBezTo>
                    <a:cubicBezTo>
                      <a:pt x="0" y="420"/>
                      <a:pt x="3" y="437"/>
                      <a:pt x="9" y="454"/>
                    </a:cubicBezTo>
                    <a:lnTo>
                      <a:pt x="879" y="454"/>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1" name="Freeform 73">
                <a:extLst>
                  <a:ext uri="{FF2B5EF4-FFF2-40B4-BE49-F238E27FC236}">
                    <a16:creationId xmlns:a16="http://schemas.microsoft.com/office/drawing/2014/main" id="{2A5B1DD6-39AE-43BA-9197-CDDC13FCF60C}"/>
                  </a:ext>
                </a:extLst>
              </p:cNvPr>
              <p:cNvSpPr>
                <a:spLocks/>
              </p:cNvSpPr>
              <p:nvPr/>
            </p:nvSpPr>
            <p:spPr bwMode="auto">
              <a:xfrm>
                <a:off x="8488362" y="7135052"/>
                <a:ext cx="482600" cy="238886"/>
              </a:xfrm>
              <a:custGeom>
                <a:avLst/>
                <a:gdLst>
                  <a:gd name="T0" fmla="*/ 724 w 749"/>
                  <a:gd name="T1" fmla="*/ 373 h 373"/>
                  <a:gd name="T2" fmla="*/ 749 w 749"/>
                  <a:gd name="T3" fmla="*/ 290 h 373"/>
                  <a:gd name="T4" fmla="*/ 594 w 749"/>
                  <a:gd name="T5" fmla="*/ 135 h 373"/>
                  <a:gd name="T6" fmla="*/ 550 w 749"/>
                  <a:gd name="T7" fmla="*/ 141 h 373"/>
                  <a:gd name="T8" fmla="*/ 340 w 749"/>
                  <a:gd name="T9" fmla="*/ 0 h 373"/>
                  <a:gd name="T10" fmla="*/ 114 w 749"/>
                  <a:gd name="T11" fmla="*/ 213 h 373"/>
                  <a:gd name="T12" fmla="*/ 0 w 749"/>
                  <a:gd name="T13" fmla="*/ 330 h 373"/>
                  <a:gd name="T14" fmla="*/ 8 w 749"/>
                  <a:gd name="T15" fmla="*/ 373 h 373"/>
                  <a:gd name="T16" fmla="*/ 724 w 749"/>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9" h="373">
                    <a:moveTo>
                      <a:pt x="724" y="373"/>
                    </a:moveTo>
                    <a:cubicBezTo>
                      <a:pt x="740" y="349"/>
                      <a:pt x="749" y="320"/>
                      <a:pt x="749" y="290"/>
                    </a:cubicBezTo>
                    <a:cubicBezTo>
                      <a:pt x="749" y="204"/>
                      <a:pt x="679" y="135"/>
                      <a:pt x="594" y="135"/>
                    </a:cubicBezTo>
                    <a:cubicBezTo>
                      <a:pt x="579" y="135"/>
                      <a:pt x="564" y="137"/>
                      <a:pt x="550" y="141"/>
                    </a:cubicBezTo>
                    <a:cubicBezTo>
                      <a:pt x="516" y="58"/>
                      <a:pt x="435" y="0"/>
                      <a:pt x="340" y="0"/>
                    </a:cubicBezTo>
                    <a:cubicBezTo>
                      <a:pt x="220" y="0"/>
                      <a:pt x="121" y="94"/>
                      <a:pt x="114" y="213"/>
                    </a:cubicBezTo>
                    <a:cubicBezTo>
                      <a:pt x="51" y="214"/>
                      <a:pt x="0" y="266"/>
                      <a:pt x="0" y="330"/>
                    </a:cubicBezTo>
                    <a:cubicBezTo>
                      <a:pt x="0" y="345"/>
                      <a:pt x="2" y="360"/>
                      <a:pt x="8" y="373"/>
                    </a:cubicBezTo>
                    <a:lnTo>
                      <a:pt x="724" y="37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42" name="Group 741">
                <a:extLst>
                  <a:ext uri="{FF2B5EF4-FFF2-40B4-BE49-F238E27FC236}">
                    <a16:creationId xmlns:a16="http://schemas.microsoft.com/office/drawing/2014/main" id="{5459CAFE-A3E3-416B-89AB-87EB43799CF8}"/>
                  </a:ext>
                </a:extLst>
              </p:cNvPr>
              <p:cNvGrpSpPr/>
              <p:nvPr/>
            </p:nvGrpSpPr>
            <p:grpSpPr>
              <a:xfrm>
                <a:off x="8445500" y="6810375"/>
                <a:ext cx="415073" cy="530754"/>
                <a:chOff x="8445500" y="6810375"/>
                <a:chExt cx="415073" cy="530754"/>
              </a:xfrm>
            </p:grpSpPr>
            <p:sp>
              <p:nvSpPr>
                <p:cNvPr id="743" name="Freeform 70">
                  <a:extLst>
                    <a:ext uri="{FF2B5EF4-FFF2-40B4-BE49-F238E27FC236}">
                      <a16:creationId xmlns:a16="http://schemas.microsoft.com/office/drawing/2014/main" id="{E2B3F8E5-61BE-41D8-810F-EFC247F12DE3}"/>
                    </a:ext>
                  </a:extLst>
                </p:cNvPr>
                <p:cNvSpPr>
                  <a:spLocks/>
                </p:cNvSpPr>
                <p:nvPr/>
              </p:nvSpPr>
              <p:spPr bwMode="auto">
                <a:xfrm>
                  <a:off x="8709025" y="6929438"/>
                  <a:ext cx="95250" cy="138112"/>
                </a:xfrm>
                <a:custGeom>
                  <a:avLst/>
                  <a:gdLst>
                    <a:gd name="T0" fmla="*/ 228 w 228"/>
                    <a:gd name="T1" fmla="*/ 233 h 327"/>
                    <a:gd name="T2" fmla="*/ 228 w 228"/>
                    <a:gd name="T3" fmla="*/ 0 h 327"/>
                    <a:gd name="T4" fmla="*/ 203 w 228"/>
                    <a:gd name="T5" fmla="*/ 7 h 327"/>
                    <a:gd name="T6" fmla="*/ 203 w 228"/>
                    <a:gd name="T7" fmla="*/ 266 h 327"/>
                    <a:gd name="T8" fmla="*/ 0 w 228"/>
                    <a:gd name="T9" fmla="*/ 266 h 327"/>
                    <a:gd name="T10" fmla="*/ 29 w 228"/>
                    <a:gd name="T11" fmla="*/ 284 h 327"/>
                    <a:gd name="T12" fmla="*/ 29 w 228"/>
                    <a:gd name="T13" fmla="*/ 327 h 327"/>
                    <a:gd name="T14" fmla="*/ 196 w 228"/>
                    <a:gd name="T15" fmla="*/ 327 h 327"/>
                    <a:gd name="T16" fmla="*/ 196 w 228"/>
                    <a:gd name="T17" fmla="*/ 284 h 327"/>
                    <a:gd name="T18" fmla="*/ 228 w 228"/>
                    <a:gd name="T19" fmla="*/ 2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327">
                      <a:moveTo>
                        <a:pt x="228" y="233"/>
                      </a:moveTo>
                      <a:cubicBezTo>
                        <a:pt x="228" y="0"/>
                        <a:pt x="228" y="0"/>
                        <a:pt x="228" y="0"/>
                      </a:cubicBezTo>
                      <a:cubicBezTo>
                        <a:pt x="219" y="0"/>
                        <a:pt x="210" y="3"/>
                        <a:pt x="203" y="7"/>
                      </a:cubicBezTo>
                      <a:cubicBezTo>
                        <a:pt x="203" y="266"/>
                        <a:pt x="203" y="266"/>
                        <a:pt x="203" y="266"/>
                      </a:cubicBezTo>
                      <a:cubicBezTo>
                        <a:pt x="0" y="266"/>
                        <a:pt x="0" y="266"/>
                        <a:pt x="0" y="266"/>
                      </a:cubicBezTo>
                      <a:cubicBezTo>
                        <a:pt x="6" y="276"/>
                        <a:pt x="17" y="282"/>
                        <a:pt x="29" y="284"/>
                      </a:cubicBezTo>
                      <a:cubicBezTo>
                        <a:pt x="29" y="327"/>
                        <a:pt x="29" y="327"/>
                        <a:pt x="29" y="327"/>
                      </a:cubicBezTo>
                      <a:cubicBezTo>
                        <a:pt x="196" y="327"/>
                        <a:pt x="196" y="327"/>
                        <a:pt x="196" y="327"/>
                      </a:cubicBezTo>
                      <a:cubicBezTo>
                        <a:pt x="196" y="284"/>
                        <a:pt x="196" y="284"/>
                        <a:pt x="196" y="284"/>
                      </a:cubicBezTo>
                      <a:lnTo>
                        <a:pt x="228" y="23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4" name="Freeform 71">
                  <a:extLst>
                    <a:ext uri="{FF2B5EF4-FFF2-40B4-BE49-F238E27FC236}">
                      <a16:creationId xmlns:a16="http://schemas.microsoft.com/office/drawing/2014/main" id="{5B707899-6373-45ED-8A7E-AD7CCCCFB3EE}"/>
                    </a:ext>
                  </a:extLst>
                </p:cNvPr>
                <p:cNvSpPr>
                  <a:spLocks/>
                </p:cNvSpPr>
                <p:nvPr/>
              </p:nvSpPr>
              <p:spPr bwMode="auto">
                <a:xfrm>
                  <a:off x="8715375" y="7081838"/>
                  <a:ext cx="80963" cy="131762"/>
                </a:xfrm>
                <a:custGeom>
                  <a:avLst/>
                  <a:gdLst>
                    <a:gd name="T0" fmla="*/ 192 w 192"/>
                    <a:gd name="T1" fmla="*/ 312 h 312"/>
                    <a:gd name="T2" fmla="*/ 192 w 192"/>
                    <a:gd name="T3" fmla="*/ 0 h 312"/>
                    <a:gd name="T4" fmla="*/ 0 w 192"/>
                    <a:gd name="T5" fmla="*/ 0 h 312"/>
                    <a:gd name="T6" fmla="*/ 0 w 192"/>
                    <a:gd name="T7" fmla="*/ 235 h 312"/>
                    <a:gd name="T8" fmla="*/ 21 w 192"/>
                    <a:gd name="T9" fmla="*/ 234 h 312"/>
                    <a:gd name="T10" fmla="*/ 192 w 192"/>
                    <a:gd name="T11" fmla="*/ 312 h 312"/>
                  </a:gdLst>
                  <a:ahLst/>
                  <a:cxnLst>
                    <a:cxn ang="0">
                      <a:pos x="T0" y="T1"/>
                    </a:cxn>
                    <a:cxn ang="0">
                      <a:pos x="T2" y="T3"/>
                    </a:cxn>
                    <a:cxn ang="0">
                      <a:pos x="T4" y="T5"/>
                    </a:cxn>
                    <a:cxn ang="0">
                      <a:pos x="T6" y="T7"/>
                    </a:cxn>
                    <a:cxn ang="0">
                      <a:pos x="T8" y="T9"/>
                    </a:cxn>
                    <a:cxn ang="0">
                      <a:pos x="T10" y="T11"/>
                    </a:cxn>
                  </a:cxnLst>
                  <a:rect l="0" t="0" r="r" b="b"/>
                  <a:pathLst>
                    <a:path w="192" h="312">
                      <a:moveTo>
                        <a:pt x="192" y="312"/>
                      </a:moveTo>
                      <a:cubicBezTo>
                        <a:pt x="192" y="0"/>
                        <a:pt x="192" y="0"/>
                        <a:pt x="192" y="0"/>
                      </a:cubicBezTo>
                      <a:cubicBezTo>
                        <a:pt x="0" y="0"/>
                        <a:pt x="0" y="0"/>
                        <a:pt x="0" y="0"/>
                      </a:cubicBezTo>
                      <a:cubicBezTo>
                        <a:pt x="0" y="235"/>
                        <a:pt x="0" y="235"/>
                        <a:pt x="0" y="235"/>
                      </a:cubicBezTo>
                      <a:cubicBezTo>
                        <a:pt x="7" y="235"/>
                        <a:pt x="14" y="234"/>
                        <a:pt x="21" y="234"/>
                      </a:cubicBezTo>
                      <a:cubicBezTo>
                        <a:pt x="89" y="234"/>
                        <a:pt x="151" y="265"/>
                        <a:pt x="192" y="31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5" name="Rectangle 72">
                  <a:extLst>
                    <a:ext uri="{FF2B5EF4-FFF2-40B4-BE49-F238E27FC236}">
                      <a16:creationId xmlns:a16="http://schemas.microsoft.com/office/drawing/2014/main" id="{C0A19077-57C5-4ECD-92EE-A0404C6A651A}"/>
                    </a:ext>
                  </a:extLst>
                </p:cNvPr>
                <p:cNvSpPr>
                  <a:spLocks noChangeArrowheads="1"/>
                </p:cNvSpPr>
                <p:nvPr/>
              </p:nvSpPr>
              <p:spPr bwMode="auto">
                <a:xfrm>
                  <a:off x="8718550" y="7067550"/>
                  <a:ext cx="76200" cy="142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6" name="Rectangle 74">
                  <a:extLst>
                    <a:ext uri="{FF2B5EF4-FFF2-40B4-BE49-F238E27FC236}">
                      <a16:creationId xmlns:a16="http://schemas.microsoft.com/office/drawing/2014/main" id="{6275A83C-8C4F-4FFE-9E69-2B3766F536AA}"/>
                    </a:ext>
                  </a:extLst>
                </p:cNvPr>
                <p:cNvSpPr>
                  <a:spLocks noChangeArrowheads="1"/>
                </p:cNvSpPr>
                <p:nvPr/>
              </p:nvSpPr>
              <p:spPr bwMode="auto">
                <a:xfrm>
                  <a:off x="8445500" y="6977063"/>
                  <a:ext cx="14288" cy="2857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7" name="Freeform 86">
                  <a:extLst>
                    <a:ext uri="{FF2B5EF4-FFF2-40B4-BE49-F238E27FC236}">
                      <a16:creationId xmlns:a16="http://schemas.microsoft.com/office/drawing/2014/main" id="{4979DDAC-F0B6-4B04-BD08-14DA44CFB8AC}"/>
                    </a:ext>
                  </a:extLst>
                </p:cNvPr>
                <p:cNvSpPr>
                  <a:spLocks/>
                </p:cNvSpPr>
                <p:nvPr/>
              </p:nvSpPr>
              <p:spPr bwMode="auto">
                <a:xfrm>
                  <a:off x="8459787" y="6810375"/>
                  <a:ext cx="334963" cy="230187"/>
                </a:xfrm>
                <a:custGeom>
                  <a:avLst/>
                  <a:gdLst>
                    <a:gd name="T0" fmla="*/ 211 w 211"/>
                    <a:gd name="T1" fmla="*/ 145 h 145"/>
                    <a:gd name="T2" fmla="*/ 211 w 211"/>
                    <a:gd name="T3" fmla="*/ 0 h 145"/>
                    <a:gd name="T4" fmla="*/ 105 w 211"/>
                    <a:gd name="T5" fmla="*/ 0 h 145"/>
                    <a:gd name="T6" fmla="*/ 0 w 211"/>
                    <a:gd name="T7" fmla="*/ 0 h 145"/>
                    <a:gd name="T8" fmla="*/ 0 w 211"/>
                    <a:gd name="T9" fmla="*/ 145 h 145"/>
                    <a:gd name="T10" fmla="*/ 105 w 211"/>
                    <a:gd name="T11" fmla="*/ 145 h 145"/>
                    <a:gd name="T12" fmla="*/ 211 w 211"/>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211" h="145">
                      <a:moveTo>
                        <a:pt x="211" y="145"/>
                      </a:moveTo>
                      <a:lnTo>
                        <a:pt x="211" y="0"/>
                      </a:lnTo>
                      <a:lnTo>
                        <a:pt x="105" y="0"/>
                      </a:lnTo>
                      <a:lnTo>
                        <a:pt x="0" y="0"/>
                      </a:lnTo>
                      <a:lnTo>
                        <a:pt x="0" y="145"/>
                      </a:lnTo>
                      <a:lnTo>
                        <a:pt x="105" y="145"/>
                      </a:lnTo>
                      <a:lnTo>
                        <a:pt x="211" y="14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8" name="Rectangle 87">
                  <a:extLst>
                    <a:ext uri="{FF2B5EF4-FFF2-40B4-BE49-F238E27FC236}">
                      <a16:creationId xmlns:a16="http://schemas.microsoft.com/office/drawing/2014/main" id="{F828E537-7485-4D07-8FD2-CB770F2C97A8}"/>
                    </a:ext>
                  </a:extLst>
                </p:cNvPr>
                <p:cNvSpPr>
                  <a:spLocks noChangeArrowheads="1"/>
                </p:cNvSpPr>
                <p:nvPr/>
              </p:nvSpPr>
              <p:spPr bwMode="auto">
                <a:xfrm>
                  <a:off x="8477250" y="6823075"/>
                  <a:ext cx="300038" cy="180975"/>
                </a:xfrm>
                <a:prstGeom prst="rect">
                  <a:avLst/>
                </a:prstGeom>
                <a:solidFill>
                  <a:schemeClr val="accent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9" name="Freeform 88">
                  <a:extLst>
                    <a:ext uri="{FF2B5EF4-FFF2-40B4-BE49-F238E27FC236}">
                      <a16:creationId xmlns:a16="http://schemas.microsoft.com/office/drawing/2014/main" id="{2AE5BD8B-6ACF-4403-985F-2761AA829A03}"/>
                    </a:ext>
                  </a:extLst>
                </p:cNvPr>
                <p:cNvSpPr>
                  <a:spLocks noEditPoints="1"/>
                </p:cNvSpPr>
                <p:nvPr/>
              </p:nvSpPr>
              <p:spPr bwMode="auto">
                <a:xfrm>
                  <a:off x="8497887" y="6946900"/>
                  <a:ext cx="257175" cy="31750"/>
                </a:xfrm>
                <a:custGeom>
                  <a:avLst/>
                  <a:gdLst>
                    <a:gd name="T0" fmla="*/ 564 w 607"/>
                    <a:gd name="T1" fmla="*/ 0 h 75"/>
                    <a:gd name="T2" fmla="*/ 578 w 607"/>
                    <a:gd name="T3" fmla="*/ 10 h 75"/>
                    <a:gd name="T4" fmla="*/ 559 w 607"/>
                    <a:gd name="T5" fmla="*/ 70 h 75"/>
                    <a:gd name="T6" fmla="*/ 607 w 607"/>
                    <a:gd name="T7" fmla="*/ 70 h 75"/>
                    <a:gd name="T8" fmla="*/ 597 w 607"/>
                    <a:gd name="T9" fmla="*/ 46 h 75"/>
                    <a:gd name="T10" fmla="*/ 499 w 607"/>
                    <a:gd name="T11" fmla="*/ 10 h 75"/>
                    <a:gd name="T12" fmla="*/ 499 w 607"/>
                    <a:gd name="T13" fmla="*/ 66 h 75"/>
                    <a:gd name="T14" fmla="*/ 489 w 607"/>
                    <a:gd name="T15" fmla="*/ 10 h 75"/>
                    <a:gd name="T16" fmla="*/ 527 w 607"/>
                    <a:gd name="T17" fmla="*/ 75 h 75"/>
                    <a:gd name="T18" fmla="*/ 527 w 607"/>
                    <a:gd name="T19" fmla="*/ 0 h 75"/>
                    <a:gd name="T20" fmla="*/ 448 w 607"/>
                    <a:gd name="T21" fmla="*/ 0 h 75"/>
                    <a:gd name="T22" fmla="*/ 424 w 607"/>
                    <a:gd name="T23" fmla="*/ 10 h 75"/>
                    <a:gd name="T24" fmla="*/ 424 w 607"/>
                    <a:gd name="T25" fmla="*/ 66 h 75"/>
                    <a:gd name="T26" fmla="*/ 462 w 607"/>
                    <a:gd name="T27" fmla="*/ 75 h 75"/>
                    <a:gd name="T28" fmla="*/ 462 w 607"/>
                    <a:gd name="T29" fmla="*/ 41 h 75"/>
                    <a:gd name="T30" fmla="*/ 448 w 607"/>
                    <a:gd name="T31" fmla="*/ 66 h 75"/>
                    <a:gd name="T32" fmla="*/ 354 w 607"/>
                    <a:gd name="T33" fmla="*/ 0 h 75"/>
                    <a:gd name="T34" fmla="*/ 369 w 607"/>
                    <a:gd name="T35" fmla="*/ 10 h 75"/>
                    <a:gd name="T36" fmla="*/ 349 w 607"/>
                    <a:gd name="T37" fmla="*/ 70 h 75"/>
                    <a:gd name="T38" fmla="*/ 397 w 607"/>
                    <a:gd name="T39" fmla="*/ 70 h 75"/>
                    <a:gd name="T40" fmla="*/ 388 w 607"/>
                    <a:gd name="T41" fmla="*/ 46 h 75"/>
                    <a:gd name="T42" fmla="*/ 289 w 607"/>
                    <a:gd name="T43" fmla="*/ 10 h 75"/>
                    <a:gd name="T44" fmla="*/ 289 w 607"/>
                    <a:gd name="T45" fmla="*/ 66 h 75"/>
                    <a:gd name="T46" fmla="*/ 280 w 607"/>
                    <a:gd name="T47" fmla="*/ 10 h 75"/>
                    <a:gd name="T48" fmla="*/ 318 w 607"/>
                    <a:gd name="T49" fmla="*/ 75 h 75"/>
                    <a:gd name="T50" fmla="*/ 318 w 607"/>
                    <a:gd name="T51" fmla="*/ 0 h 75"/>
                    <a:gd name="T52" fmla="*/ 248 w 607"/>
                    <a:gd name="T53" fmla="*/ 10 h 75"/>
                    <a:gd name="T54" fmla="*/ 220 w 607"/>
                    <a:gd name="T55" fmla="*/ 10 h 75"/>
                    <a:gd name="T56" fmla="*/ 210 w 607"/>
                    <a:gd name="T57" fmla="*/ 66 h 75"/>
                    <a:gd name="T58" fmla="*/ 258 w 607"/>
                    <a:gd name="T59" fmla="*/ 66 h 75"/>
                    <a:gd name="T60" fmla="*/ 220 w 607"/>
                    <a:gd name="T61" fmla="*/ 0 h 75"/>
                    <a:gd name="T62" fmla="*/ 178 w 607"/>
                    <a:gd name="T63" fmla="*/ 66 h 75"/>
                    <a:gd name="T64" fmla="*/ 150 w 607"/>
                    <a:gd name="T65" fmla="*/ 0 h 75"/>
                    <a:gd name="T66" fmla="*/ 150 w 607"/>
                    <a:gd name="T67" fmla="*/ 75 h 75"/>
                    <a:gd name="T68" fmla="*/ 188 w 607"/>
                    <a:gd name="T69" fmla="*/ 10 h 75"/>
                    <a:gd name="T70" fmla="*/ 99 w 607"/>
                    <a:gd name="T71" fmla="*/ 66 h 75"/>
                    <a:gd name="T72" fmla="*/ 70 w 607"/>
                    <a:gd name="T73" fmla="*/ 5 h 75"/>
                    <a:gd name="T74" fmla="*/ 89 w 607"/>
                    <a:gd name="T75" fmla="*/ 66 h 75"/>
                    <a:gd name="T76" fmla="*/ 75 w 607"/>
                    <a:gd name="T77" fmla="*/ 75 h 75"/>
                    <a:gd name="T78" fmla="*/ 118 w 607"/>
                    <a:gd name="T79" fmla="*/ 46 h 75"/>
                    <a:gd name="T80" fmla="*/ 108 w 607"/>
                    <a:gd name="T81" fmla="*/ 66 h 75"/>
                    <a:gd name="T82" fmla="*/ 39 w 607"/>
                    <a:gd name="T83" fmla="*/ 10 h 75"/>
                    <a:gd name="T84" fmla="*/ 10 w 607"/>
                    <a:gd name="T85" fmla="*/ 10 h 75"/>
                    <a:gd name="T86" fmla="*/ 0 w 607"/>
                    <a:gd name="T87" fmla="*/ 66 h 75"/>
                    <a:gd name="T88" fmla="*/ 48 w 607"/>
                    <a:gd name="T89" fmla="*/ 66 h 75"/>
                    <a:gd name="T90" fmla="*/ 10 w 607"/>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7" h="75">
                      <a:moveTo>
                        <a:pt x="588" y="66"/>
                      </a:moveTo>
                      <a:cubicBezTo>
                        <a:pt x="588" y="0"/>
                        <a:pt x="588" y="0"/>
                        <a:pt x="588" y="0"/>
                      </a:cubicBezTo>
                      <a:cubicBezTo>
                        <a:pt x="564" y="0"/>
                        <a:pt x="564" y="0"/>
                        <a:pt x="564" y="0"/>
                      </a:cubicBezTo>
                      <a:cubicBezTo>
                        <a:pt x="561" y="0"/>
                        <a:pt x="559" y="1"/>
                        <a:pt x="559" y="5"/>
                      </a:cubicBezTo>
                      <a:cubicBezTo>
                        <a:pt x="559" y="8"/>
                        <a:pt x="561" y="10"/>
                        <a:pt x="564" y="10"/>
                      </a:cubicBezTo>
                      <a:cubicBezTo>
                        <a:pt x="578" y="10"/>
                        <a:pt x="578" y="10"/>
                        <a:pt x="578" y="10"/>
                      </a:cubicBezTo>
                      <a:cubicBezTo>
                        <a:pt x="578" y="66"/>
                        <a:pt x="578" y="66"/>
                        <a:pt x="578" y="66"/>
                      </a:cubicBezTo>
                      <a:cubicBezTo>
                        <a:pt x="564" y="66"/>
                        <a:pt x="564" y="66"/>
                        <a:pt x="564" y="66"/>
                      </a:cubicBezTo>
                      <a:cubicBezTo>
                        <a:pt x="561" y="66"/>
                        <a:pt x="559" y="67"/>
                        <a:pt x="559" y="70"/>
                      </a:cubicBezTo>
                      <a:cubicBezTo>
                        <a:pt x="559" y="74"/>
                        <a:pt x="561" y="75"/>
                        <a:pt x="564" y="75"/>
                      </a:cubicBezTo>
                      <a:cubicBezTo>
                        <a:pt x="602" y="75"/>
                        <a:pt x="602" y="75"/>
                        <a:pt x="602" y="75"/>
                      </a:cubicBezTo>
                      <a:cubicBezTo>
                        <a:pt x="604" y="75"/>
                        <a:pt x="607" y="74"/>
                        <a:pt x="607" y="70"/>
                      </a:cubicBezTo>
                      <a:cubicBezTo>
                        <a:pt x="607" y="46"/>
                        <a:pt x="607" y="46"/>
                        <a:pt x="607" y="46"/>
                      </a:cubicBezTo>
                      <a:cubicBezTo>
                        <a:pt x="607" y="43"/>
                        <a:pt x="605" y="41"/>
                        <a:pt x="602" y="41"/>
                      </a:cubicBezTo>
                      <a:cubicBezTo>
                        <a:pt x="598" y="41"/>
                        <a:pt x="597" y="43"/>
                        <a:pt x="597" y="46"/>
                      </a:cubicBezTo>
                      <a:cubicBezTo>
                        <a:pt x="597" y="66"/>
                        <a:pt x="597" y="66"/>
                        <a:pt x="597" y="66"/>
                      </a:cubicBezTo>
                      <a:lnTo>
                        <a:pt x="588" y="66"/>
                      </a:lnTo>
                      <a:close/>
                      <a:moveTo>
                        <a:pt x="499" y="10"/>
                      </a:moveTo>
                      <a:cubicBezTo>
                        <a:pt x="527" y="10"/>
                        <a:pt x="527" y="10"/>
                        <a:pt x="527" y="10"/>
                      </a:cubicBezTo>
                      <a:cubicBezTo>
                        <a:pt x="527" y="66"/>
                        <a:pt x="527" y="66"/>
                        <a:pt x="527" y="66"/>
                      </a:cubicBezTo>
                      <a:cubicBezTo>
                        <a:pt x="499" y="66"/>
                        <a:pt x="499" y="66"/>
                        <a:pt x="499" y="66"/>
                      </a:cubicBezTo>
                      <a:lnTo>
                        <a:pt x="499" y="10"/>
                      </a:lnTo>
                      <a:close/>
                      <a:moveTo>
                        <a:pt x="499" y="0"/>
                      </a:moveTo>
                      <a:cubicBezTo>
                        <a:pt x="493" y="0"/>
                        <a:pt x="489" y="4"/>
                        <a:pt x="489" y="10"/>
                      </a:cubicBezTo>
                      <a:cubicBezTo>
                        <a:pt x="489" y="66"/>
                        <a:pt x="489" y="66"/>
                        <a:pt x="489" y="66"/>
                      </a:cubicBezTo>
                      <a:cubicBezTo>
                        <a:pt x="489" y="71"/>
                        <a:pt x="493" y="75"/>
                        <a:pt x="499" y="75"/>
                      </a:cubicBezTo>
                      <a:cubicBezTo>
                        <a:pt x="527" y="75"/>
                        <a:pt x="527" y="75"/>
                        <a:pt x="527" y="75"/>
                      </a:cubicBezTo>
                      <a:cubicBezTo>
                        <a:pt x="533" y="75"/>
                        <a:pt x="537" y="71"/>
                        <a:pt x="537" y="66"/>
                      </a:cubicBezTo>
                      <a:cubicBezTo>
                        <a:pt x="537" y="10"/>
                        <a:pt x="537" y="10"/>
                        <a:pt x="537" y="10"/>
                      </a:cubicBezTo>
                      <a:cubicBezTo>
                        <a:pt x="537" y="4"/>
                        <a:pt x="533" y="0"/>
                        <a:pt x="527" y="0"/>
                      </a:cubicBezTo>
                      <a:lnTo>
                        <a:pt x="499" y="0"/>
                      </a:lnTo>
                      <a:close/>
                      <a:moveTo>
                        <a:pt x="448" y="66"/>
                      </a:moveTo>
                      <a:cubicBezTo>
                        <a:pt x="448" y="0"/>
                        <a:pt x="448" y="0"/>
                        <a:pt x="448" y="0"/>
                      </a:cubicBezTo>
                      <a:cubicBezTo>
                        <a:pt x="424" y="0"/>
                        <a:pt x="424" y="0"/>
                        <a:pt x="424" y="0"/>
                      </a:cubicBezTo>
                      <a:cubicBezTo>
                        <a:pt x="422" y="0"/>
                        <a:pt x="419" y="1"/>
                        <a:pt x="419" y="5"/>
                      </a:cubicBezTo>
                      <a:cubicBezTo>
                        <a:pt x="419" y="8"/>
                        <a:pt x="422" y="10"/>
                        <a:pt x="424" y="10"/>
                      </a:cubicBezTo>
                      <a:cubicBezTo>
                        <a:pt x="438" y="10"/>
                        <a:pt x="438" y="10"/>
                        <a:pt x="438" y="10"/>
                      </a:cubicBezTo>
                      <a:cubicBezTo>
                        <a:pt x="438" y="66"/>
                        <a:pt x="438" y="66"/>
                        <a:pt x="438" y="66"/>
                      </a:cubicBezTo>
                      <a:cubicBezTo>
                        <a:pt x="424" y="66"/>
                        <a:pt x="424" y="66"/>
                        <a:pt x="424" y="66"/>
                      </a:cubicBezTo>
                      <a:cubicBezTo>
                        <a:pt x="422" y="66"/>
                        <a:pt x="419" y="67"/>
                        <a:pt x="419" y="70"/>
                      </a:cubicBezTo>
                      <a:cubicBezTo>
                        <a:pt x="419" y="74"/>
                        <a:pt x="422" y="75"/>
                        <a:pt x="424" y="75"/>
                      </a:cubicBezTo>
                      <a:cubicBezTo>
                        <a:pt x="462" y="75"/>
                        <a:pt x="462" y="75"/>
                        <a:pt x="462" y="75"/>
                      </a:cubicBezTo>
                      <a:cubicBezTo>
                        <a:pt x="465" y="75"/>
                        <a:pt x="467" y="74"/>
                        <a:pt x="467" y="70"/>
                      </a:cubicBezTo>
                      <a:cubicBezTo>
                        <a:pt x="467" y="46"/>
                        <a:pt x="467" y="46"/>
                        <a:pt x="467" y="46"/>
                      </a:cubicBezTo>
                      <a:cubicBezTo>
                        <a:pt x="467" y="43"/>
                        <a:pt x="466" y="41"/>
                        <a:pt x="462" y="41"/>
                      </a:cubicBezTo>
                      <a:cubicBezTo>
                        <a:pt x="459" y="41"/>
                        <a:pt x="457" y="43"/>
                        <a:pt x="457" y="46"/>
                      </a:cubicBezTo>
                      <a:cubicBezTo>
                        <a:pt x="457" y="66"/>
                        <a:pt x="457" y="66"/>
                        <a:pt x="457" y="66"/>
                      </a:cubicBezTo>
                      <a:lnTo>
                        <a:pt x="448" y="66"/>
                      </a:lnTo>
                      <a:close/>
                      <a:moveTo>
                        <a:pt x="378" y="66"/>
                      </a:moveTo>
                      <a:cubicBezTo>
                        <a:pt x="378" y="0"/>
                        <a:pt x="378" y="0"/>
                        <a:pt x="378" y="0"/>
                      </a:cubicBezTo>
                      <a:cubicBezTo>
                        <a:pt x="354" y="0"/>
                        <a:pt x="354" y="0"/>
                        <a:pt x="354" y="0"/>
                      </a:cubicBezTo>
                      <a:cubicBezTo>
                        <a:pt x="352" y="0"/>
                        <a:pt x="349" y="1"/>
                        <a:pt x="349" y="5"/>
                      </a:cubicBezTo>
                      <a:cubicBezTo>
                        <a:pt x="349" y="8"/>
                        <a:pt x="352" y="10"/>
                        <a:pt x="354" y="10"/>
                      </a:cubicBezTo>
                      <a:cubicBezTo>
                        <a:pt x="369" y="10"/>
                        <a:pt x="369" y="10"/>
                        <a:pt x="369" y="10"/>
                      </a:cubicBezTo>
                      <a:cubicBezTo>
                        <a:pt x="369" y="66"/>
                        <a:pt x="369" y="66"/>
                        <a:pt x="369" y="66"/>
                      </a:cubicBezTo>
                      <a:cubicBezTo>
                        <a:pt x="354" y="66"/>
                        <a:pt x="354" y="66"/>
                        <a:pt x="354" y="66"/>
                      </a:cubicBezTo>
                      <a:cubicBezTo>
                        <a:pt x="352" y="66"/>
                        <a:pt x="349" y="67"/>
                        <a:pt x="349" y="70"/>
                      </a:cubicBezTo>
                      <a:cubicBezTo>
                        <a:pt x="349" y="74"/>
                        <a:pt x="352" y="75"/>
                        <a:pt x="354" y="75"/>
                      </a:cubicBezTo>
                      <a:cubicBezTo>
                        <a:pt x="392" y="75"/>
                        <a:pt x="392" y="75"/>
                        <a:pt x="392" y="75"/>
                      </a:cubicBezTo>
                      <a:cubicBezTo>
                        <a:pt x="395" y="75"/>
                        <a:pt x="397" y="74"/>
                        <a:pt x="397" y="70"/>
                      </a:cubicBezTo>
                      <a:cubicBezTo>
                        <a:pt x="397" y="46"/>
                        <a:pt x="397" y="46"/>
                        <a:pt x="397" y="46"/>
                      </a:cubicBezTo>
                      <a:cubicBezTo>
                        <a:pt x="397" y="43"/>
                        <a:pt x="396" y="41"/>
                        <a:pt x="392" y="41"/>
                      </a:cubicBezTo>
                      <a:cubicBezTo>
                        <a:pt x="389" y="41"/>
                        <a:pt x="388" y="43"/>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4"/>
                        <a:pt x="280" y="10"/>
                      </a:cubicBezTo>
                      <a:cubicBezTo>
                        <a:pt x="280" y="66"/>
                        <a:pt x="280" y="66"/>
                        <a:pt x="280" y="66"/>
                      </a:cubicBezTo>
                      <a:cubicBezTo>
                        <a:pt x="280" y="71"/>
                        <a:pt x="284" y="75"/>
                        <a:pt x="289" y="75"/>
                      </a:cubicBezTo>
                      <a:cubicBezTo>
                        <a:pt x="318" y="75"/>
                        <a:pt x="318" y="75"/>
                        <a:pt x="318" y="75"/>
                      </a:cubicBezTo>
                      <a:cubicBezTo>
                        <a:pt x="323" y="75"/>
                        <a:pt x="328" y="71"/>
                        <a:pt x="328" y="66"/>
                      </a:cubicBezTo>
                      <a:cubicBezTo>
                        <a:pt x="328" y="10"/>
                        <a:pt x="328" y="10"/>
                        <a:pt x="328" y="10"/>
                      </a:cubicBezTo>
                      <a:cubicBezTo>
                        <a:pt x="328" y="4"/>
                        <a:pt x="323" y="0"/>
                        <a:pt x="318" y="0"/>
                      </a:cubicBezTo>
                      <a:lnTo>
                        <a:pt x="289" y="0"/>
                      </a:lnTo>
                      <a:close/>
                      <a:moveTo>
                        <a:pt x="220" y="10"/>
                      </a:moveTo>
                      <a:cubicBezTo>
                        <a:pt x="248" y="10"/>
                        <a:pt x="248" y="10"/>
                        <a:pt x="248" y="10"/>
                      </a:cubicBezTo>
                      <a:cubicBezTo>
                        <a:pt x="248" y="66"/>
                        <a:pt x="248" y="66"/>
                        <a:pt x="248" y="66"/>
                      </a:cubicBezTo>
                      <a:cubicBezTo>
                        <a:pt x="220" y="66"/>
                        <a:pt x="220" y="66"/>
                        <a:pt x="220" y="66"/>
                      </a:cubicBezTo>
                      <a:lnTo>
                        <a:pt x="220" y="10"/>
                      </a:lnTo>
                      <a:close/>
                      <a:moveTo>
                        <a:pt x="220" y="0"/>
                      </a:moveTo>
                      <a:cubicBezTo>
                        <a:pt x="214" y="0"/>
                        <a:pt x="210" y="4"/>
                        <a:pt x="210" y="10"/>
                      </a:cubicBezTo>
                      <a:cubicBezTo>
                        <a:pt x="210" y="66"/>
                        <a:pt x="210" y="66"/>
                        <a:pt x="210" y="66"/>
                      </a:cubicBezTo>
                      <a:cubicBezTo>
                        <a:pt x="210" y="71"/>
                        <a:pt x="214" y="75"/>
                        <a:pt x="220" y="75"/>
                      </a:cubicBezTo>
                      <a:cubicBezTo>
                        <a:pt x="248" y="75"/>
                        <a:pt x="248" y="75"/>
                        <a:pt x="248" y="75"/>
                      </a:cubicBezTo>
                      <a:cubicBezTo>
                        <a:pt x="254" y="75"/>
                        <a:pt x="258" y="71"/>
                        <a:pt x="258" y="66"/>
                      </a:cubicBezTo>
                      <a:cubicBezTo>
                        <a:pt x="258" y="10"/>
                        <a:pt x="258" y="10"/>
                        <a:pt x="258" y="10"/>
                      </a:cubicBezTo>
                      <a:cubicBezTo>
                        <a:pt x="258" y="4"/>
                        <a:pt x="253" y="0"/>
                        <a:pt x="248" y="0"/>
                      </a:cubicBezTo>
                      <a:lnTo>
                        <a:pt x="220" y="0"/>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4"/>
                        <a:pt x="140" y="10"/>
                      </a:cubicBezTo>
                      <a:cubicBezTo>
                        <a:pt x="140" y="66"/>
                        <a:pt x="140" y="66"/>
                        <a:pt x="140" y="66"/>
                      </a:cubicBezTo>
                      <a:cubicBezTo>
                        <a:pt x="140" y="71"/>
                        <a:pt x="144" y="75"/>
                        <a:pt x="150" y="75"/>
                      </a:cubicBezTo>
                      <a:cubicBezTo>
                        <a:pt x="178" y="75"/>
                        <a:pt x="178" y="75"/>
                        <a:pt x="178" y="75"/>
                      </a:cubicBezTo>
                      <a:cubicBezTo>
                        <a:pt x="184" y="75"/>
                        <a:pt x="188" y="71"/>
                        <a:pt x="188" y="66"/>
                      </a:cubicBezTo>
                      <a:cubicBezTo>
                        <a:pt x="188" y="10"/>
                        <a:pt x="188" y="10"/>
                        <a:pt x="188" y="10"/>
                      </a:cubicBezTo>
                      <a:cubicBezTo>
                        <a:pt x="188" y="4"/>
                        <a:pt x="184" y="0"/>
                        <a:pt x="178" y="0"/>
                      </a:cubicBezTo>
                      <a:lnTo>
                        <a:pt x="150" y="0"/>
                      </a:lnTo>
                      <a:close/>
                      <a:moveTo>
                        <a:pt x="99" y="66"/>
                      </a:moveTo>
                      <a:cubicBezTo>
                        <a:pt x="99" y="0"/>
                        <a:pt x="99" y="0"/>
                        <a:pt x="99" y="0"/>
                      </a:cubicBezTo>
                      <a:cubicBezTo>
                        <a:pt x="75" y="0"/>
                        <a:pt x="75" y="0"/>
                        <a:pt x="75" y="0"/>
                      </a:cubicBezTo>
                      <a:cubicBezTo>
                        <a:pt x="73" y="0"/>
                        <a:pt x="70" y="1"/>
                        <a:pt x="70" y="5"/>
                      </a:cubicBezTo>
                      <a:cubicBezTo>
                        <a:pt x="70" y="8"/>
                        <a:pt x="73" y="10"/>
                        <a:pt x="75" y="10"/>
                      </a:cubicBezTo>
                      <a:cubicBezTo>
                        <a:pt x="89" y="10"/>
                        <a:pt x="89" y="10"/>
                        <a:pt x="89" y="10"/>
                      </a:cubicBezTo>
                      <a:cubicBezTo>
                        <a:pt x="89" y="66"/>
                        <a:pt x="89" y="66"/>
                        <a:pt x="89" y="66"/>
                      </a:cubicBezTo>
                      <a:cubicBezTo>
                        <a:pt x="75" y="66"/>
                        <a:pt x="75" y="66"/>
                        <a:pt x="75" y="66"/>
                      </a:cubicBezTo>
                      <a:cubicBezTo>
                        <a:pt x="73" y="66"/>
                        <a:pt x="70" y="67"/>
                        <a:pt x="70" y="70"/>
                      </a:cubicBezTo>
                      <a:cubicBezTo>
                        <a:pt x="70" y="74"/>
                        <a:pt x="73" y="75"/>
                        <a:pt x="75" y="75"/>
                      </a:cubicBezTo>
                      <a:cubicBezTo>
                        <a:pt x="113" y="75"/>
                        <a:pt x="113" y="75"/>
                        <a:pt x="113" y="75"/>
                      </a:cubicBezTo>
                      <a:cubicBezTo>
                        <a:pt x="116" y="75"/>
                        <a:pt x="118" y="74"/>
                        <a:pt x="118" y="70"/>
                      </a:cubicBezTo>
                      <a:cubicBezTo>
                        <a:pt x="118" y="46"/>
                        <a:pt x="118" y="46"/>
                        <a:pt x="118" y="46"/>
                      </a:cubicBezTo>
                      <a:cubicBezTo>
                        <a:pt x="118" y="43"/>
                        <a:pt x="117" y="41"/>
                        <a:pt x="113" y="41"/>
                      </a:cubicBezTo>
                      <a:cubicBezTo>
                        <a:pt x="110" y="41"/>
                        <a:pt x="108" y="43"/>
                        <a:pt x="108" y="46"/>
                      </a:cubicBezTo>
                      <a:cubicBezTo>
                        <a:pt x="108" y="66"/>
                        <a:pt x="108" y="66"/>
                        <a:pt x="108" y="66"/>
                      </a:cubicBezTo>
                      <a:lnTo>
                        <a:pt x="99" y="66"/>
                      </a:lnTo>
                      <a:close/>
                      <a:moveTo>
                        <a:pt x="10" y="10"/>
                      </a:moveTo>
                      <a:cubicBezTo>
                        <a:pt x="39" y="10"/>
                        <a:pt x="39" y="10"/>
                        <a:pt x="39" y="10"/>
                      </a:cubicBezTo>
                      <a:cubicBezTo>
                        <a:pt x="39" y="66"/>
                        <a:pt x="39" y="66"/>
                        <a:pt x="39" y="66"/>
                      </a:cubicBezTo>
                      <a:cubicBezTo>
                        <a:pt x="10" y="66"/>
                        <a:pt x="10" y="66"/>
                        <a:pt x="10" y="66"/>
                      </a:cubicBezTo>
                      <a:lnTo>
                        <a:pt x="10" y="10"/>
                      </a:lnTo>
                      <a:close/>
                      <a:moveTo>
                        <a:pt x="10" y="0"/>
                      </a:moveTo>
                      <a:cubicBezTo>
                        <a:pt x="5" y="0"/>
                        <a:pt x="0" y="4"/>
                        <a:pt x="0" y="10"/>
                      </a:cubicBezTo>
                      <a:cubicBezTo>
                        <a:pt x="0" y="66"/>
                        <a:pt x="0" y="66"/>
                        <a:pt x="0" y="66"/>
                      </a:cubicBezTo>
                      <a:cubicBezTo>
                        <a:pt x="0" y="71"/>
                        <a:pt x="5" y="75"/>
                        <a:pt x="10" y="75"/>
                      </a:cubicBezTo>
                      <a:cubicBezTo>
                        <a:pt x="39" y="75"/>
                        <a:pt x="39" y="75"/>
                        <a:pt x="39" y="75"/>
                      </a:cubicBezTo>
                      <a:cubicBezTo>
                        <a:pt x="44" y="75"/>
                        <a:pt x="48" y="71"/>
                        <a:pt x="48" y="66"/>
                      </a:cubicBezTo>
                      <a:cubicBezTo>
                        <a:pt x="48" y="10"/>
                        <a:pt x="48" y="10"/>
                        <a:pt x="48" y="10"/>
                      </a:cubicBezTo>
                      <a:cubicBezTo>
                        <a:pt x="48" y="4"/>
                        <a:pt x="44" y="0"/>
                        <a:pt x="39" y="0"/>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0" name="Freeform 89">
                  <a:extLst>
                    <a:ext uri="{FF2B5EF4-FFF2-40B4-BE49-F238E27FC236}">
                      <a16:creationId xmlns:a16="http://schemas.microsoft.com/office/drawing/2014/main" id="{8A9C8E6E-18E0-41EE-A2D6-3A2D147DC6F4}"/>
                    </a:ext>
                  </a:extLst>
                </p:cNvPr>
                <p:cNvSpPr>
                  <a:spLocks noEditPoints="1"/>
                </p:cNvSpPr>
                <p:nvPr/>
              </p:nvSpPr>
              <p:spPr bwMode="auto">
                <a:xfrm>
                  <a:off x="8497887" y="6897688"/>
                  <a:ext cx="257175" cy="31750"/>
                </a:xfrm>
                <a:custGeom>
                  <a:avLst/>
                  <a:gdLst>
                    <a:gd name="T0" fmla="*/ 597 w 607"/>
                    <a:gd name="T1" fmla="*/ 65 h 75"/>
                    <a:gd name="T2" fmla="*/ 569 w 607"/>
                    <a:gd name="T3" fmla="*/ 0 h 75"/>
                    <a:gd name="T4" fmla="*/ 569 w 607"/>
                    <a:gd name="T5" fmla="*/ 75 h 75"/>
                    <a:gd name="T6" fmla="*/ 607 w 607"/>
                    <a:gd name="T7" fmla="*/ 9 h 75"/>
                    <a:gd name="T8" fmla="*/ 518 w 607"/>
                    <a:gd name="T9" fmla="*/ 65 h 75"/>
                    <a:gd name="T10" fmla="*/ 489 w 607"/>
                    <a:gd name="T11" fmla="*/ 4 h 75"/>
                    <a:gd name="T12" fmla="*/ 508 w 607"/>
                    <a:gd name="T13" fmla="*/ 65 h 75"/>
                    <a:gd name="T14" fmla="*/ 494 w 607"/>
                    <a:gd name="T15" fmla="*/ 75 h 75"/>
                    <a:gd name="T16" fmla="*/ 537 w 607"/>
                    <a:gd name="T17" fmla="*/ 46 h 75"/>
                    <a:gd name="T18" fmla="*/ 527 w 607"/>
                    <a:gd name="T19" fmla="*/ 65 h 75"/>
                    <a:gd name="T20" fmla="*/ 457 w 607"/>
                    <a:gd name="T21" fmla="*/ 9 h 75"/>
                    <a:gd name="T22" fmla="*/ 429 w 607"/>
                    <a:gd name="T23" fmla="*/ 9 h 75"/>
                    <a:gd name="T24" fmla="*/ 419 w 607"/>
                    <a:gd name="T25" fmla="*/ 65 h 75"/>
                    <a:gd name="T26" fmla="*/ 467 w 607"/>
                    <a:gd name="T27" fmla="*/ 65 h 75"/>
                    <a:gd name="T28" fmla="*/ 429 w 607"/>
                    <a:gd name="T29" fmla="*/ 0 h 75"/>
                    <a:gd name="T30" fmla="*/ 388 w 607"/>
                    <a:gd name="T31" fmla="*/ 65 h 75"/>
                    <a:gd name="T32" fmla="*/ 359 w 607"/>
                    <a:gd name="T33" fmla="*/ 0 h 75"/>
                    <a:gd name="T34" fmla="*/ 359 w 607"/>
                    <a:gd name="T35" fmla="*/ 75 h 75"/>
                    <a:gd name="T36" fmla="*/ 397 w 607"/>
                    <a:gd name="T37" fmla="*/ 9 h 75"/>
                    <a:gd name="T38" fmla="*/ 308 w 607"/>
                    <a:gd name="T39" fmla="*/ 65 h 75"/>
                    <a:gd name="T40" fmla="*/ 280 w 607"/>
                    <a:gd name="T41" fmla="*/ 4 h 75"/>
                    <a:gd name="T42" fmla="*/ 299 w 607"/>
                    <a:gd name="T43" fmla="*/ 65 h 75"/>
                    <a:gd name="T44" fmla="*/ 284 w 607"/>
                    <a:gd name="T45" fmla="*/ 75 h 75"/>
                    <a:gd name="T46" fmla="*/ 328 w 607"/>
                    <a:gd name="T47" fmla="*/ 46 h 75"/>
                    <a:gd name="T48" fmla="*/ 318 w 607"/>
                    <a:gd name="T49" fmla="*/ 65 h 75"/>
                    <a:gd name="T50" fmla="*/ 248 w 607"/>
                    <a:gd name="T51" fmla="*/ 9 h 75"/>
                    <a:gd name="T52" fmla="*/ 220 w 607"/>
                    <a:gd name="T53" fmla="*/ 9 h 75"/>
                    <a:gd name="T54" fmla="*/ 210 w 607"/>
                    <a:gd name="T55" fmla="*/ 65 h 75"/>
                    <a:gd name="T56" fmla="*/ 258 w 607"/>
                    <a:gd name="T57" fmla="*/ 65 h 75"/>
                    <a:gd name="T58" fmla="*/ 220 w 607"/>
                    <a:gd name="T59" fmla="*/ 0 h 75"/>
                    <a:gd name="T60" fmla="*/ 145 w 607"/>
                    <a:gd name="T61" fmla="*/ 0 h 75"/>
                    <a:gd name="T62" fmla="*/ 159 w 607"/>
                    <a:gd name="T63" fmla="*/ 9 h 75"/>
                    <a:gd name="T64" fmla="*/ 140 w 607"/>
                    <a:gd name="T65" fmla="*/ 70 h 75"/>
                    <a:gd name="T66" fmla="*/ 188 w 607"/>
                    <a:gd name="T67" fmla="*/ 70 h 75"/>
                    <a:gd name="T68" fmla="*/ 178 w 607"/>
                    <a:gd name="T69" fmla="*/ 46 h 75"/>
                    <a:gd name="T70" fmla="*/ 99 w 607"/>
                    <a:gd name="T71" fmla="*/ 65 h 75"/>
                    <a:gd name="T72" fmla="*/ 70 w 607"/>
                    <a:gd name="T73" fmla="*/ 4 h 75"/>
                    <a:gd name="T74" fmla="*/ 89 w 607"/>
                    <a:gd name="T75" fmla="*/ 65 h 75"/>
                    <a:gd name="T76" fmla="*/ 75 w 607"/>
                    <a:gd name="T77" fmla="*/ 75 h 75"/>
                    <a:gd name="T78" fmla="*/ 118 w 607"/>
                    <a:gd name="T79" fmla="*/ 46 h 75"/>
                    <a:gd name="T80" fmla="*/ 108 w 607"/>
                    <a:gd name="T81" fmla="*/ 65 h 75"/>
                    <a:gd name="T82" fmla="*/ 29 w 607"/>
                    <a:gd name="T83" fmla="*/ 0 h 75"/>
                    <a:gd name="T84" fmla="*/ 5 w 607"/>
                    <a:gd name="T85" fmla="*/ 9 h 75"/>
                    <a:gd name="T86" fmla="*/ 5 w 607"/>
                    <a:gd name="T87" fmla="*/ 65 h 75"/>
                    <a:gd name="T88" fmla="*/ 43 w 607"/>
                    <a:gd name="T89" fmla="*/ 75 h 75"/>
                    <a:gd name="T90" fmla="*/ 43 w 607"/>
                    <a:gd name="T91" fmla="*/ 41 h 75"/>
                    <a:gd name="T92" fmla="*/ 29 w 607"/>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5">
                      <a:moveTo>
                        <a:pt x="569" y="9"/>
                      </a:moveTo>
                      <a:cubicBezTo>
                        <a:pt x="597" y="9"/>
                        <a:pt x="597" y="9"/>
                        <a:pt x="597" y="9"/>
                      </a:cubicBezTo>
                      <a:cubicBezTo>
                        <a:pt x="597" y="65"/>
                        <a:pt x="597" y="65"/>
                        <a:pt x="597" y="65"/>
                      </a:cubicBezTo>
                      <a:cubicBezTo>
                        <a:pt x="569" y="65"/>
                        <a:pt x="569" y="65"/>
                        <a:pt x="569" y="65"/>
                      </a:cubicBezTo>
                      <a:lnTo>
                        <a:pt x="569" y="9"/>
                      </a:lnTo>
                      <a:close/>
                      <a:moveTo>
                        <a:pt x="569" y="0"/>
                      </a:moveTo>
                      <a:cubicBezTo>
                        <a:pt x="563" y="0"/>
                        <a:pt x="559" y="4"/>
                        <a:pt x="559" y="9"/>
                      </a:cubicBezTo>
                      <a:cubicBezTo>
                        <a:pt x="559" y="65"/>
                        <a:pt x="559" y="65"/>
                        <a:pt x="559" y="65"/>
                      </a:cubicBezTo>
                      <a:cubicBezTo>
                        <a:pt x="559" y="71"/>
                        <a:pt x="563" y="75"/>
                        <a:pt x="569" y="75"/>
                      </a:cubicBezTo>
                      <a:cubicBezTo>
                        <a:pt x="597" y="75"/>
                        <a:pt x="597" y="75"/>
                        <a:pt x="597" y="75"/>
                      </a:cubicBezTo>
                      <a:cubicBezTo>
                        <a:pt x="603" y="75"/>
                        <a:pt x="607" y="71"/>
                        <a:pt x="607" y="65"/>
                      </a:cubicBezTo>
                      <a:cubicBezTo>
                        <a:pt x="607" y="9"/>
                        <a:pt x="607" y="9"/>
                        <a:pt x="607" y="9"/>
                      </a:cubicBezTo>
                      <a:cubicBezTo>
                        <a:pt x="607" y="4"/>
                        <a:pt x="602" y="0"/>
                        <a:pt x="597" y="0"/>
                      </a:cubicBezTo>
                      <a:lnTo>
                        <a:pt x="569" y="0"/>
                      </a:lnTo>
                      <a:close/>
                      <a:moveTo>
                        <a:pt x="518" y="65"/>
                      </a:moveTo>
                      <a:cubicBezTo>
                        <a:pt x="518" y="0"/>
                        <a:pt x="518" y="0"/>
                        <a:pt x="518" y="0"/>
                      </a:cubicBezTo>
                      <a:cubicBezTo>
                        <a:pt x="494" y="0"/>
                        <a:pt x="494" y="0"/>
                        <a:pt x="494" y="0"/>
                      </a:cubicBezTo>
                      <a:cubicBezTo>
                        <a:pt x="491" y="0"/>
                        <a:pt x="489" y="1"/>
                        <a:pt x="489" y="4"/>
                      </a:cubicBezTo>
                      <a:cubicBezTo>
                        <a:pt x="489" y="8"/>
                        <a:pt x="491" y="9"/>
                        <a:pt x="494" y="9"/>
                      </a:cubicBezTo>
                      <a:cubicBezTo>
                        <a:pt x="508" y="9"/>
                        <a:pt x="508" y="9"/>
                        <a:pt x="508" y="9"/>
                      </a:cubicBezTo>
                      <a:cubicBezTo>
                        <a:pt x="508" y="65"/>
                        <a:pt x="508" y="65"/>
                        <a:pt x="508" y="65"/>
                      </a:cubicBezTo>
                      <a:cubicBezTo>
                        <a:pt x="494" y="65"/>
                        <a:pt x="494" y="65"/>
                        <a:pt x="494" y="65"/>
                      </a:cubicBezTo>
                      <a:cubicBezTo>
                        <a:pt x="491" y="65"/>
                        <a:pt x="489" y="67"/>
                        <a:pt x="489" y="70"/>
                      </a:cubicBezTo>
                      <a:cubicBezTo>
                        <a:pt x="489" y="74"/>
                        <a:pt x="491" y="75"/>
                        <a:pt x="494" y="75"/>
                      </a:cubicBezTo>
                      <a:cubicBezTo>
                        <a:pt x="532" y="75"/>
                        <a:pt x="532" y="75"/>
                        <a:pt x="532" y="75"/>
                      </a:cubicBezTo>
                      <a:cubicBezTo>
                        <a:pt x="535" y="75"/>
                        <a:pt x="537" y="74"/>
                        <a:pt x="537" y="70"/>
                      </a:cubicBezTo>
                      <a:cubicBezTo>
                        <a:pt x="537" y="46"/>
                        <a:pt x="537" y="46"/>
                        <a:pt x="537" y="46"/>
                      </a:cubicBezTo>
                      <a:cubicBezTo>
                        <a:pt x="537" y="43"/>
                        <a:pt x="536" y="41"/>
                        <a:pt x="532" y="41"/>
                      </a:cubicBezTo>
                      <a:cubicBezTo>
                        <a:pt x="528" y="41"/>
                        <a:pt x="527" y="43"/>
                        <a:pt x="527" y="46"/>
                      </a:cubicBezTo>
                      <a:cubicBezTo>
                        <a:pt x="527" y="65"/>
                        <a:pt x="527" y="65"/>
                        <a:pt x="527" y="65"/>
                      </a:cubicBezTo>
                      <a:lnTo>
                        <a:pt x="518" y="65"/>
                      </a:lnTo>
                      <a:close/>
                      <a:moveTo>
                        <a:pt x="429" y="9"/>
                      </a:moveTo>
                      <a:cubicBezTo>
                        <a:pt x="457" y="9"/>
                        <a:pt x="457" y="9"/>
                        <a:pt x="457" y="9"/>
                      </a:cubicBezTo>
                      <a:cubicBezTo>
                        <a:pt x="457" y="65"/>
                        <a:pt x="457" y="65"/>
                        <a:pt x="457" y="65"/>
                      </a:cubicBezTo>
                      <a:cubicBezTo>
                        <a:pt x="429" y="65"/>
                        <a:pt x="429" y="65"/>
                        <a:pt x="429" y="65"/>
                      </a:cubicBezTo>
                      <a:lnTo>
                        <a:pt x="429" y="9"/>
                      </a:lnTo>
                      <a:close/>
                      <a:moveTo>
                        <a:pt x="429" y="0"/>
                      </a:moveTo>
                      <a:cubicBezTo>
                        <a:pt x="424" y="0"/>
                        <a:pt x="419" y="4"/>
                        <a:pt x="419" y="9"/>
                      </a:cubicBezTo>
                      <a:cubicBezTo>
                        <a:pt x="419" y="65"/>
                        <a:pt x="419" y="65"/>
                        <a:pt x="419" y="65"/>
                      </a:cubicBezTo>
                      <a:cubicBezTo>
                        <a:pt x="419" y="71"/>
                        <a:pt x="423" y="75"/>
                        <a:pt x="429" y="75"/>
                      </a:cubicBezTo>
                      <a:cubicBezTo>
                        <a:pt x="457" y="75"/>
                        <a:pt x="457" y="75"/>
                        <a:pt x="457" y="75"/>
                      </a:cubicBezTo>
                      <a:cubicBezTo>
                        <a:pt x="463" y="75"/>
                        <a:pt x="467" y="71"/>
                        <a:pt x="467" y="65"/>
                      </a:cubicBezTo>
                      <a:cubicBezTo>
                        <a:pt x="467" y="9"/>
                        <a:pt x="467" y="9"/>
                        <a:pt x="467" y="9"/>
                      </a:cubicBezTo>
                      <a:cubicBezTo>
                        <a:pt x="467" y="4"/>
                        <a:pt x="463" y="0"/>
                        <a:pt x="457" y="0"/>
                      </a:cubicBezTo>
                      <a:lnTo>
                        <a:pt x="429" y="0"/>
                      </a:lnTo>
                      <a:close/>
                      <a:moveTo>
                        <a:pt x="359" y="9"/>
                      </a:moveTo>
                      <a:cubicBezTo>
                        <a:pt x="388" y="9"/>
                        <a:pt x="388" y="9"/>
                        <a:pt x="388" y="9"/>
                      </a:cubicBezTo>
                      <a:cubicBezTo>
                        <a:pt x="388" y="65"/>
                        <a:pt x="388" y="65"/>
                        <a:pt x="388" y="65"/>
                      </a:cubicBezTo>
                      <a:cubicBezTo>
                        <a:pt x="359" y="65"/>
                        <a:pt x="359" y="65"/>
                        <a:pt x="359" y="65"/>
                      </a:cubicBezTo>
                      <a:lnTo>
                        <a:pt x="359" y="9"/>
                      </a:lnTo>
                      <a:close/>
                      <a:moveTo>
                        <a:pt x="359" y="0"/>
                      </a:moveTo>
                      <a:cubicBezTo>
                        <a:pt x="354" y="0"/>
                        <a:pt x="349" y="4"/>
                        <a:pt x="349" y="9"/>
                      </a:cubicBezTo>
                      <a:cubicBezTo>
                        <a:pt x="349" y="65"/>
                        <a:pt x="349" y="65"/>
                        <a:pt x="349" y="65"/>
                      </a:cubicBezTo>
                      <a:cubicBezTo>
                        <a:pt x="349" y="71"/>
                        <a:pt x="354" y="75"/>
                        <a:pt x="359" y="75"/>
                      </a:cubicBezTo>
                      <a:cubicBezTo>
                        <a:pt x="388" y="75"/>
                        <a:pt x="388" y="75"/>
                        <a:pt x="388" y="75"/>
                      </a:cubicBezTo>
                      <a:cubicBezTo>
                        <a:pt x="393" y="75"/>
                        <a:pt x="397" y="71"/>
                        <a:pt x="397" y="65"/>
                      </a:cubicBezTo>
                      <a:cubicBezTo>
                        <a:pt x="397" y="9"/>
                        <a:pt x="397" y="9"/>
                        <a:pt x="397" y="9"/>
                      </a:cubicBezTo>
                      <a:cubicBezTo>
                        <a:pt x="397" y="4"/>
                        <a:pt x="393" y="0"/>
                        <a:pt x="388" y="0"/>
                      </a:cubicBezTo>
                      <a:lnTo>
                        <a:pt x="359" y="0"/>
                      </a:lnTo>
                      <a:close/>
                      <a:moveTo>
                        <a:pt x="308" y="65"/>
                      </a:moveTo>
                      <a:cubicBezTo>
                        <a:pt x="308" y="0"/>
                        <a:pt x="308" y="0"/>
                        <a:pt x="308" y="0"/>
                      </a:cubicBezTo>
                      <a:cubicBezTo>
                        <a:pt x="284" y="0"/>
                        <a:pt x="284" y="0"/>
                        <a:pt x="284" y="0"/>
                      </a:cubicBezTo>
                      <a:cubicBezTo>
                        <a:pt x="282" y="0"/>
                        <a:pt x="280" y="1"/>
                        <a:pt x="280" y="4"/>
                      </a:cubicBezTo>
                      <a:cubicBezTo>
                        <a:pt x="280" y="8"/>
                        <a:pt x="282" y="9"/>
                        <a:pt x="284" y="9"/>
                      </a:cubicBezTo>
                      <a:cubicBezTo>
                        <a:pt x="299" y="9"/>
                        <a:pt x="299" y="9"/>
                        <a:pt x="299" y="9"/>
                      </a:cubicBezTo>
                      <a:cubicBezTo>
                        <a:pt x="299" y="65"/>
                        <a:pt x="299" y="65"/>
                        <a:pt x="299" y="65"/>
                      </a:cubicBezTo>
                      <a:cubicBezTo>
                        <a:pt x="284" y="65"/>
                        <a:pt x="284" y="65"/>
                        <a:pt x="284" y="65"/>
                      </a:cubicBezTo>
                      <a:cubicBezTo>
                        <a:pt x="282" y="65"/>
                        <a:pt x="280" y="67"/>
                        <a:pt x="280" y="70"/>
                      </a:cubicBezTo>
                      <a:cubicBezTo>
                        <a:pt x="280" y="74"/>
                        <a:pt x="282" y="75"/>
                        <a:pt x="284" y="75"/>
                      </a:cubicBezTo>
                      <a:cubicBezTo>
                        <a:pt x="323" y="75"/>
                        <a:pt x="323" y="75"/>
                        <a:pt x="323" y="75"/>
                      </a:cubicBezTo>
                      <a:cubicBezTo>
                        <a:pt x="325" y="75"/>
                        <a:pt x="328" y="74"/>
                        <a:pt x="328" y="70"/>
                      </a:cubicBezTo>
                      <a:cubicBezTo>
                        <a:pt x="328" y="46"/>
                        <a:pt x="328" y="46"/>
                        <a:pt x="328" y="46"/>
                      </a:cubicBezTo>
                      <a:cubicBezTo>
                        <a:pt x="328" y="43"/>
                        <a:pt x="326" y="41"/>
                        <a:pt x="323" y="41"/>
                      </a:cubicBezTo>
                      <a:cubicBezTo>
                        <a:pt x="319" y="41"/>
                        <a:pt x="318" y="43"/>
                        <a:pt x="318" y="46"/>
                      </a:cubicBezTo>
                      <a:cubicBezTo>
                        <a:pt x="318" y="65"/>
                        <a:pt x="318" y="65"/>
                        <a:pt x="318" y="65"/>
                      </a:cubicBezTo>
                      <a:lnTo>
                        <a:pt x="308" y="65"/>
                      </a:lnTo>
                      <a:close/>
                      <a:moveTo>
                        <a:pt x="220" y="9"/>
                      </a:moveTo>
                      <a:cubicBezTo>
                        <a:pt x="248" y="9"/>
                        <a:pt x="248" y="9"/>
                        <a:pt x="248" y="9"/>
                      </a:cubicBezTo>
                      <a:cubicBezTo>
                        <a:pt x="248" y="65"/>
                        <a:pt x="248" y="65"/>
                        <a:pt x="248" y="65"/>
                      </a:cubicBezTo>
                      <a:cubicBezTo>
                        <a:pt x="220" y="65"/>
                        <a:pt x="220" y="65"/>
                        <a:pt x="220" y="65"/>
                      </a:cubicBezTo>
                      <a:lnTo>
                        <a:pt x="220" y="9"/>
                      </a:lnTo>
                      <a:close/>
                      <a:moveTo>
                        <a:pt x="220" y="0"/>
                      </a:moveTo>
                      <a:cubicBezTo>
                        <a:pt x="214" y="0"/>
                        <a:pt x="210" y="4"/>
                        <a:pt x="210" y="9"/>
                      </a:cubicBezTo>
                      <a:cubicBezTo>
                        <a:pt x="210" y="65"/>
                        <a:pt x="210" y="65"/>
                        <a:pt x="210" y="65"/>
                      </a:cubicBezTo>
                      <a:cubicBezTo>
                        <a:pt x="210" y="71"/>
                        <a:pt x="214" y="75"/>
                        <a:pt x="220" y="75"/>
                      </a:cubicBezTo>
                      <a:cubicBezTo>
                        <a:pt x="248" y="75"/>
                        <a:pt x="248" y="75"/>
                        <a:pt x="248" y="75"/>
                      </a:cubicBezTo>
                      <a:cubicBezTo>
                        <a:pt x="254" y="75"/>
                        <a:pt x="258" y="71"/>
                        <a:pt x="258" y="65"/>
                      </a:cubicBezTo>
                      <a:cubicBezTo>
                        <a:pt x="258" y="9"/>
                        <a:pt x="258" y="9"/>
                        <a:pt x="258" y="9"/>
                      </a:cubicBezTo>
                      <a:cubicBezTo>
                        <a:pt x="258" y="4"/>
                        <a:pt x="253" y="0"/>
                        <a:pt x="248" y="0"/>
                      </a:cubicBezTo>
                      <a:lnTo>
                        <a:pt x="220" y="0"/>
                      </a:lnTo>
                      <a:close/>
                      <a:moveTo>
                        <a:pt x="169" y="65"/>
                      </a:moveTo>
                      <a:cubicBezTo>
                        <a:pt x="169" y="0"/>
                        <a:pt x="169" y="0"/>
                        <a:pt x="169" y="0"/>
                      </a:cubicBezTo>
                      <a:cubicBezTo>
                        <a:pt x="145" y="0"/>
                        <a:pt x="145" y="0"/>
                        <a:pt x="145" y="0"/>
                      </a:cubicBezTo>
                      <a:cubicBezTo>
                        <a:pt x="142" y="0"/>
                        <a:pt x="140" y="1"/>
                        <a:pt x="140" y="4"/>
                      </a:cubicBezTo>
                      <a:cubicBezTo>
                        <a:pt x="140" y="8"/>
                        <a:pt x="142" y="9"/>
                        <a:pt x="145" y="9"/>
                      </a:cubicBezTo>
                      <a:cubicBezTo>
                        <a:pt x="159" y="9"/>
                        <a:pt x="159" y="9"/>
                        <a:pt x="159" y="9"/>
                      </a:cubicBezTo>
                      <a:cubicBezTo>
                        <a:pt x="159" y="65"/>
                        <a:pt x="159" y="65"/>
                        <a:pt x="159" y="65"/>
                      </a:cubicBezTo>
                      <a:cubicBezTo>
                        <a:pt x="145" y="65"/>
                        <a:pt x="145" y="65"/>
                        <a:pt x="145" y="65"/>
                      </a:cubicBezTo>
                      <a:cubicBezTo>
                        <a:pt x="142" y="65"/>
                        <a:pt x="140" y="67"/>
                        <a:pt x="140" y="70"/>
                      </a:cubicBezTo>
                      <a:cubicBezTo>
                        <a:pt x="140" y="74"/>
                        <a:pt x="142" y="75"/>
                        <a:pt x="145" y="75"/>
                      </a:cubicBezTo>
                      <a:cubicBezTo>
                        <a:pt x="183" y="75"/>
                        <a:pt x="183" y="75"/>
                        <a:pt x="183" y="75"/>
                      </a:cubicBezTo>
                      <a:cubicBezTo>
                        <a:pt x="186" y="75"/>
                        <a:pt x="188" y="74"/>
                        <a:pt x="188" y="70"/>
                      </a:cubicBezTo>
                      <a:cubicBezTo>
                        <a:pt x="188" y="46"/>
                        <a:pt x="188" y="46"/>
                        <a:pt x="188" y="46"/>
                      </a:cubicBezTo>
                      <a:cubicBezTo>
                        <a:pt x="188" y="43"/>
                        <a:pt x="187" y="41"/>
                        <a:pt x="183" y="41"/>
                      </a:cubicBezTo>
                      <a:cubicBezTo>
                        <a:pt x="180" y="41"/>
                        <a:pt x="178" y="43"/>
                        <a:pt x="178" y="46"/>
                      </a:cubicBezTo>
                      <a:cubicBezTo>
                        <a:pt x="178" y="65"/>
                        <a:pt x="178" y="65"/>
                        <a:pt x="178" y="65"/>
                      </a:cubicBezTo>
                      <a:lnTo>
                        <a:pt x="169" y="65"/>
                      </a:lnTo>
                      <a:close/>
                      <a:moveTo>
                        <a:pt x="99" y="65"/>
                      </a:moveTo>
                      <a:cubicBezTo>
                        <a:pt x="99" y="0"/>
                        <a:pt x="99" y="0"/>
                        <a:pt x="99" y="0"/>
                      </a:cubicBezTo>
                      <a:cubicBezTo>
                        <a:pt x="75" y="0"/>
                        <a:pt x="75" y="0"/>
                        <a:pt x="75" y="0"/>
                      </a:cubicBezTo>
                      <a:cubicBezTo>
                        <a:pt x="73" y="0"/>
                        <a:pt x="70" y="1"/>
                        <a:pt x="70" y="4"/>
                      </a:cubicBezTo>
                      <a:cubicBezTo>
                        <a:pt x="70" y="8"/>
                        <a:pt x="73" y="9"/>
                        <a:pt x="75" y="9"/>
                      </a:cubicBezTo>
                      <a:cubicBezTo>
                        <a:pt x="89" y="9"/>
                        <a:pt x="89" y="9"/>
                        <a:pt x="89" y="9"/>
                      </a:cubicBezTo>
                      <a:cubicBezTo>
                        <a:pt x="89" y="65"/>
                        <a:pt x="89" y="65"/>
                        <a:pt x="89" y="65"/>
                      </a:cubicBezTo>
                      <a:cubicBezTo>
                        <a:pt x="75" y="65"/>
                        <a:pt x="75" y="65"/>
                        <a:pt x="75" y="65"/>
                      </a:cubicBezTo>
                      <a:cubicBezTo>
                        <a:pt x="73" y="65"/>
                        <a:pt x="70" y="67"/>
                        <a:pt x="70" y="70"/>
                      </a:cubicBezTo>
                      <a:cubicBezTo>
                        <a:pt x="70" y="74"/>
                        <a:pt x="73" y="75"/>
                        <a:pt x="75" y="75"/>
                      </a:cubicBezTo>
                      <a:cubicBezTo>
                        <a:pt x="113" y="75"/>
                        <a:pt x="113" y="75"/>
                        <a:pt x="113" y="75"/>
                      </a:cubicBezTo>
                      <a:cubicBezTo>
                        <a:pt x="116" y="75"/>
                        <a:pt x="118" y="74"/>
                        <a:pt x="118" y="70"/>
                      </a:cubicBezTo>
                      <a:cubicBezTo>
                        <a:pt x="118" y="46"/>
                        <a:pt x="118" y="46"/>
                        <a:pt x="118" y="46"/>
                      </a:cubicBezTo>
                      <a:cubicBezTo>
                        <a:pt x="118" y="43"/>
                        <a:pt x="117" y="41"/>
                        <a:pt x="113" y="41"/>
                      </a:cubicBezTo>
                      <a:cubicBezTo>
                        <a:pt x="110" y="41"/>
                        <a:pt x="108" y="43"/>
                        <a:pt x="108" y="46"/>
                      </a:cubicBezTo>
                      <a:cubicBezTo>
                        <a:pt x="108" y="65"/>
                        <a:pt x="108" y="65"/>
                        <a:pt x="108" y="65"/>
                      </a:cubicBezTo>
                      <a:lnTo>
                        <a:pt x="99" y="65"/>
                      </a:lnTo>
                      <a:close/>
                      <a:moveTo>
                        <a:pt x="29" y="65"/>
                      </a:moveTo>
                      <a:cubicBezTo>
                        <a:pt x="29" y="0"/>
                        <a:pt x="29" y="0"/>
                        <a:pt x="29" y="0"/>
                      </a:cubicBezTo>
                      <a:cubicBezTo>
                        <a:pt x="5" y="0"/>
                        <a:pt x="5" y="0"/>
                        <a:pt x="5" y="0"/>
                      </a:cubicBezTo>
                      <a:cubicBezTo>
                        <a:pt x="3" y="0"/>
                        <a:pt x="0" y="1"/>
                        <a:pt x="0" y="4"/>
                      </a:cubicBezTo>
                      <a:cubicBezTo>
                        <a:pt x="0" y="8"/>
                        <a:pt x="3" y="9"/>
                        <a:pt x="5" y="9"/>
                      </a:cubicBezTo>
                      <a:cubicBezTo>
                        <a:pt x="20" y="9"/>
                        <a:pt x="20" y="9"/>
                        <a:pt x="20" y="9"/>
                      </a:cubicBezTo>
                      <a:cubicBezTo>
                        <a:pt x="20" y="65"/>
                        <a:pt x="20" y="65"/>
                        <a:pt x="20" y="65"/>
                      </a:cubicBezTo>
                      <a:cubicBezTo>
                        <a:pt x="5" y="65"/>
                        <a:pt x="5" y="65"/>
                        <a:pt x="5" y="65"/>
                      </a:cubicBezTo>
                      <a:cubicBezTo>
                        <a:pt x="3" y="65"/>
                        <a:pt x="0" y="67"/>
                        <a:pt x="0" y="70"/>
                      </a:cubicBezTo>
                      <a:cubicBezTo>
                        <a:pt x="0" y="74"/>
                        <a:pt x="3" y="75"/>
                        <a:pt x="5" y="75"/>
                      </a:cubicBezTo>
                      <a:cubicBezTo>
                        <a:pt x="43" y="75"/>
                        <a:pt x="43" y="75"/>
                        <a:pt x="43" y="75"/>
                      </a:cubicBezTo>
                      <a:cubicBezTo>
                        <a:pt x="46" y="75"/>
                        <a:pt x="48" y="74"/>
                        <a:pt x="48" y="70"/>
                      </a:cubicBezTo>
                      <a:cubicBezTo>
                        <a:pt x="48" y="46"/>
                        <a:pt x="48" y="46"/>
                        <a:pt x="48" y="46"/>
                      </a:cubicBezTo>
                      <a:cubicBezTo>
                        <a:pt x="48" y="43"/>
                        <a:pt x="47" y="41"/>
                        <a:pt x="43" y="41"/>
                      </a:cubicBezTo>
                      <a:cubicBezTo>
                        <a:pt x="40" y="41"/>
                        <a:pt x="39" y="43"/>
                        <a:pt x="39" y="46"/>
                      </a:cubicBezTo>
                      <a:cubicBezTo>
                        <a:pt x="39" y="65"/>
                        <a:pt x="39" y="65"/>
                        <a:pt x="39"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1" name="Freeform 90">
                  <a:extLst>
                    <a:ext uri="{FF2B5EF4-FFF2-40B4-BE49-F238E27FC236}">
                      <a16:creationId xmlns:a16="http://schemas.microsoft.com/office/drawing/2014/main" id="{55ECEEEA-EEBB-47CD-B5EE-45F2EE6D4EAD}"/>
                    </a:ext>
                  </a:extLst>
                </p:cNvPr>
                <p:cNvSpPr>
                  <a:spLocks noEditPoints="1"/>
                </p:cNvSpPr>
                <p:nvPr/>
              </p:nvSpPr>
              <p:spPr bwMode="auto">
                <a:xfrm>
                  <a:off x="8497887" y="6848475"/>
                  <a:ext cx="257175" cy="31750"/>
                </a:xfrm>
                <a:custGeom>
                  <a:avLst/>
                  <a:gdLst>
                    <a:gd name="T0" fmla="*/ 564 w 607"/>
                    <a:gd name="T1" fmla="*/ 0 h 76"/>
                    <a:gd name="T2" fmla="*/ 578 w 607"/>
                    <a:gd name="T3" fmla="*/ 10 h 76"/>
                    <a:gd name="T4" fmla="*/ 559 w 607"/>
                    <a:gd name="T5" fmla="*/ 71 h 76"/>
                    <a:gd name="T6" fmla="*/ 607 w 607"/>
                    <a:gd name="T7" fmla="*/ 71 h 76"/>
                    <a:gd name="T8" fmla="*/ 597 w 607"/>
                    <a:gd name="T9" fmla="*/ 46 h 76"/>
                    <a:gd name="T10" fmla="*/ 518 w 607"/>
                    <a:gd name="T11" fmla="*/ 66 h 76"/>
                    <a:gd name="T12" fmla="*/ 489 w 607"/>
                    <a:gd name="T13" fmla="*/ 5 h 76"/>
                    <a:gd name="T14" fmla="*/ 508 w 607"/>
                    <a:gd name="T15" fmla="*/ 66 h 76"/>
                    <a:gd name="T16" fmla="*/ 494 w 607"/>
                    <a:gd name="T17" fmla="*/ 76 h 76"/>
                    <a:gd name="T18" fmla="*/ 537 w 607"/>
                    <a:gd name="T19" fmla="*/ 46 h 76"/>
                    <a:gd name="T20" fmla="*/ 527 w 607"/>
                    <a:gd name="T21" fmla="*/ 66 h 76"/>
                    <a:gd name="T22" fmla="*/ 457 w 607"/>
                    <a:gd name="T23" fmla="*/ 10 h 76"/>
                    <a:gd name="T24" fmla="*/ 429 w 607"/>
                    <a:gd name="T25" fmla="*/ 10 h 76"/>
                    <a:gd name="T26" fmla="*/ 419 w 607"/>
                    <a:gd name="T27" fmla="*/ 66 h 76"/>
                    <a:gd name="T28" fmla="*/ 467 w 607"/>
                    <a:gd name="T29" fmla="*/ 66 h 76"/>
                    <a:gd name="T30" fmla="*/ 429 w 607"/>
                    <a:gd name="T31" fmla="*/ 0 h 76"/>
                    <a:gd name="T32" fmla="*/ 354 w 607"/>
                    <a:gd name="T33" fmla="*/ 0 h 76"/>
                    <a:gd name="T34" fmla="*/ 369 w 607"/>
                    <a:gd name="T35" fmla="*/ 10 h 76"/>
                    <a:gd name="T36" fmla="*/ 349 w 607"/>
                    <a:gd name="T37" fmla="*/ 71 h 76"/>
                    <a:gd name="T38" fmla="*/ 397 w 607"/>
                    <a:gd name="T39" fmla="*/ 71 h 76"/>
                    <a:gd name="T40" fmla="*/ 388 w 607"/>
                    <a:gd name="T41" fmla="*/ 46 h 76"/>
                    <a:gd name="T42" fmla="*/ 289 w 607"/>
                    <a:gd name="T43" fmla="*/ 10 h 76"/>
                    <a:gd name="T44" fmla="*/ 289 w 607"/>
                    <a:gd name="T45" fmla="*/ 66 h 76"/>
                    <a:gd name="T46" fmla="*/ 280 w 607"/>
                    <a:gd name="T47" fmla="*/ 10 h 76"/>
                    <a:gd name="T48" fmla="*/ 318 w 607"/>
                    <a:gd name="T49" fmla="*/ 76 h 76"/>
                    <a:gd name="T50" fmla="*/ 318 w 607"/>
                    <a:gd name="T51" fmla="*/ 0 h 76"/>
                    <a:gd name="T52" fmla="*/ 239 w 607"/>
                    <a:gd name="T53" fmla="*/ 0 h 76"/>
                    <a:gd name="T54" fmla="*/ 215 w 607"/>
                    <a:gd name="T55" fmla="*/ 10 h 76"/>
                    <a:gd name="T56" fmla="*/ 215 w 607"/>
                    <a:gd name="T57" fmla="*/ 66 h 76"/>
                    <a:gd name="T58" fmla="*/ 253 w 607"/>
                    <a:gd name="T59" fmla="*/ 76 h 76"/>
                    <a:gd name="T60" fmla="*/ 253 w 607"/>
                    <a:gd name="T61" fmla="*/ 41 h 76"/>
                    <a:gd name="T62" fmla="*/ 239 w 607"/>
                    <a:gd name="T63" fmla="*/ 66 h 76"/>
                    <a:gd name="T64" fmla="*/ 178 w 607"/>
                    <a:gd name="T65" fmla="*/ 66 h 76"/>
                    <a:gd name="T66" fmla="*/ 150 w 607"/>
                    <a:gd name="T67" fmla="*/ 0 h 76"/>
                    <a:gd name="T68" fmla="*/ 150 w 607"/>
                    <a:gd name="T69" fmla="*/ 76 h 76"/>
                    <a:gd name="T70" fmla="*/ 188 w 607"/>
                    <a:gd name="T71" fmla="*/ 10 h 76"/>
                    <a:gd name="T72" fmla="*/ 80 w 607"/>
                    <a:gd name="T73" fmla="*/ 10 h 76"/>
                    <a:gd name="T74" fmla="*/ 80 w 607"/>
                    <a:gd name="T75" fmla="*/ 66 h 76"/>
                    <a:gd name="T76" fmla="*/ 70 w 607"/>
                    <a:gd name="T77" fmla="*/ 10 h 76"/>
                    <a:gd name="T78" fmla="*/ 108 w 607"/>
                    <a:gd name="T79" fmla="*/ 76 h 76"/>
                    <a:gd name="T80" fmla="*/ 108 w 607"/>
                    <a:gd name="T81" fmla="*/ 0 h 76"/>
                    <a:gd name="T82" fmla="*/ 29 w 607"/>
                    <a:gd name="T83" fmla="*/ 0 h 76"/>
                    <a:gd name="T84" fmla="*/ 5 w 607"/>
                    <a:gd name="T85" fmla="*/ 10 h 76"/>
                    <a:gd name="T86" fmla="*/ 5 w 607"/>
                    <a:gd name="T87" fmla="*/ 66 h 76"/>
                    <a:gd name="T88" fmla="*/ 43 w 607"/>
                    <a:gd name="T89" fmla="*/ 76 h 76"/>
                    <a:gd name="T90" fmla="*/ 43 w 607"/>
                    <a:gd name="T91" fmla="*/ 41 h 76"/>
                    <a:gd name="T92" fmla="*/ 29 w 607"/>
                    <a:gd name="T93"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6">
                      <a:moveTo>
                        <a:pt x="588" y="66"/>
                      </a:moveTo>
                      <a:cubicBezTo>
                        <a:pt x="588" y="0"/>
                        <a:pt x="588" y="0"/>
                        <a:pt x="588" y="0"/>
                      </a:cubicBezTo>
                      <a:cubicBezTo>
                        <a:pt x="564" y="0"/>
                        <a:pt x="564" y="0"/>
                        <a:pt x="564" y="0"/>
                      </a:cubicBezTo>
                      <a:cubicBezTo>
                        <a:pt x="561" y="0"/>
                        <a:pt x="559" y="2"/>
                        <a:pt x="559" y="5"/>
                      </a:cubicBezTo>
                      <a:cubicBezTo>
                        <a:pt x="559" y="9"/>
                        <a:pt x="561" y="10"/>
                        <a:pt x="564" y="10"/>
                      </a:cubicBezTo>
                      <a:cubicBezTo>
                        <a:pt x="578" y="10"/>
                        <a:pt x="578" y="10"/>
                        <a:pt x="578" y="10"/>
                      </a:cubicBezTo>
                      <a:cubicBezTo>
                        <a:pt x="578" y="66"/>
                        <a:pt x="578" y="66"/>
                        <a:pt x="578" y="66"/>
                      </a:cubicBezTo>
                      <a:cubicBezTo>
                        <a:pt x="564" y="66"/>
                        <a:pt x="564" y="66"/>
                        <a:pt x="564" y="66"/>
                      </a:cubicBezTo>
                      <a:cubicBezTo>
                        <a:pt x="561" y="66"/>
                        <a:pt x="559" y="67"/>
                        <a:pt x="559" y="71"/>
                      </a:cubicBezTo>
                      <a:cubicBezTo>
                        <a:pt x="559" y="74"/>
                        <a:pt x="561" y="76"/>
                        <a:pt x="564" y="76"/>
                      </a:cubicBezTo>
                      <a:cubicBezTo>
                        <a:pt x="602" y="76"/>
                        <a:pt x="602" y="76"/>
                        <a:pt x="602" y="76"/>
                      </a:cubicBezTo>
                      <a:cubicBezTo>
                        <a:pt x="604" y="76"/>
                        <a:pt x="607" y="74"/>
                        <a:pt x="607" y="71"/>
                      </a:cubicBezTo>
                      <a:cubicBezTo>
                        <a:pt x="607" y="46"/>
                        <a:pt x="607" y="46"/>
                        <a:pt x="607" y="46"/>
                      </a:cubicBezTo>
                      <a:cubicBezTo>
                        <a:pt x="607" y="44"/>
                        <a:pt x="605" y="41"/>
                        <a:pt x="602" y="41"/>
                      </a:cubicBezTo>
                      <a:cubicBezTo>
                        <a:pt x="598" y="41"/>
                        <a:pt x="597" y="44"/>
                        <a:pt x="597" y="46"/>
                      </a:cubicBezTo>
                      <a:cubicBezTo>
                        <a:pt x="597" y="66"/>
                        <a:pt x="597" y="66"/>
                        <a:pt x="597" y="66"/>
                      </a:cubicBezTo>
                      <a:lnTo>
                        <a:pt x="588" y="66"/>
                      </a:lnTo>
                      <a:close/>
                      <a:moveTo>
                        <a:pt x="518" y="66"/>
                      </a:moveTo>
                      <a:cubicBezTo>
                        <a:pt x="518" y="0"/>
                        <a:pt x="518" y="0"/>
                        <a:pt x="518" y="0"/>
                      </a:cubicBezTo>
                      <a:cubicBezTo>
                        <a:pt x="494" y="0"/>
                        <a:pt x="494" y="0"/>
                        <a:pt x="494" y="0"/>
                      </a:cubicBezTo>
                      <a:cubicBezTo>
                        <a:pt x="491" y="0"/>
                        <a:pt x="489" y="2"/>
                        <a:pt x="489" y="5"/>
                      </a:cubicBezTo>
                      <a:cubicBezTo>
                        <a:pt x="489" y="9"/>
                        <a:pt x="491" y="10"/>
                        <a:pt x="494" y="10"/>
                      </a:cubicBezTo>
                      <a:cubicBezTo>
                        <a:pt x="508" y="10"/>
                        <a:pt x="508" y="10"/>
                        <a:pt x="508" y="10"/>
                      </a:cubicBezTo>
                      <a:cubicBezTo>
                        <a:pt x="508" y="66"/>
                        <a:pt x="508" y="66"/>
                        <a:pt x="508" y="66"/>
                      </a:cubicBezTo>
                      <a:cubicBezTo>
                        <a:pt x="494" y="66"/>
                        <a:pt x="494" y="66"/>
                        <a:pt x="494" y="66"/>
                      </a:cubicBezTo>
                      <a:cubicBezTo>
                        <a:pt x="491" y="66"/>
                        <a:pt x="489" y="67"/>
                        <a:pt x="489" y="71"/>
                      </a:cubicBezTo>
                      <a:cubicBezTo>
                        <a:pt x="489" y="74"/>
                        <a:pt x="491" y="76"/>
                        <a:pt x="494" y="76"/>
                      </a:cubicBezTo>
                      <a:cubicBezTo>
                        <a:pt x="532" y="76"/>
                        <a:pt x="532" y="76"/>
                        <a:pt x="532" y="76"/>
                      </a:cubicBezTo>
                      <a:cubicBezTo>
                        <a:pt x="535" y="76"/>
                        <a:pt x="537" y="74"/>
                        <a:pt x="537" y="71"/>
                      </a:cubicBezTo>
                      <a:cubicBezTo>
                        <a:pt x="537" y="46"/>
                        <a:pt x="537" y="46"/>
                        <a:pt x="537" y="46"/>
                      </a:cubicBezTo>
                      <a:cubicBezTo>
                        <a:pt x="537" y="44"/>
                        <a:pt x="536" y="41"/>
                        <a:pt x="532" y="41"/>
                      </a:cubicBezTo>
                      <a:cubicBezTo>
                        <a:pt x="528" y="41"/>
                        <a:pt x="527" y="44"/>
                        <a:pt x="527" y="46"/>
                      </a:cubicBezTo>
                      <a:cubicBezTo>
                        <a:pt x="527" y="66"/>
                        <a:pt x="527" y="66"/>
                        <a:pt x="527" y="66"/>
                      </a:cubicBezTo>
                      <a:lnTo>
                        <a:pt x="518" y="66"/>
                      </a:lnTo>
                      <a:close/>
                      <a:moveTo>
                        <a:pt x="429" y="10"/>
                      </a:moveTo>
                      <a:cubicBezTo>
                        <a:pt x="457" y="10"/>
                        <a:pt x="457" y="10"/>
                        <a:pt x="457" y="10"/>
                      </a:cubicBezTo>
                      <a:cubicBezTo>
                        <a:pt x="457" y="66"/>
                        <a:pt x="457" y="66"/>
                        <a:pt x="457" y="66"/>
                      </a:cubicBezTo>
                      <a:cubicBezTo>
                        <a:pt x="429" y="66"/>
                        <a:pt x="429" y="66"/>
                        <a:pt x="429" y="66"/>
                      </a:cubicBezTo>
                      <a:lnTo>
                        <a:pt x="429" y="10"/>
                      </a:lnTo>
                      <a:close/>
                      <a:moveTo>
                        <a:pt x="429" y="0"/>
                      </a:moveTo>
                      <a:cubicBezTo>
                        <a:pt x="424" y="0"/>
                        <a:pt x="419" y="5"/>
                        <a:pt x="419" y="10"/>
                      </a:cubicBezTo>
                      <a:cubicBezTo>
                        <a:pt x="419" y="66"/>
                        <a:pt x="419" y="66"/>
                        <a:pt x="419" y="66"/>
                      </a:cubicBezTo>
                      <a:cubicBezTo>
                        <a:pt x="419" y="71"/>
                        <a:pt x="423" y="76"/>
                        <a:pt x="429" y="76"/>
                      </a:cubicBezTo>
                      <a:cubicBezTo>
                        <a:pt x="457" y="76"/>
                        <a:pt x="457" y="76"/>
                        <a:pt x="457" y="76"/>
                      </a:cubicBezTo>
                      <a:cubicBezTo>
                        <a:pt x="463" y="76"/>
                        <a:pt x="467" y="71"/>
                        <a:pt x="467" y="66"/>
                      </a:cubicBezTo>
                      <a:cubicBezTo>
                        <a:pt x="467" y="10"/>
                        <a:pt x="467" y="10"/>
                        <a:pt x="467" y="10"/>
                      </a:cubicBezTo>
                      <a:cubicBezTo>
                        <a:pt x="467" y="5"/>
                        <a:pt x="463" y="0"/>
                        <a:pt x="457" y="0"/>
                      </a:cubicBezTo>
                      <a:lnTo>
                        <a:pt x="429" y="0"/>
                      </a:lnTo>
                      <a:close/>
                      <a:moveTo>
                        <a:pt x="378" y="66"/>
                      </a:moveTo>
                      <a:cubicBezTo>
                        <a:pt x="378" y="0"/>
                        <a:pt x="378" y="0"/>
                        <a:pt x="378" y="0"/>
                      </a:cubicBezTo>
                      <a:cubicBezTo>
                        <a:pt x="354" y="0"/>
                        <a:pt x="354" y="0"/>
                        <a:pt x="354" y="0"/>
                      </a:cubicBezTo>
                      <a:cubicBezTo>
                        <a:pt x="352" y="0"/>
                        <a:pt x="349" y="2"/>
                        <a:pt x="349" y="5"/>
                      </a:cubicBezTo>
                      <a:cubicBezTo>
                        <a:pt x="349" y="9"/>
                        <a:pt x="352" y="10"/>
                        <a:pt x="354" y="10"/>
                      </a:cubicBezTo>
                      <a:cubicBezTo>
                        <a:pt x="369" y="10"/>
                        <a:pt x="369" y="10"/>
                        <a:pt x="369" y="10"/>
                      </a:cubicBezTo>
                      <a:cubicBezTo>
                        <a:pt x="369" y="66"/>
                        <a:pt x="369" y="66"/>
                        <a:pt x="369" y="66"/>
                      </a:cubicBezTo>
                      <a:cubicBezTo>
                        <a:pt x="354" y="66"/>
                        <a:pt x="354" y="66"/>
                        <a:pt x="354" y="66"/>
                      </a:cubicBezTo>
                      <a:cubicBezTo>
                        <a:pt x="352" y="66"/>
                        <a:pt x="349" y="67"/>
                        <a:pt x="349" y="71"/>
                      </a:cubicBezTo>
                      <a:cubicBezTo>
                        <a:pt x="349" y="74"/>
                        <a:pt x="352" y="76"/>
                        <a:pt x="354" y="76"/>
                      </a:cubicBezTo>
                      <a:cubicBezTo>
                        <a:pt x="392" y="76"/>
                        <a:pt x="392" y="76"/>
                        <a:pt x="392" y="76"/>
                      </a:cubicBezTo>
                      <a:cubicBezTo>
                        <a:pt x="395" y="76"/>
                        <a:pt x="397" y="74"/>
                        <a:pt x="397" y="71"/>
                      </a:cubicBezTo>
                      <a:cubicBezTo>
                        <a:pt x="397" y="46"/>
                        <a:pt x="397" y="46"/>
                        <a:pt x="397" y="46"/>
                      </a:cubicBezTo>
                      <a:cubicBezTo>
                        <a:pt x="397" y="44"/>
                        <a:pt x="396" y="41"/>
                        <a:pt x="392" y="41"/>
                      </a:cubicBezTo>
                      <a:cubicBezTo>
                        <a:pt x="389" y="41"/>
                        <a:pt x="388" y="44"/>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5"/>
                        <a:pt x="280" y="10"/>
                      </a:cubicBezTo>
                      <a:cubicBezTo>
                        <a:pt x="280" y="66"/>
                        <a:pt x="280" y="66"/>
                        <a:pt x="280" y="66"/>
                      </a:cubicBezTo>
                      <a:cubicBezTo>
                        <a:pt x="280" y="71"/>
                        <a:pt x="284" y="76"/>
                        <a:pt x="289" y="76"/>
                      </a:cubicBezTo>
                      <a:cubicBezTo>
                        <a:pt x="318" y="76"/>
                        <a:pt x="318" y="76"/>
                        <a:pt x="318" y="76"/>
                      </a:cubicBezTo>
                      <a:cubicBezTo>
                        <a:pt x="323" y="76"/>
                        <a:pt x="328" y="71"/>
                        <a:pt x="328" y="66"/>
                      </a:cubicBezTo>
                      <a:cubicBezTo>
                        <a:pt x="328" y="10"/>
                        <a:pt x="328" y="10"/>
                        <a:pt x="328" y="10"/>
                      </a:cubicBezTo>
                      <a:cubicBezTo>
                        <a:pt x="328" y="5"/>
                        <a:pt x="323" y="0"/>
                        <a:pt x="318" y="0"/>
                      </a:cubicBezTo>
                      <a:lnTo>
                        <a:pt x="289" y="0"/>
                      </a:lnTo>
                      <a:close/>
                      <a:moveTo>
                        <a:pt x="239" y="66"/>
                      </a:moveTo>
                      <a:cubicBezTo>
                        <a:pt x="239" y="0"/>
                        <a:pt x="239" y="0"/>
                        <a:pt x="239" y="0"/>
                      </a:cubicBezTo>
                      <a:cubicBezTo>
                        <a:pt x="215" y="0"/>
                        <a:pt x="215" y="0"/>
                        <a:pt x="215" y="0"/>
                      </a:cubicBezTo>
                      <a:cubicBezTo>
                        <a:pt x="212" y="0"/>
                        <a:pt x="210" y="2"/>
                        <a:pt x="210" y="5"/>
                      </a:cubicBezTo>
                      <a:cubicBezTo>
                        <a:pt x="210" y="9"/>
                        <a:pt x="212" y="10"/>
                        <a:pt x="215" y="10"/>
                      </a:cubicBezTo>
                      <a:cubicBezTo>
                        <a:pt x="229" y="10"/>
                        <a:pt x="229" y="10"/>
                        <a:pt x="229" y="10"/>
                      </a:cubicBezTo>
                      <a:cubicBezTo>
                        <a:pt x="229" y="66"/>
                        <a:pt x="229" y="66"/>
                        <a:pt x="229" y="66"/>
                      </a:cubicBezTo>
                      <a:cubicBezTo>
                        <a:pt x="215" y="66"/>
                        <a:pt x="215" y="66"/>
                        <a:pt x="215" y="66"/>
                      </a:cubicBezTo>
                      <a:cubicBezTo>
                        <a:pt x="212" y="66"/>
                        <a:pt x="210" y="67"/>
                        <a:pt x="210" y="71"/>
                      </a:cubicBezTo>
                      <a:cubicBezTo>
                        <a:pt x="210" y="74"/>
                        <a:pt x="212" y="76"/>
                        <a:pt x="215" y="76"/>
                      </a:cubicBezTo>
                      <a:cubicBezTo>
                        <a:pt x="253" y="76"/>
                        <a:pt x="253" y="76"/>
                        <a:pt x="253" y="76"/>
                      </a:cubicBezTo>
                      <a:cubicBezTo>
                        <a:pt x="255" y="76"/>
                        <a:pt x="258" y="74"/>
                        <a:pt x="258" y="71"/>
                      </a:cubicBezTo>
                      <a:cubicBezTo>
                        <a:pt x="258" y="46"/>
                        <a:pt x="258" y="46"/>
                        <a:pt x="258" y="46"/>
                      </a:cubicBezTo>
                      <a:cubicBezTo>
                        <a:pt x="258" y="44"/>
                        <a:pt x="256" y="41"/>
                        <a:pt x="253" y="41"/>
                      </a:cubicBezTo>
                      <a:cubicBezTo>
                        <a:pt x="249" y="41"/>
                        <a:pt x="248" y="44"/>
                        <a:pt x="248" y="46"/>
                      </a:cubicBezTo>
                      <a:cubicBezTo>
                        <a:pt x="248" y="66"/>
                        <a:pt x="248" y="66"/>
                        <a:pt x="248" y="66"/>
                      </a:cubicBezTo>
                      <a:lnTo>
                        <a:pt x="239" y="66"/>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5"/>
                        <a:pt x="140" y="10"/>
                      </a:cubicBezTo>
                      <a:cubicBezTo>
                        <a:pt x="140" y="66"/>
                        <a:pt x="140" y="66"/>
                        <a:pt x="140" y="66"/>
                      </a:cubicBezTo>
                      <a:cubicBezTo>
                        <a:pt x="140" y="71"/>
                        <a:pt x="144" y="76"/>
                        <a:pt x="150" y="76"/>
                      </a:cubicBezTo>
                      <a:cubicBezTo>
                        <a:pt x="178" y="76"/>
                        <a:pt x="178" y="76"/>
                        <a:pt x="178" y="76"/>
                      </a:cubicBezTo>
                      <a:cubicBezTo>
                        <a:pt x="184" y="76"/>
                        <a:pt x="188" y="71"/>
                        <a:pt x="188" y="66"/>
                      </a:cubicBezTo>
                      <a:cubicBezTo>
                        <a:pt x="188" y="10"/>
                        <a:pt x="188" y="10"/>
                        <a:pt x="188" y="10"/>
                      </a:cubicBezTo>
                      <a:cubicBezTo>
                        <a:pt x="188" y="5"/>
                        <a:pt x="184" y="0"/>
                        <a:pt x="178" y="0"/>
                      </a:cubicBezTo>
                      <a:lnTo>
                        <a:pt x="150" y="0"/>
                      </a:lnTo>
                      <a:close/>
                      <a:moveTo>
                        <a:pt x="80" y="10"/>
                      </a:moveTo>
                      <a:cubicBezTo>
                        <a:pt x="108" y="10"/>
                        <a:pt x="108" y="10"/>
                        <a:pt x="108" y="10"/>
                      </a:cubicBezTo>
                      <a:cubicBezTo>
                        <a:pt x="108" y="66"/>
                        <a:pt x="108" y="66"/>
                        <a:pt x="108" y="66"/>
                      </a:cubicBezTo>
                      <a:cubicBezTo>
                        <a:pt x="80" y="66"/>
                        <a:pt x="80" y="66"/>
                        <a:pt x="80" y="66"/>
                      </a:cubicBezTo>
                      <a:lnTo>
                        <a:pt x="80" y="10"/>
                      </a:lnTo>
                      <a:close/>
                      <a:moveTo>
                        <a:pt x="80" y="0"/>
                      </a:moveTo>
                      <a:cubicBezTo>
                        <a:pt x="75" y="0"/>
                        <a:pt x="70" y="5"/>
                        <a:pt x="70" y="10"/>
                      </a:cubicBezTo>
                      <a:cubicBezTo>
                        <a:pt x="70" y="66"/>
                        <a:pt x="70" y="66"/>
                        <a:pt x="70" y="66"/>
                      </a:cubicBezTo>
                      <a:cubicBezTo>
                        <a:pt x="70" y="71"/>
                        <a:pt x="74" y="76"/>
                        <a:pt x="80" y="76"/>
                      </a:cubicBezTo>
                      <a:cubicBezTo>
                        <a:pt x="108" y="76"/>
                        <a:pt x="108" y="76"/>
                        <a:pt x="108" y="76"/>
                      </a:cubicBezTo>
                      <a:cubicBezTo>
                        <a:pt x="114" y="76"/>
                        <a:pt x="118" y="71"/>
                        <a:pt x="118" y="66"/>
                      </a:cubicBezTo>
                      <a:cubicBezTo>
                        <a:pt x="118" y="10"/>
                        <a:pt x="118" y="10"/>
                        <a:pt x="118" y="10"/>
                      </a:cubicBezTo>
                      <a:cubicBezTo>
                        <a:pt x="118" y="5"/>
                        <a:pt x="114" y="0"/>
                        <a:pt x="108" y="0"/>
                      </a:cubicBezTo>
                      <a:lnTo>
                        <a:pt x="80" y="0"/>
                      </a:lnTo>
                      <a:close/>
                      <a:moveTo>
                        <a:pt x="29" y="66"/>
                      </a:moveTo>
                      <a:cubicBezTo>
                        <a:pt x="29" y="0"/>
                        <a:pt x="29" y="0"/>
                        <a:pt x="29" y="0"/>
                      </a:cubicBezTo>
                      <a:cubicBezTo>
                        <a:pt x="5" y="0"/>
                        <a:pt x="5" y="0"/>
                        <a:pt x="5" y="0"/>
                      </a:cubicBezTo>
                      <a:cubicBezTo>
                        <a:pt x="3" y="0"/>
                        <a:pt x="0" y="2"/>
                        <a:pt x="0" y="5"/>
                      </a:cubicBezTo>
                      <a:cubicBezTo>
                        <a:pt x="0" y="9"/>
                        <a:pt x="3" y="10"/>
                        <a:pt x="5" y="10"/>
                      </a:cubicBezTo>
                      <a:cubicBezTo>
                        <a:pt x="20" y="10"/>
                        <a:pt x="20" y="10"/>
                        <a:pt x="20" y="10"/>
                      </a:cubicBezTo>
                      <a:cubicBezTo>
                        <a:pt x="20" y="66"/>
                        <a:pt x="20" y="66"/>
                        <a:pt x="20" y="66"/>
                      </a:cubicBezTo>
                      <a:cubicBezTo>
                        <a:pt x="5" y="66"/>
                        <a:pt x="5" y="66"/>
                        <a:pt x="5" y="66"/>
                      </a:cubicBezTo>
                      <a:cubicBezTo>
                        <a:pt x="3" y="66"/>
                        <a:pt x="0" y="67"/>
                        <a:pt x="0" y="71"/>
                      </a:cubicBezTo>
                      <a:cubicBezTo>
                        <a:pt x="0" y="74"/>
                        <a:pt x="3" y="76"/>
                        <a:pt x="5" y="76"/>
                      </a:cubicBezTo>
                      <a:cubicBezTo>
                        <a:pt x="43" y="76"/>
                        <a:pt x="43" y="76"/>
                        <a:pt x="43" y="76"/>
                      </a:cubicBezTo>
                      <a:cubicBezTo>
                        <a:pt x="46" y="76"/>
                        <a:pt x="48" y="74"/>
                        <a:pt x="48" y="71"/>
                      </a:cubicBezTo>
                      <a:cubicBezTo>
                        <a:pt x="48" y="46"/>
                        <a:pt x="48" y="46"/>
                        <a:pt x="48" y="46"/>
                      </a:cubicBezTo>
                      <a:cubicBezTo>
                        <a:pt x="48" y="44"/>
                        <a:pt x="47" y="41"/>
                        <a:pt x="43" y="41"/>
                      </a:cubicBezTo>
                      <a:cubicBezTo>
                        <a:pt x="40" y="41"/>
                        <a:pt x="39" y="44"/>
                        <a:pt x="39" y="46"/>
                      </a:cubicBezTo>
                      <a:cubicBezTo>
                        <a:pt x="39" y="66"/>
                        <a:pt x="39" y="66"/>
                        <a:pt x="39"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7" name="Rectangle 74">
                  <a:extLst>
                    <a:ext uri="{FF2B5EF4-FFF2-40B4-BE49-F238E27FC236}">
                      <a16:creationId xmlns:a16="http://schemas.microsoft.com/office/drawing/2014/main" id="{BEF5967B-7A5B-4274-A3BB-5CBACC9FB541}"/>
                    </a:ext>
                  </a:extLst>
                </p:cNvPr>
                <p:cNvSpPr>
                  <a:spLocks noChangeArrowheads="1"/>
                </p:cNvSpPr>
                <p:nvPr/>
              </p:nvSpPr>
              <p:spPr bwMode="auto">
                <a:xfrm>
                  <a:off x="8523213" y="7195037"/>
                  <a:ext cx="14288" cy="2857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8" name="Rectangle 74">
                  <a:extLst>
                    <a:ext uri="{FF2B5EF4-FFF2-40B4-BE49-F238E27FC236}">
                      <a16:creationId xmlns:a16="http://schemas.microsoft.com/office/drawing/2014/main" id="{5CAF7C5E-2FB1-4174-BA2A-BB6F83E882B4}"/>
                    </a:ext>
                  </a:extLst>
                </p:cNvPr>
                <p:cNvSpPr>
                  <a:spLocks noChangeArrowheads="1"/>
                </p:cNvSpPr>
                <p:nvPr/>
              </p:nvSpPr>
              <p:spPr bwMode="auto">
                <a:xfrm>
                  <a:off x="8846285" y="7312554"/>
                  <a:ext cx="14288" cy="2857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761" name="Rectangle: Rounded Corners 388">
              <a:extLst>
                <a:ext uri="{FF2B5EF4-FFF2-40B4-BE49-F238E27FC236}">
                  <a16:creationId xmlns:a16="http://schemas.microsoft.com/office/drawing/2014/main" id="{B9B3F018-C11C-4358-BCC1-4898A0FACF23}"/>
                </a:ext>
              </a:extLst>
            </p:cNvPr>
            <p:cNvSpPr/>
            <p:nvPr/>
          </p:nvSpPr>
          <p:spPr bwMode="auto">
            <a:xfrm>
              <a:off x="6573470" y="4142404"/>
              <a:ext cx="190948" cy="559166"/>
            </a:xfrm>
            <a:custGeom>
              <a:avLst/>
              <a:gdLst>
                <a:gd name="connsiteX0" fmla="*/ 0 w 229139"/>
                <a:gd name="connsiteY0" fmla="*/ 38191 h 559166"/>
                <a:gd name="connsiteX1" fmla="*/ 38191 w 229139"/>
                <a:gd name="connsiteY1" fmla="*/ 0 h 559166"/>
                <a:gd name="connsiteX2" fmla="*/ 190948 w 229139"/>
                <a:gd name="connsiteY2" fmla="*/ 0 h 559166"/>
                <a:gd name="connsiteX3" fmla="*/ 229139 w 229139"/>
                <a:gd name="connsiteY3" fmla="*/ 38191 h 559166"/>
                <a:gd name="connsiteX4" fmla="*/ 229139 w 229139"/>
                <a:gd name="connsiteY4" fmla="*/ 520975 h 559166"/>
                <a:gd name="connsiteX5" fmla="*/ 190948 w 229139"/>
                <a:gd name="connsiteY5" fmla="*/ 559166 h 559166"/>
                <a:gd name="connsiteX6" fmla="*/ 38191 w 229139"/>
                <a:gd name="connsiteY6" fmla="*/ 559166 h 559166"/>
                <a:gd name="connsiteX7" fmla="*/ 0 w 229139"/>
                <a:gd name="connsiteY7" fmla="*/ 520975 h 559166"/>
                <a:gd name="connsiteX8" fmla="*/ 0 w 229139"/>
                <a:gd name="connsiteY8" fmla="*/ 38191 h 559166"/>
                <a:gd name="connsiteX0" fmla="*/ 229139 w 320579"/>
                <a:gd name="connsiteY0" fmla="*/ 38191 h 559166"/>
                <a:gd name="connsiteX1" fmla="*/ 229139 w 320579"/>
                <a:gd name="connsiteY1" fmla="*/ 520975 h 559166"/>
                <a:gd name="connsiteX2" fmla="*/ 190948 w 320579"/>
                <a:gd name="connsiteY2" fmla="*/ 559166 h 559166"/>
                <a:gd name="connsiteX3" fmla="*/ 38191 w 320579"/>
                <a:gd name="connsiteY3" fmla="*/ 559166 h 559166"/>
                <a:gd name="connsiteX4" fmla="*/ 0 w 320579"/>
                <a:gd name="connsiteY4" fmla="*/ 520975 h 559166"/>
                <a:gd name="connsiteX5" fmla="*/ 0 w 320579"/>
                <a:gd name="connsiteY5" fmla="*/ 38191 h 559166"/>
                <a:gd name="connsiteX6" fmla="*/ 38191 w 320579"/>
                <a:gd name="connsiteY6" fmla="*/ 0 h 559166"/>
                <a:gd name="connsiteX7" fmla="*/ 190948 w 320579"/>
                <a:gd name="connsiteY7" fmla="*/ 0 h 559166"/>
                <a:gd name="connsiteX8" fmla="*/ 320579 w 320579"/>
                <a:gd name="connsiteY8" fmla="*/ 129631 h 559166"/>
                <a:gd name="connsiteX0" fmla="*/ 229139 w 320579"/>
                <a:gd name="connsiteY0" fmla="*/ 520975 h 559166"/>
                <a:gd name="connsiteX1" fmla="*/ 190948 w 320579"/>
                <a:gd name="connsiteY1" fmla="*/ 559166 h 559166"/>
                <a:gd name="connsiteX2" fmla="*/ 38191 w 320579"/>
                <a:gd name="connsiteY2" fmla="*/ 559166 h 559166"/>
                <a:gd name="connsiteX3" fmla="*/ 0 w 320579"/>
                <a:gd name="connsiteY3" fmla="*/ 520975 h 559166"/>
                <a:gd name="connsiteX4" fmla="*/ 0 w 320579"/>
                <a:gd name="connsiteY4" fmla="*/ 38191 h 559166"/>
                <a:gd name="connsiteX5" fmla="*/ 38191 w 320579"/>
                <a:gd name="connsiteY5" fmla="*/ 0 h 559166"/>
                <a:gd name="connsiteX6" fmla="*/ 190948 w 320579"/>
                <a:gd name="connsiteY6" fmla="*/ 0 h 559166"/>
                <a:gd name="connsiteX7" fmla="*/ 320579 w 320579"/>
                <a:gd name="connsiteY7" fmla="*/ 129631 h 559166"/>
                <a:gd name="connsiteX0" fmla="*/ 229139 w 229139"/>
                <a:gd name="connsiteY0" fmla="*/ 520975 h 559166"/>
                <a:gd name="connsiteX1" fmla="*/ 190948 w 229139"/>
                <a:gd name="connsiteY1" fmla="*/ 559166 h 559166"/>
                <a:gd name="connsiteX2" fmla="*/ 38191 w 229139"/>
                <a:gd name="connsiteY2" fmla="*/ 559166 h 559166"/>
                <a:gd name="connsiteX3" fmla="*/ 0 w 229139"/>
                <a:gd name="connsiteY3" fmla="*/ 520975 h 559166"/>
                <a:gd name="connsiteX4" fmla="*/ 0 w 229139"/>
                <a:gd name="connsiteY4" fmla="*/ 38191 h 559166"/>
                <a:gd name="connsiteX5" fmla="*/ 38191 w 229139"/>
                <a:gd name="connsiteY5" fmla="*/ 0 h 559166"/>
                <a:gd name="connsiteX6" fmla="*/ 190948 w 229139"/>
                <a:gd name="connsiteY6" fmla="*/ 0 h 559166"/>
                <a:gd name="connsiteX0" fmla="*/ 190948 w 190948"/>
                <a:gd name="connsiteY0" fmla="*/ 559166 h 559166"/>
                <a:gd name="connsiteX1" fmla="*/ 38191 w 190948"/>
                <a:gd name="connsiteY1" fmla="*/ 559166 h 559166"/>
                <a:gd name="connsiteX2" fmla="*/ 0 w 190948"/>
                <a:gd name="connsiteY2" fmla="*/ 520975 h 559166"/>
                <a:gd name="connsiteX3" fmla="*/ 0 w 190948"/>
                <a:gd name="connsiteY3" fmla="*/ 38191 h 559166"/>
                <a:gd name="connsiteX4" fmla="*/ 38191 w 190948"/>
                <a:gd name="connsiteY4" fmla="*/ 0 h 559166"/>
                <a:gd name="connsiteX5" fmla="*/ 190948 w 190948"/>
                <a:gd name="connsiteY5" fmla="*/ 0 h 559166"/>
                <a:gd name="connsiteX0" fmla="*/ 190948 w 190948"/>
                <a:gd name="connsiteY0" fmla="*/ 559166 h 559166"/>
                <a:gd name="connsiteX1" fmla="*/ 38191 w 190948"/>
                <a:gd name="connsiteY1" fmla="*/ 559166 h 559166"/>
                <a:gd name="connsiteX2" fmla="*/ 0 w 190948"/>
                <a:gd name="connsiteY2" fmla="*/ 520975 h 559166"/>
                <a:gd name="connsiteX3" fmla="*/ 0 w 190948"/>
                <a:gd name="connsiteY3" fmla="*/ 38191 h 559166"/>
                <a:gd name="connsiteX4" fmla="*/ 38191 w 190948"/>
                <a:gd name="connsiteY4" fmla="*/ 0 h 559166"/>
                <a:gd name="connsiteX5" fmla="*/ 159992 w 190948"/>
                <a:gd name="connsiteY5" fmla="*/ 0 h 559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948" h="559166">
                  <a:moveTo>
                    <a:pt x="190948" y="559166"/>
                  </a:moveTo>
                  <a:lnTo>
                    <a:pt x="38191" y="559166"/>
                  </a:lnTo>
                  <a:cubicBezTo>
                    <a:pt x="17099" y="559166"/>
                    <a:pt x="0" y="542067"/>
                    <a:pt x="0" y="520975"/>
                  </a:cubicBezTo>
                  <a:lnTo>
                    <a:pt x="0" y="38191"/>
                  </a:lnTo>
                  <a:cubicBezTo>
                    <a:pt x="0" y="17099"/>
                    <a:pt x="17099" y="0"/>
                    <a:pt x="38191" y="0"/>
                  </a:cubicBezTo>
                  <a:lnTo>
                    <a:pt x="159992" y="0"/>
                  </a:lnTo>
                </a:path>
              </a:pathLst>
            </a:custGeom>
            <a:no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62" name="Rectangle: Rounded Corners 753">
              <a:extLst>
                <a:ext uri="{FF2B5EF4-FFF2-40B4-BE49-F238E27FC236}">
                  <a16:creationId xmlns:a16="http://schemas.microsoft.com/office/drawing/2014/main" id="{10FBB492-4FAD-40DD-BA4D-8E4DBB12B68E}"/>
                </a:ext>
              </a:extLst>
            </p:cNvPr>
            <p:cNvSpPr/>
            <p:nvPr/>
          </p:nvSpPr>
          <p:spPr bwMode="auto">
            <a:xfrm flipH="1">
              <a:off x="7149670" y="4290029"/>
              <a:ext cx="190948" cy="449560"/>
            </a:xfrm>
            <a:custGeom>
              <a:avLst/>
              <a:gdLst>
                <a:gd name="connsiteX0" fmla="*/ 0 w 229139"/>
                <a:gd name="connsiteY0" fmla="*/ 38191 h 371805"/>
                <a:gd name="connsiteX1" fmla="*/ 38191 w 229139"/>
                <a:gd name="connsiteY1" fmla="*/ 0 h 371805"/>
                <a:gd name="connsiteX2" fmla="*/ 190948 w 229139"/>
                <a:gd name="connsiteY2" fmla="*/ 0 h 371805"/>
                <a:gd name="connsiteX3" fmla="*/ 229139 w 229139"/>
                <a:gd name="connsiteY3" fmla="*/ 38191 h 371805"/>
                <a:gd name="connsiteX4" fmla="*/ 229139 w 229139"/>
                <a:gd name="connsiteY4" fmla="*/ 333614 h 371805"/>
                <a:gd name="connsiteX5" fmla="*/ 190948 w 229139"/>
                <a:gd name="connsiteY5" fmla="*/ 371805 h 371805"/>
                <a:gd name="connsiteX6" fmla="*/ 38191 w 229139"/>
                <a:gd name="connsiteY6" fmla="*/ 371805 h 371805"/>
                <a:gd name="connsiteX7" fmla="*/ 0 w 229139"/>
                <a:gd name="connsiteY7" fmla="*/ 333614 h 371805"/>
                <a:gd name="connsiteX8" fmla="*/ 0 w 229139"/>
                <a:gd name="connsiteY8" fmla="*/ 38191 h 371805"/>
                <a:gd name="connsiteX0" fmla="*/ 229139 w 320579"/>
                <a:gd name="connsiteY0" fmla="*/ 38191 h 371805"/>
                <a:gd name="connsiteX1" fmla="*/ 229139 w 320579"/>
                <a:gd name="connsiteY1" fmla="*/ 333614 h 371805"/>
                <a:gd name="connsiteX2" fmla="*/ 190948 w 320579"/>
                <a:gd name="connsiteY2" fmla="*/ 371805 h 371805"/>
                <a:gd name="connsiteX3" fmla="*/ 38191 w 320579"/>
                <a:gd name="connsiteY3" fmla="*/ 371805 h 371805"/>
                <a:gd name="connsiteX4" fmla="*/ 0 w 320579"/>
                <a:gd name="connsiteY4" fmla="*/ 333614 h 371805"/>
                <a:gd name="connsiteX5" fmla="*/ 0 w 320579"/>
                <a:gd name="connsiteY5" fmla="*/ 38191 h 371805"/>
                <a:gd name="connsiteX6" fmla="*/ 38191 w 320579"/>
                <a:gd name="connsiteY6" fmla="*/ 0 h 371805"/>
                <a:gd name="connsiteX7" fmla="*/ 190948 w 320579"/>
                <a:gd name="connsiteY7" fmla="*/ 0 h 371805"/>
                <a:gd name="connsiteX8" fmla="*/ 320579 w 320579"/>
                <a:gd name="connsiteY8" fmla="*/ 129631 h 371805"/>
                <a:gd name="connsiteX0" fmla="*/ 229139 w 320579"/>
                <a:gd name="connsiteY0" fmla="*/ 333614 h 371805"/>
                <a:gd name="connsiteX1" fmla="*/ 190948 w 320579"/>
                <a:gd name="connsiteY1" fmla="*/ 371805 h 371805"/>
                <a:gd name="connsiteX2" fmla="*/ 38191 w 320579"/>
                <a:gd name="connsiteY2" fmla="*/ 371805 h 371805"/>
                <a:gd name="connsiteX3" fmla="*/ 0 w 320579"/>
                <a:gd name="connsiteY3" fmla="*/ 333614 h 371805"/>
                <a:gd name="connsiteX4" fmla="*/ 0 w 320579"/>
                <a:gd name="connsiteY4" fmla="*/ 38191 h 371805"/>
                <a:gd name="connsiteX5" fmla="*/ 38191 w 320579"/>
                <a:gd name="connsiteY5" fmla="*/ 0 h 371805"/>
                <a:gd name="connsiteX6" fmla="*/ 190948 w 320579"/>
                <a:gd name="connsiteY6" fmla="*/ 0 h 371805"/>
                <a:gd name="connsiteX7" fmla="*/ 320579 w 320579"/>
                <a:gd name="connsiteY7" fmla="*/ 129631 h 371805"/>
                <a:gd name="connsiteX0" fmla="*/ 229139 w 229139"/>
                <a:gd name="connsiteY0" fmla="*/ 333614 h 371805"/>
                <a:gd name="connsiteX1" fmla="*/ 190948 w 229139"/>
                <a:gd name="connsiteY1" fmla="*/ 371805 h 371805"/>
                <a:gd name="connsiteX2" fmla="*/ 38191 w 229139"/>
                <a:gd name="connsiteY2" fmla="*/ 371805 h 371805"/>
                <a:gd name="connsiteX3" fmla="*/ 0 w 229139"/>
                <a:gd name="connsiteY3" fmla="*/ 333614 h 371805"/>
                <a:gd name="connsiteX4" fmla="*/ 0 w 229139"/>
                <a:gd name="connsiteY4" fmla="*/ 38191 h 371805"/>
                <a:gd name="connsiteX5" fmla="*/ 38191 w 229139"/>
                <a:gd name="connsiteY5" fmla="*/ 0 h 371805"/>
                <a:gd name="connsiteX6" fmla="*/ 190948 w 229139"/>
                <a:gd name="connsiteY6" fmla="*/ 0 h 371805"/>
                <a:gd name="connsiteX0" fmla="*/ 190948 w 190948"/>
                <a:gd name="connsiteY0" fmla="*/ 371805 h 371805"/>
                <a:gd name="connsiteX1" fmla="*/ 38191 w 190948"/>
                <a:gd name="connsiteY1" fmla="*/ 371805 h 371805"/>
                <a:gd name="connsiteX2" fmla="*/ 0 w 190948"/>
                <a:gd name="connsiteY2" fmla="*/ 333614 h 371805"/>
                <a:gd name="connsiteX3" fmla="*/ 0 w 190948"/>
                <a:gd name="connsiteY3" fmla="*/ 38191 h 371805"/>
                <a:gd name="connsiteX4" fmla="*/ 38191 w 190948"/>
                <a:gd name="connsiteY4" fmla="*/ 0 h 371805"/>
                <a:gd name="connsiteX5" fmla="*/ 190948 w 190948"/>
                <a:gd name="connsiteY5" fmla="*/ 0 h 37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948" h="371805">
                  <a:moveTo>
                    <a:pt x="190948" y="371805"/>
                  </a:moveTo>
                  <a:lnTo>
                    <a:pt x="38191" y="371805"/>
                  </a:lnTo>
                  <a:cubicBezTo>
                    <a:pt x="17099" y="371805"/>
                    <a:pt x="0" y="354706"/>
                    <a:pt x="0" y="333614"/>
                  </a:cubicBezTo>
                  <a:lnTo>
                    <a:pt x="0" y="38191"/>
                  </a:lnTo>
                  <a:cubicBezTo>
                    <a:pt x="0" y="17099"/>
                    <a:pt x="17099" y="0"/>
                    <a:pt x="38191" y="0"/>
                  </a:cubicBezTo>
                  <a:lnTo>
                    <a:pt x="190948" y="0"/>
                  </a:lnTo>
                </a:path>
              </a:pathLst>
            </a:custGeom>
            <a:no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66" name="Group 696">
              <a:extLst>
                <a:ext uri="{FF2B5EF4-FFF2-40B4-BE49-F238E27FC236}">
                  <a16:creationId xmlns:a16="http://schemas.microsoft.com/office/drawing/2014/main" id="{69D4448B-2FED-4B27-B270-C7AED7EA1BA7}"/>
                </a:ext>
              </a:extLst>
            </p:cNvPr>
            <p:cNvGrpSpPr>
              <a:grpSpLocks noChangeAspect="1"/>
            </p:cNvGrpSpPr>
            <p:nvPr/>
          </p:nvGrpSpPr>
          <p:grpSpPr bwMode="auto">
            <a:xfrm>
              <a:off x="6731692" y="4499853"/>
              <a:ext cx="449186" cy="448710"/>
              <a:chOff x="2189" y="1389"/>
              <a:chExt cx="2832" cy="2829"/>
            </a:xfrm>
          </p:grpSpPr>
          <p:sp>
            <p:nvSpPr>
              <p:cNvPr id="1167" name="Oval 697">
                <a:extLst>
                  <a:ext uri="{FF2B5EF4-FFF2-40B4-BE49-F238E27FC236}">
                    <a16:creationId xmlns:a16="http://schemas.microsoft.com/office/drawing/2014/main" id="{C0A29FDC-2F0B-4D96-906B-702B71575AB5}"/>
                  </a:ext>
                </a:extLst>
              </p:cNvPr>
              <p:cNvSpPr>
                <a:spLocks noChangeArrowheads="1"/>
              </p:cNvSpPr>
              <p:nvPr/>
            </p:nvSpPr>
            <p:spPr bwMode="auto">
              <a:xfrm>
                <a:off x="2189" y="1389"/>
                <a:ext cx="2832" cy="282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8" name="Freeform 698">
                <a:extLst>
                  <a:ext uri="{FF2B5EF4-FFF2-40B4-BE49-F238E27FC236}">
                    <a16:creationId xmlns:a16="http://schemas.microsoft.com/office/drawing/2014/main" id="{91EF13FE-A26B-43F1-8863-0E93569558B7}"/>
                  </a:ext>
                </a:extLst>
              </p:cNvPr>
              <p:cNvSpPr>
                <a:spLocks/>
              </p:cNvSpPr>
              <p:nvPr/>
            </p:nvSpPr>
            <p:spPr bwMode="auto">
              <a:xfrm>
                <a:off x="2630" y="2139"/>
                <a:ext cx="916" cy="1608"/>
              </a:xfrm>
              <a:custGeom>
                <a:avLst/>
                <a:gdLst>
                  <a:gd name="T0" fmla="*/ 101 w 388"/>
                  <a:gd name="T1" fmla="*/ 109 h 682"/>
                  <a:gd name="T2" fmla="*/ 26 w 388"/>
                  <a:gd name="T3" fmla="*/ 237 h 682"/>
                  <a:gd name="T4" fmla="*/ 22 w 388"/>
                  <a:gd name="T5" fmla="*/ 308 h 682"/>
                  <a:gd name="T6" fmla="*/ 31 w 388"/>
                  <a:gd name="T7" fmla="*/ 391 h 682"/>
                  <a:gd name="T8" fmla="*/ 31 w 388"/>
                  <a:gd name="T9" fmla="*/ 391 h 682"/>
                  <a:gd name="T10" fmla="*/ 67 w 388"/>
                  <a:gd name="T11" fmla="*/ 484 h 682"/>
                  <a:gd name="T12" fmla="*/ 70 w 388"/>
                  <a:gd name="T13" fmla="*/ 484 h 682"/>
                  <a:gd name="T14" fmla="*/ 114 w 388"/>
                  <a:gd name="T15" fmla="*/ 518 h 682"/>
                  <a:gd name="T16" fmla="*/ 114 w 388"/>
                  <a:gd name="T17" fmla="*/ 518 h 682"/>
                  <a:gd name="T18" fmla="*/ 388 w 388"/>
                  <a:gd name="T19" fmla="*/ 682 h 682"/>
                  <a:gd name="T20" fmla="*/ 388 w 388"/>
                  <a:gd name="T21" fmla="*/ 682 h 682"/>
                  <a:gd name="T22" fmla="*/ 388 w 388"/>
                  <a:gd name="T23" fmla="*/ 109 h 682"/>
                  <a:gd name="T24" fmla="*/ 101 w 388"/>
                  <a:gd name="T25" fmla="*/ 10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8" h="682">
                    <a:moveTo>
                      <a:pt x="101" y="109"/>
                    </a:moveTo>
                    <a:cubicBezTo>
                      <a:pt x="101" y="170"/>
                      <a:pt x="61" y="212"/>
                      <a:pt x="26" y="237"/>
                    </a:cubicBezTo>
                    <a:cubicBezTo>
                      <a:pt x="1" y="255"/>
                      <a:pt x="0" y="289"/>
                      <a:pt x="22" y="308"/>
                    </a:cubicBezTo>
                    <a:cubicBezTo>
                      <a:pt x="47" y="330"/>
                      <a:pt x="51" y="365"/>
                      <a:pt x="31" y="391"/>
                    </a:cubicBezTo>
                    <a:cubicBezTo>
                      <a:pt x="31" y="391"/>
                      <a:pt x="31" y="391"/>
                      <a:pt x="31" y="391"/>
                    </a:cubicBezTo>
                    <a:cubicBezTo>
                      <a:pt x="4" y="425"/>
                      <a:pt x="23" y="474"/>
                      <a:pt x="67" y="484"/>
                    </a:cubicBezTo>
                    <a:cubicBezTo>
                      <a:pt x="70" y="484"/>
                      <a:pt x="70" y="484"/>
                      <a:pt x="70" y="484"/>
                    </a:cubicBezTo>
                    <a:cubicBezTo>
                      <a:pt x="89" y="489"/>
                      <a:pt x="106" y="501"/>
                      <a:pt x="114" y="518"/>
                    </a:cubicBezTo>
                    <a:cubicBezTo>
                      <a:pt x="114" y="518"/>
                      <a:pt x="114" y="518"/>
                      <a:pt x="114" y="518"/>
                    </a:cubicBezTo>
                    <a:cubicBezTo>
                      <a:pt x="163" y="618"/>
                      <a:pt x="270" y="682"/>
                      <a:pt x="388" y="682"/>
                    </a:cubicBezTo>
                    <a:cubicBezTo>
                      <a:pt x="388" y="682"/>
                      <a:pt x="388" y="682"/>
                      <a:pt x="388" y="682"/>
                    </a:cubicBezTo>
                    <a:cubicBezTo>
                      <a:pt x="388" y="109"/>
                      <a:pt x="388" y="109"/>
                      <a:pt x="388" y="109"/>
                    </a:cubicBezTo>
                    <a:cubicBezTo>
                      <a:pt x="388" y="109"/>
                      <a:pt x="101" y="0"/>
                      <a:pt x="101" y="109"/>
                    </a:cubicBez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9" name="Freeform 699">
                <a:extLst>
                  <a:ext uri="{FF2B5EF4-FFF2-40B4-BE49-F238E27FC236}">
                    <a16:creationId xmlns:a16="http://schemas.microsoft.com/office/drawing/2014/main" id="{70843D2E-471E-42DE-AE7D-4F5DEF4E817F}"/>
                  </a:ext>
                </a:extLst>
              </p:cNvPr>
              <p:cNvSpPr>
                <a:spLocks/>
              </p:cNvSpPr>
              <p:nvPr/>
            </p:nvSpPr>
            <p:spPr bwMode="auto">
              <a:xfrm>
                <a:off x="2850" y="2825"/>
                <a:ext cx="679" cy="766"/>
              </a:xfrm>
              <a:custGeom>
                <a:avLst/>
                <a:gdLst>
                  <a:gd name="T0" fmla="*/ 27 w 288"/>
                  <a:gd name="T1" fmla="*/ 0 h 325"/>
                  <a:gd name="T2" fmla="*/ 21 w 288"/>
                  <a:gd name="T3" fmla="*/ 15 h 325"/>
                  <a:gd name="T4" fmla="*/ 65 w 288"/>
                  <a:gd name="T5" fmla="*/ 177 h 325"/>
                  <a:gd name="T6" fmla="*/ 65 w 288"/>
                  <a:gd name="T7" fmla="*/ 177 h 325"/>
                  <a:gd name="T8" fmla="*/ 109 w 288"/>
                  <a:gd name="T9" fmla="*/ 241 h 325"/>
                  <a:gd name="T10" fmla="*/ 139 w 288"/>
                  <a:gd name="T11" fmla="*/ 325 h 325"/>
                  <a:gd name="T12" fmla="*/ 288 w 288"/>
                  <a:gd name="T13" fmla="*/ 268 h 325"/>
                  <a:gd name="T14" fmla="*/ 245 w 288"/>
                  <a:gd name="T15" fmla="*/ 10 h 325"/>
                  <a:gd name="T16" fmla="*/ 27 w 288"/>
                  <a:gd name="T1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325">
                    <a:moveTo>
                      <a:pt x="27" y="0"/>
                    </a:moveTo>
                    <a:cubicBezTo>
                      <a:pt x="21" y="15"/>
                      <a:pt x="21" y="15"/>
                      <a:pt x="21" y="15"/>
                    </a:cubicBezTo>
                    <a:cubicBezTo>
                      <a:pt x="0" y="73"/>
                      <a:pt x="18" y="138"/>
                      <a:pt x="65" y="177"/>
                    </a:cubicBezTo>
                    <a:cubicBezTo>
                      <a:pt x="65" y="177"/>
                      <a:pt x="65" y="177"/>
                      <a:pt x="65" y="177"/>
                    </a:cubicBezTo>
                    <a:cubicBezTo>
                      <a:pt x="85" y="194"/>
                      <a:pt x="100" y="216"/>
                      <a:pt x="109" y="241"/>
                    </a:cubicBezTo>
                    <a:cubicBezTo>
                      <a:pt x="139" y="325"/>
                      <a:pt x="139" y="325"/>
                      <a:pt x="139" y="325"/>
                    </a:cubicBezTo>
                    <a:cubicBezTo>
                      <a:pt x="288" y="268"/>
                      <a:pt x="288" y="268"/>
                      <a:pt x="288" y="268"/>
                    </a:cubicBezTo>
                    <a:cubicBezTo>
                      <a:pt x="245" y="10"/>
                      <a:pt x="245" y="10"/>
                      <a:pt x="245" y="10"/>
                    </a:cubicBezTo>
                    <a:lnTo>
                      <a:pt x="27" y="0"/>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0" name="Freeform 700">
                <a:extLst>
                  <a:ext uri="{FF2B5EF4-FFF2-40B4-BE49-F238E27FC236}">
                    <a16:creationId xmlns:a16="http://schemas.microsoft.com/office/drawing/2014/main" id="{B8D32205-8B69-47AA-A27A-ED4E4D0D31C2}"/>
                  </a:ext>
                </a:extLst>
              </p:cNvPr>
              <p:cNvSpPr>
                <a:spLocks/>
              </p:cNvSpPr>
              <p:nvPr/>
            </p:nvSpPr>
            <p:spPr bwMode="auto">
              <a:xfrm>
                <a:off x="3612" y="2139"/>
                <a:ext cx="918" cy="1608"/>
              </a:xfrm>
              <a:custGeom>
                <a:avLst/>
                <a:gdLst>
                  <a:gd name="T0" fmla="*/ 358 w 389"/>
                  <a:gd name="T1" fmla="*/ 391 h 682"/>
                  <a:gd name="T2" fmla="*/ 366 w 389"/>
                  <a:gd name="T3" fmla="*/ 308 h 682"/>
                  <a:gd name="T4" fmla="*/ 366 w 389"/>
                  <a:gd name="T5" fmla="*/ 308 h 682"/>
                  <a:gd name="T6" fmla="*/ 363 w 389"/>
                  <a:gd name="T7" fmla="*/ 237 h 682"/>
                  <a:gd name="T8" fmla="*/ 288 w 389"/>
                  <a:gd name="T9" fmla="*/ 109 h 682"/>
                  <a:gd name="T10" fmla="*/ 0 w 389"/>
                  <a:gd name="T11" fmla="*/ 109 h 682"/>
                  <a:gd name="T12" fmla="*/ 0 w 389"/>
                  <a:gd name="T13" fmla="*/ 682 h 682"/>
                  <a:gd name="T14" fmla="*/ 0 w 389"/>
                  <a:gd name="T15" fmla="*/ 682 h 682"/>
                  <a:gd name="T16" fmla="*/ 258 w 389"/>
                  <a:gd name="T17" fmla="*/ 515 h 682"/>
                  <a:gd name="T18" fmla="*/ 260 w 389"/>
                  <a:gd name="T19" fmla="*/ 505 h 682"/>
                  <a:gd name="T20" fmla="*/ 319 w 389"/>
                  <a:gd name="T21" fmla="*/ 484 h 682"/>
                  <a:gd name="T22" fmla="*/ 321 w 389"/>
                  <a:gd name="T23" fmla="*/ 484 h 682"/>
                  <a:gd name="T24" fmla="*/ 358 w 389"/>
                  <a:gd name="T25" fmla="*/ 391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9" h="682">
                    <a:moveTo>
                      <a:pt x="358" y="391"/>
                    </a:moveTo>
                    <a:cubicBezTo>
                      <a:pt x="337" y="365"/>
                      <a:pt x="341" y="330"/>
                      <a:pt x="366" y="308"/>
                    </a:cubicBezTo>
                    <a:cubicBezTo>
                      <a:pt x="366" y="308"/>
                      <a:pt x="366" y="308"/>
                      <a:pt x="366" y="308"/>
                    </a:cubicBezTo>
                    <a:cubicBezTo>
                      <a:pt x="389" y="289"/>
                      <a:pt x="387" y="255"/>
                      <a:pt x="363" y="237"/>
                    </a:cubicBezTo>
                    <a:cubicBezTo>
                      <a:pt x="328" y="212"/>
                      <a:pt x="288" y="170"/>
                      <a:pt x="288" y="109"/>
                    </a:cubicBezTo>
                    <a:cubicBezTo>
                      <a:pt x="288" y="0"/>
                      <a:pt x="0" y="109"/>
                      <a:pt x="0" y="109"/>
                    </a:cubicBezTo>
                    <a:cubicBezTo>
                      <a:pt x="0" y="682"/>
                      <a:pt x="0" y="682"/>
                      <a:pt x="0" y="682"/>
                    </a:cubicBezTo>
                    <a:cubicBezTo>
                      <a:pt x="0" y="682"/>
                      <a:pt x="0" y="682"/>
                      <a:pt x="0" y="682"/>
                    </a:cubicBezTo>
                    <a:cubicBezTo>
                      <a:pt x="118" y="682"/>
                      <a:pt x="209" y="615"/>
                      <a:pt x="258" y="515"/>
                    </a:cubicBezTo>
                    <a:cubicBezTo>
                      <a:pt x="260" y="505"/>
                      <a:pt x="260" y="505"/>
                      <a:pt x="260" y="505"/>
                    </a:cubicBezTo>
                    <a:cubicBezTo>
                      <a:pt x="269" y="488"/>
                      <a:pt x="299" y="489"/>
                      <a:pt x="319" y="484"/>
                    </a:cubicBezTo>
                    <a:cubicBezTo>
                      <a:pt x="321" y="484"/>
                      <a:pt x="321" y="484"/>
                      <a:pt x="321" y="484"/>
                    </a:cubicBezTo>
                    <a:cubicBezTo>
                      <a:pt x="365" y="474"/>
                      <a:pt x="385" y="425"/>
                      <a:pt x="358" y="391"/>
                    </a:cubicBez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1" name="Freeform 701">
                <a:extLst>
                  <a:ext uri="{FF2B5EF4-FFF2-40B4-BE49-F238E27FC236}">
                    <a16:creationId xmlns:a16="http://schemas.microsoft.com/office/drawing/2014/main" id="{DB248724-F59D-4528-8261-4E7636D47A2C}"/>
                  </a:ext>
                </a:extLst>
              </p:cNvPr>
              <p:cNvSpPr>
                <a:spLocks/>
              </p:cNvSpPr>
              <p:nvPr/>
            </p:nvSpPr>
            <p:spPr bwMode="auto">
              <a:xfrm>
                <a:off x="3612" y="2363"/>
                <a:ext cx="777" cy="1384"/>
              </a:xfrm>
              <a:custGeom>
                <a:avLst/>
                <a:gdLst>
                  <a:gd name="T0" fmla="*/ 315 w 329"/>
                  <a:gd name="T1" fmla="*/ 248 h 587"/>
                  <a:gd name="T2" fmla="*/ 293 w 329"/>
                  <a:gd name="T3" fmla="*/ 164 h 587"/>
                  <a:gd name="T4" fmla="*/ 293 w 329"/>
                  <a:gd name="T5" fmla="*/ 164 h 587"/>
                  <a:gd name="T6" fmla="*/ 265 w 329"/>
                  <a:gd name="T7" fmla="*/ 109 h 587"/>
                  <a:gd name="T8" fmla="*/ 265 w 329"/>
                  <a:gd name="T9" fmla="*/ 101 h 587"/>
                  <a:gd name="T10" fmla="*/ 215 w 329"/>
                  <a:gd name="T11" fmla="*/ 0 h 587"/>
                  <a:gd name="T12" fmla="*/ 215 w 329"/>
                  <a:gd name="T13" fmla="*/ 0 h 587"/>
                  <a:gd name="T14" fmla="*/ 54 w 329"/>
                  <a:gd name="T15" fmla="*/ 23 h 587"/>
                  <a:gd name="T16" fmla="*/ 0 w 329"/>
                  <a:gd name="T17" fmla="*/ 473 h 587"/>
                  <a:gd name="T18" fmla="*/ 0 w 329"/>
                  <a:gd name="T19" fmla="*/ 584 h 587"/>
                  <a:gd name="T20" fmla="*/ 6 w 329"/>
                  <a:gd name="T21" fmla="*/ 587 h 587"/>
                  <a:gd name="T22" fmla="*/ 274 w 329"/>
                  <a:gd name="T23" fmla="*/ 423 h 587"/>
                  <a:gd name="T24" fmla="*/ 274 w 329"/>
                  <a:gd name="T25" fmla="*/ 423 h 587"/>
                  <a:gd name="T26" fmla="*/ 312 w 329"/>
                  <a:gd name="T27" fmla="*/ 391 h 587"/>
                  <a:gd name="T28" fmla="*/ 304 w 329"/>
                  <a:gd name="T29" fmla="*/ 336 h 587"/>
                  <a:gd name="T30" fmla="*/ 301 w 329"/>
                  <a:gd name="T31" fmla="*/ 324 h 587"/>
                  <a:gd name="T32" fmla="*/ 307 w 329"/>
                  <a:gd name="T33" fmla="*/ 264 h 587"/>
                  <a:gd name="T34" fmla="*/ 315 w 329"/>
                  <a:gd name="T35" fmla="*/ 248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587">
                    <a:moveTo>
                      <a:pt x="315" y="248"/>
                    </a:moveTo>
                    <a:cubicBezTo>
                      <a:pt x="329" y="218"/>
                      <a:pt x="320" y="183"/>
                      <a:pt x="293" y="164"/>
                    </a:cubicBezTo>
                    <a:cubicBezTo>
                      <a:pt x="293" y="164"/>
                      <a:pt x="293" y="164"/>
                      <a:pt x="293" y="164"/>
                    </a:cubicBezTo>
                    <a:cubicBezTo>
                      <a:pt x="275" y="151"/>
                      <a:pt x="265" y="131"/>
                      <a:pt x="265" y="109"/>
                    </a:cubicBezTo>
                    <a:cubicBezTo>
                      <a:pt x="265" y="101"/>
                      <a:pt x="265" y="101"/>
                      <a:pt x="265" y="101"/>
                    </a:cubicBezTo>
                    <a:cubicBezTo>
                      <a:pt x="265" y="61"/>
                      <a:pt x="246" y="24"/>
                      <a:pt x="215" y="0"/>
                    </a:cubicBezTo>
                    <a:cubicBezTo>
                      <a:pt x="215" y="0"/>
                      <a:pt x="215" y="0"/>
                      <a:pt x="215" y="0"/>
                    </a:cubicBezTo>
                    <a:cubicBezTo>
                      <a:pt x="54" y="23"/>
                      <a:pt x="54" y="23"/>
                      <a:pt x="54" y="23"/>
                    </a:cubicBezTo>
                    <a:cubicBezTo>
                      <a:pt x="0" y="473"/>
                      <a:pt x="0" y="473"/>
                      <a:pt x="0" y="473"/>
                    </a:cubicBezTo>
                    <a:cubicBezTo>
                      <a:pt x="0" y="584"/>
                      <a:pt x="0" y="584"/>
                      <a:pt x="0" y="584"/>
                    </a:cubicBezTo>
                    <a:cubicBezTo>
                      <a:pt x="6" y="587"/>
                      <a:pt x="6" y="587"/>
                      <a:pt x="6" y="587"/>
                    </a:cubicBezTo>
                    <a:cubicBezTo>
                      <a:pt x="122" y="585"/>
                      <a:pt x="226" y="521"/>
                      <a:pt x="274" y="423"/>
                    </a:cubicBezTo>
                    <a:cubicBezTo>
                      <a:pt x="274" y="423"/>
                      <a:pt x="274" y="423"/>
                      <a:pt x="274" y="423"/>
                    </a:cubicBezTo>
                    <a:cubicBezTo>
                      <a:pt x="282" y="408"/>
                      <a:pt x="296" y="396"/>
                      <a:pt x="312" y="391"/>
                    </a:cubicBezTo>
                    <a:cubicBezTo>
                      <a:pt x="312" y="373"/>
                      <a:pt x="309" y="354"/>
                      <a:pt x="304" y="336"/>
                    </a:cubicBezTo>
                    <a:cubicBezTo>
                      <a:pt x="301" y="324"/>
                      <a:pt x="301" y="324"/>
                      <a:pt x="301" y="324"/>
                    </a:cubicBezTo>
                    <a:cubicBezTo>
                      <a:pt x="295" y="304"/>
                      <a:pt x="297" y="282"/>
                      <a:pt x="307" y="264"/>
                    </a:cubicBezTo>
                    <a:lnTo>
                      <a:pt x="315" y="248"/>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2" name="Freeform 702">
                <a:extLst>
                  <a:ext uri="{FF2B5EF4-FFF2-40B4-BE49-F238E27FC236}">
                    <a16:creationId xmlns:a16="http://schemas.microsoft.com/office/drawing/2014/main" id="{5615DD60-198D-45D9-A1D5-F4BA971286BB}"/>
                  </a:ext>
                </a:extLst>
              </p:cNvPr>
              <p:cNvSpPr>
                <a:spLocks/>
              </p:cNvSpPr>
              <p:nvPr/>
            </p:nvSpPr>
            <p:spPr bwMode="auto">
              <a:xfrm>
                <a:off x="2880" y="2578"/>
                <a:ext cx="152" cy="332"/>
              </a:xfrm>
              <a:custGeom>
                <a:avLst/>
                <a:gdLst>
                  <a:gd name="T0" fmla="*/ 32 w 64"/>
                  <a:gd name="T1" fmla="*/ 0 h 141"/>
                  <a:gd name="T2" fmla="*/ 32 w 64"/>
                  <a:gd name="T3" fmla="*/ 0 h 141"/>
                  <a:gd name="T4" fmla="*/ 0 w 64"/>
                  <a:gd name="T5" fmla="*/ 32 h 141"/>
                  <a:gd name="T6" fmla="*/ 0 w 64"/>
                  <a:gd name="T7" fmla="*/ 86 h 141"/>
                  <a:gd name="T8" fmla="*/ 55 w 64"/>
                  <a:gd name="T9" fmla="*/ 141 h 141"/>
                  <a:gd name="T10" fmla="*/ 64 w 64"/>
                  <a:gd name="T11" fmla="*/ 141 h 141"/>
                  <a:gd name="T12" fmla="*/ 64 w 64"/>
                  <a:gd name="T13" fmla="*/ 32 h 141"/>
                  <a:gd name="T14" fmla="*/ 32 w 64"/>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141">
                    <a:moveTo>
                      <a:pt x="32" y="0"/>
                    </a:moveTo>
                    <a:cubicBezTo>
                      <a:pt x="32" y="0"/>
                      <a:pt x="32" y="0"/>
                      <a:pt x="32" y="0"/>
                    </a:cubicBezTo>
                    <a:cubicBezTo>
                      <a:pt x="14" y="0"/>
                      <a:pt x="0" y="15"/>
                      <a:pt x="0" y="32"/>
                    </a:cubicBezTo>
                    <a:cubicBezTo>
                      <a:pt x="0" y="86"/>
                      <a:pt x="0" y="86"/>
                      <a:pt x="0" y="86"/>
                    </a:cubicBezTo>
                    <a:cubicBezTo>
                      <a:pt x="0" y="116"/>
                      <a:pt x="24" y="141"/>
                      <a:pt x="55" y="141"/>
                    </a:cubicBezTo>
                    <a:cubicBezTo>
                      <a:pt x="64" y="141"/>
                      <a:pt x="64" y="141"/>
                      <a:pt x="64" y="141"/>
                    </a:cubicBezTo>
                    <a:cubicBezTo>
                      <a:pt x="64" y="32"/>
                      <a:pt x="64" y="32"/>
                      <a:pt x="64" y="32"/>
                    </a:cubicBezTo>
                    <a:cubicBezTo>
                      <a:pt x="64" y="15"/>
                      <a:pt x="49" y="0"/>
                      <a:pt x="32" y="0"/>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3" name="Freeform 703">
                <a:extLst>
                  <a:ext uri="{FF2B5EF4-FFF2-40B4-BE49-F238E27FC236}">
                    <a16:creationId xmlns:a16="http://schemas.microsoft.com/office/drawing/2014/main" id="{4AF11969-EDF5-4E5E-808F-AB0B460EF79E}"/>
                  </a:ext>
                </a:extLst>
              </p:cNvPr>
              <p:cNvSpPr>
                <a:spLocks/>
              </p:cNvSpPr>
              <p:nvPr/>
            </p:nvSpPr>
            <p:spPr bwMode="auto">
              <a:xfrm>
                <a:off x="4150" y="2578"/>
                <a:ext cx="151" cy="332"/>
              </a:xfrm>
              <a:custGeom>
                <a:avLst/>
                <a:gdLst>
                  <a:gd name="T0" fmla="*/ 32 w 64"/>
                  <a:gd name="T1" fmla="*/ 0 h 141"/>
                  <a:gd name="T2" fmla="*/ 32 w 64"/>
                  <a:gd name="T3" fmla="*/ 0 h 141"/>
                  <a:gd name="T4" fmla="*/ 64 w 64"/>
                  <a:gd name="T5" fmla="*/ 32 h 141"/>
                  <a:gd name="T6" fmla="*/ 64 w 64"/>
                  <a:gd name="T7" fmla="*/ 86 h 141"/>
                  <a:gd name="T8" fmla="*/ 9 w 64"/>
                  <a:gd name="T9" fmla="*/ 141 h 141"/>
                  <a:gd name="T10" fmla="*/ 0 w 64"/>
                  <a:gd name="T11" fmla="*/ 141 h 141"/>
                  <a:gd name="T12" fmla="*/ 0 w 64"/>
                  <a:gd name="T13" fmla="*/ 32 h 141"/>
                  <a:gd name="T14" fmla="*/ 32 w 64"/>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141">
                    <a:moveTo>
                      <a:pt x="32" y="0"/>
                    </a:moveTo>
                    <a:cubicBezTo>
                      <a:pt x="32" y="0"/>
                      <a:pt x="32" y="0"/>
                      <a:pt x="32" y="0"/>
                    </a:cubicBezTo>
                    <a:cubicBezTo>
                      <a:pt x="50" y="0"/>
                      <a:pt x="64" y="15"/>
                      <a:pt x="64" y="32"/>
                    </a:cubicBezTo>
                    <a:cubicBezTo>
                      <a:pt x="64" y="86"/>
                      <a:pt x="64" y="86"/>
                      <a:pt x="64" y="86"/>
                    </a:cubicBezTo>
                    <a:cubicBezTo>
                      <a:pt x="64" y="116"/>
                      <a:pt x="40" y="141"/>
                      <a:pt x="9" y="141"/>
                    </a:cubicBezTo>
                    <a:cubicBezTo>
                      <a:pt x="0" y="141"/>
                      <a:pt x="0" y="141"/>
                      <a:pt x="0" y="141"/>
                    </a:cubicBezTo>
                    <a:cubicBezTo>
                      <a:pt x="0" y="32"/>
                      <a:pt x="0" y="32"/>
                      <a:pt x="0" y="32"/>
                    </a:cubicBezTo>
                    <a:cubicBezTo>
                      <a:pt x="0" y="15"/>
                      <a:pt x="15" y="0"/>
                      <a:pt x="32" y="0"/>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4" name="Freeform 704">
                <a:extLst>
                  <a:ext uri="{FF2B5EF4-FFF2-40B4-BE49-F238E27FC236}">
                    <a16:creationId xmlns:a16="http://schemas.microsoft.com/office/drawing/2014/main" id="{82C19237-6F5C-48C6-AFE3-6544AE517B15}"/>
                  </a:ext>
                </a:extLst>
              </p:cNvPr>
              <p:cNvSpPr>
                <a:spLocks/>
              </p:cNvSpPr>
              <p:nvPr/>
            </p:nvSpPr>
            <p:spPr bwMode="auto">
              <a:xfrm>
                <a:off x="3013" y="1974"/>
                <a:ext cx="1154" cy="2244"/>
              </a:xfrm>
              <a:custGeom>
                <a:avLst/>
                <a:gdLst>
                  <a:gd name="T0" fmla="*/ 260 w 489"/>
                  <a:gd name="T1" fmla="*/ 0 h 952"/>
                  <a:gd name="T2" fmla="*/ 229 w 489"/>
                  <a:gd name="T3" fmla="*/ 0 h 952"/>
                  <a:gd name="T4" fmla="*/ 0 w 489"/>
                  <a:gd name="T5" fmla="*/ 229 h 952"/>
                  <a:gd name="T6" fmla="*/ 0 w 489"/>
                  <a:gd name="T7" fmla="*/ 375 h 952"/>
                  <a:gd name="T8" fmla="*/ 155 w 489"/>
                  <a:gd name="T9" fmla="*/ 591 h 952"/>
                  <a:gd name="T10" fmla="*/ 151 w 489"/>
                  <a:gd name="T11" fmla="*/ 680 h 952"/>
                  <a:gd name="T12" fmla="*/ 27 w 489"/>
                  <a:gd name="T13" fmla="*/ 728 h 952"/>
                  <a:gd name="T14" fmla="*/ 127 w 489"/>
                  <a:gd name="T15" fmla="*/ 939 h 952"/>
                  <a:gd name="T16" fmla="*/ 251 w 489"/>
                  <a:gd name="T17" fmla="*/ 952 h 952"/>
                  <a:gd name="T18" fmla="*/ 305 w 489"/>
                  <a:gd name="T19" fmla="*/ 950 h 952"/>
                  <a:gd name="T20" fmla="*/ 396 w 489"/>
                  <a:gd name="T21" fmla="*/ 714 h 952"/>
                  <a:gd name="T22" fmla="*/ 348 w 489"/>
                  <a:gd name="T23" fmla="*/ 625 h 952"/>
                  <a:gd name="T24" fmla="*/ 340 w 489"/>
                  <a:gd name="T25" fmla="*/ 584 h 952"/>
                  <a:gd name="T26" fmla="*/ 474 w 489"/>
                  <a:gd name="T27" fmla="*/ 375 h 952"/>
                  <a:gd name="T28" fmla="*/ 489 w 489"/>
                  <a:gd name="T29" fmla="*/ 229 h 952"/>
                  <a:gd name="T30" fmla="*/ 260 w 489"/>
                  <a:gd name="T31" fmla="*/ 0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9" h="952">
                    <a:moveTo>
                      <a:pt x="260" y="0"/>
                    </a:moveTo>
                    <a:cubicBezTo>
                      <a:pt x="229" y="0"/>
                      <a:pt x="229" y="0"/>
                      <a:pt x="229" y="0"/>
                    </a:cubicBezTo>
                    <a:cubicBezTo>
                      <a:pt x="103" y="0"/>
                      <a:pt x="0" y="103"/>
                      <a:pt x="0" y="229"/>
                    </a:cubicBezTo>
                    <a:cubicBezTo>
                      <a:pt x="0" y="375"/>
                      <a:pt x="0" y="375"/>
                      <a:pt x="0" y="375"/>
                    </a:cubicBezTo>
                    <a:cubicBezTo>
                      <a:pt x="0" y="474"/>
                      <a:pt x="65" y="560"/>
                      <a:pt x="155" y="591"/>
                    </a:cubicBezTo>
                    <a:cubicBezTo>
                      <a:pt x="151" y="680"/>
                      <a:pt x="151" y="680"/>
                      <a:pt x="151" y="680"/>
                    </a:cubicBezTo>
                    <a:cubicBezTo>
                      <a:pt x="27" y="728"/>
                      <a:pt x="27" y="728"/>
                      <a:pt x="27" y="728"/>
                    </a:cubicBezTo>
                    <a:cubicBezTo>
                      <a:pt x="127" y="939"/>
                      <a:pt x="127" y="939"/>
                      <a:pt x="127" y="939"/>
                    </a:cubicBezTo>
                    <a:cubicBezTo>
                      <a:pt x="167" y="948"/>
                      <a:pt x="209" y="952"/>
                      <a:pt x="251" y="952"/>
                    </a:cubicBezTo>
                    <a:cubicBezTo>
                      <a:pt x="269" y="952"/>
                      <a:pt x="287" y="951"/>
                      <a:pt x="305" y="950"/>
                    </a:cubicBezTo>
                    <a:cubicBezTo>
                      <a:pt x="396" y="714"/>
                      <a:pt x="396" y="714"/>
                      <a:pt x="396" y="714"/>
                    </a:cubicBezTo>
                    <a:cubicBezTo>
                      <a:pt x="348" y="625"/>
                      <a:pt x="348" y="625"/>
                      <a:pt x="348" y="625"/>
                    </a:cubicBezTo>
                    <a:cubicBezTo>
                      <a:pt x="340" y="584"/>
                      <a:pt x="340" y="584"/>
                      <a:pt x="340" y="584"/>
                    </a:cubicBezTo>
                    <a:cubicBezTo>
                      <a:pt x="421" y="549"/>
                      <a:pt x="474" y="468"/>
                      <a:pt x="474" y="375"/>
                    </a:cubicBezTo>
                    <a:cubicBezTo>
                      <a:pt x="489" y="229"/>
                      <a:pt x="489" y="229"/>
                      <a:pt x="489" y="229"/>
                    </a:cubicBezTo>
                    <a:cubicBezTo>
                      <a:pt x="489" y="103"/>
                      <a:pt x="386" y="0"/>
                      <a:pt x="260" y="0"/>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5" name="Freeform 705">
                <a:extLst>
                  <a:ext uri="{FF2B5EF4-FFF2-40B4-BE49-F238E27FC236}">
                    <a16:creationId xmlns:a16="http://schemas.microsoft.com/office/drawing/2014/main" id="{87DE876E-F29F-4C98-9A7F-071820CBEA98}"/>
                  </a:ext>
                </a:extLst>
              </p:cNvPr>
              <p:cNvSpPr>
                <a:spLocks/>
              </p:cNvSpPr>
              <p:nvPr/>
            </p:nvSpPr>
            <p:spPr bwMode="auto">
              <a:xfrm>
                <a:off x="3537" y="3448"/>
                <a:ext cx="1010" cy="770"/>
              </a:xfrm>
              <a:custGeom>
                <a:avLst/>
                <a:gdLst>
                  <a:gd name="T0" fmla="*/ 29 w 428"/>
                  <a:gd name="T1" fmla="*/ 327 h 327"/>
                  <a:gd name="T2" fmla="*/ 428 w 428"/>
                  <a:gd name="T3" fmla="*/ 175 h 327"/>
                  <a:gd name="T4" fmla="*/ 338 w 428"/>
                  <a:gd name="T5" fmla="*/ 104 h 327"/>
                  <a:gd name="T6" fmla="*/ 174 w 428"/>
                  <a:gd name="T7" fmla="*/ 42 h 327"/>
                  <a:gd name="T8" fmla="*/ 126 w 428"/>
                  <a:gd name="T9" fmla="*/ 0 h 327"/>
                  <a:gd name="T10" fmla="*/ 0 w 428"/>
                  <a:gd name="T11" fmla="*/ 326 h 327"/>
                  <a:gd name="T12" fmla="*/ 29 w 428"/>
                  <a:gd name="T13" fmla="*/ 327 h 327"/>
                </a:gdLst>
                <a:ahLst/>
                <a:cxnLst>
                  <a:cxn ang="0">
                    <a:pos x="T0" y="T1"/>
                  </a:cxn>
                  <a:cxn ang="0">
                    <a:pos x="T2" y="T3"/>
                  </a:cxn>
                  <a:cxn ang="0">
                    <a:pos x="T4" y="T5"/>
                  </a:cxn>
                  <a:cxn ang="0">
                    <a:pos x="T6" y="T7"/>
                  </a:cxn>
                  <a:cxn ang="0">
                    <a:pos x="T8" y="T9"/>
                  </a:cxn>
                  <a:cxn ang="0">
                    <a:pos x="T10" y="T11"/>
                  </a:cxn>
                  <a:cxn ang="0">
                    <a:pos x="T12" y="T13"/>
                  </a:cxn>
                </a:cxnLst>
                <a:rect l="0" t="0" r="r" b="b"/>
                <a:pathLst>
                  <a:path w="428" h="327">
                    <a:moveTo>
                      <a:pt x="29" y="327"/>
                    </a:moveTo>
                    <a:cubicBezTo>
                      <a:pt x="182" y="327"/>
                      <a:pt x="322" y="269"/>
                      <a:pt x="428" y="175"/>
                    </a:cubicBezTo>
                    <a:cubicBezTo>
                      <a:pt x="407" y="142"/>
                      <a:pt x="376" y="117"/>
                      <a:pt x="338" y="104"/>
                    </a:cubicBezTo>
                    <a:cubicBezTo>
                      <a:pt x="174" y="42"/>
                      <a:pt x="174" y="42"/>
                      <a:pt x="174" y="42"/>
                    </a:cubicBezTo>
                    <a:cubicBezTo>
                      <a:pt x="126" y="0"/>
                      <a:pt x="126" y="0"/>
                      <a:pt x="126" y="0"/>
                    </a:cubicBezTo>
                    <a:cubicBezTo>
                      <a:pt x="0" y="326"/>
                      <a:pt x="0" y="326"/>
                      <a:pt x="0" y="326"/>
                    </a:cubicBezTo>
                    <a:cubicBezTo>
                      <a:pt x="10" y="327"/>
                      <a:pt x="19" y="327"/>
                      <a:pt x="29" y="3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6" name="Freeform 706">
                <a:extLst>
                  <a:ext uri="{FF2B5EF4-FFF2-40B4-BE49-F238E27FC236}">
                    <a16:creationId xmlns:a16="http://schemas.microsoft.com/office/drawing/2014/main" id="{E5B12736-18AD-47B8-BD6D-639AA2F9D4ED}"/>
                  </a:ext>
                </a:extLst>
              </p:cNvPr>
              <p:cNvSpPr>
                <a:spLocks/>
              </p:cNvSpPr>
              <p:nvPr/>
            </p:nvSpPr>
            <p:spPr bwMode="auto">
              <a:xfrm>
                <a:off x="2628" y="3405"/>
                <a:ext cx="873" cy="809"/>
              </a:xfrm>
              <a:custGeom>
                <a:avLst/>
                <a:gdLst>
                  <a:gd name="T0" fmla="*/ 370 w 370"/>
                  <a:gd name="T1" fmla="*/ 343 h 343"/>
                  <a:gd name="T2" fmla="*/ 317 w 370"/>
                  <a:gd name="T3" fmla="*/ 0 h 343"/>
                  <a:gd name="T4" fmla="*/ 233 w 370"/>
                  <a:gd name="T5" fmla="*/ 61 h 343"/>
                  <a:gd name="T6" fmla="*/ 72 w 370"/>
                  <a:gd name="T7" fmla="*/ 126 h 343"/>
                  <a:gd name="T8" fmla="*/ 0 w 370"/>
                  <a:gd name="T9" fmla="*/ 180 h 343"/>
                  <a:gd name="T10" fmla="*/ 370 w 370"/>
                  <a:gd name="T11" fmla="*/ 343 h 343"/>
                </a:gdLst>
                <a:ahLst/>
                <a:cxnLst>
                  <a:cxn ang="0">
                    <a:pos x="T0" y="T1"/>
                  </a:cxn>
                  <a:cxn ang="0">
                    <a:pos x="T2" y="T3"/>
                  </a:cxn>
                  <a:cxn ang="0">
                    <a:pos x="T4" y="T5"/>
                  </a:cxn>
                  <a:cxn ang="0">
                    <a:pos x="T6" y="T7"/>
                  </a:cxn>
                  <a:cxn ang="0">
                    <a:pos x="T8" y="T9"/>
                  </a:cxn>
                  <a:cxn ang="0">
                    <a:pos x="T10" y="T11"/>
                  </a:cxn>
                </a:cxnLst>
                <a:rect l="0" t="0" r="r" b="b"/>
                <a:pathLst>
                  <a:path w="370" h="343">
                    <a:moveTo>
                      <a:pt x="370" y="343"/>
                    </a:moveTo>
                    <a:cubicBezTo>
                      <a:pt x="317" y="0"/>
                      <a:pt x="317" y="0"/>
                      <a:pt x="317" y="0"/>
                    </a:cubicBezTo>
                    <a:cubicBezTo>
                      <a:pt x="233" y="61"/>
                      <a:pt x="233" y="61"/>
                      <a:pt x="233" y="61"/>
                    </a:cubicBezTo>
                    <a:cubicBezTo>
                      <a:pt x="72" y="126"/>
                      <a:pt x="72" y="126"/>
                      <a:pt x="72" y="126"/>
                    </a:cubicBezTo>
                    <a:cubicBezTo>
                      <a:pt x="44" y="138"/>
                      <a:pt x="19" y="156"/>
                      <a:pt x="0" y="180"/>
                    </a:cubicBezTo>
                    <a:cubicBezTo>
                      <a:pt x="98" y="273"/>
                      <a:pt x="227" y="333"/>
                      <a:pt x="370" y="3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7" name="Freeform 707">
                <a:extLst>
                  <a:ext uri="{FF2B5EF4-FFF2-40B4-BE49-F238E27FC236}">
                    <a16:creationId xmlns:a16="http://schemas.microsoft.com/office/drawing/2014/main" id="{C15FF89B-252A-4CAF-B27F-E7DC16D88653}"/>
                  </a:ext>
                </a:extLst>
              </p:cNvPr>
              <p:cNvSpPr>
                <a:spLocks/>
              </p:cNvSpPr>
              <p:nvPr/>
            </p:nvSpPr>
            <p:spPr bwMode="auto">
              <a:xfrm>
                <a:off x="3376" y="2101"/>
                <a:ext cx="805" cy="1743"/>
              </a:xfrm>
              <a:custGeom>
                <a:avLst/>
                <a:gdLst>
                  <a:gd name="T0" fmla="*/ 1 w 341"/>
                  <a:gd name="T1" fmla="*/ 537 h 739"/>
                  <a:gd name="T2" fmla="*/ 0 w 341"/>
                  <a:gd name="T3" fmla="*/ 553 h 739"/>
                  <a:gd name="T4" fmla="*/ 0 w 341"/>
                  <a:gd name="T5" fmla="*/ 553 h 739"/>
                  <a:gd name="T6" fmla="*/ 8 w 341"/>
                  <a:gd name="T7" fmla="*/ 608 h 739"/>
                  <a:gd name="T8" fmla="*/ 129 w 341"/>
                  <a:gd name="T9" fmla="*/ 739 h 739"/>
                  <a:gd name="T10" fmla="*/ 194 w 341"/>
                  <a:gd name="T11" fmla="*/ 571 h 739"/>
                  <a:gd name="T12" fmla="*/ 194 w 341"/>
                  <a:gd name="T13" fmla="*/ 571 h 739"/>
                  <a:gd name="T14" fmla="*/ 194 w 341"/>
                  <a:gd name="T15" fmla="*/ 571 h 739"/>
                  <a:gd name="T16" fmla="*/ 198 w 341"/>
                  <a:gd name="T17" fmla="*/ 530 h 739"/>
                  <a:gd name="T18" fmla="*/ 197 w 341"/>
                  <a:gd name="T19" fmla="*/ 530 h 739"/>
                  <a:gd name="T20" fmla="*/ 335 w 341"/>
                  <a:gd name="T21" fmla="*/ 325 h 739"/>
                  <a:gd name="T22" fmla="*/ 335 w 341"/>
                  <a:gd name="T23" fmla="*/ 197 h 739"/>
                  <a:gd name="T24" fmla="*/ 335 w 341"/>
                  <a:gd name="T25" fmla="*/ 175 h 739"/>
                  <a:gd name="T26" fmla="*/ 334 w 341"/>
                  <a:gd name="T27" fmla="*/ 152 h 739"/>
                  <a:gd name="T28" fmla="*/ 303 w 341"/>
                  <a:gd name="T29" fmla="*/ 76 h 739"/>
                  <a:gd name="T30" fmla="*/ 186 w 341"/>
                  <a:gd name="T31" fmla="*/ 0 h 739"/>
                  <a:gd name="T32" fmla="*/ 189 w 341"/>
                  <a:gd name="T33" fmla="*/ 32 h 739"/>
                  <a:gd name="T34" fmla="*/ 219 w 341"/>
                  <a:gd name="T35" fmla="*/ 196 h 739"/>
                  <a:gd name="T36" fmla="*/ 146 w 341"/>
                  <a:gd name="T37" fmla="*/ 205 h 739"/>
                  <a:gd name="T38" fmla="*/ 127 w 341"/>
                  <a:gd name="T39" fmla="*/ 250 h 739"/>
                  <a:gd name="T40" fmla="*/ 141 w 341"/>
                  <a:gd name="T41" fmla="*/ 336 h 739"/>
                  <a:gd name="T42" fmla="*/ 116 w 341"/>
                  <a:gd name="T43" fmla="*/ 356 h 739"/>
                  <a:gd name="T44" fmla="*/ 101 w 341"/>
                  <a:gd name="T45" fmla="*/ 375 h 739"/>
                  <a:gd name="T46" fmla="*/ 112 w 341"/>
                  <a:gd name="T47" fmla="*/ 431 h 739"/>
                  <a:gd name="T48" fmla="*/ 98 w 341"/>
                  <a:gd name="T49" fmla="*/ 447 h 739"/>
                  <a:gd name="T50" fmla="*/ 75 w 341"/>
                  <a:gd name="T51" fmla="*/ 550 h 739"/>
                  <a:gd name="T52" fmla="*/ 75 w 341"/>
                  <a:gd name="T53" fmla="*/ 550 h 739"/>
                  <a:gd name="T54" fmla="*/ 1 w 341"/>
                  <a:gd name="T55" fmla="*/ 537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1" h="739">
                    <a:moveTo>
                      <a:pt x="1" y="537"/>
                    </a:moveTo>
                    <a:cubicBezTo>
                      <a:pt x="0" y="553"/>
                      <a:pt x="0" y="553"/>
                      <a:pt x="0" y="553"/>
                    </a:cubicBezTo>
                    <a:cubicBezTo>
                      <a:pt x="0" y="553"/>
                      <a:pt x="0" y="553"/>
                      <a:pt x="0" y="553"/>
                    </a:cubicBezTo>
                    <a:cubicBezTo>
                      <a:pt x="8" y="608"/>
                      <a:pt x="8" y="608"/>
                      <a:pt x="8" y="608"/>
                    </a:cubicBezTo>
                    <a:cubicBezTo>
                      <a:pt x="25" y="652"/>
                      <a:pt x="59" y="706"/>
                      <a:pt x="129" y="739"/>
                    </a:cubicBezTo>
                    <a:cubicBezTo>
                      <a:pt x="194" y="571"/>
                      <a:pt x="194" y="571"/>
                      <a:pt x="194" y="571"/>
                    </a:cubicBezTo>
                    <a:cubicBezTo>
                      <a:pt x="194" y="571"/>
                      <a:pt x="194" y="571"/>
                      <a:pt x="194" y="571"/>
                    </a:cubicBezTo>
                    <a:cubicBezTo>
                      <a:pt x="194" y="571"/>
                      <a:pt x="194" y="571"/>
                      <a:pt x="194" y="571"/>
                    </a:cubicBezTo>
                    <a:cubicBezTo>
                      <a:pt x="198" y="530"/>
                      <a:pt x="198" y="530"/>
                      <a:pt x="198" y="530"/>
                    </a:cubicBezTo>
                    <a:cubicBezTo>
                      <a:pt x="198" y="530"/>
                      <a:pt x="197" y="530"/>
                      <a:pt x="197" y="530"/>
                    </a:cubicBezTo>
                    <a:cubicBezTo>
                      <a:pt x="276" y="496"/>
                      <a:pt x="333" y="417"/>
                      <a:pt x="335" y="325"/>
                    </a:cubicBezTo>
                    <a:cubicBezTo>
                      <a:pt x="335" y="325"/>
                      <a:pt x="341" y="189"/>
                      <a:pt x="335" y="197"/>
                    </a:cubicBezTo>
                    <a:cubicBezTo>
                      <a:pt x="335" y="175"/>
                      <a:pt x="335" y="175"/>
                      <a:pt x="335" y="175"/>
                    </a:cubicBezTo>
                    <a:cubicBezTo>
                      <a:pt x="335" y="167"/>
                      <a:pt x="334" y="159"/>
                      <a:pt x="334" y="152"/>
                    </a:cubicBezTo>
                    <a:cubicBezTo>
                      <a:pt x="330" y="146"/>
                      <a:pt x="303" y="76"/>
                      <a:pt x="303" y="76"/>
                    </a:cubicBezTo>
                    <a:cubicBezTo>
                      <a:pt x="186" y="0"/>
                      <a:pt x="186" y="0"/>
                      <a:pt x="186" y="0"/>
                    </a:cubicBezTo>
                    <a:cubicBezTo>
                      <a:pt x="189" y="32"/>
                      <a:pt x="189" y="32"/>
                      <a:pt x="189" y="32"/>
                    </a:cubicBezTo>
                    <a:cubicBezTo>
                      <a:pt x="189" y="32"/>
                      <a:pt x="233" y="123"/>
                      <a:pt x="219" y="196"/>
                    </a:cubicBezTo>
                    <a:cubicBezTo>
                      <a:pt x="202" y="198"/>
                      <a:pt x="146" y="205"/>
                      <a:pt x="146" y="205"/>
                    </a:cubicBezTo>
                    <a:cubicBezTo>
                      <a:pt x="130" y="210"/>
                      <a:pt x="127" y="234"/>
                      <a:pt x="127" y="250"/>
                    </a:cubicBezTo>
                    <a:cubicBezTo>
                      <a:pt x="141" y="336"/>
                      <a:pt x="141" y="336"/>
                      <a:pt x="141" y="336"/>
                    </a:cubicBezTo>
                    <a:cubicBezTo>
                      <a:pt x="142" y="353"/>
                      <a:pt x="131" y="356"/>
                      <a:pt x="116" y="356"/>
                    </a:cubicBezTo>
                    <a:cubicBezTo>
                      <a:pt x="106" y="356"/>
                      <a:pt x="99" y="365"/>
                      <a:pt x="101" y="375"/>
                    </a:cubicBezTo>
                    <a:cubicBezTo>
                      <a:pt x="112" y="431"/>
                      <a:pt x="112" y="431"/>
                      <a:pt x="112" y="431"/>
                    </a:cubicBezTo>
                    <a:cubicBezTo>
                      <a:pt x="98" y="447"/>
                      <a:pt x="98" y="447"/>
                      <a:pt x="98" y="447"/>
                    </a:cubicBezTo>
                    <a:cubicBezTo>
                      <a:pt x="73" y="475"/>
                      <a:pt x="64" y="514"/>
                      <a:pt x="75" y="550"/>
                    </a:cubicBezTo>
                    <a:cubicBezTo>
                      <a:pt x="75" y="550"/>
                      <a:pt x="75" y="550"/>
                      <a:pt x="75" y="550"/>
                    </a:cubicBezTo>
                    <a:cubicBezTo>
                      <a:pt x="49" y="550"/>
                      <a:pt x="24" y="545"/>
                      <a:pt x="1" y="53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8" name="Oval 708">
                <a:extLst>
                  <a:ext uri="{FF2B5EF4-FFF2-40B4-BE49-F238E27FC236}">
                    <a16:creationId xmlns:a16="http://schemas.microsoft.com/office/drawing/2014/main" id="{DD4876EA-FC94-4B63-BEC0-7CA839EAAF5D}"/>
                  </a:ext>
                </a:extLst>
              </p:cNvPr>
              <p:cNvSpPr>
                <a:spLocks noChangeArrowheads="1"/>
              </p:cNvSpPr>
              <p:nvPr/>
            </p:nvSpPr>
            <p:spPr bwMode="auto">
              <a:xfrm>
                <a:off x="3239" y="2646"/>
                <a:ext cx="111" cy="11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9" name="Oval 709">
                <a:extLst>
                  <a:ext uri="{FF2B5EF4-FFF2-40B4-BE49-F238E27FC236}">
                    <a16:creationId xmlns:a16="http://schemas.microsoft.com/office/drawing/2014/main" id="{A3156347-741E-463C-8257-4ACBD39278DD}"/>
                  </a:ext>
                </a:extLst>
              </p:cNvPr>
              <p:cNvSpPr>
                <a:spLocks noChangeArrowheads="1"/>
              </p:cNvSpPr>
              <p:nvPr/>
            </p:nvSpPr>
            <p:spPr bwMode="auto">
              <a:xfrm>
                <a:off x="3815" y="2646"/>
                <a:ext cx="111" cy="11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0" name="Freeform 710">
                <a:extLst>
                  <a:ext uri="{FF2B5EF4-FFF2-40B4-BE49-F238E27FC236}">
                    <a16:creationId xmlns:a16="http://schemas.microsoft.com/office/drawing/2014/main" id="{00D383B0-D1F9-4795-B94E-98D8B960AEF3}"/>
                  </a:ext>
                </a:extLst>
              </p:cNvPr>
              <p:cNvSpPr>
                <a:spLocks/>
              </p:cNvSpPr>
              <p:nvPr/>
            </p:nvSpPr>
            <p:spPr bwMode="auto">
              <a:xfrm>
                <a:off x="3386" y="3023"/>
                <a:ext cx="403" cy="132"/>
              </a:xfrm>
              <a:custGeom>
                <a:avLst/>
                <a:gdLst>
                  <a:gd name="T0" fmla="*/ 0 w 171"/>
                  <a:gd name="T1" fmla="*/ 0 h 56"/>
                  <a:gd name="T2" fmla="*/ 86 w 171"/>
                  <a:gd name="T3" fmla="*/ 56 h 56"/>
                  <a:gd name="T4" fmla="*/ 171 w 171"/>
                  <a:gd name="T5" fmla="*/ 0 h 56"/>
                  <a:gd name="T6" fmla="*/ 0 w 171"/>
                  <a:gd name="T7" fmla="*/ 0 h 56"/>
                </a:gdLst>
                <a:ahLst/>
                <a:cxnLst>
                  <a:cxn ang="0">
                    <a:pos x="T0" y="T1"/>
                  </a:cxn>
                  <a:cxn ang="0">
                    <a:pos x="T2" y="T3"/>
                  </a:cxn>
                  <a:cxn ang="0">
                    <a:pos x="T4" y="T5"/>
                  </a:cxn>
                  <a:cxn ang="0">
                    <a:pos x="T6" y="T7"/>
                  </a:cxn>
                </a:cxnLst>
                <a:rect l="0" t="0" r="r" b="b"/>
                <a:pathLst>
                  <a:path w="171" h="56">
                    <a:moveTo>
                      <a:pt x="0" y="0"/>
                    </a:moveTo>
                    <a:cubicBezTo>
                      <a:pt x="15" y="33"/>
                      <a:pt x="47" y="56"/>
                      <a:pt x="86" y="56"/>
                    </a:cubicBezTo>
                    <a:cubicBezTo>
                      <a:pt x="124" y="56"/>
                      <a:pt x="156" y="33"/>
                      <a:pt x="171"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1" name="Freeform 711">
                <a:extLst>
                  <a:ext uri="{FF2B5EF4-FFF2-40B4-BE49-F238E27FC236}">
                    <a16:creationId xmlns:a16="http://schemas.microsoft.com/office/drawing/2014/main" id="{95E79713-1A03-441C-8FAF-4F3FF7956CEB}"/>
                  </a:ext>
                </a:extLst>
              </p:cNvPr>
              <p:cNvSpPr>
                <a:spLocks/>
              </p:cNvSpPr>
              <p:nvPr/>
            </p:nvSpPr>
            <p:spPr bwMode="auto">
              <a:xfrm>
                <a:off x="3704" y="2457"/>
                <a:ext cx="333" cy="189"/>
              </a:xfrm>
              <a:custGeom>
                <a:avLst/>
                <a:gdLst>
                  <a:gd name="T0" fmla="*/ 128 w 141"/>
                  <a:gd name="T1" fmla="*/ 80 h 80"/>
                  <a:gd name="T2" fmla="*/ 120 w 141"/>
                  <a:gd name="T3" fmla="*/ 76 h 80"/>
                  <a:gd name="T4" fmla="*/ 120 w 141"/>
                  <a:gd name="T5" fmla="*/ 76 h 80"/>
                  <a:gd name="T6" fmla="*/ 19 w 141"/>
                  <a:gd name="T7" fmla="*/ 66 h 80"/>
                  <a:gd name="T8" fmla="*/ 3 w 141"/>
                  <a:gd name="T9" fmla="*/ 62 h 80"/>
                  <a:gd name="T10" fmla="*/ 7 w 141"/>
                  <a:gd name="T11" fmla="*/ 46 h 80"/>
                  <a:gd name="T12" fmla="*/ 137 w 141"/>
                  <a:gd name="T13" fmla="*/ 61 h 80"/>
                  <a:gd name="T14" fmla="*/ 136 w 141"/>
                  <a:gd name="T15" fmla="*/ 78 h 80"/>
                  <a:gd name="T16" fmla="*/ 128 w 141"/>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80">
                    <a:moveTo>
                      <a:pt x="128" y="80"/>
                    </a:moveTo>
                    <a:cubicBezTo>
                      <a:pt x="125" y="80"/>
                      <a:pt x="122" y="79"/>
                      <a:pt x="120" y="76"/>
                    </a:cubicBezTo>
                    <a:cubicBezTo>
                      <a:pt x="120" y="76"/>
                      <a:pt x="120" y="76"/>
                      <a:pt x="120" y="76"/>
                    </a:cubicBezTo>
                    <a:cubicBezTo>
                      <a:pt x="118" y="74"/>
                      <a:pt x="79" y="30"/>
                      <a:pt x="19" y="66"/>
                    </a:cubicBezTo>
                    <a:cubicBezTo>
                      <a:pt x="13" y="69"/>
                      <a:pt x="6" y="67"/>
                      <a:pt x="3" y="62"/>
                    </a:cubicBezTo>
                    <a:cubicBezTo>
                      <a:pt x="0" y="56"/>
                      <a:pt x="2" y="49"/>
                      <a:pt x="7" y="46"/>
                    </a:cubicBezTo>
                    <a:cubicBezTo>
                      <a:pt x="84" y="0"/>
                      <a:pt x="137" y="61"/>
                      <a:pt x="137" y="61"/>
                    </a:cubicBezTo>
                    <a:cubicBezTo>
                      <a:pt x="141" y="66"/>
                      <a:pt x="141" y="73"/>
                      <a:pt x="136" y="78"/>
                    </a:cubicBezTo>
                    <a:cubicBezTo>
                      <a:pt x="134" y="79"/>
                      <a:pt x="131" y="80"/>
                      <a:pt x="128" y="80"/>
                    </a:cubicBez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2" name="Freeform 712">
                <a:extLst>
                  <a:ext uri="{FF2B5EF4-FFF2-40B4-BE49-F238E27FC236}">
                    <a16:creationId xmlns:a16="http://schemas.microsoft.com/office/drawing/2014/main" id="{C2FDF159-B61B-4C55-8382-6D8439ED1F6F}"/>
                  </a:ext>
                </a:extLst>
              </p:cNvPr>
              <p:cNvSpPr>
                <a:spLocks/>
              </p:cNvSpPr>
              <p:nvPr/>
            </p:nvSpPr>
            <p:spPr bwMode="auto">
              <a:xfrm>
                <a:off x="3114" y="2457"/>
                <a:ext cx="333" cy="189"/>
              </a:xfrm>
              <a:custGeom>
                <a:avLst/>
                <a:gdLst>
                  <a:gd name="T0" fmla="*/ 13 w 141"/>
                  <a:gd name="T1" fmla="*/ 80 h 80"/>
                  <a:gd name="T2" fmla="*/ 21 w 141"/>
                  <a:gd name="T3" fmla="*/ 76 h 80"/>
                  <a:gd name="T4" fmla="*/ 21 w 141"/>
                  <a:gd name="T5" fmla="*/ 76 h 80"/>
                  <a:gd name="T6" fmla="*/ 122 w 141"/>
                  <a:gd name="T7" fmla="*/ 66 h 80"/>
                  <a:gd name="T8" fmla="*/ 138 w 141"/>
                  <a:gd name="T9" fmla="*/ 62 h 80"/>
                  <a:gd name="T10" fmla="*/ 134 w 141"/>
                  <a:gd name="T11" fmla="*/ 46 h 80"/>
                  <a:gd name="T12" fmla="*/ 4 w 141"/>
                  <a:gd name="T13" fmla="*/ 61 h 80"/>
                  <a:gd name="T14" fmla="*/ 5 w 141"/>
                  <a:gd name="T15" fmla="*/ 78 h 80"/>
                  <a:gd name="T16" fmla="*/ 13 w 141"/>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80">
                    <a:moveTo>
                      <a:pt x="13" y="80"/>
                    </a:moveTo>
                    <a:cubicBezTo>
                      <a:pt x="16" y="80"/>
                      <a:pt x="19" y="79"/>
                      <a:pt x="21" y="76"/>
                    </a:cubicBezTo>
                    <a:cubicBezTo>
                      <a:pt x="21" y="76"/>
                      <a:pt x="21" y="76"/>
                      <a:pt x="21" y="76"/>
                    </a:cubicBezTo>
                    <a:cubicBezTo>
                      <a:pt x="23" y="74"/>
                      <a:pt x="62" y="30"/>
                      <a:pt x="122" y="66"/>
                    </a:cubicBezTo>
                    <a:cubicBezTo>
                      <a:pt x="128" y="69"/>
                      <a:pt x="135" y="67"/>
                      <a:pt x="138" y="62"/>
                    </a:cubicBezTo>
                    <a:cubicBezTo>
                      <a:pt x="141" y="56"/>
                      <a:pt x="140" y="49"/>
                      <a:pt x="134" y="46"/>
                    </a:cubicBezTo>
                    <a:cubicBezTo>
                      <a:pt x="57" y="0"/>
                      <a:pt x="4" y="61"/>
                      <a:pt x="4" y="61"/>
                    </a:cubicBezTo>
                    <a:cubicBezTo>
                      <a:pt x="0" y="66"/>
                      <a:pt x="0" y="73"/>
                      <a:pt x="5" y="78"/>
                    </a:cubicBezTo>
                    <a:cubicBezTo>
                      <a:pt x="7" y="79"/>
                      <a:pt x="10" y="80"/>
                      <a:pt x="13" y="80"/>
                    </a:cubicBez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3" name="Freeform 713">
                <a:extLst>
                  <a:ext uri="{FF2B5EF4-FFF2-40B4-BE49-F238E27FC236}">
                    <a16:creationId xmlns:a16="http://schemas.microsoft.com/office/drawing/2014/main" id="{19B03BC3-7337-464E-BA4A-E2A67CEBF540}"/>
                  </a:ext>
                </a:extLst>
              </p:cNvPr>
              <p:cNvSpPr>
                <a:spLocks/>
              </p:cNvSpPr>
              <p:nvPr/>
            </p:nvSpPr>
            <p:spPr bwMode="auto">
              <a:xfrm>
                <a:off x="2956" y="1785"/>
                <a:ext cx="1234" cy="941"/>
              </a:xfrm>
              <a:custGeom>
                <a:avLst/>
                <a:gdLst>
                  <a:gd name="T0" fmla="*/ 282 w 523"/>
                  <a:gd name="T1" fmla="*/ 0 h 399"/>
                  <a:gd name="T2" fmla="*/ 241 w 523"/>
                  <a:gd name="T3" fmla="*/ 0 h 399"/>
                  <a:gd name="T4" fmla="*/ 0 w 523"/>
                  <a:gd name="T5" fmla="*/ 241 h 399"/>
                  <a:gd name="T6" fmla="*/ 0 w 523"/>
                  <a:gd name="T7" fmla="*/ 241 h 399"/>
                  <a:gd name="T8" fmla="*/ 0 w 523"/>
                  <a:gd name="T9" fmla="*/ 399 h 399"/>
                  <a:gd name="T10" fmla="*/ 64 w 523"/>
                  <a:gd name="T11" fmla="*/ 308 h 399"/>
                  <a:gd name="T12" fmla="*/ 64 w 523"/>
                  <a:gd name="T13" fmla="*/ 256 h 399"/>
                  <a:gd name="T14" fmla="*/ 105 w 523"/>
                  <a:gd name="T15" fmla="*/ 185 h 399"/>
                  <a:gd name="T16" fmla="*/ 166 w 523"/>
                  <a:gd name="T17" fmla="*/ 151 h 399"/>
                  <a:gd name="T18" fmla="*/ 294 w 523"/>
                  <a:gd name="T19" fmla="*/ 165 h 399"/>
                  <a:gd name="T20" fmla="*/ 299 w 523"/>
                  <a:gd name="T21" fmla="*/ 170 h 399"/>
                  <a:gd name="T22" fmla="*/ 373 w 523"/>
                  <a:gd name="T23" fmla="*/ 199 h 399"/>
                  <a:gd name="T24" fmla="*/ 382 w 523"/>
                  <a:gd name="T25" fmla="*/ 199 h 399"/>
                  <a:gd name="T26" fmla="*/ 457 w 523"/>
                  <a:gd name="T27" fmla="*/ 275 h 399"/>
                  <a:gd name="T28" fmla="*/ 457 w 523"/>
                  <a:gd name="T29" fmla="*/ 317 h 399"/>
                  <a:gd name="T30" fmla="*/ 523 w 523"/>
                  <a:gd name="T31" fmla="*/ 383 h 399"/>
                  <a:gd name="T32" fmla="*/ 523 w 523"/>
                  <a:gd name="T33" fmla="*/ 241 h 399"/>
                  <a:gd name="T34" fmla="*/ 282 w 523"/>
                  <a:gd name="T35" fmla="*/ 0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3" h="399">
                    <a:moveTo>
                      <a:pt x="282" y="0"/>
                    </a:moveTo>
                    <a:cubicBezTo>
                      <a:pt x="241" y="0"/>
                      <a:pt x="241" y="0"/>
                      <a:pt x="241" y="0"/>
                    </a:cubicBezTo>
                    <a:cubicBezTo>
                      <a:pt x="107" y="0"/>
                      <a:pt x="0" y="108"/>
                      <a:pt x="0" y="241"/>
                    </a:cubicBezTo>
                    <a:cubicBezTo>
                      <a:pt x="0" y="241"/>
                      <a:pt x="0" y="241"/>
                      <a:pt x="0" y="241"/>
                    </a:cubicBezTo>
                    <a:cubicBezTo>
                      <a:pt x="0" y="399"/>
                      <a:pt x="0" y="399"/>
                      <a:pt x="0" y="399"/>
                    </a:cubicBezTo>
                    <a:cubicBezTo>
                      <a:pt x="37" y="386"/>
                      <a:pt x="64" y="350"/>
                      <a:pt x="64" y="308"/>
                    </a:cubicBezTo>
                    <a:cubicBezTo>
                      <a:pt x="64" y="256"/>
                      <a:pt x="64" y="256"/>
                      <a:pt x="64" y="256"/>
                    </a:cubicBezTo>
                    <a:cubicBezTo>
                      <a:pt x="64" y="227"/>
                      <a:pt x="80" y="200"/>
                      <a:pt x="105" y="185"/>
                    </a:cubicBezTo>
                    <a:cubicBezTo>
                      <a:pt x="166" y="151"/>
                      <a:pt x="166" y="151"/>
                      <a:pt x="166" y="151"/>
                    </a:cubicBezTo>
                    <a:cubicBezTo>
                      <a:pt x="207" y="127"/>
                      <a:pt x="259" y="133"/>
                      <a:pt x="294" y="165"/>
                    </a:cubicBezTo>
                    <a:cubicBezTo>
                      <a:pt x="299" y="170"/>
                      <a:pt x="299" y="170"/>
                      <a:pt x="299" y="170"/>
                    </a:cubicBezTo>
                    <a:cubicBezTo>
                      <a:pt x="319" y="189"/>
                      <a:pt x="346" y="199"/>
                      <a:pt x="373" y="199"/>
                    </a:cubicBezTo>
                    <a:cubicBezTo>
                      <a:pt x="382" y="199"/>
                      <a:pt x="382" y="199"/>
                      <a:pt x="382" y="199"/>
                    </a:cubicBezTo>
                    <a:cubicBezTo>
                      <a:pt x="423" y="199"/>
                      <a:pt x="457" y="233"/>
                      <a:pt x="457" y="275"/>
                    </a:cubicBezTo>
                    <a:cubicBezTo>
                      <a:pt x="457" y="317"/>
                      <a:pt x="457" y="317"/>
                      <a:pt x="457" y="317"/>
                    </a:cubicBezTo>
                    <a:cubicBezTo>
                      <a:pt x="457" y="354"/>
                      <a:pt x="486" y="383"/>
                      <a:pt x="523" y="383"/>
                    </a:cubicBezTo>
                    <a:cubicBezTo>
                      <a:pt x="523" y="241"/>
                      <a:pt x="523" y="241"/>
                      <a:pt x="523" y="241"/>
                    </a:cubicBezTo>
                    <a:cubicBezTo>
                      <a:pt x="523" y="108"/>
                      <a:pt x="415" y="0"/>
                      <a:pt x="282" y="0"/>
                    </a:cubicBez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4" name="Freeform 714">
                <a:extLst>
                  <a:ext uri="{FF2B5EF4-FFF2-40B4-BE49-F238E27FC236}">
                    <a16:creationId xmlns:a16="http://schemas.microsoft.com/office/drawing/2014/main" id="{66F7BEC2-067D-4E16-8D5A-087EB1E72246}"/>
                  </a:ext>
                </a:extLst>
              </p:cNvPr>
              <p:cNvSpPr>
                <a:spLocks noEditPoints="1"/>
              </p:cNvSpPr>
              <p:nvPr/>
            </p:nvSpPr>
            <p:spPr bwMode="auto">
              <a:xfrm>
                <a:off x="3088" y="2566"/>
                <a:ext cx="413" cy="273"/>
              </a:xfrm>
              <a:custGeom>
                <a:avLst/>
                <a:gdLst>
                  <a:gd name="T0" fmla="*/ 113 w 175"/>
                  <a:gd name="T1" fmla="*/ 116 h 116"/>
                  <a:gd name="T2" fmla="*/ 62 w 175"/>
                  <a:gd name="T3" fmla="*/ 116 h 116"/>
                  <a:gd name="T4" fmla="*/ 0 w 175"/>
                  <a:gd name="T5" fmla="*/ 54 h 116"/>
                  <a:gd name="T6" fmla="*/ 0 w 175"/>
                  <a:gd name="T7" fmla="*/ 43 h 116"/>
                  <a:gd name="T8" fmla="*/ 43 w 175"/>
                  <a:gd name="T9" fmla="*/ 0 h 116"/>
                  <a:gd name="T10" fmla="*/ 132 w 175"/>
                  <a:gd name="T11" fmla="*/ 0 h 116"/>
                  <a:gd name="T12" fmla="*/ 175 w 175"/>
                  <a:gd name="T13" fmla="*/ 43 h 116"/>
                  <a:gd name="T14" fmla="*/ 175 w 175"/>
                  <a:gd name="T15" fmla="*/ 54 h 116"/>
                  <a:gd name="T16" fmla="*/ 113 w 175"/>
                  <a:gd name="T17" fmla="*/ 116 h 116"/>
                  <a:gd name="T18" fmla="*/ 43 w 175"/>
                  <a:gd name="T19" fmla="*/ 11 h 116"/>
                  <a:gd name="T20" fmla="*/ 11 w 175"/>
                  <a:gd name="T21" fmla="*/ 43 h 116"/>
                  <a:gd name="T22" fmla="*/ 11 w 175"/>
                  <a:gd name="T23" fmla="*/ 54 h 116"/>
                  <a:gd name="T24" fmla="*/ 62 w 175"/>
                  <a:gd name="T25" fmla="*/ 105 h 116"/>
                  <a:gd name="T26" fmla="*/ 113 w 175"/>
                  <a:gd name="T27" fmla="*/ 105 h 116"/>
                  <a:gd name="T28" fmla="*/ 165 w 175"/>
                  <a:gd name="T29" fmla="*/ 54 h 116"/>
                  <a:gd name="T30" fmla="*/ 165 w 175"/>
                  <a:gd name="T31" fmla="*/ 43 h 116"/>
                  <a:gd name="T32" fmla="*/ 132 w 175"/>
                  <a:gd name="T33" fmla="*/ 11 h 116"/>
                  <a:gd name="T34" fmla="*/ 43 w 175"/>
                  <a:gd name="T35" fmla="*/ 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16">
                    <a:moveTo>
                      <a:pt x="113" y="116"/>
                    </a:moveTo>
                    <a:cubicBezTo>
                      <a:pt x="62" y="116"/>
                      <a:pt x="62" y="116"/>
                      <a:pt x="62" y="116"/>
                    </a:cubicBezTo>
                    <a:cubicBezTo>
                      <a:pt x="28" y="116"/>
                      <a:pt x="0" y="88"/>
                      <a:pt x="0" y="54"/>
                    </a:cubicBezTo>
                    <a:cubicBezTo>
                      <a:pt x="0" y="43"/>
                      <a:pt x="0" y="43"/>
                      <a:pt x="0" y="43"/>
                    </a:cubicBezTo>
                    <a:cubicBezTo>
                      <a:pt x="0" y="20"/>
                      <a:pt x="19" y="0"/>
                      <a:pt x="43" y="0"/>
                    </a:cubicBezTo>
                    <a:cubicBezTo>
                      <a:pt x="132" y="0"/>
                      <a:pt x="132" y="0"/>
                      <a:pt x="132" y="0"/>
                    </a:cubicBezTo>
                    <a:cubicBezTo>
                      <a:pt x="156" y="0"/>
                      <a:pt x="175" y="20"/>
                      <a:pt x="175" y="43"/>
                    </a:cubicBezTo>
                    <a:cubicBezTo>
                      <a:pt x="175" y="54"/>
                      <a:pt x="175" y="54"/>
                      <a:pt x="175" y="54"/>
                    </a:cubicBezTo>
                    <a:cubicBezTo>
                      <a:pt x="175" y="88"/>
                      <a:pt x="147" y="116"/>
                      <a:pt x="113" y="116"/>
                    </a:cubicBezTo>
                    <a:close/>
                    <a:moveTo>
                      <a:pt x="43" y="11"/>
                    </a:moveTo>
                    <a:cubicBezTo>
                      <a:pt x="25" y="11"/>
                      <a:pt x="11" y="25"/>
                      <a:pt x="11" y="43"/>
                    </a:cubicBezTo>
                    <a:cubicBezTo>
                      <a:pt x="11" y="54"/>
                      <a:pt x="11" y="54"/>
                      <a:pt x="11" y="54"/>
                    </a:cubicBezTo>
                    <a:cubicBezTo>
                      <a:pt x="11" y="82"/>
                      <a:pt x="34" y="105"/>
                      <a:pt x="62" y="105"/>
                    </a:cubicBezTo>
                    <a:cubicBezTo>
                      <a:pt x="113" y="105"/>
                      <a:pt x="113" y="105"/>
                      <a:pt x="113" y="105"/>
                    </a:cubicBezTo>
                    <a:cubicBezTo>
                      <a:pt x="141" y="105"/>
                      <a:pt x="165" y="82"/>
                      <a:pt x="165" y="54"/>
                    </a:cubicBezTo>
                    <a:cubicBezTo>
                      <a:pt x="165" y="43"/>
                      <a:pt x="165" y="43"/>
                      <a:pt x="165" y="43"/>
                    </a:cubicBezTo>
                    <a:cubicBezTo>
                      <a:pt x="165" y="25"/>
                      <a:pt x="150" y="11"/>
                      <a:pt x="132" y="11"/>
                    </a:cubicBezTo>
                    <a:lnTo>
                      <a:pt x="43" y="11"/>
                    </a:ln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5" name="Freeform 715">
                <a:extLst>
                  <a:ext uri="{FF2B5EF4-FFF2-40B4-BE49-F238E27FC236}">
                    <a16:creationId xmlns:a16="http://schemas.microsoft.com/office/drawing/2014/main" id="{34BA273C-5E8D-4E97-B842-6BFFB8B7BCB5}"/>
                  </a:ext>
                </a:extLst>
              </p:cNvPr>
              <p:cNvSpPr>
                <a:spLocks noEditPoints="1"/>
              </p:cNvSpPr>
              <p:nvPr/>
            </p:nvSpPr>
            <p:spPr bwMode="auto">
              <a:xfrm>
                <a:off x="3664" y="2566"/>
                <a:ext cx="413" cy="273"/>
              </a:xfrm>
              <a:custGeom>
                <a:avLst/>
                <a:gdLst>
                  <a:gd name="T0" fmla="*/ 113 w 175"/>
                  <a:gd name="T1" fmla="*/ 116 h 116"/>
                  <a:gd name="T2" fmla="*/ 62 w 175"/>
                  <a:gd name="T3" fmla="*/ 116 h 116"/>
                  <a:gd name="T4" fmla="*/ 0 w 175"/>
                  <a:gd name="T5" fmla="*/ 54 h 116"/>
                  <a:gd name="T6" fmla="*/ 0 w 175"/>
                  <a:gd name="T7" fmla="*/ 43 h 116"/>
                  <a:gd name="T8" fmla="*/ 43 w 175"/>
                  <a:gd name="T9" fmla="*/ 0 h 116"/>
                  <a:gd name="T10" fmla="*/ 132 w 175"/>
                  <a:gd name="T11" fmla="*/ 0 h 116"/>
                  <a:gd name="T12" fmla="*/ 175 w 175"/>
                  <a:gd name="T13" fmla="*/ 43 h 116"/>
                  <a:gd name="T14" fmla="*/ 175 w 175"/>
                  <a:gd name="T15" fmla="*/ 54 h 116"/>
                  <a:gd name="T16" fmla="*/ 113 w 175"/>
                  <a:gd name="T17" fmla="*/ 116 h 116"/>
                  <a:gd name="T18" fmla="*/ 43 w 175"/>
                  <a:gd name="T19" fmla="*/ 11 h 116"/>
                  <a:gd name="T20" fmla="*/ 11 w 175"/>
                  <a:gd name="T21" fmla="*/ 43 h 116"/>
                  <a:gd name="T22" fmla="*/ 11 w 175"/>
                  <a:gd name="T23" fmla="*/ 54 h 116"/>
                  <a:gd name="T24" fmla="*/ 62 w 175"/>
                  <a:gd name="T25" fmla="*/ 105 h 116"/>
                  <a:gd name="T26" fmla="*/ 113 w 175"/>
                  <a:gd name="T27" fmla="*/ 105 h 116"/>
                  <a:gd name="T28" fmla="*/ 165 w 175"/>
                  <a:gd name="T29" fmla="*/ 54 h 116"/>
                  <a:gd name="T30" fmla="*/ 165 w 175"/>
                  <a:gd name="T31" fmla="*/ 43 h 116"/>
                  <a:gd name="T32" fmla="*/ 132 w 175"/>
                  <a:gd name="T33" fmla="*/ 11 h 116"/>
                  <a:gd name="T34" fmla="*/ 43 w 175"/>
                  <a:gd name="T35" fmla="*/ 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16">
                    <a:moveTo>
                      <a:pt x="113" y="116"/>
                    </a:moveTo>
                    <a:cubicBezTo>
                      <a:pt x="62" y="116"/>
                      <a:pt x="62" y="116"/>
                      <a:pt x="62" y="116"/>
                    </a:cubicBezTo>
                    <a:cubicBezTo>
                      <a:pt x="28" y="116"/>
                      <a:pt x="0" y="88"/>
                      <a:pt x="0" y="54"/>
                    </a:cubicBezTo>
                    <a:cubicBezTo>
                      <a:pt x="0" y="43"/>
                      <a:pt x="0" y="43"/>
                      <a:pt x="0" y="43"/>
                    </a:cubicBezTo>
                    <a:cubicBezTo>
                      <a:pt x="0" y="20"/>
                      <a:pt x="20" y="0"/>
                      <a:pt x="43" y="0"/>
                    </a:cubicBezTo>
                    <a:cubicBezTo>
                      <a:pt x="132" y="0"/>
                      <a:pt x="132" y="0"/>
                      <a:pt x="132" y="0"/>
                    </a:cubicBezTo>
                    <a:cubicBezTo>
                      <a:pt x="156" y="0"/>
                      <a:pt x="175" y="20"/>
                      <a:pt x="175" y="43"/>
                    </a:cubicBezTo>
                    <a:cubicBezTo>
                      <a:pt x="175" y="54"/>
                      <a:pt x="175" y="54"/>
                      <a:pt x="175" y="54"/>
                    </a:cubicBezTo>
                    <a:cubicBezTo>
                      <a:pt x="175" y="88"/>
                      <a:pt x="147" y="116"/>
                      <a:pt x="113" y="116"/>
                    </a:cubicBezTo>
                    <a:close/>
                    <a:moveTo>
                      <a:pt x="43" y="11"/>
                    </a:moveTo>
                    <a:cubicBezTo>
                      <a:pt x="25" y="11"/>
                      <a:pt x="11" y="25"/>
                      <a:pt x="11" y="43"/>
                    </a:cubicBezTo>
                    <a:cubicBezTo>
                      <a:pt x="11" y="54"/>
                      <a:pt x="11" y="54"/>
                      <a:pt x="11" y="54"/>
                    </a:cubicBezTo>
                    <a:cubicBezTo>
                      <a:pt x="11" y="82"/>
                      <a:pt x="34" y="105"/>
                      <a:pt x="62" y="105"/>
                    </a:cubicBezTo>
                    <a:cubicBezTo>
                      <a:pt x="113" y="105"/>
                      <a:pt x="113" y="105"/>
                      <a:pt x="113" y="105"/>
                    </a:cubicBezTo>
                    <a:cubicBezTo>
                      <a:pt x="142" y="105"/>
                      <a:pt x="165" y="82"/>
                      <a:pt x="165" y="54"/>
                    </a:cubicBezTo>
                    <a:cubicBezTo>
                      <a:pt x="165" y="43"/>
                      <a:pt x="165" y="43"/>
                      <a:pt x="165" y="43"/>
                    </a:cubicBezTo>
                    <a:cubicBezTo>
                      <a:pt x="165" y="25"/>
                      <a:pt x="150" y="11"/>
                      <a:pt x="132" y="11"/>
                    </a:cubicBezTo>
                    <a:lnTo>
                      <a:pt x="43" y="11"/>
                    </a:ln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6" name="Freeform 716">
                <a:extLst>
                  <a:ext uri="{FF2B5EF4-FFF2-40B4-BE49-F238E27FC236}">
                    <a16:creationId xmlns:a16="http://schemas.microsoft.com/office/drawing/2014/main" id="{8BCB3E32-50C3-4EC5-AC40-029FC236BC7A}"/>
                  </a:ext>
                </a:extLst>
              </p:cNvPr>
              <p:cNvSpPr>
                <a:spLocks/>
              </p:cNvSpPr>
              <p:nvPr/>
            </p:nvSpPr>
            <p:spPr bwMode="auto">
              <a:xfrm>
                <a:off x="3478" y="2559"/>
                <a:ext cx="212" cy="111"/>
              </a:xfrm>
              <a:custGeom>
                <a:avLst/>
                <a:gdLst>
                  <a:gd name="T0" fmla="*/ 90 w 90"/>
                  <a:gd name="T1" fmla="*/ 47 h 47"/>
                  <a:gd name="T2" fmla="*/ 79 w 90"/>
                  <a:gd name="T3" fmla="*/ 47 h 47"/>
                  <a:gd name="T4" fmla="*/ 79 w 90"/>
                  <a:gd name="T5" fmla="*/ 45 h 47"/>
                  <a:gd name="T6" fmla="*/ 45 w 90"/>
                  <a:gd name="T7" fmla="*/ 10 h 47"/>
                  <a:gd name="T8" fmla="*/ 10 w 90"/>
                  <a:gd name="T9" fmla="*/ 45 h 47"/>
                  <a:gd name="T10" fmla="*/ 10 w 90"/>
                  <a:gd name="T11" fmla="*/ 47 h 47"/>
                  <a:gd name="T12" fmla="*/ 0 w 90"/>
                  <a:gd name="T13" fmla="*/ 47 h 47"/>
                  <a:gd name="T14" fmla="*/ 0 w 90"/>
                  <a:gd name="T15" fmla="*/ 45 h 47"/>
                  <a:gd name="T16" fmla="*/ 45 w 90"/>
                  <a:gd name="T17" fmla="*/ 0 h 47"/>
                  <a:gd name="T18" fmla="*/ 90 w 90"/>
                  <a:gd name="T19" fmla="*/ 45 h 47"/>
                  <a:gd name="T20" fmla="*/ 90 w 90"/>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47">
                    <a:moveTo>
                      <a:pt x="90" y="47"/>
                    </a:moveTo>
                    <a:cubicBezTo>
                      <a:pt x="79" y="47"/>
                      <a:pt x="79" y="47"/>
                      <a:pt x="79" y="47"/>
                    </a:cubicBezTo>
                    <a:cubicBezTo>
                      <a:pt x="79" y="45"/>
                      <a:pt x="79" y="45"/>
                      <a:pt x="79" y="45"/>
                    </a:cubicBezTo>
                    <a:cubicBezTo>
                      <a:pt x="79" y="26"/>
                      <a:pt x="64" y="10"/>
                      <a:pt x="45" y="10"/>
                    </a:cubicBezTo>
                    <a:cubicBezTo>
                      <a:pt x="25" y="10"/>
                      <a:pt x="10" y="26"/>
                      <a:pt x="10" y="45"/>
                    </a:cubicBezTo>
                    <a:cubicBezTo>
                      <a:pt x="10" y="47"/>
                      <a:pt x="10" y="47"/>
                      <a:pt x="10" y="47"/>
                    </a:cubicBezTo>
                    <a:cubicBezTo>
                      <a:pt x="0" y="47"/>
                      <a:pt x="0" y="47"/>
                      <a:pt x="0" y="47"/>
                    </a:cubicBezTo>
                    <a:cubicBezTo>
                      <a:pt x="0" y="45"/>
                      <a:pt x="0" y="45"/>
                      <a:pt x="0" y="45"/>
                    </a:cubicBezTo>
                    <a:cubicBezTo>
                      <a:pt x="0" y="20"/>
                      <a:pt x="20" y="0"/>
                      <a:pt x="45" y="0"/>
                    </a:cubicBezTo>
                    <a:cubicBezTo>
                      <a:pt x="69" y="0"/>
                      <a:pt x="90" y="20"/>
                      <a:pt x="90" y="45"/>
                    </a:cubicBezTo>
                    <a:lnTo>
                      <a:pt x="90" y="47"/>
                    </a:ln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7" name="Freeform 717">
                <a:extLst>
                  <a:ext uri="{FF2B5EF4-FFF2-40B4-BE49-F238E27FC236}">
                    <a16:creationId xmlns:a16="http://schemas.microsoft.com/office/drawing/2014/main" id="{E07C1AF8-F3AA-4372-9FA5-1AA7A4E21D29}"/>
                  </a:ext>
                </a:extLst>
              </p:cNvPr>
              <p:cNvSpPr>
                <a:spLocks/>
              </p:cNvSpPr>
              <p:nvPr/>
            </p:nvSpPr>
            <p:spPr bwMode="auto">
              <a:xfrm>
                <a:off x="2942" y="2566"/>
                <a:ext cx="257" cy="26"/>
              </a:xfrm>
              <a:custGeom>
                <a:avLst/>
                <a:gdLst>
                  <a:gd name="T0" fmla="*/ 104 w 109"/>
                  <a:gd name="T1" fmla="*/ 11 h 11"/>
                  <a:gd name="T2" fmla="*/ 6 w 109"/>
                  <a:gd name="T3" fmla="*/ 11 h 11"/>
                  <a:gd name="T4" fmla="*/ 0 w 109"/>
                  <a:gd name="T5" fmla="*/ 5 h 11"/>
                  <a:gd name="T6" fmla="*/ 6 w 109"/>
                  <a:gd name="T7" fmla="*/ 0 h 11"/>
                  <a:gd name="T8" fmla="*/ 104 w 109"/>
                  <a:gd name="T9" fmla="*/ 0 h 11"/>
                  <a:gd name="T10" fmla="*/ 109 w 109"/>
                  <a:gd name="T11" fmla="*/ 5 h 11"/>
                  <a:gd name="T12" fmla="*/ 104 w 109"/>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09" h="11">
                    <a:moveTo>
                      <a:pt x="104" y="11"/>
                    </a:moveTo>
                    <a:cubicBezTo>
                      <a:pt x="6" y="11"/>
                      <a:pt x="6" y="11"/>
                      <a:pt x="6" y="11"/>
                    </a:cubicBezTo>
                    <a:cubicBezTo>
                      <a:pt x="3" y="11"/>
                      <a:pt x="0" y="8"/>
                      <a:pt x="0" y="5"/>
                    </a:cubicBezTo>
                    <a:cubicBezTo>
                      <a:pt x="0" y="3"/>
                      <a:pt x="3" y="0"/>
                      <a:pt x="6" y="0"/>
                    </a:cubicBezTo>
                    <a:cubicBezTo>
                      <a:pt x="104" y="0"/>
                      <a:pt x="104" y="0"/>
                      <a:pt x="104" y="0"/>
                    </a:cubicBezTo>
                    <a:cubicBezTo>
                      <a:pt x="107" y="0"/>
                      <a:pt x="109" y="3"/>
                      <a:pt x="109" y="5"/>
                    </a:cubicBezTo>
                    <a:cubicBezTo>
                      <a:pt x="109" y="8"/>
                      <a:pt x="107" y="11"/>
                      <a:pt x="104" y="11"/>
                    </a:cubicBez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8" name="Freeform 718">
                <a:extLst>
                  <a:ext uri="{FF2B5EF4-FFF2-40B4-BE49-F238E27FC236}">
                    <a16:creationId xmlns:a16="http://schemas.microsoft.com/office/drawing/2014/main" id="{106B489E-092C-46A1-B65F-EBD60FF1F277}"/>
                  </a:ext>
                </a:extLst>
              </p:cNvPr>
              <p:cNvSpPr>
                <a:spLocks/>
              </p:cNvSpPr>
              <p:nvPr/>
            </p:nvSpPr>
            <p:spPr bwMode="auto">
              <a:xfrm>
                <a:off x="3980" y="2566"/>
                <a:ext cx="222" cy="26"/>
              </a:xfrm>
              <a:custGeom>
                <a:avLst/>
                <a:gdLst>
                  <a:gd name="T0" fmla="*/ 89 w 94"/>
                  <a:gd name="T1" fmla="*/ 11 h 11"/>
                  <a:gd name="T2" fmla="*/ 5 w 94"/>
                  <a:gd name="T3" fmla="*/ 11 h 11"/>
                  <a:gd name="T4" fmla="*/ 0 w 94"/>
                  <a:gd name="T5" fmla="*/ 5 h 11"/>
                  <a:gd name="T6" fmla="*/ 5 w 94"/>
                  <a:gd name="T7" fmla="*/ 0 h 11"/>
                  <a:gd name="T8" fmla="*/ 89 w 94"/>
                  <a:gd name="T9" fmla="*/ 0 h 11"/>
                  <a:gd name="T10" fmla="*/ 94 w 94"/>
                  <a:gd name="T11" fmla="*/ 5 h 11"/>
                  <a:gd name="T12" fmla="*/ 89 w 94"/>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94" h="11">
                    <a:moveTo>
                      <a:pt x="89" y="11"/>
                    </a:moveTo>
                    <a:cubicBezTo>
                      <a:pt x="5" y="11"/>
                      <a:pt x="5" y="11"/>
                      <a:pt x="5" y="11"/>
                    </a:cubicBezTo>
                    <a:cubicBezTo>
                      <a:pt x="2" y="11"/>
                      <a:pt x="0" y="8"/>
                      <a:pt x="0" y="5"/>
                    </a:cubicBezTo>
                    <a:cubicBezTo>
                      <a:pt x="0" y="3"/>
                      <a:pt x="2" y="0"/>
                      <a:pt x="5" y="0"/>
                    </a:cubicBezTo>
                    <a:cubicBezTo>
                      <a:pt x="89" y="0"/>
                      <a:pt x="89" y="0"/>
                      <a:pt x="89" y="0"/>
                    </a:cubicBezTo>
                    <a:cubicBezTo>
                      <a:pt x="92" y="0"/>
                      <a:pt x="94" y="3"/>
                      <a:pt x="94" y="5"/>
                    </a:cubicBezTo>
                    <a:cubicBezTo>
                      <a:pt x="94" y="8"/>
                      <a:pt x="92" y="11"/>
                      <a:pt x="89" y="11"/>
                    </a:cubicBez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9" name="Rectangle 719">
                <a:extLst>
                  <a:ext uri="{FF2B5EF4-FFF2-40B4-BE49-F238E27FC236}">
                    <a16:creationId xmlns:a16="http://schemas.microsoft.com/office/drawing/2014/main" id="{6ADEDDD7-8789-42F0-BCEB-B74657D7531C}"/>
                  </a:ext>
                </a:extLst>
              </p:cNvPr>
              <p:cNvSpPr>
                <a:spLocks noChangeArrowheads="1"/>
              </p:cNvSpPr>
              <p:nvPr/>
            </p:nvSpPr>
            <p:spPr bwMode="auto">
              <a:xfrm>
                <a:off x="2942" y="2929"/>
                <a:ext cx="33" cy="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0" name="Rectangle 720">
                <a:extLst>
                  <a:ext uri="{FF2B5EF4-FFF2-40B4-BE49-F238E27FC236}">
                    <a16:creationId xmlns:a16="http://schemas.microsoft.com/office/drawing/2014/main" id="{176C04CC-56E5-4248-98FE-1C23C89854E7}"/>
                  </a:ext>
                </a:extLst>
              </p:cNvPr>
              <p:cNvSpPr>
                <a:spLocks noChangeArrowheads="1"/>
              </p:cNvSpPr>
              <p:nvPr/>
            </p:nvSpPr>
            <p:spPr bwMode="auto">
              <a:xfrm>
                <a:off x="4204" y="2929"/>
                <a:ext cx="33" cy="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1" name="Oval 721">
                <a:extLst>
                  <a:ext uri="{FF2B5EF4-FFF2-40B4-BE49-F238E27FC236}">
                    <a16:creationId xmlns:a16="http://schemas.microsoft.com/office/drawing/2014/main" id="{E6D581B0-4184-47E3-A831-033DF0AE63E6}"/>
                  </a:ext>
                </a:extLst>
              </p:cNvPr>
              <p:cNvSpPr>
                <a:spLocks noChangeArrowheads="1"/>
              </p:cNvSpPr>
              <p:nvPr/>
            </p:nvSpPr>
            <p:spPr bwMode="auto">
              <a:xfrm>
                <a:off x="3265" y="2842"/>
                <a:ext cx="45" cy="44"/>
              </a:xfrm>
              <a:prstGeom prst="ellipse">
                <a:avLst/>
              </a:pr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2" name="Oval 722">
                <a:extLst>
                  <a:ext uri="{FF2B5EF4-FFF2-40B4-BE49-F238E27FC236}">
                    <a16:creationId xmlns:a16="http://schemas.microsoft.com/office/drawing/2014/main" id="{60445E6F-98F0-4B54-8837-E2CA8579C979}"/>
                  </a:ext>
                </a:extLst>
              </p:cNvPr>
              <p:cNvSpPr>
                <a:spLocks noChangeArrowheads="1"/>
              </p:cNvSpPr>
              <p:nvPr/>
            </p:nvSpPr>
            <p:spPr bwMode="auto">
              <a:xfrm>
                <a:off x="3175" y="2891"/>
                <a:ext cx="45" cy="45"/>
              </a:xfrm>
              <a:prstGeom prst="ellipse">
                <a:avLst/>
              </a:pr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3" name="Oval 723">
                <a:extLst>
                  <a:ext uri="{FF2B5EF4-FFF2-40B4-BE49-F238E27FC236}">
                    <a16:creationId xmlns:a16="http://schemas.microsoft.com/office/drawing/2014/main" id="{2773B01A-E36A-4FA5-A722-8DE31C91CD54}"/>
                  </a:ext>
                </a:extLst>
              </p:cNvPr>
              <p:cNvSpPr>
                <a:spLocks noChangeArrowheads="1"/>
              </p:cNvSpPr>
              <p:nvPr/>
            </p:nvSpPr>
            <p:spPr bwMode="auto">
              <a:xfrm>
                <a:off x="3364" y="2884"/>
                <a:ext cx="45" cy="45"/>
              </a:xfrm>
              <a:prstGeom prst="ellipse">
                <a:avLst/>
              </a:pr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4" name="Oval 724">
                <a:extLst>
                  <a:ext uri="{FF2B5EF4-FFF2-40B4-BE49-F238E27FC236}">
                    <a16:creationId xmlns:a16="http://schemas.microsoft.com/office/drawing/2014/main" id="{8AEF5438-7242-45DD-83B2-6115F7976CBB}"/>
                  </a:ext>
                </a:extLst>
              </p:cNvPr>
              <p:cNvSpPr>
                <a:spLocks noChangeArrowheads="1"/>
              </p:cNvSpPr>
              <p:nvPr/>
            </p:nvSpPr>
            <p:spPr bwMode="auto">
              <a:xfrm>
                <a:off x="3268" y="2952"/>
                <a:ext cx="44" cy="45"/>
              </a:xfrm>
              <a:prstGeom prst="ellipse">
                <a:avLst/>
              </a:pr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5" name="Oval 725">
                <a:extLst>
                  <a:ext uri="{FF2B5EF4-FFF2-40B4-BE49-F238E27FC236}">
                    <a16:creationId xmlns:a16="http://schemas.microsoft.com/office/drawing/2014/main" id="{47A702A9-D27F-4CA8-A36A-5E3E16D8A79A}"/>
                  </a:ext>
                </a:extLst>
              </p:cNvPr>
              <p:cNvSpPr>
                <a:spLocks noChangeArrowheads="1"/>
              </p:cNvSpPr>
              <p:nvPr/>
            </p:nvSpPr>
            <p:spPr bwMode="auto">
              <a:xfrm>
                <a:off x="3853" y="2842"/>
                <a:ext cx="45" cy="44"/>
              </a:xfrm>
              <a:prstGeom prst="ellipse">
                <a:avLst/>
              </a:pr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6" name="Oval 726">
                <a:extLst>
                  <a:ext uri="{FF2B5EF4-FFF2-40B4-BE49-F238E27FC236}">
                    <a16:creationId xmlns:a16="http://schemas.microsoft.com/office/drawing/2014/main" id="{C6160F41-EA4E-4862-8C4C-E1B8E9AF7D35}"/>
                  </a:ext>
                </a:extLst>
              </p:cNvPr>
              <p:cNvSpPr>
                <a:spLocks noChangeArrowheads="1"/>
              </p:cNvSpPr>
              <p:nvPr/>
            </p:nvSpPr>
            <p:spPr bwMode="auto">
              <a:xfrm>
                <a:off x="3942" y="2891"/>
                <a:ext cx="45" cy="45"/>
              </a:xfrm>
              <a:prstGeom prst="ellipse">
                <a:avLst/>
              </a:pr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7" name="Oval 727">
                <a:extLst>
                  <a:ext uri="{FF2B5EF4-FFF2-40B4-BE49-F238E27FC236}">
                    <a16:creationId xmlns:a16="http://schemas.microsoft.com/office/drawing/2014/main" id="{236E3309-78D8-483D-8B61-13A6AC80A8BC}"/>
                  </a:ext>
                </a:extLst>
              </p:cNvPr>
              <p:cNvSpPr>
                <a:spLocks noChangeArrowheads="1"/>
              </p:cNvSpPr>
              <p:nvPr/>
            </p:nvSpPr>
            <p:spPr bwMode="auto">
              <a:xfrm>
                <a:off x="3754" y="2884"/>
                <a:ext cx="45" cy="45"/>
              </a:xfrm>
              <a:prstGeom prst="ellipse">
                <a:avLst/>
              </a:pr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8" name="Oval 728">
                <a:extLst>
                  <a:ext uri="{FF2B5EF4-FFF2-40B4-BE49-F238E27FC236}">
                    <a16:creationId xmlns:a16="http://schemas.microsoft.com/office/drawing/2014/main" id="{25096E4E-645C-446D-97BD-6E74541DE3C9}"/>
                  </a:ext>
                </a:extLst>
              </p:cNvPr>
              <p:cNvSpPr>
                <a:spLocks noChangeArrowheads="1"/>
              </p:cNvSpPr>
              <p:nvPr/>
            </p:nvSpPr>
            <p:spPr bwMode="auto">
              <a:xfrm>
                <a:off x="3850" y="2952"/>
                <a:ext cx="45" cy="45"/>
              </a:xfrm>
              <a:prstGeom prst="ellipse">
                <a:avLst/>
              </a:pr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83" name="Group 282">
            <a:extLst>
              <a:ext uri="{FF2B5EF4-FFF2-40B4-BE49-F238E27FC236}">
                <a16:creationId xmlns:a16="http://schemas.microsoft.com/office/drawing/2014/main" id="{6C84D978-409D-4D2E-A3A2-6F325B8B675B}"/>
              </a:ext>
            </a:extLst>
          </p:cNvPr>
          <p:cNvGrpSpPr/>
          <p:nvPr/>
        </p:nvGrpSpPr>
        <p:grpSpPr>
          <a:xfrm>
            <a:off x="10052458" y="146014"/>
            <a:ext cx="2033626" cy="1015650"/>
            <a:chOff x="10052458" y="146014"/>
            <a:chExt cx="2033626" cy="1015650"/>
          </a:xfrm>
        </p:grpSpPr>
        <p:pic>
          <p:nvPicPr>
            <p:cNvPr id="284" name="Picture 283">
              <a:extLst>
                <a:ext uri="{FF2B5EF4-FFF2-40B4-BE49-F238E27FC236}">
                  <a16:creationId xmlns:a16="http://schemas.microsoft.com/office/drawing/2014/main" id="{FBF56382-3687-4F70-8F10-851696BE48C5}"/>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285" name="Rectangle 284">
              <a:extLst>
                <a:ext uri="{FF2B5EF4-FFF2-40B4-BE49-F238E27FC236}">
                  <a16:creationId xmlns:a16="http://schemas.microsoft.com/office/drawing/2014/main" id="{94286E79-EC65-49DA-9AC0-BD71462E7104}"/>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130436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 name="Freeform: Shape 249">
            <a:extLst>
              <a:ext uri="{FF2B5EF4-FFF2-40B4-BE49-F238E27FC236}">
                <a16:creationId xmlns:a16="http://schemas.microsoft.com/office/drawing/2014/main" id="{A0747D25-171C-46C0-A8FB-6A0499F0C0E4}"/>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b="1" dirty="0">
                <a:solidFill>
                  <a:schemeClr val="tx2"/>
                </a:solidFill>
                <a:cs typeface="Segoe UI" pitchFamily="34" charset="0"/>
              </a:rPr>
              <a:t>End users get native O365 performance and behavior in both non-persistent and persistent virtual environments</a:t>
            </a:r>
            <a:endParaRPr lang="en-US" spc="-30" dirty="0">
              <a:solidFill>
                <a:schemeClr val="tx1"/>
              </a:solidFill>
              <a:cs typeface="Segoe UI" pitchFamily="34" charset="0"/>
            </a:endParaRPr>
          </a:p>
        </p:txBody>
      </p:sp>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302234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84200" y="2351226"/>
            <a:ext cx="6340383" cy="42172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336" name="TextBox 335">
            <a:extLst>
              <a:ext uri="{FF2B5EF4-FFF2-40B4-BE49-F238E27FC236}">
                <a16:creationId xmlns:a16="http://schemas.microsoft.com/office/drawing/2014/main" id="{41365DCC-F515-4FDB-9DAF-3E1CD38E0879}"/>
              </a:ext>
            </a:extLst>
          </p:cNvPr>
          <p:cNvSpPr txBox="1"/>
          <p:nvPr/>
        </p:nvSpPr>
        <p:spPr>
          <a:xfrm>
            <a:off x="689892" y="2411900"/>
            <a:ext cx="6128158" cy="402553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548640"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09" fontAlgn="auto">
              <a:spcBef>
                <a:spcPts val="1200"/>
              </a:spcBef>
              <a:spcAft>
                <a:spcPts val="0"/>
              </a:spcAft>
              <a:defRPr/>
            </a:pPr>
            <a:r>
              <a:rPr lang="en-US" sz="1600" dirty="0">
                <a:solidFill>
                  <a:schemeClr val="tx1"/>
                </a:solidFill>
                <a:ea typeface="+mn-ea"/>
                <a:cs typeface="+mn-cs"/>
              </a:rPr>
              <a:t>Deploy Cached Exchange Mode in virtual environments</a:t>
            </a:r>
          </a:p>
          <a:p>
            <a:pPr defTabSz="932509" fontAlgn="auto">
              <a:spcBef>
                <a:spcPts val="1200"/>
              </a:spcBef>
              <a:spcAft>
                <a:spcPts val="0"/>
              </a:spcAft>
              <a:defRPr/>
            </a:pPr>
            <a:r>
              <a:rPr lang="en-US" sz="1600" dirty="0">
                <a:solidFill>
                  <a:schemeClr val="tx1"/>
                </a:solidFill>
                <a:ea typeface="+mn-ea"/>
                <a:cs typeface="+mn-cs"/>
              </a:rPr>
              <a:t>Cached Mode improvements</a:t>
            </a:r>
          </a:p>
          <a:p>
            <a:pPr marL="282575" lvl="1" indent="-206375" defTabSz="914192">
              <a:spcBef>
                <a:spcPts val="100"/>
              </a:spcBef>
              <a:spcAft>
                <a:spcPts val="200"/>
              </a:spcAft>
              <a:buFont typeface="Wingdings" panose="05000000000000000000" pitchFamily="2" charset="2"/>
              <a:buChar char="ü"/>
            </a:pPr>
            <a:r>
              <a:rPr lang="en-US" sz="1400" dirty="0">
                <a:solidFill>
                  <a:srgbClr val="282828"/>
                </a:solidFill>
              </a:rPr>
              <a:t>Syncing of Inbox prior to Calendar</a:t>
            </a:r>
            <a:br>
              <a:rPr lang="en-US" sz="1400" dirty="0">
                <a:solidFill>
                  <a:srgbClr val="282828"/>
                </a:solidFill>
              </a:rPr>
            </a:br>
            <a:r>
              <a:rPr lang="en-US" sz="1400" dirty="0">
                <a:solidFill>
                  <a:srgbClr val="282828"/>
                </a:solidFill>
              </a:rPr>
              <a:t>for faster startup experience</a:t>
            </a:r>
            <a:endParaRPr lang="en-US" sz="1400" dirty="0">
              <a:solidFill>
                <a:srgbClr val="FFFFFF"/>
              </a:solidFill>
              <a:cs typeface="Segoe UI"/>
            </a:endParaRPr>
          </a:p>
          <a:p>
            <a:pPr marL="282575" lvl="1" indent="-206375" defTabSz="914192">
              <a:spcBef>
                <a:spcPts val="100"/>
              </a:spcBef>
              <a:spcAft>
                <a:spcPts val="200"/>
              </a:spcAft>
              <a:buFont typeface="Wingdings" panose="05000000000000000000" pitchFamily="2" charset="2"/>
              <a:buChar char="ü"/>
            </a:pPr>
            <a:r>
              <a:rPr lang="en-US" sz="1400" dirty="0">
                <a:solidFill>
                  <a:srgbClr val="282828"/>
                </a:solidFill>
              </a:rPr>
              <a:t>Admin option to reduce calendar sync window</a:t>
            </a:r>
            <a:endParaRPr lang="en-US" sz="1400" dirty="0">
              <a:solidFill>
                <a:srgbClr val="282828"/>
              </a:solidFill>
              <a:cs typeface="Segoe UI"/>
            </a:endParaRPr>
          </a:p>
          <a:p>
            <a:pPr marL="282575" lvl="1" indent="-206375" defTabSz="914192">
              <a:spcBef>
                <a:spcPts val="100"/>
              </a:spcBef>
              <a:buFont typeface="Wingdings" panose="05000000000000000000" pitchFamily="2" charset="2"/>
              <a:buChar char="ü"/>
            </a:pPr>
            <a:r>
              <a:rPr lang="en-US" sz="1400" dirty="0">
                <a:solidFill>
                  <a:srgbClr val="282828"/>
                </a:solidFill>
              </a:rPr>
              <a:t>Reduce the number of folders that are synced by default</a:t>
            </a:r>
            <a:r>
              <a:rPr lang="en-US" sz="1400" dirty="0">
                <a:solidFill>
                  <a:schemeClr val="tx1"/>
                </a:solidFill>
              </a:rPr>
              <a:t>*</a:t>
            </a:r>
            <a:endParaRPr lang="en-US" sz="1400" dirty="0">
              <a:solidFill>
                <a:srgbClr val="282828"/>
              </a:solidFill>
            </a:endParaRPr>
          </a:p>
          <a:p>
            <a:pPr lvl="0" defTabSz="932509" fontAlgn="auto">
              <a:spcBef>
                <a:spcPts val="1200"/>
              </a:spcBef>
              <a:spcAft>
                <a:spcPts val="0"/>
              </a:spcAft>
              <a:defRPr/>
            </a:pPr>
            <a:r>
              <a:rPr lang="en-US" sz="1600" dirty="0">
                <a:solidFill>
                  <a:schemeClr val="tx1"/>
                </a:solidFill>
                <a:ea typeface="+mn-ea"/>
                <a:cs typeface="+mn-cs"/>
              </a:rPr>
              <a:t>Windows Desktop Search index is now per-user and can be persisted with the user profile</a:t>
            </a:r>
          </a:p>
          <a:p>
            <a:pPr lvl="0" defTabSz="932509" fontAlgn="auto">
              <a:spcBef>
                <a:spcPts val="1200"/>
              </a:spcBef>
              <a:spcAft>
                <a:spcPts val="0"/>
              </a:spcAft>
              <a:defRPr/>
            </a:pPr>
            <a:r>
              <a:rPr lang="en-US" sz="1600" dirty="0">
                <a:solidFill>
                  <a:schemeClr val="tx1"/>
                </a:solidFill>
                <a:ea typeface="+mn-ea"/>
                <a:cs typeface="+mn-cs"/>
              </a:rPr>
              <a:t>Reliable OneDrive syncing in non-persistent environments</a:t>
            </a:r>
          </a:p>
          <a:p>
            <a:pPr lvl="0" defTabSz="932509" fontAlgn="auto">
              <a:spcBef>
                <a:spcPts val="1200"/>
              </a:spcBef>
              <a:spcAft>
                <a:spcPts val="0"/>
              </a:spcAft>
              <a:defRPr/>
            </a:pPr>
            <a:r>
              <a:rPr lang="en-US" sz="1600" dirty="0">
                <a:solidFill>
                  <a:schemeClr val="tx1"/>
                </a:solidFill>
                <a:ea typeface="+mn-ea"/>
                <a:cs typeface="+mn-cs"/>
              </a:rPr>
              <a:t>OneDrive Files-on-Demand capabilities</a:t>
            </a:r>
          </a:p>
        </p:txBody>
      </p:sp>
      <p:sp>
        <p:nvSpPr>
          <p:cNvPr id="347" name="TextBox 346">
            <a:extLst>
              <a:ext uri="{FF2B5EF4-FFF2-40B4-BE49-F238E27FC236}">
                <a16:creationId xmlns:a16="http://schemas.microsoft.com/office/drawing/2014/main" id="{7D6736F0-A9CF-4104-9438-89F28399F6A6}"/>
              </a:ext>
            </a:extLst>
          </p:cNvPr>
          <p:cNvSpPr txBox="1"/>
          <p:nvPr/>
        </p:nvSpPr>
        <p:spPr>
          <a:xfrm>
            <a:off x="689892" y="2411902"/>
            <a:ext cx="6128158"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600" b="1" dirty="0">
                <a:solidFill>
                  <a:schemeClr val="bg1"/>
                </a:solidFill>
              </a:rPr>
              <a:t>WVD</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IN" dirty="0"/>
              <a:t>Outlook Enhancements, OneDrive &amp; Desktop Search Improvements</a:t>
            </a:r>
          </a:p>
        </p:txBody>
      </p:sp>
      <p:sp>
        <p:nvSpPr>
          <p:cNvPr id="1030" name="TextBox 1029">
            <a:extLst>
              <a:ext uri="{FF2B5EF4-FFF2-40B4-BE49-F238E27FC236}">
                <a16:creationId xmlns:a16="http://schemas.microsoft.com/office/drawing/2014/main" id="{9237DEB2-CEFD-4C30-9C4E-D801A8C7A052}"/>
              </a:ext>
            </a:extLst>
          </p:cNvPr>
          <p:cNvSpPr txBox="1"/>
          <p:nvPr/>
        </p:nvSpPr>
        <p:spPr>
          <a:xfrm>
            <a:off x="7044213" y="2429311"/>
            <a:ext cx="4565176" cy="40080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45720" numCol="1" spcCol="0" rtlCol="0" fromWordArt="0" anchor="t" anchorCtr="0" forceAA="0" compatLnSpc="1">
            <a:prstTxWarp prst="textNoShape">
              <a:avLst/>
            </a:prstTxWarp>
            <a:noAutofit/>
          </a:bodyPr>
          <a:lstStyle>
            <a:defPPr>
              <a:defRPr lang="en-US"/>
            </a:defPPr>
            <a:lvl1pPr algn="ctr" fontAlgn="auto">
              <a:spcBef>
                <a:spcPts val="1200"/>
              </a:spcBef>
              <a:spcAft>
                <a:spcPts val="0"/>
              </a:spcAft>
              <a:defRPr sz="1600" b="1" i="1">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Bef>
                <a:spcPts val="800"/>
              </a:spcBef>
            </a:pPr>
            <a:r>
              <a:rPr lang="en-US" altLang="zh-CN" dirty="0"/>
              <a:t>Uncompromised O365 email and calendar performance</a:t>
            </a:r>
          </a:p>
          <a:p>
            <a:pPr>
              <a:spcBef>
                <a:spcPts val="800"/>
              </a:spcBef>
            </a:pPr>
            <a:r>
              <a:rPr lang="en-US" altLang="zh-CN" dirty="0"/>
              <a:t>Real-time Outlook search</a:t>
            </a:r>
          </a:p>
          <a:p>
            <a:pPr>
              <a:spcBef>
                <a:spcPts val="800"/>
              </a:spcBef>
            </a:pPr>
            <a:r>
              <a:rPr lang="en-US" altLang="zh-CN" dirty="0"/>
              <a:t>Speedy, persistent, per-user Windows Desktop search</a:t>
            </a:r>
          </a:p>
          <a:p>
            <a:pPr>
              <a:spcBef>
                <a:spcPts val="800"/>
              </a:spcBef>
            </a:pPr>
            <a:r>
              <a:rPr lang="en-US" altLang="zh-CN" dirty="0"/>
              <a:t>Seamless O365 co-authoring and collaboration in non-persistent environments</a:t>
            </a:r>
          </a:p>
          <a:p>
            <a:pPr>
              <a:spcBef>
                <a:spcPts val="800"/>
              </a:spcBef>
            </a:pPr>
            <a:endParaRPr lang="en-US" altLang="zh-CN" dirty="0"/>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777886" y="1372927"/>
            <a:ext cx="806355" cy="914400"/>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332" name="TextBox 331">
            <a:extLst>
              <a:ext uri="{FF2B5EF4-FFF2-40B4-BE49-F238E27FC236}">
                <a16:creationId xmlns:a16="http://schemas.microsoft.com/office/drawing/2014/main" id="{E4561C91-E707-474F-AE82-88F037E5ECCB}"/>
              </a:ext>
            </a:extLst>
          </p:cNvPr>
          <p:cNvSpPr txBox="1"/>
          <p:nvPr/>
        </p:nvSpPr>
        <p:spPr>
          <a:xfrm>
            <a:off x="7044213" y="2411902"/>
            <a:ext cx="4565176"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600" b="1" dirty="0">
                <a:solidFill>
                  <a:schemeClr val="bg1"/>
                </a:solidFill>
              </a:rPr>
              <a:t>User Experience Benefits</a:t>
            </a:r>
          </a:p>
        </p:txBody>
      </p:sp>
      <p:sp>
        <p:nvSpPr>
          <p:cNvPr id="410" name="TextBox 409">
            <a:extLst>
              <a:ext uri="{FF2B5EF4-FFF2-40B4-BE49-F238E27FC236}">
                <a16:creationId xmlns:a16="http://schemas.microsoft.com/office/drawing/2014/main" id="{13E7EBD4-D8AF-754D-83F8-0EAB78429B61}"/>
              </a:ext>
            </a:extLst>
          </p:cNvPr>
          <p:cNvSpPr txBox="1"/>
          <p:nvPr/>
        </p:nvSpPr>
        <p:spPr>
          <a:xfrm>
            <a:off x="722202" y="6207270"/>
            <a:ext cx="6095848" cy="153888"/>
          </a:xfrm>
          <a:prstGeom prst="rect">
            <a:avLst/>
          </a:prstGeom>
          <a:noFill/>
        </p:spPr>
        <p:txBody>
          <a:bodyPr wrap="square" lIns="0" tIns="0" rIns="0" bIns="0" rtlCol="0">
            <a:spAutoFit/>
          </a:bodyPr>
          <a:lstStyle/>
          <a:p>
            <a:pPr algn="l"/>
            <a:r>
              <a:rPr lang="en-US" sz="1000" dirty="0"/>
              <a:t>* Coming soon</a:t>
            </a:r>
          </a:p>
        </p:txBody>
      </p:sp>
      <p:grpSp>
        <p:nvGrpSpPr>
          <p:cNvPr id="9" name="Group 8">
            <a:extLst>
              <a:ext uri="{FF2B5EF4-FFF2-40B4-BE49-F238E27FC236}">
                <a16:creationId xmlns:a16="http://schemas.microsoft.com/office/drawing/2014/main" id="{4C2AC27C-F4DD-40C8-87D9-D38CC57FF4A2}"/>
              </a:ext>
            </a:extLst>
          </p:cNvPr>
          <p:cNvGrpSpPr/>
          <p:nvPr/>
        </p:nvGrpSpPr>
        <p:grpSpPr>
          <a:xfrm>
            <a:off x="722202" y="5688633"/>
            <a:ext cx="332684" cy="332684"/>
            <a:chOff x="722202" y="5172266"/>
            <a:chExt cx="332684" cy="332684"/>
          </a:xfrm>
        </p:grpSpPr>
        <p:sp>
          <p:nvSpPr>
            <p:cNvPr id="477" name="Oval 476">
              <a:extLst>
                <a:ext uri="{FF2B5EF4-FFF2-40B4-BE49-F238E27FC236}">
                  <a16:creationId xmlns:a16="http://schemas.microsoft.com/office/drawing/2014/main" id="{0CC3174A-83E6-4A04-A65A-A026CAC0E7D4}"/>
                </a:ext>
              </a:extLst>
            </p:cNvPr>
            <p:cNvSpPr/>
            <p:nvPr/>
          </p:nvSpPr>
          <p:spPr bwMode="auto">
            <a:xfrm>
              <a:off x="722202" y="5172266"/>
              <a:ext cx="332684" cy="33268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99" name="FolderHorizontal_F12B" title="Icon of a folder">
              <a:extLst>
                <a:ext uri="{FF2B5EF4-FFF2-40B4-BE49-F238E27FC236}">
                  <a16:creationId xmlns:a16="http://schemas.microsoft.com/office/drawing/2014/main" id="{974AA6FF-030A-4E7F-BEAA-B71FCE2AA664}"/>
                </a:ext>
              </a:extLst>
            </p:cNvPr>
            <p:cNvSpPr>
              <a:spLocks noChangeAspect="1" noEditPoints="1"/>
            </p:cNvSpPr>
            <p:nvPr/>
          </p:nvSpPr>
          <p:spPr bwMode="auto">
            <a:xfrm>
              <a:off x="795017" y="5269977"/>
              <a:ext cx="187054" cy="137263"/>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63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 name="Group 5">
            <a:extLst>
              <a:ext uri="{FF2B5EF4-FFF2-40B4-BE49-F238E27FC236}">
                <a16:creationId xmlns:a16="http://schemas.microsoft.com/office/drawing/2014/main" id="{010D03AD-65EA-47FA-B010-74890E36EE78}"/>
              </a:ext>
            </a:extLst>
          </p:cNvPr>
          <p:cNvGrpSpPr/>
          <p:nvPr/>
        </p:nvGrpSpPr>
        <p:grpSpPr>
          <a:xfrm>
            <a:off x="722202" y="3305700"/>
            <a:ext cx="332684" cy="332684"/>
            <a:chOff x="722202" y="3413277"/>
            <a:chExt cx="332684" cy="332684"/>
          </a:xfrm>
        </p:grpSpPr>
        <p:sp>
          <p:nvSpPr>
            <p:cNvPr id="478" name="Oval 477">
              <a:extLst>
                <a:ext uri="{FF2B5EF4-FFF2-40B4-BE49-F238E27FC236}">
                  <a16:creationId xmlns:a16="http://schemas.microsoft.com/office/drawing/2014/main" id="{9C208538-C17D-4D56-8BE4-086D077F9842}"/>
                </a:ext>
              </a:extLst>
            </p:cNvPr>
            <p:cNvSpPr/>
            <p:nvPr/>
          </p:nvSpPr>
          <p:spPr bwMode="auto">
            <a:xfrm>
              <a:off x="722202" y="3413277"/>
              <a:ext cx="332684" cy="33268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00" name="browser_3" title="Icon of a browser window with an arrow pointing from the outside to the center">
              <a:extLst>
                <a:ext uri="{FF2B5EF4-FFF2-40B4-BE49-F238E27FC236}">
                  <a16:creationId xmlns:a16="http://schemas.microsoft.com/office/drawing/2014/main" id="{FAA3275E-A753-46DC-A23A-C4DB858EEBDF}"/>
                </a:ext>
              </a:extLst>
            </p:cNvPr>
            <p:cNvSpPr>
              <a:spLocks noChangeAspect="1" noEditPoints="1"/>
            </p:cNvSpPr>
            <p:nvPr/>
          </p:nvSpPr>
          <p:spPr bwMode="auto">
            <a:xfrm>
              <a:off x="793089" y="3482722"/>
              <a:ext cx="193990" cy="18451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7" name="Group 6">
            <a:extLst>
              <a:ext uri="{FF2B5EF4-FFF2-40B4-BE49-F238E27FC236}">
                <a16:creationId xmlns:a16="http://schemas.microsoft.com/office/drawing/2014/main" id="{D6E707D2-CA61-4BAD-AAF3-A33436C9DBF2}"/>
              </a:ext>
            </a:extLst>
          </p:cNvPr>
          <p:cNvGrpSpPr/>
          <p:nvPr/>
        </p:nvGrpSpPr>
        <p:grpSpPr>
          <a:xfrm>
            <a:off x="722202" y="4693559"/>
            <a:ext cx="332684" cy="332684"/>
            <a:chOff x="722202" y="4284768"/>
            <a:chExt cx="332684" cy="332684"/>
          </a:xfrm>
        </p:grpSpPr>
        <p:sp>
          <p:nvSpPr>
            <p:cNvPr id="475" name="Oval 474">
              <a:extLst>
                <a:ext uri="{FF2B5EF4-FFF2-40B4-BE49-F238E27FC236}">
                  <a16:creationId xmlns:a16="http://schemas.microsoft.com/office/drawing/2014/main" id="{E1DE6E5B-D046-40DD-B7FB-097E31DD1A4E}"/>
                </a:ext>
              </a:extLst>
            </p:cNvPr>
            <p:cNvSpPr/>
            <p:nvPr/>
          </p:nvSpPr>
          <p:spPr bwMode="auto">
            <a:xfrm>
              <a:off x="722202" y="4284768"/>
              <a:ext cx="332684" cy="33268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04" name="monitor" title="Icon of a monitor">
              <a:extLst>
                <a:ext uri="{FF2B5EF4-FFF2-40B4-BE49-F238E27FC236}">
                  <a16:creationId xmlns:a16="http://schemas.microsoft.com/office/drawing/2014/main" id="{29B6EBC5-8C72-489E-BAB4-F9A72F5DA400}"/>
                </a:ext>
              </a:extLst>
            </p:cNvPr>
            <p:cNvSpPr>
              <a:spLocks noChangeAspect="1" noEditPoints="1"/>
            </p:cNvSpPr>
            <p:nvPr/>
          </p:nvSpPr>
          <p:spPr bwMode="auto">
            <a:xfrm>
              <a:off x="785309" y="4378286"/>
              <a:ext cx="166195" cy="12737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63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976" name="Oval 975">
              <a:extLst>
                <a:ext uri="{FF2B5EF4-FFF2-40B4-BE49-F238E27FC236}">
                  <a16:creationId xmlns:a16="http://schemas.microsoft.com/office/drawing/2014/main" id="{AB1AE365-514B-45D0-9A74-0F88CEECB9EA}"/>
                </a:ext>
              </a:extLst>
            </p:cNvPr>
            <p:cNvSpPr/>
            <p:nvPr/>
          </p:nvSpPr>
          <p:spPr bwMode="auto">
            <a:xfrm>
              <a:off x="904938" y="4427275"/>
              <a:ext cx="77038" cy="77038"/>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06" name="magnify" title="Icon of a magnifying glass">
              <a:extLst>
                <a:ext uri="{FF2B5EF4-FFF2-40B4-BE49-F238E27FC236}">
                  <a16:creationId xmlns:a16="http://schemas.microsoft.com/office/drawing/2014/main" id="{629D1F25-12F9-43A5-A3FB-B5438E07E0E8}"/>
                </a:ext>
              </a:extLst>
            </p:cNvPr>
            <p:cNvSpPr>
              <a:spLocks noChangeAspect="1" noEditPoints="1"/>
            </p:cNvSpPr>
            <p:nvPr/>
          </p:nvSpPr>
          <p:spPr bwMode="auto">
            <a:xfrm>
              <a:off x="914620" y="4436258"/>
              <a:ext cx="88996" cy="87295"/>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63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a:extLst>
              <a:ext uri="{FF2B5EF4-FFF2-40B4-BE49-F238E27FC236}">
                <a16:creationId xmlns:a16="http://schemas.microsoft.com/office/drawing/2014/main" id="{51BDE887-D550-44D5-B541-5A1C5C1C4E30}"/>
              </a:ext>
            </a:extLst>
          </p:cNvPr>
          <p:cNvGrpSpPr/>
          <p:nvPr/>
        </p:nvGrpSpPr>
        <p:grpSpPr>
          <a:xfrm>
            <a:off x="722202" y="2927485"/>
            <a:ext cx="332684" cy="332684"/>
            <a:chOff x="722202" y="2970515"/>
            <a:chExt cx="332684" cy="332684"/>
          </a:xfrm>
        </p:grpSpPr>
        <p:sp>
          <p:nvSpPr>
            <p:cNvPr id="473" name="Oval 472">
              <a:extLst>
                <a:ext uri="{FF2B5EF4-FFF2-40B4-BE49-F238E27FC236}">
                  <a16:creationId xmlns:a16="http://schemas.microsoft.com/office/drawing/2014/main" id="{27E67720-B155-4CD4-AFD5-9AE9A7C17295}"/>
                </a:ext>
              </a:extLst>
            </p:cNvPr>
            <p:cNvSpPr/>
            <p:nvPr/>
          </p:nvSpPr>
          <p:spPr bwMode="auto">
            <a:xfrm>
              <a:off x="722202" y="2970515"/>
              <a:ext cx="332684" cy="33268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15" name="Touchscreen" title="Icon of a closed hand with one finger touching a screen">
              <a:extLst>
                <a:ext uri="{FF2B5EF4-FFF2-40B4-BE49-F238E27FC236}">
                  <a16:creationId xmlns:a16="http://schemas.microsoft.com/office/drawing/2014/main" id="{6509587A-9E7B-447F-9F18-76D662FB038D}"/>
                </a:ext>
              </a:extLst>
            </p:cNvPr>
            <p:cNvSpPr>
              <a:spLocks noChangeAspect="1" noEditPoints="1"/>
            </p:cNvSpPr>
            <p:nvPr/>
          </p:nvSpPr>
          <p:spPr bwMode="auto">
            <a:xfrm>
              <a:off x="789494" y="3043988"/>
              <a:ext cx="198100" cy="185738"/>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63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grpSp>
      <p:grpSp>
        <p:nvGrpSpPr>
          <p:cNvPr id="8" name="Group 7">
            <a:extLst>
              <a:ext uri="{FF2B5EF4-FFF2-40B4-BE49-F238E27FC236}">
                <a16:creationId xmlns:a16="http://schemas.microsoft.com/office/drawing/2014/main" id="{1B7AC096-7DD7-4195-8F66-B58C336A828C}"/>
              </a:ext>
            </a:extLst>
          </p:cNvPr>
          <p:cNvGrpSpPr/>
          <p:nvPr/>
        </p:nvGrpSpPr>
        <p:grpSpPr>
          <a:xfrm>
            <a:off x="722202" y="5284568"/>
            <a:ext cx="332684" cy="332684"/>
            <a:chOff x="722202" y="4800474"/>
            <a:chExt cx="332684" cy="332684"/>
          </a:xfrm>
        </p:grpSpPr>
        <p:sp>
          <p:nvSpPr>
            <p:cNvPr id="476" name="Oval 475">
              <a:extLst>
                <a:ext uri="{FF2B5EF4-FFF2-40B4-BE49-F238E27FC236}">
                  <a16:creationId xmlns:a16="http://schemas.microsoft.com/office/drawing/2014/main" id="{A9D5E9BA-3A9F-4CCF-BAB9-C68F3E68F7C4}"/>
                </a:ext>
              </a:extLst>
            </p:cNvPr>
            <p:cNvSpPr/>
            <p:nvPr/>
          </p:nvSpPr>
          <p:spPr bwMode="auto">
            <a:xfrm>
              <a:off x="722202" y="4800474"/>
              <a:ext cx="332684" cy="33268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81" name="Group 980">
              <a:extLst>
                <a:ext uri="{FF2B5EF4-FFF2-40B4-BE49-F238E27FC236}">
                  <a16:creationId xmlns:a16="http://schemas.microsoft.com/office/drawing/2014/main" id="{F23AF27C-7126-474D-BD42-4E45EE27A02D}"/>
                </a:ext>
              </a:extLst>
            </p:cNvPr>
            <p:cNvGrpSpPr/>
            <p:nvPr/>
          </p:nvGrpSpPr>
          <p:grpSpPr>
            <a:xfrm>
              <a:off x="784480" y="4858106"/>
              <a:ext cx="208129" cy="217420"/>
              <a:chOff x="-803160" y="4600575"/>
              <a:chExt cx="551334" cy="575946"/>
            </a:xfrm>
          </p:grpSpPr>
          <p:sp>
            <p:nvSpPr>
              <p:cNvPr id="516" name="check" title="Icon of a checkmark">
                <a:extLst>
                  <a:ext uri="{FF2B5EF4-FFF2-40B4-BE49-F238E27FC236}">
                    <a16:creationId xmlns:a16="http://schemas.microsoft.com/office/drawing/2014/main" id="{F43C0020-2AE4-4277-BFC4-98C1C249CF70}"/>
                  </a:ext>
                </a:extLst>
              </p:cNvPr>
              <p:cNvSpPr>
                <a:spLocks noChangeAspect="1"/>
              </p:cNvSpPr>
              <p:nvPr/>
            </p:nvSpPr>
            <p:spPr bwMode="auto">
              <a:xfrm>
                <a:off x="-622943" y="4829346"/>
                <a:ext cx="194318" cy="137211"/>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63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521" name="arrow_11" title="Icon of a circle made of two curved arrows">
                <a:extLst>
                  <a:ext uri="{FF2B5EF4-FFF2-40B4-BE49-F238E27FC236}">
                    <a16:creationId xmlns:a16="http://schemas.microsoft.com/office/drawing/2014/main" id="{C1608277-D41F-4242-AE23-769E3377CD28}"/>
                  </a:ext>
                </a:extLst>
              </p:cNvPr>
              <p:cNvSpPr>
                <a:spLocks noChangeAspect="1" noEditPoints="1"/>
              </p:cNvSpPr>
              <p:nvPr/>
            </p:nvSpPr>
            <p:spPr bwMode="auto">
              <a:xfrm>
                <a:off x="-803160" y="4600575"/>
                <a:ext cx="551334" cy="575946"/>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sp>
        <p:nvSpPr>
          <p:cNvPr id="197" name="Rectangle 196">
            <a:extLst>
              <a:ext uri="{FF2B5EF4-FFF2-40B4-BE49-F238E27FC236}">
                <a16:creationId xmlns:a16="http://schemas.microsoft.com/office/drawing/2014/main" id="{84EFECB0-3B23-4128-AEA4-DD97FED6AD54}"/>
              </a:ext>
            </a:extLst>
          </p:cNvPr>
          <p:cNvSpPr/>
          <p:nvPr/>
        </p:nvSpPr>
        <p:spPr>
          <a:xfrm>
            <a:off x="533943" y="114846"/>
            <a:ext cx="4133119" cy="369332"/>
          </a:xfrm>
          <a:prstGeom prst="rect">
            <a:avLst/>
          </a:prstGeom>
        </p:spPr>
        <p:txBody>
          <a:bodyPr wrap="none">
            <a:spAutoFit/>
          </a:bodyPr>
          <a:lstStyle/>
          <a:p>
            <a:r>
              <a:rPr lang="en-US" b="1" i="1" dirty="0"/>
              <a:t>Best Virtualized End-user Experience</a:t>
            </a:r>
          </a:p>
        </p:txBody>
      </p:sp>
      <p:grpSp>
        <p:nvGrpSpPr>
          <p:cNvPr id="208" name="Group 207">
            <a:extLst>
              <a:ext uri="{FF2B5EF4-FFF2-40B4-BE49-F238E27FC236}">
                <a16:creationId xmlns:a16="http://schemas.microsoft.com/office/drawing/2014/main" id="{7885A0F1-FB68-4B89-8972-9A798E40D38C}"/>
              </a:ext>
            </a:extLst>
          </p:cNvPr>
          <p:cNvGrpSpPr/>
          <p:nvPr/>
        </p:nvGrpSpPr>
        <p:grpSpPr>
          <a:xfrm>
            <a:off x="10052458" y="146014"/>
            <a:ext cx="2033626" cy="1015650"/>
            <a:chOff x="10052458" y="146014"/>
            <a:chExt cx="2033626" cy="1015650"/>
          </a:xfrm>
        </p:grpSpPr>
        <p:pic>
          <p:nvPicPr>
            <p:cNvPr id="209" name="Picture 208">
              <a:extLst>
                <a:ext uri="{FF2B5EF4-FFF2-40B4-BE49-F238E27FC236}">
                  <a16:creationId xmlns:a16="http://schemas.microsoft.com/office/drawing/2014/main" id="{D0E95AEF-D969-47AF-A206-C2BC1C96E327}"/>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210" name="Rectangle 209">
              <a:extLst>
                <a:ext uri="{FF2B5EF4-FFF2-40B4-BE49-F238E27FC236}">
                  <a16:creationId xmlns:a16="http://schemas.microsoft.com/office/drawing/2014/main" id="{BC8A4502-9AFF-40C8-82D8-8F3A735AFEFB}"/>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4174901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2151319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67" name="Freeform: Shape 466">
            <a:extLst>
              <a:ext uri="{FF2B5EF4-FFF2-40B4-BE49-F238E27FC236}">
                <a16:creationId xmlns:a16="http://schemas.microsoft.com/office/drawing/2014/main" id="{41958309-51C5-4E41-B184-CC2A46394D8D}"/>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b="1" spc="-30" dirty="0">
                <a:solidFill>
                  <a:schemeClr val="tx2"/>
                </a:solidFill>
                <a:cs typeface="Segoe UI" pitchFamily="34" charset="0"/>
              </a:rPr>
              <a:t>Teams provides end users with better conferencing and media experience</a:t>
            </a:r>
            <a:endParaRPr lang="en-US" spc="-30" dirty="0">
              <a:solidFill>
                <a:schemeClr val="tx1"/>
              </a:solidFill>
              <a:cs typeface="Segoe UI"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Teams Enhancements (</a:t>
            </a:r>
            <a:r>
              <a:rPr lang="en-US"/>
              <a:t>Coming soon)</a:t>
            </a:r>
            <a:endParaRPr lang="en-US" dirty="0"/>
          </a:p>
        </p:txBody>
      </p:sp>
      <p:grpSp>
        <p:nvGrpSpPr>
          <p:cNvPr id="248" name="Group 247">
            <a:extLst>
              <a:ext uri="{FF2B5EF4-FFF2-40B4-BE49-F238E27FC236}">
                <a16:creationId xmlns:a16="http://schemas.microsoft.com/office/drawing/2014/main" id="{5D36947D-1A9E-4CBC-9F58-07694FE8672B}"/>
              </a:ext>
            </a:extLst>
          </p:cNvPr>
          <p:cNvGrpSpPr>
            <a:grpSpLocks noChangeAspect="1"/>
          </p:cNvGrpSpPr>
          <p:nvPr/>
        </p:nvGrpSpPr>
        <p:grpSpPr>
          <a:xfrm>
            <a:off x="10777886" y="1372927"/>
            <a:ext cx="806355" cy="914400"/>
            <a:chOff x="797126" y="3893732"/>
            <a:chExt cx="1125722" cy="1276864"/>
          </a:xfrm>
        </p:grpSpPr>
        <p:sp>
          <p:nvSpPr>
            <p:cNvPr id="249" name="Freeform 403">
              <a:extLst>
                <a:ext uri="{FF2B5EF4-FFF2-40B4-BE49-F238E27FC236}">
                  <a16:creationId xmlns:a16="http://schemas.microsoft.com/office/drawing/2014/main" id="{93715FDD-1EED-4F6A-BC9B-F946D4AB223D}"/>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250" name="Freeform: Shape 249">
              <a:extLst>
                <a:ext uri="{FF2B5EF4-FFF2-40B4-BE49-F238E27FC236}">
                  <a16:creationId xmlns:a16="http://schemas.microsoft.com/office/drawing/2014/main" id="{0F1715C5-9AB6-403D-9B80-F7FFEA1FDAA2}"/>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251" name="Group 250">
              <a:extLst>
                <a:ext uri="{FF2B5EF4-FFF2-40B4-BE49-F238E27FC236}">
                  <a16:creationId xmlns:a16="http://schemas.microsoft.com/office/drawing/2014/main" id="{5CB463BF-F0EC-470B-973F-3249BE705183}"/>
                </a:ext>
              </a:extLst>
            </p:cNvPr>
            <p:cNvGrpSpPr/>
            <p:nvPr/>
          </p:nvGrpSpPr>
          <p:grpSpPr>
            <a:xfrm>
              <a:off x="971699" y="4043345"/>
              <a:ext cx="773592" cy="920012"/>
              <a:chOff x="993458" y="3447450"/>
              <a:chExt cx="682781" cy="812014"/>
            </a:xfrm>
          </p:grpSpPr>
          <p:grpSp>
            <p:nvGrpSpPr>
              <p:cNvPr id="252" name="Group 251">
                <a:extLst>
                  <a:ext uri="{FF2B5EF4-FFF2-40B4-BE49-F238E27FC236}">
                    <a16:creationId xmlns:a16="http://schemas.microsoft.com/office/drawing/2014/main" id="{01061A00-3555-4575-A9E1-1E3C494ACFA9}"/>
                  </a:ext>
                </a:extLst>
              </p:cNvPr>
              <p:cNvGrpSpPr/>
              <p:nvPr/>
            </p:nvGrpSpPr>
            <p:grpSpPr>
              <a:xfrm>
                <a:off x="993458" y="3447450"/>
                <a:ext cx="576652" cy="812014"/>
                <a:chOff x="499414" y="1517311"/>
                <a:chExt cx="3686809" cy="5340604"/>
              </a:xfrm>
            </p:grpSpPr>
            <p:sp>
              <p:nvSpPr>
                <p:cNvPr id="360" name="Rectangle 359">
                  <a:extLst>
                    <a:ext uri="{FF2B5EF4-FFF2-40B4-BE49-F238E27FC236}">
                      <a16:creationId xmlns:a16="http://schemas.microsoft.com/office/drawing/2014/main" id="{3FDD0808-F70F-401F-B0AE-B1F91EB2EBB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361" name="Group 360">
                  <a:extLst>
                    <a:ext uri="{FF2B5EF4-FFF2-40B4-BE49-F238E27FC236}">
                      <a16:creationId xmlns:a16="http://schemas.microsoft.com/office/drawing/2014/main" id="{770EC971-E917-49A8-B524-319B6DA99DF0}"/>
                    </a:ext>
                  </a:extLst>
                </p:cNvPr>
                <p:cNvGrpSpPr/>
                <p:nvPr/>
              </p:nvGrpSpPr>
              <p:grpSpPr>
                <a:xfrm rot="20371446">
                  <a:off x="2524661" y="2299216"/>
                  <a:ext cx="859576" cy="554927"/>
                  <a:chOff x="4775201" y="792163"/>
                  <a:chExt cx="2024063" cy="1306513"/>
                </a:xfrm>
              </p:grpSpPr>
              <p:sp>
                <p:nvSpPr>
                  <p:cNvPr id="455" name="Freeform 354">
                    <a:extLst>
                      <a:ext uri="{FF2B5EF4-FFF2-40B4-BE49-F238E27FC236}">
                        <a16:creationId xmlns:a16="http://schemas.microsoft.com/office/drawing/2014/main" id="{C333865D-1D92-4049-8DC6-2C8B2D35F543}"/>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6" name="Rectangle 455">
                    <a:extLst>
                      <a:ext uri="{FF2B5EF4-FFF2-40B4-BE49-F238E27FC236}">
                        <a16:creationId xmlns:a16="http://schemas.microsoft.com/office/drawing/2014/main" id="{B5E0DBF6-44EC-4A66-A72E-61DFB7F9C4B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7" name="Freeform 356">
                    <a:extLst>
                      <a:ext uri="{FF2B5EF4-FFF2-40B4-BE49-F238E27FC236}">
                        <a16:creationId xmlns:a16="http://schemas.microsoft.com/office/drawing/2014/main" id="{2BC5BD4B-A809-4C56-BAD3-5CF953DA7BD3}"/>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8" name="Freeform 357">
                    <a:extLst>
                      <a:ext uri="{FF2B5EF4-FFF2-40B4-BE49-F238E27FC236}">
                        <a16:creationId xmlns:a16="http://schemas.microsoft.com/office/drawing/2014/main" id="{30AB537B-2B84-4792-9A34-27C12C3DC55F}"/>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9" name="Freeform 358">
                    <a:extLst>
                      <a:ext uri="{FF2B5EF4-FFF2-40B4-BE49-F238E27FC236}">
                        <a16:creationId xmlns:a16="http://schemas.microsoft.com/office/drawing/2014/main" id="{62083777-6681-4C0B-B16B-90DFE2273ED7}"/>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0" name="Rectangle 459">
                    <a:extLst>
                      <a:ext uri="{FF2B5EF4-FFF2-40B4-BE49-F238E27FC236}">
                        <a16:creationId xmlns:a16="http://schemas.microsoft.com/office/drawing/2014/main" id="{85B5F34C-0C6A-45C3-9672-1BFDDB640A69}"/>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1" name="Freeform 360">
                    <a:extLst>
                      <a:ext uri="{FF2B5EF4-FFF2-40B4-BE49-F238E27FC236}">
                        <a16:creationId xmlns:a16="http://schemas.microsoft.com/office/drawing/2014/main" id="{387E5986-E75F-41DA-B21C-A9C09104617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2" name="Rectangle 461">
                    <a:extLst>
                      <a:ext uri="{FF2B5EF4-FFF2-40B4-BE49-F238E27FC236}">
                        <a16:creationId xmlns:a16="http://schemas.microsoft.com/office/drawing/2014/main" id="{85B8E395-E403-46F7-AC6A-8F315297820F}"/>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3" name="Rectangle 462">
                    <a:extLst>
                      <a:ext uri="{FF2B5EF4-FFF2-40B4-BE49-F238E27FC236}">
                        <a16:creationId xmlns:a16="http://schemas.microsoft.com/office/drawing/2014/main" id="{27546CDB-0760-4FF2-960A-CCEA56B93C26}"/>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4" name="Rectangle 463">
                    <a:extLst>
                      <a:ext uri="{FF2B5EF4-FFF2-40B4-BE49-F238E27FC236}">
                        <a16:creationId xmlns:a16="http://schemas.microsoft.com/office/drawing/2014/main" id="{25E1DFF5-EA41-4795-94BF-6FA93674D09F}"/>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5" name="Rectangle 464">
                    <a:extLst>
                      <a:ext uri="{FF2B5EF4-FFF2-40B4-BE49-F238E27FC236}">
                        <a16:creationId xmlns:a16="http://schemas.microsoft.com/office/drawing/2014/main" id="{F56BF763-FB66-4CC4-9557-8CE8F3E3DD9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6" name="Rectangle 465">
                    <a:extLst>
                      <a:ext uri="{FF2B5EF4-FFF2-40B4-BE49-F238E27FC236}">
                        <a16:creationId xmlns:a16="http://schemas.microsoft.com/office/drawing/2014/main" id="{7FECAFEC-BE84-4984-B8FD-0D6F2BB52768}"/>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362" name="Group 361">
                  <a:extLst>
                    <a:ext uri="{FF2B5EF4-FFF2-40B4-BE49-F238E27FC236}">
                      <a16:creationId xmlns:a16="http://schemas.microsoft.com/office/drawing/2014/main" id="{6C623F03-3F03-444A-97D6-398CE0AC3DEE}"/>
                    </a:ext>
                  </a:extLst>
                </p:cNvPr>
                <p:cNvGrpSpPr/>
                <p:nvPr/>
              </p:nvGrpSpPr>
              <p:grpSpPr>
                <a:xfrm>
                  <a:off x="1190120" y="2235988"/>
                  <a:ext cx="983059" cy="983198"/>
                  <a:chOff x="5413781" y="5749281"/>
                  <a:chExt cx="652036" cy="652036"/>
                </a:xfrm>
              </p:grpSpPr>
              <p:sp>
                <p:nvSpPr>
                  <p:cNvPr id="453" name="Oval 452">
                    <a:extLst>
                      <a:ext uri="{FF2B5EF4-FFF2-40B4-BE49-F238E27FC236}">
                        <a16:creationId xmlns:a16="http://schemas.microsoft.com/office/drawing/2014/main" id="{16D7C7C3-7D77-4F3B-B6D5-355E6FA79154}"/>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454" name="Freeform 353">
                    <a:extLst>
                      <a:ext uri="{FF2B5EF4-FFF2-40B4-BE49-F238E27FC236}">
                        <a16:creationId xmlns:a16="http://schemas.microsoft.com/office/drawing/2014/main" id="{972EADB4-F29A-499B-AB53-416715B6DEB2}"/>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63" name="Group 362">
                  <a:extLst>
                    <a:ext uri="{FF2B5EF4-FFF2-40B4-BE49-F238E27FC236}">
                      <a16:creationId xmlns:a16="http://schemas.microsoft.com/office/drawing/2014/main" id="{8447F914-E6D7-476A-9DBF-5CBFDEAD5770}"/>
                    </a:ext>
                  </a:extLst>
                </p:cNvPr>
                <p:cNvGrpSpPr>
                  <a:grpSpLocks noChangeAspect="1"/>
                </p:cNvGrpSpPr>
                <p:nvPr/>
              </p:nvGrpSpPr>
              <p:grpSpPr bwMode="auto">
                <a:xfrm rot="1800000">
                  <a:off x="3563928" y="2295726"/>
                  <a:ext cx="622295" cy="847393"/>
                  <a:chOff x="6652" y="1661"/>
                  <a:chExt cx="260" cy="354"/>
                </a:xfrm>
              </p:grpSpPr>
              <p:sp>
                <p:nvSpPr>
                  <p:cNvPr id="449" name="AutoShape 138">
                    <a:extLst>
                      <a:ext uri="{FF2B5EF4-FFF2-40B4-BE49-F238E27FC236}">
                        <a16:creationId xmlns:a16="http://schemas.microsoft.com/office/drawing/2014/main" id="{2B20D5DB-E073-41E3-B623-F2183BE7083E}"/>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450" name="Freeform 349">
                    <a:extLst>
                      <a:ext uri="{FF2B5EF4-FFF2-40B4-BE49-F238E27FC236}">
                        <a16:creationId xmlns:a16="http://schemas.microsoft.com/office/drawing/2014/main" id="{2AE950FC-A0D1-46FA-A50E-17AD9F89B4C8}"/>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451" name="Rectangle 450">
                    <a:extLst>
                      <a:ext uri="{FF2B5EF4-FFF2-40B4-BE49-F238E27FC236}">
                        <a16:creationId xmlns:a16="http://schemas.microsoft.com/office/drawing/2014/main" id="{8AC50F59-C527-45B4-ABB3-A682276CE557}"/>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452" name="Freeform 351">
                    <a:extLst>
                      <a:ext uri="{FF2B5EF4-FFF2-40B4-BE49-F238E27FC236}">
                        <a16:creationId xmlns:a16="http://schemas.microsoft.com/office/drawing/2014/main" id="{7F1730C7-8AE8-4492-A31D-3DEB32C74181}"/>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364" name="Group 363">
                  <a:extLst>
                    <a:ext uri="{FF2B5EF4-FFF2-40B4-BE49-F238E27FC236}">
                      <a16:creationId xmlns:a16="http://schemas.microsoft.com/office/drawing/2014/main" id="{C8200A40-BC1C-4C90-95E2-3E85760A09A5}"/>
                    </a:ext>
                  </a:extLst>
                </p:cNvPr>
                <p:cNvGrpSpPr/>
                <p:nvPr/>
              </p:nvGrpSpPr>
              <p:grpSpPr>
                <a:xfrm flipH="1">
                  <a:off x="499414" y="3565526"/>
                  <a:ext cx="1323206" cy="3292389"/>
                  <a:chOff x="8371759" y="2973033"/>
                  <a:chExt cx="1482609" cy="3688507"/>
                </a:xfrm>
              </p:grpSpPr>
              <p:sp>
                <p:nvSpPr>
                  <p:cNvPr id="375" name="Freeform 314">
                    <a:extLst>
                      <a:ext uri="{FF2B5EF4-FFF2-40B4-BE49-F238E27FC236}">
                        <a16:creationId xmlns:a16="http://schemas.microsoft.com/office/drawing/2014/main" id="{AEC9D6AC-D687-443C-9D6B-A7343343B7D0}"/>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76" name="Freeform 315">
                    <a:extLst>
                      <a:ext uri="{FF2B5EF4-FFF2-40B4-BE49-F238E27FC236}">
                        <a16:creationId xmlns:a16="http://schemas.microsoft.com/office/drawing/2014/main" id="{DCF88E10-F331-4CAF-9C3B-D64E15CDD54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77" name="Freeform 316">
                    <a:extLst>
                      <a:ext uri="{FF2B5EF4-FFF2-40B4-BE49-F238E27FC236}">
                        <a16:creationId xmlns:a16="http://schemas.microsoft.com/office/drawing/2014/main" id="{BBE694D5-175C-4795-AA84-723BDE7C99A5}"/>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78" name="Rectangle 377">
                    <a:extLst>
                      <a:ext uri="{FF2B5EF4-FFF2-40B4-BE49-F238E27FC236}">
                        <a16:creationId xmlns:a16="http://schemas.microsoft.com/office/drawing/2014/main" id="{ABD26DF0-DFF2-479B-948A-986FDEC13D3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79" name="Rectangle 378">
                    <a:extLst>
                      <a:ext uri="{FF2B5EF4-FFF2-40B4-BE49-F238E27FC236}">
                        <a16:creationId xmlns:a16="http://schemas.microsoft.com/office/drawing/2014/main" id="{76E25D63-B090-4BE0-93EE-CD647F72752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0" name="Rectangle 379">
                    <a:extLst>
                      <a:ext uri="{FF2B5EF4-FFF2-40B4-BE49-F238E27FC236}">
                        <a16:creationId xmlns:a16="http://schemas.microsoft.com/office/drawing/2014/main" id="{A34978AB-4682-4FEA-B56D-60BEFEDF13F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1" name="Rectangle 380">
                    <a:extLst>
                      <a:ext uri="{FF2B5EF4-FFF2-40B4-BE49-F238E27FC236}">
                        <a16:creationId xmlns:a16="http://schemas.microsoft.com/office/drawing/2014/main" id="{CA11AEC1-ABD5-48D4-875D-78A2F7E1F31E}"/>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2" name="Freeform 321">
                    <a:extLst>
                      <a:ext uri="{FF2B5EF4-FFF2-40B4-BE49-F238E27FC236}">
                        <a16:creationId xmlns:a16="http://schemas.microsoft.com/office/drawing/2014/main" id="{9BADB1CE-7798-4CA7-8FF1-928C2FBBE48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3" name="Rectangle 382">
                    <a:extLst>
                      <a:ext uri="{FF2B5EF4-FFF2-40B4-BE49-F238E27FC236}">
                        <a16:creationId xmlns:a16="http://schemas.microsoft.com/office/drawing/2014/main" id="{E6C81656-F75E-40E8-8DAB-E813800AA7BA}"/>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4" name="Rectangle 383">
                    <a:extLst>
                      <a:ext uri="{FF2B5EF4-FFF2-40B4-BE49-F238E27FC236}">
                        <a16:creationId xmlns:a16="http://schemas.microsoft.com/office/drawing/2014/main" id="{48A9F5C4-0127-44C9-8B9C-7D1B5DA53503}"/>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5" name="Freeform 324">
                    <a:extLst>
                      <a:ext uri="{FF2B5EF4-FFF2-40B4-BE49-F238E27FC236}">
                        <a16:creationId xmlns:a16="http://schemas.microsoft.com/office/drawing/2014/main" id="{2AE8ACD3-801A-4651-A245-EE06792734E0}"/>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6" name="Freeform 325">
                    <a:extLst>
                      <a:ext uri="{FF2B5EF4-FFF2-40B4-BE49-F238E27FC236}">
                        <a16:creationId xmlns:a16="http://schemas.microsoft.com/office/drawing/2014/main" id="{85B4D663-7AAD-4DBE-B175-9BDE6CC28785}"/>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87" name="Freeform 326">
                    <a:extLst>
                      <a:ext uri="{FF2B5EF4-FFF2-40B4-BE49-F238E27FC236}">
                        <a16:creationId xmlns:a16="http://schemas.microsoft.com/office/drawing/2014/main" id="{073E0E92-7AAB-4448-99B4-394E43FA0FED}"/>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28" name="Freeform 327">
                    <a:extLst>
                      <a:ext uri="{FF2B5EF4-FFF2-40B4-BE49-F238E27FC236}">
                        <a16:creationId xmlns:a16="http://schemas.microsoft.com/office/drawing/2014/main" id="{0AF16DDB-4C30-4E5A-8CC7-9B4F729DFC6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29" name="Freeform 328">
                    <a:extLst>
                      <a:ext uri="{FF2B5EF4-FFF2-40B4-BE49-F238E27FC236}">
                        <a16:creationId xmlns:a16="http://schemas.microsoft.com/office/drawing/2014/main" id="{D2382219-1035-48CC-9D31-0598350BF48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0" name="Freeform 329">
                    <a:extLst>
                      <a:ext uri="{FF2B5EF4-FFF2-40B4-BE49-F238E27FC236}">
                        <a16:creationId xmlns:a16="http://schemas.microsoft.com/office/drawing/2014/main" id="{70685AFF-A19E-4830-9700-5793C808A38C}"/>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1" name="Freeform 330">
                    <a:extLst>
                      <a:ext uri="{FF2B5EF4-FFF2-40B4-BE49-F238E27FC236}">
                        <a16:creationId xmlns:a16="http://schemas.microsoft.com/office/drawing/2014/main" id="{98393626-EEE1-4334-BEB5-0A066152B5B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2" name="Freeform 331">
                    <a:extLst>
                      <a:ext uri="{FF2B5EF4-FFF2-40B4-BE49-F238E27FC236}">
                        <a16:creationId xmlns:a16="http://schemas.microsoft.com/office/drawing/2014/main" id="{FBD1DBF0-EF29-49D2-80C5-280C85C43C0D}"/>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3" name="Freeform 332">
                    <a:extLst>
                      <a:ext uri="{FF2B5EF4-FFF2-40B4-BE49-F238E27FC236}">
                        <a16:creationId xmlns:a16="http://schemas.microsoft.com/office/drawing/2014/main" id="{9660C4AB-2269-4173-B8DE-65086632D4D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4" name="Freeform 333">
                    <a:extLst>
                      <a:ext uri="{FF2B5EF4-FFF2-40B4-BE49-F238E27FC236}">
                        <a16:creationId xmlns:a16="http://schemas.microsoft.com/office/drawing/2014/main" id="{3ECC6A3F-A743-42FF-8600-1634B569CD5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5" name="Freeform 334">
                    <a:extLst>
                      <a:ext uri="{FF2B5EF4-FFF2-40B4-BE49-F238E27FC236}">
                        <a16:creationId xmlns:a16="http://schemas.microsoft.com/office/drawing/2014/main" id="{D0C6ACD4-EE23-4E00-8B3A-4DFC449770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6" name="Freeform 335">
                    <a:extLst>
                      <a:ext uri="{FF2B5EF4-FFF2-40B4-BE49-F238E27FC236}">
                        <a16:creationId xmlns:a16="http://schemas.microsoft.com/office/drawing/2014/main" id="{722162AE-7106-49E4-878B-BA44E2F3C5B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7" name="Freeform 336">
                    <a:extLst>
                      <a:ext uri="{FF2B5EF4-FFF2-40B4-BE49-F238E27FC236}">
                        <a16:creationId xmlns:a16="http://schemas.microsoft.com/office/drawing/2014/main" id="{5DFA80BF-4A2E-4ED0-A6B3-5986F8577423}"/>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8" name="Freeform 337">
                    <a:extLst>
                      <a:ext uri="{FF2B5EF4-FFF2-40B4-BE49-F238E27FC236}">
                        <a16:creationId xmlns:a16="http://schemas.microsoft.com/office/drawing/2014/main" id="{BD8237F5-E74C-435E-962E-C22514DEBE4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39" name="Freeform 338">
                    <a:extLst>
                      <a:ext uri="{FF2B5EF4-FFF2-40B4-BE49-F238E27FC236}">
                        <a16:creationId xmlns:a16="http://schemas.microsoft.com/office/drawing/2014/main" id="{3E2012DD-ECD4-4513-A784-A37D2011539F}"/>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0" name="Freeform 339">
                    <a:extLst>
                      <a:ext uri="{FF2B5EF4-FFF2-40B4-BE49-F238E27FC236}">
                        <a16:creationId xmlns:a16="http://schemas.microsoft.com/office/drawing/2014/main" id="{73ACD26F-F148-4EAF-87DD-83E8C0CCC1C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1" name="Freeform 340">
                    <a:extLst>
                      <a:ext uri="{FF2B5EF4-FFF2-40B4-BE49-F238E27FC236}">
                        <a16:creationId xmlns:a16="http://schemas.microsoft.com/office/drawing/2014/main" id="{7405B830-9CF1-4738-A07D-F69D49BE244B}"/>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2" name="Freeform 341">
                    <a:extLst>
                      <a:ext uri="{FF2B5EF4-FFF2-40B4-BE49-F238E27FC236}">
                        <a16:creationId xmlns:a16="http://schemas.microsoft.com/office/drawing/2014/main" id="{B37EFB4D-928E-4405-A36B-5E133105223C}"/>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3" name="Freeform 342">
                    <a:extLst>
                      <a:ext uri="{FF2B5EF4-FFF2-40B4-BE49-F238E27FC236}">
                        <a16:creationId xmlns:a16="http://schemas.microsoft.com/office/drawing/2014/main" id="{0C46F03A-463C-4713-ABDC-FBC981D97A2A}"/>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4" name="Freeform 343">
                    <a:extLst>
                      <a:ext uri="{FF2B5EF4-FFF2-40B4-BE49-F238E27FC236}">
                        <a16:creationId xmlns:a16="http://schemas.microsoft.com/office/drawing/2014/main" id="{32876294-7ADE-4343-8BEE-30B22015130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5" name="Freeform 344">
                    <a:extLst>
                      <a:ext uri="{FF2B5EF4-FFF2-40B4-BE49-F238E27FC236}">
                        <a16:creationId xmlns:a16="http://schemas.microsoft.com/office/drawing/2014/main" id="{5BB22532-7EBA-408B-AB3F-C8F9E233ECCA}"/>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6" name="Freeform 345">
                    <a:extLst>
                      <a:ext uri="{FF2B5EF4-FFF2-40B4-BE49-F238E27FC236}">
                        <a16:creationId xmlns:a16="http://schemas.microsoft.com/office/drawing/2014/main" id="{7ED6C94A-4B14-43CF-9F40-1CB27DC54808}"/>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7" name="Freeform 346">
                    <a:extLst>
                      <a:ext uri="{FF2B5EF4-FFF2-40B4-BE49-F238E27FC236}">
                        <a16:creationId xmlns:a16="http://schemas.microsoft.com/office/drawing/2014/main" id="{D8FFBCC6-BE4C-4AC8-8ED2-C70DAAFE6EA3}"/>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48" name="Freeform 347">
                    <a:extLst>
                      <a:ext uri="{FF2B5EF4-FFF2-40B4-BE49-F238E27FC236}">
                        <a16:creationId xmlns:a16="http://schemas.microsoft.com/office/drawing/2014/main" id="{1A00B8AB-0628-499F-B889-2DC28864AD48}"/>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365" name="Straight Connector 364">
                  <a:extLst>
                    <a:ext uri="{FF2B5EF4-FFF2-40B4-BE49-F238E27FC236}">
                      <a16:creationId xmlns:a16="http://schemas.microsoft.com/office/drawing/2014/main" id="{9E34F7AE-F874-4E68-B065-2DF886F1AE9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366" name="Straight Connector 365">
                  <a:extLst>
                    <a:ext uri="{FF2B5EF4-FFF2-40B4-BE49-F238E27FC236}">
                      <a16:creationId xmlns:a16="http://schemas.microsoft.com/office/drawing/2014/main" id="{018648D2-109B-4876-8729-00A69111ED3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367" name="Straight Connector 366">
                  <a:extLst>
                    <a:ext uri="{FF2B5EF4-FFF2-40B4-BE49-F238E27FC236}">
                      <a16:creationId xmlns:a16="http://schemas.microsoft.com/office/drawing/2014/main" id="{F396AE80-67FA-4AA3-B961-E6C4F0ADF5B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368" name="Straight Connector 367">
                  <a:extLst>
                    <a:ext uri="{FF2B5EF4-FFF2-40B4-BE49-F238E27FC236}">
                      <a16:creationId xmlns:a16="http://schemas.microsoft.com/office/drawing/2014/main" id="{7ECC4822-7644-46AB-95B8-1B2840610E9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369" name="Group 368">
                  <a:extLst>
                    <a:ext uri="{FF2B5EF4-FFF2-40B4-BE49-F238E27FC236}">
                      <a16:creationId xmlns:a16="http://schemas.microsoft.com/office/drawing/2014/main" id="{B35BE6F1-7E6E-491C-8871-46ED25777E51}"/>
                    </a:ext>
                  </a:extLst>
                </p:cNvPr>
                <p:cNvGrpSpPr/>
                <p:nvPr/>
              </p:nvGrpSpPr>
              <p:grpSpPr>
                <a:xfrm>
                  <a:off x="2022695" y="1566515"/>
                  <a:ext cx="766903" cy="767014"/>
                  <a:chOff x="9123445" y="2463609"/>
                  <a:chExt cx="652033" cy="652035"/>
                </a:xfrm>
              </p:grpSpPr>
              <p:sp>
                <p:nvSpPr>
                  <p:cNvPr id="373" name="Oval 372">
                    <a:extLst>
                      <a:ext uri="{FF2B5EF4-FFF2-40B4-BE49-F238E27FC236}">
                        <a16:creationId xmlns:a16="http://schemas.microsoft.com/office/drawing/2014/main" id="{4D41579C-52B6-465D-BC68-FBF1F085B15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74" name="Freeform 313">
                    <a:extLst>
                      <a:ext uri="{FF2B5EF4-FFF2-40B4-BE49-F238E27FC236}">
                        <a16:creationId xmlns:a16="http://schemas.microsoft.com/office/drawing/2014/main" id="{E5EC868E-ABEE-4B97-B9A3-3BC26201A22F}"/>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370" name="Group 369">
                  <a:extLst>
                    <a:ext uri="{FF2B5EF4-FFF2-40B4-BE49-F238E27FC236}">
                      <a16:creationId xmlns:a16="http://schemas.microsoft.com/office/drawing/2014/main" id="{CE724CF0-1614-4F3C-981C-6B532BCB193E}"/>
                    </a:ext>
                  </a:extLst>
                </p:cNvPr>
                <p:cNvGrpSpPr/>
                <p:nvPr/>
              </p:nvGrpSpPr>
              <p:grpSpPr>
                <a:xfrm>
                  <a:off x="1973388" y="1517311"/>
                  <a:ext cx="853073" cy="853194"/>
                  <a:chOff x="9123452" y="2463609"/>
                  <a:chExt cx="652035" cy="652035"/>
                </a:xfrm>
              </p:grpSpPr>
              <p:sp>
                <p:nvSpPr>
                  <p:cNvPr id="371" name="Oval 370">
                    <a:extLst>
                      <a:ext uri="{FF2B5EF4-FFF2-40B4-BE49-F238E27FC236}">
                        <a16:creationId xmlns:a16="http://schemas.microsoft.com/office/drawing/2014/main" id="{58C407B6-03B3-4F80-AEDC-0FD960FA3986}"/>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72" name="Freeform 311">
                    <a:extLst>
                      <a:ext uri="{FF2B5EF4-FFF2-40B4-BE49-F238E27FC236}">
                        <a16:creationId xmlns:a16="http://schemas.microsoft.com/office/drawing/2014/main" id="{728BD067-514C-40B6-8BDC-C89C11ABB12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253" name="Group 252">
                <a:extLst>
                  <a:ext uri="{FF2B5EF4-FFF2-40B4-BE49-F238E27FC236}">
                    <a16:creationId xmlns:a16="http://schemas.microsoft.com/office/drawing/2014/main" id="{3C6E3F85-62CF-4494-A8B5-DF9E292035E4}"/>
                  </a:ext>
                </a:extLst>
              </p:cNvPr>
              <p:cNvGrpSpPr/>
              <p:nvPr/>
            </p:nvGrpSpPr>
            <p:grpSpPr>
              <a:xfrm>
                <a:off x="1226671" y="3909844"/>
                <a:ext cx="304563" cy="307388"/>
                <a:chOff x="4471988" y="3821062"/>
                <a:chExt cx="2035176" cy="2113013"/>
              </a:xfrm>
            </p:grpSpPr>
            <p:sp>
              <p:nvSpPr>
                <p:cNvPr id="297" name="Rectangle 6">
                  <a:extLst>
                    <a:ext uri="{FF2B5EF4-FFF2-40B4-BE49-F238E27FC236}">
                      <a16:creationId xmlns:a16="http://schemas.microsoft.com/office/drawing/2014/main" id="{69FD16A2-762E-450B-8209-8A1A9E5B5CAF}"/>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8" name="Freeform 7">
                  <a:extLst>
                    <a:ext uri="{FF2B5EF4-FFF2-40B4-BE49-F238E27FC236}">
                      <a16:creationId xmlns:a16="http://schemas.microsoft.com/office/drawing/2014/main" id="{01690F96-EDAA-464E-935A-34A7C0E33C0D}"/>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9" name="Freeform 10">
                  <a:extLst>
                    <a:ext uri="{FF2B5EF4-FFF2-40B4-BE49-F238E27FC236}">
                      <a16:creationId xmlns:a16="http://schemas.microsoft.com/office/drawing/2014/main" id="{1558E4FE-E89D-434A-91CA-06F40C9F602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0" name="Freeform 11">
                  <a:extLst>
                    <a:ext uri="{FF2B5EF4-FFF2-40B4-BE49-F238E27FC236}">
                      <a16:creationId xmlns:a16="http://schemas.microsoft.com/office/drawing/2014/main" id="{9F6AA46A-CE86-46B2-AB4A-F95A7741DBBB}"/>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1" name="Oval 12">
                  <a:extLst>
                    <a:ext uri="{FF2B5EF4-FFF2-40B4-BE49-F238E27FC236}">
                      <a16:creationId xmlns:a16="http://schemas.microsoft.com/office/drawing/2014/main" id="{6A284F17-9FA6-4277-A4DE-811A5E1C247F}"/>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2" name="Oval 13">
                  <a:extLst>
                    <a:ext uri="{FF2B5EF4-FFF2-40B4-BE49-F238E27FC236}">
                      <a16:creationId xmlns:a16="http://schemas.microsoft.com/office/drawing/2014/main" id="{6C3634A5-B96B-41A8-9963-338B8EA7D610}"/>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3" name="Freeform 14">
                  <a:extLst>
                    <a:ext uri="{FF2B5EF4-FFF2-40B4-BE49-F238E27FC236}">
                      <a16:creationId xmlns:a16="http://schemas.microsoft.com/office/drawing/2014/main" id="{4524B4BA-27B1-4318-8023-22361798913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4" name="Rectangle 15">
                  <a:extLst>
                    <a:ext uri="{FF2B5EF4-FFF2-40B4-BE49-F238E27FC236}">
                      <a16:creationId xmlns:a16="http://schemas.microsoft.com/office/drawing/2014/main" id="{8638293D-33AA-44ED-87C6-5E14E3A2D146}"/>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5" name="Rectangle 16">
                  <a:extLst>
                    <a:ext uri="{FF2B5EF4-FFF2-40B4-BE49-F238E27FC236}">
                      <a16:creationId xmlns:a16="http://schemas.microsoft.com/office/drawing/2014/main" id="{8B8C31D0-AB07-4557-B78E-AEA965ECCA94}"/>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6" name="Freeform 17">
                  <a:extLst>
                    <a:ext uri="{FF2B5EF4-FFF2-40B4-BE49-F238E27FC236}">
                      <a16:creationId xmlns:a16="http://schemas.microsoft.com/office/drawing/2014/main" id="{B2FF59F6-112B-4C65-AE60-10184CE5D28A}"/>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7" name="Freeform 18">
                  <a:extLst>
                    <a:ext uri="{FF2B5EF4-FFF2-40B4-BE49-F238E27FC236}">
                      <a16:creationId xmlns:a16="http://schemas.microsoft.com/office/drawing/2014/main" id="{B8786315-DEA5-4FB5-BDDB-C4B54A2CB83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8" name="Rectangle 19">
                  <a:extLst>
                    <a:ext uri="{FF2B5EF4-FFF2-40B4-BE49-F238E27FC236}">
                      <a16:creationId xmlns:a16="http://schemas.microsoft.com/office/drawing/2014/main" id="{C1FE717D-027E-4CAE-81FD-6717D4B00A3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9" name="Freeform 20">
                  <a:extLst>
                    <a:ext uri="{FF2B5EF4-FFF2-40B4-BE49-F238E27FC236}">
                      <a16:creationId xmlns:a16="http://schemas.microsoft.com/office/drawing/2014/main" id="{664FDB90-2DE1-407A-94F1-12DE0DEE569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0" name="Freeform 21">
                  <a:extLst>
                    <a:ext uri="{FF2B5EF4-FFF2-40B4-BE49-F238E27FC236}">
                      <a16:creationId xmlns:a16="http://schemas.microsoft.com/office/drawing/2014/main" id="{A7EFF13A-7B63-4EB7-8E68-5BD009C20250}"/>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1" name="Freeform 22">
                  <a:extLst>
                    <a:ext uri="{FF2B5EF4-FFF2-40B4-BE49-F238E27FC236}">
                      <a16:creationId xmlns:a16="http://schemas.microsoft.com/office/drawing/2014/main" id="{F29F6A25-7240-4E60-9230-97439CE2D8B8}"/>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2" name="Freeform 23">
                  <a:extLst>
                    <a:ext uri="{FF2B5EF4-FFF2-40B4-BE49-F238E27FC236}">
                      <a16:creationId xmlns:a16="http://schemas.microsoft.com/office/drawing/2014/main" id="{58F3C249-515B-4833-B132-04B54CC3165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3" name="Freeform 24">
                  <a:extLst>
                    <a:ext uri="{FF2B5EF4-FFF2-40B4-BE49-F238E27FC236}">
                      <a16:creationId xmlns:a16="http://schemas.microsoft.com/office/drawing/2014/main" id="{76200606-9182-4B01-A270-F6DFA493D0BB}"/>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4" name="Rectangle 25">
                  <a:extLst>
                    <a:ext uri="{FF2B5EF4-FFF2-40B4-BE49-F238E27FC236}">
                      <a16:creationId xmlns:a16="http://schemas.microsoft.com/office/drawing/2014/main" id="{1958F8B3-B78E-4E1F-BF12-FE7A7B6BEC0A}"/>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5" name="Freeform 26">
                  <a:extLst>
                    <a:ext uri="{FF2B5EF4-FFF2-40B4-BE49-F238E27FC236}">
                      <a16:creationId xmlns:a16="http://schemas.microsoft.com/office/drawing/2014/main" id="{F75B683C-5CB8-40F5-8B75-0C404D180925}"/>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6" name="Freeform 27">
                  <a:extLst>
                    <a:ext uri="{FF2B5EF4-FFF2-40B4-BE49-F238E27FC236}">
                      <a16:creationId xmlns:a16="http://schemas.microsoft.com/office/drawing/2014/main" id="{198CF702-51CC-4B6F-BF96-D1DB811450BA}"/>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7" name="Freeform 28">
                  <a:extLst>
                    <a:ext uri="{FF2B5EF4-FFF2-40B4-BE49-F238E27FC236}">
                      <a16:creationId xmlns:a16="http://schemas.microsoft.com/office/drawing/2014/main" id="{30AB7774-34C3-4D12-B0A0-F8EA1BFDA15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8" name="Freeform 29">
                  <a:extLst>
                    <a:ext uri="{FF2B5EF4-FFF2-40B4-BE49-F238E27FC236}">
                      <a16:creationId xmlns:a16="http://schemas.microsoft.com/office/drawing/2014/main" id="{AA16E4D1-E426-4112-ADDD-E90416349E3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9" name="Freeform 30">
                  <a:extLst>
                    <a:ext uri="{FF2B5EF4-FFF2-40B4-BE49-F238E27FC236}">
                      <a16:creationId xmlns:a16="http://schemas.microsoft.com/office/drawing/2014/main" id="{71997603-AB43-4E09-B5D0-D4E00590D2B0}"/>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0" name="Freeform 31">
                  <a:extLst>
                    <a:ext uri="{FF2B5EF4-FFF2-40B4-BE49-F238E27FC236}">
                      <a16:creationId xmlns:a16="http://schemas.microsoft.com/office/drawing/2014/main" id="{C2B3725C-26DF-4095-86F0-9A6DA0D1B804}"/>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1" name="Freeform 32">
                  <a:extLst>
                    <a:ext uri="{FF2B5EF4-FFF2-40B4-BE49-F238E27FC236}">
                      <a16:creationId xmlns:a16="http://schemas.microsoft.com/office/drawing/2014/main" id="{11A5CB8E-DD74-4652-B0B5-1C5CB417221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2" name="Freeform 102">
                  <a:extLst>
                    <a:ext uri="{FF2B5EF4-FFF2-40B4-BE49-F238E27FC236}">
                      <a16:creationId xmlns:a16="http://schemas.microsoft.com/office/drawing/2014/main" id="{8FC742CB-A059-4770-9688-1576723DAB21}"/>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3" name="Freeform 103">
                  <a:extLst>
                    <a:ext uri="{FF2B5EF4-FFF2-40B4-BE49-F238E27FC236}">
                      <a16:creationId xmlns:a16="http://schemas.microsoft.com/office/drawing/2014/main" id="{8DBC6D6B-D353-4110-B913-0D215793F314}"/>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4" name="Freeform 104">
                  <a:extLst>
                    <a:ext uri="{FF2B5EF4-FFF2-40B4-BE49-F238E27FC236}">
                      <a16:creationId xmlns:a16="http://schemas.microsoft.com/office/drawing/2014/main" id="{844EC1B3-099C-4BE2-A444-1DC92CC0AEDF}"/>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5" name="Freeform 105">
                  <a:extLst>
                    <a:ext uri="{FF2B5EF4-FFF2-40B4-BE49-F238E27FC236}">
                      <a16:creationId xmlns:a16="http://schemas.microsoft.com/office/drawing/2014/main" id="{EEA4EC27-7052-4756-B9FF-CEA82CF2727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6" name="Freeform 106">
                  <a:extLst>
                    <a:ext uri="{FF2B5EF4-FFF2-40B4-BE49-F238E27FC236}">
                      <a16:creationId xmlns:a16="http://schemas.microsoft.com/office/drawing/2014/main" id="{02FDC6C5-C022-4368-8C19-337A889A5D5F}"/>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7" name="Freeform 107">
                  <a:extLst>
                    <a:ext uri="{FF2B5EF4-FFF2-40B4-BE49-F238E27FC236}">
                      <a16:creationId xmlns:a16="http://schemas.microsoft.com/office/drawing/2014/main" id="{47C60BE2-5C2C-4844-B6BA-E727B973A7B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8" name="Freeform 108">
                  <a:extLst>
                    <a:ext uri="{FF2B5EF4-FFF2-40B4-BE49-F238E27FC236}">
                      <a16:creationId xmlns:a16="http://schemas.microsoft.com/office/drawing/2014/main" id="{E86B7110-AFEE-458B-8930-7F33944915B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29" name="Rectangle 328">
                  <a:extLst>
                    <a:ext uri="{FF2B5EF4-FFF2-40B4-BE49-F238E27FC236}">
                      <a16:creationId xmlns:a16="http://schemas.microsoft.com/office/drawing/2014/main" id="{32CAC4C5-E8CE-43AA-8632-D8937737F36F}"/>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0" name="Freeform 110">
                  <a:extLst>
                    <a:ext uri="{FF2B5EF4-FFF2-40B4-BE49-F238E27FC236}">
                      <a16:creationId xmlns:a16="http://schemas.microsoft.com/office/drawing/2014/main" id="{1C8913C5-45F7-42CA-A2B1-70C3D9C3D25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1" name="Freeform 111">
                  <a:extLst>
                    <a:ext uri="{FF2B5EF4-FFF2-40B4-BE49-F238E27FC236}">
                      <a16:creationId xmlns:a16="http://schemas.microsoft.com/office/drawing/2014/main" id="{8CFFC1C8-0CFC-4B73-A3E4-5078F1CA105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5" name="Freeform 112">
                  <a:extLst>
                    <a:ext uri="{FF2B5EF4-FFF2-40B4-BE49-F238E27FC236}">
                      <a16:creationId xmlns:a16="http://schemas.microsoft.com/office/drawing/2014/main" id="{FF74597F-D8ED-44CE-981D-B1D639C414A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6" name="Freeform 113">
                  <a:extLst>
                    <a:ext uri="{FF2B5EF4-FFF2-40B4-BE49-F238E27FC236}">
                      <a16:creationId xmlns:a16="http://schemas.microsoft.com/office/drawing/2014/main" id="{B61FE460-C731-4861-A770-2B3502A98EC3}"/>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7" name="Rectangle 336">
                  <a:extLst>
                    <a:ext uri="{FF2B5EF4-FFF2-40B4-BE49-F238E27FC236}">
                      <a16:creationId xmlns:a16="http://schemas.microsoft.com/office/drawing/2014/main" id="{7FA3646B-196B-49D1-B600-EF22D8A571C3}"/>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39" name="Freeform 115">
                  <a:extLst>
                    <a:ext uri="{FF2B5EF4-FFF2-40B4-BE49-F238E27FC236}">
                      <a16:creationId xmlns:a16="http://schemas.microsoft.com/office/drawing/2014/main" id="{DA1C1976-5809-4DEE-8570-855CD239C11D}"/>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5" name="Freeform 116">
                  <a:extLst>
                    <a:ext uri="{FF2B5EF4-FFF2-40B4-BE49-F238E27FC236}">
                      <a16:creationId xmlns:a16="http://schemas.microsoft.com/office/drawing/2014/main" id="{35B79164-A4A8-4461-8292-D843BB1E7F06}"/>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6" name="Freeform 117">
                  <a:extLst>
                    <a:ext uri="{FF2B5EF4-FFF2-40B4-BE49-F238E27FC236}">
                      <a16:creationId xmlns:a16="http://schemas.microsoft.com/office/drawing/2014/main" id="{CF1A1170-F480-4128-B2A5-0DE52B75E1C7}"/>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7" name="Freeform 118">
                  <a:extLst>
                    <a:ext uri="{FF2B5EF4-FFF2-40B4-BE49-F238E27FC236}">
                      <a16:creationId xmlns:a16="http://schemas.microsoft.com/office/drawing/2014/main" id="{4BCD88C8-4727-4E30-AC85-637034B7A05D}"/>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8" name="Oval 347">
                  <a:extLst>
                    <a:ext uri="{FF2B5EF4-FFF2-40B4-BE49-F238E27FC236}">
                      <a16:creationId xmlns:a16="http://schemas.microsoft.com/office/drawing/2014/main" id="{817AF9B5-D106-441C-AB74-C5FF1BDF2258}"/>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49" name="Freeform 120">
                  <a:extLst>
                    <a:ext uri="{FF2B5EF4-FFF2-40B4-BE49-F238E27FC236}">
                      <a16:creationId xmlns:a16="http://schemas.microsoft.com/office/drawing/2014/main" id="{57F0731D-68C7-440D-A9C7-44376EF5060D}"/>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0" name="Freeform 121">
                  <a:extLst>
                    <a:ext uri="{FF2B5EF4-FFF2-40B4-BE49-F238E27FC236}">
                      <a16:creationId xmlns:a16="http://schemas.microsoft.com/office/drawing/2014/main" id="{5516B0C4-A7D5-4582-8FCA-FAE2A3A6498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1" name="Freeform 122">
                  <a:extLst>
                    <a:ext uri="{FF2B5EF4-FFF2-40B4-BE49-F238E27FC236}">
                      <a16:creationId xmlns:a16="http://schemas.microsoft.com/office/drawing/2014/main" id="{AAB6B710-A2B5-4B9C-A18B-4B2401944AB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2" name="Freeform 123">
                  <a:extLst>
                    <a:ext uri="{FF2B5EF4-FFF2-40B4-BE49-F238E27FC236}">
                      <a16:creationId xmlns:a16="http://schemas.microsoft.com/office/drawing/2014/main" id="{6D676AB2-E141-46EF-8F93-F68BB2FFFE6E}"/>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3" name="Freeform 124">
                  <a:extLst>
                    <a:ext uri="{FF2B5EF4-FFF2-40B4-BE49-F238E27FC236}">
                      <a16:creationId xmlns:a16="http://schemas.microsoft.com/office/drawing/2014/main" id="{DADC9226-1E15-44CE-9A91-4023178FFDFE}"/>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4" name="Freeform 63">
                  <a:extLst>
                    <a:ext uri="{FF2B5EF4-FFF2-40B4-BE49-F238E27FC236}">
                      <a16:creationId xmlns:a16="http://schemas.microsoft.com/office/drawing/2014/main" id="{62D00E13-10CF-40F3-9150-68CD3AAD60C5}"/>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5" name="Freeform 65">
                  <a:extLst>
                    <a:ext uri="{FF2B5EF4-FFF2-40B4-BE49-F238E27FC236}">
                      <a16:creationId xmlns:a16="http://schemas.microsoft.com/office/drawing/2014/main" id="{363CC235-EE80-4C01-8038-C633882CECAC}"/>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6" name="Freeform 66">
                  <a:extLst>
                    <a:ext uri="{FF2B5EF4-FFF2-40B4-BE49-F238E27FC236}">
                      <a16:creationId xmlns:a16="http://schemas.microsoft.com/office/drawing/2014/main" id="{37E90DDE-DC58-4DAD-9149-8E38462FA7A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7" name="Freeform 67">
                  <a:extLst>
                    <a:ext uri="{FF2B5EF4-FFF2-40B4-BE49-F238E27FC236}">
                      <a16:creationId xmlns:a16="http://schemas.microsoft.com/office/drawing/2014/main" id="{D8A76092-A926-47D8-86EA-97730779B927}"/>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8" name="Oval 68">
                  <a:extLst>
                    <a:ext uri="{FF2B5EF4-FFF2-40B4-BE49-F238E27FC236}">
                      <a16:creationId xmlns:a16="http://schemas.microsoft.com/office/drawing/2014/main" id="{B051EAF7-274B-4F06-874B-B9D6ED760A74}"/>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59" name="Oval 69">
                  <a:extLst>
                    <a:ext uri="{FF2B5EF4-FFF2-40B4-BE49-F238E27FC236}">
                      <a16:creationId xmlns:a16="http://schemas.microsoft.com/office/drawing/2014/main" id="{07F289A5-6463-4395-B65D-02EC2BAB652B}"/>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254" name="Group 253">
                <a:extLst>
                  <a:ext uri="{FF2B5EF4-FFF2-40B4-BE49-F238E27FC236}">
                    <a16:creationId xmlns:a16="http://schemas.microsoft.com/office/drawing/2014/main" id="{FB94A58C-6C56-4648-B01C-40E635F415F4}"/>
                  </a:ext>
                </a:extLst>
              </p:cNvPr>
              <p:cNvGrpSpPr/>
              <p:nvPr/>
            </p:nvGrpSpPr>
            <p:grpSpPr>
              <a:xfrm>
                <a:off x="1206839" y="3914891"/>
                <a:ext cx="469400" cy="342521"/>
                <a:chOff x="1557350" y="4606481"/>
                <a:chExt cx="3001095" cy="2252753"/>
              </a:xfrm>
            </p:grpSpPr>
            <p:sp>
              <p:nvSpPr>
                <p:cNvPr id="256" name="Rectangle 255">
                  <a:extLst>
                    <a:ext uri="{FF2B5EF4-FFF2-40B4-BE49-F238E27FC236}">
                      <a16:creationId xmlns:a16="http://schemas.microsoft.com/office/drawing/2014/main" id="{64AA85AD-0DA7-4D9A-B754-AFFA3378637E}"/>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7" name="Rectangle 256">
                  <a:extLst>
                    <a:ext uri="{FF2B5EF4-FFF2-40B4-BE49-F238E27FC236}">
                      <a16:creationId xmlns:a16="http://schemas.microsoft.com/office/drawing/2014/main" id="{29A7EEE1-E12C-4363-A86E-1989F70F8B58}"/>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8" name="Rectangle 257">
                  <a:extLst>
                    <a:ext uri="{FF2B5EF4-FFF2-40B4-BE49-F238E27FC236}">
                      <a16:creationId xmlns:a16="http://schemas.microsoft.com/office/drawing/2014/main" id="{D77F03DA-A841-4D43-B7B1-7C0696A7680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9" name="Rectangle 258">
                  <a:extLst>
                    <a:ext uri="{FF2B5EF4-FFF2-40B4-BE49-F238E27FC236}">
                      <a16:creationId xmlns:a16="http://schemas.microsoft.com/office/drawing/2014/main" id="{7EEEA124-402A-4BE5-875C-FA8812BDA654}"/>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0" name="Freeform 12">
                  <a:extLst>
                    <a:ext uri="{FF2B5EF4-FFF2-40B4-BE49-F238E27FC236}">
                      <a16:creationId xmlns:a16="http://schemas.microsoft.com/office/drawing/2014/main" id="{26FD4FC4-2ECC-4717-AA1C-9E9146D254DB}"/>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1" name="Rectangle 260">
                  <a:extLst>
                    <a:ext uri="{FF2B5EF4-FFF2-40B4-BE49-F238E27FC236}">
                      <a16:creationId xmlns:a16="http://schemas.microsoft.com/office/drawing/2014/main" id="{976D73CA-7BBB-418C-AE54-3B915E23F4C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2" name="Freeform 14">
                  <a:extLst>
                    <a:ext uri="{FF2B5EF4-FFF2-40B4-BE49-F238E27FC236}">
                      <a16:creationId xmlns:a16="http://schemas.microsoft.com/office/drawing/2014/main" id="{E2367B0E-789F-41A7-886E-A39B03DD98C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3" name="Rectangle 262">
                  <a:extLst>
                    <a:ext uri="{FF2B5EF4-FFF2-40B4-BE49-F238E27FC236}">
                      <a16:creationId xmlns:a16="http://schemas.microsoft.com/office/drawing/2014/main" id="{81412476-B5AE-4626-9E46-2D57A8946510}"/>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4" name="Freeform 16">
                  <a:extLst>
                    <a:ext uri="{FF2B5EF4-FFF2-40B4-BE49-F238E27FC236}">
                      <a16:creationId xmlns:a16="http://schemas.microsoft.com/office/drawing/2014/main" id="{BD544194-D4D8-4236-A84B-23A69554DBE7}"/>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5" name="Freeform 17">
                  <a:extLst>
                    <a:ext uri="{FF2B5EF4-FFF2-40B4-BE49-F238E27FC236}">
                      <a16:creationId xmlns:a16="http://schemas.microsoft.com/office/drawing/2014/main" id="{2967923B-C03C-47C0-8401-2D180AADBF1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6" name="Oval 265">
                  <a:extLst>
                    <a:ext uri="{FF2B5EF4-FFF2-40B4-BE49-F238E27FC236}">
                      <a16:creationId xmlns:a16="http://schemas.microsoft.com/office/drawing/2014/main" id="{00DD9556-5842-4D77-9653-D024F33E9716}"/>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7" name="Rectangle 266">
                  <a:extLst>
                    <a:ext uri="{FF2B5EF4-FFF2-40B4-BE49-F238E27FC236}">
                      <a16:creationId xmlns:a16="http://schemas.microsoft.com/office/drawing/2014/main" id="{8AA39DB1-FFF7-4E84-B115-4FD324B41279}"/>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8" name="Freeform 20">
                  <a:extLst>
                    <a:ext uri="{FF2B5EF4-FFF2-40B4-BE49-F238E27FC236}">
                      <a16:creationId xmlns:a16="http://schemas.microsoft.com/office/drawing/2014/main" id="{3635E48D-5E5A-4AEE-B300-9149FB26DE5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69" name="Freeform 21">
                  <a:extLst>
                    <a:ext uri="{FF2B5EF4-FFF2-40B4-BE49-F238E27FC236}">
                      <a16:creationId xmlns:a16="http://schemas.microsoft.com/office/drawing/2014/main" id="{4AEFC042-7E5F-4A9D-81CB-38F2D73D8293}"/>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270" name="Group 269">
                  <a:extLst>
                    <a:ext uri="{FF2B5EF4-FFF2-40B4-BE49-F238E27FC236}">
                      <a16:creationId xmlns:a16="http://schemas.microsoft.com/office/drawing/2014/main" id="{D9E38562-7FBF-4EA7-BE53-FEAA0292D479}"/>
                    </a:ext>
                  </a:extLst>
                </p:cNvPr>
                <p:cNvGrpSpPr/>
                <p:nvPr/>
              </p:nvGrpSpPr>
              <p:grpSpPr>
                <a:xfrm>
                  <a:off x="3298176" y="4606481"/>
                  <a:ext cx="1260269" cy="2252753"/>
                  <a:chOff x="10352191" y="4087395"/>
                  <a:chExt cx="1336826" cy="2389605"/>
                </a:xfrm>
              </p:grpSpPr>
              <p:sp>
                <p:nvSpPr>
                  <p:cNvPr id="271" name="Rectangle 270">
                    <a:extLst>
                      <a:ext uri="{FF2B5EF4-FFF2-40B4-BE49-F238E27FC236}">
                        <a16:creationId xmlns:a16="http://schemas.microsoft.com/office/drawing/2014/main" id="{2F501968-C384-4DFF-9D75-C5E21A05DC2A}"/>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2" name="Round Same Side Corner Rectangle 52">
                    <a:extLst>
                      <a:ext uri="{FF2B5EF4-FFF2-40B4-BE49-F238E27FC236}">
                        <a16:creationId xmlns:a16="http://schemas.microsoft.com/office/drawing/2014/main" id="{7FE12884-840D-4C55-B7C5-EC3C44AD5C83}"/>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273" name="Rectangle 272">
                    <a:extLst>
                      <a:ext uri="{FF2B5EF4-FFF2-40B4-BE49-F238E27FC236}">
                        <a16:creationId xmlns:a16="http://schemas.microsoft.com/office/drawing/2014/main" id="{CD15CCC4-85BC-4104-AB5C-F5171DB3F59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4" name="Freeform 54">
                    <a:extLst>
                      <a:ext uri="{FF2B5EF4-FFF2-40B4-BE49-F238E27FC236}">
                        <a16:creationId xmlns:a16="http://schemas.microsoft.com/office/drawing/2014/main" id="{CCE8B56D-D011-48B1-8F4D-42BE983E4062}"/>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5" name="Freeform 55">
                    <a:extLst>
                      <a:ext uri="{FF2B5EF4-FFF2-40B4-BE49-F238E27FC236}">
                        <a16:creationId xmlns:a16="http://schemas.microsoft.com/office/drawing/2014/main" id="{5CA0DCF6-49E0-4437-AB9C-92E7752BF43D}"/>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6" name="Freeform 56">
                    <a:extLst>
                      <a:ext uri="{FF2B5EF4-FFF2-40B4-BE49-F238E27FC236}">
                        <a16:creationId xmlns:a16="http://schemas.microsoft.com/office/drawing/2014/main" id="{CAFD3558-D0B3-4A81-B6F4-F495C9B71BC2}"/>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7" name="Freeform 57">
                    <a:extLst>
                      <a:ext uri="{FF2B5EF4-FFF2-40B4-BE49-F238E27FC236}">
                        <a16:creationId xmlns:a16="http://schemas.microsoft.com/office/drawing/2014/main" id="{CB29B28F-CA15-4C9D-9F3D-A2EE0B83332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8" name="Freeform 58">
                    <a:extLst>
                      <a:ext uri="{FF2B5EF4-FFF2-40B4-BE49-F238E27FC236}">
                        <a16:creationId xmlns:a16="http://schemas.microsoft.com/office/drawing/2014/main" id="{ED26110A-5729-4FA8-8233-052EAC1BF3E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79" name="Freeform 59">
                    <a:extLst>
                      <a:ext uri="{FF2B5EF4-FFF2-40B4-BE49-F238E27FC236}">
                        <a16:creationId xmlns:a16="http://schemas.microsoft.com/office/drawing/2014/main" id="{AE296E62-FB72-4765-8BAB-3A9EC16FFA48}"/>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0" name="Freeform 60">
                    <a:extLst>
                      <a:ext uri="{FF2B5EF4-FFF2-40B4-BE49-F238E27FC236}">
                        <a16:creationId xmlns:a16="http://schemas.microsoft.com/office/drawing/2014/main" id="{7A9CEAFE-68C1-4DB7-A54C-60DB8DCCFE94}"/>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1" name="Freeform 61">
                    <a:extLst>
                      <a:ext uri="{FF2B5EF4-FFF2-40B4-BE49-F238E27FC236}">
                        <a16:creationId xmlns:a16="http://schemas.microsoft.com/office/drawing/2014/main" id="{A2BC14C2-A29F-448E-A598-2E4C6C7BDBB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2" name="Oval 281">
                    <a:extLst>
                      <a:ext uri="{FF2B5EF4-FFF2-40B4-BE49-F238E27FC236}">
                        <a16:creationId xmlns:a16="http://schemas.microsoft.com/office/drawing/2014/main" id="{983CD198-4225-4FCF-BDB8-75F09C8D73CE}"/>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3" name="Freeform 63">
                    <a:extLst>
                      <a:ext uri="{FF2B5EF4-FFF2-40B4-BE49-F238E27FC236}">
                        <a16:creationId xmlns:a16="http://schemas.microsoft.com/office/drawing/2014/main" id="{8D3CCC93-912E-4B16-AD06-3FAFE19470A1}"/>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4" name="Rectangle 283">
                    <a:extLst>
                      <a:ext uri="{FF2B5EF4-FFF2-40B4-BE49-F238E27FC236}">
                        <a16:creationId xmlns:a16="http://schemas.microsoft.com/office/drawing/2014/main" id="{0BC77ED3-5CD4-4450-BEE0-71C23F26E23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5" name="Freeform 65">
                    <a:extLst>
                      <a:ext uri="{FF2B5EF4-FFF2-40B4-BE49-F238E27FC236}">
                        <a16:creationId xmlns:a16="http://schemas.microsoft.com/office/drawing/2014/main" id="{B4D40948-24CD-4E63-AADF-2B20F8B2FBA7}"/>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6" name="Freeform 66">
                    <a:extLst>
                      <a:ext uri="{FF2B5EF4-FFF2-40B4-BE49-F238E27FC236}">
                        <a16:creationId xmlns:a16="http://schemas.microsoft.com/office/drawing/2014/main" id="{A76C08F2-6FD4-4ED4-B664-05B5235BDAF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7" name="Rectangle 286">
                    <a:extLst>
                      <a:ext uri="{FF2B5EF4-FFF2-40B4-BE49-F238E27FC236}">
                        <a16:creationId xmlns:a16="http://schemas.microsoft.com/office/drawing/2014/main" id="{4EC494E8-830D-4E92-9338-B55FE379F852}"/>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8" name="Freeform 68">
                    <a:extLst>
                      <a:ext uri="{FF2B5EF4-FFF2-40B4-BE49-F238E27FC236}">
                        <a16:creationId xmlns:a16="http://schemas.microsoft.com/office/drawing/2014/main" id="{1B492A83-6ED1-4059-86D1-1BD847E06A3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89" name="Freeform 69">
                    <a:extLst>
                      <a:ext uri="{FF2B5EF4-FFF2-40B4-BE49-F238E27FC236}">
                        <a16:creationId xmlns:a16="http://schemas.microsoft.com/office/drawing/2014/main" id="{34F66EEA-BB0A-432D-8B3D-9A1A25DEC26D}"/>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0" name="Freeform 70">
                    <a:extLst>
                      <a:ext uri="{FF2B5EF4-FFF2-40B4-BE49-F238E27FC236}">
                        <a16:creationId xmlns:a16="http://schemas.microsoft.com/office/drawing/2014/main" id="{F3344736-A055-47B7-8D2D-B1E11C0CC587}"/>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1" name="Freeform 71">
                    <a:extLst>
                      <a:ext uri="{FF2B5EF4-FFF2-40B4-BE49-F238E27FC236}">
                        <a16:creationId xmlns:a16="http://schemas.microsoft.com/office/drawing/2014/main" id="{44D5BCD1-E416-4DC1-8E21-4944B23433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2" name="Freeform 72">
                    <a:extLst>
                      <a:ext uri="{FF2B5EF4-FFF2-40B4-BE49-F238E27FC236}">
                        <a16:creationId xmlns:a16="http://schemas.microsoft.com/office/drawing/2014/main" id="{D0886D0A-B0DF-41D5-BD12-52F92A42F5D4}"/>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3" name="Freeform 73">
                    <a:extLst>
                      <a:ext uri="{FF2B5EF4-FFF2-40B4-BE49-F238E27FC236}">
                        <a16:creationId xmlns:a16="http://schemas.microsoft.com/office/drawing/2014/main" id="{79A1EB61-789C-4597-BDB8-C8B1444A5794}"/>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4" name="Freeform 74">
                    <a:extLst>
                      <a:ext uri="{FF2B5EF4-FFF2-40B4-BE49-F238E27FC236}">
                        <a16:creationId xmlns:a16="http://schemas.microsoft.com/office/drawing/2014/main" id="{6CECBBA6-2492-4D2B-9AD2-C35BA1F357A8}"/>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5" name="Rectangle 294">
                    <a:extLst>
                      <a:ext uri="{FF2B5EF4-FFF2-40B4-BE49-F238E27FC236}">
                        <a16:creationId xmlns:a16="http://schemas.microsoft.com/office/drawing/2014/main" id="{553B39AB-3F7F-4C1A-8C92-3CACF20D9B2B}"/>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96" name="Rectangle 295">
                    <a:extLst>
                      <a:ext uri="{FF2B5EF4-FFF2-40B4-BE49-F238E27FC236}">
                        <a16:creationId xmlns:a16="http://schemas.microsoft.com/office/drawing/2014/main" id="{BC973495-52E5-4035-B89D-5BC3407710B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255" name="Rectangle 254">
                <a:extLst>
                  <a:ext uri="{FF2B5EF4-FFF2-40B4-BE49-F238E27FC236}">
                    <a16:creationId xmlns:a16="http://schemas.microsoft.com/office/drawing/2014/main" id="{A193E4AF-2C40-4AF5-ACA2-F2F6495559E1}"/>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213" name="Rectangle 212">
            <a:extLst>
              <a:ext uri="{FF2B5EF4-FFF2-40B4-BE49-F238E27FC236}">
                <a16:creationId xmlns:a16="http://schemas.microsoft.com/office/drawing/2014/main" id="{440C7B1D-B294-4214-A9A0-7614DD595DF9}"/>
              </a:ext>
            </a:extLst>
          </p:cNvPr>
          <p:cNvSpPr/>
          <p:nvPr/>
        </p:nvSpPr>
        <p:spPr>
          <a:xfrm>
            <a:off x="533943" y="114846"/>
            <a:ext cx="4133119" cy="369332"/>
          </a:xfrm>
          <a:prstGeom prst="rect">
            <a:avLst/>
          </a:prstGeom>
        </p:spPr>
        <p:txBody>
          <a:bodyPr wrap="none">
            <a:spAutoFit/>
          </a:bodyPr>
          <a:lstStyle/>
          <a:p>
            <a:r>
              <a:rPr lang="en-US" b="1" i="1" dirty="0"/>
              <a:t>Best Virtualized End-user Experience</a:t>
            </a:r>
          </a:p>
        </p:txBody>
      </p:sp>
      <p:sp>
        <p:nvSpPr>
          <p:cNvPr id="225" name="Rectangle 224">
            <a:extLst>
              <a:ext uri="{FF2B5EF4-FFF2-40B4-BE49-F238E27FC236}">
                <a16:creationId xmlns:a16="http://schemas.microsoft.com/office/drawing/2014/main" id="{B104D924-575A-49B8-BC09-A20F3C442595}"/>
              </a:ext>
            </a:extLst>
          </p:cNvPr>
          <p:cNvSpPr/>
          <p:nvPr/>
        </p:nvSpPr>
        <p:spPr bwMode="auto">
          <a:xfrm>
            <a:off x="584200" y="2351226"/>
            <a:ext cx="6340383" cy="42172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226" name="TextBox 225">
            <a:extLst>
              <a:ext uri="{FF2B5EF4-FFF2-40B4-BE49-F238E27FC236}">
                <a16:creationId xmlns:a16="http://schemas.microsoft.com/office/drawing/2014/main" id="{BBA23708-B1F0-48F1-8230-15A6675A7928}"/>
              </a:ext>
            </a:extLst>
          </p:cNvPr>
          <p:cNvSpPr txBox="1"/>
          <p:nvPr/>
        </p:nvSpPr>
        <p:spPr>
          <a:xfrm>
            <a:off x="689892" y="2411900"/>
            <a:ext cx="6128158" cy="402553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548640"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09" fontAlgn="auto">
              <a:spcBef>
                <a:spcPts val="1200"/>
              </a:spcBef>
              <a:spcAft>
                <a:spcPts val="0"/>
              </a:spcAft>
              <a:defRPr/>
            </a:pPr>
            <a:endParaRPr lang="en-US" sz="1600" dirty="0">
              <a:solidFill>
                <a:schemeClr val="tx1"/>
              </a:solidFill>
              <a:ea typeface="+mn-ea"/>
              <a:cs typeface="+mn-cs"/>
            </a:endParaRPr>
          </a:p>
        </p:txBody>
      </p:sp>
      <p:sp>
        <p:nvSpPr>
          <p:cNvPr id="227" name="TextBox 226">
            <a:extLst>
              <a:ext uri="{FF2B5EF4-FFF2-40B4-BE49-F238E27FC236}">
                <a16:creationId xmlns:a16="http://schemas.microsoft.com/office/drawing/2014/main" id="{DA6D7059-35BB-4287-B2B5-AF134B1A6735}"/>
              </a:ext>
            </a:extLst>
          </p:cNvPr>
          <p:cNvSpPr txBox="1"/>
          <p:nvPr/>
        </p:nvSpPr>
        <p:spPr>
          <a:xfrm>
            <a:off x="689892" y="2411902"/>
            <a:ext cx="6128158"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600" b="1" dirty="0">
                <a:solidFill>
                  <a:schemeClr val="bg1"/>
                </a:solidFill>
              </a:rPr>
              <a:t>Teams on WVD – With Enhancement</a:t>
            </a:r>
          </a:p>
        </p:txBody>
      </p:sp>
      <p:sp>
        <p:nvSpPr>
          <p:cNvPr id="228" name="TextBox 227">
            <a:extLst>
              <a:ext uri="{FF2B5EF4-FFF2-40B4-BE49-F238E27FC236}">
                <a16:creationId xmlns:a16="http://schemas.microsoft.com/office/drawing/2014/main" id="{AC640953-C107-4393-BED8-1B9F5E69D277}"/>
              </a:ext>
            </a:extLst>
          </p:cNvPr>
          <p:cNvSpPr txBox="1"/>
          <p:nvPr/>
        </p:nvSpPr>
        <p:spPr>
          <a:xfrm>
            <a:off x="7044213" y="2429311"/>
            <a:ext cx="4565176" cy="40080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45720" numCol="1" spcCol="0" rtlCol="0" fromWordArt="0" anchor="t" anchorCtr="0" forceAA="0" compatLnSpc="1">
            <a:prstTxWarp prst="textNoShape">
              <a:avLst/>
            </a:prstTxWarp>
            <a:noAutofit/>
          </a:bodyPr>
          <a:lstStyle>
            <a:defPPr>
              <a:defRPr lang="en-US"/>
            </a:defPPr>
            <a:lvl1pPr algn="ctr" fontAlgn="auto">
              <a:spcBef>
                <a:spcPts val="1200"/>
              </a:spcBef>
              <a:spcAft>
                <a:spcPts val="0"/>
              </a:spcAft>
              <a:defRPr sz="1600" b="1" i="1">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t>Less network bandwidth compared to USB camera redirection</a:t>
            </a:r>
          </a:p>
          <a:p>
            <a:r>
              <a:rPr lang="en-US" altLang="zh-CN" dirty="0"/>
              <a:t>Increased video framerates,</a:t>
            </a:r>
            <a:br>
              <a:rPr lang="en-US" altLang="zh-CN" dirty="0"/>
            </a:br>
            <a:r>
              <a:rPr lang="en-US" altLang="zh-CN" dirty="0"/>
              <a:t>up to 30 fps</a:t>
            </a:r>
          </a:p>
          <a:p>
            <a:r>
              <a:rPr lang="en-US" altLang="zh-CN" dirty="0"/>
              <a:t>Enhanced UI for ease of use</a:t>
            </a:r>
            <a:br>
              <a:rPr lang="en-US" altLang="zh-CN" dirty="0"/>
            </a:br>
            <a:r>
              <a:rPr lang="en-US" altLang="zh-CN" dirty="0"/>
              <a:t>in virtualized environments</a:t>
            </a:r>
          </a:p>
          <a:p>
            <a:r>
              <a:rPr lang="en-US" altLang="zh-CN" dirty="0"/>
              <a:t>Ability to redirect multiple cameras</a:t>
            </a:r>
          </a:p>
          <a:p>
            <a:r>
              <a:rPr lang="en-US" altLang="zh-CN" dirty="0"/>
              <a:t>High-performance, low latency </a:t>
            </a:r>
            <a:br>
              <a:rPr lang="en-US" altLang="zh-CN" dirty="0"/>
            </a:br>
            <a:r>
              <a:rPr lang="en-US" altLang="zh-CN" dirty="0"/>
              <a:t>audio &amp; video calling</a:t>
            </a:r>
          </a:p>
        </p:txBody>
      </p:sp>
      <p:sp>
        <p:nvSpPr>
          <p:cNvPr id="229" name="TextBox 228">
            <a:extLst>
              <a:ext uri="{FF2B5EF4-FFF2-40B4-BE49-F238E27FC236}">
                <a16:creationId xmlns:a16="http://schemas.microsoft.com/office/drawing/2014/main" id="{9AF2C896-B6A7-4DDD-BB7C-67C9D55427A2}"/>
              </a:ext>
            </a:extLst>
          </p:cNvPr>
          <p:cNvSpPr txBox="1"/>
          <p:nvPr/>
        </p:nvSpPr>
        <p:spPr>
          <a:xfrm>
            <a:off x="7044213" y="2411902"/>
            <a:ext cx="4565176"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600" b="1" dirty="0">
                <a:solidFill>
                  <a:schemeClr val="bg1"/>
                </a:solidFill>
              </a:rPr>
              <a:t>User Experience Benefits</a:t>
            </a:r>
          </a:p>
        </p:txBody>
      </p:sp>
      <p:grpSp>
        <p:nvGrpSpPr>
          <p:cNvPr id="485" name="Group 484">
            <a:extLst>
              <a:ext uri="{FF2B5EF4-FFF2-40B4-BE49-F238E27FC236}">
                <a16:creationId xmlns:a16="http://schemas.microsoft.com/office/drawing/2014/main" id="{16D2C494-0300-41C1-957B-4A25E07045A0}"/>
              </a:ext>
            </a:extLst>
          </p:cNvPr>
          <p:cNvGrpSpPr/>
          <p:nvPr/>
        </p:nvGrpSpPr>
        <p:grpSpPr>
          <a:xfrm>
            <a:off x="1685726" y="2989876"/>
            <a:ext cx="4136491" cy="3393678"/>
            <a:chOff x="12919475" y="3462713"/>
            <a:chExt cx="3197837" cy="2623583"/>
          </a:xfrm>
        </p:grpSpPr>
        <p:sp>
          <p:nvSpPr>
            <p:cNvPr id="486" name="TextBox 485">
              <a:extLst>
                <a:ext uri="{FF2B5EF4-FFF2-40B4-BE49-F238E27FC236}">
                  <a16:creationId xmlns:a16="http://schemas.microsoft.com/office/drawing/2014/main" id="{A0A4DDA8-D427-441A-B743-0AB0E730D32B}"/>
                </a:ext>
              </a:extLst>
            </p:cNvPr>
            <p:cNvSpPr txBox="1"/>
            <p:nvPr/>
          </p:nvSpPr>
          <p:spPr>
            <a:xfrm>
              <a:off x="12919476" y="3551587"/>
              <a:ext cx="1208880" cy="552550"/>
            </a:xfrm>
            <a:prstGeom prst="rect">
              <a:avLst/>
            </a:prstGeom>
            <a:solidFill>
              <a:srgbClr val="53D2FF"/>
            </a:solidFill>
            <a:ln w="6350">
              <a:noFill/>
            </a:ln>
          </p:spPr>
          <p:txBody>
            <a:bodyPr wrap="square" lIns="0" tIns="45720" rIns="91440" bIns="0" rtlCol="0" anchor="ctr">
              <a:noAutofit/>
            </a:bodyPr>
            <a:lstStyle/>
            <a:p>
              <a:pPr algn="ctr"/>
              <a:r>
                <a:rPr lang="en-IN" sz="1000" b="1" dirty="0"/>
                <a:t>Windows 10</a:t>
              </a:r>
            </a:p>
            <a:p>
              <a:pPr algn="ctr"/>
              <a:r>
                <a:rPr lang="en-IN" sz="1000" b="1" dirty="0"/>
                <a:t>Enterprise </a:t>
              </a:r>
            </a:p>
            <a:p>
              <a:pPr algn="ctr"/>
              <a:r>
                <a:rPr lang="en-IN" sz="1000" b="1" dirty="0"/>
                <a:t>multi-session</a:t>
              </a:r>
              <a:endParaRPr lang="en-US" sz="1000" b="1" dirty="0"/>
            </a:p>
          </p:txBody>
        </p:sp>
        <p:sp>
          <p:nvSpPr>
            <p:cNvPr id="487" name="TextBox 486">
              <a:extLst>
                <a:ext uri="{FF2B5EF4-FFF2-40B4-BE49-F238E27FC236}">
                  <a16:creationId xmlns:a16="http://schemas.microsoft.com/office/drawing/2014/main" id="{41C86D70-8FAB-4B7D-866F-19FA8A1A9E2B}"/>
                </a:ext>
              </a:extLst>
            </p:cNvPr>
            <p:cNvSpPr txBox="1"/>
            <p:nvPr/>
          </p:nvSpPr>
          <p:spPr>
            <a:xfrm>
              <a:off x="14908432" y="3551587"/>
              <a:ext cx="1208880" cy="552550"/>
            </a:xfrm>
            <a:prstGeom prst="rect">
              <a:avLst/>
            </a:prstGeom>
            <a:solidFill>
              <a:srgbClr val="53D2FF"/>
            </a:solidFill>
            <a:ln w="6350">
              <a:noFill/>
            </a:ln>
          </p:spPr>
          <p:txBody>
            <a:bodyPr wrap="square" lIns="91440" tIns="45720" rIns="0" bIns="0" rtlCol="0" anchor="ctr">
              <a:noAutofit/>
            </a:bodyPr>
            <a:lstStyle/>
            <a:p>
              <a:pPr algn="ctr"/>
              <a:r>
                <a:rPr lang="en-IN" sz="1000" b="1" dirty="0"/>
                <a:t>Windows 10</a:t>
              </a:r>
            </a:p>
            <a:p>
              <a:pPr algn="ctr"/>
              <a:r>
                <a:rPr lang="en-IN" sz="1000" b="1" dirty="0"/>
                <a:t>Enterprise </a:t>
              </a:r>
            </a:p>
            <a:p>
              <a:pPr algn="ctr"/>
              <a:r>
                <a:rPr lang="en-IN" sz="1000" b="1" dirty="0"/>
                <a:t>multi-session</a:t>
              </a:r>
              <a:endParaRPr lang="en-US" sz="1000" b="1" dirty="0"/>
            </a:p>
          </p:txBody>
        </p:sp>
        <p:sp>
          <p:nvSpPr>
            <p:cNvPr id="488" name="TextBox 487">
              <a:extLst>
                <a:ext uri="{FF2B5EF4-FFF2-40B4-BE49-F238E27FC236}">
                  <a16:creationId xmlns:a16="http://schemas.microsoft.com/office/drawing/2014/main" id="{0DEC6AB3-83AB-4D24-A0F8-E7618DA548F0}"/>
                </a:ext>
              </a:extLst>
            </p:cNvPr>
            <p:cNvSpPr txBox="1"/>
            <p:nvPr/>
          </p:nvSpPr>
          <p:spPr>
            <a:xfrm>
              <a:off x="14147316" y="3462713"/>
              <a:ext cx="742156" cy="141451"/>
            </a:xfrm>
            <a:prstGeom prst="rect">
              <a:avLst/>
            </a:prstGeom>
            <a:noFill/>
            <a:ln w="6350">
              <a:noFill/>
            </a:ln>
          </p:spPr>
          <p:txBody>
            <a:bodyPr wrap="square" lIns="0" tIns="0" rIns="0" bIns="0" rtlCol="0" anchor="ctr">
              <a:noAutofit/>
            </a:bodyPr>
            <a:lstStyle/>
            <a:p>
              <a:pPr algn="ctr"/>
              <a:r>
                <a:rPr lang="en-IN" sz="1000" dirty="0">
                  <a:solidFill>
                    <a:srgbClr val="00B0F0"/>
                  </a:solidFill>
                </a:rPr>
                <a:t>Azure Backbone</a:t>
              </a:r>
              <a:endParaRPr lang="en-US" sz="1000" dirty="0">
                <a:solidFill>
                  <a:srgbClr val="00B0F0"/>
                </a:solidFill>
              </a:endParaRPr>
            </a:p>
          </p:txBody>
        </p:sp>
        <p:sp>
          <p:nvSpPr>
            <p:cNvPr id="489" name="TextBox 488">
              <a:extLst>
                <a:ext uri="{FF2B5EF4-FFF2-40B4-BE49-F238E27FC236}">
                  <a16:creationId xmlns:a16="http://schemas.microsoft.com/office/drawing/2014/main" id="{38E5A398-886E-403D-881A-D12BDCA4901B}"/>
                </a:ext>
              </a:extLst>
            </p:cNvPr>
            <p:cNvSpPr txBox="1"/>
            <p:nvPr/>
          </p:nvSpPr>
          <p:spPr>
            <a:xfrm>
              <a:off x="13484534" y="4568062"/>
              <a:ext cx="643822" cy="548640"/>
            </a:xfrm>
            <a:prstGeom prst="rect">
              <a:avLst/>
            </a:prstGeom>
            <a:solidFill>
              <a:schemeClr val="accent1"/>
            </a:solidFill>
            <a:ln w="6350">
              <a:noFill/>
            </a:ln>
          </p:spPr>
          <p:txBody>
            <a:bodyPr wrap="square" lIns="0" tIns="0" rIns="0" bIns="0" rtlCol="0" anchor="ctr">
              <a:noAutofit/>
            </a:bodyPr>
            <a:lstStyle/>
            <a:p>
              <a:pPr algn="ctr"/>
              <a:r>
                <a:rPr lang="en-IN" sz="1050" dirty="0">
                  <a:solidFill>
                    <a:schemeClr val="bg1"/>
                  </a:solidFill>
                </a:rPr>
                <a:t>User 1</a:t>
              </a:r>
              <a:endParaRPr lang="en-US" sz="1050" dirty="0">
                <a:solidFill>
                  <a:schemeClr val="bg1"/>
                </a:solidFill>
              </a:endParaRPr>
            </a:p>
          </p:txBody>
        </p:sp>
        <p:sp>
          <p:nvSpPr>
            <p:cNvPr id="490" name="TextBox 489">
              <a:extLst>
                <a:ext uri="{FF2B5EF4-FFF2-40B4-BE49-F238E27FC236}">
                  <a16:creationId xmlns:a16="http://schemas.microsoft.com/office/drawing/2014/main" id="{DDA4EAE7-824A-4865-A59D-D80493335D75}"/>
                </a:ext>
              </a:extLst>
            </p:cNvPr>
            <p:cNvSpPr txBox="1"/>
            <p:nvPr/>
          </p:nvSpPr>
          <p:spPr>
            <a:xfrm>
              <a:off x="14908432" y="4580925"/>
              <a:ext cx="643822" cy="548640"/>
            </a:xfrm>
            <a:prstGeom prst="rect">
              <a:avLst/>
            </a:prstGeom>
            <a:solidFill>
              <a:srgbClr val="FFC000"/>
            </a:solidFill>
            <a:ln w="6350">
              <a:noFill/>
            </a:ln>
          </p:spPr>
          <p:txBody>
            <a:bodyPr wrap="square" lIns="0" tIns="0" rIns="0" bIns="0" rtlCol="0" anchor="ctr">
              <a:noAutofit/>
            </a:bodyPr>
            <a:lstStyle/>
            <a:p>
              <a:pPr algn="ctr"/>
              <a:r>
                <a:rPr lang="en-IN" sz="1050" dirty="0"/>
                <a:t>User 2</a:t>
              </a:r>
              <a:endParaRPr lang="en-US" sz="1050" dirty="0"/>
            </a:p>
          </p:txBody>
        </p:sp>
        <p:sp>
          <p:nvSpPr>
            <p:cNvPr id="491" name="Oval 490">
              <a:extLst>
                <a:ext uri="{FF2B5EF4-FFF2-40B4-BE49-F238E27FC236}">
                  <a16:creationId xmlns:a16="http://schemas.microsoft.com/office/drawing/2014/main" id="{6A7C990A-4084-47E0-A1D1-12D0A12CE806}"/>
                </a:ext>
              </a:extLst>
            </p:cNvPr>
            <p:cNvSpPr/>
            <p:nvPr/>
          </p:nvSpPr>
          <p:spPr bwMode="auto">
            <a:xfrm>
              <a:off x="13808388" y="3785048"/>
              <a:ext cx="285750" cy="2857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92" name="Oval 491">
              <a:extLst>
                <a:ext uri="{FF2B5EF4-FFF2-40B4-BE49-F238E27FC236}">
                  <a16:creationId xmlns:a16="http://schemas.microsoft.com/office/drawing/2014/main" id="{4D08F49E-2C79-4CF1-AA33-EC8958DC625B}"/>
                </a:ext>
              </a:extLst>
            </p:cNvPr>
            <p:cNvSpPr/>
            <p:nvPr/>
          </p:nvSpPr>
          <p:spPr bwMode="auto">
            <a:xfrm>
              <a:off x="14937011" y="3785048"/>
              <a:ext cx="285750" cy="2857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93" name="Arrow: Left-Right 492">
              <a:extLst>
                <a:ext uri="{FF2B5EF4-FFF2-40B4-BE49-F238E27FC236}">
                  <a16:creationId xmlns:a16="http://schemas.microsoft.com/office/drawing/2014/main" id="{DE0C517A-051B-471F-85D6-91F30D53B3DF}"/>
                </a:ext>
              </a:extLst>
            </p:cNvPr>
            <p:cNvSpPr/>
            <p:nvPr/>
          </p:nvSpPr>
          <p:spPr bwMode="auto">
            <a:xfrm>
              <a:off x="14133029" y="3712358"/>
              <a:ext cx="770730" cy="231006"/>
            </a:xfrm>
            <a:prstGeom prst="leftRightArrow">
              <a:avLst>
                <a:gd name="adj1" fmla="val 35568"/>
                <a:gd name="adj2" fmla="val 50000"/>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494" name="Graphic 7">
              <a:extLst>
                <a:ext uri="{FF2B5EF4-FFF2-40B4-BE49-F238E27FC236}">
                  <a16:creationId xmlns:a16="http://schemas.microsoft.com/office/drawing/2014/main" id="{5ED7C14F-DCBC-45BC-A586-66DB2299A212}"/>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21113" t="18914" r="16387" b="18914"/>
            <a:stretch/>
          </p:blipFill>
          <p:spPr>
            <a:xfrm>
              <a:off x="13832538" y="3812516"/>
              <a:ext cx="228772" cy="227570"/>
            </a:xfrm>
            <a:prstGeom prst="rect">
              <a:avLst/>
            </a:prstGeom>
          </p:spPr>
        </p:pic>
        <p:pic>
          <p:nvPicPr>
            <p:cNvPr id="495" name="Graphic 7">
              <a:extLst>
                <a:ext uri="{FF2B5EF4-FFF2-40B4-BE49-F238E27FC236}">
                  <a16:creationId xmlns:a16="http://schemas.microsoft.com/office/drawing/2014/main" id="{B9BEFC2E-CF5D-4BEF-8A94-6C7D1FF90151}"/>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21113" t="18914" r="16387" b="18914"/>
            <a:stretch/>
          </p:blipFill>
          <p:spPr>
            <a:xfrm>
              <a:off x="14965500" y="3812516"/>
              <a:ext cx="228772" cy="227570"/>
            </a:xfrm>
            <a:prstGeom prst="rect">
              <a:avLst/>
            </a:prstGeom>
          </p:spPr>
        </p:pic>
        <p:sp>
          <p:nvSpPr>
            <p:cNvPr id="496" name="Freeform: Shape 495">
              <a:extLst>
                <a:ext uri="{FF2B5EF4-FFF2-40B4-BE49-F238E27FC236}">
                  <a16:creationId xmlns:a16="http://schemas.microsoft.com/office/drawing/2014/main" id="{0822933F-9FC3-4EDE-8093-FA681198B2B9}"/>
                </a:ext>
              </a:extLst>
            </p:cNvPr>
            <p:cNvSpPr/>
            <p:nvPr/>
          </p:nvSpPr>
          <p:spPr bwMode="auto">
            <a:xfrm rot="5400000">
              <a:off x="12995659" y="4491878"/>
              <a:ext cx="212665" cy="365033"/>
            </a:xfrm>
            <a:custGeom>
              <a:avLst/>
              <a:gdLst>
                <a:gd name="connsiteX0" fmla="*/ 0 w 159540"/>
                <a:gd name="connsiteY0" fmla="*/ 273845 h 273845"/>
                <a:gd name="connsiteX1" fmla="*/ 37883 w 159540"/>
                <a:gd name="connsiteY1" fmla="*/ 207170 h 273845"/>
                <a:gd name="connsiteX2" fmla="*/ 27384 w 159540"/>
                <a:gd name="connsiteY2" fmla="*/ 207170 h 273845"/>
                <a:gd name="connsiteX3" fmla="*/ 4761 w 159540"/>
                <a:gd name="connsiteY3" fmla="*/ 184547 h 273845"/>
                <a:gd name="connsiteX4" fmla="*/ 4761 w 159540"/>
                <a:gd name="connsiteY4" fmla="*/ 22623 h 273845"/>
                <a:gd name="connsiteX5" fmla="*/ 27384 w 159540"/>
                <a:gd name="connsiteY5" fmla="*/ 0 h 273845"/>
                <a:gd name="connsiteX6" fmla="*/ 132156 w 159540"/>
                <a:gd name="connsiteY6" fmla="*/ 0 h 273845"/>
                <a:gd name="connsiteX7" fmla="*/ 154779 w 159540"/>
                <a:gd name="connsiteY7" fmla="*/ 22623 h 273845"/>
                <a:gd name="connsiteX8" fmla="*/ 154779 w 159540"/>
                <a:gd name="connsiteY8" fmla="*/ 184547 h 273845"/>
                <a:gd name="connsiteX9" fmla="*/ 132156 w 159540"/>
                <a:gd name="connsiteY9" fmla="*/ 207170 h 273845"/>
                <a:gd name="connsiteX10" fmla="*/ 121657 w 159540"/>
                <a:gd name="connsiteY10" fmla="*/ 207170 h 273845"/>
                <a:gd name="connsiteX11" fmla="*/ 159540 w 159540"/>
                <a:gd name="connsiteY11" fmla="*/ 273845 h 27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540" h="273845">
                  <a:moveTo>
                    <a:pt x="0" y="273845"/>
                  </a:moveTo>
                  <a:lnTo>
                    <a:pt x="37883" y="207170"/>
                  </a:lnTo>
                  <a:lnTo>
                    <a:pt x="27384" y="207170"/>
                  </a:lnTo>
                  <a:cubicBezTo>
                    <a:pt x="14890" y="207170"/>
                    <a:pt x="4761" y="197041"/>
                    <a:pt x="4761" y="184547"/>
                  </a:cubicBezTo>
                  <a:lnTo>
                    <a:pt x="4761" y="22623"/>
                  </a:lnTo>
                  <a:cubicBezTo>
                    <a:pt x="4761" y="10129"/>
                    <a:pt x="14890" y="0"/>
                    <a:pt x="27384" y="0"/>
                  </a:cubicBezTo>
                  <a:lnTo>
                    <a:pt x="132156" y="0"/>
                  </a:lnTo>
                  <a:cubicBezTo>
                    <a:pt x="144650" y="0"/>
                    <a:pt x="154779" y="10129"/>
                    <a:pt x="154779" y="22623"/>
                  </a:cubicBezTo>
                  <a:lnTo>
                    <a:pt x="154779" y="184547"/>
                  </a:lnTo>
                  <a:cubicBezTo>
                    <a:pt x="154779" y="197041"/>
                    <a:pt x="144650" y="207170"/>
                    <a:pt x="132156" y="207170"/>
                  </a:cubicBezTo>
                  <a:lnTo>
                    <a:pt x="121657" y="207170"/>
                  </a:lnTo>
                  <a:lnTo>
                    <a:pt x="159540" y="273845"/>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497" name="Straight Connector 496">
              <a:extLst>
                <a:ext uri="{FF2B5EF4-FFF2-40B4-BE49-F238E27FC236}">
                  <a16:creationId xmlns:a16="http://schemas.microsoft.com/office/drawing/2014/main" id="{493FBFBB-CE00-4595-B392-CEDF0DAE846F}"/>
                </a:ext>
              </a:extLst>
            </p:cNvPr>
            <p:cNvCxnSpPr>
              <a:cxnSpLocks/>
            </p:cNvCxnSpPr>
            <p:nvPr/>
          </p:nvCxnSpPr>
          <p:spPr>
            <a:xfrm>
              <a:off x="13284508" y="4674394"/>
              <a:ext cx="214314"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98" name="Freeform: Shape 497">
              <a:extLst>
                <a:ext uri="{FF2B5EF4-FFF2-40B4-BE49-F238E27FC236}">
                  <a16:creationId xmlns:a16="http://schemas.microsoft.com/office/drawing/2014/main" id="{F5B8D5DD-0CC4-47B5-9B00-CB5A603F54E9}"/>
                </a:ext>
              </a:extLst>
            </p:cNvPr>
            <p:cNvSpPr/>
            <p:nvPr/>
          </p:nvSpPr>
          <p:spPr bwMode="auto">
            <a:xfrm rot="16200000" flipH="1">
              <a:off x="15828463" y="4491878"/>
              <a:ext cx="212665" cy="365033"/>
            </a:xfrm>
            <a:custGeom>
              <a:avLst/>
              <a:gdLst>
                <a:gd name="connsiteX0" fmla="*/ 0 w 159540"/>
                <a:gd name="connsiteY0" fmla="*/ 273845 h 273845"/>
                <a:gd name="connsiteX1" fmla="*/ 37883 w 159540"/>
                <a:gd name="connsiteY1" fmla="*/ 207170 h 273845"/>
                <a:gd name="connsiteX2" fmla="*/ 27384 w 159540"/>
                <a:gd name="connsiteY2" fmla="*/ 207170 h 273845"/>
                <a:gd name="connsiteX3" fmla="*/ 4761 w 159540"/>
                <a:gd name="connsiteY3" fmla="*/ 184547 h 273845"/>
                <a:gd name="connsiteX4" fmla="*/ 4761 w 159540"/>
                <a:gd name="connsiteY4" fmla="*/ 22623 h 273845"/>
                <a:gd name="connsiteX5" fmla="*/ 27384 w 159540"/>
                <a:gd name="connsiteY5" fmla="*/ 0 h 273845"/>
                <a:gd name="connsiteX6" fmla="*/ 132156 w 159540"/>
                <a:gd name="connsiteY6" fmla="*/ 0 h 273845"/>
                <a:gd name="connsiteX7" fmla="*/ 154779 w 159540"/>
                <a:gd name="connsiteY7" fmla="*/ 22623 h 273845"/>
                <a:gd name="connsiteX8" fmla="*/ 154779 w 159540"/>
                <a:gd name="connsiteY8" fmla="*/ 184547 h 273845"/>
                <a:gd name="connsiteX9" fmla="*/ 132156 w 159540"/>
                <a:gd name="connsiteY9" fmla="*/ 207170 h 273845"/>
                <a:gd name="connsiteX10" fmla="*/ 121657 w 159540"/>
                <a:gd name="connsiteY10" fmla="*/ 207170 h 273845"/>
                <a:gd name="connsiteX11" fmla="*/ 159540 w 159540"/>
                <a:gd name="connsiteY11" fmla="*/ 273845 h 27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540" h="273845">
                  <a:moveTo>
                    <a:pt x="0" y="273845"/>
                  </a:moveTo>
                  <a:lnTo>
                    <a:pt x="37883" y="207170"/>
                  </a:lnTo>
                  <a:lnTo>
                    <a:pt x="27384" y="207170"/>
                  </a:lnTo>
                  <a:cubicBezTo>
                    <a:pt x="14890" y="207170"/>
                    <a:pt x="4761" y="197041"/>
                    <a:pt x="4761" y="184547"/>
                  </a:cubicBezTo>
                  <a:lnTo>
                    <a:pt x="4761" y="22623"/>
                  </a:lnTo>
                  <a:cubicBezTo>
                    <a:pt x="4761" y="10129"/>
                    <a:pt x="14890" y="0"/>
                    <a:pt x="27384" y="0"/>
                  </a:cubicBezTo>
                  <a:lnTo>
                    <a:pt x="132156" y="0"/>
                  </a:lnTo>
                  <a:cubicBezTo>
                    <a:pt x="144650" y="0"/>
                    <a:pt x="154779" y="10129"/>
                    <a:pt x="154779" y="22623"/>
                  </a:cubicBezTo>
                  <a:lnTo>
                    <a:pt x="154779" y="184547"/>
                  </a:lnTo>
                  <a:cubicBezTo>
                    <a:pt x="154779" y="197041"/>
                    <a:pt x="144650" y="207170"/>
                    <a:pt x="132156" y="207170"/>
                  </a:cubicBezTo>
                  <a:lnTo>
                    <a:pt x="121657" y="207170"/>
                  </a:lnTo>
                  <a:lnTo>
                    <a:pt x="159540" y="273845"/>
                  </a:ln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499" name="Straight Connector 498">
              <a:extLst>
                <a:ext uri="{FF2B5EF4-FFF2-40B4-BE49-F238E27FC236}">
                  <a16:creationId xmlns:a16="http://schemas.microsoft.com/office/drawing/2014/main" id="{E6F6ACB7-C2ED-4FB0-99F8-056E45A0C491}"/>
                </a:ext>
              </a:extLst>
            </p:cNvPr>
            <p:cNvCxnSpPr>
              <a:cxnSpLocks/>
            </p:cNvCxnSpPr>
            <p:nvPr/>
          </p:nvCxnSpPr>
          <p:spPr>
            <a:xfrm flipH="1">
              <a:off x="15537965" y="4674394"/>
              <a:ext cx="214314" cy="0"/>
            </a:xfrm>
            <a:prstGeom prst="line">
              <a:avLst/>
            </a:prstGeom>
            <a:solidFill>
              <a:srgbClr val="FFC000"/>
            </a:solidFill>
            <a:ln w="19050">
              <a:solidFill>
                <a:srgbClr val="FFC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0" name="Straight Arrow Connector 499">
              <a:extLst>
                <a:ext uri="{FF2B5EF4-FFF2-40B4-BE49-F238E27FC236}">
                  <a16:creationId xmlns:a16="http://schemas.microsoft.com/office/drawing/2014/main" id="{F5EA7AA1-3FD7-4063-9741-E42B23AAB2E7}"/>
                </a:ext>
              </a:extLst>
            </p:cNvPr>
            <p:cNvCxnSpPr>
              <a:cxnSpLocks/>
            </p:cNvCxnSpPr>
            <p:nvPr/>
          </p:nvCxnSpPr>
          <p:spPr>
            <a:xfrm flipV="1">
              <a:off x="13806445" y="4108332"/>
              <a:ext cx="0" cy="451418"/>
            </a:xfrm>
            <a:prstGeom prst="straightConnector1">
              <a:avLst/>
            </a:prstGeom>
            <a:ln>
              <a:solidFill>
                <a:schemeClr val="accent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01" name="Straight Arrow Connector 500">
              <a:extLst>
                <a:ext uri="{FF2B5EF4-FFF2-40B4-BE49-F238E27FC236}">
                  <a16:creationId xmlns:a16="http://schemas.microsoft.com/office/drawing/2014/main" id="{3671BAFB-7B21-4870-A8B1-2136EE06ACC5}"/>
                </a:ext>
              </a:extLst>
            </p:cNvPr>
            <p:cNvCxnSpPr>
              <a:cxnSpLocks/>
            </p:cNvCxnSpPr>
            <p:nvPr/>
          </p:nvCxnSpPr>
          <p:spPr>
            <a:xfrm flipV="1">
              <a:off x="15230343" y="4108331"/>
              <a:ext cx="0" cy="467293"/>
            </a:xfrm>
            <a:prstGeom prst="straightConnector1">
              <a:avLst/>
            </a:prstGeom>
            <a:ln>
              <a:solidFill>
                <a:srgbClr val="FFC000"/>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2" name="TextBox 501">
              <a:extLst>
                <a:ext uri="{FF2B5EF4-FFF2-40B4-BE49-F238E27FC236}">
                  <a16:creationId xmlns:a16="http://schemas.microsoft.com/office/drawing/2014/main" id="{0D8F8BAB-00D4-4952-9001-FFF7B4C31326}"/>
                </a:ext>
              </a:extLst>
            </p:cNvPr>
            <p:cNvSpPr txBox="1"/>
            <p:nvPr/>
          </p:nvSpPr>
          <p:spPr>
            <a:xfrm>
              <a:off x="13888236" y="4242926"/>
              <a:ext cx="455139" cy="198102"/>
            </a:xfrm>
            <a:prstGeom prst="rect">
              <a:avLst/>
            </a:prstGeom>
            <a:noFill/>
            <a:ln w="6350">
              <a:noFill/>
            </a:ln>
          </p:spPr>
          <p:txBody>
            <a:bodyPr wrap="square" lIns="0" tIns="0" rIns="0" bIns="0" rtlCol="0" anchor="ctr">
              <a:noAutofit/>
            </a:bodyPr>
            <a:lstStyle/>
            <a:p>
              <a:r>
                <a:rPr lang="en-IN" sz="800" dirty="0">
                  <a:solidFill>
                    <a:srgbClr val="00B0F0"/>
                  </a:solidFill>
                </a:rPr>
                <a:t>Call Control</a:t>
              </a:r>
              <a:endParaRPr lang="en-US" sz="800" dirty="0">
                <a:solidFill>
                  <a:srgbClr val="00B0F0"/>
                </a:solidFill>
              </a:endParaRPr>
            </a:p>
          </p:txBody>
        </p:sp>
        <p:sp>
          <p:nvSpPr>
            <p:cNvPr id="503" name="TextBox 502">
              <a:extLst>
                <a:ext uri="{FF2B5EF4-FFF2-40B4-BE49-F238E27FC236}">
                  <a16:creationId xmlns:a16="http://schemas.microsoft.com/office/drawing/2014/main" id="{F7DC45A2-8EF6-49C1-BD54-52EF03FE37DD}"/>
                </a:ext>
              </a:extLst>
            </p:cNvPr>
            <p:cNvSpPr txBox="1"/>
            <p:nvPr/>
          </p:nvSpPr>
          <p:spPr>
            <a:xfrm>
              <a:off x="14695956" y="4242926"/>
              <a:ext cx="455139" cy="198102"/>
            </a:xfrm>
            <a:prstGeom prst="rect">
              <a:avLst/>
            </a:prstGeom>
            <a:noFill/>
            <a:ln w="6350">
              <a:noFill/>
            </a:ln>
          </p:spPr>
          <p:txBody>
            <a:bodyPr wrap="square" lIns="0" tIns="0" rIns="0" bIns="0" rtlCol="0" anchor="ctr">
              <a:noAutofit/>
            </a:bodyPr>
            <a:lstStyle/>
            <a:p>
              <a:pPr algn="r"/>
              <a:r>
                <a:rPr lang="en-IN" sz="800" dirty="0">
                  <a:solidFill>
                    <a:srgbClr val="00B0F0"/>
                  </a:solidFill>
                </a:rPr>
                <a:t>Call Control</a:t>
              </a:r>
            </a:p>
          </p:txBody>
        </p:sp>
        <p:sp>
          <p:nvSpPr>
            <p:cNvPr id="504" name="TextBox 503">
              <a:extLst>
                <a:ext uri="{FF2B5EF4-FFF2-40B4-BE49-F238E27FC236}">
                  <a16:creationId xmlns:a16="http://schemas.microsoft.com/office/drawing/2014/main" id="{6307DA14-E54B-49AE-9665-8DED2F6B8A68}"/>
                </a:ext>
              </a:extLst>
            </p:cNvPr>
            <p:cNvSpPr txBox="1"/>
            <p:nvPr/>
          </p:nvSpPr>
          <p:spPr>
            <a:xfrm>
              <a:off x="13426681" y="5106624"/>
              <a:ext cx="759528" cy="256709"/>
            </a:xfrm>
            <a:prstGeom prst="rect">
              <a:avLst/>
            </a:prstGeom>
            <a:noFill/>
            <a:ln w="6350">
              <a:noFill/>
            </a:ln>
          </p:spPr>
          <p:txBody>
            <a:bodyPr wrap="square" lIns="0" tIns="0" rIns="0" bIns="0" rtlCol="0" anchor="ctr">
              <a:noAutofit/>
            </a:bodyPr>
            <a:lstStyle/>
            <a:p>
              <a:pPr algn="ctr"/>
              <a:r>
                <a:rPr lang="en-IN" sz="900" dirty="0">
                  <a:solidFill>
                    <a:schemeClr val="bg1">
                      <a:lumMod val="50000"/>
                    </a:schemeClr>
                  </a:solidFill>
                  <a:latin typeface="+mj-lt"/>
                </a:rPr>
                <a:t>LOCATION 1</a:t>
              </a:r>
              <a:endParaRPr lang="en-US" sz="900" dirty="0">
                <a:solidFill>
                  <a:schemeClr val="bg1">
                    <a:lumMod val="50000"/>
                  </a:schemeClr>
                </a:solidFill>
                <a:latin typeface="+mj-lt"/>
              </a:endParaRPr>
            </a:p>
          </p:txBody>
        </p:sp>
        <p:sp>
          <p:nvSpPr>
            <p:cNvPr id="505" name="TextBox 504">
              <a:extLst>
                <a:ext uri="{FF2B5EF4-FFF2-40B4-BE49-F238E27FC236}">
                  <a16:creationId xmlns:a16="http://schemas.microsoft.com/office/drawing/2014/main" id="{FF59F4D0-E2D2-4C5A-BAAE-8CB0265010F2}"/>
                </a:ext>
              </a:extLst>
            </p:cNvPr>
            <p:cNvSpPr txBox="1"/>
            <p:nvPr/>
          </p:nvSpPr>
          <p:spPr>
            <a:xfrm>
              <a:off x="14850579" y="5106624"/>
              <a:ext cx="759528" cy="256709"/>
            </a:xfrm>
            <a:prstGeom prst="rect">
              <a:avLst/>
            </a:prstGeom>
            <a:noFill/>
            <a:ln w="6350">
              <a:noFill/>
            </a:ln>
          </p:spPr>
          <p:txBody>
            <a:bodyPr wrap="square" lIns="0" tIns="0" rIns="0" bIns="0" rtlCol="0" anchor="ctr">
              <a:noAutofit/>
            </a:bodyPr>
            <a:lstStyle/>
            <a:p>
              <a:pPr algn="ctr"/>
              <a:r>
                <a:rPr lang="en-IN" sz="900" dirty="0">
                  <a:solidFill>
                    <a:schemeClr val="bg1">
                      <a:lumMod val="50000"/>
                    </a:schemeClr>
                  </a:solidFill>
                  <a:latin typeface="+mj-lt"/>
                </a:rPr>
                <a:t>LOCATION 2</a:t>
              </a:r>
              <a:endParaRPr lang="en-US" sz="900" dirty="0">
                <a:solidFill>
                  <a:schemeClr val="bg1">
                    <a:lumMod val="50000"/>
                  </a:schemeClr>
                </a:solidFill>
                <a:latin typeface="+mj-lt"/>
              </a:endParaRPr>
            </a:p>
          </p:txBody>
        </p:sp>
        <p:cxnSp>
          <p:nvCxnSpPr>
            <p:cNvPr id="506" name="Straight Arrow Connector 505">
              <a:extLst>
                <a:ext uri="{FF2B5EF4-FFF2-40B4-BE49-F238E27FC236}">
                  <a16:creationId xmlns:a16="http://schemas.microsoft.com/office/drawing/2014/main" id="{B6D20E55-496C-43BF-97AA-3CB4D7F9E2B1}"/>
                </a:ext>
              </a:extLst>
            </p:cNvPr>
            <p:cNvCxnSpPr>
              <a:cxnSpLocks/>
            </p:cNvCxnSpPr>
            <p:nvPr/>
          </p:nvCxnSpPr>
          <p:spPr>
            <a:xfrm>
              <a:off x="14158654" y="4674394"/>
              <a:ext cx="723900" cy="0"/>
            </a:xfrm>
            <a:prstGeom prst="straightConnector1">
              <a:avLst/>
            </a:prstGeom>
            <a:ln>
              <a:solidFill>
                <a:schemeClr val="accent1"/>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7" name="TextBox 506">
              <a:extLst>
                <a:ext uri="{FF2B5EF4-FFF2-40B4-BE49-F238E27FC236}">
                  <a16:creationId xmlns:a16="http://schemas.microsoft.com/office/drawing/2014/main" id="{727248EE-8348-44E3-8557-4C1421289BFD}"/>
                </a:ext>
              </a:extLst>
            </p:cNvPr>
            <p:cNvSpPr txBox="1"/>
            <p:nvPr/>
          </p:nvSpPr>
          <p:spPr>
            <a:xfrm>
              <a:off x="14158654" y="4686383"/>
              <a:ext cx="723900" cy="161760"/>
            </a:xfrm>
            <a:prstGeom prst="rect">
              <a:avLst/>
            </a:prstGeom>
            <a:noFill/>
            <a:ln w="6350">
              <a:noFill/>
            </a:ln>
          </p:spPr>
          <p:txBody>
            <a:bodyPr wrap="square" lIns="0" tIns="0" rIns="0" bIns="0" rtlCol="0" anchor="ctr">
              <a:noAutofit/>
            </a:bodyPr>
            <a:lstStyle/>
            <a:p>
              <a:pPr algn="ctr"/>
              <a:r>
                <a:rPr lang="en-IN" sz="800" dirty="0">
                  <a:solidFill>
                    <a:srgbClr val="00B0F0"/>
                  </a:solidFill>
                </a:rPr>
                <a:t>Call A/V</a:t>
              </a:r>
              <a:endParaRPr lang="en-US" sz="800" dirty="0">
                <a:solidFill>
                  <a:srgbClr val="00B0F0"/>
                </a:solidFill>
              </a:endParaRPr>
            </a:p>
          </p:txBody>
        </p:sp>
        <p:cxnSp>
          <p:nvCxnSpPr>
            <p:cNvPr id="508" name="Straight Arrow Connector 507">
              <a:extLst>
                <a:ext uri="{FF2B5EF4-FFF2-40B4-BE49-F238E27FC236}">
                  <a16:creationId xmlns:a16="http://schemas.microsoft.com/office/drawing/2014/main" id="{F9996E96-65C8-4009-9853-6BAE1F6C8663}"/>
                </a:ext>
              </a:extLst>
            </p:cNvPr>
            <p:cNvCxnSpPr>
              <a:cxnSpLocks/>
            </p:cNvCxnSpPr>
            <p:nvPr/>
          </p:nvCxnSpPr>
          <p:spPr>
            <a:xfrm flipH="1">
              <a:off x="14158654" y="4860131"/>
              <a:ext cx="723900" cy="0"/>
            </a:xfrm>
            <a:prstGeom prst="straightConnector1">
              <a:avLst/>
            </a:prstGeom>
            <a:ln>
              <a:solidFill>
                <a:srgbClr val="FFC000"/>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09" name="Straight Arrow Connector 508">
              <a:extLst>
                <a:ext uri="{FF2B5EF4-FFF2-40B4-BE49-F238E27FC236}">
                  <a16:creationId xmlns:a16="http://schemas.microsoft.com/office/drawing/2014/main" id="{F66CAD74-250C-4E63-82D2-203D8EAE2892}"/>
                </a:ext>
              </a:extLst>
            </p:cNvPr>
            <p:cNvCxnSpPr>
              <a:cxnSpLocks/>
            </p:cNvCxnSpPr>
            <p:nvPr/>
          </p:nvCxnSpPr>
          <p:spPr>
            <a:xfrm flipH="1">
              <a:off x="14158654" y="5033169"/>
              <a:ext cx="723900" cy="0"/>
            </a:xfrm>
            <a:prstGeom prst="straightConnector1">
              <a:avLst/>
            </a:prstGeom>
            <a:ln w="15875" cap="rnd">
              <a:solidFill>
                <a:schemeClr val="tx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510" name="TextBox 509">
              <a:extLst>
                <a:ext uri="{FF2B5EF4-FFF2-40B4-BE49-F238E27FC236}">
                  <a16:creationId xmlns:a16="http://schemas.microsoft.com/office/drawing/2014/main" id="{D8522C56-3758-48ED-8F8C-778B3E7FC07A}"/>
                </a:ext>
              </a:extLst>
            </p:cNvPr>
            <p:cNvSpPr txBox="1"/>
            <p:nvPr/>
          </p:nvSpPr>
          <p:spPr>
            <a:xfrm>
              <a:off x="14158654" y="5064207"/>
              <a:ext cx="723900" cy="249141"/>
            </a:xfrm>
            <a:prstGeom prst="rect">
              <a:avLst/>
            </a:prstGeom>
            <a:noFill/>
            <a:ln w="6350">
              <a:noFill/>
            </a:ln>
          </p:spPr>
          <p:txBody>
            <a:bodyPr wrap="square" lIns="0" tIns="0" rIns="0" bIns="0" rtlCol="0" anchor="ctr">
              <a:noAutofit/>
            </a:bodyPr>
            <a:lstStyle/>
            <a:p>
              <a:pPr algn="ctr"/>
              <a:r>
                <a:rPr lang="en-IN" sz="900" b="1" dirty="0"/>
                <a:t>P2P</a:t>
              </a:r>
              <a:br>
                <a:rPr lang="en-IN" sz="900" b="1" dirty="0"/>
              </a:br>
              <a:r>
                <a:rPr lang="en-IN" sz="900" b="1" dirty="0"/>
                <a:t>Connection</a:t>
              </a:r>
              <a:endParaRPr lang="en-US" sz="900" b="1" dirty="0"/>
            </a:p>
          </p:txBody>
        </p:sp>
        <p:sp>
          <p:nvSpPr>
            <p:cNvPr id="511" name="TextBox 510">
              <a:extLst>
                <a:ext uri="{FF2B5EF4-FFF2-40B4-BE49-F238E27FC236}">
                  <a16:creationId xmlns:a16="http://schemas.microsoft.com/office/drawing/2014/main" id="{A624BCE7-B636-4A80-8180-E8F64AA66DCC}"/>
                </a:ext>
              </a:extLst>
            </p:cNvPr>
            <p:cNvSpPr txBox="1"/>
            <p:nvPr/>
          </p:nvSpPr>
          <p:spPr>
            <a:xfrm>
              <a:off x="13361420" y="5423337"/>
              <a:ext cx="890051" cy="298458"/>
            </a:xfrm>
            <a:prstGeom prst="rect">
              <a:avLst/>
            </a:prstGeom>
            <a:noFill/>
            <a:ln w="6350">
              <a:noFill/>
            </a:ln>
          </p:spPr>
          <p:txBody>
            <a:bodyPr wrap="square" lIns="0" tIns="0" rIns="0" bIns="0" rtlCol="0" anchor="ctr">
              <a:noAutofit/>
            </a:bodyPr>
            <a:lstStyle/>
            <a:p>
              <a:pPr algn="ctr"/>
              <a:r>
                <a:rPr lang="en-IN" sz="900" b="1" dirty="0"/>
                <a:t>Multimedia redirection </a:t>
              </a:r>
            </a:p>
          </p:txBody>
        </p:sp>
        <p:sp>
          <p:nvSpPr>
            <p:cNvPr id="512" name="TextBox 511">
              <a:extLst>
                <a:ext uri="{FF2B5EF4-FFF2-40B4-BE49-F238E27FC236}">
                  <a16:creationId xmlns:a16="http://schemas.microsoft.com/office/drawing/2014/main" id="{51110261-E3A5-4D25-AF8A-7F49F6CC4198}"/>
                </a:ext>
              </a:extLst>
            </p:cNvPr>
            <p:cNvSpPr txBox="1"/>
            <p:nvPr/>
          </p:nvSpPr>
          <p:spPr>
            <a:xfrm>
              <a:off x="14785317" y="5436200"/>
              <a:ext cx="890051" cy="298458"/>
            </a:xfrm>
            <a:prstGeom prst="rect">
              <a:avLst/>
            </a:prstGeom>
            <a:noFill/>
            <a:ln w="6350">
              <a:noFill/>
            </a:ln>
          </p:spPr>
          <p:txBody>
            <a:bodyPr wrap="square" lIns="0" tIns="0" rIns="0" bIns="0" rtlCol="0" anchor="ctr">
              <a:noAutofit/>
            </a:bodyPr>
            <a:lstStyle/>
            <a:p>
              <a:pPr algn="ctr"/>
              <a:r>
                <a:rPr lang="en-IN" sz="900" b="1" dirty="0"/>
                <a:t>Multimedia redirection </a:t>
              </a:r>
            </a:p>
          </p:txBody>
        </p:sp>
        <p:sp>
          <p:nvSpPr>
            <p:cNvPr id="513" name="TextBox 512">
              <a:extLst>
                <a:ext uri="{FF2B5EF4-FFF2-40B4-BE49-F238E27FC236}">
                  <a16:creationId xmlns:a16="http://schemas.microsoft.com/office/drawing/2014/main" id="{EA120C01-D14A-4BF5-AB7F-F365631A0BC8}"/>
                </a:ext>
              </a:extLst>
            </p:cNvPr>
            <p:cNvSpPr txBox="1"/>
            <p:nvPr/>
          </p:nvSpPr>
          <p:spPr>
            <a:xfrm>
              <a:off x="13361420" y="5774976"/>
              <a:ext cx="890051" cy="298458"/>
            </a:xfrm>
            <a:prstGeom prst="rect">
              <a:avLst/>
            </a:prstGeom>
            <a:noFill/>
            <a:ln w="6350">
              <a:noFill/>
            </a:ln>
          </p:spPr>
          <p:txBody>
            <a:bodyPr wrap="square" lIns="0" tIns="0" rIns="0" bIns="0" rtlCol="0" anchor="ctr">
              <a:noAutofit/>
            </a:bodyPr>
            <a:lstStyle/>
            <a:p>
              <a:pPr algn="ctr"/>
              <a:r>
                <a:rPr lang="en-IN" sz="900" b="1" dirty="0"/>
                <a:t>Per machine installation</a:t>
              </a:r>
            </a:p>
          </p:txBody>
        </p:sp>
        <p:sp>
          <p:nvSpPr>
            <p:cNvPr id="514" name="TextBox 513">
              <a:extLst>
                <a:ext uri="{FF2B5EF4-FFF2-40B4-BE49-F238E27FC236}">
                  <a16:creationId xmlns:a16="http://schemas.microsoft.com/office/drawing/2014/main" id="{80D90606-1CA1-4265-96FE-53FDFFE5446B}"/>
                </a:ext>
              </a:extLst>
            </p:cNvPr>
            <p:cNvSpPr txBox="1"/>
            <p:nvPr/>
          </p:nvSpPr>
          <p:spPr>
            <a:xfrm>
              <a:off x="14785317" y="5787838"/>
              <a:ext cx="890051" cy="298458"/>
            </a:xfrm>
            <a:prstGeom prst="rect">
              <a:avLst/>
            </a:prstGeom>
            <a:noFill/>
            <a:ln w="6350">
              <a:noFill/>
            </a:ln>
          </p:spPr>
          <p:txBody>
            <a:bodyPr wrap="square" lIns="0" tIns="0" rIns="0" bIns="0" rtlCol="0" anchor="ctr">
              <a:noAutofit/>
            </a:bodyPr>
            <a:lstStyle/>
            <a:p>
              <a:pPr algn="ctr"/>
              <a:r>
                <a:rPr lang="en-IN" sz="900" b="1" dirty="0"/>
                <a:t>Per machine installation</a:t>
              </a:r>
            </a:p>
          </p:txBody>
        </p:sp>
      </p:grpSp>
      <p:grpSp>
        <p:nvGrpSpPr>
          <p:cNvPr id="217" name="Group 216">
            <a:extLst>
              <a:ext uri="{FF2B5EF4-FFF2-40B4-BE49-F238E27FC236}">
                <a16:creationId xmlns:a16="http://schemas.microsoft.com/office/drawing/2014/main" id="{5358532E-309E-4FF2-AF9C-9A64DB4681E3}"/>
              </a:ext>
            </a:extLst>
          </p:cNvPr>
          <p:cNvGrpSpPr/>
          <p:nvPr/>
        </p:nvGrpSpPr>
        <p:grpSpPr>
          <a:xfrm>
            <a:off x="10052458" y="146014"/>
            <a:ext cx="2033626" cy="1015650"/>
            <a:chOff x="10052458" y="146014"/>
            <a:chExt cx="2033626" cy="1015650"/>
          </a:xfrm>
        </p:grpSpPr>
        <p:pic>
          <p:nvPicPr>
            <p:cNvPr id="219" name="Picture 218">
              <a:extLst>
                <a:ext uri="{FF2B5EF4-FFF2-40B4-BE49-F238E27FC236}">
                  <a16:creationId xmlns:a16="http://schemas.microsoft.com/office/drawing/2014/main" id="{F009E654-E37F-4FFB-962A-30693FF9C927}"/>
                </a:ext>
              </a:extLst>
            </p:cNvPr>
            <p:cNvPicPr>
              <a:picLocks noChangeAspect="1"/>
            </p:cNvPicPr>
            <p:nvPr/>
          </p:nvPicPr>
          <p:blipFill>
            <a:blip r:embed="rId10"/>
            <a:stretch>
              <a:fillRect/>
            </a:stretch>
          </p:blipFill>
          <p:spPr>
            <a:xfrm>
              <a:off x="10052458" y="146014"/>
              <a:ext cx="2033626" cy="1015650"/>
            </a:xfrm>
            <a:prstGeom prst="rect">
              <a:avLst/>
            </a:prstGeom>
          </p:spPr>
        </p:pic>
        <p:sp>
          <p:nvSpPr>
            <p:cNvPr id="220" name="Rectangle 219">
              <a:extLst>
                <a:ext uri="{FF2B5EF4-FFF2-40B4-BE49-F238E27FC236}">
                  <a16:creationId xmlns:a16="http://schemas.microsoft.com/office/drawing/2014/main" id="{78251CCC-6B8F-4A6A-B0FE-2CB3549128EE}"/>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85684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2"/>
            </p:custDataLst>
            <p:extLst>
              <p:ext uri="{D42A27DB-BD31-4B8C-83A1-F6EECF244321}">
                <p14:modId xmlns:p14="http://schemas.microsoft.com/office/powerpoint/2010/main" val="2281710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Slide" r:id="rId8" imgW="425" imgH="424" progId="TCLayout.ActiveDocument.1">
                  <p:embed/>
                </p:oleObj>
              </mc:Choice>
              <mc:Fallback>
                <p:oleObj name="think-cell Slide" r:id="rId8"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00" name="Freeform 199">
            <a:extLst>
              <a:ext uri="{FF2B5EF4-FFF2-40B4-BE49-F238E27FC236}">
                <a16:creationId xmlns:a16="http://schemas.microsoft.com/office/drawing/2014/main" id="{9519601A-BC21-4640-9731-2B9FFBEF17E8}"/>
              </a:ext>
            </a:extLst>
          </p:cNvPr>
          <p:cNvSpPr/>
          <p:nvPr/>
        </p:nvSpPr>
        <p:spPr>
          <a:xfrm>
            <a:off x="767286" y="1245870"/>
            <a:ext cx="10657428" cy="10096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1440" tIns="45720" rIns="91440" bIns="73152" rtlCol="0" anchor="b">
            <a:noAutofit/>
          </a:bodyPr>
          <a:lstStyle/>
          <a:p>
            <a:pPr algn="ctr" defTabSz="932472" fontAlgn="base"/>
            <a:r>
              <a:rPr lang="en-IN" sz="2400" kern="0" dirty="0">
                <a:solidFill>
                  <a:schemeClr val="bg1">
                    <a:lumMod val="75000"/>
                  </a:schemeClr>
                </a:solidFill>
                <a:latin typeface="+mj-lt"/>
                <a:cs typeface="JF Flat" panose="02000500000000000000" pitchFamily="2" charset="-78"/>
              </a:rPr>
              <a:t>Windows Virtual Desktop</a:t>
            </a:r>
          </a:p>
        </p:txBody>
      </p:sp>
      <p:sp>
        <p:nvSpPr>
          <p:cNvPr id="347" name="Freeform 200">
            <a:extLst>
              <a:ext uri="{FF2B5EF4-FFF2-40B4-BE49-F238E27FC236}">
                <a16:creationId xmlns:a16="http://schemas.microsoft.com/office/drawing/2014/main" id="{883C697A-3398-4751-9454-12153BB52DA1}"/>
              </a:ext>
            </a:extLst>
          </p:cNvPr>
          <p:cNvSpPr>
            <a:spLocks noChangeArrowheads="1"/>
          </p:cNvSpPr>
          <p:nvPr/>
        </p:nvSpPr>
        <p:spPr bwMode="auto">
          <a:xfrm>
            <a:off x="767285" y="6278383"/>
            <a:ext cx="10657430" cy="285930"/>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1440" tIns="45720" rIns="91440" bIns="4572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ctr" defTabSz="1088105" eaLnBrk="1" fontAlgn="auto" latinLnBrk="0" hangingPunct="1">
              <a:buClrTx/>
              <a:buSzTx/>
              <a:buFontTx/>
              <a:buNone/>
              <a:tabLst/>
              <a:defRPr/>
            </a:pPr>
            <a:endParaRPr kumimoji="0" lang="en-US" sz="1600" b="0" i="0" u="none" strike="noStrike" kern="0" cap="none" spc="0" normalizeH="0" baseline="0" noProof="0" dirty="0">
              <a:ln>
                <a:noFill/>
              </a:ln>
              <a:effectLst/>
              <a:uLnTx/>
              <a:uFillTx/>
              <a:latin typeface="+mn-lt"/>
              <a:cs typeface="JF Flat" panose="02000500000000000000" pitchFamily="2" charset="-78"/>
            </a:endParaRPr>
          </a:p>
        </p:txBody>
      </p:sp>
      <p:sp>
        <p:nvSpPr>
          <p:cNvPr id="348" name="Rectangle 347">
            <a:extLst>
              <a:ext uri="{FF2B5EF4-FFF2-40B4-BE49-F238E27FC236}">
                <a16:creationId xmlns:a16="http://schemas.microsoft.com/office/drawing/2014/main" id="{27F3A829-7746-4DB6-93D5-72D132890483}"/>
              </a:ext>
            </a:extLst>
          </p:cNvPr>
          <p:cNvSpPr/>
          <p:nvPr/>
        </p:nvSpPr>
        <p:spPr bwMode="auto">
          <a:xfrm>
            <a:off x="4407444" y="2313349"/>
            <a:ext cx="3377114" cy="933430"/>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tx1"/>
                </a:solidFill>
                <a:latin typeface="+mj-lt"/>
                <a:cs typeface="Segoe UI" pitchFamily="34" charset="0"/>
              </a:rPr>
              <a:t>Enhanced Security</a:t>
            </a:r>
          </a:p>
        </p:txBody>
      </p:sp>
      <p:sp>
        <p:nvSpPr>
          <p:cNvPr id="349" name="Rectangle 348">
            <a:extLst>
              <a:ext uri="{FF2B5EF4-FFF2-40B4-BE49-F238E27FC236}">
                <a16:creationId xmlns:a16="http://schemas.microsoft.com/office/drawing/2014/main" id="{ADD3347D-73D3-43D5-81FE-E212E9A9F461}"/>
              </a:ext>
            </a:extLst>
          </p:cNvPr>
          <p:cNvSpPr/>
          <p:nvPr/>
        </p:nvSpPr>
        <p:spPr bwMode="auto">
          <a:xfrm>
            <a:off x="7839679"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implified Management</a:t>
            </a:r>
          </a:p>
        </p:txBody>
      </p:sp>
      <p:sp>
        <p:nvSpPr>
          <p:cNvPr id="351" name="Rectangle 350">
            <a:extLst>
              <a:ext uri="{FF2B5EF4-FFF2-40B4-BE49-F238E27FC236}">
                <a16:creationId xmlns:a16="http://schemas.microsoft.com/office/drawing/2014/main" id="{E2CCF431-481A-45BF-BEFC-91805F75D40D}"/>
              </a:ext>
            </a:extLst>
          </p:cNvPr>
          <p:cNvSpPr/>
          <p:nvPr/>
        </p:nvSpPr>
        <p:spPr bwMode="auto">
          <a:xfrm>
            <a:off x="975207" y="3299188"/>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altLang="zh-CN" sz="1600" dirty="0">
                <a:solidFill>
                  <a:schemeClr val="bg1">
                    <a:lumMod val="75000"/>
                  </a:schemeClr>
                </a:solidFill>
                <a:latin typeface="+mj-lt"/>
                <a:cs typeface="Segoe UI" pitchFamily="34" charset="0"/>
              </a:rPr>
              <a:t>Azure</a:t>
            </a:r>
            <a:endParaRPr lang="en-US" sz="1600" dirty="0">
              <a:solidFill>
                <a:schemeClr val="bg1">
                  <a:lumMod val="75000"/>
                </a:schemeClr>
              </a:solidFill>
              <a:latin typeface="+mj-lt"/>
              <a:cs typeface="Segoe UI" pitchFamily="34" charset="0"/>
            </a:endParaRPr>
          </a:p>
        </p:txBody>
      </p:sp>
      <p:sp>
        <p:nvSpPr>
          <p:cNvPr id="352" name="Rectangle 351">
            <a:extLst>
              <a:ext uri="{FF2B5EF4-FFF2-40B4-BE49-F238E27FC236}">
                <a16:creationId xmlns:a16="http://schemas.microsoft.com/office/drawing/2014/main" id="{129BC990-3D91-481E-9CF7-331E78052AB4}"/>
              </a:ext>
            </a:extLst>
          </p:cNvPr>
          <p:cNvSpPr/>
          <p:nvPr/>
        </p:nvSpPr>
        <p:spPr bwMode="auto">
          <a:xfrm>
            <a:off x="975208"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Best User Experience</a:t>
            </a:r>
          </a:p>
        </p:txBody>
      </p:sp>
      <p:sp>
        <p:nvSpPr>
          <p:cNvPr id="354" name="TextBox 353">
            <a:extLst>
              <a:ext uri="{FF2B5EF4-FFF2-40B4-BE49-F238E27FC236}">
                <a16:creationId xmlns:a16="http://schemas.microsoft.com/office/drawing/2014/main" id="{E3C60369-3B3E-4262-A5E8-BDA0C0249B69}"/>
              </a:ext>
            </a:extLst>
          </p:cNvPr>
          <p:cNvSpPr txBox="1"/>
          <p:nvPr/>
        </p:nvSpPr>
        <p:spPr>
          <a:xfrm>
            <a:off x="3178753" y="3612015"/>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Standardized, Global, &amp; Secure</a:t>
            </a:r>
          </a:p>
        </p:txBody>
      </p:sp>
      <p:grpSp>
        <p:nvGrpSpPr>
          <p:cNvPr id="357" name="Group 356">
            <a:extLst>
              <a:ext uri="{FF2B5EF4-FFF2-40B4-BE49-F238E27FC236}">
                <a16:creationId xmlns:a16="http://schemas.microsoft.com/office/drawing/2014/main" id="{245A08AB-A91F-40BC-AA00-26519F041221}"/>
              </a:ext>
            </a:extLst>
          </p:cNvPr>
          <p:cNvGrpSpPr/>
          <p:nvPr/>
        </p:nvGrpSpPr>
        <p:grpSpPr>
          <a:xfrm>
            <a:off x="1119406" y="3654487"/>
            <a:ext cx="450579" cy="511733"/>
            <a:chOff x="2266365" y="4401648"/>
            <a:chExt cx="1241795" cy="1412971"/>
          </a:xfrm>
          <a:solidFill>
            <a:schemeClr val="bg1">
              <a:lumMod val="75000"/>
            </a:schemeClr>
          </a:solidFill>
        </p:grpSpPr>
        <p:sp>
          <p:nvSpPr>
            <p:cNvPr id="358" name="Oval 357">
              <a:extLst>
                <a:ext uri="{FF2B5EF4-FFF2-40B4-BE49-F238E27FC236}">
                  <a16:creationId xmlns:a16="http://schemas.microsoft.com/office/drawing/2014/main" id="{63F70C43-6C11-40F3-BD24-30A730566227}"/>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59" name="Oval 358">
              <a:extLst>
                <a:ext uri="{FF2B5EF4-FFF2-40B4-BE49-F238E27FC236}">
                  <a16:creationId xmlns:a16="http://schemas.microsoft.com/office/drawing/2014/main" id="{37A37B3F-F470-468A-A407-730E8A8D28A0}"/>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60" name="Freeform 297">
              <a:extLst>
                <a:ext uri="{FF2B5EF4-FFF2-40B4-BE49-F238E27FC236}">
                  <a16:creationId xmlns:a16="http://schemas.microsoft.com/office/drawing/2014/main" id="{E9F209B4-3B8D-45FC-967E-A35179AB917D}"/>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61" name="Oval 360">
              <a:extLst>
                <a:ext uri="{FF2B5EF4-FFF2-40B4-BE49-F238E27FC236}">
                  <a16:creationId xmlns:a16="http://schemas.microsoft.com/office/drawing/2014/main" id="{BDF45500-5E84-44B8-A4EA-1814E2534A97}"/>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62" name="Oval 361">
              <a:extLst>
                <a:ext uri="{FF2B5EF4-FFF2-40B4-BE49-F238E27FC236}">
                  <a16:creationId xmlns:a16="http://schemas.microsoft.com/office/drawing/2014/main" id="{801C9918-C084-4CFA-88E6-7EF1971EC852}"/>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63" name="Oval 362">
              <a:extLst>
                <a:ext uri="{FF2B5EF4-FFF2-40B4-BE49-F238E27FC236}">
                  <a16:creationId xmlns:a16="http://schemas.microsoft.com/office/drawing/2014/main" id="{DA7533CC-C8D3-4D23-9961-9B1F6F33BD78}"/>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364" name="Group 363">
              <a:extLst>
                <a:ext uri="{FF2B5EF4-FFF2-40B4-BE49-F238E27FC236}">
                  <a16:creationId xmlns:a16="http://schemas.microsoft.com/office/drawing/2014/main" id="{46341A2D-062B-4C72-8766-6E384B5D2DF1}"/>
                </a:ext>
              </a:extLst>
            </p:cNvPr>
            <p:cNvGrpSpPr/>
            <p:nvPr/>
          </p:nvGrpSpPr>
          <p:grpSpPr>
            <a:xfrm>
              <a:off x="3014928" y="5033031"/>
              <a:ext cx="459519" cy="459064"/>
              <a:chOff x="3112464" y="5057415"/>
              <a:chExt cx="459519" cy="459064"/>
            </a:xfrm>
            <a:grpFill/>
          </p:grpSpPr>
          <p:sp>
            <p:nvSpPr>
              <p:cNvPr id="382" name="Oval 381">
                <a:extLst>
                  <a:ext uri="{FF2B5EF4-FFF2-40B4-BE49-F238E27FC236}">
                    <a16:creationId xmlns:a16="http://schemas.microsoft.com/office/drawing/2014/main" id="{8DB0DF9A-183A-428A-8E6A-8BFE44A43F1A}"/>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3" name="Freeform 309">
                <a:extLst>
                  <a:ext uri="{FF2B5EF4-FFF2-40B4-BE49-F238E27FC236}">
                    <a16:creationId xmlns:a16="http://schemas.microsoft.com/office/drawing/2014/main" id="{0ED7FC5C-E9D6-4A4F-9FD7-14C1862F3AB5}"/>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4" name="Freeform 310">
                <a:extLst>
                  <a:ext uri="{FF2B5EF4-FFF2-40B4-BE49-F238E27FC236}">
                    <a16:creationId xmlns:a16="http://schemas.microsoft.com/office/drawing/2014/main" id="{DA425C6D-6F7C-4D8C-A533-676D2B420BC4}"/>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5" name="Freeform 311">
                <a:extLst>
                  <a:ext uri="{FF2B5EF4-FFF2-40B4-BE49-F238E27FC236}">
                    <a16:creationId xmlns:a16="http://schemas.microsoft.com/office/drawing/2014/main" id="{0541F6B1-CF27-4EC2-839E-B6E99B15751C}"/>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6" name="Freeform 312">
                <a:extLst>
                  <a:ext uri="{FF2B5EF4-FFF2-40B4-BE49-F238E27FC236}">
                    <a16:creationId xmlns:a16="http://schemas.microsoft.com/office/drawing/2014/main" id="{1ED973A4-4EEC-4477-B3DD-135640ED7E80}"/>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7" name="Rectangle 386">
                <a:extLst>
                  <a:ext uri="{FF2B5EF4-FFF2-40B4-BE49-F238E27FC236}">
                    <a16:creationId xmlns:a16="http://schemas.microsoft.com/office/drawing/2014/main" id="{FCC1A27C-2F5B-4A63-8F65-940EC199B5EE}"/>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8" name="Rectangle 387">
                <a:extLst>
                  <a:ext uri="{FF2B5EF4-FFF2-40B4-BE49-F238E27FC236}">
                    <a16:creationId xmlns:a16="http://schemas.microsoft.com/office/drawing/2014/main" id="{71E21F59-9A98-4933-A519-CE3A438010A7}"/>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sp>
          <p:nvSpPr>
            <p:cNvPr id="365" name="Freeform 331">
              <a:extLst>
                <a:ext uri="{FF2B5EF4-FFF2-40B4-BE49-F238E27FC236}">
                  <a16:creationId xmlns:a16="http://schemas.microsoft.com/office/drawing/2014/main" id="{2F352F42-2EA9-4A55-B681-134D970EF5D1}"/>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66" name="Freeform 332">
              <a:extLst>
                <a:ext uri="{FF2B5EF4-FFF2-40B4-BE49-F238E27FC236}">
                  <a16:creationId xmlns:a16="http://schemas.microsoft.com/office/drawing/2014/main" id="{5418E29E-3D15-4B46-97D8-5E18A313F7A9}"/>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67" name="Rectangle 333">
              <a:extLst>
                <a:ext uri="{FF2B5EF4-FFF2-40B4-BE49-F238E27FC236}">
                  <a16:creationId xmlns:a16="http://schemas.microsoft.com/office/drawing/2014/main" id="{A25A9216-D55A-4738-A599-2F3FB200E4D8}"/>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68" name="Rectangle 334">
              <a:extLst>
                <a:ext uri="{FF2B5EF4-FFF2-40B4-BE49-F238E27FC236}">
                  <a16:creationId xmlns:a16="http://schemas.microsoft.com/office/drawing/2014/main" id="{3E49460B-D121-47EC-8678-8EE49B7DFCC1}"/>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69" name="Rectangle 335">
              <a:extLst>
                <a:ext uri="{FF2B5EF4-FFF2-40B4-BE49-F238E27FC236}">
                  <a16:creationId xmlns:a16="http://schemas.microsoft.com/office/drawing/2014/main" id="{09787588-476A-491B-ABCF-B4072E5630AC}"/>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0" name="Rectangle 336">
              <a:extLst>
                <a:ext uri="{FF2B5EF4-FFF2-40B4-BE49-F238E27FC236}">
                  <a16:creationId xmlns:a16="http://schemas.microsoft.com/office/drawing/2014/main" id="{5C8CF926-7B84-4023-B75E-9F8F8CB17425}"/>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1" name="Rectangle 337">
              <a:extLst>
                <a:ext uri="{FF2B5EF4-FFF2-40B4-BE49-F238E27FC236}">
                  <a16:creationId xmlns:a16="http://schemas.microsoft.com/office/drawing/2014/main" id="{3A63445A-B3F8-4ACA-92F8-653C9CF22B34}"/>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372" name="Group 371">
              <a:extLst>
                <a:ext uri="{FF2B5EF4-FFF2-40B4-BE49-F238E27FC236}">
                  <a16:creationId xmlns:a16="http://schemas.microsoft.com/office/drawing/2014/main" id="{C6EAB44F-B679-4F5D-AACE-8D3A15940CE0}"/>
                </a:ext>
              </a:extLst>
            </p:cNvPr>
            <p:cNvGrpSpPr/>
            <p:nvPr/>
          </p:nvGrpSpPr>
          <p:grpSpPr>
            <a:xfrm>
              <a:off x="3120879" y="4597927"/>
              <a:ext cx="384756" cy="384300"/>
              <a:chOff x="3571983" y="4744231"/>
              <a:chExt cx="384756" cy="384300"/>
            </a:xfrm>
            <a:grpFill/>
          </p:grpSpPr>
          <p:sp>
            <p:nvSpPr>
              <p:cNvPr id="379" name="Oval 378">
                <a:extLst>
                  <a:ext uri="{FF2B5EF4-FFF2-40B4-BE49-F238E27FC236}">
                    <a16:creationId xmlns:a16="http://schemas.microsoft.com/office/drawing/2014/main" id="{B3E2F85B-17B1-4600-B76A-65BBB1FF8137}"/>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0" name="Freeform 338">
                <a:extLst>
                  <a:ext uri="{FF2B5EF4-FFF2-40B4-BE49-F238E27FC236}">
                    <a16:creationId xmlns:a16="http://schemas.microsoft.com/office/drawing/2014/main" id="{EC991A1B-F06F-4E25-A2C1-1DDAC2330B2C}"/>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1" name="Freeform 339">
                <a:extLst>
                  <a:ext uri="{FF2B5EF4-FFF2-40B4-BE49-F238E27FC236}">
                    <a16:creationId xmlns:a16="http://schemas.microsoft.com/office/drawing/2014/main" id="{1D7B433D-A8E7-4B35-AB8B-DDEC8CF51120}"/>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373" name="Group 372">
              <a:extLst>
                <a:ext uri="{FF2B5EF4-FFF2-40B4-BE49-F238E27FC236}">
                  <a16:creationId xmlns:a16="http://schemas.microsoft.com/office/drawing/2014/main" id="{1BDF90F1-D141-4100-AB74-22341338F47F}"/>
                </a:ext>
              </a:extLst>
            </p:cNvPr>
            <p:cNvGrpSpPr/>
            <p:nvPr/>
          </p:nvGrpSpPr>
          <p:grpSpPr>
            <a:xfrm>
              <a:off x="2782979" y="4401648"/>
              <a:ext cx="277626" cy="278082"/>
              <a:chOff x="3843683" y="4426032"/>
              <a:chExt cx="277626" cy="278082"/>
            </a:xfrm>
            <a:grpFill/>
          </p:grpSpPr>
          <p:sp>
            <p:nvSpPr>
              <p:cNvPr id="374" name="Oval 373">
                <a:extLst>
                  <a:ext uri="{FF2B5EF4-FFF2-40B4-BE49-F238E27FC236}">
                    <a16:creationId xmlns:a16="http://schemas.microsoft.com/office/drawing/2014/main" id="{8E9A2519-38F8-4564-AAE8-5AEA10B32534}"/>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5" name="Freeform 340">
                <a:extLst>
                  <a:ext uri="{FF2B5EF4-FFF2-40B4-BE49-F238E27FC236}">
                    <a16:creationId xmlns:a16="http://schemas.microsoft.com/office/drawing/2014/main" id="{18BB0749-6D55-4AC9-8AC4-E2BC24352A75}"/>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6" name="Freeform 341">
                <a:extLst>
                  <a:ext uri="{FF2B5EF4-FFF2-40B4-BE49-F238E27FC236}">
                    <a16:creationId xmlns:a16="http://schemas.microsoft.com/office/drawing/2014/main" id="{0DFDA0F7-D180-4C50-91FF-5001A4B3E4B6}"/>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7" name="Rectangle 342">
                <a:extLst>
                  <a:ext uri="{FF2B5EF4-FFF2-40B4-BE49-F238E27FC236}">
                    <a16:creationId xmlns:a16="http://schemas.microsoft.com/office/drawing/2014/main" id="{D20D7D03-911E-471B-BA7F-3549D2927A35}"/>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8" name="Freeform 343">
                <a:extLst>
                  <a:ext uri="{FF2B5EF4-FFF2-40B4-BE49-F238E27FC236}">
                    <a16:creationId xmlns:a16="http://schemas.microsoft.com/office/drawing/2014/main" id="{06C5C3F3-5F8B-4FD3-936A-931B74BB41BF}"/>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sp>
        <p:nvSpPr>
          <p:cNvPr id="350" name="Rectangle 349">
            <a:extLst>
              <a:ext uri="{FF2B5EF4-FFF2-40B4-BE49-F238E27FC236}">
                <a16:creationId xmlns:a16="http://schemas.microsoft.com/office/drawing/2014/main" id="{2BC482D9-907B-46E3-9B96-DA5A30FB87B6}"/>
              </a:ext>
            </a:extLst>
          </p:cNvPr>
          <p:cNvSpPr/>
          <p:nvPr/>
        </p:nvSpPr>
        <p:spPr bwMode="auto">
          <a:xfrm>
            <a:off x="975208" y="4301821"/>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uperior Economics</a:t>
            </a:r>
          </a:p>
        </p:txBody>
      </p:sp>
      <p:sp>
        <p:nvSpPr>
          <p:cNvPr id="355" name="TextBox 354">
            <a:extLst>
              <a:ext uri="{FF2B5EF4-FFF2-40B4-BE49-F238E27FC236}">
                <a16:creationId xmlns:a16="http://schemas.microsoft.com/office/drawing/2014/main" id="{D31B476C-1FBF-4A86-9369-E9AE9E76E518}"/>
              </a:ext>
            </a:extLst>
          </p:cNvPr>
          <p:cNvSpPr txBox="1"/>
          <p:nvPr/>
        </p:nvSpPr>
        <p:spPr>
          <a:xfrm>
            <a:off x="3178754" y="4614648"/>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Cost effective, Flexible, &amp; Opex</a:t>
            </a:r>
          </a:p>
        </p:txBody>
      </p:sp>
      <p:grpSp>
        <p:nvGrpSpPr>
          <p:cNvPr id="389" name="Group 388">
            <a:extLst>
              <a:ext uri="{FF2B5EF4-FFF2-40B4-BE49-F238E27FC236}">
                <a16:creationId xmlns:a16="http://schemas.microsoft.com/office/drawing/2014/main" id="{3E4A4697-EAB8-4D69-B539-E6E1C8F92744}"/>
              </a:ext>
            </a:extLst>
          </p:cNvPr>
          <p:cNvGrpSpPr>
            <a:grpSpLocks noChangeAspect="1"/>
          </p:cNvGrpSpPr>
          <p:nvPr/>
        </p:nvGrpSpPr>
        <p:grpSpPr>
          <a:xfrm>
            <a:off x="1144772" y="4653241"/>
            <a:ext cx="626689" cy="492542"/>
            <a:chOff x="2008187" y="2241223"/>
            <a:chExt cx="1068391" cy="909679"/>
          </a:xfrm>
          <a:solidFill>
            <a:schemeClr val="bg1">
              <a:lumMod val="75000"/>
            </a:schemeClr>
          </a:solidFill>
        </p:grpSpPr>
        <p:grpSp>
          <p:nvGrpSpPr>
            <p:cNvPr id="390" name="Group 389">
              <a:extLst>
                <a:ext uri="{FF2B5EF4-FFF2-40B4-BE49-F238E27FC236}">
                  <a16:creationId xmlns:a16="http://schemas.microsoft.com/office/drawing/2014/main" id="{14803CAC-1164-4A54-9C23-93BEB4DC368D}"/>
                </a:ext>
              </a:extLst>
            </p:cNvPr>
            <p:cNvGrpSpPr/>
            <p:nvPr/>
          </p:nvGrpSpPr>
          <p:grpSpPr>
            <a:xfrm>
              <a:off x="2064334" y="2241223"/>
              <a:ext cx="1012244" cy="811309"/>
              <a:chOff x="-1341882" y="2279901"/>
              <a:chExt cx="1941919" cy="1556440"/>
            </a:xfrm>
            <a:grpFill/>
          </p:grpSpPr>
          <p:sp>
            <p:nvSpPr>
              <p:cNvPr id="392" name="Rectangle 70">
                <a:extLst>
                  <a:ext uri="{FF2B5EF4-FFF2-40B4-BE49-F238E27FC236}">
                    <a16:creationId xmlns:a16="http://schemas.microsoft.com/office/drawing/2014/main" id="{3A6279D8-1ED6-49EA-B035-AA562BCC51D7}"/>
                  </a:ext>
                </a:extLst>
              </p:cNvPr>
              <p:cNvSpPr>
                <a:spLocks noChangeArrowheads="1"/>
              </p:cNvSpPr>
              <p:nvPr/>
            </p:nvSpPr>
            <p:spPr bwMode="auto">
              <a:xfrm>
                <a:off x="-135529" y="2948792"/>
                <a:ext cx="175980" cy="88754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93" name="Rectangle 71">
                <a:extLst>
                  <a:ext uri="{FF2B5EF4-FFF2-40B4-BE49-F238E27FC236}">
                    <a16:creationId xmlns:a16="http://schemas.microsoft.com/office/drawing/2014/main" id="{D6C4A687-9D34-4811-A4A2-48AEE53CF657}"/>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4" name="Freeform 72">
                <a:extLst>
                  <a:ext uri="{FF2B5EF4-FFF2-40B4-BE49-F238E27FC236}">
                    <a16:creationId xmlns:a16="http://schemas.microsoft.com/office/drawing/2014/main" id="{539B85B6-9450-4DFD-9AC2-B7280F0C5F7A}"/>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95" name="Freeform 73">
                <a:extLst>
                  <a:ext uri="{FF2B5EF4-FFF2-40B4-BE49-F238E27FC236}">
                    <a16:creationId xmlns:a16="http://schemas.microsoft.com/office/drawing/2014/main" id="{6C833666-9B0A-4291-9ADB-7A9F54F508FB}"/>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96" name="Freeform 74">
                <a:extLst>
                  <a:ext uri="{FF2B5EF4-FFF2-40B4-BE49-F238E27FC236}">
                    <a16:creationId xmlns:a16="http://schemas.microsoft.com/office/drawing/2014/main" id="{7479DA83-8EFA-4FA6-B525-6CFCE185B1E3}"/>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97" name="Freeform 75">
                <a:extLst>
                  <a:ext uri="{FF2B5EF4-FFF2-40B4-BE49-F238E27FC236}">
                    <a16:creationId xmlns:a16="http://schemas.microsoft.com/office/drawing/2014/main" id="{4DD8936E-2303-492C-8745-E45AC596916F}"/>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8" name="Freeform 76">
                <a:extLst>
                  <a:ext uri="{FF2B5EF4-FFF2-40B4-BE49-F238E27FC236}">
                    <a16:creationId xmlns:a16="http://schemas.microsoft.com/office/drawing/2014/main" id="{70933294-8B03-42A4-88AF-91BF37192F41}"/>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99" name="Freeform 77">
                <a:extLst>
                  <a:ext uri="{FF2B5EF4-FFF2-40B4-BE49-F238E27FC236}">
                    <a16:creationId xmlns:a16="http://schemas.microsoft.com/office/drawing/2014/main" id="{E42D6578-C224-4B8C-934A-09D4A2794447}"/>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0" name="Rectangle 78">
                <a:extLst>
                  <a:ext uri="{FF2B5EF4-FFF2-40B4-BE49-F238E27FC236}">
                    <a16:creationId xmlns:a16="http://schemas.microsoft.com/office/drawing/2014/main" id="{F69DF900-F64D-453D-B83D-A7E9F226F39C}"/>
                  </a:ext>
                </a:extLst>
              </p:cNvPr>
              <p:cNvSpPr>
                <a:spLocks noChangeArrowheads="1"/>
              </p:cNvSpPr>
              <p:nvPr/>
            </p:nvSpPr>
            <p:spPr bwMode="auto">
              <a:xfrm>
                <a:off x="-427553" y="3137524"/>
                <a:ext cx="175980" cy="69881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01" name="Rectangle 79">
                <a:extLst>
                  <a:ext uri="{FF2B5EF4-FFF2-40B4-BE49-F238E27FC236}">
                    <a16:creationId xmlns:a16="http://schemas.microsoft.com/office/drawing/2014/main" id="{A230CD72-D72D-4C45-939B-7AE522C54BD6}"/>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2" name="Freeform 80">
                <a:extLst>
                  <a:ext uri="{FF2B5EF4-FFF2-40B4-BE49-F238E27FC236}">
                    <a16:creationId xmlns:a16="http://schemas.microsoft.com/office/drawing/2014/main" id="{822A6ACB-AAB1-4719-9849-FE3586DF5899}"/>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03" name="Freeform 81">
                <a:extLst>
                  <a:ext uri="{FF2B5EF4-FFF2-40B4-BE49-F238E27FC236}">
                    <a16:creationId xmlns:a16="http://schemas.microsoft.com/office/drawing/2014/main" id="{191BB59A-6BC1-4AEB-8C8A-ABDCD0378CA5}"/>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04" name="Freeform 82">
                <a:extLst>
                  <a:ext uri="{FF2B5EF4-FFF2-40B4-BE49-F238E27FC236}">
                    <a16:creationId xmlns:a16="http://schemas.microsoft.com/office/drawing/2014/main" id="{9201A5F6-F593-4116-986C-5F9102D01829}"/>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05" name="Freeform 83">
                <a:extLst>
                  <a:ext uri="{FF2B5EF4-FFF2-40B4-BE49-F238E27FC236}">
                    <a16:creationId xmlns:a16="http://schemas.microsoft.com/office/drawing/2014/main" id="{F81C7577-5017-4EAA-8B6A-7372633050D9}"/>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06" name="Freeform 84">
                <a:extLst>
                  <a:ext uri="{FF2B5EF4-FFF2-40B4-BE49-F238E27FC236}">
                    <a16:creationId xmlns:a16="http://schemas.microsoft.com/office/drawing/2014/main" id="{8FC274BA-168F-42C9-BE59-D25E4315D409}"/>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7" name="Freeform 85">
                <a:extLst>
                  <a:ext uri="{FF2B5EF4-FFF2-40B4-BE49-F238E27FC236}">
                    <a16:creationId xmlns:a16="http://schemas.microsoft.com/office/drawing/2014/main" id="{DD467E38-8A9C-43A9-AEDF-1242671AB712}"/>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8" name="Freeform 86">
                <a:extLst>
                  <a:ext uri="{FF2B5EF4-FFF2-40B4-BE49-F238E27FC236}">
                    <a16:creationId xmlns:a16="http://schemas.microsoft.com/office/drawing/2014/main" id="{C7BCDF13-1628-4D0B-A7FD-8D511A167EDE}"/>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9" name="Freeform 87">
                <a:extLst>
                  <a:ext uri="{FF2B5EF4-FFF2-40B4-BE49-F238E27FC236}">
                    <a16:creationId xmlns:a16="http://schemas.microsoft.com/office/drawing/2014/main" id="{A7D2491A-CA49-4511-ACCF-E9544A3CF54C}"/>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0" name="Rectangle 88">
                <a:extLst>
                  <a:ext uri="{FF2B5EF4-FFF2-40B4-BE49-F238E27FC236}">
                    <a16:creationId xmlns:a16="http://schemas.microsoft.com/office/drawing/2014/main" id="{DA9E933B-CB79-4B89-95A6-7E359F6F9B94}"/>
                  </a:ext>
                </a:extLst>
              </p:cNvPr>
              <p:cNvSpPr>
                <a:spLocks noChangeArrowheads="1"/>
              </p:cNvSpPr>
              <p:nvPr/>
            </p:nvSpPr>
            <p:spPr bwMode="auto">
              <a:xfrm>
                <a:off x="-718302" y="3323704"/>
                <a:ext cx="174705" cy="51263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11" name="Rectangle 89">
                <a:extLst>
                  <a:ext uri="{FF2B5EF4-FFF2-40B4-BE49-F238E27FC236}">
                    <a16:creationId xmlns:a16="http://schemas.microsoft.com/office/drawing/2014/main" id="{B907036B-41A1-41D2-BFCA-C1AAB44142A9}"/>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2" name="Freeform 90">
                <a:extLst>
                  <a:ext uri="{FF2B5EF4-FFF2-40B4-BE49-F238E27FC236}">
                    <a16:creationId xmlns:a16="http://schemas.microsoft.com/office/drawing/2014/main" id="{AAF34CD2-F3C1-4043-A5A1-75A97EFF2FBF}"/>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13" name="Freeform 91">
                <a:extLst>
                  <a:ext uri="{FF2B5EF4-FFF2-40B4-BE49-F238E27FC236}">
                    <a16:creationId xmlns:a16="http://schemas.microsoft.com/office/drawing/2014/main" id="{37921F63-65C8-4E83-868C-1EF1407590F0}"/>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14" name="Freeform 92">
                <a:extLst>
                  <a:ext uri="{FF2B5EF4-FFF2-40B4-BE49-F238E27FC236}">
                    <a16:creationId xmlns:a16="http://schemas.microsoft.com/office/drawing/2014/main" id="{4FB28224-6D13-4DBA-9F80-39A76713BEE1}"/>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15" name="Freeform 93">
                <a:extLst>
                  <a:ext uri="{FF2B5EF4-FFF2-40B4-BE49-F238E27FC236}">
                    <a16:creationId xmlns:a16="http://schemas.microsoft.com/office/drawing/2014/main" id="{EEB4A82A-9076-4349-8CCE-FE5E60D2D622}"/>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16" name="Freeform 94">
                <a:extLst>
                  <a:ext uri="{FF2B5EF4-FFF2-40B4-BE49-F238E27FC236}">
                    <a16:creationId xmlns:a16="http://schemas.microsoft.com/office/drawing/2014/main" id="{03D8CD0C-23BF-4F4D-A004-2D8BD8BCEAD6}"/>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7" name="Freeform 95">
                <a:extLst>
                  <a:ext uri="{FF2B5EF4-FFF2-40B4-BE49-F238E27FC236}">
                    <a16:creationId xmlns:a16="http://schemas.microsoft.com/office/drawing/2014/main" id="{735C325A-98F9-448D-9B07-C6C6251C755E}"/>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8" name="Freeform 96">
                <a:extLst>
                  <a:ext uri="{FF2B5EF4-FFF2-40B4-BE49-F238E27FC236}">
                    <a16:creationId xmlns:a16="http://schemas.microsoft.com/office/drawing/2014/main" id="{317466AF-6584-403A-8FA2-41B303CAC634}"/>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9" name="Freeform 97">
                <a:extLst>
                  <a:ext uri="{FF2B5EF4-FFF2-40B4-BE49-F238E27FC236}">
                    <a16:creationId xmlns:a16="http://schemas.microsoft.com/office/drawing/2014/main" id="{BB724B1A-670E-42DD-B3B8-1377CCA6919B}"/>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0" name="Rectangle 98">
                <a:extLst>
                  <a:ext uri="{FF2B5EF4-FFF2-40B4-BE49-F238E27FC236}">
                    <a16:creationId xmlns:a16="http://schemas.microsoft.com/office/drawing/2014/main" id="{3FD9BDFA-2FCA-4173-9251-FC724CFC2CD7}"/>
                  </a:ext>
                </a:extLst>
              </p:cNvPr>
              <p:cNvSpPr>
                <a:spLocks noChangeArrowheads="1"/>
              </p:cNvSpPr>
              <p:nvPr/>
            </p:nvSpPr>
            <p:spPr bwMode="auto">
              <a:xfrm>
                <a:off x="-1009051" y="3511161"/>
                <a:ext cx="174705" cy="32518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21" name="Rectangle 99">
                <a:extLst>
                  <a:ext uri="{FF2B5EF4-FFF2-40B4-BE49-F238E27FC236}">
                    <a16:creationId xmlns:a16="http://schemas.microsoft.com/office/drawing/2014/main" id="{5C92B151-1E6F-4A51-854E-01AB890FAAA8}"/>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2" name="Freeform 100">
                <a:extLst>
                  <a:ext uri="{FF2B5EF4-FFF2-40B4-BE49-F238E27FC236}">
                    <a16:creationId xmlns:a16="http://schemas.microsoft.com/office/drawing/2014/main" id="{7AA296B6-E97F-4F7D-97B0-4AA0954023CB}"/>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49" name="Freeform 101">
                <a:extLst>
                  <a:ext uri="{FF2B5EF4-FFF2-40B4-BE49-F238E27FC236}">
                    <a16:creationId xmlns:a16="http://schemas.microsoft.com/office/drawing/2014/main" id="{9E310072-CA11-4DFD-82DA-0FD4340B1438}"/>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82" name="Freeform 102">
                <a:extLst>
                  <a:ext uri="{FF2B5EF4-FFF2-40B4-BE49-F238E27FC236}">
                    <a16:creationId xmlns:a16="http://schemas.microsoft.com/office/drawing/2014/main" id="{591C0147-D1E3-405B-9403-61170FF41D94}"/>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83" name="Freeform 103">
                <a:extLst>
                  <a:ext uri="{FF2B5EF4-FFF2-40B4-BE49-F238E27FC236}">
                    <a16:creationId xmlns:a16="http://schemas.microsoft.com/office/drawing/2014/main" id="{C4D44225-4328-4B6A-B50A-A913F6228E93}"/>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84" name="Freeform 104">
                <a:extLst>
                  <a:ext uri="{FF2B5EF4-FFF2-40B4-BE49-F238E27FC236}">
                    <a16:creationId xmlns:a16="http://schemas.microsoft.com/office/drawing/2014/main" id="{455774C4-68D6-48D1-A4E2-A1A03834B154}"/>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5" name="Freeform 105">
                <a:extLst>
                  <a:ext uri="{FF2B5EF4-FFF2-40B4-BE49-F238E27FC236}">
                    <a16:creationId xmlns:a16="http://schemas.microsoft.com/office/drawing/2014/main" id="{0BC4EB6C-1826-4255-A35F-04971DC4A825}"/>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6" name="Freeform 106">
                <a:extLst>
                  <a:ext uri="{FF2B5EF4-FFF2-40B4-BE49-F238E27FC236}">
                    <a16:creationId xmlns:a16="http://schemas.microsoft.com/office/drawing/2014/main" id="{75EAA6EC-A66F-4552-A4E0-D5F6E98113E1}"/>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7" name="Freeform 107">
                <a:extLst>
                  <a:ext uri="{FF2B5EF4-FFF2-40B4-BE49-F238E27FC236}">
                    <a16:creationId xmlns:a16="http://schemas.microsoft.com/office/drawing/2014/main" id="{2D7AD759-6EC1-4E58-9A49-B1D02924D80A}"/>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8" name="Rectangle 108">
                <a:extLst>
                  <a:ext uri="{FF2B5EF4-FFF2-40B4-BE49-F238E27FC236}">
                    <a16:creationId xmlns:a16="http://schemas.microsoft.com/office/drawing/2014/main" id="{EE6B966F-87DB-440E-9F23-F072DF7D7658}"/>
                  </a:ext>
                </a:extLst>
              </p:cNvPr>
              <p:cNvSpPr>
                <a:spLocks noChangeArrowheads="1"/>
              </p:cNvSpPr>
              <p:nvPr/>
            </p:nvSpPr>
            <p:spPr bwMode="auto">
              <a:xfrm>
                <a:off x="-1301075" y="3638682"/>
                <a:ext cx="175980" cy="19765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89" name="Rectangle 109">
                <a:extLst>
                  <a:ext uri="{FF2B5EF4-FFF2-40B4-BE49-F238E27FC236}">
                    <a16:creationId xmlns:a16="http://schemas.microsoft.com/office/drawing/2014/main" id="{C58268E6-318E-4DAB-B08B-C9F01AC138B6}"/>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0" name="Freeform 110">
                <a:extLst>
                  <a:ext uri="{FF2B5EF4-FFF2-40B4-BE49-F238E27FC236}">
                    <a16:creationId xmlns:a16="http://schemas.microsoft.com/office/drawing/2014/main" id="{43437469-5BDC-4A63-93BC-8F05883D8F8B}"/>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91" name="Freeform 111">
                <a:extLst>
                  <a:ext uri="{FF2B5EF4-FFF2-40B4-BE49-F238E27FC236}">
                    <a16:creationId xmlns:a16="http://schemas.microsoft.com/office/drawing/2014/main" id="{9AA77913-26A5-4FAA-B12C-4E7005B958C3}"/>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92" name="Freeform 112">
                <a:extLst>
                  <a:ext uri="{FF2B5EF4-FFF2-40B4-BE49-F238E27FC236}">
                    <a16:creationId xmlns:a16="http://schemas.microsoft.com/office/drawing/2014/main" id="{A914F105-0026-424E-AE89-B2F477CE162C}"/>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93" name="Freeform 113">
                <a:extLst>
                  <a:ext uri="{FF2B5EF4-FFF2-40B4-BE49-F238E27FC236}">
                    <a16:creationId xmlns:a16="http://schemas.microsoft.com/office/drawing/2014/main" id="{1E506257-4941-4750-B09D-C453AD757A34}"/>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94" name="Freeform 114">
                <a:extLst>
                  <a:ext uri="{FF2B5EF4-FFF2-40B4-BE49-F238E27FC236}">
                    <a16:creationId xmlns:a16="http://schemas.microsoft.com/office/drawing/2014/main" id="{4FB0C427-8F9E-4287-A04D-ADF80A560BDB}"/>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5" name="Freeform 115">
                <a:extLst>
                  <a:ext uri="{FF2B5EF4-FFF2-40B4-BE49-F238E27FC236}">
                    <a16:creationId xmlns:a16="http://schemas.microsoft.com/office/drawing/2014/main" id="{57FCF682-0D2D-40A4-B4E1-CA96A3F7DACC}"/>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6" name="Freeform 116">
                <a:extLst>
                  <a:ext uri="{FF2B5EF4-FFF2-40B4-BE49-F238E27FC236}">
                    <a16:creationId xmlns:a16="http://schemas.microsoft.com/office/drawing/2014/main" id="{495FC9DE-70D6-4BB1-8633-4EA38934B724}"/>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7" name="Freeform 117">
                <a:extLst>
                  <a:ext uri="{FF2B5EF4-FFF2-40B4-BE49-F238E27FC236}">
                    <a16:creationId xmlns:a16="http://schemas.microsoft.com/office/drawing/2014/main" id="{F0027B5B-A7AE-4C70-AF32-5C3EF70DB86D}"/>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598" name="Group 597">
                <a:extLst>
                  <a:ext uri="{FF2B5EF4-FFF2-40B4-BE49-F238E27FC236}">
                    <a16:creationId xmlns:a16="http://schemas.microsoft.com/office/drawing/2014/main" id="{2AD82A2A-F2F0-4B14-8523-3152F14CB293}"/>
                  </a:ext>
                </a:extLst>
              </p:cNvPr>
              <p:cNvGrpSpPr/>
              <p:nvPr/>
            </p:nvGrpSpPr>
            <p:grpSpPr>
              <a:xfrm>
                <a:off x="-54543" y="2279901"/>
                <a:ext cx="654580" cy="588705"/>
                <a:chOff x="-54543" y="2279901"/>
                <a:chExt cx="654580" cy="588705"/>
              </a:xfrm>
              <a:grpFill/>
            </p:grpSpPr>
            <p:sp>
              <p:nvSpPr>
                <p:cNvPr id="607" name="Freeform 68">
                  <a:extLst>
                    <a:ext uri="{FF2B5EF4-FFF2-40B4-BE49-F238E27FC236}">
                      <a16:creationId xmlns:a16="http://schemas.microsoft.com/office/drawing/2014/main" id="{FD2A7AC9-982F-4C3E-AB22-4D09C870DE4E}"/>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08" name="Freeform 118">
                  <a:extLst>
                    <a:ext uri="{FF2B5EF4-FFF2-40B4-BE49-F238E27FC236}">
                      <a16:creationId xmlns:a16="http://schemas.microsoft.com/office/drawing/2014/main" id="{164D05B7-AC67-472C-99A7-5D90F2FDBCCA}"/>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09" name="Freeform 119">
                  <a:extLst>
                    <a:ext uri="{FF2B5EF4-FFF2-40B4-BE49-F238E27FC236}">
                      <a16:creationId xmlns:a16="http://schemas.microsoft.com/office/drawing/2014/main" id="{D4790D19-E4FF-4405-BF93-9598242FAF29}"/>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0" name="Freeform 120">
                  <a:extLst>
                    <a:ext uri="{FF2B5EF4-FFF2-40B4-BE49-F238E27FC236}">
                      <a16:creationId xmlns:a16="http://schemas.microsoft.com/office/drawing/2014/main" id="{948D22B4-B979-4EA8-AE82-8B22E494D9FD}"/>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1" name="Freeform 121">
                  <a:extLst>
                    <a:ext uri="{FF2B5EF4-FFF2-40B4-BE49-F238E27FC236}">
                      <a16:creationId xmlns:a16="http://schemas.microsoft.com/office/drawing/2014/main" id="{491B1208-893A-4576-ADEE-71B9FBCFC57A}"/>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2" name="Freeform 122">
                  <a:extLst>
                    <a:ext uri="{FF2B5EF4-FFF2-40B4-BE49-F238E27FC236}">
                      <a16:creationId xmlns:a16="http://schemas.microsoft.com/office/drawing/2014/main" id="{9A8188EE-7CC6-445D-81E2-70ECB9E6FA5B}"/>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13" name="Freeform 124">
                  <a:extLst>
                    <a:ext uri="{FF2B5EF4-FFF2-40B4-BE49-F238E27FC236}">
                      <a16:creationId xmlns:a16="http://schemas.microsoft.com/office/drawing/2014/main" id="{E5D2321E-17B5-45A6-90A8-479617691256}"/>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4" name="Freeform 125">
                  <a:extLst>
                    <a:ext uri="{FF2B5EF4-FFF2-40B4-BE49-F238E27FC236}">
                      <a16:creationId xmlns:a16="http://schemas.microsoft.com/office/drawing/2014/main" id="{B9FD211E-6CB3-4EDF-8F98-742D6F5924E1}"/>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5" name="Freeform 126">
                  <a:extLst>
                    <a:ext uri="{FF2B5EF4-FFF2-40B4-BE49-F238E27FC236}">
                      <a16:creationId xmlns:a16="http://schemas.microsoft.com/office/drawing/2014/main" id="{9D9B05F7-85CE-4E90-820A-3DBAA4C7ED2E}"/>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6" name="Freeform 127">
                  <a:extLst>
                    <a:ext uri="{FF2B5EF4-FFF2-40B4-BE49-F238E27FC236}">
                      <a16:creationId xmlns:a16="http://schemas.microsoft.com/office/drawing/2014/main" id="{DED6B2EA-D9C9-409A-BBA3-26C6AA5354D0}"/>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7" name="Freeform 128">
                  <a:extLst>
                    <a:ext uri="{FF2B5EF4-FFF2-40B4-BE49-F238E27FC236}">
                      <a16:creationId xmlns:a16="http://schemas.microsoft.com/office/drawing/2014/main" id="{51AAB5D9-B7A7-410C-8217-1DAEB8CC5C13}"/>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8" name="Freeform 129">
                  <a:extLst>
                    <a:ext uri="{FF2B5EF4-FFF2-40B4-BE49-F238E27FC236}">
                      <a16:creationId xmlns:a16="http://schemas.microsoft.com/office/drawing/2014/main" id="{06E71CAE-EDDE-4EA3-B4ED-BBD09BA67EA0}"/>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19" name="Freeform 130">
                  <a:extLst>
                    <a:ext uri="{FF2B5EF4-FFF2-40B4-BE49-F238E27FC236}">
                      <a16:creationId xmlns:a16="http://schemas.microsoft.com/office/drawing/2014/main" id="{EB5B2EF4-1677-4B0E-9CE9-32797FBC0960}"/>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0" name="Freeform 131">
                  <a:extLst>
                    <a:ext uri="{FF2B5EF4-FFF2-40B4-BE49-F238E27FC236}">
                      <a16:creationId xmlns:a16="http://schemas.microsoft.com/office/drawing/2014/main" id="{DDDE42D5-E1CE-48BF-B2D5-F2CEB7D74AEA}"/>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1" name="Freeform 132">
                  <a:extLst>
                    <a:ext uri="{FF2B5EF4-FFF2-40B4-BE49-F238E27FC236}">
                      <a16:creationId xmlns:a16="http://schemas.microsoft.com/office/drawing/2014/main" id="{F758D77E-DC1D-4C01-946D-CB35D18A7CB0}"/>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2" name="Freeform 133">
                  <a:extLst>
                    <a:ext uri="{FF2B5EF4-FFF2-40B4-BE49-F238E27FC236}">
                      <a16:creationId xmlns:a16="http://schemas.microsoft.com/office/drawing/2014/main" id="{1C084A63-EC8B-4E90-BF59-658262815F3C}"/>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599" name="Group 598">
                <a:extLst>
                  <a:ext uri="{FF2B5EF4-FFF2-40B4-BE49-F238E27FC236}">
                    <a16:creationId xmlns:a16="http://schemas.microsoft.com/office/drawing/2014/main" id="{19DAB7C9-FB91-4CBB-852E-02D40211BC1E}"/>
                  </a:ext>
                </a:extLst>
              </p:cNvPr>
              <p:cNvGrpSpPr/>
              <p:nvPr/>
            </p:nvGrpSpPr>
            <p:grpSpPr>
              <a:xfrm>
                <a:off x="-108104" y="2554074"/>
                <a:ext cx="132971" cy="160137"/>
                <a:chOff x="7094929" y="5488305"/>
                <a:chExt cx="132971" cy="160137"/>
              </a:xfrm>
              <a:grpFill/>
            </p:grpSpPr>
            <p:sp>
              <p:nvSpPr>
                <p:cNvPr id="605" name="Freeform 66">
                  <a:extLst>
                    <a:ext uri="{FF2B5EF4-FFF2-40B4-BE49-F238E27FC236}">
                      <a16:creationId xmlns:a16="http://schemas.microsoft.com/office/drawing/2014/main" id="{8270F0B6-CA9B-4996-B96D-3D4A8F8BF096}"/>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06" name="Freeform 127">
                  <a:extLst>
                    <a:ext uri="{FF2B5EF4-FFF2-40B4-BE49-F238E27FC236}">
                      <a16:creationId xmlns:a16="http://schemas.microsoft.com/office/drawing/2014/main" id="{1E433ECB-A731-49DF-8F4B-778E15ABD694}"/>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600" name="Freeform 127">
                <a:extLst>
                  <a:ext uri="{FF2B5EF4-FFF2-40B4-BE49-F238E27FC236}">
                    <a16:creationId xmlns:a16="http://schemas.microsoft.com/office/drawing/2014/main" id="{99361DEC-7F85-46C3-A801-91F5C21C2203}"/>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601" name="Freeform 127">
                <a:extLst>
                  <a:ext uri="{FF2B5EF4-FFF2-40B4-BE49-F238E27FC236}">
                    <a16:creationId xmlns:a16="http://schemas.microsoft.com/office/drawing/2014/main" id="{8DC287DD-6B98-4E4E-A7CE-29031DB2BAB2}"/>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602" name="Freeform 127">
                <a:extLst>
                  <a:ext uri="{FF2B5EF4-FFF2-40B4-BE49-F238E27FC236}">
                    <a16:creationId xmlns:a16="http://schemas.microsoft.com/office/drawing/2014/main" id="{7E6EB90C-B362-46D5-A8A1-7DA533ECE6FD}"/>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603" name="Freeform 127">
                <a:extLst>
                  <a:ext uri="{FF2B5EF4-FFF2-40B4-BE49-F238E27FC236}">
                    <a16:creationId xmlns:a16="http://schemas.microsoft.com/office/drawing/2014/main" id="{0109B4E7-475F-4909-A76A-69716F55EB1D}"/>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604" name="Freeform 127">
                <a:extLst>
                  <a:ext uri="{FF2B5EF4-FFF2-40B4-BE49-F238E27FC236}">
                    <a16:creationId xmlns:a16="http://schemas.microsoft.com/office/drawing/2014/main" id="{F5F911B7-0D6C-4975-A22A-6658FBDD58A6}"/>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391" name="Rectangle 390">
              <a:extLst>
                <a:ext uri="{FF2B5EF4-FFF2-40B4-BE49-F238E27FC236}">
                  <a16:creationId xmlns:a16="http://schemas.microsoft.com/office/drawing/2014/main" id="{3E01492F-82EE-473C-BB0B-711E0D9D04EA}"/>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623" name="Group 622">
            <a:extLst>
              <a:ext uri="{FF2B5EF4-FFF2-40B4-BE49-F238E27FC236}">
                <a16:creationId xmlns:a16="http://schemas.microsoft.com/office/drawing/2014/main" id="{32099EF6-46DC-4AED-B43D-02B90BDD0CCF}"/>
              </a:ext>
            </a:extLst>
          </p:cNvPr>
          <p:cNvGrpSpPr/>
          <p:nvPr/>
        </p:nvGrpSpPr>
        <p:grpSpPr>
          <a:xfrm>
            <a:off x="10504155" y="2496766"/>
            <a:ext cx="616488" cy="651720"/>
            <a:chOff x="13973841" y="3823518"/>
            <a:chExt cx="1577751" cy="1687170"/>
          </a:xfrm>
          <a:solidFill>
            <a:schemeClr val="bg1">
              <a:lumMod val="75000"/>
            </a:schemeClr>
          </a:solidFill>
        </p:grpSpPr>
        <p:sp>
          <p:nvSpPr>
            <p:cNvPr id="624" name="Oval 240">
              <a:extLst>
                <a:ext uri="{FF2B5EF4-FFF2-40B4-BE49-F238E27FC236}">
                  <a16:creationId xmlns:a16="http://schemas.microsoft.com/office/drawing/2014/main" id="{481C7000-0385-4607-BB00-B6CD2DCF776D}"/>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5" name="Oval 242">
              <a:extLst>
                <a:ext uri="{FF2B5EF4-FFF2-40B4-BE49-F238E27FC236}">
                  <a16:creationId xmlns:a16="http://schemas.microsoft.com/office/drawing/2014/main" id="{57110847-C30F-4838-832D-9A2BAE5BB137}"/>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6" name="Freeform 129">
              <a:extLst>
                <a:ext uri="{FF2B5EF4-FFF2-40B4-BE49-F238E27FC236}">
                  <a16:creationId xmlns:a16="http://schemas.microsoft.com/office/drawing/2014/main" id="{AD5FB967-9903-4707-BFB7-E9BA2CE05801}"/>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7" name="Freeform 130">
              <a:extLst>
                <a:ext uri="{FF2B5EF4-FFF2-40B4-BE49-F238E27FC236}">
                  <a16:creationId xmlns:a16="http://schemas.microsoft.com/office/drawing/2014/main" id="{75BCB241-C675-41D1-95CB-E763FD2DEBCB}"/>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8" name="Freeform 232">
              <a:extLst>
                <a:ext uri="{FF2B5EF4-FFF2-40B4-BE49-F238E27FC236}">
                  <a16:creationId xmlns:a16="http://schemas.microsoft.com/office/drawing/2014/main" id="{DE9FB336-4E02-4D65-B96B-FCA1705D553D}"/>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pic>
          <p:nvPicPr>
            <p:cNvPr id="629" name="Graphic 628">
              <a:extLst>
                <a:ext uri="{FF2B5EF4-FFF2-40B4-BE49-F238E27FC236}">
                  <a16:creationId xmlns:a16="http://schemas.microsoft.com/office/drawing/2014/main" id="{41168B99-473A-4B9E-8D66-C669E24926D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715068" y="3908875"/>
              <a:ext cx="192326" cy="150595"/>
            </a:xfrm>
            <a:prstGeom prst="rect">
              <a:avLst/>
            </a:prstGeom>
          </p:spPr>
        </p:pic>
        <p:sp>
          <p:nvSpPr>
            <p:cNvPr id="630" name="Oval 240">
              <a:extLst>
                <a:ext uri="{FF2B5EF4-FFF2-40B4-BE49-F238E27FC236}">
                  <a16:creationId xmlns:a16="http://schemas.microsoft.com/office/drawing/2014/main" id="{BABE63EC-5BA1-484D-A836-AD6DC0F92B43}"/>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31" name="Oval 240">
              <a:extLst>
                <a:ext uri="{FF2B5EF4-FFF2-40B4-BE49-F238E27FC236}">
                  <a16:creationId xmlns:a16="http://schemas.microsoft.com/office/drawing/2014/main" id="{9EB1531B-4CFF-49D1-A44C-B8E8217E3998}"/>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32" name="Circle: Hollow 631">
              <a:extLst>
                <a:ext uri="{FF2B5EF4-FFF2-40B4-BE49-F238E27FC236}">
                  <a16:creationId xmlns:a16="http://schemas.microsoft.com/office/drawing/2014/main" id="{30FE5853-E430-426C-8C37-AA10B20C3310}"/>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sp>
          <p:nvSpPr>
            <p:cNvPr id="633" name="Freeform 501">
              <a:extLst>
                <a:ext uri="{FF2B5EF4-FFF2-40B4-BE49-F238E27FC236}">
                  <a16:creationId xmlns:a16="http://schemas.microsoft.com/office/drawing/2014/main" id="{706739A5-8A46-4AC9-A2D3-2859DC40589F}"/>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34" name="Rounded Rectangle 13">
              <a:extLst>
                <a:ext uri="{FF2B5EF4-FFF2-40B4-BE49-F238E27FC236}">
                  <a16:creationId xmlns:a16="http://schemas.microsoft.com/office/drawing/2014/main" id="{04AC3AEB-1492-4E6E-8C02-1B44C11D2CE0}"/>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635" name="Freeform: Shape 634">
              <a:extLst>
                <a:ext uri="{FF2B5EF4-FFF2-40B4-BE49-F238E27FC236}">
                  <a16:creationId xmlns:a16="http://schemas.microsoft.com/office/drawing/2014/main" id="{84F226E6-E723-4315-8E20-1E9BC7056D42}"/>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725" name="Group 724">
            <a:extLst>
              <a:ext uri="{FF2B5EF4-FFF2-40B4-BE49-F238E27FC236}">
                <a16:creationId xmlns:a16="http://schemas.microsoft.com/office/drawing/2014/main" id="{35324EAE-73D7-4774-99D7-1F4DB68C5E7B}"/>
              </a:ext>
            </a:extLst>
          </p:cNvPr>
          <p:cNvGrpSpPr/>
          <p:nvPr/>
        </p:nvGrpSpPr>
        <p:grpSpPr>
          <a:xfrm>
            <a:off x="3124214" y="2758441"/>
            <a:ext cx="1120333" cy="385043"/>
            <a:chOff x="8598308" y="5131729"/>
            <a:chExt cx="2593567" cy="965651"/>
          </a:xfrm>
          <a:solidFill>
            <a:schemeClr val="bg1">
              <a:lumMod val="75000"/>
            </a:schemeClr>
          </a:solidFill>
        </p:grpSpPr>
        <p:grpSp>
          <p:nvGrpSpPr>
            <p:cNvPr id="726" name="Group 725">
              <a:extLst>
                <a:ext uri="{FF2B5EF4-FFF2-40B4-BE49-F238E27FC236}">
                  <a16:creationId xmlns:a16="http://schemas.microsoft.com/office/drawing/2014/main" id="{BBB6F06C-5D01-4A57-8D31-95E0A2F66B5A}"/>
                </a:ext>
              </a:extLst>
            </p:cNvPr>
            <p:cNvGrpSpPr>
              <a:grpSpLocks noChangeAspect="1"/>
            </p:cNvGrpSpPr>
            <p:nvPr/>
          </p:nvGrpSpPr>
          <p:grpSpPr>
            <a:xfrm>
              <a:off x="8706960" y="5131729"/>
              <a:ext cx="2361059" cy="927114"/>
              <a:chOff x="13708063" y="7653374"/>
              <a:chExt cx="17978438" cy="7059577"/>
            </a:xfrm>
            <a:grpFill/>
          </p:grpSpPr>
          <p:sp>
            <p:nvSpPr>
              <p:cNvPr id="728" name="Freeform 5">
                <a:extLst>
                  <a:ext uri="{FF2B5EF4-FFF2-40B4-BE49-F238E27FC236}">
                    <a16:creationId xmlns:a16="http://schemas.microsoft.com/office/drawing/2014/main" id="{5D9F1BBA-9D81-4BEA-AE5E-85ED7E057D40}"/>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9" name="Freeform 6">
                <a:extLst>
                  <a:ext uri="{FF2B5EF4-FFF2-40B4-BE49-F238E27FC236}">
                    <a16:creationId xmlns:a16="http://schemas.microsoft.com/office/drawing/2014/main" id="{12DBA2DB-1036-4474-B465-E5A22287C2C1}"/>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0" name="Freeform 7">
                <a:extLst>
                  <a:ext uri="{FF2B5EF4-FFF2-40B4-BE49-F238E27FC236}">
                    <a16:creationId xmlns:a16="http://schemas.microsoft.com/office/drawing/2014/main" id="{FB438FF6-F66D-42A4-8360-FC6A0BB9FA92}"/>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1" name="Freeform 8">
                <a:extLst>
                  <a:ext uri="{FF2B5EF4-FFF2-40B4-BE49-F238E27FC236}">
                    <a16:creationId xmlns:a16="http://schemas.microsoft.com/office/drawing/2014/main" id="{58F9AA14-9490-4BB8-831D-6B5865195A56}"/>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2" name="Freeform 9">
                <a:extLst>
                  <a:ext uri="{FF2B5EF4-FFF2-40B4-BE49-F238E27FC236}">
                    <a16:creationId xmlns:a16="http://schemas.microsoft.com/office/drawing/2014/main" id="{2AB5D875-E1A8-48FC-8BD9-7747DF7F0889}"/>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3" name="Freeform 10">
                <a:extLst>
                  <a:ext uri="{FF2B5EF4-FFF2-40B4-BE49-F238E27FC236}">
                    <a16:creationId xmlns:a16="http://schemas.microsoft.com/office/drawing/2014/main" id="{D263BA52-C558-438A-B290-F134544DEC8D}"/>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4" name="Freeform 11">
                <a:extLst>
                  <a:ext uri="{FF2B5EF4-FFF2-40B4-BE49-F238E27FC236}">
                    <a16:creationId xmlns:a16="http://schemas.microsoft.com/office/drawing/2014/main" id="{37FBAAD7-AABE-432D-BE82-F4E73A812A9D}"/>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5" name="Freeform 12">
                <a:extLst>
                  <a:ext uri="{FF2B5EF4-FFF2-40B4-BE49-F238E27FC236}">
                    <a16:creationId xmlns:a16="http://schemas.microsoft.com/office/drawing/2014/main" id="{4BD2A35C-622B-47E3-B622-4AE9AE0952D2}"/>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6" name="Freeform 13">
                <a:extLst>
                  <a:ext uri="{FF2B5EF4-FFF2-40B4-BE49-F238E27FC236}">
                    <a16:creationId xmlns:a16="http://schemas.microsoft.com/office/drawing/2014/main" id="{9D1CB6F6-36A2-4C96-8CCF-C84051A26DFC}"/>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7" name="Freeform 14">
                <a:extLst>
                  <a:ext uri="{FF2B5EF4-FFF2-40B4-BE49-F238E27FC236}">
                    <a16:creationId xmlns:a16="http://schemas.microsoft.com/office/drawing/2014/main" id="{EE70E61A-0B55-4C33-86F0-1DBAC1EEC009}"/>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8" name="Freeform 15">
                <a:extLst>
                  <a:ext uri="{FF2B5EF4-FFF2-40B4-BE49-F238E27FC236}">
                    <a16:creationId xmlns:a16="http://schemas.microsoft.com/office/drawing/2014/main" id="{DE7BDD41-B190-48D2-B5D4-225A4CFC26EC}"/>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9" name="Freeform 16">
                <a:extLst>
                  <a:ext uri="{FF2B5EF4-FFF2-40B4-BE49-F238E27FC236}">
                    <a16:creationId xmlns:a16="http://schemas.microsoft.com/office/drawing/2014/main" id="{E065E170-8B34-4F3D-8599-BAF957994F42}"/>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0" name="Freeform 17">
                <a:extLst>
                  <a:ext uri="{FF2B5EF4-FFF2-40B4-BE49-F238E27FC236}">
                    <a16:creationId xmlns:a16="http://schemas.microsoft.com/office/drawing/2014/main" id="{8E7E83F9-2EC8-441C-81CA-14EE307D1AF2}"/>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1" name="Freeform 18">
                <a:extLst>
                  <a:ext uri="{FF2B5EF4-FFF2-40B4-BE49-F238E27FC236}">
                    <a16:creationId xmlns:a16="http://schemas.microsoft.com/office/drawing/2014/main" id="{10FA9FF7-A272-4240-862E-BD7A8B80391F}"/>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2" name="Freeform 19">
                <a:extLst>
                  <a:ext uri="{FF2B5EF4-FFF2-40B4-BE49-F238E27FC236}">
                    <a16:creationId xmlns:a16="http://schemas.microsoft.com/office/drawing/2014/main" id="{0BEECEE7-916C-49FE-BA13-E4AAA62932DB}"/>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3" name="Freeform 20">
                <a:extLst>
                  <a:ext uri="{FF2B5EF4-FFF2-40B4-BE49-F238E27FC236}">
                    <a16:creationId xmlns:a16="http://schemas.microsoft.com/office/drawing/2014/main" id="{B1861C91-8DF4-488C-906B-0D66F3016697}"/>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4" name="Freeform 21">
                <a:extLst>
                  <a:ext uri="{FF2B5EF4-FFF2-40B4-BE49-F238E27FC236}">
                    <a16:creationId xmlns:a16="http://schemas.microsoft.com/office/drawing/2014/main" id="{8C1EAF33-414B-4AE8-863B-BAB68A14E6FC}"/>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5" name="Freeform 22">
                <a:extLst>
                  <a:ext uri="{FF2B5EF4-FFF2-40B4-BE49-F238E27FC236}">
                    <a16:creationId xmlns:a16="http://schemas.microsoft.com/office/drawing/2014/main" id="{405C26F7-5B07-4F08-88D8-99824539CA79}"/>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6" name="Freeform 23">
                <a:extLst>
                  <a:ext uri="{FF2B5EF4-FFF2-40B4-BE49-F238E27FC236}">
                    <a16:creationId xmlns:a16="http://schemas.microsoft.com/office/drawing/2014/main" id="{F54EF8E3-1637-45A9-8C79-F84F7FA44BA0}"/>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7" name="Freeform 24">
                <a:extLst>
                  <a:ext uri="{FF2B5EF4-FFF2-40B4-BE49-F238E27FC236}">
                    <a16:creationId xmlns:a16="http://schemas.microsoft.com/office/drawing/2014/main" id="{C88F9015-BD18-4CFC-81FC-896817027D48}"/>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8" name="Freeform 25">
                <a:extLst>
                  <a:ext uri="{FF2B5EF4-FFF2-40B4-BE49-F238E27FC236}">
                    <a16:creationId xmlns:a16="http://schemas.microsoft.com/office/drawing/2014/main" id="{9561C1BE-7860-47E4-B0FD-F37B581B79B7}"/>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9" name="Freeform 26">
                <a:extLst>
                  <a:ext uri="{FF2B5EF4-FFF2-40B4-BE49-F238E27FC236}">
                    <a16:creationId xmlns:a16="http://schemas.microsoft.com/office/drawing/2014/main" id="{33623846-8B9E-4F96-858C-403B3F6A911B}"/>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0" name="Freeform 27">
                <a:extLst>
                  <a:ext uri="{FF2B5EF4-FFF2-40B4-BE49-F238E27FC236}">
                    <a16:creationId xmlns:a16="http://schemas.microsoft.com/office/drawing/2014/main" id="{5D262A97-3D11-4796-80CC-01E9765A0BB5}"/>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1" name="Freeform 28">
                <a:extLst>
                  <a:ext uri="{FF2B5EF4-FFF2-40B4-BE49-F238E27FC236}">
                    <a16:creationId xmlns:a16="http://schemas.microsoft.com/office/drawing/2014/main" id="{3971C18C-8385-4DDD-A0C4-8E4EB7BC8FD4}"/>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2" name="Freeform 30">
                <a:extLst>
                  <a:ext uri="{FF2B5EF4-FFF2-40B4-BE49-F238E27FC236}">
                    <a16:creationId xmlns:a16="http://schemas.microsoft.com/office/drawing/2014/main" id="{2CFD5B66-EB66-4A81-BD6A-480BCDA9515B}"/>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3" name="Freeform 31">
                <a:extLst>
                  <a:ext uri="{FF2B5EF4-FFF2-40B4-BE49-F238E27FC236}">
                    <a16:creationId xmlns:a16="http://schemas.microsoft.com/office/drawing/2014/main" id="{9F7C5BC4-AB57-4000-9468-A045C35623EE}"/>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4" name="Freeform 32">
                <a:extLst>
                  <a:ext uri="{FF2B5EF4-FFF2-40B4-BE49-F238E27FC236}">
                    <a16:creationId xmlns:a16="http://schemas.microsoft.com/office/drawing/2014/main" id="{446EFFFD-6407-4BCD-9B1A-2402412E6020}"/>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5" name="Freeform 33">
                <a:extLst>
                  <a:ext uri="{FF2B5EF4-FFF2-40B4-BE49-F238E27FC236}">
                    <a16:creationId xmlns:a16="http://schemas.microsoft.com/office/drawing/2014/main" id="{D8534498-56B3-4DD6-BFF5-167659961E25}"/>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6" name="Freeform 37">
                <a:extLst>
                  <a:ext uri="{FF2B5EF4-FFF2-40B4-BE49-F238E27FC236}">
                    <a16:creationId xmlns:a16="http://schemas.microsoft.com/office/drawing/2014/main" id="{F0E67342-F88D-4F88-A05F-3558F368E86E}"/>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7" name="Rectangle 38">
                <a:extLst>
                  <a:ext uri="{FF2B5EF4-FFF2-40B4-BE49-F238E27FC236}">
                    <a16:creationId xmlns:a16="http://schemas.microsoft.com/office/drawing/2014/main" id="{5E57FB7D-2F30-457D-B50F-9606E08B9867}"/>
                  </a:ext>
                </a:extLst>
              </p:cNvPr>
              <p:cNvSpPr>
                <a:spLocks noChangeArrowheads="1"/>
              </p:cNvSpPr>
              <p:nvPr/>
            </p:nvSpPr>
            <p:spPr bwMode="auto">
              <a:xfrm>
                <a:off x="17970018" y="7900981"/>
                <a:ext cx="4603121" cy="263207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8" name="Freeform 39">
                <a:extLst>
                  <a:ext uri="{FF2B5EF4-FFF2-40B4-BE49-F238E27FC236}">
                    <a16:creationId xmlns:a16="http://schemas.microsoft.com/office/drawing/2014/main" id="{F52BD218-96C4-4E48-89D7-C0F78DDAA596}"/>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9" name="Freeform 40">
                <a:extLst>
                  <a:ext uri="{FF2B5EF4-FFF2-40B4-BE49-F238E27FC236}">
                    <a16:creationId xmlns:a16="http://schemas.microsoft.com/office/drawing/2014/main" id="{78C65303-00EB-4F6D-9991-0C91979B9B3E}"/>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0" name="Freeform 41">
                <a:extLst>
                  <a:ext uri="{FF2B5EF4-FFF2-40B4-BE49-F238E27FC236}">
                    <a16:creationId xmlns:a16="http://schemas.microsoft.com/office/drawing/2014/main" id="{F8A33B01-5925-4ED5-A0CE-6A2F18F44C4E}"/>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1" name="Rectangle 42">
                <a:extLst>
                  <a:ext uri="{FF2B5EF4-FFF2-40B4-BE49-F238E27FC236}">
                    <a16:creationId xmlns:a16="http://schemas.microsoft.com/office/drawing/2014/main" id="{0253AEE2-B8B7-49DC-8F0E-B5D6DF9D9034}"/>
                  </a:ext>
                </a:extLst>
              </p:cNvPr>
              <p:cNvSpPr>
                <a:spLocks noChangeArrowheads="1"/>
              </p:cNvSpPr>
              <p:nvPr/>
            </p:nvSpPr>
            <p:spPr bwMode="auto">
              <a:xfrm>
                <a:off x="25590501" y="11085513"/>
                <a:ext cx="998538" cy="1984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2" name="Freeform 43">
                <a:extLst>
                  <a:ext uri="{FF2B5EF4-FFF2-40B4-BE49-F238E27FC236}">
                    <a16:creationId xmlns:a16="http://schemas.microsoft.com/office/drawing/2014/main" id="{C8C6E0CF-BBF0-4DA6-B9D5-260781D83A83}"/>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3" name="Rectangle 44">
                <a:extLst>
                  <a:ext uri="{FF2B5EF4-FFF2-40B4-BE49-F238E27FC236}">
                    <a16:creationId xmlns:a16="http://schemas.microsoft.com/office/drawing/2014/main" id="{4355D9C0-58CF-4CA4-AAEB-C58CFF16AE8F}"/>
                  </a:ext>
                </a:extLst>
              </p:cNvPr>
              <p:cNvSpPr>
                <a:spLocks noChangeArrowheads="1"/>
              </p:cNvSpPr>
              <p:nvPr/>
            </p:nvSpPr>
            <p:spPr bwMode="auto">
              <a:xfrm>
                <a:off x="28171776" y="12095163"/>
                <a:ext cx="968375" cy="2000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4" name="Freeform 45">
                <a:extLst>
                  <a:ext uri="{FF2B5EF4-FFF2-40B4-BE49-F238E27FC236}">
                    <a16:creationId xmlns:a16="http://schemas.microsoft.com/office/drawing/2014/main" id="{C75E3CCB-CEB4-48BB-B1FB-54F7479A0153}"/>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5" name="Freeform 46">
                <a:extLst>
                  <a:ext uri="{FF2B5EF4-FFF2-40B4-BE49-F238E27FC236}">
                    <a16:creationId xmlns:a16="http://schemas.microsoft.com/office/drawing/2014/main" id="{5136609F-841C-42BE-ABFB-944B0907D0EF}"/>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6" name="Freeform 47">
                <a:extLst>
                  <a:ext uri="{FF2B5EF4-FFF2-40B4-BE49-F238E27FC236}">
                    <a16:creationId xmlns:a16="http://schemas.microsoft.com/office/drawing/2014/main" id="{D3A6EB06-7EEB-4C49-8595-EA3EBA481597}"/>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7" name="Freeform 48">
                <a:extLst>
                  <a:ext uri="{FF2B5EF4-FFF2-40B4-BE49-F238E27FC236}">
                    <a16:creationId xmlns:a16="http://schemas.microsoft.com/office/drawing/2014/main" id="{5F4F69E8-747E-48C3-AC56-FAB0F9C1115C}"/>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8" name="Freeform 49">
                <a:extLst>
                  <a:ext uri="{FF2B5EF4-FFF2-40B4-BE49-F238E27FC236}">
                    <a16:creationId xmlns:a16="http://schemas.microsoft.com/office/drawing/2014/main" id="{FA36A014-96F9-4124-BA10-E27B13F5D718}"/>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9" name="Rectangle 50">
                <a:extLst>
                  <a:ext uri="{FF2B5EF4-FFF2-40B4-BE49-F238E27FC236}">
                    <a16:creationId xmlns:a16="http://schemas.microsoft.com/office/drawing/2014/main" id="{216D54B9-2BDE-466E-A8A9-AD39050B3211}"/>
                  </a:ext>
                </a:extLst>
              </p:cNvPr>
              <p:cNvSpPr>
                <a:spLocks noChangeArrowheads="1"/>
              </p:cNvSpPr>
              <p:nvPr/>
            </p:nvSpPr>
            <p:spPr bwMode="auto">
              <a:xfrm>
                <a:off x="27790339" y="9455158"/>
                <a:ext cx="2580131" cy="167481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0" name="Freeform 51">
                <a:extLst>
                  <a:ext uri="{FF2B5EF4-FFF2-40B4-BE49-F238E27FC236}">
                    <a16:creationId xmlns:a16="http://schemas.microsoft.com/office/drawing/2014/main" id="{A263D0C7-EA16-41ED-9D2A-6251C2D814B2}"/>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1" name="Freeform 52">
                <a:extLst>
                  <a:ext uri="{FF2B5EF4-FFF2-40B4-BE49-F238E27FC236}">
                    <a16:creationId xmlns:a16="http://schemas.microsoft.com/office/drawing/2014/main" id="{9D33A647-21E1-4ABD-AE2E-EB2C8F8C4882}"/>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2" name="Freeform 53">
                <a:extLst>
                  <a:ext uri="{FF2B5EF4-FFF2-40B4-BE49-F238E27FC236}">
                    <a16:creationId xmlns:a16="http://schemas.microsoft.com/office/drawing/2014/main" id="{B92D6B39-CB94-44B1-B081-55B8262E651F}"/>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3" name="Freeform 54">
                <a:extLst>
                  <a:ext uri="{FF2B5EF4-FFF2-40B4-BE49-F238E27FC236}">
                    <a16:creationId xmlns:a16="http://schemas.microsoft.com/office/drawing/2014/main" id="{0A48CC58-DC5F-49F9-9407-E796EEA7175E}"/>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4" name="Freeform 55">
                <a:extLst>
                  <a:ext uri="{FF2B5EF4-FFF2-40B4-BE49-F238E27FC236}">
                    <a16:creationId xmlns:a16="http://schemas.microsoft.com/office/drawing/2014/main" id="{BD06E95A-3207-478E-AC7B-AC8881A8C4EA}"/>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5" name="Freeform 56">
                <a:extLst>
                  <a:ext uri="{FF2B5EF4-FFF2-40B4-BE49-F238E27FC236}">
                    <a16:creationId xmlns:a16="http://schemas.microsoft.com/office/drawing/2014/main" id="{DCEBE80D-A7DF-4D6B-B13B-A1EB77FF813C}"/>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6" name="Freeform 57">
                <a:extLst>
                  <a:ext uri="{FF2B5EF4-FFF2-40B4-BE49-F238E27FC236}">
                    <a16:creationId xmlns:a16="http://schemas.microsoft.com/office/drawing/2014/main" id="{AAC2947B-80BA-4B7C-B4DA-60CB9CF32BA9}"/>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7" name="Freeform 58">
                <a:extLst>
                  <a:ext uri="{FF2B5EF4-FFF2-40B4-BE49-F238E27FC236}">
                    <a16:creationId xmlns:a16="http://schemas.microsoft.com/office/drawing/2014/main" id="{7D2717CB-FAD4-4997-AF17-A22A29C5A791}"/>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8" name="Freeform 59">
                <a:extLst>
                  <a:ext uri="{FF2B5EF4-FFF2-40B4-BE49-F238E27FC236}">
                    <a16:creationId xmlns:a16="http://schemas.microsoft.com/office/drawing/2014/main" id="{BE63F512-F7F1-431E-AD54-8945F655F54A}"/>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9" name="Freeform 60">
                <a:extLst>
                  <a:ext uri="{FF2B5EF4-FFF2-40B4-BE49-F238E27FC236}">
                    <a16:creationId xmlns:a16="http://schemas.microsoft.com/office/drawing/2014/main" id="{4EB43169-680D-4A1B-A684-BC665A0BCBE4}"/>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0" name="Freeform 61">
                <a:extLst>
                  <a:ext uri="{FF2B5EF4-FFF2-40B4-BE49-F238E27FC236}">
                    <a16:creationId xmlns:a16="http://schemas.microsoft.com/office/drawing/2014/main" id="{27FDD56E-A1CC-4E1E-96EE-DEADDC42F98D}"/>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1" name="Freeform 62">
                <a:extLst>
                  <a:ext uri="{FF2B5EF4-FFF2-40B4-BE49-F238E27FC236}">
                    <a16:creationId xmlns:a16="http://schemas.microsoft.com/office/drawing/2014/main" id="{8CA0D974-51A5-474C-B39E-48596A8B93A4}"/>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2" name="Freeform 63">
                <a:extLst>
                  <a:ext uri="{FF2B5EF4-FFF2-40B4-BE49-F238E27FC236}">
                    <a16:creationId xmlns:a16="http://schemas.microsoft.com/office/drawing/2014/main" id="{96F4C887-7FC4-4D73-8807-3B3F42F0387E}"/>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3" name="Freeform 64">
                <a:extLst>
                  <a:ext uri="{FF2B5EF4-FFF2-40B4-BE49-F238E27FC236}">
                    <a16:creationId xmlns:a16="http://schemas.microsoft.com/office/drawing/2014/main" id="{6632EDAA-8F22-4365-819A-94A380AA1BFE}"/>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4" name="Freeform 65">
                <a:extLst>
                  <a:ext uri="{FF2B5EF4-FFF2-40B4-BE49-F238E27FC236}">
                    <a16:creationId xmlns:a16="http://schemas.microsoft.com/office/drawing/2014/main" id="{0CF50830-C0A0-4F35-9D57-A5A4307C41B8}"/>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5" name="Freeform 66">
                <a:extLst>
                  <a:ext uri="{FF2B5EF4-FFF2-40B4-BE49-F238E27FC236}">
                    <a16:creationId xmlns:a16="http://schemas.microsoft.com/office/drawing/2014/main" id="{04EBDB19-6DE3-4CDA-AD00-F29E3D19678A}"/>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6" name="Freeform 67">
                <a:extLst>
                  <a:ext uri="{FF2B5EF4-FFF2-40B4-BE49-F238E27FC236}">
                    <a16:creationId xmlns:a16="http://schemas.microsoft.com/office/drawing/2014/main" id="{312537E6-7785-4B92-AFA8-EB8A04046E11}"/>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7" name="Freeform 68">
                <a:extLst>
                  <a:ext uri="{FF2B5EF4-FFF2-40B4-BE49-F238E27FC236}">
                    <a16:creationId xmlns:a16="http://schemas.microsoft.com/office/drawing/2014/main" id="{072C2028-52A1-4351-AECC-55020F50D219}"/>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8" name="Freeform 69">
                <a:extLst>
                  <a:ext uri="{FF2B5EF4-FFF2-40B4-BE49-F238E27FC236}">
                    <a16:creationId xmlns:a16="http://schemas.microsoft.com/office/drawing/2014/main" id="{1A6E3296-C4F6-4CA7-9E4C-8925D1EFDB98}"/>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9" name="Freeform 70">
                <a:extLst>
                  <a:ext uri="{FF2B5EF4-FFF2-40B4-BE49-F238E27FC236}">
                    <a16:creationId xmlns:a16="http://schemas.microsoft.com/office/drawing/2014/main" id="{30BD4F5B-1E94-4103-89C7-E6C52544DD51}"/>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0" name="Freeform 71">
                <a:extLst>
                  <a:ext uri="{FF2B5EF4-FFF2-40B4-BE49-F238E27FC236}">
                    <a16:creationId xmlns:a16="http://schemas.microsoft.com/office/drawing/2014/main" id="{F940BAB8-13EA-490C-A7E2-8D4D70587671}"/>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1" name="Freeform 72">
                <a:extLst>
                  <a:ext uri="{FF2B5EF4-FFF2-40B4-BE49-F238E27FC236}">
                    <a16:creationId xmlns:a16="http://schemas.microsoft.com/office/drawing/2014/main" id="{BB8CADC1-2729-4143-B530-BFB841692FB9}"/>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2" name="Freeform 73">
                <a:extLst>
                  <a:ext uri="{FF2B5EF4-FFF2-40B4-BE49-F238E27FC236}">
                    <a16:creationId xmlns:a16="http://schemas.microsoft.com/office/drawing/2014/main" id="{FF22AD6E-83BC-41B7-BE26-6DABCBA7CEBE}"/>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3" name="Freeform 74">
                <a:extLst>
                  <a:ext uri="{FF2B5EF4-FFF2-40B4-BE49-F238E27FC236}">
                    <a16:creationId xmlns:a16="http://schemas.microsoft.com/office/drawing/2014/main" id="{6C1F3E6A-3DC4-422F-A875-C660937C4102}"/>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4" name="Freeform 75">
                <a:extLst>
                  <a:ext uri="{FF2B5EF4-FFF2-40B4-BE49-F238E27FC236}">
                    <a16:creationId xmlns:a16="http://schemas.microsoft.com/office/drawing/2014/main" id="{8654484D-E6FA-4945-90A0-4A685A59E9F1}"/>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5" name="Freeform 76">
                <a:extLst>
                  <a:ext uri="{FF2B5EF4-FFF2-40B4-BE49-F238E27FC236}">
                    <a16:creationId xmlns:a16="http://schemas.microsoft.com/office/drawing/2014/main" id="{40BA7A8A-080D-4FE9-96B3-D41CCFB9172C}"/>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6" name="Freeform 77">
                <a:extLst>
                  <a:ext uri="{FF2B5EF4-FFF2-40B4-BE49-F238E27FC236}">
                    <a16:creationId xmlns:a16="http://schemas.microsoft.com/office/drawing/2014/main" id="{7A5EED9B-D782-45E1-9DF1-C8AF4A639908}"/>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8" name="Freeform 78">
                <a:extLst>
                  <a:ext uri="{FF2B5EF4-FFF2-40B4-BE49-F238E27FC236}">
                    <a16:creationId xmlns:a16="http://schemas.microsoft.com/office/drawing/2014/main" id="{E216654E-BC7D-4024-BC97-052FE59FFD7D}"/>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9" name="Freeform 79">
                <a:extLst>
                  <a:ext uri="{FF2B5EF4-FFF2-40B4-BE49-F238E27FC236}">
                    <a16:creationId xmlns:a16="http://schemas.microsoft.com/office/drawing/2014/main" id="{110F9E5A-411E-409B-B1F2-E87D9FD1C7B6}"/>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0" name="Freeform 80">
                <a:extLst>
                  <a:ext uri="{FF2B5EF4-FFF2-40B4-BE49-F238E27FC236}">
                    <a16:creationId xmlns:a16="http://schemas.microsoft.com/office/drawing/2014/main" id="{158BFAE5-5BCC-40A6-9695-B4B0DB10B223}"/>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1" name="Freeform 81">
                <a:extLst>
                  <a:ext uri="{FF2B5EF4-FFF2-40B4-BE49-F238E27FC236}">
                    <a16:creationId xmlns:a16="http://schemas.microsoft.com/office/drawing/2014/main" id="{018A4B6E-4457-490A-B273-57A0EF346A31}"/>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727" name="Rectangle 726">
              <a:extLst>
                <a:ext uri="{FF2B5EF4-FFF2-40B4-BE49-F238E27FC236}">
                  <a16:creationId xmlns:a16="http://schemas.microsoft.com/office/drawing/2014/main" id="{A4B98716-6269-4278-9E02-9989039932A7}"/>
                </a:ext>
              </a:extLst>
            </p:cNvPr>
            <p:cNvSpPr/>
            <p:nvPr/>
          </p:nvSpPr>
          <p:spPr bwMode="auto">
            <a:xfrm>
              <a:off x="8598308" y="6051661"/>
              <a:ext cx="259356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sp>
        <p:nvSpPr>
          <p:cNvPr id="353" name="Rectangle 352">
            <a:extLst>
              <a:ext uri="{FF2B5EF4-FFF2-40B4-BE49-F238E27FC236}">
                <a16:creationId xmlns:a16="http://schemas.microsoft.com/office/drawing/2014/main" id="{A11B51AB-EE76-4AF3-AAC6-72BC893EB92C}"/>
              </a:ext>
            </a:extLst>
          </p:cNvPr>
          <p:cNvSpPr/>
          <p:nvPr/>
        </p:nvSpPr>
        <p:spPr bwMode="auto">
          <a:xfrm>
            <a:off x="975208" y="5293080"/>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trong Partner Ecosystem</a:t>
            </a:r>
          </a:p>
        </p:txBody>
      </p:sp>
      <p:sp>
        <p:nvSpPr>
          <p:cNvPr id="356" name="TextBox 355">
            <a:extLst>
              <a:ext uri="{FF2B5EF4-FFF2-40B4-BE49-F238E27FC236}">
                <a16:creationId xmlns:a16="http://schemas.microsoft.com/office/drawing/2014/main" id="{0791A568-0B2B-472F-BA62-AF16AFAC32AC}"/>
              </a:ext>
            </a:extLst>
          </p:cNvPr>
          <p:cNvSpPr txBox="1"/>
          <p:nvPr/>
        </p:nvSpPr>
        <p:spPr>
          <a:xfrm>
            <a:off x="3178754" y="5605907"/>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altLang="zh-CN" dirty="0"/>
              <a:t>Extensive</a:t>
            </a:r>
            <a:r>
              <a:rPr lang="en-US" dirty="0"/>
              <a:t>, Integrated, &amp; </a:t>
            </a:r>
            <a:r>
              <a:rPr lang="en-US" altLang="zh-CN" dirty="0"/>
              <a:t>Experienced</a:t>
            </a:r>
            <a:endParaRPr lang="en-US" dirty="0"/>
          </a:p>
        </p:txBody>
      </p:sp>
      <p:grpSp>
        <p:nvGrpSpPr>
          <p:cNvPr id="802" name="Group 801">
            <a:extLst>
              <a:ext uri="{FF2B5EF4-FFF2-40B4-BE49-F238E27FC236}">
                <a16:creationId xmlns:a16="http://schemas.microsoft.com/office/drawing/2014/main" id="{9E95AE13-EAF4-4FD3-A28B-6D59B98572F4}"/>
              </a:ext>
            </a:extLst>
          </p:cNvPr>
          <p:cNvGrpSpPr>
            <a:grpSpLocks/>
          </p:cNvGrpSpPr>
          <p:nvPr/>
        </p:nvGrpSpPr>
        <p:grpSpPr>
          <a:xfrm>
            <a:off x="1133416" y="5615592"/>
            <a:ext cx="651068" cy="609601"/>
            <a:chOff x="5965396" y="2936940"/>
            <a:chExt cx="3001924" cy="2810728"/>
          </a:xfrm>
          <a:solidFill>
            <a:srgbClr val="BFBFBF"/>
          </a:solidFill>
        </p:grpSpPr>
        <p:sp>
          <p:nvSpPr>
            <p:cNvPr id="803" name="Arc 802">
              <a:extLst>
                <a:ext uri="{FF2B5EF4-FFF2-40B4-BE49-F238E27FC236}">
                  <a16:creationId xmlns:a16="http://schemas.microsoft.com/office/drawing/2014/main" id="{9C09CD70-2AD1-4D17-A2F9-23C5E00CD9A1}"/>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804" name="Group 803">
              <a:extLst>
                <a:ext uri="{FF2B5EF4-FFF2-40B4-BE49-F238E27FC236}">
                  <a16:creationId xmlns:a16="http://schemas.microsoft.com/office/drawing/2014/main" id="{AFB448F8-9F59-45FB-88AF-D62C5FC88E3D}"/>
                </a:ext>
              </a:extLst>
            </p:cNvPr>
            <p:cNvGrpSpPr/>
            <p:nvPr/>
          </p:nvGrpSpPr>
          <p:grpSpPr>
            <a:xfrm>
              <a:off x="6393887" y="4600791"/>
              <a:ext cx="2131513" cy="969039"/>
              <a:chOff x="6037944" y="4939646"/>
              <a:chExt cx="1762503" cy="801278"/>
            </a:xfrm>
            <a:grpFill/>
          </p:grpSpPr>
          <p:grpSp>
            <p:nvGrpSpPr>
              <p:cNvPr id="825" name="Group 824">
                <a:extLst>
                  <a:ext uri="{FF2B5EF4-FFF2-40B4-BE49-F238E27FC236}">
                    <a16:creationId xmlns:a16="http://schemas.microsoft.com/office/drawing/2014/main" id="{53F7E8E0-ED4D-498E-B0E9-85855F910D65}"/>
                  </a:ext>
                </a:extLst>
              </p:cNvPr>
              <p:cNvGrpSpPr/>
              <p:nvPr/>
            </p:nvGrpSpPr>
            <p:grpSpPr>
              <a:xfrm>
                <a:off x="6056747" y="4972281"/>
                <a:ext cx="1718033" cy="610616"/>
                <a:chOff x="2058988" y="3915711"/>
                <a:chExt cx="1927661" cy="685122"/>
              </a:xfrm>
              <a:grpFill/>
            </p:grpSpPr>
            <p:sp>
              <p:nvSpPr>
                <p:cNvPr id="837" name="Freeform 6">
                  <a:extLst>
                    <a:ext uri="{FF2B5EF4-FFF2-40B4-BE49-F238E27FC236}">
                      <a16:creationId xmlns:a16="http://schemas.microsoft.com/office/drawing/2014/main" id="{62F53976-AE3D-4C63-B96B-C3AFEFC7DCFF}"/>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38" name="Freeform 7">
                  <a:extLst>
                    <a:ext uri="{FF2B5EF4-FFF2-40B4-BE49-F238E27FC236}">
                      <a16:creationId xmlns:a16="http://schemas.microsoft.com/office/drawing/2014/main" id="{A6738435-0701-4D6A-92E2-A3B2BAA46396}"/>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39" name="Freeform 8">
                  <a:extLst>
                    <a:ext uri="{FF2B5EF4-FFF2-40B4-BE49-F238E27FC236}">
                      <a16:creationId xmlns:a16="http://schemas.microsoft.com/office/drawing/2014/main" id="{DF2F6403-DA9F-46C1-B36B-F83E83D7A540}"/>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40" name="Freeform 9">
                  <a:extLst>
                    <a:ext uri="{FF2B5EF4-FFF2-40B4-BE49-F238E27FC236}">
                      <a16:creationId xmlns:a16="http://schemas.microsoft.com/office/drawing/2014/main" id="{D5F45755-D3CA-4C2F-9D67-F795C66C22CE}"/>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1" name="Freeform 10">
                  <a:extLst>
                    <a:ext uri="{FF2B5EF4-FFF2-40B4-BE49-F238E27FC236}">
                      <a16:creationId xmlns:a16="http://schemas.microsoft.com/office/drawing/2014/main" id="{5CEA919C-E55F-4403-9CBC-3BA40540B7B2}"/>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2" name="Freeform 11">
                  <a:extLst>
                    <a:ext uri="{FF2B5EF4-FFF2-40B4-BE49-F238E27FC236}">
                      <a16:creationId xmlns:a16="http://schemas.microsoft.com/office/drawing/2014/main" id="{A13CE2C4-47E0-43D7-9AA0-FE998A28E786}"/>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3" name="Freeform 12">
                  <a:extLst>
                    <a:ext uri="{FF2B5EF4-FFF2-40B4-BE49-F238E27FC236}">
                      <a16:creationId xmlns:a16="http://schemas.microsoft.com/office/drawing/2014/main" id="{52BAD46B-1208-4C33-995B-D96ACC271E29}"/>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4" name="Freeform 13">
                  <a:extLst>
                    <a:ext uri="{FF2B5EF4-FFF2-40B4-BE49-F238E27FC236}">
                      <a16:creationId xmlns:a16="http://schemas.microsoft.com/office/drawing/2014/main" id="{724F2207-6C60-456F-A31D-8E74486BE26D}"/>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5" name="Freeform 14">
                  <a:extLst>
                    <a:ext uri="{FF2B5EF4-FFF2-40B4-BE49-F238E27FC236}">
                      <a16:creationId xmlns:a16="http://schemas.microsoft.com/office/drawing/2014/main" id="{27EE8D0D-9EBF-4B77-B648-25F1E86F6A47}"/>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6" name="Freeform 15">
                  <a:extLst>
                    <a:ext uri="{FF2B5EF4-FFF2-40B4-BE49-F238E27FC236}">
                      <a16:creationId xmlns:a16="http://schemas.microsoft.com/office/drawing/2014/main" id="{5CCA14EF-7F07-43D4-A4A7-A5685A8ACB46}"/>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7" name="Freeform 16">
                  <a:extLst>
                    <a:ext uri="{FF2B5EF4-FFF2-40B4-BE49-F238E27FC236}">
                      <a16:creationId xmlns:a16="http://schemas.microsoft.com/office/drawing/2014/main" id="{E0F72663-7CAC-445F-ABE7-D232F75D22DA}"/>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8" name="Freeform 17">
                  <a:extLst>
                    <a:ext uri="{FF2B5EF4-FFF2-40B4-BE49-F238E27FC236}">
                      <a16:creationId xmlns:a16="http://schemas.microsoft.com/office/drawing/2014/main" id="{5FE80673-1FD9-4788-A1EC-F7ED1766682C}"/>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9" name="Freeform: Shape 848">
                  <a:extLst>
                    <a:ext uri="{FF2B5EF4-FFF2-40B4-BE49-F238E27FC236}">
                      <a16:creationId xmlns:a16="http://schemas.microsoft.com/office/drawing/2014/main" id="{CF08AA5A-271A-4A3E-836F-57A871E370EC}"/>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50" name="Freeform 19">
                  <a:extLst>
                    <a:ext uri="{FF2B5EF4-FFF2-40B4-BE49-F238E27FC236}">
                      <a16:creationId xmlns:a16="http://schemas.microsoft.com/office/drawing/2014/main" id="{A33F6049-36EB-4A1C-8170-A0B90AAC6E3F}"/>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1" name="Freeform 20">
                  <a:extLst>
                    <a:ext uri="{FF2B5EF4-FFF2-40B4-BE49-F238E27FC236}">
                      <a16:creationId xmlns:a16="http://schemas.microsoft.com/office/drawing/2014/main" id="{76CC474C-F133-4C6A-9D38-31A58486DD87}"/>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2" name="Freeform 21">
                  <a:extLst>
                    <a:ext uri="{FF2B5EF4-FFF2-40B4-BE49-F238E27FC236}">
                      <a16:creationId xmlns:a16="http://schemas.microsoft.com/office/drawing/2014/main" id="{3A345A9B-C2FE-4EA4-8308-DD3E4797512B}"/>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53" name="Freeform 23">
                  <a:extLst>
                    <a:ext uri="{FF2B5EF4-FFF2-40B4-BE49-F238E27FC236}">
                      <a16:creationId xmlns:a16="http://schemas.microsoft.com/office/drawing/2014/main" id="{C46403BC-D963-4C1B-83C6-61680119ADD2}"/>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54" name="Freeform 24">
                  <a:extLst>
                    <a:ext uri="{FF2B5EF4-FFF2-40B4-BE49-F238E27FC236}">
                      <a16:creationId xmlns:a16="http://schemas.microsoft.com/office/drawing/2014/main" id="{26E67446-3D87-4CB0-8B51-408AB8C50962}"/>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5" name="Freeform: Shape 854">
                  <a:extLst>
                    <a:ext uri="{FF2B5EF4-FFF2-40B4-BE49-F238E27FC236}">
                      <a16:creationId xmlns:a16="http://schemas.microsoft.com/office/drawing/2014/main" id="{B4CB74C6-8AF7-466D-961D-AF2A0DDFE789}"/>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56" name="Freeform 26">
                  <a:extLst>
                    <a:ext uri="{FF2B5EF4-FFF2-40B4-BE49-F238E27FC236}">
                      <a16:creationId xmlns:a16="http://schemas.microsoft.com/office/drawing/2014/main" id="{21F39185-1CFB-4ADD-B254-FAC8D06AB66A}"/>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7" name="Freeform 27">
                  <a:extLst>
                    <a:ext uri="{FF2B5EF4-FFF2-40B4-BE49-F238E27FC236}">
                      <a16:creationId xmlns:a16="http://schemas.microsoft.com/office/drawing/2014/main" id="{DF255C78-72BE-43BE-9E73-15F39D98B67C}"/>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8" name="Freeform 28">
                  <a:extLst>
                    <a:ext uri="{FF2B5EF4-FFF2-40B4-BE49-F238E27FC236}">
                      <a16:creationId xmlns:a16="http://schemas.microsoft.com/office/drawing/2014/main" id="{603DA280-284C-435B-91E9-2F7D0A7D75EE}"/>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59" name="Freeform 29">
                  <a:extLst>
                    <a:ext uri="{FF2B5EF4-FFF2-40B4-BE49-F238E27FC236}">
                      <a16:creationId xmlns:a16="http://schemas.microsoft.com/office/drawing/2014/main" id="{870D1028-D6BA-4D99-BE4C-D7B95889F74F}"/>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60" name="Freeform 30">
                  <a:extLst>
                    <a:ext uri="{FF2B5EF4-FFF2-40B4-BE49-F238E27FC236}">
                      <a16:creationId xmlns:a16="http://schemas.microsoft.com/office/drawing/2014/main" id="{BC673417-7CA2-4363-92F6-AD9B09483236}"/>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61" name="Freeform 31">
                  <a:extLst>
                    <a:ext uri="{FF2B5EF4-FFF2-40B4-BE49-F238E27FC236}">
                      <a16:creationId xmlns:a16="http://schemas.microsoft.com/office/drawing/2014/main" id="{00459306-310B-4BEF-B047-BDD40DFAC4DC}"/>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62" name="Freeform 22">
                  <a:extLst>
                    <a:ext uri="{FF2B5EF4-FFF2-40B4-BE49-F238E27FC236}">
                      <a16:creationId xmlns:a16="http://schemas.microsoft.com/office/drawing/2014/main" id="{4642C766-4A40-48B2-89F5-8BAEB95F8065}"/>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826" name="Group 825">
                <a:extLst>
                  <a:ext uri="{FF2B5EF4-FFF2-40B4-BE49-F238E27FC236}">
                    <a16:creationId xmlns:a16="http://schemas.microsoft.com/office/drawing/2014/main" id="{EC29C1F5-2E8C-4A7C-AC32-B7008742A616}"/>
                  </a:ext>
                </a:extLst>
              </p:cNvPr>
              <p:cNvGrpSpPr/>
              <p:nvPr/>
            </p:nvGrpSpPr>
            <p:grpSpPr>
              <a:xfrm>
                <a:off x="6037944" y="4939646"/>
                <a:ext cx="1762503" cy="801278"/>
                <a:chOff x="6066224" y="4894724"/>
                <a:chExt cx="2213813" cy="1006455"/>
              </a:xfrm>
              <a:grpFill/>
            </p:grpSpPr>
            <p:grpSp>
              <p:nvGrpSpPr>
                <p:cNvPr id="827" name="Group 826">
                  <a:extLst>
                    <a:ext uri="{FF2B5EF4-FFF2-40B4-BE49-F238E27FC236}">
                      <a16:creationId xmlns:a16="http://schemas.microsoft.com/office/drawing/2014/main" id="{2A4EFCDF-4130-4A5A-BECC-9231AC36AE5A}"/>
                    </a:ext>
                  </a:extLst>
                </p:cNvPr>
                <p:cNvGrpSpPr/>
                <p:nvPr/>
              </p:nvGrpSpPr>
              <p:grpSpPr>
                <a:xfrm>
                  <a:off x="6066224" y="4894724"/>
                  <a:ext cx="1082597" cy="1006455"/>
                  <a:chOff x="3869780" y="1229273"/>
                  <a:chExt cx="4710340" cy="4379047"/>
                </a:xfrm>
                <a:grpFill/>
              </p:grpSpPr>
              <p:sp>
                <p:nvSpPr>
                  <p:cNvPr id="833" name="Freeform: Shape 832">
                    <a:extLst>
                      <a:ext uri="{FF2B5EF4-FFF2-40B4-BE49-F238E27FC236}">
                        <a16:creationId xmlns:a16="http://schemas.microsoft.com/office/drawing/2014/main" id="{7425EF26-FE12-4506-BAB1-3AA536DDDD8B}"/>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4" name="Rectangle 833">
                    <a:extLst>
                      <a:ext uri="{FF2B5EF4-FFF2-40B4-BE49-F238E27FC236}">
                        <a16:creationId xmlns:a16="http://schemas.microsoft.com/office/drawing/2014/main" id="{7B84A724-DE15-4F73-A2A5-9D3652E70283}"/>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5" name="Freeform: Shape 834">
                    <a:extLst>
                      <a:ext uri="{FF2B5EF4-FFF2-40B4-BE49-F238E27FC236}">
                        <a16:creationId xmlns:a16="http://schemas.microsoft.com/office/drawing/2014/main" id="{8B3084B2-A409-420E-B14A-F22637BD3E3B}"/>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6" name="Freeform: Shape 835">
                    <a:extLst>
                      <a:ext uri="{FF2B5EF4-FFF2-40B4-BE49-F238E27FC236}">
                        <a16:creationId xmlns:a16="http://schemas.microsoft.com/office/drawing/2014/main" id="{03234C4E-A29A-4CE6-8E84-7628278CF27E}"/>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28" name="Group 827">
                  <a:extLst>
                    <a:ext uri="{FF2B5EF4-FFF2-40B4-BE49-F238E27FC236}">
                      <a16:creationId xmlns:a16="http://schemas.microsoft.com/office/drawing/2014/main" id="{F4D4193B-8B7C-4C6F-BF70-43F1DDCEF5F6}"/>
                    </a:ext>
                  </a:extLst>
                </p:cNvPr>
                <p:cNvGrpSpPr/>
                <p:nvPr/>
              </p:nvGrpSpPr>
              <p:grpSpPr>
                <a:xfrm flipH="1">
                  <a:off x="7197440" y="4894724"/>
                  <a:ext cx="1082597" cy="1006455"/>
                  <a:chOff x="3869780" y="1229273"/>
                  <a:chExt cx="4710340" cy="4379047"/>
                </a:xfrm>
                <a:grpFill/>
              </p:grpSpPr>
              <p:sp>
                <p:nvSpPr>
                  <p:cNvPr id="829" name="Freeform: Shape 828">
                    <a:extLst>
                      <a:ext uri="{FF2B5EF4-FFF2-40B4-BE49-F238E27FC236}">
                        <a16:creationId xmlns:a16="http://schemas.microsoft.com/office/drawing/2014/main" id="{CF322648-120A-43E0-B03E-4F77552CD658}"/>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0" name="Rectangle 829">
                    <a:extLst>
                      <a:ext uri="{FF2B5EF4-FFF2-40B4-BE49-F238E27FC236}">
                        <a16:creationId xmlns:a16="http://schemas.microsoft.com/office/drawing/2014/main" id="{304B70D2-6488-4E2A-8438-2602ABF011DD}"/>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1" name="Freeform: Shape 830">
                    <a:extLst>
                      <a:ext uri="{FF2B5EF4-FFF2-40B4-BE49-F238E27FC236}">
                        <a16:creationId xmlns:a16="http://schemas.microsoft.com/office/drawing/2014/main" id="{77466478-FD1C-4EA2-AB83-76E273588CD7}"/>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2" name="Freeform: Shape 831">
                    <a:extLst>
                      <a:ext uri="{FF2B5EF4-FFF2-40B4-BE49-F238E27FC236}">
                        <a16:creationId xmlns:a16="http://schemas.microsoft.com/office/drawing/2014/main" id="{8D7250EB-D53E-4061-AD26-0F4D446F419F}"/>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805" name="Group 804">
              <a:extLst>
                <a:ext uri="{FF2B5EF4-FFF2-40B4-BE49-F238E27FC236}">
                  <a16:creationId xmlns:a16="http://schemas.microsoft.com/office/drawing/2014/main" id="{F7DC3446-0BDB-4140-BA59-C8A38DA4858D}"/>
                </a:ext>
              </a:extLst>
            </p:cNvPr>
            <p:cNvGrpSpPr/>
            <p:nvPr/>
          </p:nvGrpSpPr>
          <p:grpSpPr>
            <a:xfrm>
              <a:off x="6546812" y="3467555"/>
              <a:ext cx="1806614" cy="1013352"/>
              <a:chOff x="6391393" y="1624932"/>
              <a:chExt cx="1350970" cy="757777"/>
            </a:xfrm>
            <a:grpFill/>
          </p:grpSpPr>
          <p:sp>
            <p:nvSpPr>
              <p:cNvPr id="823" name="Freeform 119">
                <a:extLst>
                  <a:ext uri="{FF2B5EF4-FFF2-40B4-BE49-F238E27FC236}">
                    <a16:creationId xmlns:a16="http://schemas.microsoft.com/office/drawing/2014/main" id="{2FAEEB3E-0B09-4179-9D69-DC4D2D1567E5}"/>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824" name="Freeform 120">
                <a:extLst>
                  <a:ext uri="{FF2B5EF4-FFF2-40B4-BE49-F238E27FC236}">
                    <a16:creationId xmlns:a16="http://schemas.microsoft.com/office/drawing/2014/main" id="{1D36D90C-0C7F-4880-894B-61CEA477CD5F}"/>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806" name="Group 805">
              <a:extLst>
                <a:ext uri="{FF2B5EF4-FFF2-40B4-BE49-F238E27FC236}">
                  <a16:creationId xmlns:a16="http://schemas.microsoft.com/office/drawing/2014/main" id="{87E606DE-A6F7-44C1-90B7-1E320E916916}"/>
                </a:ext>
              </a:extLst>
            </p:cNvPr>
            <p:cNvGrpSpPr/>
            <p:nvPr/>
          </p:nvGrpSpPr>
          <p:grpSpPr>
            <a:xfrm>
              <a:off x="5965396" y="4132683"/>
              <a:ext cx="389280" cy="389280"/>
              <a:chOff x="5999956" y="4167243"/>
              <a:chExt cx="320160" cy="320160"/>
            </a:xfrm>
            <a:grpFill/>
          </p:grpSpPr>
          <p:sp>
            <p:nvSpPr>
              <p:cNvPr id="821" name="Oval 820">
                <a:extLst>
                  <a:ext uri="{FF2B5EF4-FFF2-40B4-BE49-F238E27FC236}">
                    <a16:creationId xmlns:a16="http://schemas.microsoft.com/office/drawing/2014/main" id="{E9070934-43E3-46EC-AB49-735C66E846B5}"/>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22" name="Freeform 339">
                <a:extLst>
                  <a:ext uri="{FF2B5EF4-FFF2-40B4-BE49-F238E27FC236}">
                    <a16:creationId xmlns:a16="http://schemas.microsoft.com/office/drawing/2014/main" id="{7400AA06-C0DA-434B-B2A4-1DD366BC762B}"/>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07" name="Group 806">
              <a:extLst>
                <a:ext uri="{FF2B5EF4-FFF2-40B4-BE49-F238E27FC236}">
                  <a16:creationId xmlns:a16="http://schemas.microsoft.com/office/drawing/2014/main" id="{871F840D-D176-46E3-908A-968CDDA829A8}"/>
                </a:ext>
              </a:extLst>
            </p:cNvPr>
            <p:cNvGrpSpPr/>
            <p:nvPr/>
          </p:nvGrpSpPr>
          <p:grpSpPr>
            <a:xfrm>
              <a:off x="8249851" y="3414960"/>
              <a:ext cx="389280" cy="389280"/>
              <a:chOff x="8616644" y="4279108"/>
              <a:chExt cx="320160" cy="320160"/>
            </a:xfrm>
            <a:grpFill/>
          </p:grpSpPr>
          <p:sp>
            <p:nvSpPr>
              <p:cNvPr id="818" name="Oval 817">
                <a:extLst>
                  <a:ext uri="{FF2B5EF4-FFF2-40B4-BE49-F238E27FC236}">
                    <a16:creationId xmlns:a16="http://schemas.microsoft.com/office/drawing/2014/main" id="{BD5B0A41-6E08-4915-9354-ED3B5118BB4F}"/>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19" name="Freeform 324">
                <a:extLst>
                  <a:ext uri="{FF2B5EF4-FFF2-40B4-BE49-F238E27FC236}">
                    <a16:creationId xmlns:a16="http://schemas.microsoft.com/office/drawing/2014/main" id="{92BC47FB-B3BE-47C9-ABA2-85B24E01AAD1}"/>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20" name="Freeform 324">
                <a:extLst>
                  <a:ext uri="{FF2B5EF4-FFF2-40B4-BE49-F238E27FC236}">
                    <a16:creationId xmlns:a16="http://schemas.microsoft.com/office/drawing/2014/main" id="{0E950784-BAC1-4A79-BBDC-6DE623085F41}"/>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808" name="Group 807">
              <a:extLst>
                <a:ext uri="{FF2B5EF4-FFF2-40B4-BE49-F238E27FC236}">
                  <a16:creationId xmlns:a16="http://schemas.microsoft.com/office/drawing/2014/main" id="{B883A7E0-A6BC-4316-8DE4-468ECE91962F}"/>
                </a:ext>
              </a:extLst>
            </p:cNvPr>
            <p:cNvGrpSpPr/>
            <p:nvPr/>
          </p:nvGrpSpPr>
          <p:grpSpPr>
            <a:xfrm>
              <a:off x="6310201" y="3304407"/>
              <a:ext cx="389280" cy="389280"/>
              <a:chOff x="6344761" y="3338967"/>
              <a:chExt cx="320160" cy="320160"/>
            </a:xfrm>
            <a:grpFill/>
          </p:grpSpPr>
          <p:sp>
            <p:nvSpPr>
              <p:cNvPr id="815" name="Oval 814">
                <a:extLst>
                  <a:ext uri="{FF2B5EF4-FFF2-40B4-BE49-F238E27FC236}">
                    <a16:creationId xmlns:a16="http://schemas.microsoft.com/office/drawing/2014/main" id="{544D42BA-E93B-4C2A-8325-07F8087D8627}"/>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16" name="Freeform 440">
                <a:extLst>
                  <a:ext uri="{FF2B5EF4-FFF2-40B4-BE49-F238E27FC236}">
                    <a16:creationId xmlns:a16="http://schemas.microsoft.com/office/drawing/2014/main" id="{ECFF975A-5327-4713-9D07-CBE95A284C84}"/>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17" name="Freeform 441">
                <a:extLst>
                  <a:ext uri="{FF2B5EF4-FFF2-40B4-BE49-F238E27FC236}">
                    <a16:creationId xmlns:a16="http://schemas.microsoft.com/office/drawing/2014/main" id="{1425F2EC-4B9A-430D-93E1-07F86D529D38}"/>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809" name="Group 808">
              <a:extLst>
                <a:ext uri="{FF2B5EF4-FFF2-40B4-BE49-F238E27FC236}">
                  <a16:creationId xmlns:a16="http://schemas.microsoft.com/office/drawing/2014/main" id="{A7587FB3-45BE-48FD-B76A-1109D2FA87B0}"/>
                </a:ext>
              </a:extLst>
            </p:cNvPr>
            <p:cNvGrpSpPr/>
            <p:nvPr/>
          </p:nvGrpSpPr>
          <p:grpSpPr>
            <a:xfrm>
              <a:off x="7307066" y="2936940"/>
              <a:ext cx="389134" cy="389134"/>
              <a:chOff x="9322484" y="3467555"/>
              <a:chExt cx="557223" cy="557223"/>
            </a:xfrm>
            <a:grpFill/>
          </p:grpSpPr>
          <p:sp>
            <p:nvSpPr>
              <p:cNvPr id="813" name="Oval 812">
                <a:extLst>
                  <a:ext uri="{FF2B5EF4-FFF2-40B4-BE49-F238E27FC236}">
                    <a16:creationId xmlns:a16="http://schemas.microsoft.com/office/drawing/2014/main" id="{2B7948E5-B117-46B1-8094-C8357F88AEF8}"/>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4" name="Rectangle 74">
                <a:extLst>
                  <a:ext uri="{FF2B5EF4-FFF2-40B4-BE49-F238E27FC236}">
                    <a16:creationId xmlns:a16="http://schemas.microsoft.com/office/drawing/2014/main" id="{E7333471-17B1-4677-9727-5DA36D2A7AD4}"/>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10" name="Group 809">
              <a:extLst>
                <a:ext uri="{FF2B5EF4-FFF2-40B4-BE49-F238E27FC236}">
                  <a16:creationId xmlns:a16="http://schemas.microsoft.com/office/drawing/2014/main" id="{0BF7DBDA-6770-45E1-9BFD-4B12EA05DD76}"/>
                </a:ext>
              </a:extLst>
            </p:cNvPr>
            <p:cNvGrpSpPr/>
            <p:nvPr/>
          </p:nvGrpSpPr>
          <p:grpSpPr>
            <a:xfrm>
              <a:off x="8578186" y="4208712"/>
              <a:ext cx="389134" cy="389134"/>
              <a:chOff x="8225290" y="3217894"/>
              <a:chExt cx="621190" cy="621190"/>
            </a:xfrm>
            <a:grpFill/>
          </p:grpSpPr>
          <p:sp>
            <p:nvSpPr>
              <p:cNvPr id="811" name="Oval 810">
                <a:extLst>
                  <a:ext uri="{FF2B5EF4-FFF2-40B4-BE49-F238E27FC236}">
                    <a16:creationId xmlns:a16="http://schemas.microsoft.com/office/drawing/2014/main" id="{E385CE03-87C8-41F6-82C8-0B8058612285}"/>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2" name="Rounded Rectangle 4">
                <a:extLst>
                  <a:ext uri="{FF2B5EF4-FFF2-40B4-BE49-F238E27FC236}">
                    <a16:creationId xmlns:a16="http://schemas.microsoft.com/office/drawing/2014/main" id="{B7B37B70-3FF6-4196-AA29-93258EA09F47}"/>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976" name="Group 975">
            <a:extLst>
              <a:ext uri="{FF2B5EF4-FFF2-40B4-BE49-F238E27FC236}">
                <a16:creationId xmlns:a16="http://schemas.microsoft.com/office/drawing/2014/main" id="{34DF6B7C-E7A7-4D8F-A9ED-4D9BE3F4365F}"/>
              </a:ext>
            </a:extLst>
          </p:cNvPr>
          <p:cNvGrpSpPr/>
          <p:nvPr/>
        </p:nvGrpSpPr>
        <p:grpSpPr>
          <a:xfrm>
            <a:off x="6697244" y="2633218"/>
            <a:ext cx="943275" cy="575451"/>
            <a:chOff x="2462782" y="2531792"/>
            <a:chExt cx="4107114" cy="2505576"/>
          </a:xfrm>
        </p:grpSpPr>
        <p:grpSp>
          <p:nvGrpSpPr>
            <p:cNvPr id="977" name="Group 976">
              <a:extLst>
                <a:ext uri="{FF2B5EF4-FFF2-40B4-BE49-F238E27FC236}">
                  <a16:creationId xmlns:a16="http://schemas.microsoft.com/office/drawing/2014/main" id="{C75999F5-548E-49C5-BFFE-39F04FB89619}"/>
                </a:ext>
              </a:extLst>
            </p:cNvPr>
            <p:cNvGrpSpPr/>
            <p:nvPr/>
          </p:nvGrpSpPr>
          <p:grpSpPr>
            <a:xfrm>
              <a:off x="2872310" y="2531792"/>
              <a:ext cx="1358259" cy="1358259"/>
              <a:chOff x="3695059" y="2057989"/>
              <a:chExt cx="825500" cy="825500"/>
            </a:xfrm>
          </p:grpSpPr>
          <p:sp>
            <p:nvSpPr>
              <p:cNvPr id="1062" name="Oval 1061">
                <a:extLst>
                  <a:ext uri="{FF2B5EF4-FFF2-40B4-BE49-F238E27FC236}">
                    <a16:creationId xmlns:a16="http://schemas.microsoft.com/office/drawing/2014/main" id="{BAE293D6-60E3-4F46-AD44-C64C9D78EAB1}"/>
                  </a:ext>
                </a:extLst>
              </p:cNvPr>
              <p:cNvSpPr/>
              <p:nvPr/>
            </p:nvSpPr>
            <p:spPr bwMode="auto">
              <a:xfrm>
                <a:off x="3695059" y="2057989"/>
                <a:ext cx="825500" cy="825500"/>
              </a:xfrm>
              <a:prstGeom prst="ellipse">
                <a:avLst/>
              </a:prstGeom>
              <a:solidFill>
                <a:srgbClr val="FFFFFF"/>
              </a:solidFill>
              <a:ln w="9525" cap="flat" cmpd="sng" algn="ctr">
                <a:solidFill>
                  <a:srgbClr val="353535">
                    <a:lumMod val="20000"/>
                    <a:lumOff val="80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32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63" name="Freeform 82">
                <a:extLst>
                  <a:ext uri="{FF2B5EF4-FFF2-40B4-BE49-F238E27FC236}">
                    <a16:creationId xmlns:a16="http://schemas.microsoft.com/office/drawing/2014/main" id="{6B5D3434-8A8F-427B-8DDC-238222F7A6C3}"/>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sp>
          <p:nvSpPr>
            <p:cNvPr id="978" name="Rectangle 977">
              <a:extLst>
                <a:ext uri="{FF2B5EF4-FFF2-40B4-BE49-F238E27FC236}">
                  <a16:creationId xmlns:a16="http://schemas.microsoft.com/office/drawing/2014/main" id="{8A5C5027-673D-4A94-AA51-3B857EEEE503}"/>
                </a:ext>
              </a:extLst>
            </p:cNvPr>
            <p:cNvSpPr>
              <a:spLocks noChangeArrowheads="1"/>
            </p:cNvSpPr>
            <p:nvPr/>
          </p:nvSpPr>
          <p:spPr bwMode="auto">
            <a:xfrm>
              <a:off x="5099042" y="4195467"/>
              <a:ext cx="364447" cy="3586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9" name="Rectangle 978">
              <a:extLst>
                <a:ext uri="{FF2B5EF4-FFF2-40B4-BE49-F238E27FC236}">
                  <a16:creationId xmlns:a16="http://schemas.microsoft.com/office/drawing/2014/main" id="{42423080-0363-47C8-A7D8-1E12ED5BB517}"/>
                </a:ext>
              </a:extLst>
            </p:cNvPr>
            <p:cNvSpPr>
              <a:spLocks noChangeArrowheads="1"/>
            </p:cNvSpPr>
            <p:nvPr/>
          </p:nvSpPr>
          <p:spPr bwMode="auto">
            <a:xfrm>
              <a:off x="4708459" y="4525065"/>
              <a:ext cx="1145611" cy="5372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0" name="Freeform 7">
              <a:extLst>
                <a:ext uri="{FF2B5EF4-FFF2-40B4-BE49-F238E27FC236}">
                  <a16:creationId xmlns:a16="http://schemas.microsoft.com/office/drawing/2014/main" id="{1626B80C-C018-47AC-8673-106C38149C68}"/>
                </a:ext>
              </a:extLst>
            </p:cNvPr>
            <p:cNvSpPr>
              <a:spLocks/>
            </p:cNvSpPr>
            <p:nvPr/>
          </p:nvSpPr>
          <p:spPr bwMode="auto">
            <a:xfrm>
              <a:off x="4001346" y="2747845"/>
              <a:ext cx="2568550" cy="1530384"/>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1" name="Freeform 8">
              <a:extLst>
                <a:ext uri="{FF2B5EF4-FFF2-40B4-BE49-F238E27FC236}">
                  <a16:creationId xmlns:a16="http://schemas.microsoft.com/office/drawing/2014/main" id="{8B97A4F8-E463-473F-968F-6A7375058E8B}"/>
                </a:ext>
              </a:extLst>
            </p:cNvPr>
            <p:cNvSpPr>
              <a:spLocks/>
            </p:cNvSpPr>
            <p:nvPr/>
          </p:nvSpPr>
          <p:spPr bwMode="auto">
            <a:xfrm>
              <a:off x="4071041" y="2817540"/>
              <a:ext cx="2416092" cy="1332915"/>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2" name="Rectangle 981">
              <a:extLst>
                <a:ext uri="{FF2B5EF4-FFF2-40B4-BE49-F238E27FC236}">
                  <a16:creationId xmlns:a16="http://schemas.microsoft.com/office/drawing/2014/main" id="{E272875E-2311-4816-B5EB-63887DA5286F}"/>
                </a:ext>
              </a:extLst>
            </p:cNvPr>
            <p:cNvSpPr>
              <a:spLocks noChangeArrowheads="1"/>
            </p:cNvSpPr>
            <p:nvPr/>
          </p:nvSpPr>
          <p:spPr bwMode="auto">
            <a:xfrm>
              <a:off x="4277222" y="3028077"/>
              <a:ext cx="451566" cy="8711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3" name="Rectangle 982">
              <a:extLst>
                <a:ext uri="{FF2B5EF4-FFF2-40B4-BE49-F238E27FC236}">
                  <a16:creationId xmlns:a16="http://schemas.microsoft.com/office/drawing/2014/main" id="{517B8808-5C6E-4666-AC93-51A4F197E632}"/>
                </a:ext>
              </a:extLst>
            </p:cNvPr>
            <p:cNvSpPr>
              <a:spLocks noChangeArrowheads="1"/>
            </p:cNvSpPr>
            <p:nvPr/>
          </p:nvSpPr>
          <p:spPr bwMode="auto">
            <a:xfrm>
              <a:off x="4765087" y="3028077"/>
              <a:ext cx="1061397" cy="871186"/>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4" name="Rectangle 983">
              <a:extLst>
                <a:ext uri="{FF2B5EF4-FFF2-40B4-BE49-F238E27FC236}">
                  <a16:creationId xmlns:a16="http://schemas.microsoft.com/office/drawing/2014/main" id="{623BC229-15CD-4AE9-A885-F018A09E07B1}"/>
                </a:ext>
              </a:extLst>
            </p:cNvPr>
            <p:cNvSpPr>
              <a:spLocks noChangeArrowheads="1"/>
            </p:cNvSpPr>
            <p:nvPr/>
          </p:nvSpPr>
          <p:spPr bwMode="auto">
            <a:xfrm>
              <a:off x="4765087" y="3028077"/>
              <a:ext cx="1061397" cy="87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5" name="Rectangle 984">
              <a:extLst>
                <a:ext uri="{FF2B5EF4-FFF2-40B4-BE49-F238E27FC236}">
                  <a16:creationId xmlns:a16="http://schemas.microsoft.com/office/drawing/2014/main" id="{9389A302-ABA0-4D6B-9643-17ADC68A7F97}"/>
                </a:ext>
              </a:extLst>
            </p:cNvPr>
            <p:cNvSpPr>
              <a:spLocks noChangeArrowheads="1"/>
            </p:cNvSpPr>
            <p:nvPr/>
          </p:nvSpPr>
          <p:spPr bwMode="auto">
            <a:xfrm>
              <a:off x="5858427" y="3028077"/>
              <a:ext cx="415266" cy="19311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6" name="Rectangle 985">
              <a:extLst>
                <a:ext uri="{FF2B5EF4-FFF2-40B4-BE49-F238E27FC236}">
                  <a16:creationId xmlns:a16="http://schemas.microsoft.com/office/drawing/2014/main" id="{A5127730-723F-4249-9851-92591EF067D3}"/>
                </a:ext>
              </a:extLst>
            </p:cNvPr>
            <p:cNvSpPr>
              <a:spLocks noChangeArrowheads="1"/>
            </p:cNvSpPr>
            <p:nvPr/>
          </p:nvSpPr>
          <p:spPr bwMode="auto">
            <a:xfrm>
              <a:off x="5858427" y="3253133"/>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7" name="Rectangle 986">
              <a:extLst>
                <a:ext uri="{FF2B5EF4-FFF2-40B4-BE49-F238E27FC236}">
                  <a16:creationId xmlns:a16="http://schemas.microsoft.com/office/drawing/2014/main" id="{B472CD65-7B81-446F-99DE-0EB5154410E7}"/>
                </a:ext>
              </a:extLst>
            </p:cNvPr>
            <p:cNvSpPr>
              <a:spLocks noChangeArrowheads="1"/>
            </p:cNvSpPr>
            <p:nvPr/>
          </p:nvSpPr>
          <p:spPr bwMode="auto">
            <a:xfrm>
              <a:off x="5858427" y="3253133"/>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8" name="Rectangle 987">
              <a:extLst>
                <a:ext uri="{FF2B5EF4-FFF2-40B4-BE49-F238E27FC236}">
                  <a16:creationId xmlns:a16="http://schemas.microsoft.com/office/drawing/2014/main" id="{9E3138B5-72D7-4523-B508-53A4535B0782}"/>
                </a:ext>
              </a:extLst>
            </p:cNvPr>
            <p:cNvSpPr>
              <a:spLocks noChangeArrowheads="1"/>
            </p:cNvSpPr>
            <p:nvPr/>
          </p:nvSpPr>
          <p:spPr bwMode="auto">
            <a:xfrm>
              <a:off x="5858427" y="3479642"/>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9" name="Rectangle 988">
              <a:extLst>
                <a:ext uri="{FF2B5EF4-FFF2-40B4-BE49-F238E27FC236}">
                  <a16:creationId xmlns:a16="http://schemas.microsoft.com/office/drawing/2014/main" id="{A57D1D19-EEB3-4874-A92C-3F72F3C5C0F6}"/>
                </a:ext>
              </a:extLst>
            </p:cNvPr>
            <p:cNvSpPr>
              <a:spLocks noChangeArrowheads="1"/>
            </p:cNvSpPr>
            <p:nvPr/>
          </p:nvSpPr>
          <p:spPr bwMode="auto">
            <a:xfrm>
              <a:off x="5858427" y="3479642"/>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0" name="Rectangle 989">
              <a:extLst>
                <a:ext uri="{FF2B5EF4-FFF2-40B4-BE49-F238E27FC236}">
                  <a16:creationId xmlns:a16="http://schemas.microsoft.com/office/drawing/2014/main" id="{9E50B0AD-7D2B-4BEA-B314-E598081BB511}"/>
                </a:ext>
              </a:extLst>
            </p:cNvPr>
            <p:cNvSpPr>
              <a:spLocks noChangeArrowheads="1"/>
            </p:cNvSpPr>
            <p:nvPr/>
          </p:nvSpPr>
          <p:spPr bwMode="auto">
            <a:xfrm>
              <a:off x="5858427" y="3710506"/>
              <a:ext cx="415266" cy="18875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1" name="Rectangle 990">
              <a:extLst>
                <a:ext uri="{FF2B5EF4-FFF2-40B4-BE49-F238E27FC236}">
                  <a16:creationId xmlns:a16="http://schemas.microsoft.com/office/drawing/2014/main" id="{FE26064A-F25F-498E-BC72-C1E9E2842444}"/>
                </a:ext>
              </a:extLst>
            </p:cNvPr>
            <p:cNvSpPr>
              <a:spLocks noChangeArrowheads="1"/>
            </p:cNvSpPr>
            <p:nvPr/>
          </p:nvSpPr>
          <p:spPr bwMode="auto">
            <a:xfrm>
              <a:off x="5858427" y="3710506"/>
              <a:ext cx="415266" cy="188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2" name="Freeform 19">
              <a:extLst>
                <a:ext uri="{FF2B5EF4-FFF2-40B4-BE49-F238E27FC236}">
                  <a16:creationId xmlns:a16="http://schemas.microsoft.com/office/drawing/2014/main" id="{F1BD823A-C9A8-456F-97C2-BC758A0F0C24}"/>
                </a:ext>
              </a:extLst>
            </p:cNvPr>
            <p:cNvSpPr>
              <a:spLocks/>
            </p:cNvSpPr>
            <p:nvPr/>
          </p:nvSpPr>
          <p:spPr bwMode="auto">
            <a:xfrm>
              <a:off x="4277222" y="3982026"/>
              <a:ext cx="1996471" cy="65339"/>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3" name="Freeform 20">
              <a:extLst>
                <a:ext uri="{FF2B5EF4-FFF2-40B4-BE49-F238E27FC236}">
                  <a16:creationId xmlns:a16="http://schemas.microsoft.com/office/drawing/2014/main" id="{CB177B1C-D7E6-4887-9B36-CEE4C0E4EBC2}"/>
                </a:ext>
              </a:extLst>
            </p:cNvPr>
            <p:cNvSpPr>
              <a:spLocks/>
            </p:cNvSpPr>
            <p:nvPr/>
          </p:nvSpPr>
          <p:spPr bwMode="auto">
            <a:xfrm>
              <a:off x="4473238" y="3200862"/>
              <a:ext cx="74051" cy="110350"/>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4" name="Freeform 21">
              <a:extLst>
                <a:ext uri="{FF2B5EF4-FFF2-40B4-BE49-F238E27FC236}">
                  <a16:creationId xmlns:a16="http://schemas.microsoft.com/office/drawing/2014/main" id="{B0120E1C-6F71-4559-9EFB-6D21D52A43DB}"/>
                </a:ext>
              </a:extLst>
            </p:cNvPr>
            <p:cNvSpPr>
              <a:spLocks noEditPoints="1"/>
            </p:cNvSpPr>
            <p:nvPr/>
          </p:nvSpPr>
          <p:spPr bwMode="auto">
            <a:xfrm>
              <a:off x="4367245" y="3118100"/>
              <a:ext cx="271520" cy="275876"/>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5" name="Rectangle 994">
              <a:extLst>
                <a:ext uri="{FF2B5EF4-FFF2-40B4-BE49-F238E27FC236}">
                  <a16:creationId xmlns:a16="http://schemas.microsoft.com/office/drawing/2014/main" id="{E2B025A7-F569-4727-8182-FBB20A0DA363}"/>
                </a:ext>
              </a:extLst>
            </p:cNvPr>
            <p:cNvSpPr>
              <a:spLocks noChangeArrowheads="1"/>
            </p:cNvSpPr>
            <p:nvPr/>
          </p:nvSpPr>
          <p:spPr bwMode="auto">
            <a:xfrm>
              <a:off x="4158160"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6" name="Rectangle 995">
              <a:extLst>
                <a:ext uri="{FF2B5EF4-FFF2-40B4-BE49-F238E27FC236}">
                  <a16:creationId xmlns:a16="http://schemas.microsoft.com/office/drawing/2014/main" id="{D83FF1A2-51A2-4DF9-B6DC-E4DA99F3ACE0}"/>
                </a:ext>
              </a:extLst>
            </p:cNvPr>
            <p:cNvSpPr>
              <a:spLocks noChangeArrowheads="1"/>
            </p:cNvSpPr>
            <p:nvPr/>
          </p:nvSpPr>
          <p:spPr bwMode="auto">
            <a:xfrm>
              <a:off x="4445651" y="2900303"/>
              <a:ext cx="217797" cy="450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7" name="Rectangle 996">
              <a:extLst>
                <a:ext uri="{FF2B5EF4-FFF2-40B4-BE49-F238E27FC236}">
                  <a16:creationId xmlns:a16="http://schemas.microsoft.com/office/drawing/2014/main" id="{23838882-707D-4C96-AC35-7508DF09419A}"/>
                </a:ext>
              </a:extLst>
            </p:cNvPr>
            <p:cNvSpPr>
              <a:spLocks noChangeArrowheads="1"/>
            </p:cNvSpPr>
            <p:nvPr/>
          </p:nvSpPr>
          <p:spPr bwMode="auto">
            <a:xfrm>
              <a:off x="4737499"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8" name="Rectangle 997">
              <a:extLst>
                <a:ext uri="{FF2B5EF4-FFF2-40B4-BE49-F238E27FC236}">
                  <a16:creationId xmlns:a16="http://schemas.microsoft.com/office/drawing/2014/main" id="{CF9342C1-3F68-498F-90A9-4BD3252B461A}"/>
                </a:ext>
              </a:extLst>
            </p:cNvPr>
            <p:cNvSpPr>
              <a:spLocks noChangeArrowheads="1"/>
            </p:cNvSpPr>
            <p:nvPr/>
          </p:nvSpPr>
          <p:spPr bwMode="auto">
            <a:xfrm>
              <a:off x="4737499"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9" name="Rectangle 998">
              <a:extLst>
                <a:ext uri="{FF2B5EF4-FFF2-40B4-BE49-F238E27FC236}">
                  <a16:creationId xmlns:a16="http://schemas.microsoft.com/office/drawing/2014/main" id="{4BF35F07-C771-4ED4-92AA-EA3E1688727E}"/>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0" name="Rectangle 999">
              <a:extLst>
                <a:ext uri="{FF2B5EF4-FFF2-40B4-BE49-F238E27FC236}">
                  <a16:creationId xmlns:a16="http://schemas.microsoft.com/office/drawing/2014/main" id="{2AE75359-DBC7-4813-8D1C-A58FACEF57D9}"/>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1" name="Rectangle 1000">
              <a:extLst>
                <a:ext uri="{FF2B5EF4-FFF2-40B4-BE49-F238E27FC236}">
                  <a16:creationId xmlns:a16="http://schemas.microsoft.com/office/drawing/2014/main" id="{3CD9CFB4-DD37-4EDC-8DB9-258067F91575}"/>
                </a:ext>
              </a:extLst>
            </p:cNvPr>
            <p:cNvSpPr>
              <a:spLocks noChangeArrowheads="1"/>
            </p:cNvSpPr>
            <p:nvPr/>
          </p:nvSpPr>
          <p:spPr bwMode="auto">
            <a:xfrm>
              <a:off x="5319742"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2" name="Rectangle 1001">
              <a:extLst>
                <a:ext uri="{FF2B5EF4-FFF2-40B4-BE49-F238E27FC236}">
                  <a16:creationId xmlns:a16="http://schemas.microsoft.com/office/drawing/2014/main" id="{661174BA-A71B-4894-8639-9764A05DBD3B}"/>
                </a:ext>
              </a:extLst>
            </p:cNvPr>
            <p:cNvSpPr>
              <a:spLocks noChangeArrowheads="1"/>
            </p:cNvSpPr>
            <p:nvPr/>
          </p:nvSpPr>
          <p:spPr bwMode="auto">
            <a:xfrm>
              <a:off x="5319742"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3" name="Rectangle 1002">
              <a:extLst>
                <a:ext uri="{FF2B5EF4-FFF2-40B4-BE49-F238E27FC236}">
                  <a16:creationId xmlns:a16="http://schemas.microsoft.com/office/drawing/2014/main" id="{0008D4B5-4F78-4C7E-ADE3-55EB0A4EDEC3}"/>
                </a:ext>
              </a:extLst>
            </p:cNvPr>
            <p:cNvSpPr>
              <a:spLocks noChangeArrowheads="1"/>
            </p:cNvSpPr>
            <p:nvPr/>
          </p:nvSpPr>
          <p:spPr bwMode="auto">
            <a:xfrm>
              <a:off x="5611590"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4" name="Rectangle 1003">
              <a:extLst>
                <a:ext uri="{FF2B5EF4-FFF2-40B4-BE49-F238E27FC236}">
                  <a16:creationId xmlns:a16="http://schemas.microsoft.com/office/drawing/2014/main" id="{101AF6B9-94D5-4245-A75A-138C5D32D889}"/>
                </a:ext>
              </a:extLst>
            </p:cNvPr>
            <p:cNvSpPr>
              <a:spLocks noChangeArrowheads="1"/>
            </p:cNvSpPr>
            <p:nvPr/>
          </p:nvSpPr>
          <p:spPr bwMode="auto">
            <a:xfrm>
              <a:off x="5903438"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5" name="Rectangle 1004">
              <a:extLst>
                <a:ext uri="{FF2B5EF4-FFF2-40B4-BE49-F238E27FC236}">
                  <a16:creationId xmlns:a16="http://schemas.microsoft.com/office/drawing/2014/main" id="{CE62A5C9-9BEE-4B68-8635-260E977400A4}"/>
                </a:ext>
              </a:extLst>
            </p:cNvPr>
            <p:cNvSpPr>
              <a:spLocks noChangeArrowheads="1"/>
            </p:cNvSpPr>
            <p:nvPr/>
          </p:nvSpPr>
          <p:spPr bwMode="auto">
            <a:xfrm>
              <a:off x="6195286"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6" name="Freeform 33">
              <a:extLst>
                <a:ext uri="{FF2B5EF4-FFF2-40B4-BE49-F238E27FC236}">
                  <a16:creationId xmlns:a16="http://schemas.microsoft.com/office/drawing/2014/main" id="{2ED13BA3-6FDC-4C63-B8DE-D3C1C099EB6B}"/>
                </a:ext>
              </a:extLst>
            </p:cNvPr>
            <p:cNvSpPr>
              <a:spLocks noEditPoints="1"/>
            </p:cNvSpPr>
            <p:nvPr/>
          </p:nvSpPr>
          <p:spPr bwMode="auto">
            <a:xfrm>
              <a:off x="4695392" y="2747845"/>
              <a:ext cx="1874504" cy="1530384"/>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7" name="Freeform 34">
              <a:extLst>
                <a:ext uri="{FF2B5EF4-FFF2-40B4-BE49-F238E27FC236}">
                  <a16:creationId xmlns:a16="http://schemas.microsoft.com/office/drawing/2014/main" id="{A27D1516-2069-4FA9-80C6-270A9C840547}"/>
                </a:ext>
              </a:extLst>
            </p:cNvPr>
            <p:cNvSpPr>
              <a:spLocks noEditPoints="1"/>
            </p:cNvSpPr>
            <p:nvPr/>
          </p:nvSpPr>
          <p:spPr bwMode="auto">
            <a:xfrm>
              <a:off x="4765087" y="2817540"/>
              <a:ext cx="1722046" cy="1332915"/>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rgbClr val="D5D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8" name="Freeform 36">
              <a:extLst>
                <a:ext uri="{FF2B5EF4-FFF2-40B4-BE49-F238E27FC236}">
                  <a16:creationId xmlns:a16="http://schemas.microsoft.com/office/drawing/2014/main" id="{5902CDF2-C10C-42A9-8702-89B8F78A80D7}"/>
                </a:ext>
              </a:extLst>
            </p:cNvPr>
            <p:cNvSpPr>
              <a:spLocks/>
            </p:cNvSpPr>
            <p:nvPr/>
          </p:nvSpPr>
          <p:spPr bwMode="auto">
            <a:xfrm>
              <a:off x="4975624" y="3028077"/>
              <a:ext cx="850859" cy="850859"/>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9" name="Freeform 37">
              <a:extLst>
                <a:ext uri="{FF2B5EF4-FFF2-40B4-BE49-F238E27FC236}">
                  <a16:creationId xmlns:a16="http://schemas.microsoft.com/office/drawing/2014/main" id="{F8D88FEB-AB57-4496-AE19-2630E4AD7890}"/>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0" name="Freeform 38">
              <a:extLst>
                <a:ext uri="{FF2B5EF4-FFF2-40B4-BE49-F238E27FC236}">
                  <a16:creationId xmlns:a16="http://schemas.microsoft.com/office/drawing/2014/main" id="{A31F9A16-78BC-4369-B524-1B49D8991A49}"/>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1" name="Freeform 39">
              <a:extLst>
                <a:ext uri="{FF2B5EF4-FFF2-40B4-BE49-F238E27FC236}">
                  <a16:creationId xmlns:a16="http://schemas.microsoft.com/office/drawing/2014/main" id="{A4EB2B2A-9217-4AE3-A243-6BA709C9A122}"/>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2" name="Freeform 40">
              <a:extLst>
                <a:ext uri="{FF2B5EF4-FFF2-40B4-BE49-F238E27FC236}">
                  <a16:creationId xmlns:a16="http://schemas.microsoft.com/office/drawing/2014/main" id="{61109E63-2837-481F-B015-7A8FB507B724}"/>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3" name="Freeform 41">
              <a:extLst>
                <a:ext uri="{FF2B5EF4-FFF2-40B4-BE49-F238E27FC236}">
                  <a16:creationId xmlns:a16="http://schemas.microsoft.com/office/drawing/2014/main" id="{CFE9CB34-D61F-4EF4-95CA-62A5765AD611}"/>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4" name="Freeform 42">
              <a:extLst>
                <a:ext uri="{FF2B5EF4-FFF2-40B4-BE49-F238E27FC236}">
                  <a16:creationId xmlns:a16="http://schemas.microsoft.com/office/drawing/2014/main" id="{AFA34D4A-7934-4D94-813F-4E2C5C12DE4C}"/>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5" name="Freeform 43">
              <a:extLst>
                <a:ext uri="{FF2B5EF4-FFF2-40B4-BE49-F238E27FC236}">
                  <a16:creationId xmlns:a16="http://schemas.microsoft.com/office/drawing/2014/main" id="{44671722-F079-4BA8-AEF7-C2AF55B50ACE}"/>
                </a:ext>
              </a:extLst>
            </p:cNvPr>
            <p:cNvSpPr>
              <a:spLocks/>
            </p:cNvSpPr>
            <p:nvPr/>
          </p:nvSpPr>
          <p:spPr bwMode="auto">
            <a:xfrm>
              <a:off x="5928122" y="3982026"/>
              <a:ext cx="345571" cy="65339"/>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6" name="Freeform 44">
              <a:extLst>
                <a:ext uri="{FF2B5EF4-FFF2-40B4-BE49-F238E27FC236}">
                  <a16:creationId xmlns:a16="http://schemas.microsoft.com/office/drawing/2014/main" id="{022AD742-8000-4510-97FA-72A5B18C4E49}"/>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7" name="Freeform 45">
              <a:extLst>
                <a:ext uri="{FF2B5EF4-FFF2-40B4-BE49-F238E27FC236}">
                  <a16:creationId xmlns:a16="http://schemas.microsoft.com/office/drawing/2014/main" id="{7C1F8DB7-96FD-4F2B-8C8A-8940730CDDDB}"/>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8" name="Rectangle 46">
              <a:extLst>
                <a:ext uri="{FF2B5EF4-FFF2-40B4-BE49-F238E27FC236}">
                  <a16:creationId xmlns:a16="http://schemas.microsoft.com/office/drawing/2014/main" id="{D5DAF42B-414C-4183-8815-A86779A33AA9}"/>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9" name="Rectangle 47">
              <a:extLst>
                <a:ext uri="{FF2B5EF4-FFF2-40B4-BE49-F238E27FC236}">
                  <a16:creationId xmlns:a16="http://schemas.microsoft.com/office/drawing/2014/main" id="{C4A2F02C-8329-4FA7-89C9-E82662FB5FF3}"/>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0" name="Freeform 48">
              <a:extLst>
                <a:ext uri="{FF2B5EF4-FFF2-40B4-BE49-F238E27FC236}">
                  <a16:creationId xmlns:a16="http://schemas.microsoft.com/office/drawing/2014/main" id="{F972B083-1F85-4701-96A0-235CBEEF33B1}"/>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1" name="Freeform 49">
              <a:extLst>
                <a:ext uri="{FF2B5EF4-FFF2-40B4-BE49-F238E27FC236}">
                  <a16:creationId xmlns:a16="http://schemas.microsoft.com/office/drawing/2014/main" id="{D6CF25F2-F5B7-4629-8AFC-87F8CDAC3D09}"/>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2" name="Freeform 157">
              <a:extLst>
                <a:ext uri="{FF2B5EF4-FFF2-40B4-BE49-F238E27FC236}">
                  <a16:creationId xmlns:a16="http://schemas.microsoft.com/office/drawing/2014/main" id="{288B5BAE-EC74-4A02-BCA7-F565F215BF8D}"/>
                </a:ext>
              </a:extLst>
            </p:cNvPr>
            <p:cNvSpPr>
              <a:spLocks/>
            </p:cNvSpPr>
            <p:nvPr/>
          </p:nvSpPr>
          <p:spPr bwMode="auto">
            <a:xfrm>
              <a:off x="4765086" y="3028077"/>
              <a:ext cx="1061397" cy="871186"/>
            </a:xfrm>
            <a:prstGeom prst="rect">
              <a:avLst/>
            </a:prstGeom>
            <a:solidFill>
              <a:srgbClr val="D83B01"/>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3" name="Freeform 125">
              <a:extLst>
                <a:ext uri="{FF2B5EF4-FFF2-40B4-BE49-F238E27FC236}">
                  <a16:creationId xmlns:a16="http://schemas.microsoft.com/office/drawing/2014/main" id="{B88315B7-E626-436A-A5C5-F831A26546E3}"/>
                </a:ext>
              </a:extLst>
            </p:cNvPr>
            <p:cNvSpPr>
              <a:spLocks noEditPoints="1"/>
            </p:cNvSpPr>
            <p:nvPr/>
          </p:nvSpPr>
          <p:spPr bwMode="auto">
            <a:xfrm>
              <a:off x="5057298" y="3154680"/>
              <a:ext cx="476972" cy="61798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8C00"/>
                </a:solidFill>
                <a:effectLst/>
                <a:uLnTx/>
                <a:uFillTx/>
                <a:latin typeface="Times New Roman" charset="0"/>
                <a:ea typeface="ＭＳ Ｐゴシック" charset="0"/>
              </a:endParaRPr>
            </a:p>
          </p:txBody>
        </p:sp>
        <p:grpSp>
          <p:nvGrpSpPr>
            <p:cNvPr id="1024" name="Group 1023">
              <a:extLst>
                <a:ext uri="{FF2B5EF4-FFF2-40B4-BE49-F238E27FC236}">
                  <a16:creationId xmlns:a16="http://schemas.microsoft.com/office/drawing/2014/main" id="{7DA6F42F-CFAB-4A7C-9982-7AF4D9E01694}"/>
                </a:ext>
              </a:extLst>
            </p:cNvPr>
            <p:cNvGrpSpPr/>
            <p:nvPr/>
          </p:nvGrpSpPr>
          <p:grpSpPr>
            <a:xfrm>
              <a:off x="2462782" y="3645408"/>
              <a:ext cx="1887955" cy="1067493"/>
              <a:chOff x="2267710" y="3645408"/>
              <a:chExt cx="1887955" cy="1067493"/>
            </a:xfrm>
          </p:grpSpPr>
          <p:sp>
            <p:nvSpPr>
              <p:cNvPr id="1029" name="Freeform 151">
                <a:extLst>
                  <a:ext uri="{FF2B5EF4-FFF2-40B4-BE49-F238E27FC236}">
                    <a16:creationId xmlns:a16="http://schemas.microsoft.com/office/drawing/2014/main" id="{7FA2947C-9B58-46AF-9AA6-0A3E13380F0B}"/>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0" name="Freeform 152">
                <a:extLst>
                  <a:ext uri="{FF2B5EF4-FFF2-40B4-BE49-F238E27FC236}">
                    <a16:creationId xmlns:a16="http://schemas.microsoft.com/office/drawing/2014/main" id="{6C781854-5BD3-426A-8942-6217F678A9FF}"/>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1" name="Freeform 158">
                <a:extLst>
                  <a:ext uri="{FF2B5EF4-FFF2-40B4-BE49-F238E27FC236}">
                    <a16:creationId xmlns:a16="http://schemas.microsoft.com/office/drawing/2014/main" id="{1E2D49CD-5C98-4C1A-AC7E-E1A49A8D9C41}"/>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2" name="Freeform 168">
                <a:extLst>
                  <a:ext uri="{FF2B5EF4-FFF2-40B4-BE49-F238E27FC236}">
                    <a16:creationId xmlns:a16="http://schemas.microsoft.com/office/drawing/2014/main" id="{6AE52986-6FC8-4567-8418-BD5D66296341}"/>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33" name="Group 1032">
                <a:extLst>
                  <a:ext uri="{FF2B5EF4-FFF2-40B4-BE49-F238E27FC236}">
                    <a16:creationId xmlns:a16="http://schemas.microsoft.com/office/drawing/2014/main" id="{383BBBDF-A65D-4887-82B9-6A94F668636D}"/>
                  </a:ext>
                </a:extLst>
              </p:cNvPr>
              <p:cNvGrpSpPr/>
              <p:nvPr/>
            </p:nvGrpSpPr>
            <p:grpSpPr>
              <a:xfrm>
                <a:off x="2677694" y="3839497"/>
                <a:ext cx="1155716" cy="644026"/>
                <a:chOff x="2726462" y="3839497"/>
                <a:chExt cx="1155716" cy="644026"/>
              </a:xfrm>
            </p:grpSpPr>
            <p:sp>
              <p:nvSpPr>
                <p:cNvPr id="1034" name="Freeform 153">
                  <a:extLst>
                    <a:ext uri="{FF2B5EF4-FFF2-40B4-BE49-F238E27FC236}">
                      <a16:creationId xmlns:a16="http://schemas.microsoft.com/office/drawing/2014/main" id="{17062797-08F7-4B4D-823E-95C3C2445F2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5" name="Freeform 154">
                  <a:extLst>
                    <a:ext uri="{FF2B5EF4-FFF2-40B4-BE49-F238E27FC236}">
                      <a16:creationId xmlns:a16="http://schemas.microsoft.com/office/drawing/2014/main" id="{67C79133-21CE-4844-9E45-1F5C4CD0F3A9}"/>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6" name="Freeform 155">
                  <a:extLst>
                    <a:ext uri="{FF2B5EF4-FFF2-40B4-BE49-F238E27FC236}">
                      <a16:creationId xmlns:a16="http://schemas.microsoft.com/office/drawing/2014/main" id="{0043B03B-3658-4C87-93E8-A8358E1CD1CB}"/>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7" name="Freeform 156">
                  <a:extLst>
                    <a:ext uri="{FF2B5EF4-FFF2-40B4-BE49-F238E27FC236}">
                      <a16:creationId xmlns:a16="http://schemas.microsoft.com/office/drawing/2014/main" id="{84DA135D-6BF1-4685-8C86-033CF3092D69}"/>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8" name="Freeform 157">
                  <a:extLst>
                    <a:ext uri="{FF2B5EF4-FFF2-40B4-BE49-F238E27FC236}">
                      <a16:creationId xmlns:a16="http://schemas.microsoft.com/office/drawing/2014/main" id="{EDFECAA1-3E06-4129-8675-D5B6528FAD18}"/>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9" name="Freeform 159">
                  <a:extLst>
                    <a:ext uri="{FF2B5EF4-FFF2-40B4-BE49-F238E27FC236}">
                      <a16:creationId xmlns:a16="http://schemas.microsoft.com/office/drawing/2014/main" id="{BA8D7F7B-EA55-4D07-8117-534184A506C3}"/>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0" name="Freeform 160">
                  <a:extLst>
                    <a:ext uri="{FF2B5EF4-FFF2-40B4-BE49-F238E27FC236}">
                      <a16:creationId xmlns:a16="http://schemas.microsoft.com/office/drawing/2014/main" id="{8AC66F77-8ADB-490E-8711-B37235D00A72}"/>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1" name="Freeform 161">
                  <a:extLst>
                    <a:ext uri="{FF2B5EF4-FFF2-40B4-BE49-F238E27FC236}">
                      <a16:creationId xmlns:a16="http://schemas.microsoft.com/office/drawing/2014/main" id="{CC8CBFD1-D067-4B13-9928-3F760805758E}"/>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2" name="Freeform 162">
                  <a:extLst>
                    <a:ext uri="{FF2B5EF4-FFF2-40B4-BE49-F238E27FC236}">
                      <a16:creationId xmlns:a16="http://schemas.microsoft.com/office/drawing/2014/main" id="{6D4975DB-9B8C-4C2A-A31E-28FE3B833079}"/>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3" name="Freeform 163">
                  <a:extLst>
                    <a:ext uri="{FF2B5EF4-FFF2-40B4-BE49-F238E27FC236}">
                      <a16:creationId xmlns:a16="http://schemas.microsoft.com/office/drawing/2014/main" id="{49F60D13-395F-4DF7-B28A-A2D295281152}"/>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4" name="Freeform 164">
                  <a:extLst>
                    <a:ext uri="{FF2B5EF4-FFF2-40B4-BE49-F238E27FC236}">
                      <a16:creationId xmlns:a16="http://schemas.microsoft.com/office/drawing/2014/main" id="{FB9CCB50-6A96-45E8-81D6-4840BC779894}"/>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5" name="Freeform 165">
                  <a:extLst>
                    <a:ext uri="{FF2B5EF4-FFF2-40B4-BE49-F238E27FC236}">
                      <a16:creationId xmlns:a16="http://schemas.microsoft.com/office/drawing/2014/main" id="{9E9313F4-8788-489E-AE0F-9E407DD5ED34}"/>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6" name="Freeform 166">
                  <a:extLst>
                    <a:ext uri="{FF2B5EF4-FFF2-40B4-BE49-F238E27FC236}">
                      <a16:creationId xmlns:a16="http://schemas.microsoft.com/office/drawing/2014/main" id="{D83C537F-91B4-4FCC-9CA4-3C26C7F3EE34}"/>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7" name="Freeform 167">
                  <a:extLst>
                    <a:ext uri="{FF2B5EF4-FFF2-40B4-BE49-F238E27FC236}">
                      <a16:creationId xmlns:a16="http://schemas.microsoft.com/office/drawing/2014/main" id="{7D7F55C0-B483-4593-B2D4-4FAF70AD94AE}"/>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8" name="Freeform 169">
                  <a:extLst>
                    <a:ext uri="{FF2B5EF4-FFF2-40B4-BE49-F238E27FC236}">
                      <a16:creationId xmlns:a16="http://schemas.microsoft.com/office/drawing/2014/main" id="{727E4F2E-3336-4174-8CE5-EE10D5067E8B}"/>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9" name="Freeform 170">
                  <a:extLst>
                    <a:ext uri="{FF2B5EF4-FFF2-40B4-BE49-F238E27FC236}">
                      <a16:creationId xmlns:a16="http://schemas.microsoft.com/office/drawing/2014/main" id="{3FBFC76A-4538-4004-A369-78FC5795DBAE}"/>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0" name="Freeform 171">
                  <a:extLst>
                    <a:ext uri="{FF2B5EF4-FFF2-40B4-BE49-F238E27FC236}">
                      <a16:creationId xmlns:a16="http://schemas.microsoft.com/office/drawing/2014/main" id="{9142A2A7-6A00-4384-89D7-D6EF038C0BA4}"/>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1" name="Freeform 172">
                  <a:extLst>
                    <a:ext uri="{FF2B5EF4-FFF2-40B4-BE49-F238E27FC236}">
                      <a16:creationId xmlns:a16="http://schemas.microsoft.com/office/drawing/2014/main" id="{6B42F3CE-6A8E-41A1-A069-C62F8D367660}"/>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2" name="Freeform 173">
                  <a:extLst>
                    <a:ext uri="{FF2B5EF4-FFF2-40B4-BE49-F238E27FC236}">
                      <a16:creationId xmlns:a16="http://schemas.microsoft.com/office/drawing/2014/main" id="{9DC87181-11D9-4EF4-A266-18598B55C1BE}"/>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3" name="Freeform 174">
                  <a:extLst>
                    <a:ext uri="{FF2B5EF4-FFF2-40B4-BE49-F238E27FC236}">
                      <a16:creationId xmlns:a16="http://schemas.microsoft.com/office/drawing/2014/main" id="{8CF8A243-ACF5-4DD0-A056-C66CB405E835}"/>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4" name="Freeform 175">
                  <a:extLst>
                    <a:ext uri="{FF2B5EF4-FFF2-40B4-BE49-F238E27FC236}">
                      <a16:creationId xmlns:a16="http://schemas.microsoft.com/office/drawing/2014/main" id="{A8FBE0D7-61FF-4842-9B0A-3A66702143B1}"/>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5" name="Freeform 176">
                  <a:extLst>
                    <a:ext uri="{FF2B5EF4-FFF2-40B4-BE49-F238E27FC236}">
                      <a16:creationId xmlns:a16="http://schemas.microsoft.com/office/drawing/2014/main" id="{ECBB421F-BA08-4E9D-9ABF-408D6918FD32}"/>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6" name="Freeform 177">
                  <a:extLst>
                    <a:ext uri="{FF2B5EF4-FFF2-40B4-BE49-F238E27FC236}">
                      <a16:creationId xmlns:a16="http://schemas.microsoft.com/office/drawing/2014/main" id="{F23FF4C9-D054-4D99-B017-8C93329FB376}"/>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7" name="Freeform 186">
                  <a:extLst>
                    <a:ext uri="{FF2B5EF4-FFF2-40B4-BE49-F238E27FC236}">
                      <a16:creationId xmlns:a16="http://schemas.microsoft.com/office/drawing/2014/main" id="{A02E0749-6118-4B42-AD3C-025B45AA3531}"/>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8" name="Freeform 187">
                  <a:extLst>
                    <a:ext uri="{FF2B5EF4-FFF2-40B4-BE49-F238E27FC236}">
                      <a16:creationId xmlns:a16="http://schemas.microsoft.com/office/drawing/2014/main" id="{2D260C0D-E720-4376-A6A5-68344CC6FEDE}"/>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9" name="Freeform 188">
                  <a:extLst>
                    <a:ext uri="{FF2B5EF4-FFF2-40B4-BE49-F238E27FC236}">
                      <a16:creationId xmlns:a16="http://schemas.microsoft.com/office/drawing/2014/main" id="{B582315E-9C19-4E8E-AB87-C8D5F8EBF58D}"/>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0" name="Freeform 189">
                  <a:extLst>
                    <a:ext uri="{FF2B5EF4-FFF2-40B4-BE49-F238E27FC236}">
                      <a16:creationId xmlns:a16="http://schemas.microsoft.com/office/drawing/2014/main" id="{A7535B41-7C82-4D9E-91C4-C5B99649CCC7}"/>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1" name="Freeform 190">
                  <a:extLst>
                    <a:ext uri="{FF2B5EF4-FFF2-40B4-BE49-F238E27FC236}">
                      <a16:creationId xmlns:a16="http://schemas.microsoft.com/office/drawing/2014/main" id="{06FC8893-48D6-48F9-83F5-86D0241D6F27}"/>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25" name="Group 1024">
              <a:extLst>
                <a:ext uri="{FF2B5EF4-FFF2-40B4-BE49-F238E27FC236}">
                  <a16:creationId xmlns:a16="http://schemas.microsoft.com/office/drawing/2014/main" id="{042AC8A5-D0FA-43BD-8C73-4D4925174FA1}"/>
                </a:ext>
              </a:extLst>
            </p:cNvPr>
            <p:cNvGrpSpPr/>
            <p:nvPr/>
          </p:nvGrpSpPr>
          <p:grpSpPr>
            <a:xfrm>
              <a:off x="3705306" y="3645288"/>
              <a:ext cx="1656542" cy="1392080"/>
              <a:chOff x="3484242" y="3413760"/>
              <a:chExt cx="1656542" cy="1392080"/>
            </a:xfrm>
          </p:grpSpPr>
          <p:sp>
            <p:nvSpPr>
              <p:cNvPr id="1026" name="Freeform: Shape 1025">
                <a:extLst>
                  <a:ext uri="{FF2B5EF4-FFF2-40B4-BE49-F238E27FC236}">
                    <a16:creationId xmlns:a16="http://schemas.microsoft.com/office/drawing/2014/main" id="{1CDEDC87-C975-4EBD-9F64-91AC67787200}"/>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7" name="Freeform: Shape 1026">
                <a:extLst>
                  <a:ext uri="{FF2B5EF4-FFF2-40B4-BE49-F238E27FC236}">
                    <a16:creationId xmlns:a16="http://schemas.microsoft.com/office/drawing/2014/main" id="{6C65BCDE-CA8A-4402-A8F8-E086344B69E4}"/>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8" name="Freeform 164">
                <a:extLst>
                  <a:ext uri="{FF2B5EF4-FFF2-40B4-BE49-F238E27FC236}">
                    <a16:creationId xmlns:a16="http://schemas.microsoft.com/office/drawing/2014/main" id="{2CF8E8E2-4B57-460A-A98D-1081BDF3A99E}"/>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spTree>
    <p:extLst>
      <p:ext uri="{BB962C8B-B14F-4D97-AF65-F5344CB8AC3E}">
        <p14:creationId xmlns:p14="http://schemas.microsoft.com/office/powerpoint/2010/main" val="3427710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4032694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1034" name="TextBox 1033">
            <a:extLst>
              <a:ext uri="{FF2B5EF4-FFF2-40B4-BE49-F238E27FC236}">
                <a16:creationId xmlns:a16="http://schemas.microsoft.com/office/drawing/2014/main" id="{FC4B14B1-BD48-4806-9DB5-AFF8BFD60934}"/>
              </a:ext>
            </a:extLst>
          </p:cNvPr>
          <p:cNvSpPr txBox="1"/>
          <p:nvPr/>
        </p:nvSpPr>
        <p:spPr>
          <a:xfrm>
            <a:off x="651493" y="2413187"/>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Azure AD security services are readily available</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5542479" cy="369332"/>
          </a:xfrm>
          <a:prstGeom prst="rect">
            <a:avLst/>
          </a:prstGeom>
        </p:spPr>
        <p:txBody>
          <a:bodyPr wrap="none">
            <a:spAutoFit/>
          </a:bodyPr>
          <a:lstStyle/>
          <a:p>
            <a:r>
              <a:rPr lang="en-US" b="1" i="1" dirty="0"/>
              <a:t>Enhanced Security with Simplified Configuration</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Moving from on-prem virtualization to WVD</a:t>
            </a:r>
          </a:p>
          <a:p>
            <a:pPr marL="344488" indent="-176213" defTabSz="932472" fontAlgn="base">
              <a:spcBef>
                <a:spcPts val="200"/>
              </a:spcBef>
              <a:spcAft>
                <a:spcPct val="0"/>
              </a:spcAft>
              <a:buFont typeface="Arial" panose="020B0604020202020204" pitchFamily="34" charset="0"/>
              <a:buChar char="•"/>
            </a:pPr>
            <a:r>
              <a:rPr lang="en-US" sz="1400" dirty="0">
                <a:solidFill>
                  <a:schemeClr val="tx1"/>
                </a:solidFill>
                <a:cs typeface="Segoe UI" pitchFamily="34" charset="0"/>
              </a:rPr>
              <a:t>WVD customers can readily utilize sophisticated Azure AD security services via built-in integration</a:t>
            </a: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302299" y="2429311"/>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400" fontAlgn="auto">
              <a:spcBef>
                <a:spcPts val="1200"/>
              </a:spcBef>
              <a:spcAft>
                <a:spcPts val="600"/>
              </a:spcAft>
            </a:pPr>
            <a:r>
              <a:rPr lang="en-US" altLang="zh-CN" sz="1600" b="1" i="1" dirty="0">
                <a:solidFill>
                  <a:schemeClr val="tx2"/>
                </a:solidFill>
              </a:rPr>
              <a:t>Enhanced security capabilities, already built in</a:t>
            </a:r>
          </a:p>
        </p:txBody>
      </p:sp>
      <p:sp>
        <p:nvSpPr>
          <p:cNvPr id="1655" name="TextBox 1654">
            <a:extLst>
              <a:ext uri="{FF2B5EF4-FFF2-40B4-BE49-F238E27FC236}">
                <a16:creationId xmlns:a16="http://schemas.microsoft.com/office/drawing/2014/main" id="{672E9532-405F-4F58-95B2-8B0D26D4CE9C}"/>
              </a:ext>
            </a:extLst>
          </p:cNvPr>
          <p:cNvSpPr txBox="1"/>
          <p:nvPr/>
        </p:nvSpPr>
        <p:spPr>
          <a:xfrm>
            <a:off x="4594884" y="2945859"/>
            <a:ext cx="3197836" cy="472272"/>
          </a:xfrm>
          <a:prstGeom prst="rect">
            <a:avLst/>
          </a:prstGeom>
          <a:solidFill>
            <a:schemeClr val="bg1">
              <a:lumMod val="85000"/>
            </a:schemeClr>
          </a:solidFill>
          <a:ln w="6350">
            <a:noFill/>
          </a:ln>
        </p:spPr>
        <p:txBody>
          <a:bodyPr wrap="square" lIns="0" tIns="0" rIns="0" bIns="0" rtlCol="0" anchor="ctr">
            <a:noAutofit/>
          </a:bodyPr>
          <a:lstStyle/>
          <a:p>
            <a:pPr algn="ctr"/>
            <a:r>
              <a:rPr lang="en-US" sz="1200" dirty="0">
                <a:solidFill>
                  <a:srgbClr val="002060"/>
                </a:solidFill>
                <a:latin typeface="+mj-lt"/>
              </a:rPr>
              <a:t>Azure AD Security Services </a:t>
            </a:r>
          </a:p>
          <a:p>
            <a:pPr algn="ctr"/>
            <a:r>
              <a:rPr lang="en-US" sz="1200" dirty="0">
                <a:solidFill>
                  <a:srgbClr val="002060"/>
                </a:solidFill>
                <a:latin typeface="+mj-lt"/>
              </a:rPr>
              <a:t>Easily Configured by IT</a:t>
            </a:r>
          </a:p>
        </p:txBody>
      </p:sp>
      <p:sp>
        <p:nvSpPr>
          <p:cNvPr id="1654" name="TextBox 1653">
            <a:extLst>
              <a:ext uri="{FF2B5EF4-FFF2-40B4-BE49-F238E27FC236}">
                <a16:creationId xmlns:a16="http://schemas.microsoft.com/office/drawing/2014/main" id="{031B63B5-C864-41D6-9648-18B961DC33AB}"/>
              </a:ext>
            </a:extLst>
          </p:cNvPr>
          <p:cNvSpPr txBox="1"/>
          <p:nvPr/>
        </p:nvSpPr>
        <p:spPr>
          <a:xfrm>
            <a:off x="705647" y="2945859"/>
            <a:ext cx="3197836" cy="472272"/>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algn="ctr"/>
            <a:r>
              <a:rPr lang="en-US" sz="1200" dirty="0">
                <a:solidFill>
                  <a:srgbClr val="002060"/>
                </a:solidFill>
                <a:latin typeface="+mj-lt"/>
              </a:rPr>
              <a:t>Security Services</a:t>
            </a:r>
            <a:br>
              <a:rPr lang="en-US" sz="1200" dirty="0">
                <a:solidFill>
                  <a:srgbClr val="002060"/>
                </a:solidFill>
                <a:latin typeface="+mj-lt"/>
              </a:rPr>
            </a:br>
            <a:r>
              <a:rPr lang="en-US" sz="1200" dirty="0">
                <a:solidFill>
                  <a:srgbClr val="002060"/>
                </a:solidFill>
                <a:latin typeface="+mj-lt"/>
              </a:rPr>
              <a:t>Manually Deployed by IT</a:t>
            </a:r>
          </a:p>
        </p:txBody>
      </p:sp>
      <p:grpSp>
        <p:nvGrpSpPr>
          <p:cNvPr id="18" name="Group 17">
            <a:extLst>
              <a:ext uri="{FF2B5EF4-FFF2-40B4-BE49-F238E27FC236}">
                <a16:creationId xmlns:a16="http://schemas.microsoft.com/office/drawing/2014/main" id="{CD71248E-21CF-4569-B4F4-ACE330F8BF53}"/>
              </a:ext>
            </a:extLst>
          </p:cNvPr>
          <p:cNvGrpSpPr/>
          <p:nvPr/>
        </p:nvGrpSpPr>
        <p:grpSpPr>
          <a:xfrm>
            <a:off x="713487" y="4781360"/>
            <a:ext cx="2975337" cy="274320"/>
            <a:chOff x="713487" y="4696954"/>
            <a:chExt cx="2975337" cy="274320"/>
          </a:xfrm>
        </p:grpSpPr>
        <p:sp>
          <p:nvSpPr>
            <p:cNvPr id="827" name="TextBox 826">
              <a:extLst>
                <a:ext uri="{FF2B5EF4-FFF2-40B4-BE49-F238E27FC236}">
                  <a16:creationId xmlns:a16="http://schemas.microsoft.com/office/drawing/2014/main" id="{CE97F05E-2293-4C43-A6AE-1B61013FACFD}"/>
                </a:ext>
              </a:extLst>
            </p:cNvPr>
            <p:cNvSpPr txBox="1"/>
            <p:nvPr/>
          </p:nvSpPr>
          <p:spPr>
            <a:xfrm>
              <a:off x="1080845" y="4749476"/>
              <a:ext cx="2607979" cy="169277"/>
            </a:xfrm>
            <a:prstGeom prst="rect">
              <a:avLst/>
            </a:prstGeom>
            <a:noFill/>
          </p:spPr>
          <p:txBody>
            <a:bodyPr wrap="square" lIns="0" tIns="0" rIns="0" bIns="0" rtlCol="0" anchor="ctr">
              <a:noAutofit/>
            </a:bodyPr>
            <a:lstStyle/>
            <a:p>
              <a:pPr lvl="0" defTabSz="932509">
                <a:defRPr/>
              </a:pPr>
              <a:r>
                <a:rPr lang="en-US" sz="1000" dirty="0"/>
                <a:t>Configure NPS components </a:t>
              </a:r>
              <a:br>
                <a:rPr lang="en-US" sz="1000" dirty="0"/>
              </a:br>
              <a:r>
                <a:rPr lang="en-US" sz="1000" dirty="0"/>
                <a:t>on RD Gateway</a:t>
              </a:r>
              <a:endParaRPr kumimoji="0" lang="en-US" sz="1000" b="0" i="0" u="none" strike="noStrike" kern="1200" cap="none" spc="0" normalizeH="0" baseline="0" noProof="0" dirty="0">
                <a:ln>
                  <a:noFill/>
                </a:ln>
                <a:effectLst/>
                <a:uLnTx/>
                <a:uFillTx/>
                <a:ea typeface="+mn-ea"/>
                <a:cs typeface="+mn-cs"/>
              </a:endParaRPr>
            </a:p>
          </p:txBody>
        </p:sp>
        <p:grpSp>
          <p:nvGrpSpPr>
            <p:cNvPr id="16" name="Group 15">
              <a:extLst>
                <a:ext uri="{FF2B5EF4-FFF2-40B4-BE49-F238E27FC236}">
                  <a16:creationId xmlns:a16="http://schemas.microsoft.com/office/drawing/2014/main" id="{0B06DFFB-6D7D-4A9C-B112-18BA7EED9B55}"/>
                </a:ext>
              </a:extLst>
            </p:cNvPr>
            <p:cNvGrpSpPr/>
            <p:nvPr/>
          </p:nvGrpSpPr>
          <p:grpSpPr>
            <a:xfrm>
              <a:off x="713487" y="4696954"/>
              <a:ext cx="274320" cy="274320"/>
              <a:chOff x="2501914" y="4049605"/>
              <a:chExt cx="274320" cy="274320"/>
            </a:xfrm>
          </p:grpSpPr>
          <p:sp>
            <p:nvSpPr>
              <p:cNvPr id="859" name="Oval 858">
                <a:extLst>
                  <a:ext uri="{FF2B5EF4-FFF2-40B4-BE49-F238E27FC236}">
                    <a16:creationId xmlns:a16="http://schemas.microsoft.com/office/drawing/2014/main" id="{235A26DB-FF3C-44BB-BB42-1E6AD1BCEF9E}"/>
                  </a:ext>
                </a:extLst>
              </p:cNvPr>
              <p:cNvSpPr/>
              <p:nvPr/>
            </p:nvSpPr>
            <p:spPr bwMode="auto">
              <a:xfrm>
                <a:off x="2501914" y="4049605"/>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67" name="tool" title="Icon of a skrewdriver and wrench">
                <a:extLst>
                  <a:ext uri="{FF2B5EF4-FFF2-40B4-BE49-F238E27FC236}">
                    <a16:creationId xmlns:a16="http://schemas.microsoft.com/office/drawing/2014/main" id="{DB5B385A-75B8-4BF8-8BD6-B3D71173325F}"/>
                  </a:ext>
                </a:extLst>
              </p:cNvPr>
              <p:cNvSpPr>
                <a:spLocks noChangeAspect="1" noEditPoints="1"/>
              </p:cNvSpPr>
              <p:nvPr/>
            </p:nvSpPr>
            <p:spPr bwMode="auto">
              <a:xfrm>
                <a:off x="2574159" y="4095325"/>
                <a:ext cx="129830" cy="18288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accent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grpSp>
        <p:nvGrpSpPr>
          <p:cNvPr id="14" name="Group 13">
            <a:extLst>
              <a:ext uri="{FF2B5EF4-FFF2-40B4-BE49-F238E27FC236}">
                <a16:creationId xmlns:a16="http://schemas.microsoft.com/office/drawing/2014/main" id="{76F96425-2CED-4E0A-B201-2D5A97A0E56C}"/>
              </a:ext>
            </a:extLst>
          </p:cNvPr>
          <p:cNvGrpSpPr/>
          <p:nvPr/>
        </p:nvGrpSpPr>
        <p:grpSpPr>
          <a:xfrm>
            <a:off x="713487" y="5206498"/>
            <a:ext cx="2858558" cy="274320"/>
            <a:chOff x="713487" y="5477887"/>
            <a:chExt cx="2858558" cy="274320"/>
          </a:xfrm>
        </p:grpSpPr>
        <p:sp>
          <p:nvSpPr>
            <p:cNvPr id="819" name="TextBox 818">
              <a:extLst>
                <a:ext uri="{FF2B5EF4-FFF2-40B4-BE49-F238E27FC236}">
                  <a16:creationId xmlns:a16="http://schemas.microsoft.com/office/drawing/2014/main" id="{4E435D9B-5D21-42C7-8994-EAFA2B2DF6A2}"/>
                </a:ext>
              </a:extLst>
            </p:cNvPr>
            <p:cNvSpPr txBox="1"/>
            <p:nvPr/>
          </p:nvSpPr>
          <p:spPr>
            <a:xfrm>
              <a:off x="1080846" y="5530409"/>
              <a:ext cx="2491199" cy="169277"/>
            </a:xfrm>
            <a:prstGeom prst="rect">
              <a:avLst/>
            </a:prstGeom>
            <a:noFill/>
          </p:spPr>
          <p:txBody>
            <a:bodyPr wrap="square" lIns="0" tIns="0" rIns="0" bIns="0" rtlCol="0" anchor="ctr">
              <a:noAutofit/>
            </a:bodyPr>
            <a:lstStyle/>
            <a:p>
              <a:pPr marL="0" marR="0" lvl="0" indent="0" algn="l" defTabSz="932509" rtl="0" eaLnBrk="1" fontAlgn="auto" latinLnBrk="0" hangingPunct="1">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Configure NPS </a:t>
              </a:r>
              <a:br>
                <a:rPr kumimoji="0" lang="en-US" sz="1000" b="0" i="0" u="none" strike="noStrike" kern="1200" cap="none" spc="0" normalizeH="0" baseline="0" noProof="0" dirty="0">
                  <a:ln>
                    <a:noFill/>
                  </a:ln>
                  <a:effectLst/>
                  <a:uLnTx/>
                  <a:uFillTx/>
                  <a:ea typeface="+mn-ea"/>
                  <a:cs typeface="+mn-cs"/>
                </a:rPr>
              </a:br>
              <a:r>
                <a:rPr kumimoji="0" lang="en-US" sz="1000" b="0" i="0" u="none" strike="noStrike" kern="1200" cap="none" spc="0" normalizeH="0" baseline="0" noProof="0" dirty="0">
                  <a:ln>
                    <a:noFill/>
                  </a:ln>
                  <a:effectLst/>
                  <a:uLnTx/>
                  <a:uFillTx/>
                  <a:ea typeface="+mn-ea"/>
                  <a:cs typeface="+mn-cs"/>
                </a:rPr>
                <a:t>extension</a:t>
              </a:r>
            </a:p>
          </p:txBody>
        </p:sp>
        <p:grpSp>
          <p:nvGrpSpPr>
            <p:cNvPr id="17" name="Group 16">
              <a:extLst>
                <a:ext uri="{FF2B5EF4-FFF2-40B4-BE49-F238E27FC236}">
                  <a16:creationId xmlns:a16="http://schemas.microsoft.com/office/drawing/2014/main" id="{490E53CE-C56B-477C-AFF5-FA5601FEBBFB}"/>
                </a:ext>
              </a:extLst>
            </p:cNvPr>
            <p:cNvGrpSpPr/>
            <p:nvPr/>
          </p:nvGrpSpPr>
          <p:grpSpPr>
            <a:xfrm>
              <a:off x="713487" y="5477887"/>
              <a:ext cx="274320" cy="274320"/>
              <a:chOff x="2497608" y="4588472"/>
              <a:chExt cx="274320" cy="274320"/>
            </a:xfrm>
          </p:grpSpPr>
          <p:sp>
            <p:nvSpPr>
              <p:cNvPr id="860" name="Oval 859">
                <a:extLst>
                  <a:ext uri="{FF2B5EF4-FFF2-40B4-BE49-F238E27FC236}">
                    <a16:creationId xmlns:a16="http://schemas.microsoft.com/office/drawing/2014/main" id="{1D154D26-3395-41E0-9580-EFC6A329ACCB}"/>
                  </a:ext>
                </a:extLst>
              </p:cNvPr>
              <p:cNvSpPr/>
              <p:nvPr/>
            </p:nvSpPr>
            <p:spPr bwMode="auto">
              <a:xfrm>
                <a:off x="2497608" y="4588472"/>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68" name="globe_6" title="Icon of a monitor in front of a sphere made of lines">
                <a:extLst>
                  <a:ext uri="{FF2B5EF4-FFF2-40B4-BE49-F238E27FC236}">
                    <a16:creationId xmlns:a16="http://schemas.microsoft.com/office/drawing/2014/main" id="{E872F92B-6371-4BD0-A7EC-6966CF054F0A}"/>
                  </a:ext>
                </a:extLst>
              </p:cNvPr>
              <p:cNvSpPr>
                <a:spLocks noChangeAspect="1" noEditPoints="1"/>
              </p:cNvSpPr>
              <p:nvPr/>
            </p:nvSpPr>
            <p:spPr bwMode="auto">
              <a:xfrm>
                <a:off x="2543175" y="4627512"/>
                <a:ext cx="183187" cy="19624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777886" y="1372927"/>
            <a:ext cx="806355" cy="914400"/>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3" name="Group 22">
            <a:extLst>
              <a:ext uri="{FF2B5EF4-FFF2-40B4-BE49-F238E27FC236}">
                <a16:creationId xmlns:a16="http://schemas.microsoft.com/office/drawing/2014/main" id="{0E2A43ED-4B49-47A5-8FE5-6BDC320C487B}"/>
              </a:ext>
            </a:extLst>
          </p:cNvPr>
          <p:cNvGrpSpPr/>
          <p:nvPr/>
        </p:nvGrpSpPr>
        <p:grpSpPr>
          <a:xfrm>
            <a:off x="713487" y="4356222"/>
            <a:ext cx="2444380" cy="274320"/>
            <a:chOff x="713487" y="4415242"/>
            <a:chExt cx="2444380" cy="274320"/>
          </a:xfrm>
        </p:grpSpPr>
        <p:sp>
          <p:nvSpPr>
            <p:cNvPr id="809" name="TextBox 808">
              <a:extLst>
                <a:ext uri="{FF2B5EF4-FFF2-40B4-BE49-F238E27FC236}">
                  <a16:creationId xmlns:a16="http://schemas.microsoft.com/office/drawing/2014/main" id="{B54D852B-4497-4942-9395-06705841758D}"/>
                </a:ext>
              </a:extLst>
            </p:cNvPr>
            <p:cNvSpPr txBox="1"/>
            <p:nvPr/>
          </p:nvSpPr>
          <p:spPr>
            <a:xfrm>
              <a:off x="1080847" y="4467764"/>
              <a:ext cx="2077020" cy="169277"/>
            </a:xfrm>
            <a:prstGeom prst="rect">
              <a:avLst/>
            </a:prstGeom>
            <a:noFill/>
          </p:spPr>
          <p:txBody>
            <a:bodyPr wrap="square" lIns="0" tIns="0" rIns="0" bIns="0" rtlCol="0" anchor="ctr">
              <a:noAutofit/>
            </a:bodyPr>
            <a:lstStyle/>
            <a:p>
              <a:pPr lvl="0" defTabSz="932509">
                <a:defRPr/>
              </a:pPr>
              <a:r>
                <a:rPr lang="en-US" sz="1000" dirty="0"/>
                <a:t>Install NPS extension</a:t>
              </a:r>
              <a:endParaRPr kumimoji="0" lang="en-US" sz="1000" b="0" i="0" u="none" strike="noStrike" kern="1200" cap="none" spc="0" normalizeH="0" baseline="0" noProof="0" dirty="0">
                <a:ln>
                  <a:noFill/>
                </a:ln>
                <a:effectLst/>
                <a:uLnTx/>
                <a:uFillTx/>
                <a:ea typeface="+mn-ea"/>
                <a:cs typeface="+mn-cs"/>
              </a:endParaRPr>
            </a:p>
          </p:txBody>
        </p:sp>
        <p:grpSp>
          <p:nvGrpSpPr>
            <p:cNvPr id="19" name="Group 18">
              <a:extLst>
                <a:ext uri="{FF2B5EF4-FFF2-40B4-BE49-F238E27FC236}">
                  <a16:creationId xmlns:a16="http://schemas.microsoft.com/office/drawing/2014/main" id="{E9EA4D65-1B6C-4051-A8DA-60DD319BDC1E}"/>
                </a:ext>
              </a:extLst>
            </p:cNvPr>
            <p:cNvGrpSpPr/>
            <p:nvPr/>
          </p:nvGrpSpPr>
          <p:grpSpPr>
            <a:xfrm>
              <a:off x="713487" y="4415242"/>
              <a:ext cx="274320" cy="274320"/>
              <a:chOff x="57451" y="3887971"/>
              <a:chExt cx="274320" cy="274320"/>
            </a:xfrm>
          </p:grpSpPr>
          <p:sp>
            <p:nvSpPr>
              <p:cNvPr id="1109" name="Oval 1108">
                <a:extLst>
                  <a:ext uri="{FF2B5EF4-FFF2-40B4-BE49-F238E27FC236}">
                    <a16:creationId xmlns:a16="http://schemas.microsoft.com/office/drawing/2014/main" id="{646D1848-FB2E-492B-833A-CD1D4F777EFD}"/>
                  </a:ext>
                </a:extLst>
              </p:cNvPr>
              <p:cNvSpPr/>
              <p:nvPr/>
            </p:nvSpPr>
            <p:spPr bwMode="auto">
              <a:xfrm>
                <a:off x="57451" y="3887971"/>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10" name="globe_2" title="Icon of a sphere made of lines">
                <a:extLst>
                  <a:ext uri="{FF2B5EF4-FFF2-40B4-BE49-F238E27FC236}">
                    <a16:creationId xmlns:a16="http://schemas.microsoft.com/office/drawing/2014/main" id="{0E5A0B87-36C8-4567-BAF1-4E2D84EB1BC9}"/>
                  </a:ext>
                </a:extLst>
              </p:cNvPr>
              <p:cNvSpPr>
                <a:spLocks noChangeAspect="1" noEditPoints="1"/>
              </p:cNvSpPr>
              <p:nvPr/>
            </p:nvSpPr>
            <p:spPr bwMode="auto">
              <a:xfrm>
                <a:off x="96491" y="3927011"/>
                <a:ext cx="196240" cy="19624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grpSp>
        <p:nvGrpSpPr>
          <p:cNvPr id="10" name="Group 9">
            <a:extLst>
              <a:ext uri="{FF2B5EF4-FFF2-40B4-BE49-F238E27FC236}">
                <a16:creationId xmlns:a16="http://schemas.microsoft.com/office/drawing/2014/main" id="{E9832BB0-91E8-4DCA-88B0-9B18A40F844D}"/>
              </a:ext>
            </a:extLst>
          </p:cNvPr>
          <p:cNvGrpSpPr/>
          <p:nvPr/>
        </p:nvGrpSpPr>
        <p:grpSpPr>
          <a:xfrm>
            <a:off x="6287071" y="4464701"/>
            <a:ext cx="1338959" cy="1070368"/>
            <a:chOff x="6065044" y="4105609"/>
            <a:chExt cx="1417484" cy="1133141"/>
          </a:xfrm>
        </p:grpSpPr>
        <p:sp>
          <p:nvSpPr>
            <p:cNvPr id="1151" name="Freeform 22">
              <a:extLst>
                <a:ext uri="{FF2B5EF4-FFF2-40B4-BE49-F238E27FC236}">
                  <a16:creationId xmlns:a16="http://schemas.microsoft.com/office/drawing/2014/main" id="{AAEEDFD3-4551-4883-B5A1-B5FAC0624C0A}"/>
                </a:ext>
              </a:extLst>
            </p:cNvPr>
            <p:cNvSpPr>
              <a:spLocks/>
            </p:cNvSpPr>
            <p:nvPr/>
          </p:nvSpPr>
          <p:spPr bwMode="auto">
            <a:xfrm>
              <a:off x="6065044" y="5179658"/>
              <a:ext cx="1341266" cy="59092"/>
            </a:xfrm>
            <a:prstGeom prst="roundRect">
              <a:avLst>
                <a:gd name="adj" fmla="val 50000"/>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89" name="Freeform 76">
              <a:extLst>
                <a:ext uri="{FF2B5EF4-FFF2-40B4-BE49-F238E27FC236}">
                  <a16:creationId xmlns:a16="http://schemas.microsoft.com/office/drawing/2014/main" id="{62869834-251A-4C8A-9A74-4E843056A14D}"/>
                </a:ext>
              </a:extLst>
            </p:cNvPr>
            <p:cNvSpPr>
              <a:spLocks/>
            </p:cNvSpPr>
            <p:nvPr/>
          </p:nvSpPr>
          <p:spPr bwMode="auto">
            <a:xfrm>
              <a:off x="6137476" y="4917208"/>
              <a:ext cx="62581" cy="302345"/>
            </a:xfrm>
            <a:custGeom>
              <a:avLst/>
              <a:gdLst>
                <a:gd name="T0" fmla="*/ 119 w 160"/>
                <a:gd name="T1" fmla="*/ 773 h 773"/>
                <a:gd name="T2" fmla="*/ 41 w 160"/>
                <a:gd name="T3" fmla="*/ 773 h 773"/>
                <a:gd name="T4" fmla="*/ 0 w 160"/>
                <a:gd name="T5" fmla="*/ 0 h 773"/>
                <a:gd name="T6" fmla="*/ 160 w 160"/>
                <a:gd name="T7" fmla="*/ 0 h 773"/>
                <a:gd name="T8" fmla="*/ 119 w 160"/>
                <a:gd name="T9" fmla="*/ 773 h 773"/>
              </a:gdLst>
              <a:ahLst/>
              <a:cxnLst>
                <a:cxn ang="0">
                  <a:pos x="T0" y="T1"/>
                </a:cxn>
                <a:cxn ang="0">
                  <a:pos x="T2" y="T3"/>
                </a:cxn>
                <a:cxn ang="0">
                  <a:pos x="T4" y="T5"/>
                </a:cxn>
                <a:cxn ang="0">
                  <a:pos x="T6" y="T7"/>
                </a:cxn>
                <a:cxn ang="0">
                  <a:pos x="T8" y="T9"/>
                </a:cxn>
              </a:cxnLst>
              <a:rect l="0" t="0" r="r" b="b"/>
              <a:pathLst>
                <a:path w="160" h="773">
                  <a:moveTo>
                    <a:pt x="119" y="773"/>
                  </a:moveTo>
                  <a:lnTo>
                    <a:pt x="41" y="773"/>
                  </a:lnTo>
                  <a:lnTo>
                    <a:pt x="0" y="0"/>
                  </a:lnTo>
                  <a:lnTo>
                    <a:pt x="160" y="0"/>
                  </a:lnTo>
                  <a:lnTo>
                    <a:pt x="119"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90" name="Freeform 77">
              <a:extLst>
                <a:ext uri="{FF2B5EF4-FFF2-40B4-BE49-F238E27FC236}">
                  <a16:creationId xmlns:a16="http://schemas.microsoft.com/office/drawing/2014/main" id="{33EAC371-2963-4359-ADDB-4B4B10A657F9}"/>
                </a:ext>
              </a:extLst>
            </p:cNvPr>
            <p:cNvSpPr>
              <a:spLocks/>
            </p:cNvSpPr>
            <p:nvPr/>
          </p:nvSpPr>
          <p:spPr bwMode="auto">
            <a:xfrm>
              <a:off x="6394841"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grpSp>
          <p:nvGrpSpPr>
            <p:cNvPr id="9" name="Group 8">
              <a:extLst>
                <a:ext uri="{FF2B5EF4-FFF2-40B4-BE49-F238E27FC236}">
                  <a16:creationId xmlns:a16="http://schemas.microsoft.com/office/drawing/2014/main" id="{93FAFBBA-2A56-4BFE-BFA9-5C4DC8D17488}"/>
                </a:ext>
              </a:extLst>
            </p:cNvPr>
            <p:cNvGrpSpPr/>
            <p:nvPr/>
          </p:nvGrpSpPr>
          <p:grpSpPr>
            <a:xfrm flipH="1">
              <a:off x="6360369" y="4105609"/>
              <a:ext cx="1122159" cy="1116292"/>
              <a:chOff x="6605662" y="4105609"/>
              <a:chExt cx="1122159" cy="1116292"/>
            </a:xfrm>
          </p:grpSpPr>
          <p:sp>
            <p:nvSpPr>
              <p:cNvPr id="1152" name="Freeform 23">
                <a:extLst>
                  <a:ext uri="{FF2B5EF4-FFF2-40B4-BE49-F238E27FC236}">
                    <a16:creationId xmlns:a16="http://schemas.microsoft.com/office/drawing/2014/main" id="{79D0E117-2226-47F9-988C-A347EC694A63}"/>
                  </a:ext>
                </a:extLst>
              </p:cNvPr>
              <p:cNvSpPr>
                <a:spLocks/>
              </p:cNvSpPr>
              <p:nvPr/>
            </p:nvSpPr>
            <p:spPr bwMode="auto">
              <a:xfrm>
                <a:off x="7466154" y="4434942"/>
                <a:ext cx="62581" cy="43416"/>
              </a:xfrm>
              <a:custGeom>
                <a:avLst/>
                <a:gdLst>
                  <a:gd name="T0" fmla="*/ 124 w 128"/>
                  <a:gd name="T1" fmla="*/ 36 h 89"/>
                  <a:gd name="T2" fmla="*/ 98 w 128"/>
                  <a:gd name="T3" fmla="*/ 26 h 89"/>
                  <a:gd name="T4" fmla="*/ 77 w 128"/>
                  <a:gd name="T5" fmla="*/ 34 h 89"/>
                  <a:gd name="T6" fmla="*/ 80 w 128"/>
                  <a:gd name="T7" fmla="*/ 14 h 89"/>
                  <a:gd name="T8" fmla="*/ 54 w 128"/>
                  <a:gd name="T9" fmla="*/ 4 h 89"/>
                  <a:gd name="T10" fmla="*/ 0 w 128"/>
                  <a:gd name="T11" fmla="*/ 25 h 89"/>
                  <a:gd name="T12" fmla="*/ 18 w 128"/>
                  <a:gd name="T13" fmla="*/ 67 h 89"/>
                  <a:gd name="T14" fmla="*/ 47 w 128"/>
                  <a:gd name="T15" fmla="*/ 52 h 89"/>
                  <a:gd name="T16" fmla="*/ 62 w 128"/>
                  <a:gd name="T17" fmla="*/ 89 h 89"/>
                  <a:gd name="T18" fmla="*/ 114 w 128"/>
                  <a:gd name="T19" fmla="*/ 62 h 89"/>
                  <a:gd name="T20" fmla="*/ 124 w 128"/>
                  <a:gd name="T21" fmla="*/ 3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89">
                    <a:moveTo>
                      <a:pt x="124" y="36"/>
                    </a:moveTo>
                    <a:cubicBezTo>
                      <a:pt x="120" y="26"/>
                      <a:pt x="108" y="22"/>
                      <a:pt x="98" y="26"/>
                    </a:cubicBezTo>
                    <a:cubicBezTo>
                      <a:pt x="77" y="34"/>
                      <a:pt x="77" y="34"/>
                      <a:pt x="77" y="34"/>
                    </a:cubicBezTo>
                    <a:cubicBezTo>
                      <a:pt x="81" y="28"/>
                      <a:pt x="82" y="21"/>
                      <a:pt x="80" y="14"/>
                    </a:cubicBezTo>
                    <a:cubicBezTo>
                      <a:pt x="75" y="4"/>
                      <a:pt x="64" y="0"/>
                      <a:pt x="54" y="4"/>
                    </a:cubicBezTo>
                    <a:cubicBezTo>
                      <a:pt x="0" y="25"/>
                      <a:pt x="0" y="25"/>
                      <a:pt x="0" y="25"/>
                    </a:cubicBezTo>
                    <a:cubicBezTo>
                      <a:pt x="18" y="67"/>
                      <a:pt x="18" y="67"/>
                      <a:pt x="18" y="67"/>
                    </a:cubicBezTo>
                    <a:cubicBezTo>
                      <a:pt x="47" y="52"/>
                      <a:pt x="47" y="52"/>
                      <a:pt x="47" y="52"/>
                    </a:cubicBezTo>
                    <a:cubicBezTo>
                      <a:pt x="62" y="89"/>
                      <a:pt x="62" y="89"/>
                      <a:pt x="62" y="89"/>
                    </a:cubicBezTo>
                    <a:cubicBezTo>
                      <a:pt x="114" y="62"/>
                      <a:pt x="114" y="62"/>
                      <a:pt x="114" y="62"/>
                    </a:cubicBezTo>
                    <a:cubicBezTo>
                      <a:pt x="124" y="57"/>
                      <a:pt x="128" y="46"/>
                      <a:pt x="124" y="36"/>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53" name="Freeform 24">
                <a:extLst>
                  <a:ext uri="{FF2B5EF4-FFF2-40B4-BE49-F238E27FC236}">
                    <a16:creationId xmlns:a16="http://schemas.microsoft.com/office/drawing/2014/main" id="{4AA8AD8D-E9F1-4646-A3BD-F35219618B38}"/>
                  </a:ext>
                </a:extLst>
              </p:cNvPr>
              <p:cNvSpPr>
                <a:spLocks/>
              </p:cNvSpPr>
              <p:nvPr/>
            </p:nvSpPr>
            <p:spPr bwMode="auto">
              <a:xfrm>
                <a:off x="7433689" y="4410692"/>
                <a:ext cx="41460" cy="37549"/>
              </a:xfrm>
              <a:custGeom>
                <a:avLst/>
                <a:gdLst>
                  <a:gd name="T0" fmla="*/ 67 w 85"/>
                  <a:gd name="T1" fmla="*/ 4 h 77"/>
                  <a:gd name="T2" fmla="*/ 41 w 85"/>
                  <a:gd name="T3" fmla="*/ 9 h 77"/>
                  <a:gd name="T4" fmla="*/ 0 w 85"/>
                  <a:gd name="T5" fmla="*/ 52 h 77"/>
                  <a:gd name="T6" fmla="*/ 50 w 85"/>
                  <a:gd name="T7" fmla="*/ 77 h 77"/>
                  <a:gd name="T8" fmla="*/ 77 w 85"/>
                  <a:gd name="T9" fmla="*/ 39 h 77"/>
                  <a:gd name="T10" fmla="*/ 67 w 85"/>
                  <a:gd name="T11" fmla="*/ 4 h 77"/>
                </a:gdLst>
                <a:ahLst/>
                <a:cxnLst>
                  <a:cxn ang="0">
                    <a:pos x="T0" y="T1"/>
                  </a:cxn>
                  <a:cxn ang="0">
                    <a:pos x="T2" y="T3"/>
                  </a:cxn>
                  <a:cxn ang="0">
                    <a:pos x="T4" y="T5"/>
                  </a:cxn>
                  <a:cxn ang="0">
                    <a:pos x="T6" y="T7"/>
                  </a:cxn>
                  <a:cxn ang="0">
                    <a:pos x="T8" y="T9"/>
                  </a:cxn>
                  <a:cxn ang="0">
                    <a:pos x="T10" y="T11"/>
                  </a:cxn>
                </a:cxnLst>
                <a:rect l="0" t="0" r="r" b="b"/>
                <a:pathLst>
                  <a:path w="85" h="77">
                    <a:moveTo>
                      <a:pt x="67" y="4"/>
                    </a:moveTo>
                    <a:cubicBezTo>
                      <a:pt x="58" y="0"/>
                      <a:pt x="48" y="2"/>
                      <a:pt x="41" y="9"/>
                    </a:cubicBezTo>
                    <a:cubicBezTo>
                      <a:pt x="0" y="52"/>
                      <a:pt x="0" y="52"/>
                      <a:pt x="0" y="52"/>
                    </a:cubicBezTo>
                    <a:cubicBezTo>
                      <a:pt x="50" y="77"/>
                      <a:pt x="50" y="77"/>
                      <a:pt x="50" y="77"/>
                    </a:cubicBezTo>
                    <a:cubicBezTo>
                      <a:pt x="77" y="39"/>
                      <a:pt x="77" y="39"/>
                      <a:pt x="77" y="39"/>
                    </a:cubicBezTo>
                    <a:cubicBezTo>
                      <a:pt x="85" y="27"/>
                      <a:pt x="80" y="10"/>
                      <a:pt x="67" y="4"/>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54" name="Freeform 25">
                <a:extLst>
                  <a:ext uri="{FF2B5EF4-FFF2-40B4-BE49-F238E27FC236}">
                    <a16:creationId xmlns:a16="http://schemas.microsoft.com/office/drawing/2014/main" id="{8802C820-2A2F-4576-B968-8349CBD311F1}"/>
                  </a:ext>
                </a:extLst>
              </p:cNvPr>
              <p:cNvSpPr>
                <a:spLocks/>
              </p:cNvSpPr>
              <p:nvPr/>
            </p:nvSpPr>
            <p:spPr bwMode="auto">
              <a:xfrm>
                <a:off x="7397314" y="4443156"/>
                <a:ext cx="134550" cy="98174"/>
              </a:xfrm>
              <a:custGeom>
                <a:avLst/>
                <a:gdLst>
                  <a:gd name="T0" fmla="*/ 275 w 277"/>
                  <a:gd name="T1" fmla="*/ 67 h 202"/>
                  <a:gd name="T2" fmla="*/ 272 w 277"/>
                  <a:gd name="T3" fmla="*/ 45 h 202"/>
                  <a:gd name="T4" fmla="*/ 246 w 277"/>
                  <a:gd name="T5" fmla="*/ 26 h 202"/>
                  <a:gd name="T6" fmla="*/ 206 w 277"/>
                  <a:gd name="T7" fmla="*/ 31 h 202"/>
                  <a:gd name="T8" fmla="*/ 205 w 277"/>
                  <a:gd name="T9" fmla="*/ 21 h 202"/>
                  <a:gd name="T10" fmla="*/ 179 w 277"/>
                  <a:gd name="T11" fmla="*/ 2 h 202"/>
                  <a:gd name="T12" fmla="*/ 26 w 277"/>
                  <a:gd name="T13" fmla="*/ 24 h 202"/>
                  <a:gd name="T14" fmla="*/ 0 w 277"/>
                  <a:gd name="T15" fmla="*/ 27 h 202"/>
                  <a:gd name="T16" fmla="*/ 1 w 277"/>
                  <a:gd name="T17" fmla="*/ 112 h 202"/>
                  <a:gd name="T18" fmla="*/ 78 w 277"/>
                  <a:gd name="T19" fmla="*/ 150 h 202"/>
                  <a:gd name="T20" fmla="*/ 150 w 277"/>
                  <a:gd name="T21" fmla="*/ 168 h 202"/>
                  <a:gd name="T22" fmla="*/ 262 w 277"/>
                  <a:gd name="T23" fmla="*/ 92 h 202"/>
                  <a:gd name="T24" fmla="*/ 275 w 277"/>
                  <a:gd name="T25" fmla="*/ 6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7" h="202">
                    <a:moveTo>
                      <a:pt x="275" y="67"/>
                    </a:moveTo>
                    <a:cubicBezTo>
                      <a:pt x="272" y="45"/>
                      <a:pt x="272" y="45"/>
                      <a:pt x="272" y="45"/>
                    </a:cubicBezTo>
                    <a:cubicBezTo>
                      <a:pt x="270" y="32"/>
                      <a:pt x="258" y="24"/>
                      <a:pt x="246" y="26"/>
                    </a:cubicBezTo>
                    <a:cubicBezTo>
                      <a:pt x="206" y="31"/>
                      <a:pt x="206" y="31"/>
                      <a:pt x="206" y="31"/>
                    </a:cubicBezTo>
                    <a:cubicBezTo>
                      <a:pt x="205" y="21"/>
                      <a:pt x="205" y="21"/>
                      <a:pt x="205" y="21"/>
                    </a:cubicBezTo>
                    <a:cubicBezTo>
                      <a:pt x="203" y="9"/>
                      <a:pt x="191" y="0"/>
                      <a:pt x="179" y="2"/>
                    </a:cubicBezTo>
                    <a:cubicBezTo>
                      <a:pt x="26" y="24"/>
                      <a:pt x="26" y="24"/>
                      <a:pt x="26" y="24"/>
                    </a:cubicBezTo>
                    <a:cubicBezTo>
                      <a:pt x="0" y="27"/>
                      <a:pt x="0" y="27"/>
                      <a:pt x="0" y="27"/>
                    </a:cubicBezTo>
                    <a:cubicBezTo>
                      <a:pt x="1" y="112"/>
                      <a:pt x="1" y="112"/>
                      <a:pt x="1" y="112"/>
                    </a:cubicBezTo>
                    <a:cubicBezTo>
                      <a:pt x="1" y="112"/>
                      <a:pt x="41" y="184"/>
                      <a:pt x="78" y="150"/>
                    </a:cubicBezTo>
                    <a:cubicBezTo>
                      <a:pt x="93" y="171"/>
                      <a:pt x="123" y="202"/>
                      <a:pt x="150" y="168"/>
                    </a:cubicBezTo>
                    <a:cubicBezTo>
                      <a:pt x="177" y="133"/>
                      <a:pt x="234" y="105"/>
                      <a:pt x="262" y="92"/>
                    </a:cubicBezTo>
                    <a:cubicBezTo>
                      <a:pt x="271" y="88"/>
                      <a:pt x="277" y="78"/>
                      <a:pt x="275" y="6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55" name="Freeform 26">
                <a:extLst>
                  <a:ext uri="{FF2B5EF4-FFF2-40B4-BE49-F238E27FC236}">
                    <a16:creationId xmlns:a16="http://schemas.microsoft.com/office/drawing/2014/main" id="{F337323B-6ECF-44A4-9037-ACB3B3CE95A1}"/>
                  </a:ext>
                </a:extLst>
              </p:cNvPr>
              <p:cNvSpPr>
                <a:spLocks/>
              </p:cNvSpPr>
              <p:nvPr/>
            </p:nvSpPr>
            <p:spPr bwMode="auto">
              <a:xfrm>
                <a:off x="7501746" y="5090089"/>
                <a:ext cx="226075" cy="123598"/>
              </a:xfrm>
              <a:custGeom>
                <a:avLst/>
                <a:gdLst>
                  <a:gd name="T0" fmla="*/ 17 w 464"/>
                  <a:gd name="T1" fmla="*/ 0 h 254"/>
                  <a:gd name="T2" fmla="*/ 2 w 464"/>
                  <a:gd name="T3" fmla="*/ 193 h 254"/>
                  <a:gd name="T4" fmla="*/ 59 w 464"/>
                  <a:gd name="T5" fmla="*/ 254 h 254"/>
                  <a:gd name="T6" fmla="*/ 317 w 464"/>
                  <a:gd name="T7" fmla="*/ 254 h 254"/>
                  <a:gd name="T8" fmla="*/ 439 w 464"/>
                  <a:gd name="T9" fmla="*/ 193 h 254"/>
                  <a:gd name="T10" fmla="*/ 449 w 464"/>
                  <a:gd name="T11" fmla="*/ 178 h 254"/>
                  <a:gd name="T12" fmla="*/ 443 w 464"/>
                  <a:gd name="T13" fmla="*/ 96 h 254"/>
                  <a:gd name="T14" fmla="*/ 443 w 464"/>
                  <a:gd name="T15" fmla="*/ 96 h 254"/>
                  <a:gd name="T16" fmla="*/ 428 w 464"/>
                  <a:gd name="T17" fmla="*/ 90 h 254"/>
                  <a:gd name="T18" fmla="*/ 326 w 464"/>
                  <a:gd name="T19" fmla="*/ 129 h 254"/>
                  <a:gd name="T20" fmla="*/ 279 w 464"/>
                  <a:gd name="T21" fmla="*/ 124 h 254"/>
                  <a:gd name="T22" fmla="*/ 233 w 464"/>
                  <a:gd name="T23" fmla="*/ 100 h 254"/>
                  <a:gd name="T24" fmla="*/ 196 w 464"/>
                  <a:gd name="T25" fmla="*/ 60 h 254"/>
                  <a:gd name="T26" fmla="*/ 172 w 464"/>
                  <a:gd name="T27" fmla="*/ 0 h 254"/>
                  <a:gd name="T28" fmla="*/ 17 w 464"/>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4" h="254">
                    <a:moveTo>
                      <a:pt x="17" y="0"/>
                    </a:moveTo>
                    <a:cubicBezTo>
                      <a:pt x="2" y="193"/>
                      <a:pt x="2" y="193"/>
                      <a:pt x="2" y="193"/>
                    </a:cubicBezTo>
                    <a:cubicBezTo>
                      <a:pt x="0" y="226"/>
                      <a:pt x="26" y="254"/>
                      <a:pt x="59" y="254"/>
                    </a:cubicBezTo>
                    <a:cubicBezTo>
                      <a:pt x="317" y="254"/>
                      <a:pt x="317" y="254"/>
                      <a:pt x="317" y="254"/>
                    </a:cubicBezTo>
                    <a:cubicBezTo>
                      <a:pt x="369" y="254"/>
                      <a:pt x="414" y="232"/>
                      <a:pt x="439" y="193"/>
                    </a:cubicBezTo>
                    <a:cubicBezTo>
                      <a:pt x="449" y="178"/>
                      <a:pt x="449" y="178"/>
                      <a:pt x="449" y="178"/>
                    </a:cubicBezTo>
                    <a:cubicBezTo>
                      <a:pt x="464" y="155"/>
                      <a:pt x="462" y="123"/>
                      <a:pt x="443" y="96"/>
                    </a:cubicBezTo>
                    <a:cubicBezTo>
                      <a:pt x="443" y="96"/>
                      <a:pt x="443" y="96"/>
                      <a:pt x="443" y="96"/>
                    </a:cubicBezTo>
                    <a:cubicBezTo>
                      <a:pt x="440" y="91"/>
                      <a:pt x="433" y="88"/>
                      <a:pt x="428" y="90"/>
                    </a:cubicBezTo>
                    <a:cubicBezTo>
                      <a:pt x="326" y="129"/>
                      <a:pt x="326" y="129"/>
                      <a:pt x="326" y="129"/>
                    </a:cubicBezTo>
                    <a:cubicBezTo>
                      <a:pt x="312" y="134"/>
                      <a:pt x="295" y="132"/>
                      <a:pt x="279" y="124"/>
                    </a:cubicBezTo>
                    <a:cubicBezTo>
                      <a:pt x="233" y="100"/>
                      <a:pt x="233" y="100"/>
                      <a:pt x="233" y="100"/>
                    </a:cubicBezTo>
                    <a:cubicBezTo>
                      <a:pt x="216" y="91"/>
                      <a:pt x="203" y="77"/>
                      <a:pt x="196" y="60"/>
                    </a:cubicBezTo>
                    <a:cubicBezTo>
                      <a:pt x="172" y="0"/>
                      <a:pt x="172" y="0"/>
                      <a:pt x="172" y="0"/>
                    </a:cubicBezTo>
                    <a:lnTo>
                      <a:pt x="17" y="0"/>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IN" sz="1836" dirty="0"/>
              </a:p>
            </p:txBody>
          </p:sp>
          <p:sp>
            <p:nvSpPr>
              <p:cNvPr id="1156" name="Freeform 27">
                <a:extLst>
                  <a:ext uri="{FF2B5EF4-FFF2-40B4-BE49-F238E27FC236}">
                    <a16:creationId xmlns:a16="http://schemas.microsoft.com/office/drawing/2014/main" id="{2C6616B0-68D4-4BE5-8480-BF3A037E5418}"/>
                  </a:ext>
                </a:extLst>
              </p:cNvPr>
              <p:cNvSpPr>
                <a:spLocks/>
              </p:cNvSpPr>
              <p:nvPr/>
            </p:nvSpPr>
            <p:spPr bwMode="auto">
              <a:xfrm>
                <a:off x="6605662" y="4234291"/>
                <a:ext cx="808471" cy="828810"/>
              </a:xfrm>
              <a:custGeom>
                <a:avLst/>
                <a:gdLst>
                  <a:gd name="T0" fmla="*/ 1557 w 1661"/>
                  <a:gd name="T1" fmla="*/ 1393 h 1705"/>
                  <a:gd name="T2" fmla="*/ 1661 w 1661"/>
                  <a:gd name="T3" fmla="*/ 919 h 1705"/>
                  <a:gd name="T4" fmla="*/ 1090 w 1661"/>
                  <a:gd name="T5" fmla="*/ 919 h 1705"/>
                  <a:gd name="T6" fmla="*/ 1009 w 1661"/>
                  <a:gd name="T7" fmla="*/ 847 h 1705"/>
                  <a:gd name="T8" fmla="*/ 992 w 1661"/>
                  <a:gd name="T9" fmla="*/ 709 h 1705"/>
                  <a:gd name="T10" fmla="*/ 1028 w 1661"/>
                  <a:gd name="T11" fmla="*/ 526 h 1705"/>
                  <a:gd name="T12" fmla="*/ 1064 w 1661"/>
                  <a:gd name="T13" fmla="*/ 341 h 1705"/>
                  <a:gd name="T14" fmla="*/ 1040 w 1661"/>
                  <a:gd name="T15" fmla="*/ 134 h 1705"/>
                  <a:gd name="T16" fmla="*/ 889 w 1661"/>
                  <a:gd name="T17" fmla="*/ 0 h 1705"/>
                  <a:gd name="T18" fmla="*/ 702 w 1661"/>
                  <a:gd name="T19" fmla="*/ 0 h 1705"/>
                  <a:gd name="T20" fmla="*/ 654 w 1661"/>
                  <a:gd name="T21" fmla="*/ 24 h 1705"/>
                  <a:gd name="T22" fmla="*/ 566 w 1661"/>
                  <a:gd name="T23" fmla="*/ 0 h 1705"/>
                  <a:gd name="T24" fmla="*/ 253 w 1661"/>
                  <a:gd name="T25" fmla="*/ 0 h 1705"/>
                  <a:gd name="T26" fmla="*/ 213 w 1661"/>
                  <a:gd name="T27" fmla="*/ 0 h 1705"/>
                  <a:gd name="T28" fmla="*/ 66 w 1661"/>
                  <a:gd name="T29" fmla="*/ 0 h 1705"/>
                  <a:gd name="T30" fmla="*/ 4 w 1661"/>
                  <a:gd name="T31" fmla="*/ 69 h 1705"/>
                  <a:gd name="T32" fmla="*/ 192 w 1661"/>
                  <a:gd name="T33" fmla="*/ 1628 h 1705"/>
                  <a:gd name="T34" fmla="*/ 279 w 1661"/>
                  <a:gd name="T35" fmla="*/ 1705 h 1705"/>
                  <a:gd name="T36" fmla="*/ 916 w 1661"/>
                  <a:gd name="T37" fmla="*/ 1705 h 1705"/>
                  <a:gd name="T38" fmla="*/ 962 w 1661"/>
                  <a:gd name="T39" fmla="*/ 1705 h 1705"/>
                  <a:gd name="T40" fmla="*/ 1599 w 1661"/>
                  <a:gd name="T41" fmla="*/ 1705 h 1705"/>
                  <a:gd name="T42" fmla="*/ 1561 w 1661"/>
                  <a:gd name="T43" fmla="*/ 1393 h 1705"/>
                  <a:gd name="T44" fmla="*/ 1557 w 1661"/>
                  <a:gd name="T45" fmla="*/ 1393 h 1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61" h="1705">
                    <a:moveTo>
                      <a:pt x="1557" y="1393"/>
                    </a:moveTo>
                    <a:cubicBezTo>
                      <a:pt x="1661" y="919"/>
                      <a:pt x="1661" y="919"/>
                      <a:pt x="1661" y="919"/>
                    </a:cubicBezTo>
                    <a:cubicBezTo>
                      <a:pt x="1090" y="919"/>
                      <a:pt x="1090" y="919"/>
                      <a:pt x="1090" y="919"/>
                    </a:cubicBezTo>
                    <a:cubicBezTo>
                      <a:pt x="1050" y="919"/>
                      <a:pt x="1014" y="887"/>
                      <a:pt x="1009" y="847"/>
                    </a:cubicBezTo>
                    <a:cubicBezTo>
                      <a:pt x="992" y="709"/>
                      <a:pt x="992" y="709"/>
                      <a:pt x="992" y="709"/>
                    </a:cubicBezTo>
                    <a:cubicBezTo>
                      <a:pt x="984" y="643"/>
                      <a:pt x="996" y="579"/>
                      <a:pt x="1028" y="526"/>
                    </a:cubicBezTo>
                    <a:cubicBezTo>
                      <a:pt x="1060" y="472"/>
                      <a:pt x="1072" y="407"/>
                      <a:pt x="1064" y="341"/>
                    </a:cubicBezTo>
                    <a:cubicBezTo>
                      <a:pt x="1040" y="134"/>
                      <a:pt x="1040" y="134"/>
                      <a:pt x="1040" y="134"/>
                    </a:cubicBezTo>
                    <a:cubicBezTo>
                      <a:pt x="1031" y="60"/>
                      <a:pt x="963" y="0"/>
                      <a:pt x="889" y="0"/>
                    </a:cubicBezTo>
                    <a:cubicBezTo>
                      <a:pt x="702" y="0"/>
                      <a:pt x="702" y="0"/>
                      <a:pt x="702" y="0"/>
                    </a:cubicBezTo>
                    <a:cubicBezTo>
                      <a:pt x="682" y="0"/>
                      <a:pt x="665" y="9"/>
                      <a:pt x="654" y="24"/>
                    </a:cubicBezTo>
                    <a:cubicBezTo>
                      <a:pt x="628" y="9"/>
                      <a:pt x="598" y="0"/>
                      <a:pt x="566" y="0"/>
                    </a:cubicBezTo>
                    <a:cubicBezTo>
                      <a:pt x="253" y="0"/>
                      <a:pt x="253" y="0"/>
                      <a:pt x="253" y="0"/>
                    </a:cubicBezTo>
                    <a:cubicBezTo>
                      <a:pt x="213" y="0"/>
                      <a:pt x="213" y="0"/>
                      <a:pt x="213" y="0"/>
                    </a:cubicBezTo>
                    <a:cubicBezTo>
                      <a:pt x="66" y="0"/>
                      <a:pt x="66" y="0"/>
                      <a:pt x="66" y="0"/>
                    </a:cubicBezTo>
                    <a:cubicBezTo>
                      <a:pt x="29" y="0"/>
                      <a:pt x="0" y="32"/>
                      <a:pt x="4" y="69"/>
                    </a:cubicBezTo>
                    <a:cubicBezTo>
                      <a:pt x="192" y="1628"/>
                      <a:pt x="192" y="1628"/>
                      <a:pt x="192" y="1628"/>
                    </a:cubicBezTo>
                    <a:cubicBezTo>
                      <a:pt x="197" y="1672"/>
                      <a:pt x="235" y="1705"/>
                      <a:pt x="279" y="1705"/>
                    </a:cubicBezTo>
                    <a:cubicBezTo>
                      <a:pt x="916" y="1705"/>
                      <a:pt x="916" y="1705"/>
                      <a:pt x="916" y="1705"/>
                    </a:cubicBezTo>
                    <a:cubicBezTo>
                      <a:pt x="962" y="1705"/>
                      <a:pt x="962" y="1705"/>
                      <a:pt x="962" y="1705"/>
                    </a:cubicBezTo>
                    <a:cubicBezTo>
                      <a:pt x="1599" y="1705"/>
                      <a:pt x="1599" y="1705"/>
                      <a:pt x="1599" y="1705"/>
                    </a:cubicBezTo>
                    <a:cubicBezTo>
                      <a:pt x="1561" y="1393"/>
                      <a:pt x="1561" y="1393"/>
                      <a:pt x="1561" y="1393"/>
                    </a:cubicBezTo>
                    <a:lnTo>
                      <a:pt x="1557" y="139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57" name="Freeform 28">
                <a:extLst>
                  <a:ext uri="{FF2B5EF4-FFF2-40B4-BE49-F238E27FC236}">
                    <a16:creationId xmlns:a16="http://schemas.microsoft.com/office/drawing/2014/main" id="{0CD4CE0F-FE66-4DB8-B5E9-537A617E996F}"/>
                  </a:ext>
                </a:extLst>
              </p:cNvPr>
              <p:cNvSpPr>
                <a:spLocks/>
              </p:cNvSpPr>
              <p:nvPr/>
            </p:nvSpPr>
            <p:spPr bwMode="auto">
              <a:xfrm>
                <a:off x="7038254" y="4234291"/>
                <a:ext cx="165058" cy="446673"/>
              </a:xfrm>
              <a:custGeom>
                <a:avLst/>
                <a:gdLst>
                  <a:gd name="T0" fmla="*/ 339 w 339"/>
                  <a:gd name="T1" fmla="*/ 919 h 919"/>
                  <a:gd name="T2" fmla="*/ 288 w 339"/>
                  <a:gd name="T3" fmla="*/ 919 h 919"/>
                  <a:gd name="T4" fmla="*/ 207 w 339"/>
                  <a:gd name="T5" fmla="*/ 847 h 919"/>
                  <a:gd name="T6" fmla="*/ 190 w 339"/>
                  <a:gd name="T7" fmla="*/ 709 h 919"/>
                  <a:gd name="T8" fmla="*/ 226 w 339"/>
                  <a:gd name="T9" fmla="*/ 526 h 919"/>
                  <a:gd name="T10" fmla="*/ 263 w 339"/>
                  <a:gd name="T11" fmla="*/ 341 h 919"/>
                  <a:gd name="T12" fmla="*/ 238 w 339"/>
                  <a:gd name="T13" fmla="*/ 134 h 919"/>
                  <a:gd name="T14" fmla="*/ 87 w 339"/>
                  <a:gd name="T15" fmla="*/ 0 h 919"/>
                  <a:gd name="T16" fmla="*/ 0 w 339"/>
                  <a:gd name="T17" fmla="*/ 0 h 919"/>
                  <a:gd name="T18" fmla="*/ 151 w 339"/>
                  <a:gd name="T19" fmla="*/ 134 h 919"/>
                  <a:gd name="T20" fmla="*/ 175 w 339"/>
                  <a:gd name="T21" fmla="*/ 341 h 919"/>
                  <a:gd name="T22" fmla="*/ 139 w 339"/>
                  <a:gd name="T23" fmla="*/ 526 h 919"/>
                  <a:gd name="T24" fmla="*/ 103 w 339"/>
                  <a:gd name="T25" fmla="*/ 709 h 919"/>
                  <a:gd name="T26" fmla="*/ 120 w 339"/>
                  <a:gd name="T27" fmla="*/ 847 h 919"/>
                  <a:gd name="T28" fmla="*/ 201 w 339"/>
                  <a:gd name="T29" fmla="*/ 919 h 919"/>
                  <a:gd name="T30" fmla="*/ 339 w 339"/>
                  <a:gd name="T31"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9" h="919">
                    <a:moveTo>
                      <a:pt x="339" y="919"/>
                    </a:moveTo>
                    <a:cubicBezTo>
                      <a:pt x="288" y="919"/>
                      <a:pt x="288" y="919"/>
                      <a:pt x="288" y="919"/>
                    </a:cubicBezTo>
                    <a:cubicBezTo>
                      <a:pt x="248" y="919"/>
                      <a:pt x="212" y="887"/>
                      <a:pt x="207" y="847"/>
                    </a:cubicBezTo>
                    <a:cubicBezTo>
                      <a:pt x="190" y="709"/>
                      <a:pt x="190" y="709"/>
                      <a:pt x="190" y="709"/>
                    </a:cubicBezTo>
                    <a:cubicBezTo>
                      <a:pt x="183" y="643"/>
                      <a:pt x="195" y="579"/>
                      <a:pt x="226" y="526"/>
                    </a:cubicBezTo>
                    <a:cubicBezTo>
                      <a:pt x="258" y="472"/>
                      <a:pt x="271" y="407"/>
                      <a:pt x="263" y="341"/>
                    </a:cubicBezTo>
                    <a:cubicBezTo>
                      <a:pt x="238" y="134"/>
                      <a:pt x="238" y="134"/>
                      <a:pt x="238" y="134"/>
                    </a:cubicBezTo>
                    <a:cubicBezTo>
                      <a:pt x="229" y="60"/>
                      <a:pt x="162" y="0"/>
                      <a:pt x="87" y="0"/>
                    </a:cubicBezTo>
                    <a:cubicBezTo>
                      <a:pt x="0" y="0"/>
                      <a:pt x="0" y="0"/>
                      <a:pt x="0" y="0"/>
                    </a:cubicBezTo>
                    <a:cubicBezTo>
                      <a:pt x="74" y="0"/>
                      <a:pt x="142" y="60"/>
                      <a:pt x="151" y="134"/>
                    </a:cubicBezTo>
                    <a:cubicBezTo>
                      <a:pt x="175" y="341"/>
                      <a:pt x="175" y="341"/>
                      <a:pt x="175" y="341"/>
                    </a:cubicBezTo>
                    <a:cubicBezTo>
                      <a:pt x="183" y="407"/>
                      <a:pt x="171" y="472"/>
                      <a:pt x="139" y="526"/>
                    </a:cubicBezTo>
                    <a:cubicBezTo>
                      <a:pt x="107" y="579"/>
                      <a:pt x="95" y="643"/>
                      <a:pt x="103" y="709"/>
                    </a:cubicBezTo>
                    <a:cubicBezTo>
                      <a:pt x="120" y="847"/>
                      <a:pt x="120" y="847"/>
                      <a:pt x="120" y="847"/>
                    </a:cubicBezTo>
                    <a:cubicBezTo>
                      <a:pt x="125" y="887"/>
                      <a:pt x="161" y="919"/>
                      <a:pt x="201" y="919"/>
                    </a:cubicBezTo>
                    <a:cubicBezTo>
                      <a:pt x="339" y="919"/>
                      <a:pt x="339" y="919"/>
                      <a:pt x="339" y="919"/>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58" name="Freeform 29">
                <a:extLst>
                  <a:ext uri="{FF2B5EF4-FFF2-40B4-BE49-F238E27FC236}">
                    <a16:creationId xmlns:a16="http://schemas.microsoft.com/office/drawing/2014/main" id="{0FDF1C02-3FA2-4449-B259-3E5CD3C666F6}"/>
                  </a:ext>
                </a:extLst>
              </p:cNvPr>
              <p:cNvSpPr>
                <a:spLocks/>
              </p:cNvSpPr>
              <p:nvPr/>
            </p:nvSpPr>
            <p:spPr bwMode="auto">
              <a:xfrm>
                <a:off x="6728868" y="4234291"/>
                <a:ext cx="140026" cy="446673"/>
              </a:xfrm>
              <a:custGeom>
                <a:avLst/>
                <a:gdLst>
                  <a:gd name="T0" fmla="*/ 150 w 288"/>
                  <a:gd name="T1" fmla="*/ 134 h 919"/>
                  <a:gd name="T2" fmla="*/ 175 w 288"/>
                  <a:gd name="T3" fmla="*/ 341 h 919"/>
                  <a:gd name="T4" fmla="*/ 138 w 288"/>
                  <a:gd name="T5" fmla="*/ 526 h 919"/>
                  <a:gd name="T6" fmla="*/ 103 w 288"/>
                  <a:gd name="T7" fmla="*/ 709 h 919"/>
                  <a:gd name="T8" fmla="*/ 119 w 288"/>
                  <a:gd name="T9" fmla="*/ 847 h 919"/>
                  <a:gd name="T10" fmla="*/ 200 w 288"/>
                  <a:gd name="T11" fmla="*/ 919 h 919"/>
                  <a:gd name="T12" fmla="*/ 288 w 288"/>
                  <a:gd name="T13" fmla="*/ 919 h 919"/>
                  <a:gd name="T14" fmla="*/ 207 w 288"/>
                  <a:gd name="T15" fmla="*/ 847 h 919"/>
                  <a:gd name="T16" fmla="*/ 190 w 288"/>
                  <a:gd name="T17" fmla="*/ 709 h 919"/>
                  <a:gd name="T18" fmla="*/ 226 w 288"/>
                  <a:gd name="T19" fmla="*/ 526 h 919"/>
                  <a:gd name="T20" fmla="*/ 262 w 288"/>
                  <a:gd name="T21" fmla="*/ 341 h 919"/>
                  <a:gd name="T22" fmla="*/ 237 w 288"/>
                  <a:gd name="T23" fmla="*/ 134 h 919"/>
                  <a:gd name="T24" fmla="*/ 87 w 288"/>
                  <a:gd name="T25" fmla="*/ 0 h 919"/>
                  <a:gd name="T26" fmla="*/ 0 w 288"/>
                  <a:gd name="T27" fmla="*/ 0 h 919"/>
                  <a:gd name="T28" fmla="*/ 150 w 288"/>
                  <a:gd name="T29" fmla="*/ 134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919">
                    <a:moveTo>
                      <a:pt x="150" y="134"/>
                    </a:moveTo>
                    <a:cubicBezTo>
                      <a:pt x="175" y="341"/>
                      <a:pt x="175" y="341"/>
                      <a:pt x="175" y="341"/>
                    </a:cubicBezTo>
                    <a:cubicBezTo>
                      <a:pt x="183" y="407"/>
                      <a:pt x="170" y="472"/>
                      <a:pt x="138" y="526"/>
                    </a:cubicBezTo>
                    <a:cubicBezTo>
                      <a:pt x="107" y="579"/>
                      <a:pt x="95" y="643"/>
                      <a:pt x="103" y="709"/>
                    </a:cubicBezTo>
                    <a:cubicBezTo>
                      <a:pt x="119" y="847"/>
                      <a:pt x="119" y="847"/>
                      <a:pt x="119" y="847"/>
                    </a:cubicBezTo>
                    <a:cubicBezTo>
                      <a:pt x="124" y="887"/>
                      <a:pt x="160" y="919"/>
                      <a:pt x="200" y="919"/>
                    </a:cubicBezTo>
                    <a:cubicBezTo>
                      <a:pt x="288" y="919"/>
                      <a:pt x="288" y="919"/>
                      <a:pt x="288" y="919"/>
                    </a:cubicBezTo>
                    <a:cubicBezTo>
                      <a:pt x="248" y="919"/>
                      <a:pt x="211" y="887"/>
                      <a:pt x="207" y="847"/>
                    </a:cubicBezTo>
                    <a:cubicBezTo>
                      <a:pt x="190" y="709"/>
                      <a:pt x="190" y="709"/>
                      <a:pt x="190" y="709"/>
                    </a:cubicBezTo>
                    <a:cubicBezTo>
                      <a:pt x="182" y="643"/>
                      <a:pt x="194" y="579"/>
                      <a:pt x="226" y="526"/>
                    </a:cubicBezTo>
                    <a:cubicBezTo>
                      <a:pt x="257" y="472"/>
                      <a:pt x="270" y="407"/>
                      <a:pt x="262" y="341"/>
                    </a:cubicBezTo>
                    <a:cubicBezTo>
                      <a:pt x="237" y="134"/>
                      <a:pt x="237" y="134"/>
                      <a:pt x="237" y="134"/>
                    </a:cubicBezTo>
                    <a:cubicBezTo>
                      <a:pt x="229" y="60"/>
                      <a:pt x="161" y="0"/>
                      <a:pt x="87" y="0"/>
                    </a:cubicBezTo>
                    <a:cubicBezTo>
                      <a:pt x="0" y="0"/>
                      <a:pt x="0" y="0"/>
                      <a:pt x="0" y="0"/>
                    </a:cubicBezTo>
                    <a:cubicBezTo>
                      <a:pt x="74" y="0"/>
                      <a:pt x="141" y="60"/>
                      <a:pt x="150" y="13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59" name="Freeform 30">
                <a:extLst>
                  <a:ext uri="{FF2B5EF4-FFF2-40B4-BE49-F238E27FC236}">
                    <a16:creationId xmlns:a16="http://schemas.microsoft.com/office/drawing/2014/main" id="{678159CF-C13E-475B-9D81-7969281A7754}"/>
                  </a:ext>
                </a:extLst>
              </p:cNvPr>
              <p:cNvSpPr>
                <a:spLocks/>
              </p:cNvSpPr>
              <p:nvPr/>
            </p:nvSpPr>
            <p:spPr bwMode="auto">
              <a:xfrm>
                <a:off x="6917786" y="4358672"/>
                <a:ext cx="512384" cy="407169"/>
              </a:xfrm>
              <a:custGeom>
                <a:avLst/>
                <a:gdLst>
                  <a:gd name="T0" fmla="*/ 940 w 1053"/>
                  <a:gd name="T1" fmla="*/ 372 h 838"/>
                  <a:gd name="T2" fmla="*/ 844 w 1053"/>
                  <a:gd name="T3" fmla="*/ 378 h 838"/>
                  <a:gd name="T4" fmla="*/ 743 w 1053"/>
                  <a:gd name="T5" fmla="*/ 207 h 838"/>
                  <a:gd name="T6" fmla="*/ 680 w 1053"/>
                  <a:gd name="T7" fmla="*/ 31 h 838"/>
                  <a:gd name="T8" fmla="*/ 651 w 1053"/>
                  <a:gd name="T9" fmla="*/ 0 h 838"/>
                  <a:gd name="T10" fmla="*/ 425 w 1053"/>
                  <a:gd name="T11" fmla="*/ 0 h 838"/>
                  <a:gd name="T12" fmla="*/ 1 w 1053"/>
                  <a:gd name="T13" fmla="*/ 602 h 838"/>
                  <a:gd name="T14" fmla="*/ 2 w 1053"/>
                  <a:gd name="T15" fmla="*/ 729 h 838"/>
                  <a:gd name="T16" fmla="*/ 165 w 1053"/>
                  <a:gd name="T17" fmla="*/ 838 h 838"/>
                  <a:gd name="T18" fmla="*/ 670 w 1053"/>
                  <a:gd name="T19" fmla="*/ 838 h 838"/>
                  <a:gd name="T20" fmla="*/ 631 w 1053"/>
                  <a:gd name="T21" fmla="*/ 683 h 838"/>
                  <a:gd name="T22" fmla="*/ 639 w 1053"/>
                  <a:gd name="T23" fmla="*/ 444 h 838"/>
                  <a:gd name="T24" fmla="*/ 834 w 1053"/>
                  <a:gd name="T25" fmla="*/ 663 h 838"/>
                  <a:gd name="T26" fmla="*/ 971 w 1053"/>
                  <a:gd name="T27" fmla="*/ 663 h 838"/>
                  <a:gd name="T28" fmla="*/ 1053 w 1053"/>
                  <a:gd name="T29" fmla="*/ 402 h 838"/>
                  <a:gd name="T30" fmla="*/ 940 w 1053"/>
                  <a:gd name="T31" fmla="*/ 372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3" h="838">
                    <a:moveTo>
                      <a:pt x="940" y="372"/>
                    </a:moveTo>
                    <a:cubicBezTo>
                      <a:pt x="844" y="378"/>
                      <a:pt x="844" y="378"/>
                      <a:pt x="844" y="378"/>
                    </a:cubicBezTo>
                    <a:cubicBezTo>
                      <a:pt x="743" y="207"/>
                      <a:pt x="743" y="207"/>
                      <a:pt x="743" y="207"/>
                    </a:cubicBezTo>
                    <a:cubicBezTo>
                      <a:pt x="748" y="144"/>
                      <a:pt x="727" y="80"/>
                      <a:pt x="680" y="31"/>
                    </a:cubicBezTo>
                    <a:cubicBezTo>
                      <a:pt x="651" y="0"/>
                      <a:pt x="651" y="0"/>
                      <a:pt x="651" y="0"/>
                    </a:cubicBezTo>
                    <a:cubicBezTo>
                      <a:pt x="425" y="0"/>
                      <a:pt x="425" y="0"/>
                      <a:pt x="425" y="0"/>
                    </a:cubicBezTo>
                    <a:cubicBezTo>
                      <a:pt x="93" y="119"/>
                      <a:pt x="0" y="501"/>
                      <a:pt x="1" y="602"/>
                    </a:cubicBezTo>
                    <a:cubicBezTo>
                      <a:pt x="2" y="729"/>
                      <a:pt x="2" y="729"/>
                      <a:pt x="2" y="729"/>
                    </a:cubicBezTo>
                    <a:cubicBezTo>
                      <a:pt x="165" y="838"/>
                      <a:pt x="165" y="838"/>
                      <a:pt x="165" y="838"/>
                    </a:cubicBezTo>
                    <a:cubicBezTo>
                      <a:pt x="670" y="838"/>
                      <a:pt x="670" y="838"/>
                      <a:pt x="670" y="838"/>
                    </a:cubicBezTo>
                    <a:cubicBezTo>
                      <a:pt x="631" y="683"/>
                      <a:pt x="631" y="683"/>
                      <a:pt x="631" y="683"/>
                    </a:cubicBezTo>
                    <a:cubicBezTo>
                      <a:pt x="610" y="604"/>
                      <a:pt x="614" y="521"/>
                      <a:pt x="639" y="444"/>
                    </a:cubicBezTo>
                    <a:cubicBezTo>
                      <a:pt x="834" y="663"/>
                      <a:pt x="834" y="663"/>
                      <a:pt x="834" y="663"/>
                    </a:cubicBezTo>
                    <a:cubicBezTo>
                      <a:pt x="971" y="663"/>
                      <a:pt x="971" y="663"/>
                      <a:pt x="971" y="663"/>
                    </a:cubicBezTo>
                    <a:cubicBezTo>
                      <a:pt x="1053" y="402"/>
                      <a:pt x="1053" y="402"/>
                      <a:pt x="1053" y="402"/>
                    </a:cubicBezTo>
                    <a:lnTo>
                      <a:pt x="940" y="372"/>
                    </a:ln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0" name="Freeform 31">
                <a:extLst>
                  <a:ext uri="{FF2B5EF4-FFF2-40B4-BE49-F238E27FC236}">
                    <a16:creationId xmlns:a16="http://schemas.microsoft.com/office/drawing/2014/main" id="{8520897C-6738-4BB0-8BE6-64D34C46999E}"/>
                  </a:ext>
                </a:extLst>
              </p:cNvPr>
              <p:cNvSpPr>
                <a:spLocks/>
              </p:cNvSpPr>
              <p:nvPr/>
            </p:nvSpPr>
            <p:spPr bwMode="auto">
              <a:xfrm>
                <a:off x="6962375" y="4917208"/>
                <a:ext cx="328160" cy="57888"/>
              </a:xfrm>
              <a:custGeom>
                <a:avLst/>
                <a:gdLst>
                  <a:gd name="T0" fmla="*/ 0 w 674"/>
                  <a:gd name="T1" fmla="*/ 0 h 119"/>
                  <a:gd name="T2" fmla="*/ 0 w 674"/>
                  <a:gd name="T3" fmla="*/ 9 h 119"/>
                  <a:gd name="T4" fmla="*/ 12 w 674"/>
                  <a:gd name="T5" fmla="*/ 119 h 119"/>
                  <a:gd name="T6" fmla="*/ 674 w 674"/>
                  <a:gd name="T7" fmla="*/ 0 h 119"/>
                  <a:gd name="T8" fmla="*/ 0 w 674"/>
                  <a:gd name="T9" fmla="*/ 0 h 119"/>
                </a:gdLst>
                <a:ahLst/>
                <a:cxnLst>
                  <a:cxn ang="0">
                    <a:pos x="T0" y="T1"/>
                  </a:cxn>
                  <a:cxn ang="0">
                    <a:pos x="T2" y="T3"/>
                  </a:cxn>
                  <a:cxn ang="0">
                    <a:pos x="T4" y="T5"/>
                  </a:cxn>
                  <a:cxn ang="0">
                    <a:pos x="T6" y="T7"/>
                  </a:cxn>
                  <a:cxn ang="0">
                    <a:pos x="T8" y="T9"/>
                  </a:cxn>
                </a:cxnLst>
                <a:rect l="0" t="0" r="r" b="b"/>
                <a:pathLst>
                  <a:path w="674" h="119">
                    <a:moveTo>
                      <a:pt x="0" y="0"/>
                    </a:moveTo>
                    <a:cubicBezTo>
                      <a:pt x="0" y="3"/>
                      <a:pt x="0" y="6"/>
                      <a:pt x="0" y="9"/>
                    </a:cubicBezTo>
                    <a:cubicBezTo>
                      <a:pt x="12" y="119"/>
                      <a:pt x="12" y="119"/>
                      <a:pt x="12" y="119"/>
                    </a:cubicBezTo>
                    <a:cubicBezTo>
                      <a:pt x="674" y="0"/>
                      <a:pt x="674" y="0"/>
                      <a:pt x="674" y="0"/>
                    </a:cubicBezTo>
                    <a:lnTo>
                      <a:pt x="0"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1" name="Freeform 32">
                <a:extLst>
                  <a:ext uri="{FF2B5EF4-FFF2-40B4-BE49-F238E27FC236}">
                    <a16:creationId xmlns:a16="http://schemas.microsoft.com/office/drawing/2014/main" id="{E70A0D15-F765-4F8F-89A6-5194361B6A93}"/>
                  </a:ext>
                </a:extLst>
              </p:cNvPr>
              <p:cNvSpPr>
                <a:spLocks/>
              </p:cNvSpPr>
              <p:nvPr/>
            </p:nvSpPr>
            <p:spPr bwMode="auto">
              <a:xfrm>
                <a:off x="6912701" y="4680965"/>
                <a:ext cx="566360" cy="382137"/>
              </a:xfrm>
              <a:custGeom>
                <a:avLst/>
                <a:gdLst>
                  <a:gd name="T0" fmla="*/ 1111 w 1163"/>
                  <a:gd name="T1" fmla="*/ 133 h 786"/>
                  <a:gd name="T2" fmla="*/ 1163 w 1163"/>
                  <a:gd name="T3" fmla="*/ 82 h 786"/>
                  <a:gd name="T4" fmla="*/ 1163 w 1163"/>
                  <a:gd name="T5" fmla="*/ 52 h 786"/>
                  <a:gd name="T6" fmla="*/ 1111 w 1163"/>
                  <a:gd name="T7" fmla="*/ 0 h 786"/>
                  <a:gd name="T8" fmla="*/ 1001 w 1163"/>
                  <a:gd name="T9" fmla="*/ 0 h 786"/>
                  <a:gd name="T10" fmla="*/ 926 w 1163"/>
                  <a:gd name="T11" fmla="*/ 68 h 786"/>
                  <a:gd name="T12" fmla="*/ 900 w 1163"/>
                  <a:gd name="T13" fmla="*/ 299 h 786"/>
                  <a:gd name="T14" fmla="*/ 263 w 1163"/>
                  <a:gd name="T15" fmla="*/ 299 h 786"/>
                  <a:gd name="T16" fmla="*/ 237 w 1163"/>
                  <a:gd name="T17" fmla="*/ 68 h 786"/>
                  <a:gd name="T18" fmla="*/ 161 w 1163"/>
                  <a:gd name="T19" fmla="*/ 0 h 786"/>
                  <a:gd name="T20" fmla="*/ 52 w 1163"/>
                  <a:gd name="T21" fmla="*/ 0 h 786"/>
                  <a:gd name="T22" fmla="*/ 0 w 1163"/>
                  <a:gd name="T23" fmla="*/ 52 h 786"/>
                  <a:gd name="T24" fmla="*/ 0 w 1163"/>
                  <a:gd name="T25" fmla="*/ 82 h 786"/>
                  <a:gd name="T26" fmla="*/ 52 w 1163"/>
                  <a:gd name="T27" fmla="*/ 133 h 786"/>
                  <a:gd name="T28" fmla="*/ 103 w 1163"/>
                  <a:gd name="T29" fmla="*/ 179 h 786"/>
                  <a:gd name="T30" fmla="*/ 116 w 1163"/>
                  <a:gd name="T31" fmla="*/ 299 h 786"/>
                  <a:gd name="T32" fmla="*/ 91 w 1163"/>
                  <a:gd name="T33" fmla="*/ 299 h 786"/>
                  <a:gd name="T34" fmla="*/ 58 w 1163"/>
                  <a:gd name="T35" fmla="*/ 332 h 786"/>
                  <a:gd name="T36" fmla="*/ 58 w 1163"/>
                  <a:gd name="T37" fmla="*/ 454 h 786"/>
                  <a:gd name="T38" fmla="*/ 91 w 1163"/>
                  <a:gd name="T39" fmla="*/ 486 h 786"/>
                  <a:gd name="T40" fmla="*/ 102 w 1163"/>
                  <a:gd name="T41" fmla="*/ 486 h 786"/>
                  <a:gd name="T42" fmla="*/ 776 w 1163"/>
                  <a:gd name="T43" fmla="*/ 486 h 786"/>
                  <a:gd name="T44" fmla="*/ 114 w 1163"/>
                  <a:gd name="T45" fmla="*/ 605 h 786"/>
                  <a:gd name="T46" fmla="*/ 130 w 1163"/>
                  <a:gd name="T47" fmla="*/ 759 h 786"/>
                  <a:gd name="T48" fmla="*/ 159 w 1163"/>
                  <a:gd name="T49" fmla="*/ 786 h 786"/>
                  <a:gd name="T50" fmla="*/ 1062 w 1163"/>
                  <a:gd name="T51" fmla="*/ 786 h 786"/>
                  <a:gd name="T52" fmla="*/ 1090 w 1163"/>
                  <a:gd name="T53" fmla="*/ 759 h 786"/>
                  <a:gd name="T54" fmla="*/ 1119 w 1163"/>
                  <a:gd name="T55" fmla="*/ 495 h 786"/>
                  <a:gd name="T56" fmla="*/ 1118 w 1163"/>
                  <a:gd name="T57" fmla="*/ 486 h 786"/>
                  <a:gd name="T58" fmla="*/ 1130 w 1163"/>
                  <a:gd name="T59" fmla="*/ 486 h 786"/>
                  <a:gd name="T60" fmla="*/ 1163 w 1163"/>
                  <a:gd name="T61" fmla="*/ 454 h 786"/>
                  <a:gd name="T62" fmla="*/ 1163 w 1163"/>
                  <a:gd name="T63" fmla="*/ 332 h 786"/>
                  <a:gd name="T64" fmla="*/ 1130 w 1163"/>
                  <a:gd name="T65" fmla="*/ 299 h 786"/>
                  <a:gd name="T66" fmla="*/ 1046 w 1163"/>
                  <a:gd name="T67" fmla="*/ 299 h 786"/>
                  <a:gd name="T68" fmla="*/ 1060 w 1163"/>
                  <a:gd name="T69" fmla="*/ 179 h 786"/>
                  <a:gd name="T70" fmla="*/ 1111 w 1163"/>
                  <a:gd name="T71" fmla="*/ 133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3" h="786">
                    <a:moveTo>
                      <a:pt x="1111" y="133"/>
                    </a:moveTo>
                    <a:cubicBezTo>
                      <a:pt x="1139" y="133"/>
                      <a:pt x="1163" y="110"/>
                      <a:pt x="1163" y="82"/>
                    </a:cubicBezTo>
                    <a:cubicBezTo>
                      <a:pt x="1163" y="52"/>
                      <a:pt x="1163" y="52"/>
                      <a:pt x="1163" y="52"/>
                    </a:cubicBezTo>
                    <a:cubicBezTo>
                      <a:pt x="1163" y="23"/>
                      <a:pt x="1139" y="0"/>
                      <a:pt x="1111" y="0"/>
                    </a:cubicBezTo>
                    <a:cubicBezTo>
                      <a:pt x="1001" y="0"/>
                      <a:pt x="1001" y="0"/>
                      <a:pt x="1001" y="0"/>
                    </a:cubicBezTo>
                    <a:cubicBezTo>
                      <a:pt x="962" y="0"/>
                      <a:pt x="930" y="29"/>
                      <a:pt x="926" y="68"/>
                    </a:cubicBezTo>
                    <a:cubicBezTo>
                      <a:pt x="900" y="299"/>
                      <a:pt x="900" y="299"/>
                      <a:pt x="900" y="299"/>
                    </a:cubicBezTo>
                    <a:cubicBezTo>
                      <a:pt x="263" y="299"/>
                      <a:pt x="263" y="299"/>
                      <a:pt x="263" y="299"/>
                    </a:cubicBezTo>
                    <a:cubicBezTo>
                      <a:pt x="237" y="68"/>
                      <a:pt x="237" y="68"/>
                      <a:pt x="237" y="68"/>
                    </a:cubicBezTo>
                    <a:cubicBezTo>
                      <a:pt x="233" y="29"/>
                      <a:pt x="200" y="0"/>
                      <a:pt x="161" y="0"/>
                    </a:cubicBezTo>
                    <a:cubicBezTo>
                      <a:pt x="52" y="0"/>
                      <a:pt x="52" y="0"/>
                      <a:pt x="52" y="0"/>
                    </a:cubicBezTo>
                    <a:cubicBezTo>
                      <a:pt x="23" y="0"/>
                      <a:pt x="0" y="23"/>
                      <a:pt x="0" y="52"/>
                    </a:cubicBezTo>
                    <a:cubicBezTo>
                      <a:pt x="0" y="82"/>
                      <a:pt x="0" y="82"/>
                      <a:pt x="0" y="82"/>
                    </a:cubicBezTo>
                    <a:cubicBezTo>
                      <a:pt x="0" y="110"/>
                      <a:pt x="23" y="133"/>
                      <a:pt x="52" y="133"/>
                    </a:cubicBezTo>
                    <a:cubicBezTo>
                      <a:pt x="78" y="133"/>
                      <a:pt x="100" y="153"/>
                      <a:pt x="103" y="179"/>
                    </a:cubicBezTo>
                    <a:cubicBezTo>
                      <a:pt x="116" y="299"/>
                      <a:pt x="116" y="299"/>
                      <a:pt x="116" y="299"/>
                    </a:cubicBezTo>
                    <a:cubicBezTo>
                      <a:pt x="91" y="299"/>
                      <a:pt x="91" y="299"/>
                      <a:pt x="91" y="299"/>
                    </a:cubicBezTo>
                    <a:cubicBezTo>
                      <a:pt x="73" y="299"/>
                      <a:pt x="58" y="314"/>
                      <a:pt x="58" y="332"/>
                    </a:cubicBezTo>
                    <a:cubicBezTo>
                      <a:pt x="58" y="454"/>
                      <a:pt x="58" y="454"/>
                      <a:pt x="58" y="454"/>
                    </a:cubicBezTo>
                    <a:cubicBezTo>
                      <a:pt x="58" y="472"/>
                      <a:pt x="73" y="486"/>
                      <a:pt x="91" y="486"/>
                    </a:cubicBezTo>
                    <a:cubicBezTo>
                      <a:pt x="102" y="486"/>
                      <a:pt x="102" y="486"/>
                      <a:pt x="102" y="486"/>
                    </a:cubicBezTo>
                    <a:cubicBezTo>
                      <a:pt x="776" y="486"/>
                      <a:pt x="776" y="486"/>
                      <a:pt x="776" y="486"/>
                    </a:cubicBezTo>
                    <a:cubicBezTo>
                      <a:pt x="114" y="605"/>
                      <a:pt x="114" y="605"/>
                      <a:pt x="114" y="605"/>
                    </a:cubicBezTo>
                    <a:cubicBezTo>
                      <a:pt x="130" y="759"/>
                      <a:pt x="130" y="759"/>
                      <a:pt x="130" y="759"/>
                    </a:cubicBezTo>
                    <a:cubicBezTo>
                      <a:pt x="132" y="775"/>
                      <a:pt x="144" y="786"/>
                      <a:pt x="159" y="786"/>
                    </a:cubicBezTo>
                    <a:cubicBezTo>
                      <a:pt x="1062" y="786"/>
                      <a:pt x="1062" y="786"/>
                      <a:pt x="1062" y="786"/>
                    </a:cubicBezTo>
                    <a:cubicBezTo>
                      <a:pt x="1076" y="786"/>
                      <a:pt x="1089" y="775"/>
                      <a:pt x="1090" y="759"/>
                    </a:cubicBezTo>
                    <a:cubicBezTo>
                      <a:pt x="1119" y="495"/>
                      <a:pt x="1119" y="495"/>
                      <a:pt x="1119" y="495"/>
                    </a:cubicBezTo>
                    <a:cubicBezTo>
                      <a:pt x="1119" y="492"/>
                      <a:pt x="1119" y="489"/>
                      <a:pt x="1118" y="486"/>
                    </a:cubicBezTo>
                    <a:cubicBezTo>
                      <a:pt x="1130" y="486"/>
                      <a:pt x="1130" y="486"/>
                      <a:pt x="1130" y="486"/>
                    </a:cubicBezTo>
                    <a:cubicBezTo>
                      <a:pt x="1148" y="486"/>
                      <a:pt x="1163" y="472"/>
                      <a:pt x="1163" y="454"/>
                    </a:cubicBezTo>
                    <a:cubicBezTo>
                      <a:pt x="1163" y="332"/>
                      <a:pt x="1163" y="332"/>
                      <a:pt x="1163" y="332"/>
                    </a:cubicBezTo>
                    <a:cubicBezTo>
                      <a:pt x="1163" y="314"/>
                      <a:pt x="1148" y="299"/>
                      <a:pt x="1130" y="299"/>
                    </a:cubicBezTo>
                    <a:cubicBezTo>
                      <a:pt x="1046" y="299"/>
                      <a:pt x="1046" y="299"/>
                      <a:pt x="1046" y="299"/>
                    </a:cubicBezTo>
                    <a:cubicBezTo>
                      <a:pt x="1060" y="179"/>
                      <a:pt x="1060" y="179"/>
                      <a:pt x="1060" y="179"/>
                    </a:cubicBezTo>
                    <a:cubicBezTo>
                      <a:pt x="1063" y="153"/>
                      <a:pt x="1085" y="133"/>
                      <a:pt x="1111" y="133"/>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2" name="Freeform 33">
                <a:extLst>
                  <a:ext uri="{FF2B5EF4-FFF2-40B4-BE49-F238E27FC236}">
                    <a16:creationId xmlns:a16="http://schemas.microsoft.com/office/drawing/2014/main" id="{4D33BBE3-6E99-44C0-A4D4-6284F3B9AF75}"/>
                  </a:ext>
                </a:extLst>
              </p:cNvPr>
              <p:cNvSpPr>
                <a:spLocks/>
              </p:cNvSpPr>
              <p:nvPr/>
            </p:nvSpPr>
            <p:spPr bwMode="auto">
              <a:xfrm>
                <a:off x="7001097"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3" name="Freeform 34">
                <a:extLst>
                  <a:ext uri="{FF2B5EF4-FFF2-40B4-BE49-F238E27FC236}">
                    <a16:creationId xmlns:a16="http://schemas.microsoft.com/office/drawing/2014/main" id="{6273DB58-29D1-4FE7-A7E4-7F1A5BB247FB}"/>
                  </a:ext>
                </a:extLst>
              </p:cNvPr>
              <p:cNvSpPr>
                <a:spLocks/>
              </p:cNvSpPr>
              <p:nvPr/>
            </p:nvSpPr>
            <p:spPr bwMode="auto">
              <a:xfrm>
                <a:off x="7371499"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4" name="Freeform 36">
                <a:extLst>
                  <a:ext uri="{FF2B5EF4-FFF2-40B4-BE49-F238E27FC236}">
                    <a16:creationId xmlns:a16="http://schemas.microsoft.com/office/drawing/2014/main" id="{9B7CFA46-5662-495A-823D-C55D3B7E027D}"/>
                  </a:ext>
                </a:extLst>
              </p:cNvPr>
              <p:cNvSpPr>
                <a:spLocks/>
              </p:cNvSpPr>
              <p:nvPr/>
            </p:nvSpPr>
            <p:spPr bwMode="auto">
              <a:xfrm>
                <a:off x="7121957" y="5063101"/>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5" name="Freeform 37">
                <a:extLst>
                  <a:ext uri="{FF2B5EF4-FFF2-40B4-BE49-F238E27FC236}">
                    <a16:creationId xmlns:a16="http://schemas.microsoft.com/office/drawing/2014/main" id="{F19BECBA-8115-4E2C-B89C-9055CC14806C}"/>
                  </a:ext>
                </a:extLst>
              </p:cNvPr>
              <p:cNvSpPr>
                <a:spLocks/>
              </p:cNvSpPr>
              <p:nvPr/>
            </p:nvSpPr>
            <p:spPr bwMode="auto">
              <a:xfrm>
                <a:off x="7103964" y="4282792"/>
                <a:ext cx="183832" cy="152932"/>
              </a:xfrm>
              <a:custGeom>
                <a:avLst/>
                <a:gdLst>
                  <a:gd name="T0" fmla="*/ 43 w 377"/>
                  <a:gd name="T1" fmla="*/ 0 h 314"/>
                  <a:gd name="T2" fmla="*/ 44 w 377"/>
                  <a:gd name="T3" fmla="*/ 57 h 314"/>
                  <a:gd name="T4" fmla="*/ 14 w 377"/>
                  <a:gd name="T5" fmla="*/ 193 h 314"/>
                  <a:gd name="T6" fmla="*/ 25 w 377"/>
                  <a:gd name="T7" fmla="*/ 265 h 314"/>
                  <a:gd name="T8" fmla="*/ 160 w 377"/>
                  <a:gd name="T9" fmla="*/ 314 h 314"/>
                  <a:gd name="T10" fmla="*/ 206 w 377"/>
                  <a:gd name="T11" fmla="*/ 314 h 314"/>
                  <a:gd name="T12" fmla="*/ 234 w 377"/>
                  <a:gd name="T13" fmla="*/ 297 h 314"/>
                  <a:gd name="T14" fmla="*/ 363 w 377"/>
                  <a:gd name="T15" fmla="*/ 213 h 314"/>
                  <a:gd name="T16" fmla="*/ 377 w 377"/>
                  <a:gd name="T17" fmla="*/ 213 h 314"/>
                  <a:gd name="T18" fmla="*/ 327 w 377"/>
                  <a:gd name="T19" fmla="*/ 82 h 314"/>
                  <a:gd name="T20" fmla="*/ 43 w 377"/>
                  <a:gd name="T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314">
                    <a:moveTo>
                      <a:pt x="43" y="0"/>
                    </a:moveTo>
                    <a:cubicBezTo>
                      <a:pt x="44" y="57"/>
                      <a:pt x="44" y="57"/>
                      <a:pt x="44" y="57"/>
                    </a:cubicBezTo>
                    <a:cubicBezTo>
                      <a:pt x="44" y="88"/>
                      <a:pt x="40" y="144"/>
                      <a:pt x="14" y="193"/>
                    </a:cubicBezTo>
                    <a:cubicBezTo>
                      <a:pt x="0" y="217"/>
                      <a:pt x="4" y="246"/>
                      <a:pt x="25" y="265"/>
                    </a:cubicBezTo>
                    <a:cubicBezTo>
                      <a:pt x="61" y="296"/>
                      <a:pt x="111" y="314"/>
                      <a:pt x="160" y="314"/>
                    </a:cubicBezTo>
                    <a:cubicBezTo>
                      <a:pt x="206" y="314"/>
                      <a:pt x="206" y="314"/>
                      <a:pt x="206" y="314"/>
                    </a:cubicBezTo>
                    <a:cubicBezTo>
                      <a:pt x="218" y="314"/>
                      <a:pt x="229" y="308"/>
                      <a:pt x="234" y="297"/>
                    </a:cubicBezTo>
                    <a:cubicBezTo>
                      <a:pt x="248" y="267"/>
                      <a:pt x="284" y="213"/>
                      <a:pt x="363" y="213"/>
                    </a:cubicBezTo>
                    <a:cubicBezTo>
                      <a:pt x="377" y="213"/>
                      <a:pt x="377" y="213"/>
                      <a:pt x="377" y="213"/>
                    </a:cubicBezTo>
                    <a:cubicBezTo>
                      <a:pt x="327" y="82"/>
                      <a:pt x="327" y="82"/>
                      <a:pt x="327" y="82"/>
                    </a:cubicBezTo>
                    <a:lnTo>
                      <a:pt x="43" y="0"/>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6" name="Freeform 38">
                <a:extLst>
                  <a:ext uri="{FF2B5EF4-FFF2-40B4-BE49-F238E27FC236}">
                    <a16:creationId xmlns:a16="http://schemas.microsoft.com/office/drawing/2014/main" id="{101749E3-A5EA-483E-86F2-D84202C1DF53}"/>
                  </a:ext>
                </a:extLst>
              </p:cNvPr>
              <p:cNvSpPr>
                <a:spLocks/>
              </p:cNvSpPr>
              <p:nvPr/>
            </p:nvSpPr>
            <p:spPr bwMode="auto">
              <a:xfrm>
                <a:off x="7182974" y="4370406"/>
                <a:ext cx="104824" cy="65319"/>
              </a:xfrm>
              <a:custGeom>
                <a:avLst/>
                <a:gdLst>
                  <a:gd name="T0" fmla="*/ 72 w 215"/>
                  <a:gd name="T1" fmla="*/ 19 h 134"/>
                  <a:gd name="T2" fmla="*/ 0 w 215"/>
                  <a:gd name="T3" fmla="*/ 134 h 134"/>
                  <a:gd name="T4" fmla="*/ 44 w 215"/>
                  <a:gd name="T5" fmla="*/ 134 h 134"/>
                  <a:gd name="T6" fmla="*/ 72 w 215"/>
                  <a:gd name="T7" fmla="*/ 117 h 134"/>
                  <a:gd name="T8" fmla="*/ 201 w 215"/>
                  <a:gd name="T9" fmla="*/ 33 h 134"/>
                  <a:gd name="T10" fmla="*/ 215 w 215"/>
                  <a:gd name="T11" fmla="*/ 33 h 134"/>
                  <a:gd name="T12" fmla="*/ 203 w 215"/>
                  <a:gd name="T13" fmla="*/ 0 h 134"/>
                  <a:gd name="T14" fmla="*/ 98 w 215"/>
                  <a:gd name="T15" fmla="*/ 0 h 134"/>
                  <a:gd name="T16" fmla="*/ 72 w 215"/>
                  <a:gd name="T17" fmla="*/ 1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34">
                    <a:moveTo>
                      <a:pt x="72" y="19"/>
                    </a:moveTo>
                    <a:cubicBezTo>
                      <a:pt x="33" y="47"/>
                      <a:pt x="8" y="89"/>
                      <a:pt x="0" y="134"/>
                    </a:cubicBezTo>
                    <a:cubicBezTo>
                      <a:pt x="44" y="134"/>
                      <a:pt x="44" y="134"/>
                      <a:pt x="44" y="134"/>
                    </a:cubicBezTo>
                    <a:cubicBezTo>
                      <a:pt x="56" y="134"/>
                      <a:pt x="67" y="128"/>
                      <a:pt x="72" y="117"/>
                    </a:cubicBezTo>
                    <a:cubicBezTo>
                      <a:pt x="86" y="87"/>
                      <a:pt x="122" y="33"/>
                      <a:pt x="201" y="33"/>
                    </a:cubicBezTo>
                    <a:cubicBezTo>
                      <a:pt x="215" y="33"/>
                      <a:pt x="215" y="33"/>
                      <a:pt x="215" y="33"/>
                    </a:cubicBezTo>
                    <a:cubicBezTo>
                      <a:pt x="203" y="0"/>
                      <a:pt x="203" y="0"/>
                      <a:pt x="203" y="0"/>
                    </a:cubicBezTo>
                    <a:cubicBezTo>
                      <a:pt x="98" y="0"/>
                      <a:pt x="98" y="0"/>
                      <a:pt x="98" y="0"/>
                    </a:cubicBezTo>
                    <a:lnTo>
                      <a:pt x="72" y="19"/>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7" name="Freeform 39">
                <a:extLst>
                  <a:ext uri="{FF2B5EF4-FFF2-40B4-BE49-F238E27FC236}">
                    <a16:creationId xmlns:a16="http://schemas.microsoft.com/office/drawing/2014/main" id="{A7EFD916-DE54-4D13-92B7-09D17631900A}"/>
                  </a:ext>
                </a:extLst>
              </p:cNvPr>
              <p:cNvSpPr>
                <a:spLocks/>
              </p:cNvSpPr>
              <p:nvPr/>
            </p:nvSpPr>
            <p:spPr bwMode="auto">
              <a:xfrm>
                <a:off x="7105529" y="4322688"/>
                <a:ext cx="103259" cy="97001"/>
              </a:xfrm>
              <a:custGeom>
                <a:avLst/>
                <a:gdLst>
                  <a:gd name="T0" fmla="*/ 11 w 212"/>
                  <a:gd name="T1" fmla="*/ 111 h 199"/>
                  <a:gd name="T2" fmla="*/ 13 w 212"/>
                  <a:gd name="T3" fmla="*/ 172 h 199"/>
                  <a:gd name="T4" fmla="*/ 212 w 212"/>
                  <a:gd name="T5" fmla="*/ 108 h 199"/>
                  <a:gd name="T6" fmla="*/ 41 w 212"/>
                  <a:gd name="T7" fmla="*/ 0 h 199"/>
                  <a:gd name="T8" fmla="*/ 11 w 212"/>
                  <a:gd name="T9" fmla="*/ 111 h 199"/>
                </a:gdLst>
                <a:ahLst/>
                <a:cxnLst>
                  <a:cxn ang="0">
                    <a:pos x="T0" y="T1"/>
                  </a:cxn>
                  <a:cxn ang="0">
                    <a:pos x="T2" y="T3"/>
                  </a:cxn>
                  <a:cxn ang="0">
                    <a:pos x="T4" y="T5"/>
                  </a:cxn>
                  <a:cxn ang="0">
                    <a:pos x="T6" y="T7"/>
                  </a:cxn>
                  <a:cxn ang="0">
                    <a:pos x="T8" y="T9"/>
                  </a:cxn>
                </a:cxnLst>
                <a:rect l="0" t="0" r="r" b="b"/>
                <a:pathLst>
                  <a:path w="212" h="199">
                    <a:moveTo>
                      <a:pt x="11" y="111"/>
                    </a:moveTo>
                    <a:cubicBezTo>
                      <a:pt x="0" y="131"/>
                      <a:pt x="1" y="154"/>
                      <a:pt x="13" y="172"/>
                    </a:cubicBezTo>
                    <a:cubicBezTo>
                      <a:pt x="22" y="174"/>
                      <a:pt x="133" y="199"/>
                      <a:pt x="212" y="108"/>
                    </a:cubicBezTo>
                    <a:cubicBezTo>
                      <a:pt x="168" y="71"/>
                      <a:pt x="71" y="17"/>
                      <a:pt x="41" y="0"/>
                    </a:cubicBezTo>
                    <a:cubicBezTo>
                      <a:pt x="38" y="32"/>
                      <a:pt x="31" y="73"/>
                      <a:pt x="11" y="11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8" name="Freeform 40">
                <a:extLst>
                  <a:ext uri="{FF2B5EF4-FFF2-40B4-BE49-F238E27FC236}">
                    <a16:creationId xmlns:a16="http://schemas.microsoft.com/office/drawing/2014/main" id="{2755F008-0FA6-43DD-A93A-FCA195DCA7D4}"/>
                  </a:ext>
                </a:extLst>
              </p:cNvPr>
              <p:cNvSpPr>
                <a:spLocks/>
              </p:cNvSpPr>
              <p:nvPr/>
            </p:nvSpPr>
            <p:spPr bwMode="auto">
              <a:xfrm>
                <a:off x="7178671" y="4724771"/>
                <a:ext cx="432593" cy="399738"/>
              </a:xfrm>
              <a:custGeom>
                <a:avLst/>
                <a:gdLst>
                  <a:gd name="T0" fmla="*/ 76 w 889"/>
                  <a:gd name="T1" fmla="*/ 0 h 823"/>
                  <a:gd name="T2" fmla="*/ 612 w 889"/>
                  <a:gd name="T3" fmla="*/ 29 h 823"/>
                  <a:gd name="T4" fmla="*/ 757 w 889"/>
                  <a:gd name="T5" fmla="*/ 145 h 823"/>
                  <a:gd name="T6" fmla="*/ 889 w 889"/>
                  <a:gd name="T7" fmla="*/ 823 h 823"/>
                  <a:gd name="T8" fmla="*/ 670 w 889"/>
                  <a:gd name="T9" fmla="*/ 823 h 823"/>
                  <a:gd name="T10" fmla="*/ 523 w 889"/>
                  <a:gd name="T11" fmla="*/ 209 h 823"/>
                  <a:gd name="T12" fmla="*/ 0 w 889"/>
                  <a:gd name="T13" fmla="*/ 209 h 823"/>
                  <a:gd name="T14" fmla="*/ 76 w 889"/>
                  <a:gd name="T15" fmla="*/ 0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9" h="823">
                    <a:moveTo>
                      <a:pt x="76" y="0"/>
                    </a:moveTo>
                    <a:cubicBezTo>
                      <a:pt x="612" y="29"/>
                      <a:pt x="612" y="29"/>
                      <a:pt x="612" y="29"/>
                    </a:cubicBezTo>
                    <a:cubicBezTo>
                      <a:pt x="681" y="32"/>
                      <a:pt x="739" y="79"/>
                      <a:pt x="757" y="145"/>
                    </a:cubicBezTo>
                    <a:cubicBezTo>
                      <a:pt x="889" y="823"/>
                      <a:pt x="889" y="823"/>
                      <a:pt x="889" y="823"/>
                    </a:cubicBezTo>
                    <a:cubicBezTo>
                      <a:pt x="670" y="823"/>
                      <a:pt x="670" y="823"/>
                      <a:pt x="670" y="823"/>
                    </a:cubicBezTo>
                    <a:cubicBezTo>
                      <a:pt x="523" y="209"/>
                      <a:pt x="523" y="209"/>
                      <a:pt x="523" y="209"/>
                    </a:cubicBezTo>
                    <a:cubicBezTo>
                      <a:pt x="0" y="209"/>
                      <a:pt x="0" y="209"/>
                      <a:pt x="0" y="209"/>
                    </a:cubicBezTo>
                    <a:lnTo>
                      <a:pt x="76" y="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9" name="Freeform 41">
                <a:extLst>
                  <a:ext uri="{FF2B5EF4-FFF2-40B4-BE49-F238E27FC236}">
                    <a16:creationId xmlns:a16="http://schemas.microsoft.com/office/drawing/2014/main" id="{C9B56AF2-755D-4D63-AED8-857C0D1C6D5E}"/>
                  </a:ext>
                </a:extLst>
              </p:cNvPr>
              <p:cNvSpPr>
                <a:spLocks/>
              </p:cNvSpPr>
              <p:nvPr/>
            </p:nvSpPr>
            <p:spPr bwMode="auto">
              <a:xfrm>
                <a:off x="7031605" y="5092436"/>
                <a:ext cx="247196" cy="129465"/>
              </a:xfrm>
              <a:custGeom>
                <a:avLst/>
                <a:gdLst>
                  <a:gd name="T0" fmla="*/ 63 w 508"/>
                  <a:gd name="T1" fmla="*/ 266 h 266"/>
                  <a:gd name="T2" fmla="*/ 446 w 508"/>
                  <a:gd name="T3" fmla="*/ 266 h 266"/>
                  <a:gd name="T4" fmla="*/ 498 w 508"/>
                  <a:gd name="T5" fmla="*/ 235 h 266"/>
                  <a:gd name="T6" fmla="*/ 498 w 508"/>
                  <a:gd name="T7" fmla="*/ 235 h 266"/>
                  <a:gd name="T8" fmla="*/ 473 w 508"/>
                  <a:gd name="T9" fmla="*/ 187 h 266"/>
                  <a:gd name="T10" fmla="*/ 349 w 508"/>
                  <a:gd name="T11" fmla="*/ 172 h 266"/>
                  <a:gd name="T12" fmla="*/ 281 w 508"/>
                  <a:gd name="T13" fmla="*/ 135 h 266"/>
                  <a:gd name="T14" fmla="*/ 237 w 508"/>
                  <a:gd name="T15" fmla="*/ 82 h 266"/>
                  <a:gd name="T16" fmla="*/ 242 w 508"/>
                  <a:gd name="T17" fmla="*/ 32 h 266"/>
                  <a:gd name="T18" fmla="*/ 55 w 508"/>
                  <a:gd name="T19" fmla="*/ 0 h 266"/>
                  <a:gd name="T20" fmla="*/ 8 w 508"/>
                  <a:gd name="T21" fmla="*/ 196 h 266"/>
                  <a:gd name="T22" fmla="*/ 63 w 508"/>
                  <a:gd name="T23"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8" h="266">
                    <a:moveTo>
                      <a:pt x="63" y="266"/>
                    </a:moveTo>
                    <a:cubicBezTo>
                      <a:pt x="446" y="266"/>
                      <a:pt x="446" y="266"/>
                      <a:pt x="446" y="266"/>
                    </a:cubicBezTo>
                    <a:cubicBezTo>
                      <a:pt x="468" y="266"/>
                      <a:pt x="488" y="254"/>
                      <a:pt x="498" y="235"/>
                    </a:cubicBezTo>
                    <a:cubicBezTo>
                      <a:pt x="498" y="235"/>
                      <a:pt x="498" y="235"/>
                      <a:pt x="498" y="235"/>
                    </a:cubicBezTo>
                    <a:cubicBezTo>
                      <a:pt x="508" y="215"/>
                      <a:pt x="496" y="190"/>
                      <a:pt x="473" y="187"/>
                    </a:cubicBezTo>
                    <a:cubicBezTo>
                      <a:pt x="349" y="172"/>
                      <a:pt x="349" y="172"/>
                      <a:pt x="349" y="172"/>
                    </a:cubicBezTo>
                    <a:cubicBezTo>
                      <a:pt x="322" y="168"/>
                      <a:pt x="298" y="155"/>
                      <a:pt x="281" y="135"/>
                    </a:cubicBezTo>
                    <a:cubicBezTo>
                      <a:pt x="237" y="82"/>
                      <a:pt x="237" y="82"/>
                      <a:pt x="237" y="82"/>
                    </a:cubicBezTo>
                    <a:cubicBezTo>
                      <a:pt x="242" y="32"/>
                      <a:pt x="242" y="32"/>
                      <a:pt x="242" y="32"/>
                    </a:cubicBezTo>
                    <a:cubicBezTo>
                      <a:pt x="55" y="0"/>
                      <a:pt x="55" y="0"/>
                      <a:pt x="55" y="0"/>
                    </a:cubicBezTo>
                    <a:cubicBezTo>
                      <a:pt x="8" y="196"/>
                      <a:pt x="8" y="196"/>
                      <a:pt x="8" y="196"/>
                    </a:cubicBezTo>
                    <a:cubicBezTo>
                      <a:pt x="0" y="231"/>
                      <a:pt x="27" y="266"/>
                      <a:pt x="63" y="266"/>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IN" sz="1836" dirty="0"/>
              </a:p>
            </p:txBody>
          </p:sp>
          <p:sp>
            <p:nvSpPr>
              <p:cNvPr id="1170" name="Freeform 42">
                <a:extLst>
                  <a:ext uri="{FF2B5EF4-FFF2-40B4-BE49-F238E27FC236}">
                    <a16:creationId xmlns:a16="http://schemas.microsoft.com/office/drawing/2014/main" id="{DAF747F5-BD8B-4E02-A521-4D75E751835F}"/>
                  </a:ext>
                </a:extLst>
              </p:cNvPr>
              <p:cNvSpPr>
                <a:spLocks/>
              </p:cNvSpPr>
              <p:nvPr/>
            </p:nvSpPr>
            <p:spPr bwMode="auto">
              <a:xfrm>
                <a:off x="7028085" y="4710691"/>
                <a:ext cx="235853" cy="425943"/>
              </a:xfrm>
              <a:custGeom>
                <a:avLst/>
                <a:gdLst>
                  <a:gd name="T0" fmla="*/ 0 w 484"/>
                  <a:gd name="T1" fmla="*/ 7 h 877"/>
                  <a:gd name="T2" fmla="*/ 291 w 484"/>
                  <a:gd name="T3" fmla="*/ 2 h 877"/>
                  <a:gd name="T4" fmla="*/ 452 w 484"/>
                  <a:gd name="T5" fmla="*/ 214 h 877"/>
                  <a:gd name="T6" fmla="*/ 254 w 484"/>
                  <a:gd name="T7" fmla="*/ 877 h 877"/>
                  <a:gd name="T8" fmla="*/ 32 w 484"/>
                  <a:gd name="T9" fmla="*/ 836 h 877"/>
                  <a:gd name="T10" fmla="*/ 137 w 484"/>
                  <a:gd name="T11" fmla="*/ 238 h 877"/>
                  <a:gd name="T12" fmla="*/ 26 w 484"/>
                  <a:gd name="T13" fmla="*/ 238 h 877"/>
                  <a:gd name="T14" fmla="*/ 0 w 484"/>
                  <a:gd name="T15" fmla="*/ 7 h 8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877">
                    <a:moveTo>
                      <a:pt x="0" y="7"/>
                    </a:moveTo>
                    <a:cubicBezTo>
                      <a:pt x="291" y="2"/>
                      <a:pt x="291" y="2"/>
                      <a:pt x="291" y="2"/>
                    </a:cubicBezTo>
                    <a:cubicBezTo>
                      <a:pt x="403" y="0"/>
                      <a:pt x="484" y="107"/>
                      <a:pt x="452" y="214"/>
                    </a:cubicBezTo>
                    <a:cubicBezTo>
                      <a:pt x="254" y="877"/>
                      <a:pt x="254" y="877"/>
                      <a:pt x="254" y="877"/>
                    </a:cubicBezTo>
                    <a:cubicBezTo>
                      <a:pt x="32" y="836"/>
                      <a:pt x="32" y="836"/>
                      <a:pt x="32" y="836"/>
                    </a:cubicBezTo>
                    <a:cubicBezTo>
                      <a:pt x="137" y="238"/>
                      <a:pt x="137" y="238"/>
                      <a:pt x="137" y="238"/>
                    </a:cubicBezTo>
                    <a:cubicBezTo>
                      <a:pt x="26" y="238"/>
                      <a:pt x="26" y="238"/>
                      <a:pt x="26" y="238"/>
                    </a:cubicBezTo>
                    <a:lnTo>
                      <a:pt x="0" y="7"/>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1" name="Freeform 43">
                <a:extLst>
                  <a:ext uri="{FF2B5EF4-FFF2-40B4-BE49-F238E27FC236}">
                    <a16:creationId xmlns:a16="http://schemas.microsoft.com/office/drawing/2014/main" id="{F92BC247-4735-4D6E-8250-1C2434B44551}"/>
                  </a:ext>
                </a:extLst>
              </p:cNvPr>
              <p:cNvSpPr>
                <a:spLocks/>
              </p:cNvSpPr>
              <p:nvPr/>
            </p:nvSpPr>
            <p:spPr bwMode="auto">
              <a:xfrm>
                <a:off x="7105138" y="4117343"/>
                <a:ext cx="256974" cy="289438"/>
              </a:xfrm>
              <a:custGeom>
                <a:avLst/>
                <a:gdLst>
                  <a:gd name="T0" fmla="*/ 306 w 528"/>
                  <a:gd name="T1" fmla="*/ 13 h 596"/>
                  <a:gd name="T2" fmla="*/ 306 w 528"/>
                  <a:gd name="T3" fmla="*/ 13 h 596"/>
                  <a:gd name="T4" fmla="*/ 48 w 528"/>
                  <a:gd name="T5" fmla="*/ 216 h 596"/>
                  <a:gd name="T6" fmla="*/ 7 w 528"/>
                  <a:gd name="T7" fmla="*/ 249 h 596"/>
                  <a:gd name="T8" fmla="*/ 3 w 528"/>
                  <a:gd name="T9" fmla="*/ 291 h 596"/>
                  <a:gd name="T10" fmla="*/ 35 w 528"/>
                  <a:gd name="T11" fmla="*/ 348 h 596"/>
                  <a:gd name="T12" fmla="*/ 246 w 528"/>
                  <a:gd name="T13" fmla="*/ 577 h 596"/>
                  <a:gd name="T14" fmla="*/ 348 w 528"/>
                  <a:gd name="T15" fmla="*/ 588 h 596"/>
                  <a:gd name="T16" fmla="*/ 483 w 528"/>
                  <a:gd name="T17" fmla="*/ 454 h 596"/>
                  <a:gd name="T18" fmla="*/ 515 w 528"/>
                  <a:gd name="T19" fmla="*/ 272 h 596"/>
                  <a:gd name="T20" fmla="*/ 306 w 528"/>
                  <a:gd name="T21" fmla="*/ 13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8" h="596">
                    <a:moveTo>
                      <a:pt x="306" y="13"/>
                    </a:moveTo>
                    <a:cubicBezTo>
                      <a:pt x="306" y="13"/>
                      <a:pt x="306" y="13"/>
                      <a:pt x="306" y="13"/>
                    </a:cubicBezTo>
                    <a:cubicBezTo>
                      <a:pt x="179" y="0"/>
                      <a:pt x="65" y="90"/>
                      <a:pt x="48" y="216"/>
                    </a:cubicBezTo>
                    <a:cubicBezTo>
                      <a:pt x="27" y="214"/>
                      <a:pt x="9" y="229"/>
                      <a:pt x="7" y="249"/>
                    </a:cubicBezTo>
                    <a:cubicBezTo>
                      <a:pt x="3" y="291"/>
                      <a:pt x="3" y="291"/>
                      <a:pt x="3" y="291"/>
                    </a:cubicBezTo>
                    <a:cubicBezTo>
                      <a:pt x="0" y="315"/>
                      <a:pt x="14" y="338"/>
                      <a:pt x="35" y="348"/>
                    </a:cubicBezTo>
                    <a:cubicBezTo>
                      <a:pt x="38" y="465"/>
                      <a:pt x="126" y="564"/>
                      <a:pt x="246" y="577"/>
                    </a:cubicBezTo>
                    <a:cubicBezTo>
                      <a:pt x="348" y="588"/>
                      <a:pt x="348" y="588"/>
                      <a:pt x="348" y="588"/>
                    </a:cubicBezTo>
                    <a:cubicBezTo>
                      <a:pt x="421" y="596"/>
                      <a:pt x="476" y="527"/>
                      <a:pt x="483" y="454"/>
                    </a:cubicBezTo>
                    <a:cubicBezTo>
                      <a:pt x="515" y="272"/>
                      <a:pt x="515" y="272"/>
                      <a:pt x="515" y="272"/>
                    </a:cubicBezTo>
                    <a:cubicBezTo>
                      <a:pt x="528" y="143"/>
                      <a:pt x="435" y="27"/>
                      <a:pt x="306" y="13"/>
                    </a:cubicBez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2" name="Freeform 44">
                <a:extLst>
                  <a:ext uri="{FF2B5EF4-FFF2-40B4-BE49-F238E27FC236}">
                    <a16:creationId xmlns:a16="http://schemas.microsoft.com/office/drawing/2014/main" id="{8F5322C5-A4E0-4912-8914-B86E3080DA63}"/>
                  </a:ext>
                </a:extLst>
              </p:cNvPr>
              <p:cNvSpPr>
                <a:spLocks/>
              </p:cNvSpPr>
              <p:nvPr/>
            </p:nvSpPr>
            <p:spPr bwMode="auto">
              <a:xfrm>
                <a:off x="7279192" y="4164670"/>
                <a:ext cx="79400" cy="192437"/>
              </a:xfrm>
              <a:custGeom>
                <a:avLst/>
                <a:gdLst>
                  <a:gd name="T0" fmla="*/ 19 w 163"/>
                  <a:gd name="T1" fmla="*/ 42 h 396"/>
                  <a:gd name="T2" fmla="*/ 48 w 163"/>
                  <a:gd name="T3" fmla="*/ 161 h 396"/>
                  <a:gd name="T4" fmla="*/ 73 w 163"/>
                  <a:gd name="T5" fmla="*/ 237 h 396"/>
                  <a:gd name="T6" fmla="*/ 108 w 163"/>
                  <a:gd name="T7" fmla="*/ 293 h 396"/>
                  <a:gd name="T8" fmla="*/ 85 w 163"/>
                  <a:gd name="T9" fmla="*/ 330 h 396"/>
                  <a:gd name="T10" fmla="*/ 62 w 163"/>
                  <a:gd name="T11" fmla="*/ 327 h 396"/>
                  <a:gd name="T12" fmla="*/ 32 w 163"/>
                  <a:gd name="T13" fmla="*/ 351 h 396"/>
                  <a:gd name="T14" fmla="*/ 29 w 163"/>
                  <a:gd name="T15" fmla="*/ 386 h 396"/>
                  <a:gd name="T16" fmla="*/ 116 w 163"/>
                  <a:gd name="T17" fmla="*/ 396 h 396"/>
                  <a:gd name="T18" fmla="*/ 125 w 163"/>
                  <a:gd name="T19" fmla="*/ 356 h 396"/>
                  <a:gd name="T20" fmla="*/ 157 w 163"/>
                  <a:gd name="T21" fmla="*/ 174 h 396"/>
                  <a:gd name="T22" fmla="*/ 114 w 163"/>
                  <a:gd name="T23" fmla="*/ 12 h 396"/>
                  <a:gd name="T24" fmla="*/ 0 w 163"/>
                  <a:gd name="T25" fmla="*/ 0 h 396"/>
                  <a:gd name="T26" fmla="*/ 19 w 163"/>
                  <a:gd name="T27" fmla="*/ 4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396">
                    <a:moveTo>
                      <a:pt x="19" y="42"/>
                    </a:moveTo>
                    <a:cubicBezTo>
                      <a:pt x="35" y="80"/>
                      <a:pt x="45" y="120"/>
                      <a:pt x="48" y="161"/>
                    </a:cubicBezTo>
                    <a:cubicBezTo>
                      <a:pt x="49" y="188"/>
                      <a:pt x="58" y="214"/>
                      <a:pt x="73" y="237"/>
                    </a:cubicBezTo>
                    <a:cubicBezTo>
                      <a:pt x="108" y="293"/>
                      <a:pt x="108" y="293"/>
                      <a:pt x="108" y="293"/>
                    </a:cubicBezTo>
                    <a:cubicBezTo>
                      <a:pt x="119" y="310"/>
                      <a:pt x="105" y="332"/>
                      <a:pt x="85" y="330"/>
                    </a:cubicBezTo>
                    <a:cubicBezTo>
                      <a:pt x="62" y="327"/>
                      <a:pt x="62" y="327"/>
                      <a:pt x="62" y="327"/>
                    </a:cubicBezTo>
                    <a:cubicBezTo>
                      <a:pt x="47" y="326"/>
                      <a:pt x="34" y="336"/>
                      <a:pt x="32" y="351"/>
                    </a:cubicBezTo>
                    <a:cubicBezTo>
                      <a:pt x="29" y="386"/>
                      <a:pt x="29" y="386"/>
                      <a:pt x="29" y="386"/>
                    </a:cubicBezTo>
                    <a:cubicBezTo>
                      <a:pt x="116" y="396"/>
                      <a:pt x="116" y="396"/>
                      <a:pt x="116" y="396"/>
                    </a:cubicBezTo>
                    <a:cubicBezTo>
                      <a:pt x="121" y="383"/>
                      <a:pt x="124" y="370"/>
                      <a:pt x="125" y="356"/>
                    </a:cubicBezTo>
                    <a:cubicBezTo>
                      <a:pt x="157" y="174"/>
                      <a:pt x="157" y="174"/>
                      <a:pt x="157" y="174"/>
                    </a:cubicBezTo>
                    <a:cubicBezTo>
                      <a:pt x="163" y="114"/>
                      <a:pt x="146" y="57"/>
                      <a:pt x="114" y="12"/>
                    </a:cubicBezTo>
                    <a:cubicBezTo>
                      <a:pt x="0" y="0"/>
                      <a:pt x="0" y="0"/>
                      <a:pt x="0" y="0"/>
                    </a:cubicBezTo>
                    <a:lnTo>
                      <a:pt x="19" y="42"/>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3" name="Freeform 45">
                <a:extLst>
                  <a:ext uri="{FF2B5EF4-FFF2-40B4-BE49-F238E27FC236}">
                    <a16:creationId xmlns:a16="http://schemas.microsoft.com/office/drawing/2014/main" id="{685CA7F6-E66D-4312-BB40-1F95CE41280D}"/>
                  </a:ext>
                </a:extLst>
              </p:cNvPr>
              <p:cNvSpPr>
                <a:spLocks/>
              </p:cNvSpPr>
              <p:nvPr/>
            </p:nvSpPr>
            <p:spPr bwMode="auto">
              <a:xfrm>
                <a:off x="7119219" y="4105609"/>
                <a:ext cx="254236" cy="319164"/>
              </a:xfrm>
              <a:custGeom>
                <a:avLst/>
                <a:gdLst>
                  <a:gd name="T0" fmla="*/ 509 w 522"/>
                  <a:gd name="T1" fmla="*/ 87 h 657"/>
                  <a:gd name="T2" fmla="*/ 492 w 522"/>
                  <a:gd name="T3" fmla="*/ 56 h 657"/>
                  <a:gd name="T4" fmla="*/ 475 w 522"/>
                  <a:gd name="T5" fmla="*/ 101 h 657"/>
                  <a:gd name="T6" fmla="*/ 432 w 522"/>
                  <a:gd name="T7" fmla="*/ 23 h 657"/>
                  <a:gd name="T8" fmla="*/ 425 w 522"/>
                  <a:gd name="T9" fmla="*/ 17 h 657"/>
                  <a:gd name="T10" fmla="*/ 390 w 522"/>
                  <a:gd name="T11" fmla="*/ 53 h 657"/>
                  <a:gd name="T12" fmla="*/ 269 w 522"/>
                  <a:gd name="T13" fmla="*/ 16 h 657"/>
                  <a:gd name="T14" fmla="*/ 114 w 522"/>
                  <a:gd name="T15" fmla="*/ 34 h 657"/>
                  <a:gd name="T16" fmla="*/ 17 w 522"/>
                  <a:gd name="T17" fmla="*/ 183 h 657"/>
                  <a:gd name="T18" fmla="*/ 10 w 522"/>
                  <a:gd name="T19" fmla="*/ 240 h 657"/>
                  <a:gd name="T20" fmla="*/ 19 w 522"/>
                  <a:gd name="T21" fmla="*/ 240 h 657"/>
                  <a:gd name="T22" fmla="*/ 53 w 522"/>
                  <a:gd name="T23" fmla="*/ 281 h 657"/>
                  <a:gd name="T24" fmla="*/ 44 w 522"/>
                  <a:gd name="T25" fmla="*/ 369 h 657"/>
                  <a:gd name="T26" fmla="*/ 33 w 522"/>
                  <a:gd name="T27" fmla="*/ 378 h 657"/>
                  <a:gd name="T28" fmla="*/ 24 w 522"/>
                  <a:gd name="T29" fmla="*/ 377 h 657"/>
                  <a:gd name="T30" fmla="*/ 0 w 522"/>
                  <a:gd name="T31" fmla="*/ 368 h 657"/>
                  <a:gd name="T32" fmla="*/ 1 w 522"/>
                  <a:gd name="T33" fmla="*/ 403 h 657"/>
                  <a:gd name="T34" fmla="*/ 370 w 522"/>
                  <a:gd name="T35" fmla="*/ 652 h 657"/>
                  <a:gd name="T36" fmla="*/ 449 w 522"/>
                  <a:gd name="T37" fmla="*/ 590 h 657"/>
                  <a:gd name="T38" fmla="*/ 447 w 522"/>
                  <a:gd name="T39" fmla="*/ 472 h 657"/>
                  <a:gd name="T40" fmla="*/ 378 w 522"/>
                  <a:gd name="T41" fmla="*/ 464 h 657"/>
                  <a:gd name="T42" fmla="*/ 375 w 522"/>
                  <a:gd name="T43" fmla="*/ 465 h 657"/>
                  <a:gd name="T44" fmla="*/ 235 w 522"/>
                  <a:gd name="T45" fmla="*/ 428 h 657"/>
                  <a:gd name="T46" fmla="*/ 141 w 522"/>
                  <a:gd name="T47" fmla="*/ 436 h 657"/>
                  <a:gd name="T48" fmla="*/ 75 w 522"/>
                  <a:gd name="T49" fmla="*/ 453 h 657"/>
                  <a:gd name="T50" fmla="*/ 85 w 522"/>
                  <a:gd name="T51" fmla="*/ 411 h 657"/>
                  <a:gd name="T52" fmla="*/ 98 w 522"/>
                  <a:gd name="T53" fmla="*/ 293 h 657"/>
                  <a:gd name="T54" fmla="*/ 97 w 522"/>
                  <a:gd name="T55" fmla="*/ 244 h 657"/>
                  <a:gd name="T56" fmla="*/ 115 w 522"/>
                  <a:gd name="T57" fmla="*/ 233 h 657"/>
                  <a:gd name="T58" fmla="*/ 157 w 522"/>
                  <a:gd name="T59" fmla="*/ 168 h 657"/>
                  <a:gd name="T60" fmla="*/ 160 w 522"/>
                  <a:gd name="T61" fmla="*/ 140 h 657"/>
                  <a:gd name="T62" fmla="*/ 345 w 522"/>
                  <a:gd name="T63" fmla="*/ 187 h 657"/>
                  <a:gd name="T64" fmla="*/ 454 w 522"/>
                  <a:gd name="T65" fmla="*/ 187 h 657"/>
                  <a:gd name="T66" fmla="*/ 483 w 522"/>
                  <a:gd name="T67" fmla="*/ 172 h 657"/>
                  <a:gd name="T68" fmla="*/ 495 w 522"/>
                  <a:gd name="T69" fmla="*/ 162 h 657"/>
                  <a:gd name="T70" fmla="*/ 509 w 522"/>
                  <a:gd name="T71" fmla="*/ 8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2" h="657">
                    <a:moveTo>
                      <a:pt x="509" y="87"/>
                    </a:moveTo>
                    <a:cubicBezTo>
                      <a:pt x="492" y="56"/>
                      <a:pt x="492" y="56"/>
                      <a:pt x="492" y="56"/>
                    </a:cubicBezTo>
                    <a:cubicBezTo>
                      <a:pt x="475" y="101"/>
                      <a:pt x="475" y="101"/>
                      <a:pt x="475" y="101"/>
                    </a:cubicBezTo>
                    <a:cubicBezTo>
                      <a:pt x="470" y="71"/>
                      <a:pt x="455" y="43"/>
                      <a:pt x="432" y="23"/>
                    </a:cubicBezTo>
                    <a:cubicBezTo>
                      <a:pt x="425" y="17"/>
                      <a:pt x="425" y="17"/>
                      <a:pt x="425" y="17"/>
                    </a:cubicBezTo>
                    <a:cubicBezTo>
                      <a:pt x="390" y="53"/>
                      <a:pt x="390" y="53"/>
                      <a:pt x="390" y="53"/>
                    </a:cubicBezTo>
                    <a:cubicBezTo>
                      <a:pt x="269" y="16"/>
                      <a:pt x="269" y="16"/>
                      <a:pt x="269" y="16"/>
                    </a:cubicBezTo>
                    <a:cubicBezTo>
                      <a:pt x="217" y="0"/>
                      <a:pt x="161" y="7"/>
                      <a:pt x="114" y="34"/>
                    </a:cubicBezTo>
                    <a:cubicBezTo>
                      <a:pt x="60" y="65"/>
                      <a:pt x="23" y="120"/>
                      <a:pt x="17" y="183"/>
                    </a:cubicBezTo>
                    <a:cubicBezTo>
                      <a:pt x="10" y="240"/>
                      <a:pt x="10" y="240"/>
                      <a:pt x="10" y="240"/>
                    </a:cubicBezTo>
                    <a:cubicBezTo>
                      <a:pt x="13" y="240"/>
                      <a:pt x="16" y="240"/>
                      <a:pt x="19" y="240"/>
                    </a:cubicBezTo>
                    <a:cubicBezTo>
                      <a:pt x="40" y="242"/>
                      <a:pt x="55" y="261"/>
                      <a:pt x="53" y="281"/>
                    </a:cubicBezTo>
                    <a:cubicBezTo>
                      <a:pt x="44" y="369"/>
                      <a:pt x="44" y="369"/>
                      <a:pt x="44" y="369"/>
                    </a:cubicBezTo>
                    <a:cubicBezTo>
                      <a:pt x="43" y="375"/>
                      <a:pt x="38" y="378"/>
                      <a:pt x="33" y="378"/>
                    </a:cubicBezTo>
                    <a:cubicBezTo>
                      <a:pt x="24" y="377"/>
                      <a:pt x="24" y="377"/>
                      <a:pt x="24" y="377"/>
                    </a:cubicBezTo>
                    <a:cubicBezTo>
                      <a:pt x="15" y="376"/>
                      <a:pt x="7" y="373"/>
                      <a:pt x="0" y="368"/>
                    </a:cubicBezTo>
                    <a:cubicBezTo>
                      <a:pt x="1" y="403"/>
                      <a:pt x="1" y="403"/>
                      <a:pt x="1" y="403"/>
                    </a:cubicBezTo>
                    <a:cubicBezTo>
                      <a:pt x="8" y="593"/>
                      <a:pt x="250" y="641"/>
                      <a:pt x="370" y="652"/>
                    </a:cubicBezTo>
                    <a:cubicBezTo>
                      <a:pt x="412" y="657"/>
                      <a:pt x="437" y="630"/>
                      <a:pt x="449" y="590"/>
                    </a:cubicBezTo>
                    <a:cubicBezTo>
                      <a:pt x="459" y="556"/>
                      <a:pt x="460" y="485"/>
                      <a:pt x="447" y="472"/>
                    </a:cubicBezTo>
                    <a:cubicBezTo>
                      <a:pt x="431" y="455"/>
                      <a:pt x="400" y="456"/>
                      <a:pt x="378" y="464"/>
                    </a:cubicBezTo>
                    <a:cubicBezTo>
                      <a:pt x="375" y="465"/>
                      <a:pt x="375" y="465"/>
                      <a:pt x="375" y="465"/>
                    </a:cubicBezTo>
                    <a:cubicBezTo>
                      <a:pt x="333" y="438"/>
                      <a:pt x="284" y="425"/>
                      <a:pt x="235" y="428"/>
                    </a:cubicBezTo>
                    <a:cubicBezTo>
                      <a:pt x="196" y="430"/>
                      <a:pt x="154" y="433"/>
                      <a:pt x="141" y="436"/>
                    </a:cubicBezTo>
                    <a:cubicBezTo>
                      <a:pt x="75" y="453"/>
                      <a:pt x="75" y="453"/>
                      <a:pt x="75" y="453"/>
                    </a:cubicBezTo>
                    <a:cubicBezTo>
                      <a:pt x="85" y="411"/>
                      <a:pt x="85" y="411"/>
                      <a:pt x="85" y="411"/>
                    </a:cubicBezTo>
                    <a:cubicBezTo>
                      <a:pt x="94" y="373"/>
                      <a:pt x="99" y="333"/>
                      <a:pt x="98" y="293"/>
                    </a:cubicBezTo>
                    <a:cubicBezTo>
                      <a:pt x="97" y="244"/>
                      <a:pt x="97" y="244"/>
                      <a:pt x="97" y="244"/>
                    </a:cubicBezTo>
                    <a:cubicBezTo>
                      <a:pt x="115" y="233"/>
                      <a:pt x="115" y="233"/>
                      <a:pt x="115" y="233"/>
                    </a:cubicBezTo>
                    <a:cubicBezTo>
                      <a:pt x="138" y="219"/>
                      <a:pt x="154" y="195"/>
                      <a:pt x="157" y="168"/>
                    </a:cubicBezTo>
                    <a:cubicBezTo>
                      <a:pt x="160" y="140"/>
                      <a:pt x="160" y="140"/>
                      <a:pt x="160" y="140"/>
                    </a:cubicBezTo>
                    <a:cubicBezTo>
                      <a:pt x="345" y="187"/>
                      <a:pt x="345" y="187"/>
                      <a:pt x="345" y="187"/>
                    </a:cubicBezTo>
                    <a:cubicBezTo>
                      <a:pt x="380" y="196"/>
                      <a:pt x="418" y="196"/>
                      <a:pt x="454" y="187"/>
                    </a:cubicBezTo>
                    <a:cubicBezTo>
                      <a:pt x="464" y="185"/>
                      <a:pt x="474" y="180"/>
                      <a:pt x="483" y="172"/>
                    </a:cubicBezTo>
                    <a:cubicBezTo>
                      <a:pt x="495" y="162"/>
                      <a:pt x="495" y="162"/>
                      <a:pt x="495" y="162"/>
                    </a:cubicBezTo>
                    <a:cubicBezTo>
                      <a:pt x="516" y="143"/>
                      <a:pt x="522" y="112"/>
                      <a:pt x="509" y="8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4" name="Freeform 46">
                <a:extLst>
                  <a:ext uri="{FF2B5EF4-FFF2-40B4-BE49-F238E27FC236}">
                    <a16:creationId xmlns:a16="http://schemas.microsoft.com/office/drawing/2014/main" id="{3C98C7DC-DB6D-4111-A4BC-787A9240CC48}"/>
                  </a:ext>
                </a:extLst>
              </p:cNvPr>
              <p:cNvSpPr>
                <a:spLocks/>
              </p:cNvSpPr>
              <p:nvPr/>
            </p:nvSpPr>
            <p:spPr bwMode="auto">
              <a:xfrm>
                <a:off x="7238905" y="4255413"/>
                <a:ext cx="19166" cy="18383"/>
              </a:xfrm>
              <a:custGeom>
                <a:avLst/>
                <a:gdLst>
                  <a:gd name="T0" fmla="*/ 38 w 39"/>
                  <a:gd name="T1" fmla="*/ 21 h 38"/>
                  <a:gd name="T2" fmla="*/ 18 w 39"/>
                  <a:gd name="T3" fmla="*/ 37 h 38"/>
                  <a:gd name="T4" fmla="*/ 1 w 39"/>
                  <a:gd name="T5" fmla="*/ 17 h 38"/>
                  <a:gd name="T6" fmla="*/ 22 w 39"/>
                  <a:gd name="T7" fmla="*/ 1 h 38"/>
                  <a:gd name="T8" fmla="*/ 38 w 39"/>
                  <a:gd name="T9" fmla="*/ 21 h 38"/>
                </a:gdLst>
                <a:ahLst/>
                <a:cxnLst>
                  <a:cxn ang="0">
                    <a:pos x="T0" y="T1"/>
                  </a:cxn>
                  <a:cxn ang="0">
                    <a:pos x="T2" y="T3"/>
                  </a:cxn>
                  <a:cxn ang="0">
                    <a:pos x="T4" y="T5"/>
                  </a:cxn>
                  <a:cxn ang="0">
                    <a:pos x="T6" y="T7"/>
                  </a:cxn>
                  <a:cxn ang="0">
                    <a:pos x="T8" y="T9"/>
                  </a:cxn>
                </a:cxnLst>
                <a:rect l="0" t="0" r="r" b="b"/>
                <a:pathLst>
                  <a:path w="39" h="38">
                    <a:moveTo>
                      <a:pt x="38" y="21"/>
                    </a:moveTo>
                    <a:cubicBezTo>
                      <a:pt x="37" y="31"/>
                      <a:pt x="28" y="38"/>
                      <a:pt x="18" y="37"/>
                    </a:cubicBezTo>
                    <a:cubicBezTo>
                      <a:pt x="8" y="36"/>
                      <a:pt x="0" y="27"/>
                      <a:pt x="1" y="17"/>
                    </a:cubicBezTo>
                    <a:cubicBezTo>
                      <a:pt x="3" y="7"/>
                      <a:pt x="12" y="0"/>
                      <a:pt x="22" y="1"/>
                    </a:cubicBezTo>
                    <a:cubicBezTo>
                      <a:pt x="32" y="2"/>
                      <a:pt x="39" y="11"/>
                      <a:pt x="38"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5" name="Freeform 47">
                <a:extLst>
                  <a:ext uri="{FF2B5EF4-FFF2-40B4-BE49-F238E27FC236}">
                    <a16:creationId xmlns:a16="http://schemas.microsoft.com/office/drawing/2014/main" id="{A1D9CF7F-4FF7-476B-AFD0-B0F3822A20C2}"/>
                  </a:ext>
                </a:extLst>
              </p:cNvPr>
              <p:cNvSpPr>
                <a:spLocks/>
              </p:cNvSpPr>
              <p:nvPr/>
            </p:nvSpPr>
            <p:spPr bwMode="auto">
              <a:xfrm>
                <a:off x="7331604" y="4264800"/>
                <a:ext cx="18383" cy="19166"/>
              </a:xfrm>
              <a:custGeom>
                <a:avLst/>
                <a:gdLst>
                  <a:gd name="T0" fmla="*/ 37 w 38"/>
                  <a:gd name="T1" fmla="*/ 21 h 39"/>
                  <a:gd name="T2" fmla="*/ 17 w 38"/>
                  <a:gd name="T3" fmla="*/ 38 h 39"/>
                  <a:gd name="T4" fmla="*/ 1 w 38"/>
                  <a:gd name="T5" fmla="*/ 17 h 39"/>
                  <a:gd name="T6" fmla="*/ 21 w 38"/>
                  <a:gd name="T7" fmla="*/ 1 h 39"/>
                  <a:gd name="T8" fmla="*/ 37 w 38"/>
                  <a:gd name="T9" fmla="*/ 21 h 39"/>
                </a:gdLst>
                <a:ahLst/>
                <a:cxnLst>
                  <a:cxn ang="0">
                    <a:pos x="T0" y="T1"/>
                  </a:cxn>
                  <a:cxn ang="0">
                    <a:pos x="T2" y="T3"/>
                  </a:cxn>
                  <a:cxn ang="0">
                    <a:pos x="T4" y="T5"/>
                  </a:cxn>
                  <a:cxn ang="0">
                    <a:pos x="T6" y="T7"/>
                  </a:cxn>
                  <a:cxn ang="0">
                    <a:pos x="T8" y="T9"/>
                  </a:cxn>
                </a:cxnLst>
                <a:rect l="0" t="0" r="r" b="b"/>
                <a:pathLst>
                  <a:path w="38" h="39">
                    <a:moveTo>
                      <a:pt x="37" y="21"/>
                    </a:moveTo>
                    <a:cubicBezTo>
                      <a:pt x="36" y="31"/>
                      <a:pt x="27" y="39"/>
                      <a:pt x="17" y="38"/>
                    </a:cubicBezTo>
                    <a:cubicBezTo>
                      <a:pt x="7" y="36"/>
                      <a:pt x="0" y="27"/>
                      <a:pt x="1" y="17"/>
                    </a:cubicBezTo>
                    <a:cubicBezTo>
                      <a:pt x="2" y="7"/>
                      <a:pt x="11" y="0"/>
                      <a:pt x="21" y="1"/>
                    </a:cubicBezTo>
                    <a:cubicBezTo>
                      <a:pt x="31" y="2"/>
                      <a:pt x="38" y="11"/>
                      <a:pt x="37"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6" name="Freeform 48">
                <a:extLst>
                  <a:ext uri="{FF2B5EF4-FFF2-40B4-BE49-F238E27FC236}">
                    <a16:creationId xmlns:a16="http://schemas.microsoft.com/office/drawing/2014/main" id="{3032DE72-3495-445E-AC87-221C3134FDDD}"/>
                  </a:ext>
                </a:extLst>
              </p:cNvPr>
              <p:cNvSpPr>
                <a:spLocks/>
              </p:cNvSpPr>
              <p:nvPr/>
            </p:nvSpPr>
            <p:spPr bwMode="auto">
              <a:xfrm>
                <a:off x="7265111" y="4342635"/>
                <a:ext cx="53194" cy="21121"/>
              </a:xfrm>
              <a:custGeom>
                <a:avLst/>
                <a:gdLst>
                  <a:gd name="T0" fmla="*/ 93 w 109"/>
                  <a:gd name="T1" fmla="*/ 42 h 43"/>
                  <a:gd name="T2" fmla="*/ 12 w 109"/>
                  <a:gd name="T3" fmla="*/ 33 h 43"/>
                  <a:gd name="T4" fmla="*/ 0 w 109"/>
                  <a:gd name="T5" fmla="*/ 19 h 43"/>
                  <a:gd name="T6" fmla="*/ 2 w 109"/>
                  <a:gd name="T7" fmla="*/ 0 h 43"/>
                  <a:gd name="T8" fmla="*/ 109 w 109"/>
                  <a:gd name="T9" fmla="*/ 11 h 43"/>
                  <a:gd name="T10" fmla="*/ 107 w 109"/>
                  <a:gd name="T11" fmla="*/ 31 h 43"/>
                  <a:gd name="T12" fmla="*/ 93 w 109"/>
                  <a:gd name="T13" fmla="*/ 42 h 43"/>
                </a:gdLst>
                <a:ahLst/>
                <a:cxnLst>
                  <a:cxn ang="0">
                    <a:pos x="T0" y="T1"/>
                  </a:cxn>
                  <a:cxn ang="0">
                    <a:pos x="T2" y="T3"/>
                  </a:cxn>
                  <a:cxn ang="0">
                    <a:pos x="T4" y="T5"/>
                  </a:cxn>
                  <a:cxn ang="0">
                    <a:pos x="T6" y="T7"/>
                  </a:cxn>
                  <a:cxn ang="0">
                    <a:pos x="T8" y="T9"/>
                  </a:cxn>
                  <a:cxn ang="0">
                    <a:pos x="T10" y="T11"/>
                  </a:cxn>
                  <a:cxn ang="0">
                    <a:pos x="T12" y="T13"/>
                  </a:cxn>
                </a:cxnLst>
                <a:rect l="0" t="0" r="r" b="b"/>
                <a:pathLst>
                  <a:path w="109" h="43">
                    <a:moveTo>
                      <a:pt x="93" y="42"/>
                    </a:moveTo>
                    <a:cubicBezTo>
                      <a:pt x="12" y="33"/>
                      <a:pt x="12" y="33"/>
                      <a:pt x="12" y="33"/>
                    </a:cubicBezTo>
                    <a:cubicBezTo>
                      <a:pt x="5" y="32"/>
                      <a:pt x="0" y="26"/>
                      <a:pt x="0" y="19"/>
                    </a:cubicBezTo>
                    <a:cubicBezTo>
                      <a:pt x="2" y="0"/>
                      <a:pt x="2" y="0"/>
                      <a:pt x="2" y="0"/>
                    </a:cubicBezTo>
                    <a:cubicBezTo>
                      <a:pt x="109" y="11"/>
                      <a:pt x="109" y="11"/>
                      <a:pt x="109" y="11"/>
                    </a:cubicBezTo>
                    <a:cubicBezTo>
                      <a:pt x="107" y="31"/>
                      <a:pt x="107" y="31"/>
                      <a:pt x="107" y="31"/>
                    </a:cubicBezTo>
                    <a:cubicBezTo>
                      <a:pt x="107" y="38"/>
                      <a:pt x="100" y="43"/>
                      <a:pt x="93"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7" name="Freeform 49">
                <a:extLst>
                  <a:ext uri="{FF2B5EF4-FFF2-40B4-BE49-F238E27FC236}">
                    <a16:creationId xmlns:a16="http://schemas.microsoft.com/office/drawing/2014/main" id="{6103BFD8-0D49-41CE-88F1-C748C81D27E3}"/>
                  </a:ext>
                </a:extLst>
              </p:cNvPr>
              <p:cNvSpPr>
                <a:spLocks noEditPoints="1"/>
              </p:cNvSpPr>
              <p:nvPr/>
            </p:nvSpPr>
            <p:spPr bwMode="auto">
              <a:xfrm>
                <a:off x="7142296" y="4229989"/>
                <a:ext cx="232333" cy="74706"/>
              </a:xfrm>
              <a:custGeom>
                <a:avLst/>
                <a:gdLst>
                  <a:gd name="T0" fmla="*/ 450 w 478"/>
                  <a:gd name="T1" fmla="*/ 48 h 154"/>
                  <a:gd name="T2" fmla="*/ 376 w 478"/>
                  <a:gd name="T3" fmla="*/ 40 h 154"/>
                  <a:gd name="T4" fmla="*/ 376 w 478"/>
                  <a:gd name="T5" fmla="*/ 40 h 154"/>
                  <a:gd name="T6" fmla="*/ 260 w 478"/>
                  <a:gd name="T7" fmla="*/ 28 h 154"/>
                  <a:gd name="T8" fmla="*/ 159 w 478"/>
                  <a:gd name="T9" fmla="*/ 17 h 154"/>
                  <a:gd name="T10" fmla="*/ 0 w 478"/>
                  <a:gd name="T11" fmla="*/ 0 h 154"/>
                  <a:gd name="T12" fmla="*/ 5 w 478"/>
                  <a:gd name="T13" fmla="*/ 13 h 154"/>
                  <a:gd name="T14" fmla="*/ 134 w 478"/>
                  <a:gd name="T15" fmla="*/ 27 h 154"/>
                  <a:gd name="T16" fmla="*/ 127 w 478"/>
                  <a:gd name="T17" fmla="*/ 43 h 154"/>
                  <a:gd name="T18" fmla="*/ 122 w 478"/>
                  <a:gd name="T19" fmla="*/ 91 h 154"/>
                  <a:gd name="T20" fmla="*/ 148 w 478"/>
                  <a:gd name="T21" fmla="*/ 123 h 154"/>
                  <a:gd name="T22" fmla="*/ 248 w 478"/>
                  <a:gd name="T23" fmla="*/ 134 h 154"/>
                  <a:gd name="T24" fmla="*/ 252 w 478"/>
                  <a:gd name="T25" fmla="*/ 134 h 154"/>
                  <a:gd name="T26" fmla="*/ 281 w 478"/>
                  <a:gd name="T27" fmla="*/ 108 h 154"/>
                  <a:gd name="T28" fmla="*/ 286 w 478"/>
                  <a:gd name="T29" fmla="*/ 60 h 154"/>
                  <a:gd name="T30" fmla="*/ 282 w 478"/>
                  <a:gd name="T31" fmla="*/ 43 h 154"/>
                  <a:gd name="T32" fmla="*/ 351 w 478"/>
                  <a:gd name="T33" fmla="*/ 50 h 154"/>
                  <a:gd name="T34" fmla="*/ 344 w 478"/>
                  <a:gd name="T35" fmla="*/ 66 h 154"/>
                  <a:gd name="T36" fmla="*/ 342 w 478"/>
                  <a:gd name="T37" fmla="*/ 80 h 154"/>
                  <a:gd name="T38" fmla="*/ 353 w 478"/>
                  <a:gd name="T39" fmla="*/ 100 h 154"/>
                  <a:gd name="T40" fmla="*/ 356 w 478"/>
                  <a:gd name="T41" fmla="*/ 67 h 154"/>
                  <a:gd name="T42" fmla="*/ 362 w 478"/>
                  <a:gd name="T43" fmla="*/ 56 h 154"/>
                  <a:gd name="T44" fmla="*/ 375 w 478"/>
                  <a:gd name="T45" fmla="*/ 52 h 154"/>
                  <a:gd name="T46" fmla="*/ 449 w 478"/>
                  <a:gd name="T47" fmla="*/ 60 h 154"/>
                  <a:gd name="T48" fmla="*/ 464 w 478"/>
                  <a:gd name="T49" fmla="*/ 79 h 154"/>
                  <a:gd name="T50" fmla="*/ 459 w 478"/>
                  <a:gd name="T51" fmla="*/ 127 h 154"/>
                  <a:gd name="T52" fmla="*/ 440 w 478"/>
                  <a:gd name="T53" fmla="*/ 142 h 154"/>
                  <a:gd name="T54" fmla="*/ 374 w 478"/>
                  <a:gd name="T55" fmla="*/ 135 h 154"/>
                  <a:gd name="T56" fmla="*/ 384 w 478"/>
                  <a:gd name="T57" fmla="*/ 148 h 154"/>
                  <a:gd name="T58" fmla="*/ 439 w 478"/>
                  <a:gd name="T59" fmla="*/ 154 h 154"/>
                  <a:gd name="T60" fmla="*/ 442 w 478"/>
                  <a:gd name="T61" fmla="*/ 154 h 154"/>
                  <a:gd name="T62" fmla="*/ 471 w 478"/>
                  <a:gd name="T63" fmla="*/ 128 h 154"/>
                  <a:gd name="T64" fmla="*/ 476 w 478"/>
                  <a:gd name="T65" fmla="*/ 80 h 154"/>
                  <a:gd name="T66" fmla="*/ 450 w 478"/>
                  <a:gd name="T67" fmla="*/ 48 h 154"/>
                  <a:gd name="T68" fmla="*/ 273 w 478"/>
                  <a:gd name="T69" fmla="*/ 59 h 154"/>
                  <a:gd name="T70" fmla="*/ 268 w 478"/>
                  <a:gd name="T71" fmla="*/ 107 h 154"/>
                  <a:gd name="T72" fmla="*/ 250 w 478"/>
                  <a:gd name="T73" fmla="*/ 121 h 154"/>
                  <a:gd name="T74" fmla="*/ 149 w 478"/>
                  <a:gd name="T75" fmla="*/ 111 h 154"/>
                  <a:gd name="T76" fmla="*/ 134 w 478"/>
                  <a:gd name="T77" fmla="*/ 92 h 154"/>
                  <a:gd name="T78" fmla="*/ 139 w 478"/>
                  <a:gd name="T79" fmla="*/ 44 h 154"/>
                  <a:gd name="T80" fmla="*/ 158 w 478"/>
                  <a:gd name="T81" fmla="*/ 29 h 154"/>
                  <a:gd name="T82" fmla="*/ 258 w 478"/>
                  <a:gd name="T83" fmla="*/ 40 h 154"/>
                  <a:gd name="T84" fmla="*/ 273 w 478"/>
                  <a:gd name="T85" fmla="*/ 5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8" h="154">
                    <a:moveTo>
                      <a:pt x="450" y="48"/>
                    </a:moveTo>
                    <a:cubicBezTo>
                      <a:pt x="376" y="40"/>
                      <a:pt x="376" y="40"/>
                      <a:pt x="376" y="40"/>
                    </a:cubicBezTo>
                    <a:cubicBezTo>
                      <a:pt x="376" y="40"/>
                      <a:pt x="376" y="40"/>
                      <a:pt x="376" y="40"/>
                    </a:cubicBezTo>
                    <a:cubicBezTo>
                      <a:pt x="260" y="28"/>
                      <a:pt x="260" y="28"/>
                      <a:pt x="260" y="28"/>
                    </a:cubicBezTo>
                    <a:cubicBezTo>
                      <a:pt x="159" y="17"/>
                      <a:pt x="159" y="17"/>
                      <a:pt x="159" y="17"/>
                    </a:cubicBezTo>
                    <a:cubicBezTo>
                      <a:pt x="0" y="0"/>
                      <a:pt x="0" y="0"/>
                      <a:pt x="0" y="0"/>
                    </a:cubicBezTo>
                    <a:cubicBezTo>
                      <a:pt x="5" y="13"/>
                      <a:pt x="5" y="13"/>
                      <a:pt x="5" y="13"/>
                    </a:cubicBezTo>
                    <a:cubicBezTo>
                      <a:pt x="134" y="27"/>
                      <a:pt x="134" y="27"/>
                      <a:pt x="134" y="27"/>
                    </a:cubicBezTo>
                    <a:cubicBezTo>
                      <a:pt x="130" y="31"/>
                      <a:pt x="128" y="37"/>
                      <a:pt x="127" y="43"/>
                    </a:cubicBezTo>
                    <a:cubicBezTo>
                      <a:pt x="122" y="91"/>
                      <a:pt x="122" y="91"/>
                      <a:pt x="122" y="91"/>
                    </a:cubicBezTo>
                    <a:cubicBezTo>
                      <a:pt x="120" y="107"/>
                      <a:pt x="132" y="121"/>
                      <a:pt x="148" y="123"/>
                    </a:cubicBezTo>
                    <a:cubicBezTo>
                      <a:pt x="248" y="134"/>
                      <a:pt x="248" y="134"/>
                      <a:pt x="248" y="134"/>
                    </a:cubicBezTo>
                    <a:cubicBezTo>
                      <a:pt x="249" y="134"/>
                      <a:pt x="251" y="134"/>
                      <a:pt x="252" y="134"/>
                    </a:cubicBezTo>
                    <a:cubicBezTo>
                      <a:pt x="266" y="134"/>
                      <a:pt x="279" y="123"/>
                      <a:pt x="281" y="108"/>
                    </a:cubicBezTo>
                    <a:cubicBezTo>
                      <a:pt x="286" y="60"/>
                      <a:pt x="286" y="60"/>
                      <a:pt x="286" y="60"/>
                    </a:cubicBezTo>
                    <a:cubicBezTo>
                      <a:pt x="286" y="54"/>
                      <a:pt x="285" y="48"/>
                      <a:pt x="282" y="43"/>
                    </a:cubicBezTo>
                    <a:cubicBezTo>
                      <a:pt x="351" y="50"/>
                      <a:pt x="351" y="50"/>
                      <a:pt x="351" y="50"/>
                    </a:cubicBezTo>
                    <a:cubicBezTo>
                      <a:pt x="347" y="54"/>
                      <a:pt x="344" y="60"/>
                      <a:pt x="344" y="66"/>
                    </a:cubicBezTo>
                    <a:cubicBezTo>
                      <a:pt x="342" y="80"/>
                      <a:pt x="342" y="80"/>
                      <a:pt x="342" y="80"/>
                    </a:cubicBezTo>
                    <a:cubicBezTo>
                      <a:pt x="353" y="100"/>
                      <a:pt x="353" y="100"/>
                      <a:pt x="353" y="100"/>
                    </a:cubicBezTo>
                    <a:cubicBezTo>
                      <a:pt x="356" y="67"/>
                      <a:pt x="356" y="67"/>
                      <a:pt x="356" y="67"/>
                    </a:cubicBezTo>
                    <a:cubicBezTo>
                      <a:pt x="357" y="63"/>
                      <a:pt x="359" y="59"/>
                      <a:pt x="362" y="56"/>
                    </a:cubicBezTo>
                    <a:cubicBezTo>
                      <a:pt x="366" y="53"/>
                      <a:pt x="370" y="52"/>
                      <a:pt x="375" y="52"/>
                    </a:cubicBezTo>
                    <a:cubicBezTo>
                      <a:pt x="449" y="60"/>
                      <a:pt x="449" y="60"/>
                      <a:pt x="449" y="60"/>
                    </a:cubicBezTo>
                    <a:cubicBezTo>
                      <a:pt x="458" y="61"/>
                      <a:pt x="465" y="70"/>
                      <a:pt x="464" y="79"/>
                    </a:cubicBezTo>
                    <a:cubicBezTo>
                      <a:pt x="459" y="127"/>
                      <a:pt x="459" y="127"/>
                      <a:pt x="459" y="127"/>
                    </a:cubicBezTo>
                    <a:cubicBezTo>
                      <a:pt x="458" y="136"/>
                      <a:pt x="449" y="143"/>
                      <a:pt x="440" y="142"/>
                    </a:cubicBezTo>
                    <a:cubicBezTo>
                      <a:pt x="374" y="135"/>
                      <a:pt x="374" y="135"/>
                      <a:pt x="374" y="135"/>
                    </a:cubicBezTo>
                    <a:cubicBezTo>
                      <a:pt x="384" y="148"/>
                      <a:pt x="384" y="148"/>
                      <a:pt x="384" y="148"/>
                    </a:cubicBezTo>
                    <a:cubicBezTo>
                      <a:pt x="439" y="154"/>
                      <a:pt x="439" y="154"/>
                      <a:pt x="439" y="154"/>
                    </a:cubicBezTo>
                    <a:cubicBezTo>
                      <a:pt x="440" y="154"/>
                      <a:pt x="441" y="154"/>
                      <a:pt x="442" y="154"/>
                    </a:cubicBezTo>
                    <a:cubicBezTo>
                      <a:pt x="457" y="154"/>
                      <a:pt x="469" y="143"/>
                      <a:pt x="471" y="128"/>
                    </a:cubicBezTo>
                    <a:cubicBezTo>
                      <a:pt x="476" y="80"/>
                      <a:pt x="476" y="80"/>
                      <a:pt x="476" y="80"/>
                    </a:cubicBezTo>
                    <a:cubicBezTo>
                      <a:pt x="478" y="64"/>
                      <a:pt x="466" y="50"/>
                      <a:pt x="450" y="48"/>
                    </a:cubicBezTo>
                    <a:close/>
                    <a:moveTo>
                      <a:pt x="273" y="59"/>
                    </a:moveTo>
                    <a:cubicBezTo>
                      <a:pt x="268" y="107"/>
                      <a:pt x="268" y="107"/>
                      <a:pt x="268" y="107"/>
                    </a:cubicBezTo>
                    <a:cubicBezTo>
                      <a:pt x="267" y="116"/>
                      <a:pt x="259" y="122"/>
                      <a:pt x="250" y="121"/>
                    </a:cubicBezTo>
                    <a:cubicBezTo>
                      <a:pt x="149" y="111"/>
                      <a:pt x="149" y="111"/>
                      <a:pt x="149" y="111"/>
                    </a:cubicBezTo>
                    <a:cubicBezTo>
                      <a:pt x="140" y="110"/>
                      <a:pt x="133" y="101"/>
                      <a:pt x="134" y="92"/>
                    </a:cubicBezTo>
                    <a:cubicBezTo>
                      <a:pt x="139" y="44"/>
                      <a:pt x="139" y="44"/>
                      <a:pt x="139" y="44"/>
                    </a:cubicBezTo>
                    <a:cubicBezTo>
                      <a:pt x="140" y="35"/>
                      <a:pt x="149" y="28"/>
                      <a:pt x="158" y="29"/>
                    </a:cubicBezTo>
                    <a:cubicBezTo>
                      <a:pt x="258" y="40"/>
                      <a:pt x="258" y="40"/>
                      <a:pt x="258" y="40"/>
                    </a:cubicBezTo>
                    <a:cubicBezTo>
                      <a:pt x="268" y="41"/>
                      <a:pt x="274" y="49"/>
                      <a:pt x="273" y="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8" name="Freeform 50">
                <a:extLst>
                  <a:ext uri="{FF2B5EF4-FFF2-40B4-BE49-F238E27FC236}">
                    <a16:creationId xmlns:a16="http://schemas.microsoft.com/office/drawing/2014/main" id="{9DAB7C1D-9ECB-43FA-B754-6DDB66A83F5B}"/>
                  </a:ext>
                </a:extLst>
              </p:cNvPr>
              <p:cNvSpPr>
                <a:spLocks/>
              </p:cNvSpPr>
              <p:nvPr/>
            </p:nvSpPr>
            <p:spPr bwMode="auto">
              <a:xfrm>
                <a:off x="7112961" y="4230771"/>
                <a:ext cx="32073" cy="53194"/>
              </a:xfrm>
              <a:custGeom>
                <a:avLst/>
                <a:gdLst>
                  <a:gd name="T0" fmla="*/ 39 w 66"/>
                  <a:gd name="T1" fmla="*/ 1 h 109"/>
                  <a:gd name="T2" fmla="*/ 6 w 66"/>
                  <a:gd name="T3" fmla="*/ 27 h 109"/>
                  <a:gd name="T4" fmla="*/ 3 w 66"/>
                  <a:gd name="T5" fmla="*/ 59 h 109"/>
                  <a:gd name="T6" fmla="*/ 42 w 66"/>
                  <a:gd name="T7" fmla="*/ 108 h 109"/>
                  <a:gd name="T8" fmla="*/ 57 w 66"/>
                  <a:gd name="T9" fmla="*/ 109 h 109"/>
                  <a:gd name="T10" fmla="*/ 59 w 66"/>
                  <a:gd name="T11" fmla="*/ 84 h 109"/>
                  <a:gd name="T12" fmla="*/ 53 w 66"/>
                  <a:gd name="T13" fmla="*/ 75 h 109"/>
                  <a:gd name="T14" fmla="*/ 60 w 66"/>
                  <a:gd name="T15" fmla="*/ 47 h 109"/>
                  <a:gd name="T16" fmla="*/ 64 w 66"/>
                  <a:gd name="T17" fmla="*/ 45 h 109"/>
                  <a:gd name="T18" fmla="*/ 65 w 66"/>
                  <a:gd name="T19" fmla="*/ 33 h 109"/>
                  <a:gd name="T20" fmla="*/ 39 w 66"/>
                  <a:gd name="T21" fmla="*/ 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09">
                    <a:moveTo>
                      <a:pt x="39" y="1"/>
                    </a:moveTo>
                    <a:cubicBezTo>
                      <a:pt x="23" y="0"/>
                      <a:pt x="8" y="11"/>
                      <a:pt x="6" y="27"/>
                    </a:cubicBezTo>
                    <a:cubicBezTo>
                      <a:pt x="3" y="59"/>
                      <a:pt x="3" y="59"/>
                      <a:pt x="3" y="59"/>
                    </a:cubicBezTo>
                    <a:cubicBezTo>
                      <a:pt x="0" y="83"/>
                      <a:pt x="18" y="105"/>
                      <a:pt x="42" y="108"/>
                    </a:cubicBezTo>
                    <a:cubicBezTo>
                      <a:pt x="57" y="109"/>
                      <a:pt x="57" y="109"/>
                      <a:pt x="57" y="109"/>
                    </a:cubicBezTo>
                    <a:cubicBezTo>
                      <a:pt x="59" y="84"/>
                      <a:pt x="59" y="84"/>
                      <a:pt x="59" y="84"/>
                    </a:cubicBezTo>
                    <a:cubicBezTo>
                      <a:pt x="53" y="75"/>
                      <a:pt x="53" y="75"/>
                      <a:pt x="53" y="75"/>
                    </a:cubicBezTo>
                    <a:cubicBezTo>
                      <a:pt x="47" y="65"/>
                      <a:pt x="50" y="53"/>
                      <a:pt x="60" y="47"/>
                    </a:cubicBezTo>
                    <a:cubicBezTo>
                      <a:pt x="64" y="45"/>
                      <a:pt x="64" y="45"/>
                      <a:pt x="64" y="45"/>
                    </a:cubicBezTo>
                    <a:cubicBezTo>
                      <a:pt x="65" y="33"/>
                      <a:pt x="65" y="33"/>
                      <a:pt x="65" y="33"/>
                    </a:cubicBezTo>
                    <a:cubicBezTo>
                      <a:pt x="66" y="17"/>
                      <a:pt x="55" y="3"/>
                      <a:pt x="39" y="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9" name="Freeform 51">
                <a:extLst>
                  <a:ext uri="{FF2B5EF4-FFF2-40B4-BE49-F238E27FC236}">
                    <a16:creationId xmlns:a16="http://schemas.microsoft.com/office/drawing/2014/main" id="{8110966B-B954-4FA1-A921-BDF15CE116F3}"/>
                  </a:ext>
                </a:extLst>
              </p:cNvPr>
              <p:cNvSpPr>
                <a:spLocks/>
              </p:cNvSpPr>
              <p:nvPr/>
            </p:nvSpPr>
            <p:spPr bwMode="auto">
              <a:xfrm>
                <a:off x="7043730" y="5077573"/>
                <a:ext cx="119687" cy="59061"/>
              </a:xfrm>
              <a:custGeom>
                <a:avLst/>
                <a:gdLst>
                  <a:gd name="T0" fmla="*/ 276 w 306"/>
                  <a:gd name="T1" fmla="*/ 151 h 151"/>
                  <a:gd name="T2" fmla="*/ 0 w 306"/>
                  <a:gd name="T3" fmla="*/ 100 h 151"/>
                  <a:gd name="T4" fmla="*/ 18 w 306"/>
                  <a:gd name="T5" fmla="*/ 0 h 151"/>
                  <a:gd name="T6" fmla="*/ 306 w 306"/>
                  <a:gd name="T7" fmla="*/ 49 h 151"/>
                  <a:gd name="T8" fmla="*/ 276 w 306"/>
                  <a:gd name="T9" fmla="*/ 151 h 151"/>
                </a:gdLst>
                <a:ahLst/>
                <a:cxnLst>
                  <a:cxn ang="0">
                    <a:pos x="T0" y="T1"/>
                  </a:cxn>
                  <a:cxn ang="0">
                    <a:pos x="T2" y="T3"/>
                  </a:cxn>
                  <a:cxn ang="0">
                    <a:pos x="T4" y="T5"/>
                  </a:cxn>
                  <a:cxn ang="0">
                    <a:pos x="T6" y="T7"/>
                  </a:cxn>
                  <a:cxn ang="0">
                    <a:pos x="T8" y="T9"/>
                  </a:cxn>
                </a:cxnLst>
                <a:rect l="0" t="0" r="r" b="b"/>
                <a:pathLst>
                  <a:path w="306" h="151">
                    <a:moveTo>
                      <a:pt x="276" y="151"/>
                    </a:moveTo>
                    <a:lnTo>
                      <a:pt x="0" y="100"/>
                    </a:lnTo>
                    <a:lnTo>
                      <a:pt x="18" y="0"/>
                    </a:lnTo>
                    <a:lnTo>
                      <a:pt x="306" y="49"/>
                    </a:lnTo>
                    <a:lnTo>
                      <a:pt x="276" y="151"/>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81" name="Freeform 53">
                <a:extLst>
                  <a:ext uri="{FF2B5EF4-FFF2-40B4-BE49-F238E27FC236}">
                    <a16:creationId xmlns:a16="http://schemas.microsoft.com/office/drawing/2014/main" id="{60E02CE7-53C7-47FA-B319-5BC925F1F9E7}"/>
                  </a:ext>
                </a:extLst>
              </p:cNvPr>
              <p:cNvSpPr>
                <a:spLocks/>
              </p:cNvSpPr>
              <p:nvPr/>
            </p:nvSpPr>
            <p:spPr bwMode="auto">
              <a:xfrm>
                <a:off x="7423911" y="4787353"/>
                <a:ext cx="43807" cy="38722"/>
              </a:xfrm>
              <a:custGeom>
                <a:avLst/>
                <a:gdLst>
                  <a:gd name="T0" fmla="*/ 19 w 90"/>
                  <a:gd name="T1" fmla="*/ 80 h 80"/>
                  <a:gd name="T2" fmla="*/ 90 w 90"/>
                  <a:gd name="T3" fmla="*/ 0 h 80"/>
                  <a:gd name="T4" fmla="*/ 19 w 90"/>
                  <a:gd name="T5" fmla="*/ 80 h 80"/>
                </a:gdLst>
                <a:ahLst/>
                <a:cxnLst>
                  <a:cxn ang="0">
                    <a:pos x="T0" y="T1"/>
                  </a:cxn>
                  <a:cxn ang="0">
                    <a:pos x="T2" y="T3"/>
                  </a:cxn>
                  <a:cxn ang="0">
                    <a:pos x="T4" y="T5"/>
                  </a:cxn>
                </a:cxnLst>
                <a:rect l="0" t="0" r="r" b="b"/>
                <a:pathLst>
                  <a:path w="90" h="80">
                    <a:moveTo>
                      <a:pt x="19" y="80"/>
                    </a:moveTo>
                    <a:cubicBezTo>
                      <a:pt x="90" y="0"/>
                      <a:pt x="90" y="0"/>
                      <a:pt x="90" y="0"/>
                    </a:cubicBezTo>
                    <a:cubicBezTo>
                      <a:pt x="90" y="0"/>
                      <a:pt x="0" y="3"/>
                      <a:pt x="19" y="80"/>
                    </a:cubicBez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82" name="Freeform 54">
                <a:extLst>
                  <a:ext uri="{FF2B5EF4-FFF2-40B4-BE49-F238E27FC236}">
                    <a16:creationId xmlns:a16="http://schemas.microsoft.com/office/drawing/2014/main" id="{8F562E75-5E2D-4A31-BD2E-9EF59D077C38}"/>
                  </a:ext>
                </a:extLst>
              </p:cNvPr>
              <p:cNvSpPr>
                <a:spLocks/>
              </p:cNvSpPr>
              <p:nvPr/>
            </p:nvSpPr>
            <p:spPr bwMode="auto">
              <a:xfrm>
                <a:off x="7035908" y="4783050"/>
                <a:ext cx="68057" cy="43025"/>
              </a:xfrm>
              <a:custGeom>
                <a:avLst/>
                <a:gdLst>
                  <a:gd name="T0" fmla="*/ 151 w 174"/>
                  <a:gd name="T1" fmla="*/ 110 h 110"/>
                  <a:gd name="T2" fmla="*/ 174 w 174"/>
                  <a:gd name="T3" fmla="*/ 0 h 110"/>
                  <a:gd name="T4" fmla="*/ 0 w 174"/>
                  <a:gd name="T5" fmla="*/ 0 h 110"/>
                  <a:gd name="T6" fmla="*/ 13 w 174"/>
                  <a:gd name="T7" fmla="*/ 110 h 110"/>
                  <a:gd name="T8" fmla="*/ 151 w 174"/>
                  <a:gd name="T9" fmla="*/ 110 h 110"/>
                </a:gdLst>
                <a:ahLst/>
                <a:cxnLst>
                  <a:cxn ang="0">
                    <a:pos x="T0" y="T1"/>
                  </a:cxn>
                  <a:cxn ang="0">
                    <a:pos x="T2" y="T3"/>
                  </a:cxn>
                  <a:cxn ang="0">
                    <a:pos x="T4" y="T5"/>
                  </a:cxn>
                  <a:cxn ang="0">
                    <a:pos x="T6" y="T7"/>
                  </a:cxn>
                  <a:cxn ang="0">
                    <a:pos x="T8" y="T9"/>
                  </a:cxn>
                </a:cxnLst>
                <a:rect l="0" t="0" r="r" b="b"/>
                <a:pathLst>
                  <a:path w="174" h="110">
                    <a:moveTo>
                      <a:pt x="151" y="110"/>
                    </a:moveTo>
                    <a:lnTo>
                      <a:pt x="174" y="0"/>
                    </a:lnTo>
                    <a:lnTo>
                      <a:pt x="0" y="0"/>
                    </a:lnTo>
                    <a:lnTo>
                      <a:pt x="13" y="110"/>
                    </a:lnTo>
                    <a:lnTo>
                      <a:pt x="151" y="11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83" name="Freeform 55">
                <a:extLst>
                  <a:ext uri="{FF2B5EF4-FFF2-40B4-BE49-F238E27FC236}">
                    <a16:creationId xmlns:a16="http://schemas.microsoft.com/office/drawing/2014/main" id="{C18006E3-7677-4D70-AC41-5414339A6A8E}"/>
                  </a:ext>
                </a:extLst>
              </p:cNvPr>
              <p:cNvSpPr>
                <a:spLocks/>
              </p:cNvSpPr>
              <p:nvPr/>
            </p:nvSpPr>
            <p:spPr bwMode="auto">
              <a:xfrm>
                <a:off x="7001879" y="4415777"/>
                <a:ext cx="345762" cy="295305"/>
              </a:xfrm>
              <a:custGeom>
                <a:avLst/>
                <a:gdLst>
                  <a:gd name="T0" fmla="*/ 22 w 710"/>
                  <a:gd name="T1" fmla="*/ 157 h 608"/>
                  <a:gd name="T2" fmla="*/ 164 w 710"/>
                  <a:gd name="T3" fmla="*/ 562 h 608"/>
                  <a:gd name="T4" fmla="*/ 229 w 710"/>
                  <a:gd name="T5" fmla="*/ 608 h 608"/>
                  <a:gd name="T6" fmla="*/ 307 w 710"/>
                  <a:gd name="T7" fmla="*/ 608 h 608"/>
                  <a:gd name="T8" fmla="*/ 710 w 710"/>
                  <a:gd name="T9" fmla="*/ 342 h 608"/>
                  <a:gd name="T10" fmla="*/ 640 w 710"/>
                  <a:gd name="T11" fmla="*/ 240 h 608"/>
                  <a:gd name="T12" fmla="*/ 329 w 710"/>
                  <a:gd name="T13" fmla="*/ 373 h 608"/>
                  <a:gd name="T14" fmla="*/ 228 w 710"/>
                  <a:gd name="T15" fmla="*/ 80 h 608"/>
                  <a:gd name="T16" fmla="*/ 98 w 710"/>
                  <a:gd name="T17" fmla="*/ 14 h 608"/>
                  <a:gd name="T18" fmla="*/ 98 w 710"/>
                  <a:gd name="T19" fmla="*/ 14 h 608"/>
                  <a:gd name="T20" fmla="*/ 22 w 710"/>
                  <a:gd name="T21" fmla="*/ 157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0" h="608">
                    <a:moveTo>
                      <a:pt x="22" y="157"/>
                    </a:moveTo>
                    <a:cubicBezTo>
                      <a:pt x="164" y="562"/>
                      <a:pt x="164" y="562"/>
                      <a:pt x="164" y="562"/>
                    </a:cubicBezTo>
                    <a:cubicBezTo>
                      <a:pt x="173" y="590"/>
                      <a:pt x="200" y="608"/>
                      <a:pt x="229" y="608"/>
                    </a:cubicBezTo>
                    <a:cubicBezTo>
                      <a:pt x="307" y="608"/>
                      <a:pt x="307" y="608"/>
                      <a:pt x="307" y="608"/>
                    </a:cubicBezTo>
                    <a:cubicBezTo>
                      <a:pt x="710" y="342"/>
                      <a:pt x="710" y="342"/>
                      <a:pt x="710" y="342"/>
                    </a:cubicBezTo>
                    <a:cubicBezTo>
                      <a:pt x="640" y="240"/>
                      <a:pt x="640" y="240"/>
                      <a:pt x="640" y="240"/>
                    </a:cubicBezTo>
                    <a:cubicBezTo>
                      <a:pt x="329" y="373"/>
                      <a:pt x="329" y="373"/>
                      <a:pt x="329" y="373"/>
                    </a:cubicBezTo>
                    <a:cubicBezTo>
                      <a:pt x="228" y="80"/>
                      <a:pt x="228" y="80"/>
                      <a:pt x="228" y="80"/>
                    </a:cubicBezTo>
                    <a:cubicBezTo>
                      <a:pt x="208" y="29"/>
                      <a:pt x="152" y="0"/>
                      <a:pt x="98" y="14"/>
                    </a:cubicBezTo>
                    <a:cubicBezTo>
                      <a:pt x="98" y="14"/>
                      <a:pt x="98" y="14"/>
                      <a:pt x="98" y="14"/>
                    </a:cubicBezTo>
                    <a:cubicBezTo>
                      <a:pt x="36" y="30"/>
                      <a:pt x="0" y="96"/>
                      <a:pt x="22" y="157"/>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84" name="Freeform 56">
                <a:extLst>
                  <a:ext uri="{FF2B5EF4-FFF2-40B4-BE49-F238E27FC236}">
                    <a16:creationId xmlns:a16="http://schemas.microsoft.com/office/drawing/2014/main" id="{184AA5FA-7342-43BF-8D69-EAB8C24374FC}"/>
                  </a:ext>
                </a:extLst>
              </p:cNvPr>
              <p:cNvSpPr>
                <a:spLocks/>
              </p:cNvSpPr>
              <p:nvPr/>
            </p:nvSpPr>
            <p:spPr bwMode="auto">
              <a:xfrm>
                <a:off x="7119610" y="4580835"/>
                <a:ext cx="42633" cy="34029"/>
              </a:xfrm>
              <a:custGeom>
                <a:avLst/>
                <a:gdLst>
                  <a:gd name="T0" fmla="*/ 87 w 87"/>
                  <a:gd name="T1" fmla="*/ 33 h 70"/>
                  <a:gd name="T2" fmla="*/ 0 w 87"/>
                  <a:gd name="T3" fmla="*/ 70 h 70"/>
                  <a:gd name="T4" fmla="*/ 87 w 87"/>
                  <a:gd name="T5" fmla="*/ 33 h 70"/>
                </a:gdLst>
                <a:ahLst/>
                <a:cxnLst>
                  <a:cxn ang="0">
                    <a:pos x="T0" y="T1"/>
                  </a:cxn>
                  <a:cxn ang="0">
                    <a:pos x="T2" y="T3"/>
                  </a:cxn>
                  <a:cxn ang="0">
                    <a:pos x="T4" y="T5"/>
                  </a:cxn>
                </a:cxnLst>
                <a:rect l="0" t="0" r="r" b="b"/>
                <a:pathLst>
                  <a:path w="87" h="70">
                    <a:moveTo>
                      <a:pt x="87" y="33"/>
                    </a:moveTo>
                    <a:cubicBezTo>
                      <a:pt x="0" y="70"/>
                      <a:pt x="0" y="70"/>
                      <a:pt x="0" y="70"/>
                    </a:cubicBezTo>
                    <a:cubicBezTo>
                      <a:pt x="0" y="70"/>
                      <a:pt x="20" y="0"/>
                      <a:pt x="87" y="33"/>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85" name="Freeform 57">
                <a:extLst>
                  <a:ext uri="{FF2B5EF4-FFF2-40B4-BE49-F238E27FC236}">
                    <a16:creationId xmlns:a16="http://schemas.microsoft.com/office/drawing/2014/main" id="{E0B84BAA-F5F9-47F5-83E8-F596AC9CC5C5}"/>
                  </a:ext>
                </a:extLst>
              </p:cNvPr>
              <p:cNvSpPr>
                <a:spLocks/>
              </p:cNvSpPr>
              <p:nvPr/>
            </p:nvSpPr>
            <p:spPr bwMode="auto">
              <a:xfrm>
                <a:off x="7317523" y="4428293"/>
                <a:ext cx="161538" cy="153324"/>
              </a:xfrm>
              <a:custGeom>
                <a:avLst/>
                <a:gdLst>
                  <a:gd name="T0" fmla="*/ 232 w 332"/>
                  <a:gd name="T1" fmla="*/ 0 h 316"/>
                  <a:gd name="T2" fmla="*/ 93 w 332"/>
                  <a:gd name="T3" fmla="*/ 53 h 316"/>
                  <a:gd name="T4" fmla="*/ 42 w 332"/>
                  <a:gd name="T5" fmla="*/ 102 h 316"/>
                  <a:gd name="T6" fmla="*/ 0 w 332"/>
                  <a:gd name="T7" fmla="*/ 227 h 316"/>
                  <a:gd name="T8" fmla="*/ 62 w 332"/>
                  <a:gd name="T9" fmla="*/ 316 h 316"/>
                  <a:gd name="T10" fmla="*/ 80 w 332"/>
                  <a:gd name="T11" fmla="*/ 314 h 316"/>
                  <a:gd name="T12" fmla="*/ 230 w 332"/>
                  <a:gd name="T13" fmla="*/ 263 h 316"/>
                  <a:gd name="T14" fmla="*/ 250 w 332"/>
                  <a:gd name="T15" fmla="*/ 252 h 316"/>
                  <a:gd name="T16" fmla="*/ 281 w 332"/>
                  <a:gd name="T17" fmla="*/ 231 h 316"/>
                  <a:gd name="T18" fmla="*/ 293 w 332"/>
                  <a:gd name="T19" fmla="*/ 208 h 316"/>
                  <a:gd name="T20" fmla="*/ 281 w 332"/>
                  <a:gd name="T21" fmla="*/ 185 h 316"/>
                  <a:gd name="T22" fmla="*/ 275 w 332"/>
                  <a:gd name="T23" fmla="*/ 181 h 316"/>
                  <a:gd name="T24" fmla="*/ 290 w 332"/>
                  <a:gd name="T25" fmla="*/ 178 h 316"/>
                  <a:gd name="T26" fmla="*/ 301 w 332"/>
                  <a:gd name="T27" fmla="*/ 166 h 316"/>
                  <a:gd name="T28" fmla="*/ 301 w 332"/>
                  <a:gd name="T29" fmla="*/ 150 h 316"/>
                  <a:gd name="T30" fmla="*/ 291 w 332"/>
                  <a:gd name="T31" fmla="*/ 138 h 316"/>
                  <a:gd name="T32" fmla="*/ 263 w 332"/>
                  <a:gd name="T33" fmla="*/ 130 h 316"/>
                  <a:gd name="T34" fmla="*/ 297 w 332"/>
                  <a:gd name="T35" fmla="*/ 126 h 316"/>
                  <a:gd name="T36" fmla="*/ 317 w 332"/>
                  <a:gd name="T37" fmla="*/ 103 h 316"/>
                  <a:gd name="T38" fmla="*/ 294 w 332"/>
                  <a:gd name="T39" fmla="*/ 81 h 316"/>
                  <a:gd name="T40" fmla="*/ 202 w 332"/>
                  <a:gd name="T41" fmla="*/ 84 h 316"/>
                  <a:gd name="T42" fmla="*/ 232 w 332"/>
                  <a:gd name="T43" fmla="*/ 58 h 316"/>
                  <a:gd name="T44" fmla="*/ 297 w 332"/>
                  <a:gd name="T45" fmla="*/ 58 h 316"/>
                  <a:gd name="T46" fmla="*/ 326 w 332"/>
                  <a:gd name="T47" fmla="*/ 37 h 316"/>
                  <a:gd name="T48" fmla="*/ 332 w 332"/>
                  <a:gd name="T49" fmla="*/ 24 h 316"/>
                  <a:gd name="T50" fmla="*/ 232 w 332"/>
                  <a:gd name="T51"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2" h="316">
                    <a:moveTo>
                      <a:pt x="232" y="0"/>
                    </a:moveTo>
                    <a:cubicBezTo>
                      <a:pt x="93" y="53"/>
                      <a:pt x="93" y="53"/>
                      <a:pt x="93" y="53"/>
                    </a:cubicBezTo>
                    <a:cubicBezTo>
                      <a:pt x="70" y="62"/>
                      <a:pt x="51" y="79"/>
                      <a:pt x="42" y="102"/>
                    </a:cubicBezTo>
                    <a:cubicBezTo>
                      <a:pt x="0" y="227"/>
                      <a:pt x="0" y="227"/>
                      <a:pt x="0" y="227"/>
                    </a:cubicBezTo>
                    <a:cubicBezTo>
                      <a:pt x="62" y="316"/>
                      <a:pt x="62" y="316"/>
                      <a:pt x="62" y="316"/>
                    </a:cubicBezTo>
                    <a:cubicBezTo>
                      <a:pt x="80" y="314"/>
                      <a:pt x="80" y="314"/>
                      <a:pt x="80" y="314"/>
                    </a:cubicBezTo>
                    <a:cubicBezTo>
                      <a:pt x="133" y="306"/>
                      <a:pt x="184" y="289"/>
                      <a:pt x="230" y="263"/>
                    </a:cubicBezTo>
                    <a:cubicBezTo>
                      <a:pt x="250" y="252"/>
                      <a:pt x="250" y="252"/>
                      <a:pt x="250" y="252"/>
                    </a:cubicBezTo>
                    <a:cubicBezTo>
                      <a:pt x="281" y="231"/>
                      <a:pt x="281" y="231"/>
                      <a:pt x="281" y="231"/>
                    </a:cubicBezTo>
                    <a:cubicBezTo>
                      <a:pt x="288" y="226"/>
                      <a:pt x="293" y="217"/>
                      <a:pt x="293" y="208"/>
                    </a:cubicBezTo>
                    <a:cubicBezTo>
                      <a:pt x="293" y="199"/>
                      <a:pt x="288" y="190"/>
                      <a:pt x="281" y="185"/>
                    </a:cubicBezTo>
                    <a:cubicBezTo>
                      <a:pt x="275" y="181"/>
                      <a:pt x="275" y="181"/>
                      <a:pt x="275" y="181"/>
                    </a:cubicBezTo>
                    <a:cubicBezTo>
                      <a:pt x="290" y="178"/>
                      <a:pt x="290" y="178"/>
                      <a:pt x="290" y="178"/>
                    </a:cubicBezTo>
                    <a:cubicBezTo>
                      <a:pt x="296" y="177"/>
                      <a:pt x="301" y="172"/>
                      <a:pt x="301" y="166"/>
                    </a:cubicBezTo>
                    <a:cubicBezTo>
                      <a:pt x="301" y="150"/>
                      <a:pt x="301" y="150"/>
                      <a:pt x="301" y="150"/>
                    </a:cubicBezTo>
                    <a:cubicBezTo>
                      <a:pt x="301" y="144"/>
                      <a:pt x="297" y="139"/>
                      <a:pt x="291" y="138"/>
                    </a:cubicBezTo>
                    <a:cubicBezTo>
                      <a:pt x="263" y="130"/>
                      <a:pt x="263" y="130"/>
                      <a:pt x="263" y="130"/>
                    </a:cubicBezTo>
                    <a:cubicBezTo>
                      <a:pt x="297" y="126"/>
                      <a:pt x="297" y="126"/>
                      <a:pt x="297" y="126"/>
                    </a:cubicBezTo>
                    <a:cubicBezTo>
                      <a:pt x="308" y="124"/>
                      <a:pt x="317" y="115"/>
                      <a:pt x="317" y="103"/>
                    </a:cubicBezTo>
                    <a:cubicBezTo>
                      <a:pt x="317" y="91"/>
                      <a:pt x="306" y="80"/>
                      <a:pt x="294" y="81"/>
                    </a:cubicBezTo>
                    <a:cubicBezTo>
                      <a:pt x="202" y="84"/>
                      <a:pt x="202" y="84"/>
                      <a:pt x="202" y="84"/>
                    </a:cubicBezTo>
                    <a:cubicBezTo>
                      <a:pt x="232" y="58"/>
                      <a:pt x="232" y="58"/>
                      <a:pt x="232" y="58"/>
                    </a:cubicBezTo>
                    <a:cubicBezTo>
                      <a:pt x="297" y="58"/>
                      <a:pt x="297" y="58"/>
                      <a:pt x="297" y="58"/>
                    </a:cubicBezTo>
                    <a:cubicBezTo>
                      <a:pt x="310" y="58"/>
                      <a:pt x="322" y="50"/>
                      <a:pt x="326" y="37"/>
                    </a:cubicBezTo>
                    <a:cubicBezTo>
                      <a:pt x="332" y="24"/>
                      <a:pt x="332" y="24"/>
                      <a:pt x="332" y="24"/>
                    </a:cubicBezTo>
                    <a:lnTo>
                      <a:pt x="232"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86" name="Freeform 58">
                <a:extLst>
                  <a:ext uri="{FF2B5EF4-FFF2-40B4-BE49-F238E27FC236}">
                    <a16:creationId xmlns:a16="http://schemas.microsoft.com/office/drawing/2014/main" id="{00311EC4-D900-4453-9FF7-CC9DD0A01D7D}"/>
                  </a:ext>
                </a:extLst>
              </p:cNvPr>
              <p:cNvSpPr>
                <a:spLocks/>
              </p:cNvSpPr>
              <p:nvPr/>
            </p:nvSpPr>
            <p:spPr bwMode="auto">
              <a:xfrm>
                <a:off x="7313612" y="4463104"/>
                <a:ext cx="114211" cy="114211"/>
              </a:xfrm>
              <a:custGeom>
                <a:avLst/>
                <a:gdLst>
                  <a:gd name="T0" fmla="*/ 0 w 235"/>
                  <a:gd name="T1" fmla="*/ 142 h 235"/>
                  <a:gd name="T2" fmla="*/ 55 w 235"/>
                  <a:gd name="T3" fmla="*/ 19 h 235"/>
                  <a:gd name="T4" fmla="*/ 143 w 235"/>
                  <a:gd name="T5" fmla="*/ 2 h 235"/>
                  <a:gd name="T6" fmla="*/ 170 w 235"/>
                  <a:gd name="T7" fmla="*/ 9 h 235"/>
                  <a:gd name="T8" fmla="*/ 190 w 235"/>
                  <a:gd name="T9" fmla="*/ 28 h 235"/>
                  <a:gd name="T10" fmla="*/ 200 w 235"/>
                  <a:gd name="T11" fmla="*/ 57 h 235"/>
                  <a:gd name="T12" fmla="*/ 198 w 235"/>
                  <a:gd name="T13" fmla="*/ 63 h 235"/>
                  <a:gd name="T14" fmla="*/ 212 w 235"/>
                  <a:gd name="T15" fmla="*/ 70 h 235"/>
                  <a:gd name="T16" fmla="*/ 228 w 235"/>
                  <a:gd name="T17" fmla="*/ 109 h 235"/>
                  <a:gd name="T18" fmla="*/ 223 w 235"/>
                  <a:gd name="T19" fmla="*/ 122 h 235"/>
                  <a:gd name="T20" fmla="*/ 223 w 235"/>
                  <a:gd name="T21" fmla="*/ 122 h 235"/>
                  <a:gd name="T22" fmla="*/ 221 w 235"/>
                  <a:gd name="T23" fmla="*/ 168 h 235"/>
                  <a:gd name="T24" fmla="*/ 178 w 235"/>
                  <a:gd name="T25" fmla="*/ 204 h 235"/>
                  <a:gd name="T26" fmla="*/ 64 w 235"/>
                  <a:gd name="T27" fmla="*/ 235 h 235"/>
                  <a:gd name="T28" fmla="*/ 0 w 235"/>
                  <a:gd name="T29" fmla="*/ 14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235">
                    <a:moveTo>
                      <a:pt x="0" y="142"/>
                    </a:moveTo>
                    <a:cubicBezTo>
                      <a:pt x="55" y="19"/>
                      <a:pt x="55" y="19"/>
                      <a:pt x="55" y="19"/>
                    </a:cubicBezTo>
                    <a:cubicBezTo>
                      <a:pt x="143" y="2"/>
                      <a:pt x="143" y="2"/>
                      <a:pt x="143" y="2"/>
                    </a:cubicBezTo>
                    <a:cubicBezTo>
                      <a:pt x="153" y="0"/>
                      <a:pt x="163" y="2"/>
                      <a:pt x="170" y="9"/>
                    </a:cubicBezTo>
                    <a:cubicBezTo>
                      <a:pt x="190" y="28"/>
                      <a:pt x="190" y="28"/>
                      <a:pt x="190" y="28"/>
                    </a:cubicBezTo>
                    <a:cubicBezTo>
                      <a:pt x="198" y="35"/>
                      <a:pt x="202" y="46"/>
                      <a:pt x="200" y="57"/>
                    </a:cubicBezTo>
                    <a:cubicBezTo>
                      <a:pt x="198" y="63"/>
                      <a:pt x="198" y="63"/>
                      <a:pt x="198" y="63"/>
                    </a:cubicBezTo>
                    <a:cubicBezTo>
                      <a:pt x="212" y="70"/>
                      <a:pt x="212" y="70"/>
                      <a:pt x="212" y="70"/>
                    </a:cubicBezTo>
                    <a:cubicBezTo>
                      <a:pt x="227" y="77"/>
                      <a:pt x="234" y="94"/>
                      <a:pt x="228" y="109"/>
                    </a:cubicBezTo>
                    <a:cubicBezTo>
                      <a:pt x="223" y="122"/>
                      <a:pt x="223" y="122"/>
                      <a:pt x="223" y="122"/>
                    </a:cubicBezTo>
                    <a:cubicBezTo>
                      <a:pt x="223" y="122"/>
                      <a:pt x="223" y="122"/>
                      <a:pt x="223" y="122"/>
                    </a:cubicBezTo>
                    <a:cubicBezTo>
                      <a:pt x="235" y="135"/>
                      <a:pt x="234" y="156"/>
                      <a:pt x="221" y="168"/>
                    </a:cubicBezTo>
                    <a:cubicBezTo>
                      <a:pt x="178" y="204"/>
                      <a:pt x="178" y="204"/>
                      <a:pt x="178" y="204"/>
                    </a:cubicBezTo>
                    <a:cubicBezTo>
                      <a:pt x="64" y="235"/>
                      <a:pt x="64" y="235"/>
                      <a:pt x="64" y="235"/>
                    </a:cubicBezTo>
                    <a:lnTo>
                      <a:pt x="0" y="142"/>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88" name="Freeform 35">
                <a:extLst>
                  <a:ext uri="{FF2B5EF4-FFF2-40B4-BE49-F238E27FC236}">
                    <a16:creationId xmlns:a16="http://schemas.microsoft.com/office/drawing/2014/main" id="{12068D8D-1957-4881-A0CA-1FF5934B0982}"/>
                  </a:ext>
                </a:extLst>
              </p:cNvPr>
              <p:cNvSpPr>
                <a:spLocks/>
              </p:cNvSpPr>
              <p:nvPr/>
            </p:nvSpPr>
            <p:spPr bwMode="auto">
              <a:xfrm>
                <a:off x="6751554" y="5063100"/>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91" name="Freeform 78">
                <a:extLst>
                  <a:ext uri="{FF2B5EF4-FFF2-40B4-BE49-F238E27FC236}">
                    <a16:creationId xmlns:a16="http://schemas.microsoft.com/office/drawing/2014/main" id="{D7BFB6C6-00A7-4E41-87FD-B3B83112600C}"/>
                  </a:ext>
                </a:extLst>
              </p:cNvPr>
              <p:cNvSpPr>
                <a:spLocks/>
              </p:cNvSpPr>
              <p:nvPr/>
            </p:nvSpPr>
            <p:spPr bwMode="auto">
              <a:xfrm>
                <a:off x="7243406" y="4917208"/>
                <a:ext cx="62971"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grpSp>
        <p:sp>
          <p:nvSpPr>
            <p:cNvPr id="1192" name="Freeform 79">
              <a:extLst>
                <a:ext uri="{FF2B5EF4-FFF2-40B4-BE49-F238E27FC236}">
                  <a16:creationId xmlns:a16="http://schemas.microsoft.com/office/drawing/2014/main" id="{70AB0E52-E8B7-4BE4-A299-E05DF7B28FEE}"/>
                </a:ext>
              </a:extLst>
            </p:cNvPr>
            <p:cNvSpPr>
              <a:spLocks/>
            </p:cNvSpPr>
            <p:nvPr/>
          </p:nvSpPr>
          <p:spPr bwMode="auto">
            <a:xfrm>
              <a:off x="6472677"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93" name="Rectangle 80">
              <a:extLst>
                <a:ext uri="{FF2B5EF4-FFF2-40B4-BE49-F238E27FC236}">
                  <a16:creationId xmlns:a16="http://schemas.microsoft.com/office/drawing/2014/main" id="{DDF27492-D25E-443D-9773-C20E8144E2B5}"/>
                </a:ext>
              </a:extLst>
            </p:cNvPr>
            <p:cNvSpPr>
              <a:spLocks noChangeArrowheads="1"/>
            </p:cNvSpPr>
            <p:nvPr/>
          </p:nvSpPr>
          <p:spPr bwMode="auto">
            <a:xfrm>
              <a:off x="6100318" y="4871837"/>
              <a:ext cx="403649" cy="520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94" name="Rectangle 81">
              <a:extLst>
                <a:ext uri="{FF2B5EF4-FFF2-40B4-BE49-F238E27FC236}">
                  <a16:creationId xmlns:a16="http://schemas.microsoft.com/office/drawing/2014/main" id="{09FABD28-49BD-4900-B2DB-F9FF749FCD44}"/>
                </a:ext>
              </a:extLst>
            </p:cNvPr>
            <p:cNvSpPr>
              <a:spLocks noChangeArrowheads="1"/>
            </p:cNvSpPr>
            <p:nvPr/>
          </p:nvSpPr>
          <p:spPr bwMode="auto">
            <a:xfrm>
              <a:off x="6503967" y="4871837"/>
              <a:ext cx="395826" cy="52020"/>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95" name="Freeform 82">
              <a:extLst>
                <a:ext uri="{FF2B5EF4-FFF2-40B4-BE49-F238E27FC236}">
                  <a16:creationId xmlns:a16="http://schemas.microsoft.com/office/drawing/2014/main" id="{F9DB05E2-E1CA-4D80-9628-C63E788BEC1E}"/>
                </a:ext>
              </a:extLst>
            </p:cNvPr>
            <p:cNvSpPr>
              <a:spLocks/>
            </p:cNvSpPr>
            <p:nvPr/>
          </p:nvSpPr>
          <p:spPr bwMode="auto">
            <a:xfrm>
              <a:off x="6565375" y="4699348"/>
              <a:ext cx="116557" cy="172489"/>
            </a:xfrm>
            <a:custGeom>
              <a:avLst/>
              <a:gdLst>
                <a:gd name="T0" fmla="*/ 298 w 298"/>
                <a:gd name="T1" fmla="*/ 0 h 441"/>
                <a:gd name="T2" fmla="*/ 0 w 298"/>
                <a:gd name="T3" fmla="*/ 0 h 441"/>
                <a:gd name="T4" fmla="*/ 55 w 298"/>
                <a:gd name="T5" fmla="*/ 441 h 441"/>
                <a:gd name="T6" fmla="*/ 244 w 298"/>
                <a:gd name="T7" fmla="*/ 441 h 441"/>
                <a:gd name="T8" fmla="*/ 298 w 298"/>
                <a:gd name="T9" fmla="*/ 0 h 441"/>
              </a:gdLst>
              <a:ahLst/>
              <a:cxnLst>
                <a:cxn ang="0">
                  <a:pos x="T0" y="T1"/>
                </a:cxn>
                <a:cxn ang="0">
                  <a:pos x="T2" y="T3"/>
                </a:cxn>
                <a:cxn ang="0">
                  <a:pos x="T4" y="T5"/>
                </a:cxn>
                <a:cxn ang="0">
                  <a:pos x="T6" y="T7"/>
                </a:cxn>
                <a:cxn ang="0">
                  <a:pos x="T8" y="T9"/>
                </a:cxn>
              </a:cxnLst>
              <a:rect l="0" t="0" r="r" b="b"/>
              <a:pathLst>
                <a:path w="298" h="441">
                  <a:moveTo>
                    <a:pt x="298" y="0"/>
                  </a:moveTo>
                  <a:lnTo>
                    <a:pt x="0" y="0"/>
                  </a:lnTo>
                  <a:lnTo>
                    <a:pt x="55" y="441"/>
                  </a:lnTo>
                  <a:lnTo>
                    <a:pt x="244" y="441"/>
                  </a:lnTo>
                  <a:lnTo>
                    <a:pt x="298"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96" name="Rectangle 83">
              <a:extLst>
                <a:ext uri="{FF2B5EF4-FFF2-40B4-BE49-F238E27FC236}">
                  <a16:creationId xmlns:a16="http://schemas.microsoft.com/office/drawing/2014/main" id="{A3BC7E96-6F2A-4AB7-A5D8-DC9C1CDD630B}"/>
                </a:ext>
              </a:extLst>
            </p:cNvPr>
            <p:cNvSpPr>
              <a:spLocks noChangeArrowheads="1"/>
            </p:cNvSpPr>
            <p:nvPr/>
          </p:nvSpPr>
          <p:spPr bwMode="auto">
            <a:xfrm>
              <a:off x="6293146" y="4818643"/>
              <a:ext cx="73142" cy="53194"/>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97" name="Rectangle 84">
              <a:extLst>
                <a:ext uri="{FF2B5EF4-FFF2-40B4-BE49-F238E27FC236}">
                  <a16:creationId xmlns:a16="http://schemas.microsoft.com/office/drawing/2014/main" id="{EE1D482C-EF9D-4D6E-854B-384475A79C7B}"/>
                </a:ext>
              </a:extLst>
            </p:cNvPr>
            <p:cNvSpPr>
              <a:spLocks noChangeArrowheads="1"/>
            </p:cNvSpPr>
            <p:nvPr/>
          </p:nvSpPr>
          <p:spPr bwMode="auto">
            <a:xfrm>
              <a:off x="6366288" y="4818643"/>
              <a:ext cx="112646" cy="5319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grpSp>
      <p:sp>
        <p:nvSpPr>
          <p:cNvPr id="332" name="TextBox 331">
            <a:extLst>
              <a:ext uri="{FF2B5EF4-FFF2-40B4-BE49-F238E27FC236}">
                <a16:creationId xmlns:a16="http://schemas.microsoft.com/office/drawing/2014/main" id="{E4561C91-E707-474F-AE82-88F037E5ECCB}"/>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400" b="1" dirty="0">
                <a:solidFill>
                  <a:schemeClr val="bg1"/>
                </a:solidFill>
              </a:rPr>
              <a:t>Security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1400" b="1" dirty="0">
                <a:solidFill>
                  <a:schemeClr val="bg1"/>
                </a:solidFill>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400" b="1" dirty="0">
                <a:solidFill>
                  <a:schemeClr val="bg1"/>
                </a:solidFill>
              </a:rPr>
              <a:t>W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048759" y="2418080"/>
            <a:ext cx="401322" cy="3769360"/>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45" name="TextBox 344">
            <a:extLst>
              <a:ext uri="{FF2B5EF4-FFF2-40B4-BE49-F238E27FC236}">
                <a16:creationId xmlns:a16="http://schemas.microsoft.com/office/drawing/2014/main" id="{26A31502-D0E1-4C79-848B-C9ED6FA3FD78}"/>
              </a:ext>
            </a:extLst>
          </p:cNvPr>
          <p:cNvSpPr txBox="1"/>
          <p:nvPr/>
        </p:nvSpPr>
        <p:spPr>
          <a:xfrm>
            <a:off x="1528031" y="3518708"/>
            <a:ext cx="409321" cy="173360"/>
          </a:xfrm>
          <a:prstGeom prst="rect">
            <a:avLst/>
          </a:prstGeom>
          <a:noFill/>
        </p:spPr>
        <p:txBody>
          <a:bodyPr wrap="square" lIns="0" tIns="0" rIns="0" bIns="0" rtlCol="0" anchor="t">
            <a:spAutoFit/>
          </a:bodyPr>
          <a:lstStyle/>
          <a:p>
            <a:pPr marL="0" marR="0" lvl="0" indent="0" defTabSz="932509" rtl="0" eaLnBrk="1" fontAlgn="auto" latinLnBrk="0" hangingPunct="1">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MFA</a:t>
            </a:r>
          </a:p>
        </p:txBody>
      </p:sp>
      <p:sp>
        <p:nvSpPr>
          <p:cNvPr id="346" name="TextBox 345">
            <a:extLst>
              <a:ext uri="{FF2B5EF4-FFF2-40B4-BE49-F238E27FC236}">
                <a16:creationId xmlns:a16="http://schemas.microsoft.com/office/drawing/2014/main" id="{549DBDDE-138E-46F8-B73F-D7D10AD38469}"/>
              </a:ext>
            </a:extLst>
          </p:cNvPr>
          <p:cNvSpPr txBox="1"/>
          <p:nvPr/>
        </p:nvSpPr>
        <p:spPr>
          <a:xfrm>
            <a:off x="1528031" y="3716602"/>
            <a:ext cx="1519284" cy="169277"/>
          </a:xfrm>
          <a:prstGeom prst="rect">
            <a:avLst/>
          </a:prstGeom>
          <a:noFill/>
        </p:spPr>
        <p:txBody>
          <a:bodyPr wrap="square" lIns="0" tIns="0" rIns="0" bIns="0" rtlCol="0" anchor="t">
            <a:spAutoFit/>
          </a:bodyPr>
          <a:lstStyle/>
          <a:p>
            <a:pPr lvl="0" defTabSz="932509">
              <a:defRPr/>
            </a:pPr>
            <a:r>
              <a:rPr lang="en-US" sz="1100" dirty="0"/>
              <a:t>Conditional Access</a:t>
            </a:r>
            <a:endParaRPr kumimoji="0" lang="en-US" sz="1100" b="0" i="0" u="none" strike="noStrike" kern="1200" cap="none" spc="0" normalizeH="0" baseline="0" noProof="0" dirty="0">
              <a:ln>
                <a:noFill/>
              </a:ln>
              <a:effectLst/>
              <a:uLnTx/>
              <a:uFillTx/>
              <a:ea typeface="+mn-ea"/>
              <a:cs typeface="+mn-cs"/>
            </a:endParaRPr>
          </a:p>
        </p:txBody>
      </p:sp>
      <p:sp>
        <p:nvSpPr>
          <p:cNvPr id="5" name="Rectangle 4">
            <a:extLst>
              <a:ext uri="{FF2B5EF4-FFF2-40B4-BE49-F238E27FC236}">
                <a16:creationId xmlns:a16="http://schemas.microsoft.com/office/drawing/2014/main" id="{F4490CE1-694B-41FB-8C25-60084945D6CD}"/>
              </a:ext>
            </a:extLst>
          </p:cNvPr>
          <p:cNvSpPr/>
          <p:nvPr/>
        </p:nvSpPr>
        <p:spPr bwMode="auto">
          <a:xfrm>
            <a:off x="4673503" y="3560568"/>
            <a:ext cx="1375835" cy="24016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21506" name="Picture 2" descr="Image result for menu icon">
            <a:extLst>
              <a:ext uri="{FF2B5EF4-FFF2-40B4-BE49-F238E27FC236}">
                <a16:creationId xmlns:a16="http://schemas.microsoft.com/office/drawing/2014/main" id="{86196F3F-9073-4A7F-9779-7A8BFF82E63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066" t="14297" r="8454" b="9653"/>
          <a:stretch/>
        </p:blipFill>
        <p:spPr bwMode="auto">
          <a:xfrm>
            <a:off x="4747260" y="3686228"/>
            <a:ext cx="1173480" cy="49918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9C7152AB-CAD2-4C45-A046-F8185AB53997}"/>
              </a:ext>
            </a:extLst>
          </p:cNvPr>
          <p:cNvGrpSpPr/>
          <p:nvPr/>
        </p:nvGrpSpPr>
        <p:grpSpPr>
          <a:xfrm>
            <a:off x="4771116" y="4341788"/>
            <a:ext cx="1251116" cy="178702"/>
            <a:chOff x="4764653" y="4683027"/>
            <a:chExt cx="1102748" cy="157510"/>
          </a:xfrm>
        </p:grpSpPr>
        <p:pic>
          <p:nvPicPr>
            <p:cNvPr id="21508" name="Picture 4" descr="Image result for check icon">
              <a:extLst>
                <a:ext uri="{FF2B5EF4-FFF2-40B4-BE49-F238E27FC236}">
                  <a16:creationId xmlns:a16="http://schemas.microsoft.com/office/drawing/2014/main" id="{482B18B4-9FB7-48AD-8460-EFD4DC4FDBB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348" t="19410" r="10348" b="19410"/>
            <a:stretch/>
          </p:blipFill>
          <p:spPr bwMode="auto">
            <a:xfrm>
              <a:off x="4764653" y="4683027"/>
              <a:ext cx="157510" cy="157510"/>
            </a:xfrm>
            <a:prstGeom prst="ellipse">
              <a:avLst/>
            </a:prstGeom>
            <a:noFill/>
            <a:extLst>
              <a:ext uri="{909E8E84-426E-40DD-AFC4-6F175D3DCCD1}">
                <a14:hiddenFill xmlns:a14="http://schemas.microsoft.com/office/drawing/2010/main">
                  <a:solidFill>
                    <a:srgbClr val="FFFFFF"/>
                  </a:solidFill>
                </a14:hiddenFill>
              </a:ext>
            </a:extLst>
          </p:spPr>
        </p:pic>
        <p:sp>
          <p:nvSpPr>
            <p:cNvPr id="329" name="TextBox 328">
              <a:extLst>
                <a:ext uri="{FF2B5EF4-FFF2-40B4-BE49-F238E27FC236}">
                  <a16:creationId xmlns:a16="http://schemas.microsoft.com/office/drawing/2014/main" id="{FAADE510-2AE2-4EAD-A1BC-046E036B115E}"/>
                </a:ext>
              </a:extLst>
            </p:cNvPr>
            <p:cNvSpPr txBox="1"/>
            <p:nvPr/>
          </p:nvSpPr>
          <p:spPr>
            <a:xfrm>
              <a:off x="4974716" y="4690572"/>
              <a:ext cx="892685" cy="142421"/>
            </a:xfrm>
            <a:prstGeom prst="rect">
              <a:avLst/>
            </a:prstGeom>
            <a:noFill/>
          </p:spPr>
          <p:txBody>
            <a:bodyPr wrap="square" lIns="0" tIns="0" rIns="0" bIns="0" rtlCol="0" anchor="ctr">
              <a:spAutoFit/>
            </a:bodyPr>
            <a:lstStyle>
              <a:defPPr>
                <a:defRPr lang="en-US"/>
              </a:defPPr>
              <a:lvl1pPr lvl="0" defTabSz="932509">
                <a:defRPr sz="1100"/>
              </a:lvl1pPr>
            </a:lstStyle>
            <a:p>
              <a:r>
                <a:rPr lang="en-US" sz="1050" dirty="0"/>
                <a:t>MFA</a:t>
              </a:r>
            </a:p>
          </p:txBody>
        </p:sp>
      </p:grpSp>
      <p:grpSp>
        <p:nvGrpSpPr>
          <p:cNvPr id="20" name="Group 19">
            <a:extLst>
              <a:ext uri="{FF2B5EF4-FFF2-40B4-BE49-F238E27FC236}">
                <a16:creationId xmlns:a16="http://schemas.microsoft.com/office/drawing/2014/main" id="{7DDEC7D1-574B-4C1F-836C-3AE56CD7E94C}"/>
              </a:ext>
            </a:extLst>
          </p:cNvPr>
          <p:cNvGrpSpPr/>
          <p:nvPr/>
        </p:nvGrpSpPr>
        <p:grpSpPr>
          <a:xfrm>
            <a:off x="4771116" y="4641727"/>
            <a:ext cx="1232572" cy="323166"/>
            <a:chOff x="4764653" y="4954741"/>
            <a:chExt cx="1086403" cy="284842"/>
          </a:xfrm>
        </p:grpSpPr>
        <p:sp>
          <p:nvSpPr>
            <p:cNvPr id="330" name="TextBox 329">
              <a:extLst>
                <a:ext uri="{FF2B5EF4-FFF2-40B4-BE49-F238E27FC236}">
                  <a16:creationId xmlns:a16="http://schemas.microsoft.com/office/drawing/2014/main" id="{14E8622A-C627-490D-85BB-A494F515B029}"/>
                </a:ext>
              </a:extLst>
            </p:cNvPr>
            <p:cNvSpPr txBox="1"/>
            <p:nvPr/>
          </p:nvSpPr>
          <p:spPr>
            <a:xfrm>
              <a:off x="4975824" y="4954741"/>
              <a:ext cx="875232" cy="284842"/>
            </a:xfrm>
            <a:prstGeom prst="rect">
              <a:avLst/>
            </a:prstGeom>
            <a:noFill/>
          </p:spPr>
          <p:txBody>
            <a:bodyPr wrap="square" lIns="0" tIns="0" rIns="0" bIns="0" rtlCol="0" anchor="ctr">
              <a:spAutoFit/>
            </a:bodyPr>
            <a:lstStyle>
              <a:defPPr>
                <a:defRPr lang="en-US"/>
              </a:defPPr>
              <a:lvl1pPr lvl="0" defTabSz="932509">
                <a:defRPr sz="1100"/>
              </a:lvl1pPr>
            </a:lstStyle>
            <a:p>
              <a:pPr lvl="0">
                <a:defRPr/>
              </a:pPr>
              <a:r>
                <a:rPr lang="en-US" sz="1050" dirty="0"/>
                <a:t>Conditional Access</a:t>
              </a:r>
            </a:p>
          </p:txBody>
        </p:sp>
        <p:pic>
          <p:nvPicPr>
            <p:cNvPr id="368" name="Picture 4" descr="Image result for check icon">
              <a:extLst>
                <a:ext uri="{FF2B5EF4-FFF2-40B4-BE49-F238E27FC236}">
                  <a16:creationId xmlns:a16="http://schemas.microsoft.com/office/drawing/2014/main" id="{5A4F3956-1B71-492E-B4CC-BE40DC757D2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348" t="19410" r="10348" b="19410"/>
            <a:stretch/>
          </p:blipFill>
          <p:spPr bwMode="auto">
            <a:xfrm>
              <a:off x="4764653" y="5018406"/>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44055FA5-6841-4C29-9C45-E937E5D3DB19}"/>
              </a:ext>
            </a:extLst>
          </p:cNvPr>
          <p:cNvGrpSpPr/>
          <p:nvPr/>
        </p:nvGrpSpPr>
        <p:grpSpPr>
          <a:xfrm>
            <a:off x="4771116" y="5086130"/>
            <a:ext cx="1232572" cy="323164"/>
            <a:chOff x="4764653" y="5250838"/>
            <a:chExt cx="1086403" cy="284841"/>
          </a:xfrm>
        </p:grpSpPr>
        <p:sp>
          <p:nvSpPr>
            <p:cNvPr id="335" name="TextBox 334">
              <a:extLst>
                <a:ext uri="{FF2B5EF4-FFF2-40B4-BE49-F238E27FC236}">
                  <a16:creationId xmlns:a16="http://schemas.microsoft.com/office/drawing/2014/main" id="{47777A89-1F8C-43F3-8B8B-BCA0FB68F04B}"/>
                </a:ext>
              </a:extLst>
            </p:cNvPr>
            <p:cNvSpPr txBox="1"/>
            <p:nvPr/>
          </p:nvSpPr>
          <p:spPr>
            <a:xfrm>
              <a:off x="4975824" y="5250838"/>
              <a:ext cx="875232" cy="284841"/>
            </a:xfrm>
            <a:prstGeom prst="rect">
              <a:avLst/>
            </a:prstGeom>
            <a:noFill/>
          </p:spPr>
          <p:txBody>
            <a:bodyPr wrap="square" lIns="0" tIns="0" rIns="0" bIns="0" rtlCol="0" anchor="ctr">
              <a:spAutoFit/>
            </a:bodyPr>
            <a:lstStyle>
              <a:defPPr>
                <a:defRPr lang="en-US"/>
              </a:defPPr>
              <a:lvl1pPr lvl="0" defTabSz="932509">
                <a:defRPr sz="1100"/>
              </a:lvl1pPr>
            </a:lstStyle>
            <a:p>
              <a:r>
                <a:rPr lang="en-US" sz="1050" dirty="0"/>
                <a:t>Intelligent Security Graph</a:t>
              </a:r>
            </a:p>
          </p:txBody>
        </p:sp>
        <p:pic>
          <p:nvPicPr>
            <p:cNvPr id="369" name="Picture 4" descr="Image result for check icon">
              <a:extLst>
                <a:ext uri="{FF2B5EF4-FFF2-40B4-BE49-F238E27FC236}">
                  <a16:creationId xmlns:a16="http://schemas.microsoft.com/office/drawing/2014/main" id="{8ED49E98-11A5-4C61-AA3F-F7F1E1E2763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348" t="19410" r="10348" b="19410"/>
            <a:stretch/>
          </p:blipFill>
          <p:spPr bwMode="auto">
            <a:xfrm>
              <a:off x="4764653" y="5314503"/>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06993190-744F-4490-BCB7-D0928621BDC7}"/>
              </a:ext>
            </a:extLst>
          </p:cNvPr>
          <p:cNvGrpSpPr/>
          <p:nvPr/>
        </p:nvGrpSpPr>
        <p:grpSpPr>
          <a:xfrm>
            <a:off x="4771116" y="5530532"/>
            <a:ext cx="1232572" cy="178702"/>
            <a:chOff x="4764653" y="5626002"/>
            <a:chExt cx="1086403" cy="157510"/>
          </a:xfrm>
        </p:grpSpPr>
        <p:sp>
          <p:nvSpPr>
            <p:cNvPr id="339" name="TextBox 338">
              <a:extLst>
                <a:ext uri="{FF2B5EF4-FFF2-40B4-BE49-F238E27FC236}">
                  <a16:creationId xmlns:a16="http://schemas.microsoft.com/office/drawing/2014/main" id="{89E1C6F3-326F-47C7-BDB2-A3F40F329DA1}"/>
                </a:ext>
              </a:extLst>
            </p:cNvPr>
            <p:cNvSpPr txBox="1"/>
            <p:nvPr/>
          </p:nvSpPr>
          <p:spPr>
            <a:xfrm>
              <a:off x="4975824" y="5633547"/>
              <a:ext cx="875232" cy="142421"/>
            </a:xfrm>
            <a:prstGeom prst="rect">
              <a:avLst/>
            </a:prstGeom>
            <a:noFill/>
          </p:spPr>
          <p:txBody>
            <a:bodyPr wrap="square" lIns="0" tIns="0" rIns="0" bIns="0" rtlCol="0" anchor="ctr">
              <a:spAutoFit/>
            </a:bodyPr>
            <a:lstStyle/>
            <a:p>
              <a:pPr lvl="0" defTabSz="932509">
                <a:defRPr/>
              </a:pPr>
              <a:r>
                <a:rPr lang="en-US" sz="1050" dirty="0"/>
                <a:t>…</a:t>
              </a:r>
              <a:endParaRPr kumimoji="0" lang="en-US" sz="1050" b="0" i="0" u="none" strike="noStrike" kern="1200" cap="none" spc="0" normalizeH="0" baseline="0" noProof="0" dirty="0">
                <a:ln>
                  <a:noFill/>
                </a:ln>
                <a:effectLst/>
                <a:uLnTx/>
                <a:uFillTx/>
              </a:endParaRPr>
            </a:p>
          </p:txBody>
        </p:sp>
        <p:pic>
          <p:nvPicPr>
            <p:cNvPr id="370" name="Picture 4" descr="Image result for check icon">
              <a:extLst>
                <a:ext uri="{FF2B5EF4-FFF2-40B4-BE49-F238E27FC236}">
                  <a16:creationId xmlns:a16="http://schemas.microsoft.com/office/drawing/2014/main" id="{452A39CE-FADA-4A1E-A23F-B41FC0F11D8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348" t="19410" r="10348" b="19410"/>
            <a:stretch/>
          </p:blipFill>
          <p:spPr bwMode="auto">
            <a:xfrm>
              <a:off x="4764653" y="5626002"/>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sp>
        <p:nvSpPr>
          <p:cNvPr id="375" name="TextBox 374">
            <a:extLst>
              <a:ext uri="{FF2B5EF4-FFF2-40B4-BE49-F238E27FC236}">
                <a16:creationId xmlns:a16="http://schemas.microsoft.com/office/drawing/2014/main" id="{3C20F7CD-D438-4954-90C5-E759A6779630}"/>
              </a:ext>
            </a:extLst>
          </p:cNvPr>
          <p:cNvSpPr txBox="1"/>
          <p:nvPr/>
        </p:nvSpPr>
        <p:spPr>
          <a:xfrm>
            <a:off x="1528031" y="3910412"/>
            <a:ext cx="1846760" cy="169277"/>
          </a:xfrm>
          <a:prstGeom prst="rect">
            <a:avLst/>
          </a:prstGeom>
          <a:noFill/>
        </p:spPr>
        <p:txBody>
          <a:bodyPr wrap="square" lIns="0" tIns="0" rIns="0" bIns="0" rtlCol="0" anchor="t">
            <a:spAutoFit/>
          </a:bodyPr>
          <a:lstStyle/>
          <a:p>
            <a:pPr lvl="0" defTabSz="932509">
              <a:defRPr/>
            </a:pPr>
            <a:r>
              <a:rPr lang="en-US" sz="1100" dirty="0"/>
              <a:t>Intelligent Security Graph</a:t>
            </a:r>
            <a:endParaRPr kumimoji="0" lang="en-US" sz="1100" b="0" i="0" u="none" strike="noStrike" kern="1200" cap="none" spc="0" normalizeH="0" baseline="0" noProof="0" dirty="0">
              <a:ln>
                <a:noFill/>
              </a:ln>
              <a:effectLst/>
              <a:uLnTx/>
              <a:uFillTx/>
              <a:ea typeface="+mn-ea"/>
              <a:cs typeface="+mn-cs"/>
            </a:endParaRPr>
          </a:p>
        </p:txBody>
      </p:sp>
      <p:grpSp>
        <p:nvGrpSpPr>
          <p:cNvPr id="12" name="Group 11">
            <a:extLst>
              <a:ext uri="{FF2B5EF4-FFF2-40B4-BE49-F238E27FC236}">
                <a16:creationId xmlns:a16="http://schemas.microsoft.com/office/drawing/2014/main" id="{2AD4FEB8-D46C-42CE-8052-69F059584A66}"/>
              </a:ext>
            </a:extLst>
          </p:cNvPr>
          <p:cNvGrpSpPr/>
          <p:nvPr/>
        </p:nvGrpSpPr>
        <p:grpSpPr>
          <a:xfrm>
            <a:off x="713487" y="5631637"/>
            <a:ext cx="2444380" cy="276057"/>
            <a:chOff x="713487" y="5937290"/>
            <a:chExt cx="2444380" cy="276057"/>
          </a:xfrm>
        </p:grpSpPr>
        <p:sp>
          <p:nvSpPr>
            <p:cNvPr id="379" name="TextBox 378">
              <a:extLst>
                <a:ext uri="{FF2B5EF4-FFF2-40B4-BE49-F238E27FC236}">
                  <a16:creationId xmlns:a16="http://schemas.microsoft.com/office/drawing/2014/main" id="{CAB489FD-467D-424C-8086-32D4F4B2139F}"/>
                </a:ext>
              </a:extLst>
            </p:cNvPr>
            <p:cNvSpPr txBox="1"/>
            <p:nvPr/>
          </p:nvSpPr>
          <p:spPr>
            <a:xfrm>
              <a:off x="1080847" y="5951497"/>
              <a:ext cx="2077020" cy="261850"/>
            </a:xfrm>
            <a:prstGeom prst="rect">
              <a:avLst/>
            </a:prstGeom>
            <a:noFill/>
          </p:spPr>
          <p:txBody>
            <a:bodyPr wrap="square" lIns="0" tIns="0" rIns="0" bIns="0" rtlCol="0" anchor="ctr">
              <a:noAutofit/>
            </a:bodyPr>
            <a:lstStyle/>
            <a:p>
              <a:pPr marL="0" marR="0" lvl="0" indent="0" algn="l" defTabSz="932509" rtl="0" eaLnBrk="1" fontAlgn="auto" latinLnBrk="0" hangingPunct="1">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Verify and </a:t>
              </a:r>
              <a:br>
                <a:rPr kumimoji="0" lang="en-US" sz="1000" b="0" i="0" u="none" strike="noStrike" kern="1200" cap="none" spc="0" normalizeH="0" baseline="0" noProof="0" dirty="0">
                  <a:ln>
                    <a:noFill/>
                  </a:ln>
                  <a:effectLst/>
                  <a:uLnTx/>
                  <a:uFillTx/>
                  <a:ea typeface="+mn-ea"/>
                  <a:cs typeface="+mn-cs"/>
                </a:rPr>
              </a:br>
              <a:r>
                <a:rPr lang="en-US" sz="1000" dirty="0"/>
                <a:t>tr</a:t>
              </a:r>
              <a:r>
                <a:rPr kumimoji="0" lang="en-US" sz="1000" b="0" i="0" u="none" strike="noStrike" kern="1200" cap="none" spc="0" normalizeH="0" baseline="0" noProof="0" dirty="0">
                  <a:ln>
                    <a:noFill/>
                  </a:ln>
                  <a:effectLst/>
                  <a:uLnTx/>
                  <a:uFillTx/>
                  <a:ea typeface="+mn-ea"/>
                  <a:cs typeface="+mn-cs"/>
                </a:rPr>
                <a:t>oubleshoot</a:t>
              </a:r>
            </a:p>
          </p:txBody>
        </p:sp>
        <p:grpSp>
          <p:nvGrpSpPr>
            <p:cNvPr id="380" name="Group 379">
              <a:extLst>
                <a:ext uri="{FF2B5EF4-FFF2-40B4-BE49-F238E27FC236}">
                  <a16:creationId xmlns:a16="http://schemas.microsoft.com/office/drawing/2014/main" id="{7AA9D31E-1619-4B95-A20C-2B609162F72F}"/>
                </a:ext>
              </a:extLst>
            </p:cNvPr>
            <p:cNvGrpSpPr/>
            <p:nvPr/>
          </p:nvGrpSpPr>
          <p:grpSpPr>
            <a:xfrm>
              <a:off x="713487" y="5937290"/>
              <a:ext cx="274320" cy="274320"/>
              <a:chOff x="2315447" y="4789009"/>
              <a:chExt cx="274320" cy="274320"/>
            </a:xfrm>
          </p:grpSpPr>
          <p:sp>
            <p:nvSpPr>
              <p:cNvPr id="381" name="Oval 380">
                <a:extLst>
                  <a:ext uri="{FF2B5EF4-FFF2-40B4-BE49-F238E27FC236}">
                    <a16:creationId xmlns:a16="http://schemas.microsoft.com/office/drawing/2014/main" id="{9E4ED3A7-75FD-4DD8-8283-A2B28770F7F9}"/>
                  </a:ext>
                </a:extLst>
              </p:cNvPr>
              <p:cNvSpPr/>
              <p:nvPr/>
            </p:nvSpPr>
            <p:spPr bwMode="auto">
              <a:xfrm>
                <a:off x="2315447" y="4789009"/>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382" name="globe_6" title="Icon of a monitor in front of a sphere made of lines">
                <a:extLst>
                  <a:ext uri="{FF2B5EF4-FFF2-40B4-BE49-F238E27FC236}">
                    <a16:creationId xmlns:a16="http://schemas.microsoft.com/office/drawing/2014/main" id="{2F350C4D-22B6-4354-99CA-3324E225D868}"/>
                  </a:ext>
                </a:extLst>
              </p:cNvPr>
              <p:cNvSpPr>
                <a:spLocks noChangeAspect="1" noEditPoints="1"/>
              </p:cNvSpPr>
              <p:nvPr/>
            </p:nvSpPr>
            <p:spPr bwMode="auto">
              <a:xfrm>
                <a:off x="2368645" y="4842332"/>
                <a:ext cx="183187" cy="19624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sp>
        <p:nvSpPr>
          <p:cNvPr id="373" name="Freeform: Shape 372">
            <a:extLst>
              <a:ext uri="{FF2B5EF4-FFF2-40B4-BE49-F238E27FC236}">
                <a16:creationId xmlns:a16="http://schemas.microsoft.com/office/drawing/2014/main" id="{01197459-4B95-48E8-A1CB-D8BF0A0818E8}"/>
              </a:ext>
            </a:extLst>
          </p:cNvPr>
          <p:cNvSpPr/>
          <p:nvPr/>
        </p:nvSpPr>
        <p:spPr bwMode="auto">
          <a:xfrm>
            <a:off x="711512" y="3510053"/>
            <a:ext cx="698672" cy="709323"/>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487" name="Graphic 486">
            <a:extLst>
              <a:ext uri="{FF2B5EF4-FFF2-40B4-BE49-F238E27FC236}">
                <a16:creationId xmlns:a16="http://schemas.microsoft.com/office/drawing/2014/main" id="{221F462C-639D-4EE1-B4B1-57958CC46FA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38647" y="4650079"/>
            <a:ext cx="1475840" cy="1312114"/>
          </a:xfrm>
          <a:prstGeom prst="rect">
            <a:avLst/>
          </a:prstGeom>
        </p:spPr>
      </p:pic>
      <p:sp>
        <p:nvSpPr>
          <p:cNvPr id="406" name="Rectangle 405">
            <a:extLst>
              <a:ext uri="{FF2B5EF4-FFF2-40B4-BE49-F238E27FC236}">
                <a16:creationId xmlns:a16="http://schemas.microsoft.com/office/drawing/2014/main" id="{06DC0B15-A705-415F-AA41-58BFA7B3C62D}"/>
              </a:ext>
            </a:extLst>
          </p:cNvPr>
          <p:cNvSpPr/>
          <p:nvPr/>
        </p:nvSpPr>
        <p:spPr>
          <a:xfrm>
            <a:off x="585216" y="6397616"/>
            <a:ext cx="11018521" cy="192693"/>
          </a:xfrm>
          <a:prstGeom prst="rect">
            <a:avLst/>
          </a:prstGeom>
        </p:spPr>
        <p:txBody>
          <a:bodyPr wrap="square" lIns="0" tIns="0" rIns="0" bIns="0" anchor="t">
            <a:noAutofit/>
          </a:bodyPr>
          <a:lstStyle/>
          <a:p>
            <a:pPr fontAlgn="base"/>
            <a:r>
              <a:rPr lang="en-US" sz="1000" dirty="0"/>
              <a:t>Note: with WVD on Azure AD, admin can set up Conditional Access (CA) controls once and then easily expand that CA to other applications</a:t>
            </a:r>
          </a:p>
        </p:txBody>
      </p:sp>
      <p:grpSp>
        <p:nvGrpSpPr>
          <p:cNvPr id="284" name="Group 283">
            <a:extLst>
              <a:ext uri="{FF2B5EF4-FFF2-40B4-BE49-F238E27FC236}">
                <a16:creationId xmlns:a16="http://schemas.microsoft.com/office/drawing/2014/main" id="{1405A43C-5265-4912-B378-E53FE560A860}"/>
              </a:ext>
            </a:extLst>
          </p:cNvPr>
          <p:cNvGrpSpPr/>
          <p:nvPr/>
        </p:nvGrpSpPr>
        <p:grpSpPr>
          <a:xfrm>
            <a:off x="10052458" y="146014"/>
            <a:ext cx="2033626" cy="1015650"/>
            <a:chOff x="10052458" y="146014"/>
            <a:chExt cx="2033626" cy="1015650"/>
          </a:xfrm>
        </p:grpSpPr>
        <p:pic>
          <p:nvPicPr>
            <p:cNvPr id="285" name="Picture 284">
              <a:extLst>
                <a:ext uri="{FF2B5EF4-FFF2-40B4-BE49-F238E27FC236}">
                  <a16:creationId xmlns:a16="http://schemas.microsoft.com/office/drawing/2014/main" id="{0136F6F1-AFF8-4AD2-86FE-F95956CB54FD}"/>
                </a:ext>
              </a:extLst>
            </p:cNvPr>
            <p:cNvPicPr>
              <a:picLocks noChangeAspect="1"/>
            </p:cNvPicPr>
            <p:nvPr/>
          </p:nvPicPr>
          <p:blipFill>
            <a:blip r:embed="rId11"/>
            <a:stretch>
              <a:fillRect/>
            </a:stretch>
          </p:blipFill>
          <p:spPr>
            <a:xfrm>
              <a:off x="10052458" y="146014"/>
              <a:ext cx="2033626" cy="1015650"/>
            </a:xfrm>
            <a:prstGeom prst="rect">
              <a:avLst/>
            </a:prstGeom>
          </p:spPr>
        </p:pic>
        <p:sp>
          <p:nvSpPr>
            <p:cNvPr id="286" name="Rectangle 285">
              <a:extLst>
                <a:ext uri="{FF2B5EF4-FFF2-40B4-BE49-F238E27FC236}">
                  <a16:creationId xmlns:a16="http://schemas.microsoft.com/office/drawing/2014/main" id="{7EFEF21C-ED2A-4A4D-9395-D1B0C75B5C9D}"/>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Enhanced Security</a:t>
              </a:r>
            </a:p>
          </p:txBody>
        </p:sp>
      </p:grpSp>
    </p:spTree>
    <p:extLst>
      <p:ext uri="{BB962C8B-B14F-4D97-AF65-F5344CB8AC3E}">
        <p14:creationId xmlns:p14="http://schemas.microsoft.com/office/powerpoint/2010/main" val="37750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4" name="Object 243" hidden="1">
            <a:extLst>
              <a:ext uri="{FF2B5EF4-FFF2-40B4-BE49-F238E27FC236}">
                <a16:creationId xmlns:a16="http://schemas.microsoft.com/office/drawing/2014/main" id="{1F1E3CD7-6958-4202-A8FD-BBAF422116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6" imgW="503" imgH="503" progId="TCLayout.ActiveDocument.1">
                  <p:embed/>
                </p:oleObj>
              </mc:Choice>
              <mc:Fallback>
                <p:oleObj name="think-cell Slide" r:id="rId6" imgW="503" imgH="503" progId="TCLayout.ActiveDocument.1">
                  <p:embed/>
                  <p:pic>
                    <p:nvPicPr>
                      <p:cNvPr id="244" name="Object 243" hidden="1">
                        <a:extLst>
                          <a:ext uri="{FF2B5EF4-FFF2-40B4-BE49-F238E27FC236}">
                            <a16:creationId xmlns:a16="http://schemas.microsoft.com/office/drawing/2014/main" id="{1F1E3CD7-6958-4202-A8FD-BBAF422116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9A9B29-77DE-4B00-B85D-4745534BFADE}"/>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Virtualization can address a broad range of business needs</a:t>
            </a:r>
          </a:p>
        </p:txBody>
      </p:sp>
      <p:sp>
        <p:nvSpPr>
          <p:cNvPr id="8" name="Rectangle 7">
            <a:extLst>
              <a:ext uri="{FF2B5EF4-FFF2-40B4-BE49-F238E27FC236}">
                <a16:creationId xmlns:a16="http://schemas.microsoft.com/office/drawing/2014/main" id="{CB967CA9-B85A-4B4B-AAD4-DE42784AED58}"/>
              </a:ext>
            </a:extLst>
          </p:cNvPr>
          <p:cNvSpPr/>
          <p:nvPr/>
        </p:nvSpPr>
        <p:spPr>
          <a:xfrm>
            <a:off x="584200" y="3003543"/>
            <a:ext cx="2539997" cy="553998"/>
          </a:xfrm>
          <a:prstGeom prst="rect">
            <a:avLst/>
          </a:prstGeom>
        </p:spPr>
        <p:txBody>
          <a:bodyPr wrap="square" lIns="0" tIns="0" rIns="0" bIns="0" anchor="t" anchorCtr="0">
            <a:noAutofit/>
          </a:bodyPr>
          <a:lstStyle/>
          <a:p>
            <a:pPr algn="ctr" defTabSz="913874">
              <a:defRPr/>
            </a:pPr>
            <a:r>
              <a:rPr lang="en-US" dirty="0">
                <a:solidFill>
                  <a:schemeClr val="tx2"/>
                </a:solidFill>
                <a:latin typeface="+mj-lt"/>
                <a:cs typeface="Segoe UI Semilight" panose="020B0402040204020203" pitchFamily="34" charset="0"/>
              </a:rPr>
              <a:t>Security</a:t>
            </a:r>
            <a:br>
              <a:rPr lang="en-US" dirty="0">
                <a:solidFill>
                  <a:schemeClr val="tx2"/>
                </a:solidFill>
                <a:latin typeface="+mj-lt"/>
                <a:cs typeface="Segoe UI Semilight" panose="020B0402040204020203" pitchFamily="34" charset="0"/>
              </a:rPr>
            </a:br>
            <a:r>
              <a:rPr lang="en-US" dirty="0">
                <a:solidFill>
                  <a:schemeClr val="tx2"/>
                </a:solidFill>
                <a:latin typeface="+mj-lt"/>
                <a:cs typeface="Segoe UI Semilight" panose="020B0402040204020203" pitchFamily="34" charset="0"/>
              </a:rPr>
              <a:t>and regulation</a:t>
            </a:r>
          </a:p>
        </p:txBody>
      </p:sp>
      <p:sp>
        <p:nvSpPr>
          <p:cNvPr id="12" name="Rectangle 11">
            <a:extLst>
              <a:ext uri="{FF2B5EF4-FFF2-40B4-BE49-F238E27FC236}">
                <a16:creationId xmlns:a16="http://schemas.microsoft.com/office/drawing/2014/main" id="{1E1D57CA-D83D-44EF-A6CD-6E77A553F0C0}"/>
              </a:ext>
            </a:extLst>
          </p:cNvPr>
          <p:cNvSpPr/>
          <p:nvPr/>
        </p:nvSpPr>
        <p:spPr>
          <a:xfrm>
            <a:off x="584200" y="3638355"/>
            <a:ext cx="2539997" cy="1260217"/>
          </a:xfrm>
          <a:prstGeom prst="rect">
            <a:avLst/>
          </a:prstGeom>
        </p:spPr>
        <p:txBody>
          <a:bodyPr wrap="square" lIns="0" tIns="0" rIns="0" bIns="0" anchor="t" anchorCtr="0">
            <a:noAutofit/>
          </a:bodyPr>
          <a:lstStyle/>
          <a:p>
            <a:pPr algn="ctr" defTabSz="913874">
              <a:spcBef>
                <a:spcPts val="1200"/>
              </a:spcBef>
            </a:pPr>
            <a:r>
              <a:rPr lang="en-US" sz="1600" dirty="0">
                <a:cs typeface="Segoe UI Semilight" panose="020B0402040204020203" pitchFamily="34" charset="0"/>
              </a:rPr>
              <a:t>Financial Services</a:t>
            </a:r>
          </a:p>
          <a:p>
            <a:pPr algn="ctr" defTabSz="913874">
              <a:spcBef>
                <a:spcPts val="1200"/>
              </a:spcBef>
            </a:pPr>
            <a:r>
              <a:rPr lang="en-US" sz="1600" dirty="0">
                <a:cs typeface="Segoe UI Semilight" panose="020B0402040204020203" pitchFamily="34" charset="0"/>
              </a:rPr>
              <a:t>Healthcare</a:t>
            </a:r>
          </a:p>
          <a:p>
            <a:pPr algn="ctr" defTabSz="913874">
              <a:spcBef>
                <a:spcPts val="1200"/>
              </a:spcBef>
            </a:pPr>
            <a:r>
              <a:rPr lang="en-US" sz="1600" dirty="0">
                <a:cs typeface="Segoe UI Semilight" panose="020B0402040204020203" pitchFamily="34" charset="0"/>
              </a:rPr>
              <a:t>Government</a:t>
            </a:r>
          </a:p>
        </p:txBody>
      </p:sp>
      <p:sp>
        <p:nvSpPr>
          <p:cNvPr id="9" name="Rectangle 8">
            <a:extLst>
              <a:ext uri="{FF2B5EF4-FFF2-40B4-BE49-F238E27FC236}">
                <a16:creationId xmlns:a16="http://schemas.microsoft.com/office/drawing/2014/main" id="{4E0F3D17-5F93-4F6F-891E-BD5C799CAA0B}"/>
              </a:ext>
            </a:extLst>
          </p:cNvPr>
          <p:cNvSpPr/>
          <p:nvPr/>
        </p:nvSpPr>
        <p:spPr>
          <a:xfrm>
            <a:off x="4848802" y="3003543"/>
            <a:ext cx="2494396" cy="553998"/>
          </a:xfrm>
          <a:prstGeom prst="rect">
            <a:avLst/>
          </a:prstGeom>
        </p:spPr>
        <p:txBody>
          <a:bodyPr wrap="square" lIns="0" tIns="0" rIns="0" bIns="0" anchor="t" anchorCtr="0">
            <a:noAutofit/>
          </a:bodyPr>
          <a:lstStyle/>
          <a:p>
            <a:pPr algn="ctr" defTabSz="913874"/>
            <a:r>
              <a:rPr lang="en-US" dirty="0">
                <a:solidFill>
                  <a:schemeClr val="tx2"/>
                </a:solidFill>
                <a:latin typeface="+mj-lt"/>
                <a:cs typeface="Segoe UI Semilight" panose="020B0402040204020203" pitchFamily="34" charset="0"/>
              </a:rPr>
              <a:t>Flexible</a:t>
            </a:r>
            <a:br>
              <a:rPr lang="en-US" dirty="0">
                <a:solidFill>
                  <a:schemeClr val="tx2"/>
                </a:solidFill>
                <a:latin typeface="+mj-lt"/>
                <a:cs typeface="Segoe UI Semilight" panose="020B0402040204020203" pitchFamily="34" charset="0"/>
              </a:rPr>
            </a:br>
            <a:r>
              <a:rPr lang="en-US" dirty="0">
                <a:solidFill>
                  <a:schemeClr val="tx2"/>
                </a:solidFill>
                <a:latin typeface="+mj-lt"/>
                <a:cs typeface="Segoe UI Semilight" panose="020B0402040204020203" pitchFamily="34" charset="0"/>
              </a:rPr>
              <a:t>workforce</a:t>
            </a:r>
          </a:p>
        </p:txBody>
      </p:sp>
      <p:sp>
        <p:nvSpPr>
          <p:cNvPr id="13" name="Rectangle 12">
            <a:extLst>
              <a:ext uri="{FF2B5EF4-FFF2-40B4-BE49-F238E27FC236}">
                <a16:creationId xmlns:a16="http://schemas.microsoft.com/office/drawing/2014/main" id="{A5827A4D-E002-4428-95DD-069B5BE3AB4E}"/>
              </a:ext>
            </a:extLst>
          </p:cNvPr>
          <p:cNvSpPr/>
          <p:nvPr/>
        </p:nvSpPr>
        <p:spPr>
          <a:xfrm>
            <a:off x="3479797" y="3638355"/>
            <a:ext cx="2527305" cy="1260217"/>
          </a:xfrm>
          <a:prstGeom prst="rect">
            <a:avLst/>
          </a:prstGeom>
        </p:spPr>
        <p:txBody>
          <a:bodyPr wrap="square" lIns="0" tIns="0" rIns="0" bIns="0" anchor="t" anchorCtr="0">
            <a:noAutofit/>
          </a:bodyPr>
          <a:lstStyle/>
          <a:p>
            <a:pPr algn="ctr" defTabSz="913874">
              <a:spcBef>
                <a:spcPts val="1200"/>
              </a:spcBef>
            </a:pPr>
            <a:r>
              <a:rPr lang="en-US" sz="1600" dirty="0">
                <a:cs typeface="Segoe UI Semilight" panose="020B0402040204020203" pitchFamily="34" charset="0"/>
              </a:rPr>
              <a:t>Mergers and acquisition</a:t>
            </a:r>
          </a:p>
          <a:p>
            <a:pPr algn="ctr" defTabSz="913874">
              <a:spcBef>
                <a:spcPts val="1200"/>
              </a:spcBef>
            </a:pPr>
            <a:r>
              <a:rPr lang="en-US" sz="1600" dirty="0">
                <a:cs typeface="Segoe UI Semilight" panose="020B0402040204020203" pitchFamily="34" charset="0"/>
              </a:rPr>
              <a:t>Short term employees</a:t>
            </a:r>
          </a:p>
          <a:p>
            <a:pPr algn="ctr" defTabSz="913874">
              <a:spcBef>
                <a:spcPts val="1200"/>
              </a:spcBef>
            </a:pPr>
            <a:r>
              <a:rPr lang="en-US" sz="1600" dirty="0">
                <a:cs typeface="Segoe UI Semilight" panose="020B0402040204020203" pitchFamily="34" charset="0"/>
              </a:rPr>
              <a:t>Contractor and partner access</a:t>
            </a:r>
          </a:p>
        </p:txBody>
      </p:sp>
      <p:sp>
        <p:nvSpPr>
          <p:cNvPr id="14" name="Rectangle 13">
            <a:extLst>
              <a:ext uri="{FF2B5EF4-FFF2-40B4-BE49-F238E27FC236}">
                <a16:creationId xmlns:a16="http://schemas.microsoft.com/office/drawing/2014/main" id="{0C69830E-D3E0-4CAA-B290-903EC0794FC5}"/>
              </a:ext>
            </a:extLst>
          </p:cNvPr>
          <p:cNvSpPr/>
          <p:nvPr/>
        </p:nvSpPr>
        <p:spPr>
          <a:xfrm>
            <a:off x="6184902" y="3638355"/>
            <a:ext cx="2539999" cy="1260217"/>
          </a:xfrm>
          <a:prstGeom prst="rect">
            <a:avLst/>
          </a:prstGeom>
        </p:spPr>
        <p:txBody>
          <a:bodyPr wrap="square" lIns="0" tIns="0" rIns="0" bIns="0" anchor="t" anchorCtr="0">
            <a:noAutofit/>
          </a:bodyPr>
          <a:lstStyle/>
          <a:p>
            <a:pPr algn="ctr" defTabSz="913874">
              <a:spcBef>
                <a:spcPts val="1200"/>
              </a:spcBef>
            </a:pPr>
            <a:r>
              <a:rPr lang="en-US" sz="1600" dirty="0">
                <a:cs typeface="Segoe UI Semilight" panose="020B0402040204020203" pitchFamily="34" charset="0"/>
              </a:rPr>
              <a:t>BYOD and mobile</a:t>
            </a:r>
          </a:p>
          <a:p>
            <a:pPr algn="ctr" defTabSz="913874">
              <a:spcBef>
                <a:spcPts val="1200"/>
              </a:spcBef>
            </a:pPr>
            <a:r>
              <a:rPr lang="en-US" sz="1600" dirty="0">
                <a:cs typeface="Segoe UI Semilight" panose="020B0402040204020203" pitchFamily="34" charset="0"/>
              </a:rPr>
              <a:t>Call centers</a:t>
            </a:r>
          </a:p>
          <a:p>
            <a:pPr algn="ctr" defTabSz="913874">
              <a:spcBef>
                <a:spcPts val="1200"/>
              </a:spcBef>
            </a:pPr>
            <a:r>
              <a:rPr lang="en-US" sz="1600" dirty="0">
                <a:cs typeface="Segoe UI Semilight" panose="020B0402040204020203" pitchFamily="34" charset="0"/>
              </a:rPr>
              <a:t>Branch workers</a:t>
            </a:r>
          </a:p>
        </p:txBody>
      </p:sp>
      <p:sp>
        <p:nvSpPr>
          <p:cNvPr id="11" name="Rectangle 10">
            <a:extLst>
              <a:ext uri="{FF2B5EF4-FFF2-40B4-BE49-F238E27FC236}">
                <a16:creationId xmlns:a16="http://schemas.microsoft.com/office/drawing/2014/main" id="{761A819A-AEB6-4EFB-9B9F-0F32E980CA06}"/>
              </a:ext>
            </a:extLst>
          </p:cNvPr>
          <p:cNvSpPr/>
          <p:nvPr/>
        </p:nvSpPr>
        <p:spPr>
          <a:xfrm>
            <a:off x="9080501" y="3003543"/>
            <a:ext cx="2540000" cy="553998"/>
          </a:xfrm>
          <a:prstGeom prst="rect">
            <a:avLst/>
          </a:prstGeom>
        </p:spPr>
        <p:txBody>
          <a:bodyPr wrap="square" lIns="0" tIns="0" rIns="0" bIns="0" anchor="t" anchorCtr="0">
            <a:noAutofit/>
          </a:bodyPr>
          <a:lstStyle/>
          <a:p>
            <a:pPr algn="ctr" defTabSz="913874"/>
            <a:r>
              <a:rPr lang="en-US" dirty="0">
                <a:solidFill>
                  <a:schemeClr val="tx2"/>
                </a:solidFill>
                <a:latin typeface="+mj-lt"/>
                <a:cs typeface="Segoe UI Semilight" panose="020B0402040204020203" pitchFamily="34" charset="0"/>
              </a:rPr>
              <a:t>Specialized</a:t>
            </a:r>
            <a:br>
              <a:rPr lang="en-US" dirty="0">
                <a:solidFill>
                  <a:schemeClr val="tx2"/>
                </a:solidFill>
                <a:latin typeface="+mj-lt"/>
                <a:cs typeface="Segoe UI Semilight" panose="020B0402040204020203" pitchFamily="34" charset="0"/>
              </a:rPr>
            </a:br>
            <a:r>
              <a:rPr lang="en-US" dirty="0">
                <a:solidFill>
                  <a:schemeClr val="tx2"/>
                </a:solidFill>
                <a:latin typeface="+mj-lt"/>
                <a:cs typeface="Segoe UI Semilight" panose="020B0402040204020203" pitchFamily="34" charset="0"/>
              </a:rPr>
              <a:t>workloads</a:t>
            </a:r>
          </a:p>
        </p:txBody>
      </p:sp>
      <p:sp>
        <p:nvSpPr>
          <p:cNvPr id="15" name="Rectangle 14">
            <a:extLst>
              <a:ext uri="{FF2B5EF4-FFF2-40B4-BE49-F238E27FC236}">
                <a16:creationId xmlns:a16="http://schemas.microsoft.com/office/drawing/2014/main" id="{B83C98E1-40D0-4EB9-986F-605172A81775}"/>
              </a:ext>
            </a:extLst>
          </p:cNvPr>
          <p:cNvSpPr/>
          <p:nvPr/>
        </p:nvSpPr>
        <p:spPr>
          <a:xfrm>
            <a:off x="9080501" y="3638355"/>
            <a:ext cx="2540000" cy="1260217"/>
          </a:xfrm>
          <a:prstGeom prst="rect">
            <a:avLst/>
          </a:prstGeom>
        </p:spPr>
        <p:txBody>
          <a:bodyPr wrap="square" lIns="0" tIns="0" rIns="0" bIns="0" anchor="t" anchorCtr="0">
            <a:noAutofit/>
          </a:bodyPr>
          <a:lstStyle/>
          <a:p>
            <a:pPr algn="ctr" defTabSz="913874">
              <a:spcBef>
                <a:spcPts val="1200"/>
              </a:spcBef>
              <a:defRPr/>
            </a:pPr>
            <a:r>
              <a:rPr lang="en-US" sz="1600" dirty="0">
                <a:cs typeface="Segoe UI Semilight" panose="020B0402040204020203" pitchFamily="34" charset="0"/>
              </a:rPr>
              <a:t>Design and engineering</a:t>
            </a:r>
          </a:p>
          <a:p>
            <a:pPr algn="ctr" defTabSz="913874">
              <a:spcBef>
                <a:spcPts val="1200"/>
              </a:spcBef>
              <a:defRPr/>
            </a:pPr>
            <a:r>
              <a:rPr lang="en-US" sz="1600" dirty="0">
                <a:cs typeface="Segoe UI Semilight" panose="020B0402040204020203" pitchFamily="34" charset="0"/>
              </a:rPr>
              <a:t>Legacy apps</a:t>
            </a:r>
          </a:p>
          <a:p>
            <a:pPr algn="ctr" defTabSz="913874">
              <a:spcBef>
                <a:spcPts val="1200"/>
              </a:spcBef>
              <a:defRPr/>
            </a:pPr>
            <a:r>
              <a:rPr lang="en-US" sz="1600" dirty="0">
                <a:cs typeface="Segoe UI Semilight" panose="020B0402040204020203" pitchFamily="34" charset="0"/>
              </a:rPr>
              <a:t>Software dev test</a:t>
            </a:r>
          </a:p>
        </p:txBody>
      </p:sp>
      <p:sp>
        <p:nvSpPr>
          <p:cNvPr id="4" name="Rectangle 3">
            <a:extLst>
              <a:ext uri="{FF2B5EF4-FFF2-40B4-BE49-F238E27FC236}">
                <a16:creationId xmlns:a16="http://schemas.microsoft.com/office/drawing/2014/main" id="{709BFDD3-0972-40B4-9201-AECED23E0385}"/>
              </a:ext>
            </a:extLst>
          </p:cNvPr>
          <p:cNvSpPr/>
          <p:nvPr/>
        </p:nvSpPr>
        <p:spPr bwMode="auto">
          <a:xfrm>
            <a:off x="0" y="1238250"/>
            <a:ext cx="12192000" cy="16877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CB2DA42A-1D34-4E60-8CD2-30B60CE81752}"/>
              </a:ext>
            </a:extLst>
          </p:cNvPr>
          <p:cNvCxnSpPr>
            <a:cxnSpLocks/>
          </p:cNvCxnSpPr>
          <p:nvPr/>
        </p:nvCxnSpPr>
        <p:spPr>
          <a:xfrm>
            <a:off x="3270251" y="1381125"/>
            <a:ext cx="0" cy="1401954"/>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2DA5B208-F42A-4386-B788-9723CEAA79F5}"/>
              </a:ext>
            </a:extLst>
          </p:cNvPr>
          <p:cNvCxnSpPr>
            <a:cxnSpLocks/>
          </p:cNvCxnSpPr>
          <p:nvPr/>
        </p:nvCxnSpPr>
        <p:spPr>
          <a:xfrm>
            <a:off x="8934451" y="1381125"/>
            <a:ext cx="0" cy="1401954"/>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5C329FD-7ECA-4ACD-BF46-A0039BC0BFE2}"/>
              </a:ext>
            </a:extLst>
          </p:cNvPr>
          <p:cNvCxnSpPr>
            <a:cxnSpLocks/>
          </p:cNvCxnSpPr>
          <p:nvPr/>
        </p:nvCxnSpPr>
        <p:spPr>
          <a:xfrm>
            <a:off x="3301997" y="3638356"/>
            <a:ext cx="0" cy="1260217"/>
          </a:xfrm>
          <a:prstGeom prst="line">
            <a:avLst/>
          </a:prstGeom>
          <a:ln>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A13BBDD7-23B4-4436-822D-1CB665DBB016}"/>
              </a:ext>
            </a:extLst>
          </p:cNvPr>
          <p:cNvCxnSpPr>
            <a:cxnSpLocks/>
          </p:cNvCxnSpPr>
          <p:nvPr/>
        </p:nvCxnSpPr>
        <p:spPr>
          <a:xfrm>
            <a:off x="8902701" y="3638356"/>
            <a:ext cx="0" cy="1260217"/>
          </a:xfrm>
          <a:prstGeom prst="line">
            <a:avLst/>
          </a:prstGeom>
          <a:ln>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71" name="Freeform: Shape 670">
            <a:extLst>
              <a:ext uri="{FF2B5EF4-FFF2-40B4-BE49-F238E27FC236}">
                <a16:creationId xmlns:a16="http://schemas.microsoft.com/office/drawing/2014/main" id="{9B0AC02D-7E94-4F22-A8AA-BAEA4889DC03}"/>
              </a:ext>
            </a:extLst>
          </p:cNvPr>
          <p:cNvSpPr/>
          <p:nvPr/>
        </p:nvSpPr>
        <p:spPr bwMode="auto">
          <a:xfrm>
            <a:off x="1239426" y="2467282"/>
            <a:ext cx="1253852" cy="458673"/>
          </a:xfrm>
          <a:custGeom>
            <a:avLst/>
            <a:gdLst>
              <a:gd name="connsiteX0" fmla="*/ 626926 w 1253852"/>
              <a:gd name="connsiteY0" fmla="*/ 0 h 458673"/>
              <a:gd name="connsiteX1" fmla="*/ 1241928 w 1253852"/>
              <a:gd name="connsiteY1" fmla="*/ 418527 h 458673"/>
              <a:gd name="connsiteX2" fmla="*/ 1253852 w 1253852"/>
              <a:gd name="connsiteY2" fmla="*/ 458673 h 458673"/>
              <a:gd name="connsiteX3" fmla="*/ 0 w 1253852"/>
              <a:gd name="connsiteY3" fmla="*/ 458673 h 458673"/>
              <a:gd name="connsiteX4" fmla="*/ 11924 w 1253852"/>
              <a:gd name="connsiteY4" fmla="*/ 418527 h 458673"/>
              <a:gd name="connsiteX5" fmla="*/ 626926 w 1253852"/>
              <a:gd name="connsiteY5" fmla="*/ 0 h 45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852" h="458673">
                <a:moveTo>
                  <a:pt x="626926" y="0"/>
                </a:moveTo>
                <a:cubicBezTo>
                  <a:pt x="906358" y="0"/>
                  <a:pt x="1145282" y="173433"/>
                  <a:pt x="1241928" y="418527"/>
                </a:cubicBezTo>
                <a:lnTo>
                  <a:pt x="1253852" y="458673"/>
                </a:lnTo>
                <a:lnTo>
                  <a:pt x="0" y="458673"/>
                </a:lnTo>
                <a:lnTo>
                  <a:pt x="11924" y="418527"/>
                </a:lnTo>
                <a:cubicBezTo>
                  <a:pt x="108570" y="173433"/>
                  <a:pt x="347494" y="0"/>
                  <a:pt x="626926" y="0"/>
                </a:cubicBezTo>
                <a:close/>
              </a:path>
            </a:pathLst>
          </a:custGeom>
          <a:solidFill>
            <a:srgbClr val="0078D7">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353535"/>
              </a:solidFill>
              <a:effectLst/>
              <a:uLnTx/>
              <a:uFillTx/>
              <a:latin typeface="Segoe UI Light"/>
              <a:ea typeface="Segoe UI" pitchFamily="34" charset="0"/>
              <a:cs typeface="Segoe UI" pitchFamily="34" charset="0"/>
            </a:endParaRPr>
          </a:p>
        </p:txBody>
      </p:sp>
      <p:sp>
        <p:nvSpPr>
          <p:cNvPr id="541" name="Freeform 131">
            <a:extLst>
              <a:ext uri="{FF2B5EF4-FFF2-40B4-BE49-F238E27FC236}">
                <a16:creationId xmlns:a16="http://schemas.microsoft.com/office/drawing/2014/main" id="{9785ACBE-AD89-496B-A77A-A6D7CA38C8AB}"/>
              </a:ext>
            </a:extLst>
          </p:cNvPr>
          <p:cNvSpPr>
            <a:spLocks/>
          </p:cNvSpPr>
          <p:nvPr/>
        </p:nvSpPr>
        <p:spPr bwMode="auto">
          <a:xfrm>
            <a:off x="1612186" y="2560380"/>
            <a:ext cx="480222" cy="140939"/>
          </a:xfrm>
          <a:custGeom>
            <a:avLst/>
            <a:gdLst>
              <a:gd name="T0" fmla="*/ 0 w 1213"/>
              <a:gd name="T1" fmla="*/ 0 h 356"/>
              <a:gd name="T2" fmla="*/ 1213 w 1213"/>
              <a:gd name="T3" fmla="*/ 0 h 356"/>
              <a:gd name="T4" fmla="*/ 1213 w 1213"/>
              <a:gd name="T5" fmla="*/ 356 h 356"/>
              <a:gd name="T6" fmla="*/ 0 w 1213"/>
              <a:gd name="T7" fmla="*/ 356 h 356"/>
              <a:gd name="T8" fmla="*/ 0 w 1213"/>
              <a:gd name="T9" fmla="*/ 0 h 356"/>
              <a:gd name="T10" fmla="*/ 0 w 1213"/>
              <a:gd name="T11" fmla="*/ 0 h 356"/>
            </a:gdLst>
            <a:ahLst/>
            <a:cxnLst>
              <a:cxn ang="0">
                <a:pos x="T0" y="T1"/>
              </a:cxn>
              <a:cxn ang="0">
                <a:pos x="T2" y="T3"/>
              </a:cxn>
              <a:cxn ang="0">
                <a:pos x="T4" y="T5"/>
              </a:cxn>
              <a:cxn ang="0">
                <a:pos x="T6" y="T7"/>
              </a:cxn>
              <a:cxn ang="0">
                <a:pos x="T8" y="T9"/>
              </a:cxn>
              <a:cxn ang="0">
                <a:pos x="T10" y="T11"/>
              </a:cxn>
            </a:cxnLst>
            <a:rect l="0" t="0" r="r" b="b"/>
            <a:pathLst>
              <a:path w="1213" h="356">
                <a:moveTo>
                  <a:pt x="0" y="0"/>
                </a:moveTo>
                <a:lnTo>
                  <a:pt x="1213" y="0"/>
                </a:lnTo>
                <a:lnTo>
                  <a:pt x="1213" y="356"/>
                </a:lnTo>
                <a:lnTo>
                  <a:pt x="0" y="356"/>
                </a:lnTo>
                <a:lnTo>
                  <a:pt x="0"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42" name="Freeform 132">
            <a:extLst>
              <a:ext uri="{FF2B5EF4-FFF2-40B4-BE49-F238E27FC236}">
                <a16:creationId xmlns:a16="http://schemas.microsoft.com/office/drawing/2014/main" id="{F25BD76B-ABD9-44D2-AF9C-448D123A219B}"/>
              </a:ext>
            </a:extLst>
          </p:cNvPr>
          <p:cNvSpPr>
            <a:spLocks/>
          </p:cNvSpPr>
          <p:nvPr/>
        </p:nvSpPr>
        <p:spPr bwMode="auto">
          <a:xfrm>
            <a:off x="1630793" y="2575424"/>
            <a:ext cx="22566" cy="1860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43" name="Freeform 133">
            <a:extLst>
              <a:ext uri="{FF2B5EF4-FFF2-40B4-BE49-F238E27FC236}">
                <a16:creationId xmlns:a16="http://schemas.microsoft.com/office/drawing/2014/main" id="{B27359E4-688C-408D-8616-45C9A300E56C}"/>
              </a:ext>
            </a:extLst>
          </p:cNvPr>
          <p:cNvSpPr>
            <a:spLocks/>
          </p:cNvSpPr>
          <p:nvPr/>
        </p:nvSpPr>
        <p:spPr bwMode="auto">
          <a:xfrm>
            <a:off x="1664444"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44" name="Freeform 134">
            <a:extLst>
              <a:ext uri="{FF2B5EF4-FFF2-40B4-BE49-F238E27FC236}">
                <a16:creationId xmlns:a16="http://schemas.microsoft.com/office/drawing/2014/main" id="{EC6D2AC9-F97E-44C4-BF4B-DD2F4738E0EE}"/>
              </a:ext>
            </a:extLst>
          </p:cNvPr>
          <p:cNvSpPr>
            <a:spLocks/>
          </p:cNvSpPr>
          <p:nvPr/>
        </p:nvSpPr>
        <p:spPr bwMode="auto">
          <a:xfrm>
            <a:off x="1694137"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45" name="Freeform 135">
            <a:extLst>
              <a:ext uri="{FF2B5EF4-FFF2-40B4-BE49-F238E27FC236}">
                <a16:creationId xmlns:a16="http://schemas.microsoft.com/office/drawing/2014/main" id="{EA01146C-DF9A-4B2B-B3C9-C5D1FD7AC465}"/>
              </a:ext>
            </a:extLst>
          </p:cNvPr>
          <p:cNvSpPr>
            <a:spLocks/>
          </p:cNvSpPr>
          <p:nvPr/>
        </p:nvSpPr>
        <p:spPr bwMode="auto">
          <a:xfrm>
            <a:off x="1723829"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46" name="Freeform 136">
            <a:extLst>
              <a:ext uri="{FF2B5EF4-FFF2-40B4-BE49-F238E27FC236}">
                <a16:creationId xmlns:a16="http://schemas.microsoft.com/office/drawing/2014/main" id="{078B0049-35D4-4AB5-9051-807C65D3A0BA}"/>
              </a:ext>
            </a:extLst>
          </p:cNvPr>
          <p:cNvSpPr>
            <a:spLocks/>
          </p:cNvSpPr>
          <p:nvPr/>
        </p:nvSpPr>
        <p:spPr bwMode="auto">
          <a:xfrm>
            <a:off x="1753521"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47" name="Freeform 137">
            <a:extLst>
              <a:ext uri="{FF2B5EF4-FFF2-40B4-BE49-F238E27FC236}">
                <a16:creationId xmlns:a16="http://schemas.microsoft.com/office/drawing/2014/main" id="{CB43B61D-1287-4CB1-9BA0-E5FC0344B3CD}"/>
              </a:ext>
            </a:extLst>
          </p:cNvPr>
          <p:cNvSpPr>
            <a:spLocks/>
          </p:cNvSpPr>
          <p:nvPr/>
        </p:nvSpPr>
        <p:spPr bwMode="auto">
          <a:xfrm>
            <a:off x="1783213"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48" name="Freeform 138">
            <a:extLst>
              <a:ext uri="{FF2B5EF4-FFF2-40B4-BE49-F238E27FC236}">
                <a16:creationId xmlns:a16="http://schemas.microsoft.com/office/drawing/2014/main" id="{30FB44B4-F33D-4991-8502-5FEBC885387E}"/>
              </a:ext>
            </a:extLst>
          </p:cNvPr>
          <p:cNvSpPr>
            <a:spLocks/>
          </p:cNvSpPr>
          <p:nvPr/>
        </p:nvSpPr>
        <p:spPr bwMode="auto">
          <a:xfrm>
            <a:off x="1813301"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49" name="Freeform 139">
            <a:extLst>
              <a:ext uri="{FF2B5EF4-FFF2-40B4-BE49-F238E27FC236}">
                <a16:creationId xmlns:a16="http://schemas.microsoft.com/office/drawing/2014/main" id="{ED9FE7F9-F7D2-4393-896B-EF8E58E45224}"/>
              </a:ext>
            </a:extLst>
          </p:cNvPr>
          <p:cNvSpPr>
            <a:spLocks/>
          </p:cNvSpPr>
          <p:nvPr/>
        </p:nvSpPr>
        <p:spPr bwMode="auto">
          <a:xfrm>
            <a:off x="1842993" y="2575424"/>
            <a:ext cx="19003" cy="18607"/>
          </a:xfrm>
          <a:custGeom>
            <a:avLst/>
            <a:gdLst>
              <a:gd name="T0" fmla="*/ 0 w 48"/>
              <a:gd name="T1" fmla="*/ 0 h 47"/>
              <a:gd name="T2" fmla="*/ 48 w 48"/>
              <a:gd name="T3" fmla="*/ 0 h 47"/>
              <a:gd name="T4" fmla="*/ 48 w 48"/>
              <a:gd name="T5" fmla="*/ 47 h 47"/>
              <a:gd name="T6" fmla="*/ 0 w 48"/>
              <a:gd name="T7" fmla="*/ 47 h 47"/>
              <a:gd name="T8" fmla="*/ 0 w 48"/>
              <a:gd name="T9" fmla="*/ 0 h 47"/>
              <a:gd name="T10" fmla="*/ 0 w 48"/>
              <a:gd name="T11" fmla="*/ 0 h 47"/>
            </a:gdLst>
            <a:ahLst/>
            <a:cxnLst>
              <a:cxn ang="0">
                <a:pos x="T0" y="T1"/>
              </a:cxn>
              <a:cxn ang="0">
                <a:pos x="T2" y="T3"/>
              </a:cxn>
              <a:cxn ang="0">
                <a:pos x="T4" y="T5"/>
              </a:cxn>
              <a:cxn ang="0">
                <a:pos x="T6" y="T7"/>
              </a:cxn>
              <a:cxn ang="0">
                <a:pos x="T8" y="T9"/>
              </a:cxn>
              <a:cxn ang="0">
                <a:pos x="T10" y="T11"/>
              </a:cxn>
            </a:cxnLst>
            <a:rect l="0" t="0" r="r" b="b"/>
            <a:pathLst>
              <a:path w="48" h="47">
                <a:moveTo>
                  <a:pt x="0" y="0"/>
                </a:moveTo>
                <a:lnTo>
                  <a:pt x="48" y="0"/>
                </a:lnTo>
                <a:lnTo>
                  <a:pt x="48"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50" name="Freeform 140">
            <a:extLst>
              <a:ext uri="{FF2B5EF4-FFF2-40B4-BE49-F238E27FC236}">
                <a16:creationId xmlns:a16="http://schemas.microsoft.com/office/drawing/2014/main" id="{90B1A842-ED2C-4C4E-9762-CE11E1914A40}"/>
              </a:ext>
            </a:extLst>
          </p:cNvPr>
          <p:cNvSpPr>
            <a:spLocks/>
          </p:cNvSpPr>
          <p:nvPr/>
        </p:nvSpPr>
        <p:spPr bwMode="auto">
          <a:xfrm>
            <a:off x="1873081"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51" name="Freeform 141">
            <a:extLst>
              <a:ext uri="{FF2B5EF4-FFF2-40B4-BE49-F238E27FC236}">
                <a16:creationId xmlns:a16="http://schemas.microsoft.com/office/drawing/2014/main" id="{DC9E5C1E-A44A-4C18-B4DB-A31B5AFEEA14}"/>
              </a:ext>
            </a:extLst>
          </p:cNvPr>
          <p:cNvSpPr>
            <a:spLocks/>
          </p:cNvSpPr>
          <p:nvPr/>
        </p:nvSpPr>
        <p:spPr bwMode="auto">
          <a:xfrm>
            <a:off x="1902774"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52" name="Freeform 142">
            <a:extLst>
              <a:ext uri="{FF2B5EF4-FFF2-40B4-BE49-F238E27FC236}">
                <a16:creationId xmlns:a16="http://schemas.microsoft.com/office/drawing/2014/main" id="{29F5CBE9-D261-4110-88D6-988FF0D9E6EF}"/>
              </a:ext>
            </a:extLst>
          </p:cNvPr>
          <p:cNvSpPr>
            <a:spLocks/>
          </p:cNvSpPr>
          <p:nvPr/>
        </p:nvSpPr>
        <p:spPr bwMode="auto">
          <a:xfrm>
            <a:off x="1932466" y="2575424"/>
            <a:ext cx="22566" cy="1860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53" name="Freeform 143">
            <a:extLst>
              <a:ext uri="{FF2B5EF4-FFF2-40B4-BE49-F238E27FC236}">
                <a16:creationId xmlns:a16="http://schemas.microsoft.com/office/drawing/2014/main" id="{14E78921-68AD-4004-A36C-EE8A0854AD67}"/>
              </a:ext>
            </a:extLst>
          </p:cNvPr>
          <p:cNvSpPr>
            <a:spLocks/>
          </p:cNvSpPr>
          <p:nvPr/>
        </p:nvSpPr>
        <p:spPr bwMode="auto">
          <a:xfrm>
            <a:off x="1966117"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54" name="Freeform 144">
            <a:extLst>
              <a:ext uri="{FF2B5EF4-FFF2-40B4-BE49-F238E27FC236}">
                <a16:creationId xmlns:a16="http://schemas.microsoft.com/office/drawing/2014/main" id="{A31EFF31-14C6-41F7-A943-4C319DF4F2F7}"/>
              </a:ext>
            </a:extLst>
          </p:cNvPr>
          <p:cNvSpPr>
            <a:spLocks/>
          </p:cNvSpPr>
          <p:nvPr/>
        </p:nvSpPr>
        <p:spPr bwMode="auto">
          <a:xfrm>
            <a:off x="1995809"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55" name="Freeform 145">
            <a:extLst>
              <a:ext uri="{FF2B5EF4-FFF2-40B4-BE49-F238E27FC236}">
                <a16:creationId xmlns:a16="http://schemas.microsoft.com/office/drawing/2014/main" id="{EB99E359-68A3-4CF1-B886-940E14FA3580}"/>
              </a:ext>
            </a:extLst>
          </p:cNvPr>
          <p:cNvSpPr>
            <a:spLocks/>
          </p:cNvSpPr>
          <p:nvPr/>
        </p:nvSpPr>
        <p:spPr bwMode="auto">
          <a:xfrm>
            <a:off x="2025501"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56" name="Freeform 146">
            <a:extLst>
              <a:ext uri="{FF2B5EF4-FFF2-40B4-BE49-F238E27FC236}">
                <a16:creationId xmlns:a16="http://schemas.microsoft.com/office/drawing/2014/main" id="{3CB07A2A-7CB2-4D5B-AFA4-CB944AD9D477}"/>
              </a:ext>
            </a:extLst>
          </p:cNvPr>
          <p:cNvSpPr>
            <a:spLocks/>
          </p:cNvSpPr>
          <p:nvPr/>
        </p:nvSpPr>
        <p:spPr bwMode="auto">
          <a:xfrm>
            <a:off x="2055194"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57" name="Freeform 147">
            <a:extLst>
              <a:ext uri="{FF2B5EF4-FFF2-40B4-BE49-F238E27FC236}">
                <a16:creationId xmlns:a16="http://schemas.microsoft.com/office/drawing/2014/main" id="{7C4AB9C7-752E-474A-800A-28AA63D970EB}"/>
              </a:ext>
            </a:extLst>
          </p:cNvPr>
          <p:cNvSpPr>
            <a:spLocks/>
          </p:cNvSpPr>
          <p:nvPr/>
        </p:nvSpPr>
        <p:spPr bwMode="auto">
          <a:xfrm>
            <a:off x="1630793" y="2605117"/>
            <a:ext cx="22566" cy="1860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58" name="Freeform 148">
            <a:extLst>
              <a:ext uri="{FF2B5EF4-FFF2-40B4-BE49-F238E27FC236}">
                <a16:creationId xmlns:a16="http://schemas.microsoft.com/office/drawing/2014/main" id="{D3AC780A-E2F7-40E5-935C-EC1D1B950DA4}"/>
              </a:ext>
            </a:extLst>
          </p:cNvPr>
          <p:cNvSpPr>
            <a:spLocks/>
          </p:cNvSpPr>
          <p:nvPr/>
        </p:nvSpPr>
        <p:spPr bwMode="auto">
          <a:xfrm>
            <a:off x="1664444"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59" name="Freeform 149">
            <a:extLst>
              <a:ext uri="{FF2B5EF4-FFF2-40B4-BE49-F238E27FC236}">
                <a16:creationId xmlns:a16="http://schemas.microsoft.com/office/drawing/2014/main" id="{267C1344-B4F1-4DC7-9979-DB9479CBEDBB}"/>
              </a:ext>
            </a:extLst>
          </p:cNvPr>
          <p:cNvSpPr>
            <a:spLocks/>
          </p:cNvSpPr>
          <p:nvPr/>
        </p:nvSpPr>
        <p:spPr bwMode="auto">
          <a:xfrm>
            <a:off x="1694137"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60" name="Freeform 150">
            <a:extLst>
              <a:ext uri="{FF2B5EF4-FFF2-40B4-BE49-F238E27FC236}">
                <a16:creationId xmlns:a16="http://schemas.microsoft.com/office/drawing/2014/main" id="{F1F9890B-2802-40C6-B07F-4B4EB964FC74}"/>
              </a:ext>
            </a:extLst>
          </p:cNvPr>
          <p:cNvSpPr>
            <a:spLocks/>
          </p:cNvSpPr>
          <p:nvPr/>
        </p:nvSpPr>
        <p:spPr bwMode="auto">
          <a:xfrm>
            <a:off x="1723829"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61" name="Freeform 151">
            <a:extLst>
              <a:ext uri="{FF2B5EF4-FFF2-40B4-BE49-F238E27FC236}">
                <a16:creationId xmlns:a16="http://schemas.microsoft.com/office/drawing/2014/main" id="{55399C7D-0612-4022-8681-098C8A4621D7}"/>
              </a:ext>
            </a:extLst>
          </p:cNvPr>
          <p:cNvSpPr>
            <a:spLocks/>
          </p:cNvSpPr>
          <p:nvPr/>
        </p:nvSpPr>
        <p:spPr bwMode="auto">
          <a:xfrm>
            <a:off x="1753521"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62" name="Freeform 152">
            <a:extLst>
              <a:ext uri="{FF2B5EF4-FFF2-40B4-BE49-F238E27FC236}">
                <a16:creationId xmlns:a16="http://schemas.microsoft.com/office/drawing/2014/main" id="{381FFFAC-6B72-48B6-AF0D-CCE2F6A94ECC}"/>
              </a:ext>
            </a:extLst>
          </p:cNvPr>
          <p:cNvSpPr>
            <a:spLocks/>
          </p:cNvSpPr>
          <p:nvPr/>
        </p:nvSpPr>
        <p:spPr bwMode="auto">
          <a:xfrm>
            <a:off x="1783213"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63" name="Freeform 153">
            <a:extLst>
              <a:ext uri="{FF2B5EF4-FFF2-40B4-BE49-F238E27FC236}">
                <a16:creationId xmlns:a16="http://schemas.microsoft.com/office/drawing/2014/main" id="{0EFE3CF0-8594-41D3-85DC-47562A197F4D}"/>
              </a:ext>
            </a:extLst>
          </p:cNvPr>
          <p:cNvSpPr>
            <a:spLocks/>
          </p:cNvSpPr>
          <p:nvPr/>
        </p:nvSpPr>
        <p:spPr bwMode="auto">
          <a:xfrm>
            <a:off x="1813301"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64" name="Freeform 154">
            <a:extLst>
              <a:ext uri="{FF2B5EF4-FFF2-40B4-BE49-F238E27FC236}">
                <a16:creationId xmlns:a16="http://schemas.microsoft.com/office/drawing/2014/main" id="{0B12B4FF-0F24-4714-AE73-10BDB3D526CD}"/>
              </a:ext>
            </a:extLst>
          </p:cNvPr>
          <p:cNvSpPr>
            <a:spLocks/>
          </p:cNvSpPr>
          <p:nvPr/>
        </p:nvSpPr>
        <p:spPr bwMode="auto">
          <a:xfrm>
            <a:off x="1842993" y="2605117"/>
            <a:ext cx="19003" cy="18607"/>
          </a:xfrm>
          <a:custGeom>
            <a:avLst/>
            <a:gdLst>
              <a:gd name="T0" fmla="*/ 0 w 48"/>
              <a:gd name="T1" fmla="*/ 0 h 47"/>
              <a:gd name="T2" fmla="*/ 48 w 48"/>
              <a:gd name="T3" fmla="*/ 0 h 47"/>
              <a:gd name="T4" fmla="*/ 48 w 48"/>
              <a:gd name="T5" fmla="*/ 47 h 47"/>
              <a:gd name="T6" fmla="*/ 0 w 48"/>
              <a:gd name="T7" fmla="*/ 47 h 47"/>
              <a:gd name="T8" fmla="*/ 0 w 48"/>
              <a:gd name="T9" fmla="*/ 0 h 47"/>
              <a:gd name="T10" fmla="*/ 0 w 48"/>
              <a:gd name="T11" fmla="*/ 0 h 47"/>
            </a:gdLst>
            <a:ahLst/>
            <a:cxnLst>
              <a:cxn ang="0">
                <a:pos x="T0" y="T1"/>
              </a:cxn>
              <a:cxn ang="0">
                <a:pos x="T2" y="T3"/>
              </a:cxn>
              <a:cxn ang="0">
                <a:pos x="T4" y="T5"/>
              </a:cxn>
              <a:cxn ang="0">
                <a:pos x="T6" y="T7"/>
              </a:cxn>
              <a:cxn ang="0">
                <a:pos x="T8" y="T9"/>
              </a:cxn>
              <a:cxn ang="0">
                <a:pos x="T10" y="T11"/>
              </a:cxn>
            </a:cxnLst>
            <a:rect l="0" t="0" r="r" b="b"/>
            <a:pathLst>
              <a:path w="48" h="47">
                <a:moveTo>
                  <a:pt x="0" y="0"/>
                </a:moveTo>
                <a:lnTo>
                  <a:pt x="48" y="0"/>
                </a:lnTo>
                <a:lnTo>
                  <a:pt x="48"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65" name="Freeform 155">
            <a:extLst>
              <a:ext uri="{FF2B5EF4-FFF2-40B4-BE49-F238E27FC236}">
                <a16:creationId xmlns:a16="http://schemas.microsoft.com/office/drawing/2014/main" id="{85E91AF6-5642-445F-AF91-966BBD48DEAE}"/>
              </a:ext>
            </a:extLst>
          </p:cNvPr>
          <p:cNvSpPr>
            <a:spLocks/>
          </p:cNvSpPr>
          <p:nvPr/>
        </p:nvSpPr>
        <p:spPr bwMode="auto">
          <a:xfrm>
            <a:off x="1873081"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66" name="Freeform 156">
            <a:extLst>
              <a:ext uri="{FF2B5EF4-FFF2-40B4-BE49-F238E27FC236}">
                <a16:creationId xmlns:a16="http://schemas.microsoft.com/office/drawing/2014/main" id="{00C86F96-70BF-4EB2-A7EE-3989EE922EB8}"/>
              </a:ext>
            </a:extLst>
          </p:cNvPr>
          <p:cNvSpPr>
            <a:spLocks/>
          </p:cNvSpPr>
          <p:nvPr/>
        </p:nvSpPr>
        <p:spPr bwMode="auto">
          <a:xfrm>
            <a:off x="1902774"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67" name="Freeform 157">
            <a:extLst>
              <a:ext uri="{FF2B5EF4-FFF2-40B4-BE49-F238E27FC236}">
                <a16:creationId xmlns:a16="http://schemas.microsoft.com/office/drawing/2014/main" id="{7B385B8A-BE4F-47E8-9366-0F3145420337}"/>
              </a:ext>
            </a:extLst>
          </p:cNvPr>
          <p:cNvSpPr>
            <a:spLocks/>
          </p:cNvSpPr>
          <p:nvPr/>
        </p:nvSpPr>
        <p:spPr bwMode="auto">
          <a:xfrm>
            <a:off x="1932466" y="2605117"/>
            <a:ext cx="22566" cy="1860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68" name="Freeform 158">
            <a:extLst>
              <a:ext uri="{FF2B5EF4-FFF2-40B4-BE49-F238E27FC236}">
                <a16:creationId xmlns:a16="http://schemas.microsoft.com/office/drawing/2014/main" id="{AB915B06-1F34-419A-89C2-37A1D55A3023}"/>
              </a:ext>
            </a:extLst>
          </p:cNvPr>
          <p:cNvSpPr>
            <a:spLocks/>
          </p:cNvSpPr>
          <p:nvPr/>
        </p:nvSpPr>
        <p:spPr bwMode="auto">
          <a:xfrm>
            <a:off x="1966117"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69" name="Freeform 159">
            <a:extLst>
              <a:ext uri="{FF2B5EF4-FFF2-40B4-BE49-F238E27FC236}">
                <a16:creationId xmlns:a16="http://schemas.microsoft.com/office/drawing/2014/main" id="{E98AC761-79D4-43CF-95E7-80F1D9E3C338}"/>
              </a:ext>
            </a:extLst>
          </p:cNvPr>
          <p:cNvSpPr>
            <a:spLocks/>
          </p:cNvSpPr>
          <p:nvPr/>
        </p:nvSpPr>
        <p:spPr bwMode="auto">
          <a:xfrm>
            <a:off x="1995809"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70" name="Freeform 160">
            <a:extLst>
              <a:ext uri="{FF2B5EF4-FFF2-40B4-BE49-F238E27FC236}">
                <a16:creationId xmlns:a16="http://schemas.microsoft.com/office/drawing/2014/main" id="{2EAA401C-0C8F-49F7-B1CD-1EB5065A64CE}"/>
              </a:ext>
            </a:extLst>
          </p:cNvPr>
          <p:cNvSpPr>
            <a:spLocks/>
          </p:cNvSpPr>
          <p:nvPr/>
        </p:nvSpPr>
        <p:spPr bwMode="auto">
          <a:xfrm>
            <a:off x="2025501"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71" name="Freeform 161">
            <a:extLst>
              <a:ext uri="{FF2B5EF4-FFF2-40B4-BE49-F238E27FC236}">
                <a16:creationId xmlns:a16="http://schemas.microsoft.com/office/drawing/2014/main" id="{E1A0B5D3-0B8B-41BF-89FC-4583E908673F}"/>
              </a:ext>
            </a:extLst>
          </p:cNvPr>
          <p:cNvSpPr>
            <a:spLocks/>
          </p:cNvSpPr>
          <p:nvPr/>
        </p:nvSpPr>
        <p:spPr bwMode="auto">
          <a:xfrm>
            <a:off x="2055194"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72" name="Freeform 162">
            <a:extLst>
              <a:ext uri="{FF2B5EF4-FFF2-40B4-BE49-F238E27FC236}">
                <a16:creationId xmlns:a16="http://schemas.microsoft.com/office/drawing/2014/main" id="{FF4445E0-C3C2-4232-B6E9-50BE4A08D632}"/>
              </a:ext>
            </a:extLst>
          </p:cNvPr>
          <p:cNvSpPr>
            <a:spLocks/>
          </p:cNvSpPr>
          <p:nvPr/>
        </p:nvSpPr>
        <p:spPr bwMode="auto">
          <a:xfrm>
            <a:off x="1630793" y="2637976"/>
            <a:ext cx="22566" cy="1860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73" name="Freeform 163">
            <a:extLst>
              <a:ext uri="{FF2B5EF4-FFF2-40B4-BE49-F238E27FC236}">
                <a16:creationId xmlns:a16="http://schemas.microsoft.com/office/drawing/2014/main" id="{B2FAC32D-D2B6-49CC-B139-59B47C76C584}"/>
              </a:ext>
            </a:extLst>
          </p:cNvPr>
          <p:cNvSpPr>
            <a:spLocks/>
          </p:cNvSpPr>
          <p:nvPr/>
        </p:nvSpPr>
        <p:spPr bwMode="auto">
          <a:xfrm>
            <a:off x="1664444"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74" name="Freeform 164">
            <a:extLst>
              <a:ext uri="{FF2B5EF4-FFF2-40B4-BE49-F238E27FC236}">
                <a16:creationId xmlns:a16="http://schemas.microsoft.com/office/drawing/2014/main" id="{927C62AD-212E-4B09-96D5-D3D98DDB30A5}"/>
              </a:ext>
            </a:extLst>
          </p:cNvPr>
          <p:cNvSpPr>
            <a:spLocks/>
          </p:cNvSpPr>
          <p:nvPr/>
        </p:nvSpPr>
        <p:spPr bwMode="auto">
          <a:xfrm>
            <a:off x="1694137"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75" name="Freeform 165">
            <a:extLst>
              <a:ext uri="{FF2B5EF4-FFF2-40B4-BE49-F238E27FC236}">
                <a16:creationId xmlns:a16="http://schemas.microsoft.com/office/drawing/2014/main" id="{A0625704-87FD-4975-872E-D5B7A364AE7D}"/>
              </a:ext>
            </a:extLst>
          </p:cNvPr>
          <p:cNvSpPr>
            <a:spLocks/>
          </p:cNvSpPr>
          <p:nvPr/>
        </p:nvSpPr>
        <p:spPr bwMode="auto">
          <a:xfrm>
            <a:off x="1723829"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76" name="Freeform 166">
            <a:extLst>
              <a:ext uri="{FF2B5EF4-FFF2-40B4-BE49-F238E27FC236}">
                <a16:creationId xmlns:a16="http://schemas.microsoft.com/office/drawing/2014/main" id="{4420D0B0-FA54-4E47-B2CB-C359A1BFDBB6}"/>
              </a:ext>
            </a:extLst>
          </p:cNvPr>
          <p:cNvSpPr>
            <a:spLocks/>
          </p:cNvSpPr>
          <p:nvPr/>
        </p:nvSpPr>
        <p:spPr bwMode="auto">
          <a:xfrm>
            <a:off x="1753521"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77" name="Freeform 167">
            <a:extLst>
              <a:ext uri="{FF2B5EF4-FFF2-40B4-BE49-F238E27FC236}">
                <a16:creationId xmlns:a16="http://schemas.microsoft.com/office/drawing/2014/main" id="{BF13FCF0-E406-4523-9FD1-73842340E4CB}"/>
              </a:ext>
            </a:extLst>
          </p:cNvPr>
          <p:cNvSpPr>
            <a:spLocks/>
          </p:cNvSpPr>
          <p:nvPr/>
        </p:nvSpPr>
        <p:spPr bwMode="auto">
          <a:xfrm>
            <a:off x="1783213"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78" name="Freeform 168">
            <a:extLst>
              <a:ext uri="{FF2B5EF4-FFF2-40B4-BE49-F238E27FC236}">
                <a16:creationId xmlns:a16="http://schemas.microsoft.com/office/drawing/2014/main" id="{A4908FB2-8C65-4850-85B0-F0A02DA50923}"/>
              </a:ext>
            </a:extLst>
          </p:cNvPr>
          <p:cNvSpPr>
            <a:spLocks/>
          </p:cNvSpPr>
          <p:nvPr/>
        </p:nvSpPr>
        <p:spPr bwMode="auto">
          <a:xfrm>
            <a:off x="1813301"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79" name="Freeform 169">
            <a:extLst>
              <a:ext uri="{FF2B5EF4-FFF2-40B4-BE49-F238E27FC236}">
                <a16:creationId xmlns:a16="http://schemas.microsoft.com/office/drawing/2014/main" id="{750D8B06-520E-4C81-BF9E-F23F4BBF4064}"/>
              </a:ext>
            </a:extLst>
          </p:cNvPr>
          <p:cNvSpPr>
            <a:spLocks/>
          </p:cNvSpPr>
          <p:nvPr/>
        </p:nvSpPr>
        <p:spPr bwMode="auto">
          <a:xfrm>
            <a:off x="1842993" y="2637976"/>
            <a:ext cx="19003" cy="18607"/>
          </a:xfrm>
          <a:custGeom>
            <a:avLst/>
            <a:gdLst>
              <a:gd name="T0" fmla="*/ 0 w 48"/>
              <a:gd name="T1" fmla="*/ 0 h 47"/>
              <a:gd name="T2" fmla="*/ 48 w 48"/>
              <a:gd name="T3" fmla="*/ 0 h 47"/>
              <a:gd name="T4" fmla="*/ 48 w 48"/>
              <a:gd name="T5" fmla="*/ 47 h 47"/>
              <a:gd name="T6" fmla="*/ 0 w 48"/>
              <a:gd name="T7" fmla="*/ 47 h 47"/>
              <a:gd name="T8" fmla="*/ 0 w 48"/>
              <a:gd name="T9" fmla="*/ 0 h 47"/>
              <a:gd name="T10" fmla="*/ 0 w 48"/>
              <a:gd name="T11" fmla="*/ 0 h 47"/>
            </a:gdLst>
            <a:ahLst/>
            <a:cxnLst>
              <a:cxn ang="0">
                <a:pos x="T0" y="T1"/>
              </a:cxn>
              <a:cxn ang="0">
                <a:pos x="T2" y="T3"/>
              </a:cxn>
              <a:cxn ang="0">
                <a:pos x="T4" y="T5"/>
              </a:cxn>
              <a:cxn ang="0">
                <a:pos x="T6" y="T7"/>
              </a:cxn>
              <a:cxn ang="0">
                <a:pos x="T8" y="T9"/>
              </a:cxn>
              <a:cxn ang="0">
                <a:pos x="T10" y="T11"/>
              </a:cxn>
            </a:cxnLst>
            <a:rect l="0" t="0" r="r" b="b"/>
            <a:pathLst>
              <a:path w="48" h="47">
                <a:moveTo>
                  <a:pt x="0" y="0"/>
                </a:moveTo>
                <a:lnTo>
                  <a:pt x="48" y="0"/>
                </a:lnTo>
                <a:lnTo>
                  <a:pt x="48"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80" name="Freeform 170">
            <a:extLst>
              <a:ext uri="{FF2B5EF4-FFF2-40B4-BE49-F238E27FC236}">
                <a16:creationId xmlns:a16="http://schemas.microsoft.com/office/drawing/2014/main" id="{AC3910CC-2607-48FA-BD94-0F2C811E5F89}"/>
              </a:ext>
            </a:extLst>
          </p:cNvPr>
          <p:cNvSpPr>
            <a:spLocks/>
          </p:cNvSpPr>
          <p:nvPr/>
        </p:nvSpPr>
        <p:spPr bwMode="auto">
          <a:xfrm>
            <a:off x="1873081"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81" name="Freeform 171">
            <a:extLst>
              <a:ext uri="{FF2B5EF4-FFF2-40B4-BE49-F238E27FC236}">
                <a16:creationId xmlns:a16="http://schemas.microsoft.com/office/drawing/2014/main" id="{7FA89F2D-2E38-4C0E-BE70-C88133A263EE}"/>
              </a:ext>
            </a:extLst>
          </p:cNvPr>
          <p:cNvSpPr>
            <a:spLocks/>
          </p:cNvSpPr>
          <p:nvPr/>
        </p:nvSpPr>
        <p:spPr bwMode="auto">
          <a:xfrm>
            <a:off x="1902774"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82" name="Freeform 172">
            <a:extLst>
              <a:ext uri="{FF2B5EF4-FFF2-40B4-BE49-F238E27FC236}">
                <a16:creationId xmlns:a16="http://schemas.microsoft.com/office/drawing/2014/main" id="{AB9A9F74-220F-49E7-B23B-0CAAEE92A9AD}"/>
              </a:ext>
            </a:extLst>
          </p:cNvPr>
          <p:cNvSpPr>
            <a:spLocks/>
          </p:cNvSpPr>
          <p:nvPr/>
        </p:nvSpPr>
        <p:spPr bwMode="auto">
          <a:xfrm>
            <a:off x="1932466" y="2637976"/>
            <a:ext cx="22566" cy="1860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83" name="Freeform 173">
            <a:extLst>
              <a:ext uri="{FF2B5EF4-FFF2-40B4-BE49-F238E27FC236}">
                <a16:creationId xmlns:a16="http://schemas.microsoft.com/office/drawing/2014/main" id="{F85B8B2D-9840-4DE2-878D-F7564F51D8C7}"/>
              </a:ext>
            </a:extLst>
          </p:cNvPr>
          <p:cNvSpPr>
            <a:spLocks/>
          </p:cNvSpPr>
          <p:nvPr/>
        </p:nvSpPr>
        <p:spPr bwMode="auto">
          <a:xfrm>
            <a:off x="1966117"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84" name="Freeform 174">
            <a:extLst>
              <a:ext uri="{FF2B5EF4-FFF2-40B4-BE49-F238E27FC236}">
                <a16:creationId xmlns:a16="http://schemas.microsoft.com/office/drawing/2014/main" id="{C04F9557-5DAE-48E2-9F48-2890B8D0F5E7}"/>
              </a:ext>
            </a:extLst>
          </p:cNvPr>
          <p:cNvSpPr>
            <a:spLocks/>
          </p:cNvSpPr>
          <p:nvPr/>
        </p:nvSpPr>
        <p:spPr bwMode="auto">
          <a:xfrm>
            <a:off x="1995809"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85" name="Freeform 175">
            <a:extLst>
              <a:ext uri="{FF2B5EF4-FFF2-40B4-BE49-F238E27FC236}">
                <a16:creationId xmlns:a16="http://schemas.microsoft.com/office/drawing/2014/main" id="{C614D2A7-829D-423C-AD14-DEBB69360345}"/>
              </a:ext>
            </a:extLst>
          </p:cNvPr>
          <p:cNvSpPr>
            <a:spLocks/>
          </p:cNvSpPr>
          <p:nvPr/>
        </p:nvSpPr>
        <p:spPr bwMode="auto">
          <a:xfrm>
            <a:off x="2025501"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86" name="Freeform 176">
            <a:extLst>
              <a:ext uri="{FF2B5EF4-FFF2-40B4-BE49-F238E27FC236}">
                <a16:creationId xmlns:a16="http://schemas.microsoft.com/office/drawing/2014/main" id="{4B93666E-C456-4EDA-A127-934D766AA673}"/>
              </a:ext>
            </a:extLst>
          </p:cNvPr>
          <p:cNvSpPr>
            <a:spLocks/>
          </p:cNvSpPr>
          <p:nvPr/>
        </p:nvSpPr>
        <p:spPr bwMode="auto">
          <a:xfrm>
            <a:off x="2055194"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87" name="Freeform 177">
            <a:extLst>
              <a:ext uri="{FF2B5EF4-FFF2-40B4-BE49-F238E27FC236}">
                <a16:creationId xmlns:a16="http://schemas.microsoft.com/office/drawing/2014/main" id="{887F159B-C2BA-42F2-A009-8A583C14FB34}"/>
              </a:ext>
            </a:extLst>
          </p:cNvPr>
          <p:cNvSpPr>
            <a:spLocks/>
          </p:cNvSpPr>
          <p:nvPr/>
        </p:nvSpPr>
        <p:spPr bwMode="auto">
          <a:xfrm>
            <a:off x="1630793" y="2667668"/>
            <a:ext cx="22566" cy="1860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88" name="Freeform 178">
            <a:extLst>
              <a:ext uri="{FF2B5EF4-FFF2-40B4-BE49-F238E27FC236}">
                <a16:creationId xmlns:a16="http://schemas.microsoft.com/office/drawing/2014/main" id="{46C37C48-8DEC-4124-BE29-416673A6A182}"/>
              </a:ext>
            </a:extLst>
          </p:cNvPr>
          <p:cNvSpPr>
            <a:spLocks/>
          </p:cNvSpPr>
          <p:nvPr/>
        </p:nvSpPr>
        <p:spPr bwMode="auto">
          <a:xfrm>
            <a:off x="1664444" y="2667668"/>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89" name="Freeform 179">
            <a:extLst>
              <a:ext uri="{FF2B5EF4-FFF2-40B4-BE49-F238E27FC236}">
                <a16:creationId xmlns:a16="http://schemas.microsoft.com/office/drawing/2014/main" id="{41E21F69-11DA-4B35-82CF-8E5BCCFFC0BF}"/>
              </a:ext>
            </a:extLst>
          </p:cNvPr>
          <p:cNvSpPr>
            <a:spLocks/>
          </p:cNvSpPr>
          <p:nvPr/>
        </p:nvSpPr>
        <p:spPr bwMode="auto">
          <a:xfrm>
            <a:off x="1694137" y="2667668"/>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90" name="Freeform 180">
            <a:extLst>
              <a:ext uri="{FF2B5EF4-FFF2-40B4-BE49-F238E27FC236}">
                <a16:creationId xmlns:a16="http://schemas.microsoft.com/office/drawing/2014/main" id="{F3D780C4-2639-4C32-894E-BB22E37B641F}"/>
              </a:ext>
            </a:extLst>
          </p:cNvPr>
          <p:cNvSpPr>
            <a:spLocks/>
          </p:cNvSpPr>
          <p:nvPr/>
        </p:nvSpPr>
        <p:spPr bwMode="auto">
          <a:xfrm>
            <a:off x="1723829" y="2667668"/>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91" name="Freeform 181">
            <a:extLst>
              <a:ext uri="{FF2B5EF4-FFF2-40B4-BE49-F238E27FC236}">
                <a16:creationId xmlns:a16="http://schemas.microsoft.com/office/drawing/2014/main" id="{B5407558-0AB3-460B-AC9E-FEE45ED09006}"/>
              </a:ext>
            </a:extLst>
          </p:cNvPr>
          <p:cNvSpPr>
            <a:spLocks/>
          </p:cNvSpPr>
          <p:nvPr/>
        </p:nvSpPr>
        <p:spPr bwMode="auto">
          <a:xfrm>
            <a:off x="1966117" y="2667668"/>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92" name="Freeform 182">
            <a:extLst>
              <a:ext uri="{FF2B5EF4-FFF2-40B4-BE49-F238E27FC236}">
                <a16:creationId xmlns:a16="http://schemas.microsoft.com/office/drawing/2014/main" id="{2D4E9783-DD4F-466F-A933-44185748E915}"/>
              </a:ext>
            </a:extLst>
          </p:cNvPr>
          <p:cNvSpPr>
            <a:spLocks/>
          </p:cNvSpPr>
          <p:nvPr/>
        </p:nvSpPr>
        <p:spPr bwMode="auto">
          <a:xfrm>
            <a:off x="1995809" y="2667668"/>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93" name="Freeform 183">
            <a:extLst>
              <a:ext uri="{FF2B5EF4-FFF2-40B4-BE49-F238E27FC236}">
                <a16:creationId xmlns:a16="http://schemas.microsoft.com/office/drawing/2014/main" id="{E0631051-650B-4DAA-9A04-005488A4E651}"/>
              </a:ext>
            </a:extLst>
          </p:cNvPr>
          <p:cNvSpPr>
            <a:spLocks/>
          </p:cNvSpPr>
          <p:nvPr/>
        </p:nvSpPr>
        <p:spPr bwMode="auto">
          <a:xfrm>
            <a:off x="2025501" y="2667668"/>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94" name="Freeform 184">
            <a:extLst>
              <a:ext uri="{FF2B5EF4-FFF2-40B4-BE49-F238E27FC236}">
                <a16:creationId xmlns:a16="http://schemas.microsoft.com/office/drawing/2014/main" id="{AA0118EF-6CEC-4620-AF41-5228356E3231}"/>
              </a:ext>
            </a:extLst>
          </p:cNvPr>
          <p:cNvSpPr>
            <a:spLocks/>
          </p:cNvSpPr>
          <p:nvPr/>
        </p:nvSpPr>
        <p:spPr bwMode="auto">
          <a:xfrm>
            <a:off x="2055194" y="2667668"/>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95" name="Freeform 185">
            <a:extLst>
              <a:ext uri="{FF2B5EF4-FFF2-40B4-BE49-F238E27FC236}">
                <a16:creationId xmlns:a16="http://schemas.microsoft.com/office/drawing/2014/main" id="{96D89A6E-E96B-47F3-AF7D-4EF46BF4F56A}"/>
              </a:ext>
            </a:extLst>
          </p:cNvPr>
          <p:cNvSpPr>
            <a:spLocks/>
          </p:cNvSpPr>
          <p:nvPr/>
        </p:nvSpPr>
        <p:spPr bwMode="auto">
          <a:xfrm>
            <a:off x="1753521" y="2667668"/>
            <a:ext cx="197552" cy="18607"/>
          </a:xfrm>
          <a:custGeom>
            <a:avLst/>
            <a:gdLst>
              <a:gd name="T0" fmla="*/ 0 w 499"/>
              <a:gd name="T1" fmla="*/ 0 h 47"/>
              <a:gd name="T2" fmla="*/ 499 w 499"/>
              <a:gd name="T3" fmla="*/ 0 h 47"/>
              <a:gd name="T4" fmla="*/ 499 w 499"/>
              <a:gd name="T5" fmla="*/ 47 h 47"/>
              <a:gd name="T6" fmla="*/ 0 w 499"/>
              <a:gd name="T7" fmla="*/ 47 h 47"/>
              <a:gd name="T8" fmla="*/ 0 w 499"/>
              <a:gd name="T9" fmla="*/ 0 h 47"/>
              <a:gd name="T10" fmla="*/ 0 w 499"/>
              <a:gd name="T11" fmla="*/ 0 h 47"/>
            </a:gdLst>
            <a:ahLst/>
            <a:cxnLst>
              <a:cxn ang="0">
                <a:pos x="T0" y="T1"/>
              </a:cxn>
              <a:cxn ang="0">
                <a:pos x="T2" y="T3"/>
              </a:cxn>
              <a:cxn ang="0">
                <a:pos x="T4" y="T5"/>
              </a:cxn>
              <a:cxn ang="0">
                <a:pos x="T6" y="T7"/>
              </a:cxn>
              <a:cxn ang="0">
                <a:pos x="T8" y="T9"/>
              </a:cxn>
              <a:cxn ang="0">
                <a:pos x="T10" y="T11"/>
              </a:cxn>
            </a:cxnLst>
            <a:rect l="0" t="0" r="r" b="b"/>
            <a:pathLst>
              <a:path w="499" h="47">
                <a:moveTo>
                  <a:pt x="0" y="0"/>
                </a:moveTo>
                <a:lnTo>
                  <a:pt x="499" y="0"/>
                </a:lnTo>
                <a:lnTo>
                  <a:pt x="499"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96" name="Freeform 186">
            <a:extLst>
              <a:ext uri="{FF2B5EF4-FFF2-40B4-BE49-F238E27FC236}">
                <a16:creationId xmlns:a16="http://schemas.microsoft.com/office/drawing/2014/main" id="{547A58E9-274A-42A8-B151-CEF91E46756C}"/>
              </a:ext>
            </a:extLst>
          </p:cNvPr>
          <p:cNvSpPr>
            <a:spLocks/>
          </p:cNvSpPr>
          <p:nvPr/>
        </p:nvSpPr>
        <p:spPr bwMode="auto">
          <a:xfrm>
            <a:off x="1910296" y="2637976"/>
            <a:ext cx="159942" cy="197156"/>
          </a:xfrm>
          <a:custGeom>
            <a:avLst/>
            <a:gdLst>
              <a:gd name="T0" fmla="*/ 342 w 361"/>
              <a:gd name="T1" fmla="*/ 113 h 445"/>
              <a:gd name="T2" fmla="*/ 309 w 361"/>
              <a:gd name="T3" fmla="*/ 128 h 445"/>
              <a:gd name="T4" fmla="*/ 258 w 361"/>
              <a:gd name="T5" fmla="*/ 256 h 445"/>
              <a:gd name="T6" fmla="*/ 246 w 361"/>
              <a:gd name="T7" fmla="*/ 251 h 445"/>
              <a:gd name="T8" fmla="*/ 308 w 361"/>
              <a:gd name="T9" fmla="*/ 97 h 445"/>
              <a:gd name="T10" fmla="*/ 307 w 361"/>
              <a:gd name="T11" fmla="*/ 97 h 445"/>
              <a:gd name="T12" fmla="*/ 293 w 361"/>
              <a:gd name="T13" fmla="*/ 66 h 445"/>
              <a:gd name="T14" fmla="*/ 262 w 361"/>
              <a:gd name="T15" fmla="*/ 79 h 445"/>
              <a:gd name="T16" fmla="*/ 262 w 361"/>
              <a:gd name="T17" fmla="*/ 79 h 445"/>
              <a:gd name="T18" fmla="*/ 206 w 361"/>
              <a:gd name="T19" fmla="*/ 220 h 445"/>
              <a:gd name="T20" fmla="*/ 194 w 361"/>
              <a:gd name="T21" fmla="*/ 216 h 445"/>
              <a:gd name="T22" fmla="*/ 265 w 361"/>
              <a:gd name="T23" fmla="*/ 36 h 445"/>
              <a:gd name="T24" fmla="*/ 251 w 361"/>
              <a:gd name="T25" fmla="*/ 5 h 445"/>
              <a:gd name="T26" fmla="*/ 220 w 361"/>
              <a:gd name="T27" fmla="*/ 18 h 445"/>
              <a:gd name="T28" fmla="*/ 154 w 361"/>
              <a:gd name="T29" fmla="*/ 184 h 445"/>
              <a:gd name="T30" fmla="*/ 141 w 361"/>
              <a:gd name="T31" fmla="*/ 180 h 445"/>
              <a:gd name="T32" fmla="*/ 168 w 361"/>
              <a:gd name="T33" fmla="*/ 113 h 445"/>
              <a:gd name="T34" fmla="*/ 168 w 361"/>
              <a:gd name="T35" fmla="*/ 32 h 445"/>
              <a:gd name="T36" fmla="*/ 143 w 361"/>
              <a:gd name="T37" fmla="*/ 7 h 445"/>
              <a:gd name="T38" fmla="*/ 118 w 361"/>
              <a:gd name="T39" fmla="*/ 32 h 445"/>
              <a:gd name="T40" fmla="*/ 118 w 361"/>
              <a:gd name="T41" fmla="*/ 104 h 445"/>
              <a:gd name="T42" fmla="*/ 71 w 361"/>
              <a:gd name="T43" fmla="*/ 225 h 445"/>
              <a:gd name="T44" fmla="*/ 50 w 361"/>
              <a:gd name="T45" fmla="*/ 126 h 445"/>
              <a:gd name="T46" fmla="*/ 22 w 361"/>
              <a:gd name="T47" fmla="*/ 107 h 445"/>
              <a:gd name="T48" fmla="*/ 2 w 361"/>
              <a:gd name="T49" fmla="*/ 135 h 445"/>
              <a:gd name="T50" fmla="*/ 36 w 361"/>
              <a:gd name="T51" fmla="*/ 311 h 445"/>
              <a:gd name="T52" fmla="*/ 106 w 361"/>
              <a:gd name="T53" fmla="*/ 403 h 445"/>
              <a:gd name="T54" fmla="*/ 114 w 361"/>
              <a:gd name="T55" fmla="*/ 445 h 445"/>
              <a:gd name="T56" fmla="*/ 275 w 361"/>
              <a:gd name="T57" fmla="*/ 422 h 445"/>
              <a:gd name="T58" fmla="*/ 265 w 361"/>
              <a:gd name="T59" fmla="*/ 372 h 445"/>
              <a:gd name="T60" fmla="*/ 355 w 361"/>
              <a:gd name="T61" fmla="*/ 146 h 445"/>
              <a:gd name="T62" fmla="*/ 342 w 361"/>
              <a:gd name="T63" fmla="*/ 113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1" h="445">
                <a:moveTo>
                  <a:pt x="342" y="113"/>
                </a:moveTo>
                <a:cubicBezTo>
                  <a:pt x="328" y="108"/>
                  <a:pt x="314" y="114"/>
                  <a:pt x="309" y="128"/>
                </a:cubicBezTo>
                <a:cubicBezTo>
                  <a:pt x="258" y="256"/>
                  <a:pt x="258" y="256"/>
                  <a:pt x="258" y="256"/>
                </a:cubicBezTo>
                <a:cubicBezTo>
                  <a:pt x="246" y="251"/>
                  <a:pt x="246" y="251"/>
                  <a:pt x="246" y="251"/>
                </a:cubicBezTo>
                <a:cubicBezTo>
                  <a:pt x="308" y="97"/>
                  <a:pt x="308" y="97"/>
                  <a:pt x="308" y="97"/>
                </a:cubicBezTo>
                <a:cubicBezTo>
                  <a:pt x="307" y="97"/>
                  <a:pt x="307" y="97"/>
                  <a:pt x="307" y="97"/>
                </a:cubicBezTo>
                <a:cubicBezTo>
                  <a:pt x="312" y="85"/>
                  <a:pt x="306" y="71"/>
                  <a:pt x="293" y="66"/>
                </a:cubicBezTo>
                <a:cubicBezTo>
                  <a:pt x="281" y="61"/>
                  <a:pt x="266" y="67"/>
                  <a:pt x="262" y="79"/>
                </a:cubicBezTo>
                <a:cubicBezTo>
                  <a:pt x="262" y="79"/>
                  <a:pt x="262" y="79"/>
                  <a:pt x="262" y="79"/>
                </a:cubicBezTo>
                <a:cubicBezTo>
                  <a:pt x="206" y="220"/>
                  <a:pt x="206" y="220"/>
                  <a:pt x="206" y="220"/>
                </a:cubicBezTo>
                <a:cubicBezTo>
                  <a:pt x="194" y="216"/>
                  <a:pt x="194" y="216"/>
                  <a:pt x="194" y="216"/>
                </a:cubicBezTo>
                <a:cubicBezTo>
                  <a:pt x="265" y="36"/>
                  <a:pt x="265" y="36"/>
                  <a:pt x="265" y="36"/>
                </a:cubicBezTo>
                <a:cubicBezTo>
                  <a:pt x="270" y="24"/>
                  <a:pt x="264" y="10"/>
                  <a:pt x="251" y="5"/>
                </a:cubicBezTo>
                <a:cubicBezTo>
                  <a:pt x="239" y="0"/>
                  <a:pt x="224" y="6"/>
                  <a:pt x="220" y="18"/>
                </a:cubicBezTo>
                <a:cubicBezTo>
                  <a:pt x="154" y="184"/>
                  <a:pt x="154" y="184"/>
                  <a:pt x="154" y="184"/>
                </a:cubicBezTo>
                <a:cubicBezTo>
                  <a:pt x="141" y="180"/>
                  <a:pt x="141" y="180"/>
                  <a:pt x="141" y="180"/>
                </a:cubicBezTo>
                <a:cubicBezTo>
                  <a:pt x="168" y="113"/>
                  <a:pt x="168" y="113"/>
                  <a:pt x="168" y="113"/>
                </a:cubicBezTo>
                <a:cubicBezTo>
                  <a:pt x="168" y="32"/>
                  <a:pt x="168" y="32"/>
                  <a:pt x="168" y="32"/>
                </a:cubicBezTo>
                <a:cubicBezTo>
                  <a:pt x="168" y="18"/>
                  <a:pt x="157" y="7"/>
                  <a:pt x="143" y="7"/>
                </a:cubicBezTo>
                <a:cubicBezTo>
                  <a:pt x="130" y="7"/>
                  <a:pt x="118" y="18"/>
                  <a:pt x="118" y="32"/>
                </a:cubicBezTo>
                <a:cubicBezTo>
                  <a:pt x="118" y="104"/>
                  <a:pt x="118" y="104"/>
                  <a:pt x="118" y="104"/>
                </a:cubicBezTo>
                <a:cubicBezTo>
                  <a:pt x="71" y="225"/>
                  <a:pt x="71" y="225"/>
                  <a:pt x="71" y="225"/>
                </a:cubicBezTo>
                <a:cubicBezTo>
                  <a:pt x="50" y="126"/>
                  <a:pt x="50" y="126"/>
                  <a:pt x="50" y="126"/>
                </a:cubicBezTo>
                <a:cubicBezTo>
                  <a:pt x="49" y="112"/>
                  <a:pt x="35" y="104"/>
                  <a:pt x="22" y="107"/>
                </a:cubicBezTo>
                <a:cubicBezTo>
                  <a:pt x="8" y="109"/>
                  <a:pt x="0" y="122"/>
                  <a:pt x="2" y="135"/>
                </a:cubicBezTo>
                <a:cubicBezTo>
                  <a:pt x="36" y="311"/>
                  <a:pt x="36" y="311"/>
                  <a:pt x="36" y="311"/>
                </a:cubicBezTo>
                <a:cubicBezTo>
                  <a:pt x="106" y="403"/>
                  <a:pt x="106" y="403"/>
                  <a:pt x="106" y="403"/>
                </a:cubicBezTo>
                <a:cubicBezTo>
                  <a:pt x="114" y="445"/>
                  <a:pt x="114" y="445"/>
                  <a:pt x="114" y="445"/>
                </a:cubicBezTo>
                <a:cubicBezTo>
                  <a:pt x="275" y="422"/>
                  <a:pt x="275" y="422"/>
                  <a:pt x="275" y="422"/>
                </a:cubicBezTo>
                <a:cubicBezTo>
                  <a:pt x="265" y="372"/>
                  <a:pt x="265" y="372"/>
                  <a:pt x="265" y="372"/>
                </a:cubicBezTo>
                <a:cubicBezTo>
                  <a:pt x="355" y="146"/>
                  <a:pt x="355" y="146"/>
                  <a:pt x="355" y="146"/>
                </a:cubicBezTo>
                <a:cubicBezTo>
                  <a:pt x="361" y="133"/>
                  <a:pt x="354" y="118"/>
                  <a:pt x="342" y="113"/>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97" name="Freeform 187">
            <a:extLst>
              <a:ext uri="{FF2B5EF4-FFF2-40B4-BE49-F238E27FC236}">
                <a16:creationId xmlns:a16="http://schemas.microsoft.com/office/drawing/2014/main" id="{34F9BE5D-5667-4CDD-A529-6794C505937C}"/>
              </a:ext>
            </a:extLst>
          </p:cNvPr>
          <p:cNvSpPr>
            <a:spLocks/>
          </p:cNvSpPr>
          <p:nvPr/>
        </p:nvSpPr>
        <p:spPr bwMode="auto">
          <a:xfrm>
            <a:off x="1664444" y="2608680"/>
            <a:ext cx="159942" cy="196760"/>
          </a:xfrm>
          <a:custGeom>
            <a:avLst/>
            <a:gdLst>
              <a:gd name="T0" fmla="*/ 339 w 361"/>
              <a:gd name="T1" fmla="*/ 106 h 445"/>
              <a:gd name="T2" fmla="*/ 309 w 361"/>
              <a:gd name="T3" fmla="*/ 125 h 445"/>
              <a:gd name="T4" fmla="*/ 290 w 361"/>
              <a:gd name="T5" fmla="*/ 225 h 445"/>
              <a:gd name="T6" fmla="*/ 241 w 361"/>
              <a:gd name="T7" fmla="*/ 104 h 445"/>
              <a:gd name="T8" fmla="*/ 241 w 361"/>
              <a:gd name="T9" fmla="*/ 33 h 445"/>
              <a:gd name="T10" fmla="*/ 217 w 361"/>
              <a:gd name="T11" fmla="*/ 8 h 445"/>
              <a:gd name="T12" fmla="*/ 193 w 361"/>
              <a:gd name="T13" fmla="*/ 33 h 445"/>
              <a:gd name="T14" fmla="*/ 193 w 361"/>
              <a:gd name="T15" fmla="*/ 114 h 445"/>
              <a:gd name="T16" fmla="*/ 218 w 361"/>
              <a:gd name="T17" fmla="*/ 179 h 445"/>
              <a:gd name="T18" fmla="*/ 207 w 361"/>
              <a:gd name="T19" fmla="*/ 184 h 445"/>
              <a:gd name="T20" fmla="*/ 142 w 361"/>
              <a:gd name="T21" fmla="*/ 19 h 445"/>
              <a:gd name="T22" fmla="*/ 110 w 361"/>
              <a:gd name="T23" fmla="*/ 5 h 445"/>
              <a:gd name="T24" fmla="*/ 95 w 361"/>
              <a:gd name="T25" fmla="*/ 37 h 445"/>
              <a:gd name="T26" fmla="*/ 166 w 361"/>
              <a:gd name="T27" fmla="*/ 215 h 445"/>
              <a:gd name="T28" fmla="*/ 154 w 361"/>
              <a:gd name="T29" fmla="*/ 220 h 445"/>
              <a:gd name="T30" fmla="*/ 99 w 361"/>
              <a:gd name="T31" fmla="*/ 80 h 445"/>
              <a:gd name="T32" fmla="*/ 99 w 361"/>
              <a:gd name="T33" fmla="*/ 80 h 445"/>
              <a:gd name="T34" fmla="*/ 67 w 361"/>
              <a:gd name="T35" fmla="*/ 66 h 445"/>
              <a:gd name="T36" fmla="*/ 53 w 361"/>
              <a:gd name="T37" fmla="*/ 98 h 445"/>
              <a:gd name="T38" fmla="*/ 53 w 361"/>
              <a:gd name="T39" fmla="*/ 98 h 445"/>
              <a:gd name="T40" fmla="*/ 113 w 361"/>
              <a:gd name="T41" fmla="*/ 251 h 445"/>
              <a:gd name="T42" fmla="*/ 102 w 361"/>
              <a:gd name="T43" fmla="*/ 255 h 445"/>
              <a:gd name="T44" fmla="*/ 51 w 361"/>
              <a:gd name="T45" fmla="*/ 127 h 445"/>
              <a:gd name="T46" fmla="*/ 19 w 361"/>
              <a:gd name="T47" fmla="*/ 114 h 445"/>
              <a:gd name="T48" fmla="*/ 5 w 361"/>
              <a:gd name="T49" fmla="*/ 145 h 445"/>
              <a:gd name="T50" fmla="*/ 95 w 361"/>
              <a:gd name="T51" fmla="*/ 372 h 445"/>
              <a:gd name="T52" fmla="*/ 80 w 361"/>
              <a:gd name="T53" fmla="*/ 420 h 445"/>
              <a:gd name="T54" fmla="*/ 245 w 361"/>
              <a:gd name="T55" fmla="*/ 445 h 445"/>
              <a:gd name="T56" fmla="*/ 255 w 361"/>
              <a:gd name="T57" fmla="*/ 402 h 445"/>
              <a:gd name="T58" fmla="*/ 324 w 361"/>
              <a:gd name="T59" fmla="*/ 311 h 445"/>
              <a:gd name="T60" fmla="*/ 358 w 361"/>
              <a:gd name="T61" fmla="*/ 136 h 445"/>
              <a:gd name="T62" fmla="*/ 339 w 361"/>
              <a:gd name="T63" fmla="*/ 106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1" h="445">
                <a:moveTo>
                  <a:pt x="339" y="106"/>
                </a:moveTo>
                <a:cubicBezTo>
                  <a:pt x="325" y="104"/>
                  <a:pt x="312" y="112"/>
                  <a:pt x="309" y="125"/>
                </a:cubicBezTo>
                <a:cubicBezTo>
                  <a:pt x="290" y="225"/>
                  <a:pt x="290" y="225"/>
                  <a:pt x="290" y="225"/>
                </a:cubicBezTo>
                <a:cubicBezTo>
                  <a:pt x="241" y="104"/>
                  <a:pt x="241" y="104"/>
                  <a:pt x="241" y="104"/>
                </a:cubicBezTo>
                <a:cubicBezTo>
                  <a:pt x="241" y="33"/>
                  <a:pt x="241" y="33"/>
                  <a:pt x="241" y="33"/>
                </a:cubicBezTo>
                <a:cubicBezTo>
                  <a:pt x="241" y="19"/>
                  <a:pt x="231" y="8"/>
                  <a:pt x="217" y="8"/>
                </a:cubicBezTo>
                <a:cubicBezTo>
                  <a:pt x="203" y="8"/>
                  <a:pt x="193" y="19"/>
                  <a:pt x="193" y="33"/>
                </a:cubicBezTo>
                <a:cubicBezTo>
                  <a:pt x="193" y="114"/>
                  <a:pt x="193" y="114"/>
                  <a:pt x="193" y="114"/>
                </a:cubicBezTo>
                <a:cubicBezTo>
                  <a:pt x="218" y="179"/>
                  <a:pt x="218" y="179"/>
                  <a:pt x="218" y="179"/>
                </a:cubicBezTo>
                <a:cubicBezTo>
                  <a:pt x="207" y="184"/>
                  <a:pt x="207" y="184"/>
                  <a:pt x="207" y="184"/>
                </a:cubicBezTo>
                <a:cubicBezTo>
                  <a:pt x="142" y="19"/>
                  <a:pt x="142" y="19"/>
                  <a:pt x="142" y="19"/>
                </a:cubicBezTo>
                <a:cubicBezTo>
                  <a:pt x="136" y="7"/>
                  <a:pt x="122" y="0"/>
                  <a:pt x="110" y="5"/>
                </a:cubicBezTo>
                <a:cubicBezTo>
                  <a:pt x="97" y="11"/>
                  <a:pt x="90" y="25"/>
                  <a:pt x="95" y="37"/>
                </a:cubicBezTo>
                <a:cubicBezTo>
                  <a:pt x="166" y="215"/>
                  <a:pt x="166" y="215"/>
                  <a:pt x="166" y="215"/>
                </a:cubicBezTo>
                <a:cubicBezTo>
                  <a:pt x="154" y="220"/>
                  <a:pt x="154" y="220"/>
                  <a:pt x="154" y="220"/>
                </a:cubicBezTo>
                <a:cubicBezTo>
                  <a:pt x="99" y="80"/>
                  <a:pt x="99" y="80"/>
                  <a:pt x="99" y="80"/>
                </a:cubicBezTo>
                <a:cubicBezTo>
                  <a:pt x="99" y="80"/>
                  <a:pt x="99" y="80"/>
                  <a:pt x="99" y="80"/>
                </a:cubicBezTo>
                <a:cubicBezTo>
                  <a:pt x="94" y="68"/>
                  <a:pt x="80" y="61"/>
                  <a:pt x="67" y="66"/>
                </a:cubicBezTo>
                <a:cubicBezTo>
                  <a:pt x="54" y="71"/>
                  <a:pt x="48" y="86"/>
                  <a:pt x="53" y="98"/>
                </a:cubicBezTo>
                <a:cubicBezTo>
                  <a:pt x="53" y="98"/>
                  <a:pt x="53" y="98"/>
                  <a:pt x="53" y="98"/>
                </a:cubicBezTo>
                <a:cubicBezTo>
                  <a:pt x="113" y="251"/>
                  <a:pt x="113" y="251"/>
                  <a:pt x="113" y="251"/>
                </a:cubicBezTo>
                <a:cubicBezTo>
                  <a:pt x="102" y="255"/>
                  <a:pt x="102" y="255"/>
                  <a:pt x="102" y="255"/>
                </a:cubicBezTo>
                <a:cubicBezTo>
                  <a:pt x="51" y="127"/>
                  <a:pt x="51" y="127"/>
                  <a:pt x="51" y="127"/>
                </a:cubicBezTo>
                <a:cubicBezTo>
                  <a:pt x="46" y="115"/>
                  <a:pt x="31" y="109"/>
                  <a:pt x="19" y="114"/>
                </a:cubicBezTo>
                <a:cubicBezTo>
                  <a:pt x="6" y="119"/>
                  <a:pt x="0" y="133"/>
                  <a:pt x="5" y="145"/>
                </a:cubicBezTo>
                <a:cubicBezTo>
                  <a:pt x="95" y="372"/>
                  <a:pt x="95" y="372"/>
                  <a:pt x="95" y="372"/>
                </a:cubicBezTo>
                <a:cubicBezTo>
                  <a:pt x="80" y="420"/>
                  <a:pt x="80" y="420"/>
                  <a:pt x="80" y="420"/>
                </a:cubicBezTo>
                <a:cubicBezTo>
                  <a:pt x="245" y="445"/>
                  <a:pt x="245" y="445"/>
                  <a:pt x="245" y="445"/>
                </a:cubicBezTo>
                <a:cubicBezTo>
                  <a:pt x="255" y="402"/>
                  <a:pt x="255" y="402"/>
                  <a:pt x="255" y="402"/>
                </a:cubicBezTo>
                <a:cubicBezTo>
                  <a:pt x="324" y="311"/>
                  <a:pt x="324" y="311"/>
                  <a:pt x="324" y="311"/>
                </a:cubicBezTo>
                <a:cubicBezTo>
                  <a:pt x="358" y="136"/>
                  <a:pt x="358" y="136"/>
                  <a:pt x="358" y="136"/>
                </a:cubicBezTo>
                <a:cubicBezTo>
                  <a:pt x="361" y="122"/>
                  <a:pt x="352" y="109"/>
                  <a:pt x="339" y="106"/>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74" name="Freeform: Shape 673">
            <a:extLst>
              <a:ext uri="{FF2B5EF4-FFF2-40B4-BE49-F238E27FC236}">
                <a16:creationId xmlns:a16="http://schemas.microsoft.com/office/drawing/2014/main" id="{F12732DF-0172-4413-83F3-A6F467A39737}"/>
              </a:ext>
            </a:extLst>
          </p:cNvPr>
          <p:cNvSpPr>
            <a:spLocks/>
          </p:cNvSpPr>
          <p:nvPr/>
        </p:nvSpPr>
        <p:spPr bwMode="auto">
          <a:xfrm>
            <a:off x="1668136" y="2794356"/>
            <a:ext cx="115077" cy="131599"/>
          </a:xfrm>
          <a:custGeom>
            <a:avLst/>
            <a:gdLst>
              <a:gd name="connsiteX0" fmla="*/ 29168 w 115077"/>
              <a:gd name="connsiteY0" fmla="*/ 0 h 131599"/>
              <a:gd name="connsiteX1" fmla="*/ 115077 w 115077"/>
              <a:gd name="connsiteY1" fmla="*/ 12669 h 131599"/>
              <a:gd name="connsiteX2" fmla="*/ 89576 w 115077"/>
              <a:gd name="connsiteY2" fmla="*/ 131599 h 131599"/>
              <a:gd name="connsiteX3" fmla="*/ 0 w 115077"/>
              <a:gd name="connsiteY3" fmla="*/ 131599 h 131599"/>
              <a:gd name="connsiteX4" fmla="*/ 29168 w 115077"/>
              <a:gd name="connsiteY4" fmla="*/ 0 h 131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77" h="131599">
                <a:moveTo>
                  <a:pt x="29168" y="0"/>
                </a:moveTo>
                <a:lnTo>
                  <a:pt x="115077" y="12669"/>
                </a:lnTo>
                <a:lnTo>
                  <a:pt x="89576" y="131599"/>
                </a:lnTo>
                <a:lnTo>
                  <a:pt x="0" y="131599"/>
                </a:lnTo>
                <a:lnTo>
                  <a:pt x="2916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73" name="Freeform: Shape 672">
            <a:extLst>
              <a:ext uri="{FF2B5EF4-FFF2-40B4-BE49-F238E27FC236}">
                <a16:creationId xmlns:a16="http://schemas.microsoft.com/office/drawing/2014/main" id="{696D51EF-950A-4556-8495-66138851A443}"/>
              </a:ext>
            </a:extLst>
          </p:cNvPr>
          <p:cNvSpPr>
            <a:spLocks/>
          </p:cNvSpPr>
          <p:nvPr/>
        </p:nvSpPr>
        <p:spPr bwMode="auto">
          <a:xfrm>
            <a:off x="1955032" y="2824048"/>
            <a:ext cx="121324" cy="101907"/>
          </a:xfrm>
          <a:custGeom>
            <a:avLst/>
            <a:gdLst>
              <a:gd name="connsiteX0" fmla="*/ 85513 w 121324"/>
              <a:gd name="connsiteY0" fmla="*/ 0 h 101907"/>
              <a:gd name="connsiteX1" fmla="*/ 121324 w 121324"/>
              <a:gd name="connsiteY1" fmla="*/ 101907 h 101907"/>
              <a:gd name="connsiteX2" fmla="*/ 31742 w 121324"/>
              <a:gd name="connsiteY2" fmla="*/ 101907 h 101907"/>
              <a:gd name="connsiteX3" fmla="*/ 0 w 121324"/>
              <a:gd name="connsiteY3" fmla="*/ 11877 h 101907"/>
              <a:gd name="connsiteX4" fmla="*/ 85513 w 121324"/>
              <a:gd name="connsiteY4" fmla="*/ 0 h 10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24" h="101907">
                <a:moveTo>
                  <a:pt x="85513" y="0"/>
                </a:moveTo>
                <a:lnTo>
                  <a:pt x="121324" y="101907"/>
                </a:lnTo>
                <a:lnTo>
                  <a:pt x="31742" y="101907"/>
                </a:lnTo>
                <a:lnTo>
                  <a:pt x="0" y="11877"/>
                </a:lnTo>
                <a:lnTo>
                  <a:pt x="855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28" name="Rectangle: Rounded Corners 527">
            <a:extLst>
              <a:ext uri="{FF2B5EF4-FFF2-40B4-BE49-F238E27FC236}">
                <a16:creationId xmlns:a16="http://schemas.microsoft.com/office/drawing/2014/main" id="{EE9851A8-CD7F-4F5E-9179-6E4CBB236B29}"/>
              </a:ext>
            </a:extLst>
          </p:cNvPr>
          <p:cNvSpPr/>
          <p:nvPr/>
        </p:nvSpPr>
        <p:spPr bwMode="auto">
          <a:xfrm>
            <a:off x="1724126" y="2506627"/>
            <a:ext cx="231978" cy="34700"/>
          </a:xfrm>
          <a:prstGeom prst="roundRect">
            <a:avLst>
              <a:gd name="adj" fmla="val 50000"/>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353535"/>
              </a:solidFill>
              <a:effectLst/>
              <a:uLnTx/>
              <a:uFillTx/>
              <a:latin typeface="Segoe UI Light"/>
              <a:ea typeface="Segoe UI" pitchFamily="34" charset="0"/>
              <a:cs typeface="Segoe UI" pitchFamily="34" charset="0"/>
            </a:endParaRPr>
          </a:p>
        </p:txBody>
      </p:sp>
      <p:sp>
        <p:nvSpPr>
          <p:cNvPr id="532" name="Oval 238">
            <a:extLst>
              <a:ext uri="{FF2B5EF4-FFF2-40B4-BE49-F238E27FC236}">
                <a16:creationId xmlns:a16="http://schemas.microsoft.com/office/drawing/2014/main" id="{F3BB1BE2-1C44-40AA-B3E3-C8BDB2AEBA41}"/>
              </a:ext>
            </a:extLst>
          </p:cNvPr>
          <p:cNvSpPr>
            <a:spLocks noChangeArrowheads="1"/>
          </p:cNvSpPr>
          <p:nvPr/>
        </p:nvSpPr>
        <p:spPr bwMode="auto">
          <a:xfrm>
            <a:off x="1325046" y="2009379"/>
            <a:ext cx="167449" cy="167449"/>
          </a:xfrm>
          <a:prstGeom prst="ellipse">
            <a:avLst/>
          </a:prstGeom>
          <a:solidFill>
            <a:schemeClr val="accent6">
              <a:lumMod val="20000"/>
              <a:lumOff val="80000"/>
              <a:alpha val="61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33" name="Oval 240">
            <a:extLst>
              <a:ext uri="{FF2B5EF4-FFF2-40B4-BE49-F238E27FC236}">
                <a16:creationId xmlns:a16="http://schemas.microsoft.com/office/drawing/2014/main" id="{0882FA25-9218-4D51-AF0B-65B8A1499ECC}"/>
              </a:ext>
            </a:extLst>
          </p:cNvPr>
          <p:cNvSpPr>
            <a:spLocks noChangeArrowheads="1"/>
          </p:cNvSpPr>
          <p:nvPr/>
        </p:nvSpPr>
        <p:spPr bwMode="auto">
          <a:xfrm>
            <a:off x="1779075" y="1649914"/>
            <a:ext cx="177038" cy="176669"/>
          </a:xfrm>
          <a:prstGeom prst="ellipse">
            <a:avLst/>
          </a:prstGeom>
          <a:solidFill>
            <a:schemeClr val="accent6">
              <a:lumMod val="20000"/>
              <a:lumOff val="80000"/>
              <a:alpha val="61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34" name="Oval 242">
            <a:extLst>
              <a:ext uri="{FF2B5EF4-FFF2-40B4-BE49-F238E27FC236}">
                <a16:creationId xmlns:a16="http://schemas.microsoft.com/office/drawing/2014/main" id="{6C1EA92C-74F3-4651-AB2D-E5D778BA49A4}"/>
              </a:ext>
            </a:extLst>
          </p:cNvPr>
          <p:cNvSpPr>
            <a:spLocks noChangeArrowheads="1"/>
          </p:cNvSpPr>
          <p:nvPr/>
        </p:nvSpPr>
        <p:spPr bwMode="auto">
          <a:xfrm>
            <a:off x="2140158" y="1969176"/>
            <a:ext cx="44628" cy="44628"/>
          </a:xfrm>
          <a:prstGeom prst="ellipse">
            <a:avLst/>
          </a:prstGeom>
          <a:solidFill>
            <a:schemeClr val="bg1">
              <a:alpha val="61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35" name="Oval 246">
            <a:extLst>
              <a:ext uri="{FF2B5EF4-FFF2-40B4-BE49-F238E27FC236}">
                <a16:creationId xmlns:a16="http://schemas.microsoft.com/office/drawing/2014/main" id="{C2CB877D-9FAB-4158-9CC0-F328DE03BF79}"/>
              </a:ext>
            </a:extLst>
          </p:cNvPr>
          <p:cNvSpPr>
            <a:spLocks noChangeArrowheads="1"/>
          </p:cNvSpPr>
          <p:nvPr/>
        </p:nvSpPr>
        <p:spPr bwMode="auto">
          <a:xfrm>
            <a:off x="1432599" y="1377126"/>
            <a:ext cx="206544" cy="206176"/>
          </a:xfrm>
          <a:prstGeom prst="ellipse">
            <a:avLst/>
          </a:prstGeom>
          <a:solidFill>
            <a:schemeClr val="accent6">
              <a:lumMod val="20000"/>
              <a:lumOff val="80000"/>
              <a:alpha val="61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36" name="Oval 248">
            <a:extLst>
              <a:ext uri="{FF2B5EF4-FFF2-40B4-BE49-F238E27FC236}">
                <a16:creationId xmlns:a16="http://schemas.microsoft.com/office/drawing/2014/main" id="{6B73301D-9635-45CD-BDD6-BA584708C4DF}"/>
              </a:ext>
            </a:extLst>
          </p:cNvPr>
          <p:cNvSpPr>
            <a:spLocks noChangeArrowheads="1"/>
          </p:cNvSpPr>
          <p:nvPr/>
        </p:nvSpPr>
        <p:spPr bwMode="auto">
          <a:xfrm>
            <a:off x="2242343" y="1682619"/>
            <a:ext cx="165316" cy="164972"/>
          </a:xfrm>
          <a:prstGeom prst="ellipse">
            <a:avLst/>
          </a:prstGeom>
          <a:solidFill>
            <a:schemeClr val="accent6">
              <a:lumMod val="20000"/>
              <a:lumOff val="80000"/>
              <a:alpha val="61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37" name="Oval 250">
            <a:extLst>
              <a:ext uri="{FF2B5EF4-FFF2-40B4-BE49-F238E27FC236}">
                <a16:creationId xmlns:a16="http://schemas.microsoft.com/office/drawing/2014/main" id="{342BEB82-9388-434B-9539-F5996AA290E4}"/>
              </a:ext>
            </a:extLst>
          </p:cNvPr>
          <p:cNvSpPr>
            <a:spLocks noChangeArrowheads="1"/>
          </p:cNvSpPr>
          <p:nvPr/>
        </p:nvSpPr>
        <p:spPr bwMode="auto">
          <a:xfrm>
            <a:off x="2021395" y="1369605"/>
            <a:ext cx="128721" cy="128721"/>
          </a:xfrm>
          <a:prstGeom prst="ellipse">
            <a:avLst/>
          </a:prstGeom>
          <a:solidFill>
            <a:schemeClr val="accent6">
              <a:lumMod val="20000"/>
              <a:lumOff val="80000"/>
              <a:alpha val="61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39" name="Freeform 129">
            <a:extLst>
              <a:ext uri="{FF2B5EF4-FFF2-40B4-BE49-F238E27FC236}">
                <a16:creationId xmlns:a16="http://schemas.microsoft.com/office/drawing/2014/main" id="{81404CBF-B7A2-4BA0-9E11-6CCF3DCAE5C6}"/>
              </a:ext>
            </a:extLst>
          </p:cNvPr>
          <p:cNvSpPr>
            <a:spLocks/>
          </p:cNvSpPr>
          <p:nvPr/>
        </p:nvSpPr>
        <p:spPr bwMode="auto">
          <a:xfrm>
            <a:off x="1575481" y="2109107"/>
            <a:ext cx="530745" cy="42230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40" name="Freeform 130">
            <a:extLst>
              <a:ext uri="{FF2B5EF4-FFF2-40B4-BE49-F238E27FC236}">
                <a16:creationId xmlns:a16="http://schemas.microsoft.com/office/drawing/2014/main" id="{A6B028C7-477A-40D9-AEB8-89ADB9454045}"/>
              </a:ext>
            </a:extLst>
          </p:cNvPr>
          <p:cNvSpPr>
            <a:spLocks/>
          </p:cNvSpPr>
          <p:nvPr/>
        </p:nvSpPr>
        <p:spPr bwMode="auto">
          <a:xfrm>
            <a:off x="1606831" y="2140457"/>
            <a:ext cx="468044" cy="269983"/>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600" name="Group 599">
            <a:extLst>
              <a:ext uri="{FF2B5EF4-FFF2-40B4-BE49-F238E27FC236}">
                <a16:creationId xmlns:a16="http://schemas.microsoft.com/office/drawing/2014/main" id="{5DF57B74-2082-40EF-9ECD-A5782AC19E82}"/>
              </a:ext>
            </a:extLst>
          </p:cNvPr>
          <p:cNvGrpSpPr/>
          <p:nvPr/>
        </p:nvGrpSpPr>
        <p:grpSpPr>
          <a:xfrm>
            <a:off x="1666950" y="2054889"/>
            <a:ext cx="340060" cy="312029"/>
            <a:chOff x="8885451" y="3326703"/>
            <a:chExt cx="1336125" cy="1225989"/>
          </a:xfrm>
        </p:grpSpPr>
        <p:sp>
          <p:nvSpPr>
            <p:cNvPr id="601" name="Freeform 190">
              <a:extLst>
                <a:ext uri="{FF2B5EF4-FFF2-40B4-BE49-F238E27FC236}">
                  <a16:creationId xmlns:a16="http://schemas.microsoft.com/office/drawing/2014/main" id="{2512B142-D7B7-44A0-A4E1-6996DB4C4C70}"/>
                </a:ext>
              </a:extLst>
            </p:cNvPr>
            <p:cNvSpPr>
              <a:spLocks/>
            </p:cNvSpPr>
            <p:nvPr/>
          </p:nvSpPr>
          <p:spPr bwMode="auto">
            <a:xfrm>
              <a:off x="8885451" y="3662908"/>
              <a:ext cx="1336125" cy="889784"/>
            </a:xfrm>
            <a:custGeom>
              <a:avLst/>
              <a:gdLst>
                <a:gd name="T0" fmla="*/ 22 w 823"/>
                <a:gd name="T1" fmla="*/ 0 h 549"/>
                <a:gd name="T2" fmla="*/ 0 w 823"/>
                <a:gd name="T3" fmla="*/ 135 h 549"/>
                <a:gd name="T4" fmla="*/ 411 w 823"/>
                <a:gd name="T5" fmla="*/ 549 h 549"/>
                <a:gd name="T6" fmla="*/ 823 w 823"/>
                <a:gd name="T7" fmla="*/ 135 h 549"/>
                <a:gd name="T8" fmla="*/ 800 w 823"/>
                <a:gd name="T9" fmla="*/ 0 h 549"/>
                <a:gd name="T10" fmla="*/ 22 w 823"/>
                <a:gd name="T11" fmla="*/ 0 h 549"/>
              </a:gdLst>
              <a:ahLst/>
              <a:cxnLst>
                <a:cxn ang="0">
                  <a:pos x="T0" y="T1"/>
                </a:cxn>
                <a:cxn ang="0">
                  <a:pos x="T2" y="T3"/>
                </a:cxn>
                <a:cxn ang="0">
                  <a:pos x="T4" y="T5"/>
                </a:cxn>
                <a:cxn ang="0">
                  <a:pos x="T6" y="T7"/>
                </a:cxn>
                <a:cxn ang="0">
                  <a:pos x="T8" y="T9"/>
                </a:cxn>
                <a:cxn ang="0">
                  <a:pos x="T10" y="T11"/>
                </a:cxn>
              </a:cxnLst>
              <a:rect l="0" t="0" r="r" b="b"/>
              <a:pathLst>
                <a:path w="823" h="549">
                  <a:moveTo>
                    <a:pt x="22" y="0"/>
                  </a:moveTo>
                  <a:cubicBezTo>
                    <a:pt x="7" y="42"/>
                    <a:pt x="0" y="87"/>
                    <a:pt x="0" y="135"/>
                  </a:cubicBezTo>
                  <a:cubicBezTo>
                    <a:pt x="0" y="364"/>
                    <a:pt x="184" y="549"/>
                    <a:pt x="411" y="549"/>
                  </a:cubicBezTo>
                  <a:cubicBezTo>
                    <a:pt x="638" y="549"/>
                    <a:pt x="823" y="364"/>
                    <a:pt x="823" y="135"/>
                  </a:cubicBezTo>
                  <a:cubicBezTo>
                    <a:pt x="823" y="87"/>
                    <a:pt x="815" y="42"/>
                    <a:pt x="800" y="0"/>
                  </a:cubicBezTo>
                  <a:lnTo>
                    <a:pt x="22"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02" name="Freeform 214">
              <a:extLst>
                <a:ext uri="{FF2B5EF4-FFF2-40B4-BE49-F238E27FC236}">
                  <a16:creationId xmlns:a16="http://schemas.microsoft.com/office/drawing/2014/main" id="{91CF77C3-BE1D-449F-A5A0-131CF9E24D95}"/>
                </a:ext>
              </a:extLst>
            </p:cNvPr>
            <p:cNvSpPr>
              <a:spLocks/>
            </p:cNvSpPr>
            <p:nvPr/>
          </p:nvSpPr>
          <p:spPr bwMode="auto">
            <a:xfrm>
              <a:off x="9221656" y="4109249"/>
              <a:ext cx="324612" cy="443443"/>
            </a:xfrm>
            <a:custGeom>
              <a:avLst/>
              <a:gdLst>
                <a:gd name="T0" fmla="*/ 200 w 200"/>
                <a:gd name="T1" fmla="*/ 0 h 274"/>
                <a:gd name="T2" fmla="*/ 200 w 200"/>
                <a:gd name="T3" fmla="*/ 274 h 274"/>
                <a:gd name="T4" fmla="*/ 198 w 200"/>
                <a:gd name="T5" fmla="*/ 274 h 274"/>
                <a:gd name="T6" fmla="*/ 142 w 200"/>
                <a:gd name="T7" fmla="*/ 271 h 274"/>
                <a:gd name="T8" fmla="*/ 124 w 200"/>
                <a:gd name="T9" fmla="*/ 267 h 274"/>
                <a:gd name="T10" fmla="*/ 80 w 200"/>
                <a:gd name="T11" fmla="*/ 257 h 274"/>
                <a:gd name="T12" fmla="*/ 9 w 200"/>
                <a:gd name="T13" fmla="*/ 227 h 274"/>
                <a:gd name="T14" fmla="*/ 9 w 200"/>
                <a:gd name="T15" fmla="*/ 203 h 274"/>
                <a:gd name="T16" fmla="*/ 9 w 200"/>
                <a:gd name="T17" fmla="*/ 199 h 274"/>
                <a:gd name="T18" fmla="*/ 8 w 200"/>
                <a:gd name="T19" fmla="*/ 196 h 274"/>
                <a:gd name="T20" fmla="*/ 4 w 200"/>
                <a:gd name="T21" fmla="*/ 90 h 274"/>
                <a:gd name="T22" fmla="*/ 2 w 200"/>
                <a:gd name="T23" fmla="*/ 71 h 274"/>
                <a:gd name="T24" fmla="*/ 1 w 200"/>
                <a:gd name="T25" fmla="*/ 35 h 274"/>
                <a:gd name="T26" fmla="*/ 0 w 200"/>
                <a:gd name="T27" fmla="*/ 28 h 274"/>
                <a:gd name="T28" fmla="*/ 0 w 200"/>
                <a:gd name="T29" fmla="*/ 14 h 274"/>
                <a:gd name="T30" fmla="*/ 30 w 200"/>
                <a:gd name="T31" fmla="*/ 12 h 274"/>
                <a:gd name="T32" fmla="*/ 35 w 200"/>
                <a:gd name="T33" fmla="*/ 12 h 274"/>
                <a:gd name="T34" fmla="*/ 43 w 200"/>
                <a:gd name="T35" fmla="*/ 11 h 274"/>
                <a:gd name="T36" fmla="*/ 46 w 200"/>
                <a:gd name="T37" fmla="*/ 11 h 274"/>
                <a:gd name="T38" fmla="*/ 105 w 200"/>
                <a:gd name="T39" fmla="*/ 7 h 274"/>
                <a:gd name="T40" fmla="*/ 123 w 200"/>
                <a:gd name="T41" fmla="*/ 5 h 274"/>
                <a:gd name="T42" fmla="*/ 176 w 200"/>
                <a:gd name="T43" fmla="*/ 1 h 274"/>
                <a:gd name="T44" fmla="*/ 193 w 200"/>
                <a:gd name="T45" fmla="*/ 0 h 274"/>
                <a:gd name="T46" fmla="*/ 198 w 200"/>
                <a:gd name="T47" fmla="*/ 0 h 274"/>
                <a:gd name="T48" fmla="*/ 199 w 200"/>
                <a:gd name="T49" fmla="*/ 0 h 274"/>
                <a:gd name="T50" fmla="*/ 200 w 200"/>
                <a:gd name="T51" fmla="*/ 0 h 274"/>
                <a:gd name="T52" fmla="*/ 200 w 200"/>
                <a:gd name="T53"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274">
                  <a:moveTo>
                    <a:pt x="200" y="0"/>
                  </a:moveTo>
                  <a:cubicBezTo>
                    <a:pt x="200" y="274"/>
                    <a:pt x="200" y="274"/>
                    <a:pt x="200" y="274"/>
                  </a:cubicBezTo>
                  <a:cubicBezTo>
                    <a:pt x="198" y="274"/>
                    <a:pt x="198" y="274"/>
                    <a:pt x="198" y="274"/>
                  </a:cubicBezTo>
                  <a:cubicBezTo>
                    <a:pt x="179" y="274"/>
                    <a:pt x="160" y="273"/>
                    <a:pt x="142" y="271"/>
                  </a:cubicBezTo>
                  <a:cubicBezTo>
                    <a:pt x="136" y="270"/>
                    <a:pt x="130" y="268"/>
                    <a:pt x="124" y="267"/>
                  </a:cubicBezTo>
                  <a:cubicBezTo>
                    <a:pt x="109" y="265"/>
                    <a:pt x="95" y="261"/>
                    <a:pt x="80" y="257"/>
                  </a:cubicBezTo>
                  <a:cubicBezTo>
                    <a:pt x="55" y="249"/>
                    <a:pt x="31" y="239"/>
                    <a:pt x="9" y="227"/>
                  </a:cubicBezTo>
                  <a:cubicBezTo>
                    <a:pt x="9" y="203"/>
                    <a:pt x="9" y="203"/>
                    <a:pt x="9" y="203"/>
                  </a:cubicBezTo>
                  <a:cubicBezTo>
                    <a:pt x="9" y="199"/>
                    <a:pt x="9" y="199"/>
                    <a:pt x="9" y="199"/>
                  </a:cubicBezTo>
                  <a:cubicBezTo>
                    <a:pt x="8" y="196"/>
                    <a:pt x="8" y="196"/>
                    <a:pt x="8" y="196"/>
                  </a:cubicBezTo>
                  <a:cubicBezTo>
                    <a:pt x="4" y="90"/>
                    <a:pt x="4" y="90"/>
                    <a:pt x="4" y="90"/>
                  </a:cubicBezTo>
                  <a:cubicBezTo>
                    <a:pt x="2" y="71"/>
                    <a:pt x="2" y="71"/>
                    <a:pt x="2" y="71"/>
                  </a:cubicBezTo>
                  <a:cubicBezTo>
                    <a:pt x="1" y="35"/>
                    <a:pt x="1" y="35"/>
                    <a:pt x="1" y="35"/>
                  </a:cubicBezTo>
                  <a:cubicBezTo>
                    <a:pt x="0" y="28"/>
                    <a:pt x="0" y="28"/>
                    <a:pt x="0" y="28"/>
                  </a:cubicBezTo>
                  <a:cubicBezTo>
                    <a:pt x="0" y="14"/>
                    <a:pt x="0" y="14"/>
                    <a:pt x="0" y="14"/>
                  </a:cubicBezTo>
                  <a:cubicBezTo>
                    <a:pt x="30" y="12"/>
                    <a:pt x="30" y="12"/>
                    <a:pt x="30" y="12"/>
                  </a:cubicBezTo>
                  <a:cubicBezTo>
                    <a:pt x="35" y="12"/>
                    <a:pt x="35" y="12"/>
                    <a:pt x="35" y="12"/>
                  </a:cubicBezTo>
                  <a:cubicBezTo>
                    <a:pt x="43" y="11"/>
                    <a:pt x="43" y="11"/>
                    <a:pt x="43" y="11"/>
                  </a:cubicBezTo>
                  <a:cubicBezTo>
                    <a:pt x="46" y="11"/>
                    <a:pt x="46" y="11"/>
                    <a:pt x="46" y="11"/>
                  </a:cubicBezTo>
                  <a:cubicBezTo>
                    <a:pt x="105" y="7"/>
                    <a:pt x="105" y="7"/>
                    <a:pt x="105" y="7"/>
                  </a:cubicBezTo>
                  <a:cubicBezTo>
                    <a:pt x="123" y="5"/>
                    <a:pt x="123" y="5"/>
                    <a:pt x="123" y="5"/>
                  </a:cubicBezTo>
                  <a:cubicBezTo>
                    <a:pt x="176" y="1"/>
                    <a:pt x="176" y="1"/>
                    <a:pt x="176" y="1"/>
                  </a:cubicBezTo>
                  <a:cubicBezTo>
                    <a:pt x="193" y="0"/>
                    <a:pt x="193" y="0"/>
                    <a:pt x="193" y="0"/>
                  </a:cubicBezTo>
                  <a:cubicBezTo>
                    <a:pt x="198" y="0"/>
                    <a:pt x="198" y="0"/>
                    <a:pt x="198" y="0"/>
                  </a:cubicBezTo>
                  <a:cubicBezTo>
                    <a:pt x="199" y="0"/>
                    <a:pt x="199" y="0"/>
                    <a:pt x="199" y="0"/>
                  </a:cubicBezTo>
                  <a:cubicBezTo>
                    <a:pt x="200" y="0"/>
                    <a:pt x="200" y="0"/>
                    <a:pt x="200" y="0"/>
                  </a:cubicBezTo>
                  <a:cubicBezTo>
                    <a:pt x="200" y="0"/>
                    <a:pt x="200" y="0"/>
                    <a:pt x="20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03" name="Freeform 215">
              <a:extLst>
                <a:ext uri="{FF2B5EF4-FFF2-40B4-BE49-F238E27FC236}">
                  <a16:creationId xmlns:a16="http://schemas.microsoft.com/office/drawing/2014/main" id="{3E3B6E93-052B-4DC4-A067-2A0DA24EDFA8}"/>
                </a:ext>
              </a:extLst>
            </p:cNvPr>
            <p:cNvSpPr>
              <a:spLocks/>
            </p:cNvSpPr>
            <p:nvPr/>
          </p:nvSpPr>
          <p:spPr bwMode="auto">
            <a:xfrm>
              <a:off x="9546267" y="4109249"/>
              <a:ext cx="327510" cy="443443"/>
            </a:xfrm>
            <a:custGeom>
              <a:avLst/>
              <a:gdLst>
                <a:gd name="T0" fmla="*/ 201 w 201"/>
                <a:gd name="T1" fmla="*/ 14 h 274"/>
                <a:gd name="T2" fmla="*/ 199 w 201"/>
                <a:gd name="T3" fmla="*/ 38 h 274"/>
                <a:gd name="T4" fmla="*/ 197 w 201"/>
                <a:gd name="T5" fmla="*/ 76 h 274"/>
                <a:gd name="T6" fmla="*/ 197 w 201"/>
                <a:gd name="T7" fmla="*/ 93 h 274"/>
                <a:gd name="T8" fmla="*/ 191 w 201"/>
                <a:gd name="T9" fmla="*/ 196 h 274"/>
                <a:gd name="T10" fmla="*/ 191 w 201"/>
                <a:gd name="T11" fmla="*/ 197 h 274"/>
                <a:gd name="T12" fmla="*/ 191 w 201"/>
                <a:gd name="T13" fmla="*/ 203 h 274"/>
                <a:gd name="T14" fmla="*/ 191 w 201"/>
                <a:gd name="T15" fmla="*/ 227 h 274"/>
                <a:gd name="T16" fmla="*/ 120 w 201"/>
                <a:gd name="T17" fmla="*/ 257 h 274"/>
                <a:gd name="T18" fmla="*/ 89 w 201"/>
                <a:gd name="T19" fmla="*/ 265 h 274"/>
                <a:gd name="T20" fmla="*/ 57 w 201"/>
                <a:gd name="T21" fmla="*/ 271 h 274"/>
                <a:gd name="T22" fmla="*/ 3 w 201"/>
                <a:gd name="T23" fmla="*/ 274 h 274"/>
                <a:gd name="T24" fmla="*/ 0 w 201"/>
                <a:gd name="T25" fmla="*/ 274 h 274"/>
                <a:gd name="T26" fmla="*/ 0 w 201"/>
                <a:gd name="T27" fmla="*/ 0 h 274"/>
                <a:gd name="T28" fmla="*/ 2 w 201"/>
                <a:gd name="T29" fmla="*/ 0 h 274"/>
                <a:gd name="T30" fmla="*/ 3 w 201"/>
                <a:gd name="T31" fmla="*/ 0 h 274"/>
                <a:gd name="T32" fmla="*/ 8 w 201"/>
                <a:gd name="T33" fmla="*/ 0 h 274"/>
                <a:gd name="T34" fmla="*/ 15 w 201"/>
                <a:gd name="T35" fmla="*/ 1 h 274"/>
                <a:gd name="T36" fmla="*/ 75 w 201"/>
                <a:gd name="T37" fmla="*/ 5 h 274"/>
                <a:gd name="T38" fmla="*/ 99 w 201"/>
                <a:gd name="T39" fmla="*/ 7 h 274"/>
                <a:gd name="T40" fmla="*/ 159 w 201"/>
                <a:gd name="T41" fmla="*/ 12 h 274"/>
                <a:gd name="T42" fmla="*/ 165 w 201"/>
                <a:gd name="T43" fmla="*/ 12 h 274"/>
                <a:gd name="T44" fmla="*/ 173 w 201"/>
                <a:gd name="T45" fmla="*/ 12 h 274"/>
                <a:gd name="T46" fmla="*/ 201 w 201"/>
                <a:gd name="T47" fmla="*/ 14 h 274"/>
                <a:gd name="T48" fmla="*/ 201 w 201"/>
                <a:gd name="T49" fmla="*/ 1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1" h="274">
                  <a:moveTo>
                    <a:pt x="201" y="14"/>
                  </a:moveTo>
                  <a:cubicBezTo>
                    <a:pt x="199" y="38"/>
                    <a:pt x="199" y="38"/>
                    <a:pt x="199" y="38"/>
                  </a:cubicBezTo>
                  <a:cubicBezTo>
                    <a:pt x="197" y="76"/>
                    <a:pt x="197" y="76"/>
                    <a:pt x="197" y="76"/>
                  </a:cubicBezTo>
                  <a:cubicBezTo>
                    <a:pt x="197" y="93"/>
                    <a:pt x="197" y="93"/>
                    <a:pt x="197" y="93"/>
                  </a:cubicBezTo>
                  <a:cubicBezTo>
                    <a:pt x="191" y="196"/>
                    <a:pt x="191" y="196"/>
                    <a:pt x="191" y="196"/>
                  </a:cubicBezTo>
                  <a:cubicBezTo>
                    <a:pt x="191" y="197"/>
                    <a:pt x="191" y="197"/>
                    <a:pt x="191" y="197"/>
                  </a:cubicBezTo>
                  <a:cubicBezTo>
                    <a:pt x="191" y="203"/>
                    <a:pt x="191" y="203"/>
                    <a:pt x="191" y="203"/>
                  </a:cubicBezTo>
                  <a:cubicBezTo>
                    <a:pt x="191" y="227"/>
                    <a:pt x="191" y="227"/>
                    <a:pt x="191" y="227"/>
                  </a:cubicBezTo>
                  <a:cubicBezTo>
                    <a:pt x="168" y="239"/>
                    <a:pt x="144" y="250"/>
                    <a:pt x="120" y="257"/>
                  </a:cubicBezTo>
                  <a:cubicBezTo>
                    <a:pt x="110" y="260"/>
                    <a:pt x="99" y="263"/>
                    <a:pt x="89" y="265"/>
                  </a:cubicBezTo>
                  <a:cubicBezTo>
                    <a:pt x="79" y="267"/>
                    <a:pt x="68" y="270"/>
                    <a:pt x="57" y="271"/>
                  </a:cubicBezTo>
                  <a:cubicBezTo>
                    <a:pt x="40" y="273"/>
                    <a:pt x="21" y="274"/>
                    <a:pt x="3" y="274"/>
                  </a:cubicBezTo>
                  <a:cubicBezTo>
                    <a:pt x="0" y="274"/>
                    <a:pt x="0" y="274"/>
                    <a:pt x="0" y="274"/>
                  </a:cubicBezTo>
                  <a:cubicBezTo>
                    <a:pt x="0" y="0"/>
                    <a:pt x="0" y="0"/>
                    <a:pt x="0" y="0"/>
                  </a:cubicBezTo>
                  <a:cubicBezTo>
                    <a:pt x="2" y="0"/>
                    <a:pt x="2" y="0"/>
                    <a:pt x="2" y="0"/>
                  </a:cubicBezTo>
                  <a:cubicBezTo>
                    <a:pt x="3" y="0"/>
                    <a:pt x="3" y="0"/>
                    <a:pt x="3" y="0"/>
                  </a:cubicBezTo>
                  <a:cubicBezTo>
                    <a:pt x="8" y="0"/>
                    <a:pt x="8" y="0"/>
                    <a:pt x="8" y="0"/>
                  </a:cubicBezTo>
                  <a:cubicBezTo>
                    <a:pt x="15" y="1"/>
                    <a:pt x="15" y="1"/>
                    <a:pt x="15" y="1"/>
                  </a:cubicBezTo>
                  <a:cubicBezTo>
                    <a:pt x="75" y="5"/>
                    <a:pt x="75" y="5"/>
                    <a:pt x="75" y="5"/>
                  </a:cubicBezTo>
                  <a:cubicBezTo>
                    <a:pt x="99" y="7"/>
                    <a:pt x="99" y="7"/>
                    <a:pt x="99" y="7"/>
                  </a:cubicBezTo>
                  <a:cubicBezTo>
                    <a:pt x="159" y="12"/>
                    <a:pt x="159" y="12"/>
                    <a:pt x="159" y="12"/>
                  </a:cubicBezTo>
                  <a:cubicBezTo>
                    <a:pt x="165" y="12"/>
                    <a:pt x="165" y="12"/>
                    <a:pt x="165" y="12"/>
                  </a:cubicBezTo>
                  <a:cubicBezTo>
                    <a:pt x="173" y="12"/>
                    <a:pt x="173" y="12"/>
                    <a:pt x="173" y="12"/>
                  </a:cubicBezTo>
                  <a:cubicBezTo>
                    <a:pt x="201" y="14"/>
                    <a:pt x="201" y="14"/>
                    <a:pt x="201" y="14"/>
                  </a:cubicBezTo>
                  <a:cubicBezTo>
                    <a:pt x="201" y="14"/>
                    <a:pt x="201" y="14"/>
                    <a:pt x="201"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04" name="Freeform 219">
              <a:extLst>
                <a:ext uri="{FF2B5EF4-FFF2-40B4-BE49-F238E27FC236}">
                  <a16:creationId xmlns:a16="http://schemas.microsoft.com/office/drawing/2014/main" id="{F6CB7A22-5E81-44F8-A0B0-CD13CF55E525}"/>
                </a:ext>
              </a:extLst>
            </p:cNvPr>
            <p:cNvSpPr>
              <a:spLocks/>
            </p:cNvSpPr>
            <p:nvPr/>
          </p:nvSpPr>
          <p:spPr bwMode="auto">
            <a:xfrm>
              <a:off x="9379614" y="4025198"/>
              <a:ext cx="336205" cy="527494"/>
            </a:xfrm>
            <a:custGeom>
              <a:avLst/>
              <a:gdLst>
                <a:gd name="T0" fmla="*/ 207 w 207"/>
                <a:gd name="T1" fmla="*/ 0 h 326"/>
                <a:gd name="T2" fmla="*/ 206 w 207"/>
                <a:gd name="T3" fmla="*/ 3 h 326"/>
                <a:gd name="T4" fmla="*/ 206 w 207"/>
                <a:gd name="T5" fmla="*/ 8 h 326"/>
                <a:gd name="T6" fmla="*/ 205 w 207"/>
                <a:gd name="T7" fmla="*/ 57 h 326"/>
                <a:gd name="T8" fmla="*/ 203 w 207"/>
                <a:gd name="T9" fmla="*/ 106 h 326"/>
                <a:gd name="T10" fmla="*/ 194 w 207"/>
                <a:gd name="T11" fmla="*/ 317 h 326"/>
                <a:gd name="T12" fmla="*/ 161 w 207"/>
                <a:gd name="T13" fmla="*/ 323 h 326"/>
                <a:gd name="T14" fmla="*/ 106 w 207"/>
                <a:gd name="T15" fmla="*/ 326 h 326"/>
                <a:gd name="T16" fmla="*/ 104 w 207"/>
                <a:gd name="T17" fmla="*/ 326 h 326"/>
                <a:gd name="T18" fmla="*/ 46 w 207"/>
                <a:gd name="T19" fmla="*/ 323 h 326"/>
                <a:gd name="T20" fmla="*/ 29 w 207"/>
                <a:gd name="T21" fmla="*/ 319 h 326"/>
                <a:gd name="T22" fmla="*/ 0 w 207"/>
                <a:gd name="T23" fmla="*/ 123 h 326"/>
                <a:gd name="T24" fmla="*/ 2 w 207"/>
                <a:gd name="T25" fmla="*/ 104 h 326"/>
                <a:gd name="T26" fmla="*/ 9 w 207"/>
                <a:gd name="T27" fmla="*/ 57 h 326"/>
                <a:gd name="T28" fmla="*/ 11 w 207"/>
                <a:gd name="T29" fmla="*/ 37 h 326"/>
                <a:gd name="T30" fmla="*/ 15 w 207"/>
                <a:gd name="T31" fmla="*/ 11 h 326"/>
                <a:gd name="T32" fmla="*/ 15 w 207"/>
                <a:gd name="T33" fmla="*/ 10 h 326"/>
                <a:gd name="T34" fmla="*/ 16 w 207"/>
                <a:gd name="T35" fmla="*/ 3 h 326"/>
                <a:gd name="T36" fmla="*/ 28 w 207"/>
                <a:gd name="T37" fmla="*/ 6 h 326"/>
                <a:gd name="T38" fmla="*/ 38 w 207"/>
                <a:gd name="T39" fmla="*/ 9 h 326"/>
                <a:gd name="T40" fmla="*/ 39 w 207"/>
                <a:gd name="T41" fmla="*/ 9 h 326"/>
                <a:gd name="T42" fmla="*/ 71 w 207"/>
                <a:gd name="T43" fmla="*/ 15 h 326"/>
                <a:gd name="T44" fmla="*/ 75 w 207"/>
                <a:gd name="T45" fmla="*/ 15 h 326"/>
                <a:gd name="T46" fmla="*/ 86 w 207"/>
                <a:gd name="T47" fmla="*/ 16 h 326"/>
                <a:gd name="T48" fmla="*/ 125 w 207"/>
                <a:gd name="T49" fmla="*/ 16 h 326"/>
                <a:gd name="T50" fmla="*/ 125 w 207"/>
                <a:gd name="T51" fmla="*/ 16 h 326"/>
                <a:gd name="T52" fmla="*/ 179 w 207"/>
                <a:gd name="T53" fmla="*/ 9 h 326"/>
                <a:gd name="T54" fmla="*/ 207 w 207"/>
                <a:gd name="T55"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7" h="326">
                  <a:moveTo>
                    <a:pt x="207" y="0"/>
                  </a:moveTo>
                  <a:cubicBezTo>
                    <a:pt x="206" y="3"/>
                    <a:pt x="206" y="3"/>
                    <a:pt x="206" y="3"/>
                  </a:cubicBezTo>
                  <a:cubicBezTo>
                    <a:pt x="206" y="8"/>
                    <a:pt x="206" y="8"/>
                    <a:pt x="206" y="8"/>
                  </a:cubicBezTo>
                  <a:cubicBezTo>
                    <a:pt x="205" y="57"/>
                    <a:pt x="205" y="57"/>
                    <a:pt x="205" y="57"/>
                  </a:cubicBezTo>
                  <a:cubicBezTo>
                    <a:pt x="203" y="106"/>
                    <a:pt x="203" y="106"/>
                    <a:pt x="203" y="106"/>
                  </a:cubicBezTo>
                  <a:cubicBezTo>
                    <a:pt x="194" y="317"/>
                    <a:pt x="194" y="317"/>
                    <a:pt x="194" y="317"/>
                  </a:cubicBezTo>
                  <a:cubicBezTo>
                    <a:pt x="184" y="319"/>
                    <a:pt x="173" y="322"/>
                    <a:pt x="161" y="323"/>
                  </a:cubicBezTo>
                  <a:cubicBezTo>
                    <a:pt x="144" y="325"/>
                    <a:pt x="125" y="326"/>
                    <a:pt x="106" y="326"/>
                  </a:cubicBezTo>
                  <a:cubicBezTo>
                    <a:pt x="104" y="326"/>
                    <a:pt x="104" y="326"/>
                    <a:pt x="104" y="326"/>
                  </a:cubicBezTo>
                  <a:cubicBezTo>
                    <a:pt x="84" y="326"/>
                    <a:pt x="65" y="325"/>
                    <a:pt x="46" y="323"/>
                  </a:cubicBezTo>
                  <a:cubicBezTo>
                    <a:pt x="41" y="322"/>
                    <a:pt x="35" y="320"/>
                    <a:pt x="29" y="319"/>
                  </a:cubicBezTo>
                  <a:cubicBezTo>
                    <a:pt x="0" y="123"/>
                    <a:pt x="0" y="123"/>
                    <a:pt x="0" y="123"/>
                  </a:cubicBezTo>
                  <a:cubicBezTo>
                    <a:pt x="2" y="104"/>
                    <a:pt x="2" y="104"/>
                    <a:pt x="2" y="104"/>
                  </a:cubicBezTo>
                  <a:cubicBezTo>
                    <a:pt x="9" y="57"/>
                    <a:pt x="9" y="57"/>
                    <a:pt x="9" y="57"/>
                  </a:cubicBezTo>
                  <a:cubicBezTo>
                    <a:pt x="11" y="37"/>
                    <a:pt x="11" y="37"/>
                    <a:pt x="11" y="37"/>
                  </a:cubicBezTo>
                  <a:cubicBezTo>
                    <a:pt x="15" y="11"/>
                    <a:pt x="15" y="11"/>
                    <a:pt x="15" y="11"/>
                  </a:cubicBezTo>
                  <a:cubicBezTo>
                    <a:pt x="15" y="10"/>
                    <a:pt x="15" y="10"/>
                    <a:pt x="15" y="10"/>
                  </a:cubicBezTo>
                  <a:cubicBezTo>
                    <a:pt x="16" y="3"/>
                    <a:pt x="16" y="3"/>
                    <a:pt x="16" y="3"/>
                  </a:cubicBezTo>
                  <a:cubicBezTo>
                    <a:pt x="16" y="3"/>
                    <a:pt x="21" y="4"/>
                    <a:pt x="28" y="6"/>
                  </a:cubicBezTo>
                  <a:cubicBezTo>
                    <a:pt x="30" y="6"/>
                    <a:pt x="34" y="8"/>
                    <a:pt x="38" y="9"/>
                  </a:cubicBezTo>
                  <a:cubicBezTo>
                    <a:pt x="39" y="9"/>
                    <a:pt x="39" y="9"/>
                    <a:pt x="39" y="9"/>
                  </a:cubicBezTo>
                  <a:cubicBezTo>
                    <a:pt x="49" y="11"/>
                    <a:pt x="59" y="12"/>
                    <a:pt x="71" y="15"/>
                  </a:cubicBezTo>
                  <a:cubicBezTo>
                    <a:pt x="72" y="15"/>
                    <a:pt x="73" y="15"/>
                    <a:pt x="75" y="15"/>
                  </a:cubicBezTo>
                  <a:cubicBezTo>
                    <a:pt x="78" y="15"/>
                    <a:pt x="83" y="16"/>
                    <a:pt x="86" y="16"/>
                  </a:cubicBezTo>
                  <a:cubicBezTo>
                    <a:pt x="98" y="17"/>
                    <a:pt x="111" y="17"/>
                    <a:pt x="125" y="16"/>
                  </a:cubicBezTo>
                  <a:cubicBezTo>
                    <a:pt x="125" y="16"/>
                    <a:pt x="125" y="16"/>
                    <a:pt x="125" y="16"/>
                  </a:cubicBezTo>
                  <a:cubicBezTo>
                    <a:pt x="143" y="15"/>
                    <a:pt x="160" y="13"/>
                    <a:pt x="179" y="9"/>
                  </a:cubicBezTo>
                  <a:cubicBezTo>
                    <a:pt x="188" y="6"/>
                    <a:pt x="198" y="4"/>
                    <a:pt x="207"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05" name="Freeform 220">
              <a:extLst>
                <a:ext uri="{FF2B5EF4-FFF2-40B4-BE49-F238E27FC236}">
                  <a16:creationId xmlns:a16="http://schemas.microsoft.com/office/drawing/2014/main" id="{F9FEE84F-5C58-4D72-8010-8CFBE06F9C08}"/>
                </a:ext>
              </a:extLst>
            </p:cNvPr>
            <p:cNvSpPr>
              <a:spLocks/>
            </p:cNvSpPr>
            <p:nvPr/>
          </p:nvSpPr>
          <p:spPr bwMode="auto">
            <a:xfrm>
              <a:off x="9644810" y="3964333"/>
              <a:ext cx="191289" cy="578215"/>
            </a:xfrm>
            <a:custGeom>
              <a:avLst/>
              <a:gdLst>
                <a:gd name="T0" fmla="*/ 117 w 118"/>
                <a:gd name="T1" fmla="*/ 169 h 356"/>
                <a:gd name="T2" fmla="*/ 117 w 118"/>
                <a:gd name="T3" fmla="*/ 171 h 356"/>
                <a:gd name="T4" fmla="*/ 116 w 118"/>
                <a:gd name="T5" fmla="*/ 171 h 356"/>
                <a:gd name="T6" fmla="*/ 116 w 118"/>
                <a:gd name="T7" fmla="*/ 174 h 356"/>
                <a:gd name="T8" fmla="*/ 108 w 118"/>
                <a:gd name="T9" fmla="*/ 200 h 356"/>
                <a:gd name="T10" fmla="*/ 62 w 118"/>
                <a:gd name="T11" fmla="*/ 342 h 356"/>
                <a:gd name="T12" fmla="*/ 32 w 118"/>
                <a:gd name="T13" fmla="*/ 350 h 356"/>
                <a:gd name="T14" fmla="*/ 0 w 118"/>
                <a:gd name="T15" fmla="*/ 356 h 356"/>
                <a:gd name="T16" fmla="*/ 13 w 118"/>
                <a:gd name="T17" fmla="*/ 193 h 356"/>
                <a:gd name="T18" fmla="*/ 13 w 118"/>
                <a:gd name="T19" fmla="*/ 192 h 356"/>
                <a:gd name="T20" fmla="*/ 13 w 118"/>
                <a:gd name="T21" fmla="*/ 192 h 356"/>
                <a:gd name="T22" fmla="*/ 13 w 118"/>
                <a:gd name="T23" fmla="*/ 190 h 356"/>
                <a:gd name="T24" fmla="*/ 17 w 118"/>
                <a:gd name="T25" fmla="*/ 133 h 356"/>
                <a:gd name="T26" fmla="*/ 18 w 118"/>
                <a:gd name="T27" fmla="*/ 124 h 356"/>
                <a:gd name="T28" fmla="*/ 18 w 118"/>
                <a:gd name="T29" fmla="*/ 92 h 356"/>
                <a:gd name="T30" fmla="*/ 17 w 118"/>
                <a:gd name="T31" fmla="*/ 58 h 356"/>
                <a:gd name="T32" fmla="*/ 17 w 118"/>
                <a:gd name="T33" fmla="*/ 50 h 356"/>
                <a:gd name="T34" fmla="*/ 17 w 118"/>
                <a:gd name="T35" fmla="*/ 47 h 356"/>
                <a:gd name="T36" fmla="*/ 15 w 118"/>
                <a:gd name="T37" fmla="*/ 6 h 356"/>
                <a:gd name="T38" fmla="*/ 12 w 118"/>
                <a:gd name="T39" fmla="*/ 0 h 356"/>
                <a:gd name="T40" fmla="*/ 36 w 118"/>
                <a:gd name="T41" fmla="*/ 11 h 356"/>
                <a:gd name="T42" fmla="*/ 36 w 118"/>
                <a:gd name="T43" fmla="*/ 12 h 356"/>
                <a:gd name="T44" fmla="*/ 64 w 118"/>
                <a:gd name="T45" fmla="*/ 22 h 356"/>
                <a:gd name="T46" fmla="*/ 68 w 118"/>
                <a:gd name="T47" fmla="*/ 25 h 356"/>
                <a:gd name="T48" fmla="*/ 86 w 118"/>
                <a:gd name="T49" fmla="*/ 34 h 356"/>
                <a:gd name="T50" fmla="*/ 89 w 118"/>
                <a:gd name="T51" fmla="*/ 34 h 356"/>
                <a:gd name="T52" fmla="*/ 105 w 118"/>
                <a:gd name="T53" fmla="*/ 92 h 356"/>
                <a:gd name="T54" fmla="*/ 107 w 118"/>
                <a:gd name="T55" fmla="*/ 99 h 356"/>
                <a:gd name="T56" fmla="*/ 110 w 118"/>
                <a:gd name="T57" fmla="*/ 112 h 356"/>
                <a:gd name="T58" fmla="*/ 112 w 118"/>
                <a:gd name="T59" fmla="*/ 115 h 356"/>
                <a:gd name="T60" fmla="*/ 109 w 118"/>
                <a:gd name="T61" fmla="*/ 117 h 356"/>
                <a:gd name="T62" fmla="*/ 97 w 118"/>
                <a:gd name="T63" fmla="*/ 127 h 356"/>
                <a:gd name="T64" fmla="*/ 78 w 118"/>
                <a:gd name="T65" fmla="*/ 140 h 356"/>
                <a:gd name="T66" fmla="*/ 100 w 118"/>
                <a:gd name="T67" fmla="*/ 149 h 356"/>
                <a:gd name="T68" fmla="*/ 104 w 118"/>
                <a:gd name="T69" fmla="*/ 151 h 356"/>
                <a:gd name="T70" fmla="*/ 112 w 118"/>
                <a:gd name="T71" fmla="*/ 155 h 356"/>
                <a:gd name="T72" fmla="*/ 113 w 118"/>
                <a:gd name="T73" fmla="*/ 156 h 356"/>
                <a:gd name="T74" fmla="*/ 117 w 118"/>
                <a:gd name="T75" fmla="*/ 16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356">
                  <a:moveTo>
                    <a:pt x="117" y="169"/>
                  </a:moveTo>
                  <a:cubicBezTo>
                    <a:pt x="117" y="169"/>
                    <a:pt x="117" y="170"/>
                    <a:pt x="117" y="171"/>
                  </a:cubicBezTo>
                  <a:cubicBezTo>
                    <a:pt x="116" y="171"/>
                    <a:pt x="116" y="171"/>
                    <a:pt x="116" y="171"/>
                  </a:cubicBezTo>
                  <a:cubicBezTo>
                    <a:pt x="116" y="174"/>
                    <a:pt x="116" y="174"/>
                    <a:pt x="116" y="174"/>
                  </a:cubicBezTo>
                  <a:cubicBezTo>
                    <a:pt x="108" y="200"/>
                    <a:pt x="108" y="200"/>
                    <a:pt x="108" y="200"/>
                  </a:cubicBezTo>
                  <a:cubicBezTo>
                    <a:pt x="62" y="342"/>
                    <a:pt x="62" y="342"/>
                    <a:pt x="62" y="342"/>
                  </a:cubicBezTo>
                  <a:cubicBezTo>
                    <a:pt x="52" y="345"/>
                    <a:pt x="42" y="348"/>
                    <a:pt x="32" y="350"/>
                  </a:cubicBezTo>
                  <a:cubicBezTo>
                    <a:pt x="21" y="352"/>
                    <a:pt x="11" y="355"/>
                    <a:pt x="0" y="356"/>
                  </a:cubicBezTo>
                  <a:cubicBezTo>
                    <a:pt x="4" y="299"/>
                    <a:pt x="10" y="232"/>
                    <a:pt x="13" y="193"/>
                  </a:cubicBezTo>
                  <a:cubicBezTo>
                    <a:pt x="13" y="192"/>
                    <a:pt x="13" y="192"/>
                    <a:pt x="13" y="192"/>
                  </a:cubicBezTo>
                  <a:cubicBezTo>
                    <a:pt x="13" y="192"/>
                    <a:pt x="13" y="192"/>
                    <a:pt x="13" y="192"/>
                  </a:cubicBezTo>
                  <a:cubicBezTo>
                    <a:pt x="13" y="190"/>
                    <a:pt x="13" y="190"/>
                    <a:pt x="13" y="190"/>
                  </a:cubicBezTo>
                  <a:cubicBezTo>
                    <a:pt x="17" y="133"/>
                    <a:pt x="17" y="133"/>
                    <a:pt x="17" y="133"/>
                  </a:cubicBezTo>
                  <a:cubicBezTo>
                    <a:pt x="18" y="124"/>
                    <a:pt x="18" y="124"/>
                    <a:pt x="18" y="124"/>
                  </a:cubicBezTo>
                  <a:cubicBezTo>
                    <a:pt x="18" y="124"/>
                    <a:pt x="18" y="110"/>
                    <a:pt x="18" y="92"/>
                  </a:cubicBezTo>
                  <a:cubicBezTo>
                    <a:pt x="18" y="82"/>
                    <a:pt x="17" y="70"/>
                    <a:pt x="17" y="58"/>
                  </a:cubicBezTo>
                  <a:cubicBezTo>
                    <a:pt x="17" y="55"/>
                    <a:pt x="17" y="53"/>
                    <a:pt x="17" y="50"/>
                  </a:cubicBezTo>
                  <a:cubicBezTo>
                    <a:pt x="17" y="49"/>
                    <a:pt x="17" y="48"/>
                    <a:pt x="17" y="47"/>
                  </a:cubicBezTo>
                  <a:cubicBezTo>
                    <a:pt x="17" y="29"/>
                    <a:pt x="16" y="14"/>
                    <a:pt x="15" y="6"/>
                  </a:cubicBezTo>
                  <a:cubicBezTo>
                    <a:pt x="13" y="3"/>
                    <a:pt x="13" y="0"/>
                    <a:pt x="12" y="0"/>
                  </a:cubicBezTo>
                  <a:cubicBezTo>
                    <a:pt x="36" y="11"/>
                    <a:pt x="36" y="11"/>
                    <a:pt x="36" y="11"/>
                  </a:cubicBezTo>
                  <a:cubicBezTo>
                    <a:pt x="36" y="12"/>
                    <a:pt x="36" y="12"/>
                    <a:pt x="36" y="12"/>
                  </a:cubicBezTo>
                  <a:cubicBezTo>
                    <a:pt x="64" y="22"/>
                    <a:pt x="64" y="22"/>
                    <a:pt x="64" y="22"/>
                  </a:cubicBezTo>
                  <a:cubicBezTo>
                    <a:pt x="68" y="25"/>
                    <a:pt x="68" y="25"/>
                    <a:pt x="68" y="25"/>
                  </a:cubicBezTo>
                  <a:cubicBezTo>
                    <a:pt x="86" y="34"/>
                    <a:pt x="86" y="34"/>
                    <a:pt x="86" y="34"/>
                  </a:cubicBezTo>
                  <a:cubicBezTo>
                    <a:pt x="89" y="34"/>
                    <a:pt x="89" y="34"/>
                    <a:pt x="89" y="34"/>
                  </a:cubicBezTo>
                  <a:cubicBezTo>
                    <a:pt x="105" y="92"/>
                    <a:pt x="105" y="92"/>
                    <a:pt x="105" y="92"/>
                  </a:cubicBezTo>
                  <a:cubicBezTo>
                    <a:pt x="107" y="99"/>
                    <a:pt x="107" y="99"/>
                    <a:pt x="107" y="99"/>
                  </a:cubicBezTo>
                  <a:cubicBezTo>
                    <a:pt x="110" y="112"/>
                    <a:pt x="110" y="112"/>
                    <a:pt x="110" y="112"/>
                  </a:cubicBezTo>
                  <a:cubicBezTo>
                    <a:pt x="112" y="115"/>
                    <a:pt x="112" y="115"/>
                    <a:pt x="112" y="115"/>
                  </a:cubicBezTo>
                  <a:cubicBezTo>
                    <a:pt x="109" y="117"/>
                    <a:pt x="109" y="117"/>
                    <a:pt x="109" y="117"/>
                  </a:cubicBezTo>
                  <a:cubicBezTo>
                    <a:pt x="97" y="127"/>
                    <a:pt x="97" y="127"/>
                    <a:pt x="97" y="127"/>
                  </a:cubicBezTo>
                  <a:cubicBezTo>
                    <a:pt x="78" y="140"/>
                    <a:pt x="78" y="140"/>
                    <a:pt x="78" y="140"/>
                  </a:cubicBezTo>
                  <a:cubicBezTo>
                    <a:pt x="100" y="149"/>
                    <a:pt x="100" y="149"/>
                    <a:pt x="100" y="149"/>
                  </a:cubicBezTo>
                  <a:cubicBezTo>
                    <a:pt x="104" y="151"/>
                    <a:pt x="104" y="151"/>
                    <a:pt x="104" y="151"/>
                  </a:cubicBezTo>
                  <a:cubicBezTo>
                    <a:pt x="112" y="155"/>
                    <a:pt x="112" y="155"/>
                    <a:pt x="112" y="155"/>
                  </a:cubicBezTo>
                  <a:cubicBezTo>
                    <a:pt x="112" y="155"/>
                    <a:pt x="112" y="155"/>
                    <a:pt x="113" y="156"/>
                  </a:cubicBezTo>
                  <a:cubicBezTo>
                    <a:pt x="115" y="158"/>
                    <a:pt x="118" y="162"/>
                    <a:pt x="117" y="16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06" name="Freeform 222">
              <a:extLst>
                <a:ext uri="{FF2B5EF4-FFF2-40B4-BE49-F238E27FC236}">
                  <a16:creationId xmlns:a16="http://schemas.microsoft.com/office/drawing/2014/main" id="{270E7816-ABDE-40D3-B022-390FECBA6A0C}"/>
                </a:ext>
              </a:extLst>
            </p:cNvPr>
            <p:cNvSpPr>
              <a:spLocks/>
            </p:cNvSpPr>
            <p:nvPr/>
          </p:nvSpPr>
          <p:spPr bwMode="auto">
            <a:xfrm>
              <a:off x="9257885" y="3964333"/>
              <a:ext cx="192738" cy="578215"/>
            </a:xfrm>
            <a:custGeom>
              <a:avLst/>
              <a:gdLst>
                <a:gd name="T0" fmla="*/ 119 w 119"/>
                <a:gd name="T1" fmla="*/ 356 h 356"/>
                <a:gd name="T2" fmla="*/ 102 w 119"/>
                <a:gd name="T3" fmla="*/ 352 h 356"/>
                <a:gd name="T4" fmla="*/ 57 w 119"/>
                <a:gd name="T5" fmla="*/ 342 h 356"/>
                <a:gd name="T6" fmla="*/ 13 w 119"/>
                <a:gd name="T7" fmla="*/ 202 h 356"/>
                <a:gd name="T8" fmla="*/ 5 w 119"/>
                <a:gd name="T9" fmla="*/ 175 h 356"/>
                <a:gd name="T10" fmla="*/ 3 w 119"/>
                <a:gd name="T11" fmla="*/ 169 h 356"/>
                <a:gd name="T12" fmla="*/ 3 w 119"/>
                <a:gd name="T13" fmla="*/ 168 h 356"/>
                <a:gd name="T14" fmla="*/ 3 w 119"/>
                <a:gd name="T15" fmla="*/ 167 h 356"/>
                <a:gd name="T16" fmla="*/ 8 w 119"/>
                <a:gd name="T17" fmla="*/ 152 h 356"/>
                <a:gd name="T18" fmla="*/ 8 w 119"/>
                <a:gd name="T19" fmla="*/ 152 h 356"/>
                <a:gd name="T20" fmla="*/ 19 w 119"/>
                <a:gd name="T21" fmla="*/ 147 h 356"/>
                <a:gd name="T22" fmla="*/ 22 w 119"/>
                <a:gd name="T23" fmla="*/ 146 h 356"/>
                <a:gd name="T24" fmla="*/ 41 w 119"/>
                <a:gd name="T25" fmla="*/ 138 h 356"/>
                <a:gd name="T26" fmla="*/ 26 w 119"/>
                <a:gd name="T27" fmla="*/ 125 h 356"/>
                <a:gd name="T28" fmla="*/ 13 w 119"/>
                <a:gd name="T29" fmla="*/ 116 h 356"/>
                <a:gd name="T30" fmla="*/ 8 w 119"/>
                <a:gd name="T31" fmla="*/ 113 h 356"/>
                <a:gd name="T32" fmla="*/ 11 w 119"/>
                <a:gd name="T33" fmla="*/ 106 h 356"/>
                <a:gd name="T34" fmla="*/ 12 w 119"/>
                <a:gd name="T35" fmla="*/ 102 h 356"/>
                <a:gd name="T36" fmla="*/ 13 w 119"/>
                <a:gd name="T37" fmla="*/ 98 h 356"/>
                <a:gd name="T38" fmla="*/ 16 w 119"/>
                <a:gd name="T39" fmla="*/ 88 h 356"/>
                <a:gd name="T40" fmla="*/ 37 w 119"/>
                <a:gd name="T41" fmla="*/ 30 h 356"/>
                <a:gd name="T42" fmla="*/ 40 w 119"/>
                <a:gd name="T43" fmla="*/ 28 h 356"/>
                <a:gd name="T44" fmla="*/ 41 w 119"/>
                <a:gd name="T45" fmla="*/ 27 h 356"/>
                <a:gd name="T46" fmla="*/ 100 w 119"/>
                <a:gd name="T47" fmla="*/ 0 h 356"/>
                <a:gd name="T48" fmla="*/ 100 w 119"/>
                <a:gd name="T49" fmla="*/ 5 h 356"/>
                <a:gd name="T50" fmla="*/ 101 w 119"/>
                <a:gd name="T51" fmla="*/ 44 h 356"/>
                <a:gd name="T52" fmla="*/ 101 w 119"/>
                <a:gd name="T53" fmla="*/ 51 h 356"/>
                <a:gd name="T54" fmla="*/ 101 w 119"/>
                <a:gd name="T55" fmla="*/ 52 h 356"/>
                <a:gd name="T56" fmla="*/ 101 w 119"/>
                <a:gd name="T57" fmla="*/ 68 h 356"/>
                <a:gd name="T58" fmla="*/ 101 w 119"/>
                <a:gd name="T59" fmla="*/ 91 h 356"/>
                <a:gd name="T60" fmla="*/ 101 w 119"/>
                <a:gd name="T61" fmla="*/ 97 h 356"/>
                <a:gd name="T62" fmla="*/ 102 w 119"/>
                <a:gd name="T63" fmla="*/ 120 h 356"/>
                <a:gd name="T64" fmla="*/ 103 w 119"/>
                <a:gd name="T65" fmla="*/ 131 h 356"/>
                <a:gd name="T66" fmla="*/ 107 w 119"/>
                <a:gd name="T67" fmla="*/ 190 h 356"/>
                <a:gd name="T68" fmla="*/ 119 w 119"/>
                <a:gd name="T69"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9" h="356">
                  <a:moveTo>
                    <a:pt x="119" y="356"/>
                  </a:moveTo>
                  <a:cubicBezTo>
                    <a:pt x="113" y="355"/>
                    <a:pt x="108" y="354"/>
                    <a:pt x="102" y="352"/>
                  </a:cubicBezTo>
                  <a:cubicBezTo>
                    <a:pt x="87" y="350"/>
                    <a:pt x="72" y="347"/>
                    <a:pt x="57" y="342"/>
                  </a:cubicBezTo>
                  <a:cubicBezTo>
                    <a:pt x="13" y="202"/>
                    <a:pt x="13" y="202"/>
                    <a:pt x="13" y="202"/>
                  </a:cubicBezTo>
                  <a:cubicBezTo>
                    <a:pt x="5" y="175"/>
                    <a:pt x="5" y="175"/>
                    <a:pt x="5" y="175"/>
                  </a:cubicBezTo>
                  <a:cubicBezTo>
                    <a:pt x="3" y="169"/>
                    <a:pt x="3" y="169"/>
                    <a:pt x="3" y="169"/>
                  </a:cubicBezTo>
                  <a:cubicBezTo>
                    <a:pt x="3" y="168"/>
                    <a:pt x="3" y="168"/>
                    <a:pt x="3" y="168"/>
                  </a:cubicBezTo>
                  <a:cubicBezTo>
                    <a:pt x="3" y="167"/>
                    <a:pt x="3" y="167"/>
                    <a:pt x="3" y="167"/>
                  </a:cubicBezTo>
                  <a:cubicBezTo>
                    <a:pt x="0" y="157"/>
                    <a:pt x="8" y="152"/>
                    <a:pt x="8" y="152"/>
                  </a:cubicBezTo>
                  <a:cubicBezTo>
                    <a:pt x="8" y="152"/>
                    <a:pt x="8" y="152"/>
                    <a:pt x="8" y="152"/>
                  </a:cubicBezTo>
                  <a:cubicBezTo>
                    <a:pt x="19" y="147"/>
                    <a:pt x="19" y="147"/>
                    <a:pt x="19" y="147"/>
                  </a:cubicBezTo>
                  <a:cubicBezTo>
                    <a:pt x="22" y="146"/>
                    <a:pt x="22" y="146"/>
                    <a:pt x="22" y="146"/>
                  </a:cubicBezTo>
                  <a:cubicBezTo>
                    <a:pt x="41" y="138"/>
                    <a:pt x="41" y="138"/>
                    <a:pt x="41" y="138"/>
                  </a:cubicBezTo>
                  <a:cubicBezTo>
                    <a:pt x="26" y="125"/>
                    <a:pt x="26" y="125"/>
                    <a:pt x="26" y="125"/>
                  </a:cubicBezTo>
                  <a:cubicBezTo>
                    <a:pt x="13" y="116"/>
                    <a:pt x="13" y="116"/>
                    <a:pt x="13" y="116"/>
                  </a:cubicBezTo>
                  <a:cubicBezTo>
                    <a:pt x="8" y="113"/>
                    <a:pt x="8" y="113"/>
                    <a:pt x="8" y="113"/>
                  </a:cubicBezTo>
                  <a:cubicBezTo>
                    <a:pt x="11" y="106"/>
                    <a:pt x="11" y="106"/>
                    <a:pt x="11" y="106"/>
                  </a:cubicBezTo>
                  <a:cubicBezTo>
                    <a:pt x="12" y="102"/>
                    <a:pt x="12" y="102"/>
                    <a:pt x="12" y="102"/>
                  </a:cubicBezTo>
                  <a:cubicBezTo>
                    <a:pt x="13" y="98"/>
                    <a:pt x="13" y="98"/>
                    <a:pt x="13" y="98"/>
                  </a:cubicBezTo>
                  <a:cubicBezTo>
                    <a:pt x="16" y="88"/>
                    <a:pt x="16" y="88"/>
                    <a:pt x="16" y="88"/>
                  </a:cubicBezTo>
                  <a:cubicBezTo>
                    <a:pt x="37" y="30"/>
                    <a:pt x="37" y="30"/>
                    <a:pt x="37" y="30"/>
                  </a:cubicBezTo>
                  <a:cubicBezTo>
                    <a:pt x="40" y="28"/>
                    <a:pt x="40" y="28"/>
                    <a:pt x="40" y="28"/>
                  </a:cubicBezTo>
                  <a:cubicBezTo>
                    <a:pt x="41" y="27"/>
                    <a:pt x="41" y="27"/>
                    <a:pt x="41" y="27"/>
                  </a:cubicBezTo>
                  <a:cubicBezTo>
                    <a:pt x="100" y="0"/>
                    <a:pt x="100" y="0"/>
                    <a:pt x="100" y="0"/>
                  </a:cubicBezTo>
                  <a:cubicBezTo>
                    <a:pt x="100" y="5"/>
                    <a:pt x="100" y="5"/>
                    <a:pt x="100" y="5"/>
                  </a:cubicBezTo>
                  <a:cubicBezTo>
                    <a:pt x="101" y="44"/>
                    <a:pt x="101" y="44"/>
                    <a:pt x="101" y="44"/>
                  </a:cubicBezTo>
                  <a:cubicBezTo>
                    <a:pt x="101" y="51"/>
                    <a:pt x="101" y="51"/>
                    <a:pt x="101" y="51"/>
                  </a:cubicBezTo>
                  <a:cubicBezTo>
                    <a:pt x="101" y="52"/>
                    <a:pt x="101" y="52"/>
                    <a:pt x="101" y="52"/>
                  </a:cubicBezTo>
                  <a:cubicBezTo>
                    <a:pt x="101" y="68"/>
                    <a:pt x="101" y="68"/>
                    <a:pt x="101" y="68"/>
                  </a:cubicBezTo>
                  <a:cubicBezTo>
                    <a:pt x="101" y="91"/>
                    <a:pt x="101" y="91"/>
                    <a:pt x="101" y="91"/>
                  </a:cubicBezTo>
                  <a:cubicBezTo>
                    <a:pt x="101" y="97"/>
                    <a:pt x="101" y="97"/>
                    <a:pt x="101" y="97"/>
                  </a:cubicBezTo>
                  <a:cubicBezTo>
                    <a:pt x="102" y="120"/>
                    <a:pt x="102" y="120"/>
                    <a:pt x="102" y="120"/>
                  </a:cubicBezTo>
                  <a:cubicBezTo>
                    <a:pt x="103" y="131"/>
                    <a:pt x="103" y="131"/>
                    <a:pt x="103" y="131"/>
                  </a:cubicBezTo>
                  <a:cubicBezTo>
                    <a:pt x="107" y="190"/>
                    <a:pt x="107" y="190"/>
                    <a:pt x="107" y="190"/>
                  </a:cubicBezTo>
                  <a:cubicBezTo>
                    <a:pt x="110" y="229"/>
                    <a:pt x="114" y="298"/>
                    <a:pt x="119" y="35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607" name="Group 606">
              <a:extLst>
                <a:ext uri="{FF2B5EF4-FFF2-40B4-BE49-F238E27FC236}">
                  <a16:creationId xmlns:a16="http://schemas.microsoft.com/office/drawing/2014/main" id="{68C5632B-3E46-4589-AF42-2FA312ACF36A}"/>
                </a:ext>
              </a:extLst>
            </p:cNvPr>
            <p:cNvGrpSpPr/>
            <p:nvPr/>
          </p:nvGrpSpPr>
          <p:grpSpPr>
            <a:xfrm>
              <a:off x="9078189" y="3326703"/>
              <a:ext cx="939055" cy="1141937"/>
              <a:chOff x="9078189" y="3326703"/>
              <a:chExt cx="939055" cy="1141937"/>
            </a:xfrm>
          </p:grpSpPr>
          <p:sp>
            <p:nvSpPr>
              <p:cNvPr id="608" name="Freeform 191">
                <a:extLst>
                  <a:ext uri="{FF2B5EF4-FFF2-40B4-BE49-F238E27FC236}">
                    <a16:creationId xmlns:a16="http://schemas.microsoft.com/office/drawing/2014/main" id="{662C50FE-78B4-4533-A32B-D9DBC73021A3}"/>
                  </a:ext>
                </a:extLst>
              </p:cNvPr>
              <p:cNvSpPr>
                <a:spLocks/>
              </p:cNvSpPr>
              <p:nvPr/>
            </p:nvSpPr>
            <p:spPr bwMode="auto">
              <a:xfrm>
                <a:off x="9546267" y="3954189"/>
                <a:ext cx="386926" cy="299976"/>
              </a:xfrm>
              <a:custGeom>
                <a:avLst/>
                <a:gdLst>
                  <a:gd name="T0" fmla="*/ 219 w 267"/>
                  <a:gd name="T1" fmla="*/ 207 h 207"/>
                  <a:gd name="T2" fmla="*/ 0 w 267"/>
                  <a:gd name="T3" fmla="*/ 124 h 207"/>
                  <a:gd name="T4" fmla="*/ 50 w 267"/>
                  <a:gd name="T5" fmla="*/ 0 h 207"/>
                  <a:gd name="T6" fmla="*/ 267 w 267"/>
                  <a:gd name="T7" fmla="*/ 82 h 207"/>
                  <a:gd name="T8" fmla="*/ 219 w 267"/>
                  <a:gd name="T9" fmla="*/ 207 h 207"/>
                  <a:gd name="T10" fmla="*/ 219 w 267"/>
                  <a:gd name="T11" fmla="*/ 207 h 207"/>
                  <a:gd name="T12" fmla="*/ 219 w 267"/>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267" h="207">
                    <a:moveTo>
                      <a:pt x="219" y="207"/>
                    </a:moveTo>
                    <a:lnTo>
                      <a:pt x="0" y="124"/>
                    </a:lnTo>
                    <a:lnTo>
                      <a:pt x="50" y="0"/>
                    </a:lnTo>
                    <a:lnTo>
                      <a:pt x="267" y="82"/>
                    </a:lnTo>
                    <a:lnTo>
                      <a:pt x="219" y="207"/>
                    </a:lnTo>
                    <a:lnTo>
                      <a:pt x="219" y="207"/>
                    </a:lnTo>
                    <a:lnTo>
                      <a:pt x="219" y="2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09" name="Freeform 192">
                <a:extLst>
                  <a:ext uri="{FF2B5EF4-FFF2-40B4-BE49-F238E27FC236}">
                    <a16:creationId xmlns:a16="http://schemas.microsoft.com/office/drawing/2014/main" id="{6E31A428-0DA4-4821-8A1A-E6CE67ACFF6E}"/>
                  </a:ext>
                </a:extLst>
              </p:cNvPr>
              <p:cNvSpPr>
                <a:spLocks/>
              </p:cNvSpPr>
              <p:nvPr/>
            </p:nvSpPr>
            <p:spPr bwMode="auto">
              <a:xfrm>
                <a:off x="9824506" y="4084613"/>
                <a:ext cx="179696" cy="384027"/>
              </a:xfrm>
              <a:custGeom>
                <a:avLst/>
                <a:gdLst>
                  <a:gd name="T0" fmla="*/ 111 w 111"/>
                  <a:gd name="T1" fmla="*/ 176 h 237"/>
                  <a:gd name="T2" fmla="*/ 82 w 111"/>
                  <a:gd name="T3" fmla="*/ 201 h 237"/>
                  <a:gd name="T4" fmla="*/ 29 w 111"/>
                  <a:gd name="T5" fmla="*/ 237 h 237"/>
                  <a:gd name="T6" fmla="*/ 25 w 111"/>
                  <a:gd name="T7" fmla="*/ 209 h 237"/>
                  <a:gd name="T8" fmla="*/ 25 w 111"/>
                  <a:gd name="T9" fmla="*/ 208 h 237"/>
                  <a:gd name="T10" fmla="*/ 8 w 111"/>
                  <a:gd name="T11" fmla="*/ 100 h 237"/>
                  <a:gd name="T12" fmla="*/ 8 w 111"/>
                  <a:gd name="T13" fmla="*/ 97 h 237"/>
                  <a:gd name="T14" fmla="*/ 7 w 111"/>
                  <a:gd name="T15" fmla="*/ 93 h 237"/>
                  <a:gd name="T16" fmla="*/ 4 w 111"/>
                  <a:gd name="T17" fmla="*/ 82 h 237"/>
                  <a:gd name="T18" fmla="*/ 1 w 111"/>
                  <a:gd name="T19" fmla="*/ 61 h 237"/>
                  <a:gd name="T20" fmla="*/ 1 w 111"/>
                  <a:gd name="T21" fmla="*/ 56 h 237"/>
                  <a:gd name="T22" fmla="*/ 1 w 111"/>
                  <a:gd name="T23" fmla="*/ 42 h 237"/>
                  <a:gd name="T24" fmla="*/ 2 w 111"/>
                  <a:gd name="T25" fmla="*/ 38 h 237"/>
                  <a:gd name="T26" fmla="*/ 7 w 111"/>
                  <a:gd name="T27" fmla="*/ 25 h 237"/>
                  <a:gd name="T28" fmla="*/ 34 w 111"/>
                  <a:gd name="T29" fmla="*/ 3 h 237"/>
                  <a:gd name="T30" fmla="*/ 62 w 111"/>
                  <a:gd name="T31" fmla="*/ 5 h 237"/>
                  <a:gd name="T32" fmla="*/ 89 w 111"/>
                  <a:gd name="T33" fmla="*/ 37 h 237"/>
                  <a:gd name="T34" fmla="*/ 90 w 111"/>
                  <a:gd name="T35" fmla="*/ 41 h 237"/>
                  <a:gd name="T36" fmla="*/ 95 w 111"/>
                  <a:gd name="T37" fmla="*/ 76 h 237"/>
                  <a:gd name="T38" fmla="*/ 111 w 111"/>
                  <a:gd name="T39" fmla="*/ 17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237">
                    <a:moveTo>
                      <a:pt x="111" y="176"/>
                    </a:moveTo>
                    <a:cubicBezTo>
                      <a:pt x="102" y="185"/>
                      <a:pt x="92" y="193"/>
                      <a:pt x="82" y="201"/>
                    </a:cubicBezTo>
                    <a:cubicBezTo>
                      <a:pt x="65" y="214"/>
                      <a:pt x="47" y="227"/>
                      <a:pt x="29" y="237"/>
                    </a:cubicBezTo>
                    <a:cubicBezTo>
                      <a:pt x="28" y="228"/>
                      <a:pt x="26" y="219"/>
                      <a:pt x="25" y="209"/>
                    </a:cubicBezTo>
                    <a:cubicBezTo>
                      <a:pt x="25" y="208"/>
                      <a:pt x="25" y="208"/>
                      <a:pt x="25" y="208"/>
                    </a:cubicBezTo>
                    <a:cubicBezTo>
                      <a:pt x="20" y="172"/>
                      <a:pt x="13" y="136"/>
                      <a:pt x="8" y="100"/>
                    </a:cubicBezTo>
                    <a:cubicBezTo>
                      <a:pt x="8" y="99"/>
                      <a:pt x="8" y="99"/>
                      <a:pt x="8" y="97"/>
                    </a:cubicBezTo>
                    <a:cubicBezTo>
                      <a:pt x="7" y="96"/>
                      <a:pt x="7" y="94"/>
                      <a:pt x="7" y="93"/>
                    </a:cubicBezTo>
                    <a:cubicBezTo>
                      <a:pt x="6" y="89"/>
                      <a:pt x="6" y="86"/>
                      <a:pt x="4" y="82"/>
                    </a:cubicBezTo>
                    <a:cubicBezTo>
                      <a:pt x="3" y="75"/>
                      <a:pt x="2" y="68"/>
                      <a:pt x="1" y="61"/>
                    </a:cubicBezTo>
                    <a:cubicBezTo>
                      <a:pt x="1" y="60"/>
                      <a:pt x="1" y="58"/>
                      <a:pt x="1" y="56"/>
                    </a:cubicBezTo>
                    <a:cubicBezTo>
                      <a:pt x="0" y="52"/>
                      <a:pt x="1" y="47"/>
                      <a:pt x="1" y="42"/>
                    </a:cubicBezTo>
                    <a:cubicBezTo>
                      <a:pt x="1" y="41"/>
                      <a:pt x="1" y="40"/>
                      <a:pt x="2" y="38"/>
                    </a:cubicBezTo>
                    <a:cubicBezTo>
                      <a:pt x="3" y="33"/>
                      <a:pt x="4" y="30"/>
                      <a:pt x="7" y="25"/>
                    </a:cubicBezTo>
                    <a:cubicBezTo>
                      <a:pt x="11" y="16"/>
                      <a:pt x="20" y="7"/>
                      <a:pt x="34" y="3"/>
                    </a:cubicBezTo>
                    <a:cubicBezTo>
                      <a:pt x="42" y="0"/>
                      <a:pt x="52" y="2"/>
                      <a:pt x="62" y="5"/>
                    </a:cubicBezTo>
                    <a:cubicBezTo>
                      <a:pt x="75" y="10"/>
                      <a:pt x="86" y="21"/>
                      <a:pt x="89" y="37"/>
                    </a:cubicBezTo>
                    <a:cubicBezTo>
                      <a:pt x="90" y="38"/>
                      <a:pt x="90" y="39"/>
                      <a:pt x="90" y="41"/>
                    </a:cubicBezTo>
                    <a:cubicBezTo>
                      <a:pt x="92" y="53"/>
                      <a:pt x="93" y="65"/>
                      <a:pt x="95" y="76"/>
                    </a:cubicBezTo>
                    <a:cubicBezTo>
                      <a:pt x="101" y="109"/>
                      <a:pt x="107" y="143"/>
                      <a:pt x="111" y="176"/>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10" name="Freeform 193">
                <a:extLst>
                  <a:ext uri="{FF2B5EF4-FFF2-40B4-BE49-F238E27FC236}">
                    <a16:creationId xmlns:a16="http://schemas.microsoft.com/office/drawing/2014/main" id="{A12A8659-5E1D-4D4D-AF81-7687659D1CCD}"/>
                  </a:ext>
                </a:extLst>
              </p:cNvPr>
              <p:cNvSpPr>
                <a:spLocks/>
              </p:cNvSpPr>
              <p:nvPr/>
            </p:nvSpPr>
            <p:spPr bwMode="auto">
              <a:xfrm>
                <a:off x="9799870" y="4145478"/>
                <a:ext cx="217374" cy="276789"/>
              </a:xfrm>
              <a:custGeom>
                <a:avLst/>
                <a:gdLst>
                  <a:gd name="T0" fmla="*/ 134 w 134"/>
                  <a:gd name="T1" fmla="*/ 128 h 171"/>
                  <a:gd name="T2" fmla="*/ 124 w 134"/>
                  <a:gd name="T3" fmla="*/ 137 h 171"/>
                  <a:gd name="T4" fmla="*/ 95 w 134"/>
                  <a:gd name="T5" fmla="*/ 163 h 171"/>
                  <a:gd name="T6" fmla="*/ 37 w 134"/>
                  <a:gd name="T7" fmla="*/ 170 h 171"/>
                  <a:gd name="T8" fmla="*/ 37 w 134"/>
                  <a:gd name="T9" fmla="*/ 170 h 171"/>
                  <a:gd name="T10" fmla="*/ 23 w 134"/>
                  <a:gd name="T11" fmla="*/ 171 h 171"/>
                  <a:gd name="T12" fmla="*/ 12 w 134"/>
                  <a:gd name="T13" fmla="*/ 88 h 171"/>
                  <a:gd name="T14" fmla="*/ 6 w 134"/>
                  <a:gd name="T15" fmla="*/ 54 h 171"/>
                  <a:gd name="T16" fmla="*/ 4 w 134"/>
                  <a:gd name="T17" fmla="*/ 37 h 171"/>
                  <a:gd name="T18" fmla="*/ 1 w 134"/>
                  <a:gd name="T19" fmla="*/ 23 h 171"/>
                  <a:gd name="T20" fmla="*/ 1 w 134"/>
                  <a:gd name="T21" fmla="*/ 23 h 171"/>
                  <a:gd name="T22" fmla="*/ 0 w 134"/>
                  <a:gd name="T23" fmla="*/ 20 h 171"/>
                  <a:gd name="T24" fmla="*/ 13 w 134"/>
                  <a:gd name="T25" fmla="*/ 18 h 171"/>
                  <a:gd name="T26" fmla="*/ 45 w 134"/>
                  <a:gd name="T27" fmla="*/ 12 h 171"/>
                  <a:gd name="T28" fmla="*/ 57 w 134"/>
                  <a:gd name="T29" fmla="*/ 10 h 171"/>
                  <a:gd name="T30" fmla="*/ 103 w 134"/>
                  <a:gd name="T31" fmla="*/ 3 h 171"/>
                  <a:gd name="T32" fmla="*/ 114 w 134"/>
                  <a:gd name="T33" fmla="*/ 0 h 171"/>
                  <a:gd name="T34" fmla="*/ 115 w 134"/>
                  <a:gd name="T35" fmla="*/ 4 h 171"/>
                  <a:gd name="T36" fmla="*/ 115 w 134"/>
                  <a:gd name="T37" fmla="*/ 4 h 171"/>
                  <a:gd name="T38" fmla="*/ 134 w 134"/>
                  <a:gd name="T39" fmla="*/ 12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171">
                    <a:moveTo>
                      <a:pt x="134" y="128"/>
                    </a:moveTo>
                    <a:cubicBezTo>
                      <a:pt x="131" y="131"/>
                      <a:pt x="128" y="134"/>
                      <a:pt x="124" y="137"/>
                    </a:cubicBezTo>
                    <a:cubicBezTo>
                      <a:pt x="115" y="146"/>
                      <a:pt x="105" y="155"/>
                      <a:pt x="95" y="163"/>
                    </a:cubicBezTo>
                    <a:cubicBezTo>
                      <a:pt x="37" y="170"/>
                      <a:pt x="37" y="170"/>
                      <a:pt x="37" y="170"/>
                    </a:cubicBezTo>
                    <a:cubicBezTo>
                      <a:pt x="37" y="170"/>
                      <a:pt x="37" y="170"/>
                      <a:pt x="37" y="170"/>
                    </a:cubicBezTo>
                    <a:cubicBezTo>
                      <a:pt x="23" y="171"/>
                      <a:pt x="23" y="171"/>
                      <a:pt x="23" y="171"/>
                    </a:cubicBezTo>
                    <a:cubicBezTo>
                      <a:pt x="19" y="148"/>
                      <a:pt x="15" y="116"/>
                      <a:pt x="12" y="88"/>
                    </a:cubicBezTo>
                    <a:cubicBezTo>
                      <a:pt x="9" y="75"/>
                      <a:pt x="7" y="63"/>
                      <a:pt x="6" y="54"/>
                    </a:cubicBezTo>
                    <a:cubicBezTo>
                      <a:pt x="5" y="47"/>
                      <a:pt x="4" y="41"/>
                      <a:pt x="4" y="37"/>
                    </a:cubicBezTo>
                    <a:cubicBezTo>
                      <a:pt x="2" y="31"/>
                      <a:pt x="1" y="26"/>
                      <a:pt x="1" y="23"/>
                    </a:cubicBezTo>
                    <a:cubicBezTo>
                      <a:pt x="1" y="23"/>
                      <a:pt x="1" y="23"/>
                      <a:pt x="1" y="23"/>
                    </a:cubicBezTo>
                    <a:cubicBezTo>
                      <a:pt x="0" y="21"/>
                      <a:pt x="0" y="20"/>
                      <a:pt x="0" y="20"/>
                    </a:cubicBezTo>
                    <a:cubicBezTo>
                      <a:pt x="13" y="18"/>
                      <a:pt x="13" y="18"/>
                      <a:pt x="13" y="18"/>
                    </a:cubicBezTo>
                    <a:cubicBezTo>
                      <a:pt x="45" y="12"/>
                      <a:pt x="45" y="12"/>
                      <a:pt x="45" y="12"/>
                    </a:cubicBezTo>
                    <a:cubicBezTo>
                      <a:pt x="57" y="10"/>
                      <a:pt x="57" y="10"/>
                      <a:pt x="57" y="10"/>
                    </a:cubicBezTo>
                    <a:cubicBezTo>
                      <a:pt x="103" y="3"/>
                      <a:pt x="103" y="3"/>
                      <a:pt x="103" y="3"/>
                    </a:cubicBezTo>
                    <a:cubicBezTo>
                      <a:pt x="114" y="0"/>
                      <a:pt x="114" y="0"/>
                      <a:pt x="114" y="0"/>
                    </a:cubicBezTo>
                    <a:cubicBezTo>
                      <a:pt x="115" y="2"/>
                      <a:pt x="115" y="3"/>
                      <a:pt x="115" y="4"/>
                    </a:cubicBezTo>
                    <a:cubicBezTo>
                      <a:pt x="115" y="4"/>
                      <a:pt x="115" y="4"/>
                      <a:pt x="115" y="4"/>
                    </a:cubicBezTo>
                    <a:cubicBezTo>
                      <a:pt x="118" y="21"/>
                      <a:pt x="128" y="80"/>
                      <a:pt x="134" y="12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11" name="Freeform 194">
                <a:extLst>
                  <a:ext uri="{FF2B5EF4-FFF2-40B4-BE49-F238E27FC236}">
                    <a16:creationId xmlns:a16="http://schemas.microsoft.com/office/drawing/2014/main" id="{D419F9BE-CB0F-497C-8716-F72265F74D80}"/>
                  </a:ext>
                </a:extLst>
              </p:cNvPr>
              <p:cNvSpPr>
                <a:spLocks/>
              </p:cNvSpPr>
              <p:nvPr/>
            </p:nvSpPr>
            <p:spPr bwMode="auto">
              <a:xfrm>
                <a:off x="9175283" y="3954189"/>
                <a:ext cx="370985" cy="299976"/>
              </a:xfrm>
              <a:custGeom>
                <a:avLst/>
                <a:gdLst>
                  <a:gd name="T0" fmla="*/ 46 w 256"/>
                  <a:gd name="T1" fmla="*/ 207 h 207"/>
                  <a:gd name="T2" fmla="*/ 0 w 256"/>
                  <a:gd name="T3" fmla="*/ 82 h 207"/>
                  <a:gd name="T4" fmla="*/ 210 w 256"/>
                  <a:gd name="T5" fmla="*/ 0 h 207"/>
                  <a:gd name="T6" fmla="*/ 256 w 256"/>
                  <a:gd name="T7" fmla="*/ 124 h 207"/>
                  <a:gd name="T8" fmla="*/ 46 w 256"/>
                  <a:gd name="T9" fmla="*/ 207 h 207"/>
                  <a:gd name="T10" fmla="*/ 46 w 256"/>
                  <a:gd name="T11" fmla="*/ 207 h 207"/>
                  <a:gd name="T12" fmla="*/ 46 w 256"/>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256" h="207">
                    <a:moveTo>
                      <a:pt x="46" y="207"/>
                    </a:moveTo>
                    <a:lnTo>
                      <a:pt x="0" y="82"/>
                    </a:lnTo>
                    <a:lnTo>
                      <a:pt x="210" y="0"/>
                    </a:lnTo>
                    <a:lnTo>
                      <a:pt x="256" y="124"/>
                    </a:lnTo>
                    <a:lnTo>
                      <a:pt x="46" y="207"/>
                    </a:lnTo>
                    <a:lnTo>
                      <a:pt x="46" y="207"/>
                    </a:lnTo>
                    <a:lnTo>
                      <a:pt x="46" y="2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12" name="Freeform 195">
                <a:extLst>
                  <a:ext uri="{FF2B5EF4-FFF2-40B4-BE49-F238E27FC236}">
                    <a16:creationId xmlns:a16="http://schemas.microsoft.com/office/drawing/2014/main" id="{1518FEB8-80AD-4D92-880E-687A92C2FF50}"/>
                  </a:ext>
                </a:extLst>
              </p:cNvPr>
              <p:cNvSpPr>
                <a:spLocks/>
              </p:cNvSpPr>
              <p:nvPr/>
            </p:nvSpPr>
            <p:spPr bwMode="auto">
              <a:xfrm>
                <a:off x="9307156" y="3413652"/>
                <a:ext cx="517350" cy="744868"/>
              </a:xfrm>
              <a:custGeom>
                <a:avLst/>
                <a:gdLst>
                  <a:gd name="T0" fmla="*/ 236 w 319"/>
                  <a:gd name="T1" fmla="*/ 0 h 459"/>
                  <a:gd name="T2" fmla="*/ 235 w 319"/>
                  <a:gd name="T3" fmla="*/ 19 h 459"/>
                  <a:gd name="T4" fmla="*/ 161 w 319"/>
                  <a:gd name="T5" fmla="*/ 9 h 459"/>
                  <a:gd name="T6" fmla="*/ 9 w 319"/>
                  <a:gd name="T7" fmla="*/ 86 h 459"/>
                  <a:gd name="T8" fmla="*/ 13 w 319"/>
                  <a:gd name="T9" fmla="*/ 365 h 459"/>
                  <a:gd name="T10" fmla="*/ 286 w 319"/>
                  <a:gd name="T11" fmla="*/ 351 h 459"/>
                  <a:gd name="T12" fmla="*/ 296 w 319"/>
                  <a:gd name="T13" fmla="*/ 234 h 459"/>
                  <a:gd name="T14" fmla="*/ 236 w 319"/>
                  <a:gd name="T15" fmla="*/ 0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459">
                    <a:moveTo>
                      <a:pt x="236" y="0"/>
                    </a:moveTo>
                    <a:cubicBezTo>
                      <a:pt x="235" y="19"/>
                      <a:pt x="235" y="19"/>
                      <a:pt x="235" y="19"/>
                    </a:cubicBezTo>
                    <a:cubicBezTo>
                      <a:pt x="217" y="12"/>
                      <a:pt x="192" y="9"/>
                      <a:pt x="161" y="9"/>
                    </a:cubicBezTo>
                    <a:cubicBezTo>
                      <a:pt x="98" y="9"/>
                      <a:pt x="29" y="16"/>
                      <a:pt x="9" y="86"/>
                    </a:cubicBezTo>
                    <a:cubicBezTo>
                      <a:pt x="7" y="165"/>
                      <a:pt x="0" y="354"/>
                      <a:pt x="13" y="365"/>
                    </a:cubicBezTo>
                    <a:cubicBezTo>
                      <a:pt x="6" y="364"/>
                      <a:pt x="212" y="459"/>
                      <a:pt x="286" y="351"/>
                    </a:cubicBezTo>
                    <a:cubicBezTo>
                      <a:pt x="310" y="320"/>
                      <a:pt x="286" y="278"/>
                      <a:pt x="296" y="234"/>
                    </a:cubicBezTo>
                    <a:cubicBezTo>
                      <a:pt x="319" y="128"/>
                      <a:pt x="300" y="8"/>
                      <a:pt x="236" y="0"/>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13" name="Freeform 196">
                <a:extLst>
                  <a:ext uri="{FF2B5EF4-FFF2-40B4-BE49-F238E27FC236}">
                    <a16:creationId xmlns:a16="http://schemas.microsoft.com/office/drawing/2014/main" id="{9B2D6E85-7998-4997-A7EA-B53F16B9ECBA}"/>
                  </a:ext>
                </a:extLst>
              </p:cNvPr>
              <p:cNvSpPr>
                <a:spLocks/>
              </p:cNvSpPr>
              <p:nvPr/>
            </p:nvSpPr>
            <p:spPr bwMode="auto">
              <a:xfrm>
                <a:off x="9330343" y="3809273"/>
                <a:ext cx="433299" cy="263747"/>
              </a:xfrm>
              <a:custGeom>
                <a:avLst/>
                <a:gdLst>
                  <a:gd name="T0" fmla="*/ 201 w 267"/>
                  <a:gd name="T1" fmla="*/ 0 h 163"/>
                  <a:gd name="T2" fmla="*/ 206 w 267"/>
                  <a:gd name="T3" fmla="*/ 97 h 163"/>
                  <a:gd name="T4" fmla="*/ 267 w 267"/>
                  <a:gd name="T5" fmla="*/ 125 h 163"/>
                  <a:gd name="T6" fmla="*/ 135 w 267"/>
                  <a:gd name="T7" fmla="*/ 163 h 163"/>
                  <a:gd name="T8" fmla="*/ 0 w 267"/>
                  <a:gd name="T9" fmla="*/ 127 h 163"/>
                  <a:gd name="T10" fmla="*/ 61 w 267"/>
                  <a:gd name="T11" fmla="*/ 98 h 163"/>
                  <a:gd name="T12" fmla="*/ 67 w 267"/>
                  <a:gd name="T13" fmla="*/ 0 h 163"/>
                  <a:gd name="T14" fmla="*/ 201 w 267"/>
                  <a:gd name="T15" fmla="*/ 0 h 163"/>
                  <a:gd name="T16" fmla="*/ 201 w 267"/>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163">
                    <a:moveTo>
                      <a:pt x="201" y="0"/>
                    </a:moveTo>
                    <a:cubicBezTo>
                      <a:pt x="206" y="97"/>
                      <a:pt x="206" y="97"/>
                      <a:pt x="206" y="97"/>
                    </a:cubicBezTo>
                    <a:cubicBezTo>
                      <a:pt x="267" y="125"/>
                      <a:pt x="267" y="125"/>
                      <a:pt x="267" y="125"/>
                    </a:cubicBezTo>
                    <a:cubicBezTo>
                      <a:pt x="250" y="134"/>
                      <a:pt x="174" y="163"/>
                      <a:pt x="135" y="163"/>
                    </a:cubicBezTo>
                    <a:cubicBezTo>
                      <a:pt x="95" y="163"/>
                      <a:pt x="17" y="136"/>
                      <a:pt x="0" y="127"/>
                    </a:cubicBezTo>
                    <a:cubicBezTo>
                      <a:pt x="61" y="98"/>
                      <a:pt x="61" y="98"/>
                      <a:pt x="61" y="98"/>
                    </a:cubicBezTo>
                    <a:cubicBezTo>
                      <a:pt x="67" y="0"/>
                      <a:pt x="67" y="0"/>
                      <a:pt x="67" y="0"/>
                    </a:cubicBezTo>
                    <a:cubicBezTo>
                      <a:pt x="201" y="0"/>
                      <a:pt x="201" y="0"/>
                      <a:pt x="201" y="0"/>
                    </a:cubicBezTo>
                    <a:cubicBezTo>
                      <a:pt x="201" y="0"/>
                      <a:pt x="201" y="0"/>
                      <a:pt x="201" y="0"/>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14" name="Freeform 197">
                <a:extLst>
                  <a:ext uri="{FF2B5EF4-FFF2-40B4-BE49-F238E27FC236}">
                    <a16:creationId xmlns:a16="http://schemas.microsoft.com/office/drawing/2014/main" id="{069F0AD1-0DE3-445A-BE50-75295BB82B80}"/>
                  </a:ext>
                </a:extLst>
              </p:cNvPr>
              <p:cNvSpPr>
                <a:spLocks/>
              </p:cNvSpPr>
              <p:nvPr/>
            </p:nvSpPr>
            <p:spPr bwMode="auto">
              <a:xfrm>
                <a:off x="9691183" y="3580306"/>
                <a:ext cx="84051" cy="192738"/>
              </a:xfrm>
              <a:custGeom>
                <a:avLst/>
                <a:gdLst>
                  <a:gd name="T0" fmla="*/ 9 w 52"/>
                  <a:gd name="T1" fmla="*/ 119 h 119"/>
                  <a:gd name="T2" fmla="*/ 50 w 52"/>
                  <a:gd name="T3" fmla="*/ 64 h 119"/>
                  <a:gd name="T4" fmla="*/ 0 w 52"/>
                  <a:gd name="T5" fmla="*/ 0 h 119"/>
                  <a:gd name="T6" fmla="*/ 9 w 52"/>
                  <a:gd name="T7" fmla="*/ 119 h 119"/>
                  <a:gd name="T8" fmla="*/ 9 w 52"/>
                  <a:gd name="T9" fmla="*/ 119 h 119"/>
                </a:gdLst>
                <a:ahLst/>
                <a:cxnLst>
                  <a:cxn ang="0">
                    <a:pos x="T0" y="T1"/>
                  </a:cxn>
                  <a:cxn ang="0">
                    <a:pos x="T2" y="T3"/>
                  </a:cxn>
                  <a:cxn ang="0">
                    <a:pos x="T4" y="T5"/>
                  </a:cxn>
                  <a:cxn ang="0">
                    <a:pos x="T6" y="T7"/>
                  </a:cxn>
                  <a:cxn ang="0">
                    <a:pos x="T8" y="T9"/>
                  </a:cxn>
                </a:cxnLst>
                <a:rect l="0" t="0" r="r" b="b"/>
                <a:pathLst>
                  <a:path w="52" h="119">
                    <a:moveTo>
                      <a:pt x="9" y="119"/>
                    </a:moveTo>
                    <a:cubicBezTo>
                      <a:pt x="34" y="119"/>
                      <a:pt x="52" y="98"/>
                      <a:pt x="50" y="64"/>
                    </a:cubicBezTo>
                    <a:cubicBezTo>
                      <a:pt x="46" y="33"/>
                      <a:pt x="25" y="0"/>
                      <a:pt x="0" y="0"/>
                    </a:cubicBezTo>
                    <a:cubicBezTo>
                      <a:pt x="9" y="119"/>
                      <a:pt x="9" y="119"/>
                      <a:pt x="9" y="119"/>
                    </a:cubicBezTo>
                    <a:cubicBezTo>
                      <a:pt x="9" y="119"/>
                      <a:pt x="9" y="119"/>
                      <a:pt x="9" y="119"/>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15" name="Freeform 198">
                <a:extLst>
                  <a:ext uri="{FF2B5EF4-FFF2-40B4-BE49-F238E27FC236}">
                    <a16:creationId xmlns:a16="http://schemas.microsoft.com/office/drawing/2014/main" id="{2329B239-0FEC-4EE0-A350-D07A42ABB093}"/>
                  </a:ext>
                </a:extLst>
              </p:cNvPr>
              <p:cNvSpPr>
                <a:spLocks/>
              </p:cNvSpPr>
              <p:nvPr/>
            </p:nvSpPr>
            <p:spPr bwMode="auto">
              <a:xfrm>
                <a:off x="9317300" y="3580306"/>
                <a:ext cx="85500" cy="192738"/>
              </a:xfrm>
              <a:custGeom>
                <a:avLst/>
                <a:gdLst>
                  <a:gd name="T0" fmla="*/ 44 w 52"/>
                  <a:gd name="T1" fmla="*/ 119 h 119"/>
                  <a:gd name="T2" fmla="*/ 4 w 52"/>
                  <a:gd name="T3" fmla="*/ 64 h 119"/>
                  <a:gd name="T4" fmla="*/ 52 w 52"/>
                  <a:gd name="T5" fmla="*/ 0 h 119"/>
                  <a:gd name="T6" fmla="*/ 44 w 52"/>
                  <a:gd name="T7" fmla="*/ 119 h 119"/>
                  <a:gd name="T8" fmla="*/ 44 w 52"/>
                  <a:gd name="T9" fmla="*/ 119 h 119"/>
                </a:gdLst>
                <a:ahLst/>
                <a:cxnLst>
                  <a:cxn ang="0">
                    <a:pos x="T0" y="T1"/>
                  </a:cxn>
                  <a:cxn ang="0">
                    <a:pos x="T2" y="T3"/>
                  </a:cxn>
                  <a:cxn ang="0">
                    <a:pos x="T4" y="T5"/>
                  </a:cxn>
                  <a:cxn ang="0">
                    <a:pos x="T6" y="T7"/>
                  </a:cxn>
                  <a:cxn ang="0">
                    <a:pos x="T8" y="T9"/>
                  </a:cxn>
                </a:cxnLst>
                <a:rect l="0" t="0" r="r" b="b"/>
                <a:pathLst>
                  <a:path w="52" h="119">
                    <a:moveTo>
                      <a:pt x="44" y="119"/>
                    </a:moveTo>
                    <a:cubicBezTo>
                      <a:pt x="18" y="119"/>
                      <a:pt x="0" y="98"/>
                      <a:pt x="4" y="64"/>
                    </a:cubicBezTo>
                    <a:cubicBezTo>
                      <a:pt x="8" y="33"/>
                      <a:pt x="29" y="0"/>
                      <a:pt x="52" y="0"/>
                    </a:cubicBezTo>
                    <a:cubicBezTo>
                      <a:pt x="44" y="119"/>
                      <a:pt x="44" y="119"/>
                      <a:pt x="44" y="119"/>
                    </a:cubicBezTo>
                    <a:cubicBezTo>
                      <a:pt x="44" y="119"/>
                      <a:pt x="44" y="119"/>
                      <a:pt x="44" y="119"/>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16" name="Freeform 199">
                <a:extLst>
                  <a:ext uri="{FF2B5EF4-FFF2-40B4-BE49-F238E27FC236}">
                    <a16:creationId xmlns:a16="http://schemas.microsoft.com/office/drawing/2014/main" id="{D9D21187-0AA9-4D1F-996D-555CE0454896}"/>
                  </a:ext>
                </a:extLst>
              </p:cNvPr>
              <p:cNvSpPr>
                <a:spLocks/>
              </p:cNvSpPr>
              <p:nvPr/>
            </p:nvSpPr>
            <p:spPr bwMode="auto">
              <a:xfrm>
                <a:off x="9354978" y="3400610"/>
                <a:ext cx="385476" cy="528943"/>
              </a:xfrm>
              <a:custGeom>
                <a:avLst/>
                <a:gdLst>
                  <a:gd name="T0" fmla="*/ 119 w 237"/>
                  <a:gd name="T1" fmla="*/ 326 h 326"/>
                  <a:gd name="T2" fmla="*/ 150 w 237"/>
                  <a:gd name="T3" fmla="*/ 316 h 326"/>
                  <a:gd name="T4" fmla="*/ 237 w 237"/>
                  <a:gd name="T5" fmla="*/ 147 h 326"/>
                  <a:gd name="T6" fmla="*/ 224 w 237"/>
                  <a:gd name="T7" fmla="*/ 73 h 326"/>
                  <a:gd name="T8" fmla="*/ 119 w 237"/>
                  <a:gd name="T9" fmla="*/ 0 h 326"/>
                  <a:gd name="T10" fmla="*/ 13 w 237"/>
                  <a:gd name="T11" fmla="*/ 73 h 326"/>
                  <a:gd name="T12" fmla="*/ 0 w 237"/>
                  <a:gd name="T13" fmla="*/ 147 h 326"/>
                  <a:gd name="T14" fmla="*/ 87 w 237"/>
                  <a:gd name="T15" fmla="*/ 316 h 326"/>
                  <a:gd name="T16" fmla="*/ 119 w 237"/>
                  <a:gd name="T17"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326">
                    <a:moveTo>
                      <a:pt x="119" y="326"/>
                    </a:moveTo>
                    <a:cubicBezTo>
                      <a:pt x="142" y="326"/>
                      <a:pt x="149" y="320"/>
                      <a:pt x="150" y="316"/>
                    </a:cubicBezTo>
                    <a:cubicBezTo>
                      <a:pt x="218" y="290"/>
                      <a:pt x="229" y="206"/>
                      <a:pt x="237" y="147"/>
                    </a:cubicBezTo>
                    <a:cubicBezTo>
                      <a:pt x="224" y="73"/>
                      <a:pt x="224" y="73"/>
                      <a:pt x="224" y="73"/>
                    </a:cubicBezTo>
                    <a:cubicBezTo>
                      <a:pt x="216" y="34"/>
                      <a:pt x="156" y="0"/>
                      <a:pt x="119" y="0"/>
                    </a:cubicBezTo>
                    <a:cubicBezTo>
                      <a:pt x="81" y="0"/>
                      <a:pt x="22" y="34"/>
                      <a:pt x="13" y="73"/>
                    </a:cubicBezTo>
                    <a:cubicBezTo>
                      <a:pt x="0" y="147"/>
                      <a:pt x="0" y="147"/>
                      <a:pt x="0" y="147"/>
                    </a:cubicBezTo>
                    <a:cubicBezTo>
                      <a:pt x="8" y="206"/>
                      <a:pt x="19" y="290"/>
                      <a:pt x="87" y="316"/>
                    </a:cubicBezTo>
                    <a:cubicBezTo>
                      <a:pt x="89" y="320"/>
                      <a:pt x="96" y="326"/>
                      <a:pt x="119" y="326"/>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17" name="Freeform 200">
                <a:extLst>
                  <a:ext uri="{FF2B5EF4-FFF2-40B4-BE49-F238E27FC236}">
                    <a16:creationId xmlns:a16="http://schemas.microsoft.com/office/drawing/2014/main" id="{A42F2896-AA6C-4BD0-A8A2-7D2A8ABED93D}"/>
                  </a:ext>
                </a:extLst>
              </p:cNvPr>
              <p:cNvSpPr>
                <a:spLocks/>
              </p:cNvSpPr>
              <p:nvPr/>
            </p:nvSpPr>
            <p:spPr bwMode="auto">
              <a:xfrm>
                <a:off x="9620175" y="3629577"/>
                <a:ext cx="24636" cy="34780"/>
              </a:xfrm>
              <a:custGeom>
                <a:avLst/>
                <a:gdLst>
                  <a:gd name="T0" fmla="*/ 7 w 15"/>
                  <a:gd name="T1" fmla="*/ 22 h 22"/>
                  <a:gd name="T2" fmla="*/ 0 w 15"/>
                  <a:gd name="T3" fmla="*/ 10 h 22"/>
                  <a:gd name="T4" fmla="*/ 7 w 15"/>
                  <a:gd name="T5" fmla="*/ 0 h 22"/>
                  <a:gd name="T6" fmla="*/ 15 w 15"/>
                  <a:gd name="T7" fmla="*/ 12 h 22"/>
                  <a:gd name="T8" fmla="*/ 7 w 15"/>
                  <a:gd name="T9" fmla="*/ 22 h 22"/>
                </a:gdLst>
                <a:ahLst/>
                <a:cxnLst>
                  <a:cxn ang="0">
                    <a:pos x="T0" y="T1"/>
                  </a:cxn>
                  <a:cxn ang="0">
                    <a:pos x="T2" y="T3"/>
                  </a:cxn>
                  <a:cxn ang="0">
                    <a:pos x="T4" y="T5"/>
                  </a:cxn>
                  <a:cxn ang="0">
                    <a:pos x="T6" y="T7"/>
                  </a:cxn>
                  <a:cxn ang="0">
                    <a:pos x="T8" y="T9"/>
                  </a:cxn>
                </a:cxnLst>
                <a:rect l="0" t="0" r="r" b="b"/>
                <a:pathLst>
                  <a:path w="15" h="22">
                    <a:moveTo>
                      <a:pt x="7" y="22"/>
                    </a:moveTo>
                    <a:cubicBezTo>
                      <a:pt x="4" y="22"/>
                      <a:pt x="0" y="18"/>
                      <a:pt x="0" y="10"/>
                    </a:cubicBezTo>
                    <a:cubicBezTo>
                      <a:pt x="1" y="6"/>
                      <a:pt x="4" y="0"/>
                      <a:pt x="7" y="0"/>
                    </a:cubicBezTo>
                    <a:cubicBezTo>
                      <a:pt x="11" y="0"/>
                      <a:pt x="15" y="6"/>
                      <a:pt x="15" y="12"/>
                    </a:cubicBezTo>
                    <a:cubicBezTo>
                      <a:pt x="15" y="18"/>
                      <a:pt x="11" y="22"/>
                      <a:pt x="7" y="2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18" name="Freeform 201">
                <a:extLst>
                  <a:ext uri="{FF2B5EF4-FFF2-40B4-BE49-F238E27FC236}">
                    <a16:creationId xmlns:a16="http://schemas.microsoft.com/office/drawing/2014/main" id="{B5EC0562-C616-458C-BEF3-683AC1D23895}"/>
                  </a:ext>
                </a:extLst>
              </p:cNvPr>
              <p:cNvSpPr>
                <a:spLocks/>
              </p:cNvSpPr>
              <p:nvPr/>
            </p:nvSpPr>
            <p:spPr bwMode="auto">
              <a:xfrm>
                <a:off x="9439030" y="3629577"/>
                <a:ext cx="36229" cy="34780"/>
              </a:xfrm>
              <a:custGeom>
                <a:avLst/>
                <a:gdLst>
                  <a:gd name="T0" fmla="*/ 12 w 22"/>
                  <a:gd name="T1" fmla="*/ 22 h 22"/>
                  <a:gd name="T2" fmla="*/ 22 w 22"/>
                  <a:gd name="T3" fmla="*/ 10 h 22"/>
                  <a:gd name="T4" fmla="*/ 10 w 22"/>
                  <a:gd name="T5" fmla="*/ 0 h 22"/>
                  <a:gd name="T6" fmla="*/ 0 w 22"/>
                  <a:gd name="T7" fmla="*/ 12 h 22"/>
                  <a:gd name="T8" fmla="*/ 12 w 22"/>
                  <a:gd name="T9" fmla="*/ 22 h 22"/>
                </a:gdLst>
                <a:ahLst/>
                <a:cxnLst>
                  <a:cxn ang="0">
                    <a:pos x="T0" y="T1"/>
                  </a:cxn>
                  <a:cxn ang="0">
                    <a:pos x="T2" y="T3"/>
                  </a:cxn>
                  <a:cxn ang="0">
                    <a:pos x="T4" y="T5"/>
                  </a:cxn>
                  <a:cxn ang="0">
                    <a:pos x="T6" y="T7"/>
                  </a:cxn>
                  <a:cxn ang="0">
                    <a:pos x="T8" y="T9"/>
                  </a:cxn>
                </a:cxnLst>
                <a:rect l="0" t="0" r="r" b="b"/>
                <a:pathLst>
                  <a:path w="22" h="22">
                    <a:moveTo>
                      <a:pt x="12" y="22"/>
                    </a:moveTo>
                    <a:cubicBezTo>
                      <a:pt x="17" y="22"/>
                      <a:pt x="22" y="18"/>
                      <a:pt x="22" y="10"/>
                    </a:cubicBezTo>
                    <a:cubicBezTo>
                      <a:pt x="22" y="6"/>
                      <a:pt x="16" y="0"/>
                      <a:pt x="10" y="0"/>
                    </a:cubicBezTo>
                    <a:cubicBezTo>
                      <a:pt x="6" y="0"/>
                      <a:pt x="0" y="6"/>
                      <a:pt x="0" y="12"/>
                    </a:cubicBezTo>
                    <a:cubicBezTo>
                      <a:pt x="0" y="18"/>
                      <a:pt x="6" y="22"/>
                      <a:pt x="12" y="2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19" name="Freeform 202">
                <a:extLst>
                  <a:ext uri="{FF2B5EF4-FFF2-40B4-BE49-F238E27FC236}">
                    <a16:creationId xmlns:a16="http://schemas.microsoft.com/office/drawing/2014/main" id="{4F850379-6CD0-49D8-B29B-A1F88C67DB3F}"/>
                  </a:ext>
                </a:extLst>
              </p:cNvPr>
              <p:cNvSpPr>
                <a:spLocks/>
              </p:cNvSpPr>
              <p:nvPr/>
            </p:nvSpPr>
            <p:spPr bwMode="auto">
              <a:xfrm>
                <a:off x="9317300" y="3354237"/>
                <a:ext cx="482570" cy="346349"/>
              </a:xfrm>
              <a:custGeom>
                <a:avLst/>
                <a:gdLst>
                  <a:gd name="T0" fmla="*/ 297 w 297"/>
                  <a:gd name="T1" fmla="*/ 166 h 214"/>
                  <a:gd name="T2" fmla="*/ 251 w 297"/>
                  <a:gd name="T3" fmla="*/ 43 h 214"/>
                  <a:gd name="T4" fmla="*/ 229 w 297"/>
                  <a:gd name="T5" fmla="*/ 34 h 214"/>
                  <a:gd name="T6" fmla="*/ 141 w 297"/>
                  <a:gd name="T7" fmla="*/ 0 h 214"/>
                  <a:gd name="T8" fmla="*/ 2 w 297"/>
                  <a:gd name="T9" fmla="*/ 149 h 214"/>
                  <a:gd name="T10" fmla="*/ 42 w 297"/>
                  <a:gd name="T11" fmla="*/ 145 h 214"/>
                  <a:gd name="T12" fmla="*/ 142 w 297"/>
                  <a:gd name="T13" fmla="*/ 48 h 214"/>
                  <a:gd name="T14" fmla="*/ 172 w 297"/>
                  <a:gd name="T15" fmla="*/ 44 h 214"/>
                  <a:gd name="T16" fmla="*/ 175 w 297"/>
                  <a:gd name="T17" fmla="*/ 43 h 214"/>
                  <a:gd name="T18" fmla="*/ 279 w 297"/>
                  <a:gd name="T19" fmla="*/ 207 h 214"/>
                  <a:gd name="T20" fmla="*/ 294 w 297"/>
                  <a:gd name="T21" fmla="*/ 191 h 214"/>
                  <a:gd name="T22" fmla="*/ 297 w 297"/>
                  <a:gd name="T23" fmla="*/ 16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7" h="214">
                    <a:moveTo>
                      <a:pt x="297" y="166"/>
                    </a:moveTo>
                    <a:cubicBezTo>
                      <a:pt x="295" y="110"/>
                      <a:pt x="280" y="62"/>
                      <a:pt x="251" y="43"/>
                    </a:cubicBezTo>
                    <a:cubicBezTo>
                      <a:pt x="243" y="37"/>
                      <a:pt x="236" y="34"/>
                      <a:pt x="229" y="34"/>
                    </a:cubicBezTo>
                    <a:cubicBezTo>
                      <a:pt x="229" y="34"/>
                      <a:pt x="216" y="0"/>
                      <a:pt x="141" y="0"/>
                    </a:cubicBezTo>
                    <a:cubicBezTo>
                      <a:pt x="75" y="0"/>
                      <a:pt x="0" y="31"/>
                      <a:pt x="2" y="149"/>
                    </a:cubicBezTo>
                    <a:cubicBezTo>
                      <a:pt x="0" y="175"/>
                      <a:pt x="43" y="214"/>
                      <a:pt x="42" y="145"/>
                    </a:cubicBezTo>
                    <a:cubicBezTo>
                      <a:pt x="49" y="69"/>
                      <a:pt x="55" y="38"/>
                      <a:pt x="142" y="48"/>
                    </a:cubicBezTo>
                    <a:cubicBezTo>
                      <a:pt x="151" y="49"/>
                      <a:pt x="162" y="44"/>
                      <a:pt x="172" y="44"/>
                    </a:cubicBezTo>
                    <a:cubicBezTo>
                      <a:pt x="173" y="43"/>
                      <a:pt x="174" y="43"/>
                      <a:pt x="175" y="43"/>
                    </a:cubicBezTo>
                    <a:cubicBezTo>
                      <a:pt x="260" y="54"/>
                      <a:pt x="228" y="184"/>
                      <a:pt x="279" y="207"/>
                    </a:cubicBezTo>
                    <a:cubicBezTo>
                      <a:pt x="279" y="207"/>
                      <a:pt x="289" y="212"/>
                      <a:pt x="294" y="191"/>
                    </a:cubicBezTo>
                    <a:cubicBezTo>
                      <a:pt x="295" y="182"/>
                      <a:pt x="297" y="166"/>
                      <a:pt x="297" y="166"/>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20" name="Freeform 203">
                <a:extLst>
                  <a:ext uri="{FF2B5EF4-FFF2-40B4-BE49-F238E27FC236}">
                    <a16:creationId xmlns:a16="http://schemas.microsoft.com/office/drawing/2014/main" id="{B57D921A-79BC-4B82-AF24-66763CC8BE22}"/>
                  </a:ext>
                </a:extLst>
              </p:cNvPr>
              <p:cNvSpPr>
                <a:spLocks/>
              </p:cNvSpPr>
              <p:nvPr/>
            </p:nvSpPr>
            <p:spPr bwMode="auto">
              <a:xfrm>
                <a:off x="9434682" y="3871587"/>
                <a:ext cx="227518" cy="69560"/>
              </a:xfrm>
              <a:custGeom>
                <a:avLst/>
                <a:gdLst>
                  <a:gd name="T0" fmla="*/ 115 w 140"/>
                  <a:gd name="T1" fmla="*/ 19 h 43"/>
                  <a:gd name="T2" fmla="*/ 112 w 140"/>
                  <a:gd name="T3" fmla="*/ 21 h 43"/>
                  <a:gd name="T4" fmla="*/ 108 w 140"/>
                  <a:gd name="T5" fmla="*/ 22 h 43"/>
                  <a:gd name="T6" fmla="*/ 102 w 140"/>
                  <a:gd name="T7" fmla="*/ 24 h 43"/>
                  <a:gd name="T8" fmla="*/ 71 w 140"/>
                  <a:gd name="T9" fmla="*/ 35 h 43"/>
                  <a:gd name="T10" fmla="*/ 38 w 140"/>
                  <a:gd name="T11" fmla="*/ 24 h 43"/>
                  <a:gd name="T12" fmla="*/ 35 w 140"/>
                  <a:gd name="T13" fmla="*/ 22 h 43"/>
                  <a:gd name="T14" fmla="*/ 30 w 140"/>
                  <a:gd name="T15" fmla="*/ 21 h 43"/>
                  <a:gd name="T16" fmla="*/ 27 w 140"/>
                  <a:gd name="T17" fmla="*/ 19 h 43"/>
                  <a:gd name="T18" fmla="*/ 0 w 140"/>
                  <a:gd name="T19" fmla="*/ 0 h 43"/>
                  <a:gd name="T20" fmla="*/ 0 w 140"/>
                  <a:gd name="T21" fmla="*/ 7 h 43"/>
                  <a:gd name="T22" fmla="*/ 38 w 140"/>
                  <a:gd name="T23" fmla="*/ 33 h 43"/>
                  <a:gd name="T24" fmla="*/ 71 w 140"/>
                  <a:gd name="T25" fmla="*/ 43 h 43"/>
                  <a:gd name="T26" fmla="*/ 102 w 140"/>
                  <a:gd name="T27" fmla="*/ 33 h 43"/>
                  <a:gd name="T28" fmla="*/ 140 w 140"/>
                  <a:gd name="T29" fmla="*/ 9 h 43"/>
                  <a:gd name="T30" fmla="*/ 139 w 140"/>
                  <a:gd name="T31" fmla="*/ 0 h 43"/>
                  <a:gd name="T32" fmla="*/ 115 w 140"/>
                  <a:gd name="T33"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0" h="43">
                    <a:moveTo>
                      <a:pt x="115" y="19"/>
                    </a:moveTo>
                    <a:cubicBezTo>
                      <a:pt x="114" y="19"/>
                      <a:pt x="113" y="20"/>
                      <a:pt x="112" y="21"/>
                    </a:cubicBezTo>
                    <a:cubicBezTo>
                      <a:pt x="110" y="21"/>
                      <a:pt x="109" y="21"/>
                      <a:pt x="108" y="22"/>
                    </a:cubicBezTo>
                    <a:cubicBezTo>
                      <a:pt x="107" y="22"/>
                      <a:pt x="105" y="23"/>
                      <a:pt x="102" y="24"/>
                    </a:cubicBezTo>
                    <a:cubicBezTo>
                      <a:pt x="101" y="29"/>
                      <a:pt x="94" y="35"/>
                      <a:pt x="71" y="35"/>
                    </a:cubicBezTo>
                    <a:cubicBezTo>
                      <a:pt x="47" y="35"/>
                      <a:pt x="40" y="29"/>
                      <a:pt x="38" y="24"/>
                    </a:cubicBezTo>
                    <a:cubicBezTo>
                      <a:pt x="37" y="23"/>
                      <a:pt x="36" y="23"/>
                      <a:pt x="35" y="22"/>
                    </a:cubicBezTo>
                    <a:cubicBezTo>
                      <a:pt x="33" y="22"/>
                      <a:pt x="31" y="21"/>
                      <a:pt x="30" y="21"/>
                    </a:cubicBezTo>
                    <a:cubicBezTo>
                      <a:pt x="29" y="20"/>
                      <a:pt x="28" y="20"/>
                      <a:pt x="27" y="19"/>
                    </a:cubicBezTo>
                    <a:cubicBezTo>
                      <a:pt x="20" y="15"/>
                      <a:pt x="1" y="1"/>
                      <a:pt x="0" y="0"/>
                    </a:cubicBezTo>
                    <a:cubicBezTo>
                      <a:pt x="0" y="8"/>
                      <a:pt x="0" y="7"/>
                      <a:pt x="0" y="7"/>
                    </a:cubicBezTo>
                    <a:cubicBezTo>
                      <a:pt x="17" y="23"/>
                      <a:pt x="28" y="28"/>
                      <a:pt x="38" y="33"/>
                    </a:cubicBezTo>
                    <a:cubicBezTo>
                      <a:pt x="40" y="37"/>
                      <a:pt x="47" y="43"/>
                      <a:pt x="71" y="43"/>
                    </a:cubicBezTo>
                    <a:cubicBezTo>
                      <a:pt x="94" y="43"/>
                      <a:pt x="101" y="37"/>
                      <a:pt x="102" y="33"/>
                    </a:cubicBezTo>
                    <a:cubicBezTo>
                      <a:pt x="114" y="28"/>
                      <a:pt x="123" y="23"/>
                      <a:pt x="140" y="9"/>
                    </a:cubicBezTo>
                    <a:cubicBezTo>
                      <a:pt x="139" y="0"/>
                      <a:pt x="139" y="0"/>
                      <a:pt x="139" y="0"/>
                    </a:cubicBezTo>
                    <a:cubicBezTo>
                      <a:pt x="139" y="0"/>
                      <a:pt x="122" y="15"/>
                      <a:pt x="115" y="19"/>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21" name="Freeform 204">
                <a:extLst>
                  <a:ext uri="{FF2B5EF4-FFF2-40B4-BE49-F238E27FC236}">
                    <a16:creationId xmlns:a16="http://schemas.microsoft.com/office/drawing/2014/main" id="{2D6224E1-ED9E-4F76-A4DD-A0398DA97935}"/>
                  </a:ext>
                </a:extLst>
              </p:cNvPr>
              <p:cNvSpPr>
                <a:spLocks/>
              </p:cNvSpPr>
              <p:nvPr/>
            </p:nvSpPr>
            <p:spPr bwMode="auto">
              <a:xfrm>
                <a:off x="9475259" y="3820866"/>
                <a:ext cx="144916" cy="24636"/>
              </a:xfrm>
              <a:custGeom>
                <a:avLst/>
                <a:gdLst>
                  <a:gd name="T0" fmla="*/ 44 w 89"/>
                  <a:gd name="T1" fmla="*/ 15 h 15"/>
                  <a:gd name="T2" fmla="*/ 6 w 89"/>
                  <a:gd name="T3" fmla="*/ 11 h 15"/>
                  <a:gd name="T4" fmla="*/ 1 w 89"/>
                  <a:gd name="T5" fmla="*/ 5 h 15"/>
                  <a:gd name="T6" fmla="*/ 7 w 89"/>
                  <a:gd name="T7" fmla="*/ 2 h 15"/>
                  <a:gd name="T8" fmla="*/ 82 w 89"/>
                  <a:gd name="T9" fmla="*/ 2 h 15"/>
                  <a:gd name="T10" fmla="*/ 88 w 89"/>
                  <a:gd name="T11" fmla="*/ 5 h 15"/>
                  <a:gd name="T12" fmla="*/ 84 w 89"/>
                  <a:gd name="T13" fmla="*/ 11 h 15"/>
                  <a:gd name="T14" fmla="*/ 44 w 89"/>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5">
                    <a:moveTo>
                      <a:pt x="44" y="15"/>
                    </a:moveTo>
                    <a:cubicBezTo>
                      <a:pt x="32" y="15"/>
                      <a:pt x="20" y="14"/>
                      <a:pt x="6" y="11"/>
                    </a:cubicBezTo>
                    <a:cubicBezTo>
                      <a:pt x="2" y="10"/>
                      <a:pt x="0" y="8"/>
                      <a:pt x="1" y="5"/>
                    </a:cubicBezTo>
                    <a:cubicBezTo>
                      <a:pt x="2" y="3"/>
                      <a:pt x="5" y="0"/>
                      <a:pt x="7" y="2"/>
                    </a:cubicBezTo>
                    <a:cubicBezTo>
                      <a:pt x="36" y="7"/>
                      <a:pt x="53" y="7"/>
                      <a:pt x="82" y="2"/>
                    </a:cubicBezTo>
                    <a:cubicBezTo>
                      <a:pt x="84" y="0"/>
                      <a:pt x="88" y="3"/>
                      <a:pt x="88" y="5"/>
                    </a:cubicBezTo>
                    <a:cubicBezTo>
                      <a:pt x="89" y="8"/>
                      <a:pt x="86" y="10"/>
                      <a:pt x="84" y="11"/>
                    </a:cubicBezTo>
                    <a:cubicBezTo>
                      <a:pt x="68" y="14"/>
                      <a:pt x="56" y="15"/>
                      <a:pt x="44" y="15"/>
                    </a:cubicBezTo>
                    <a:close/>
                  </a:path>
                </a:pathLst>
              </a:custGeom>
              <a:solidFill>
                <a:srgbClr val="E6A1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22" name="Freeform 205">
                <a:extLst>
                  <a:ext uri="{FF2B5EF4-FFF2-40B4-BE49-F238E27FC236}">
                    <a16:creationId xmlns:a16="http://schemas.microsoft.com/office/drawing/2014/main" id="{3997EB2E-F5DC-452B-8001-8728685C6694}"/>
                  </a:ext>
                </a:extLst>
              </p:cNvPr>
              <p:cNvSpPr>
                <a:spLocks/>
              </p:cNvSpPr>
              <p:nvPr/>
            </p:nvSpPr>
            <p:spPr bwMode="auto">
              <a:xfrm>
                <a:off x="9499894" y="3641171"/>
                <a:ext cx="46373" cy="118831"/>
              </a:xfrm>
              <a:custGeom>
                <a:avLst/>
                <a:gdLst>
                  <a:gd name="T0" fmla="*/ 29 w 29"/>
                  <a:gd name="T1" fmla="*/ 0 h 74"/>
                  <a:gd name="T2" fmla="*/ 29 w 29"/>
                  <a:gd name="T3" fmla="*/ 74 h 74"/>
                  <a:gd name="T4" fmla="*/ 0 w 29"/>
                  <a:gd name="T5" fmla="*/ 74 h 74"/>
                  <a:gd name="T6" fmla="*/ 4 w 29"/>
                  <a:gd name="T7" fmla="*/ 67 h 74"/>
                  <a:gd name="T8" fmla="*/ 15 w 29"/>
                  <a:gd name="T9" fmla="*/ 44 h 74"/>
                  <a:gd name="T10" fmla="*/ 16 w 29"/>
                  <a:gd name="T11" fmla="*/ 13 h 74"/>
                  <a:gd name="T12" fmla="*/ 29 w 29"/>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29" h="74">
                    <a:moveTo>
                      <a:pt x="29" y="0"/>
                    </a:moveTo>
                    <a:cubicBezTo>
                      <a:pt x="29" y="74"/>
                      <a:pt x="29" y="74"/>
                      <a:pt x="29" y="74"/>
                    </a:cubicBezTo>
                    <a:cubicBezTo>
                      <a:pt x="0" y="74"/>
                      <a:pt x="0" y="74"/>
                      <a:pt x="0" y="74"/>
                    </a:cubicBezTo>
                    <a:cubicBezTo>
                      <a:pt x="0" y="72"/>
                      <a:pt x="2" y="68"/>
                      <a:pt x="4" y="67"/>
                    </a:cubicBezTo>
                    <a:cubicBezTo>
                      <a:pt x="9" y="63"/>
                      <a:pt x="13" y="54"/>
                      <a:pt x="15" y="44"/>
                    </a:cubicBezTo>
                    <a:cubicBezTo>
                      <a:pt x="16" y="13"/>
                      <a:pt x="16" y="13"/>
                      <a:pt x="16" y="13"/>
                    </a:cubicBezTo>
                    <a:cubicBezTo>
                      <a:pt x="16" y="3"/>
                      <a:pt x="27" y="0"/>
                      <a:pt x="29" y="0"/>
                    </a:cubicBezTo>
                    <a:close/>
                  </a:path>
                </a:pathLst>
              </a:custGeom>
              <a:solidFill>
                <a:srgbClr val="F7E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23" name="Freeform 206">
                <a:extLst>
                  <a:ext uri="{FF2B5EF4-FFF2-40B4-BE49-F238E27FC236}">
                    <a16:creationId xmlns:a16="http://schemas.microsoft.com/office/drawing/2014/main" id="{47557881-68AF-45A2-A989-FF45648659CF}"/>
                  </a:ext>
                </a:extLst>
              </p:cNvPr>
              <p:cNvSpPr>
                <a:spLocks/>
              </p:cNvSpPr>
              <p:nvPr/>
            </p:nvSpPr>
            <p:spPr bwMode="auto">
              <a:xfrm>
                <a:off x="9499894" y="3760002"/>
                <a:ext cx="84051" cy="24636"/>
              </a:xfrm>
              <a:custGeom>
                <a:avLst/>
                <a:gdLst>
                  <a:gd name="T0" fmla="*/ 52 w 52"/>
                  <a:gd name="T1" fmla="*/ 0 h 15"/>
                  <a:gd name="T2" fmla="*/ 43 w 52"/>
                  <a:gd name="T3" fmla="*/ 7 h 15"/>
                  <a:gd name="T4" fmla="*/ 37 w 52"/>
                  <a:gd name="T5" fmla="*/ 11 h 15"/>
                  <a:gd name="T6" fmla="*/ 26 w 52"/>
                  <a:gd name="T7" fmla="*/ 15 h 15"/>
                  <a:gd name="T8" fmla="*/ 14 w 52"/>
                  <a:gd name="T9" fmla="*/ 11 h 15"/>
                  <a:gd name="T10" fmla="*/ 10 w 52"/>
                  <a:gd name="T11" fmla="*/ 7 h 15"/>
                  <a:gd name="T12" fmla="*/ 0 w 52"/>
                  <a:gd name="T13" fmla="*/ 0 h 15"/>
                  <a:gd name="T14" fmla="*/ 0 w 52"/>
                  <a:gd name="T15" fmla="*/ 0 h 15"/>
                  <a:gd name="T16" fmla="*/ 52 w 52"/>
                  <a:gd name="T17" fmla="*/ 0 h 15"/>
                  <a:gd name="T18" fmla="*/ 52 w 5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15">
                    <a:moveTo>
                      <a:pt x="52" y="0"/>
                    </a:moveTo>
                    <a:cubicBezTo>
                      <a:pt x="52" y="4"/>
                      <a:pt x="48" y="7"/>
                      <a:pt x="43" y="7"/>
                    </a:cubicBezTo>
                    <a:cubicBezTo>
                      <a:pt x="40" y="7"/>
                      <a:pt x="39" y="9"/>
                      <a:pt x="37" y="11"/>
                    </a:cubicBezTo>
                    <a:cubicBezTo>
                      <a:pt x="34" y="13"/>
                      <a:pt x="30" y="15"/>
                      <a:pt x="26" y="15"/>
                    </a:cubicBezTo>
                    <a:cubicBezTo>
                      <a:pt x="22" y="15"/>
                      <a:pt x="18" y="13"/>
                      <a:pt x="14" y="11"/>
                    </a:cubicBezTo>
                    <a:cubicBezTo>
                      <a:pt x="12" y="9"/>
                      <a:pt x="11" y="7"/>
                      <a:pt x="10" y="7"/>
                    </a:cubicBezTo>
                    <a:cubicBezTo>
                      <a:pt x="3" y="7"/>
                      <a:pt x="0" y="4"/>
                      <a:pt x="0" y="0"/>
                    </a:cubicBezTo>
                    <a:cubicBezTo>
                      <a:pt x="0" y="0"/>
                      <a:pt x="0" y="0"/>
                      <a:pt x="0" y="0"/>
                    </a:cubicBezTo>
                    <a:cubicBezTo>
                      <a:pt x="52" y="0"/>
                      <a:pt x="52" y="0"/>
                      <a:pt x="52" y="0"/>
                    </a:cubicBezTo>
                    <a:cubicBezTo>
                      <a:pt x="52" y="0"/>
                      <a:pt x="52" y="0"/>
                      <a:pt x="52" y="0"/>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24" name="Freeform 207">
                <a:extLst>
                  <a:ext uri="{FF2B5EF4-FFF2-40B4-BE49-F238E27FC236}">
                    <a16:creationId xmlns:a16="http://schemas.microsoft.com/office/drawing/2014/main" id="{FD2B7653-6E5F-4011-B75C-DCCCA6645535}"/>
                  </a:ext>
                </a:extLst>
              </p:cNvPr>
              <p:cNvSpPr>
                <a:spLocks/>
              </p:cNvSpPr>
              <p:nvPr/>
            </p:nvSpPr>
            <p:spPr bwMode="auto">
              <a:xfrm>
                <a:off x="9354978" y="3749858"/>
                <a:ext cx="11593" cy="34780"/>
              </a:xfrm>
              <a:custGeom>
                <a:avLst/>
                <a:gdLst>
                  <a:gd name="T0" fmla="*/ 7 w 7"/>
                  <a:gd name="T1" fmla="*/ 20 h 22"/>
                  <a:gd name="T2" fmla="*/ 7 w 7"/>
                  <a:gd name="T3" fmla="*/ 3 h 22"/>
                  <a:gd name="T4" fmla="*/ 0 w 7"/>
                  <a:gd name="T5" fmla="*/ 3 h 22"/>
                  <a:gd name="T6" fmla="*/ 0 w 7"/>
                  <a:gd name="T7" fmla="*/ 20 h 22"/>
                  <a:gd name="T8" fmla="*/ 7 w 7"/>
                  <a:gd name="T9" fmla="*/ 20 h 22"/>
                </a:gdLst>
                <a:ahLst/>
                <a:cxnLst>
                  <a:cxn ang="0">
                    <a:pos x="T0" y="T1"/>
                  </a:cxn>
                  <a:cxn ang="0">
                    <a:pos x="T2" y="T3"/>
                  </a:cxn>
                  <a:cxn ang="0">
                    <a:pos x="T4" y="T5"/>
                  </a:cxn>
                  <a:cxn ang="0">
                    <a:pos x="T6" y="T7"/>
                  </a:cxn>
                  <a:cxn ang="0">
                    <a:pos x="T8" y="T9"/>
                  </a:cxn>
                </a:cxnLst>
                <a:rect l="0" t="0" r="r" b="b"/>
                <a:pathLst>
                  <a:path w="7" h="22">
                    <a:moveTo>
                      <a:pt x="7" y="20"/>
                    </a:moveTo>
                    <a:cubicBezTo>
                      <a:pt x="7" y="14"/>
                      <a:pt x="7" y="9"/>
                      <a:pt x="7" y="3"/>
                    </a:cubicBezTo>
                    <a:cubicBezTo>
                      <a:pt x="7" y="0"/>
                      <a:pt x="0" y="0"/>
                      <a:pt x="0" y="3"/>
                    </a:cubicBezTo>
                    <a:cubicBezTo>
                      <a:pt x="0" y="9"/>
                      <a:pt x="0" y="14"/>
                      <a:pt x="0" y="20"/>
                    </a:cubicBezTo>
                    <a:cubicBezTo>
                      <a:pt x="0" y="22"/>
                      <a:pt x="7" y="22"/>
                      <a:pt x="7"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25" name="Oval 208">
                <a:extLst>
                  <a:ext uri="{FF2B5EF4-FFF2-40B4-BE49-F238E27FC236}">
                    <a16:creationId xmlns:a16="http://schemas.microsoft.com/office/drawing/2014/main" id="{ED8EBE0B-A871-4D19-8FC0-6B35C58BF0DC}"/>
                  </a:ext>
                </a:extLst>
              </p:cNvPr>
              <p:cNvSpPr>
                <a:spLocks noChangeArrowheads="1"/>
              </p:cNvSpPr>
              <p:nvPr/>
            </p:nvSpPr>
            <p:spPr bwMode="auto">
              <a:xfrm>
                <a:off x="9341936" y="3773044"/>
                <a:ext cx="24636" cy="2463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26" name="Freeform 209">
                <a:extLst>
                  <a:ext uri="{FF2B5EF4-FFF2-40B4-BE49-F238E27FC236}">
                    <a16:creationId xmlns:a16="http://schemas.microsoft.com/office/drawing/2014/main" id="{8D4DE215-450C-4787-B514-50FDFAEFB497}"/>
                  </a:ext>
                </a:extLst>
              </p:cNvPr>
              <p:cNvSpPr>
                <a:spLocks/>
              </p:cNvSpPr>
              <p:nvPr/>
            </p:nvSpPr>
            <p:spPr bwMode="auto">
              <a:xfrm>
                <a:off x="9728862" y="3738264"/>
                <a:ext cx="11593" cy="46373"/>
              </a:xfrm>
              <a:custGeom>
                <a:avLst/>
                <a:gdLst>
                  <a:gd name="T0" fmla="*/ 7 w 7"/>
                  <a:gd name="T1" fmla="*/ 26 h 29"/>
                  <a:gd name="T2" fmla="*/ 7 w 7"/>
                  <a:gd name="T3" fmla="*/ 4 h 29"/>
                  <a:gd name="T4" fmla="*/ 0 w 7"/>
                  <a:gd name="T5" fmla="*/ 4 h 29"/>
                  <a:gd name="T6" fmla="*/ 0 w 7"/>
                  <a:gd name="T7" fmla="*/ 26 h 29"/>
                  <a:gd name="T8" fmla="*/ 7 w 7"/>
                  <a:gd name="T9" fmla="*/ 26 h 29"/>
                </a:gdLst>
                <a:ahLst/>
                <a:cxnLst>
                  <a:cxn ang="0">
                    <a:pos x="T0" y="T1"/>
                  </a:cxn>
                  <a:cxn ang="0">
                    <a:pos x="T2" y="T3"/>
                  </a:cxn>
                  <a:cxn ang="0">
                    <a:pos x="T4" y="T5"/>
                  </a:cxn>
                  <a:cxn ang="0">
                    <a:pos x="T6" y="T7"/>
                  </a:cxn>
                  <a:cxn ang="0">
                    <a:pos x="T8" y="T9"/>
                  </a:cxn>
                </a:cxnLst>
                <a:rect l="0" t="0" r="r" b="b"/>
                <a:pathLst>
                  <a:path w="7" h="29">
                    <a:moveTo>
                      <a:pt x="7" y="26"/>
                    </a:moveTo>
                    <a:cubicBezTo>
                      <a:pt x="7" y="19"/>
                      <a:pt x="7" y="12"/>
                      <a:pt x="7" y="4"/>
                    </a:cubicBezTo>
                    <a:cubicBezTo>
                      <a:pt x="7" y="0"/>
                      <a:pt x="0" y="0"/>
                      <a:pt x="0" y="4"/>
                    </a:cubicBezTo>
                    <a:cubicBezTo>
                      <a:pt x="0" y="12"/>
                      <a:pt x="0" y="19"/>
                      <a:pt x="0" y="26"/>
                    </a:cubicBezTo>
                    <a:cubicBezTo>
                      <a:pt x="0" y="29"/>
                      <a:pt x="7" y="29"/>
                      <a:pt x="7"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27" name="Oval 210">
                <a:extLst>
                  <a:ext uri="{FF2B5EF4-FFF2-40B4-BE49-F238E27FC236}">
                    <a16:creationId xmlns:a16="http://schemas.microsoft.com/office/drawing/2014/main" id="{3468A11C-4E2E-45C8-B3C8-093F985CCD0D}"/>
                  </a:ext>
                </a:extLst>
              </p:cNvPr>
              <p:cNvSpPr>
                <a:spLocks noChangeArrowheads="1"/>
              </p:cNvSpPr>
              <p:nvPr/>
            </p:nvSpPr>
            <p:spPr bwMode="auto">
              <a:xfrm>
                <a:off x="9715819" y="3773044"/>
                <a:ext cx="24636" cy="2463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28" name="Freeform 211">
                <a:extLst>
                  <a:ext uri="{FF2B5EF4-FFF2-40B4-BE49-F238E27FC236}">
                    <a16:creationId xmlns:a16="http://schemas.microsoft.com/office/drawing/2014/main" id="{2029F45F-E715-443E-AFAE-49437B61B4E8}"/>
                  </a:ext>
                </a:extLst>
              </p:cNvPr>
              <p:cNvSpPr>
                <a:spLocks/>
              </p:cNvSpPr>
              <p:nvPr/>
            </p:nvSpPr>
            <p:spPr bwMode="auto">
              <a:xfrm>
                <a:off x="9379614" y="3400610"/>
                <a:ext cx="215925" cy="192738"/>
              </a:xfrm>
              <a:custGeom>
                <a:avLst/>
                <a:gdLst>
                  <a:gd name="T0" fmla="*/ 0 w 133"/>
                  <a:gd name="T1" fmla="*/ 119 h 119"/>
                  <a:gd name="T2" fmla="*/ 133 w 133"/>
                  <a:gd name="T3" fmla="*/ 17 h 119"/>
                  <a:gd name="T4" fmla="*/ 87 w 133"/>
                  <a:gd name="T5" fmla="*/ 0 h 119"/>
                  <a:gd name="T6" fmla="*/ 13 w 133"/>
                  <a:gd name="T7" fmla="*/ 24 h 119"/>
                  <a:gd name="T8" fmla="*/ 0 w 133"/>
                  <a:gd name="T9" fmla="*/ 92 h 119"/>
                  <a:gd name="T10" fmla="*/ 0 w 133"/>
                  <a:gd name="T11" fmla="*/ 119 h 119"/>
                  <a:gd name="T12" fmla="*/ 0 w 133"/>
                  <a:gd name="T13" fmla="*/ 119 h 119"/>
                </a:gdLst>
                <a:ahLst/>
                <a:cxnLst>
                  <a:cxn ang="0">
                    <a:pos x="T0" y="T1"/>
                  </a:cxn>
                  <a:cxn ang="0">
                    <a:pos x="T2" y="T3"/>
                  </a:cxn>
                  <a:cxn ang="0">
                    <a:pos x="T4" y="T5"/>
                  </a:cxn>
                  <a:cxn ang="0">
                    <a:pos x="T6" y="T7"/>
                  </a:cxn>
                  <a:cxn ang="0">
                    <a:pos x="T8" y="T9"/>
                  </a:cxn>
                  <a:cxn ang="0">
                    <a:pos x="T10" y="T11"/>
                  </a:cxn>
                  <a:cxn ang="0">
                    <a:pos x="T12" y="T13"/>
                  </a:cxn>
                </a:cxnLst>
                <a:rect l="0" t="0" r="r" b="b"/>
                <a:pathLst>
                  <a:path w="133" h="119">
                    <a:moveTo>
                      <a:pt x="0" y="119"/>
                    </a:moveTo>
                    <a:cubicBezTo>
                      <a:pt x="0" y="119"/>
                      <a:pt x="119" y="59"/>
                      <a:pt x="133" y="17"/>
                    </a:cubicBezTo>
                    <a:cubicBezTo>
                      <a:pt x="87" y="0"/>
                      <a:pt x="87" y="0"/>
                      <a:pt x="87" y="0"/>
                    </a:cubicBezTo>
                    <a:cubicBezTo>
                      <a:pt x="13" y="24"/>
                      <a:pt x="13" y="24"/>
                      <a:pt x="13" y="24"/>
                    </a:cubicBezTo>
                    <a:cubicBezTo>
                      <a:pt x="0" y="92"/>
                      <a:pt x="0" y="92"/>
                      <a:pt x="0" y="92"/>
                    </a:cubicBezTo>
                    <a:cubicBezTo>
                      <a:pt x="0" y="119"/>
                      <a:pt x="0" y="119"/>
                      <a:pt x="0" y="119"/>
                    </a:cubicBezTo>
                    <a:cubicBezTo>
                      <a:pt x="0" y="119"/>
                      <a:pt x="0" y="119"/>
                      <a:pt x="0" y="119"/>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29" name="Freeform 212">
                <a:extLst>
                  <a:ext uri="{FF2B5EF4-FFF2-40B4-BE49-F238E27FC236}">
                    <a16:creationId xmlns:a16="http://schemas.microsoft.com/office/drawing/2014/main" id="{71821277-9BBF-426F-B2AA-469713700445}"/>
                  </a:ext>
                </a:extLst>
              </p:cNvPr>
              <p:cNvSpPr>
                <a:spLocks/>
              </p:cNvSpPr>
              <p:nvPr/>
            </p:nvSpPr>
            <p:spPr bwMode="auto">
              <a:xfrm>
                <a:off x="9534674" y="3413652"/>
                <a:ext cx="194187" cy="155060"/>
              </a:xfrm>
              <a:custGeom>
                <a:avLst/>
                <a:gdLst>
                  <a:gd name="T0" fmla="*/ 119 w 119"/>
                  <a:gd name="T1" fmla="*/ 96 h 96"/>
                  <a:gd name="T2" fmla="*/ 0 w 119"/>
                  <a:gd name="T3" fmla="*/ 13 h 96"/>
                  <a:gd name="T4" fmla="*/ 41 w 119"/>
                  <a:gd name="T5" fmla="*/ 0 h 96"/>
                  <a:gd name="T6" fmla="*/ 105 w 119"/>
                  <a:gd name="T7" fmla="*/ 18 h 96"/>
                  <a:gd name="T8" fmla="*/ 119 w 119"/>
                  <a:gd name="T9" fmla="*/ 74 h 96"/>
                  <a:gd name="T10" fmla="*/ 119 w 119"/>
                  <a:gd name="T11" fmla="*/ 96 h 96"/>
                  <a:gd name="T12" fmla="*/ 119 w 119"/>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19" h="96">
                    <a:moveTo>
                      <a:pt x="119" y="96"/>
                    </a:moveTo>
                    <a:cubicBezTo>
                      <a:pt x="119" y="96"/>
                      <a:pt x="12" y="47"/>
                      <a:pt x="0" y="13"/>
                    </a:cubicBezTo>
                    <a:cubicBezTo>
                      <a:pt x="41" y="0"/>
                      <a:pt x="41" y="0"/>
                      <a:pt x="41" y="0"/>
                    </a:cubicBezTo>
                    <a:cubicBezTo>
                      <a:pt x="105" y="18"/>
                      <a:pt x="105" y="18"/>
                      <a:pt x="105" y="18"/>
                    </a:cubicBezTo>
                    <a:cubicBezTo>
                      <a:pt x="119" y="74"/>
                      <a:pt x="119" y="74"/>
                      <a:pt x="119" y="74"/>
                    </a:cubicBezTo>
                    <a:cubicBezTo>
                      <a:pt x="119" y="96"/>
                      <a:pt x="119" y="96"/>
                      <a:pt x="119" y="96"/>
                    </a:cubicBezTo>
                    <a:cubicBezTo>
                      <a:pt x="119" y="96"/>
                      <a:pt x="119" y="96"/>
                      <a:pt x="119" y="96"/>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30" name="Freeform 213">
                <a:extLst>
                  <a:ext uri="{FF2B5EF4-FFF2-40B4-BE49-F238E27FC236}">
                    <a16:creationId xmlns:a16="http://schemas.microsoft.com/office/drawing/2014/main" id="{24F3CDC1-44D0-4A8A-BD75-41FBD5A94FE5}"/>
                  </a:ext>
                </a:extLst>
              </p:cNvPr>
              <p:cNvSpPr>
                <a:spLocks/>
              </p:cNvSpPr>
              <p:nvPr/>
            </p:nvSpPr>
            <p:spPr bwMode="auto">
              <a:xfrm>
                <a:off x="9788277" y="4062876"/>
                <a:ext cx="215925" cy="202882"/>
              </a:xfrm>
              <a:custGeom>
                <a:avLst/>
                <a:gdLst>
                  <a:gd name="T0" fmla="*/ 8 w 133"/>
                  <a:gd name="T1" fmla="*/ 48 h 126"/>
                  <a:gd name="T2" fmla="*/ 50 w 133"/>
                  <a:gd name="T3" fmla="*/ 117 h 126"/>
                  <a:gd name="T4" fmla="*/ 125 w 133"/>
                  <a:gd name="T5" fmla="*/ 77 h 126"/>
                  <a:gd name="T6" fmla="*/ 81 w 133"/>
                  <a:gd name="T7" fmla="*/ 7 h 126"/>
                  <a:gd name="T8" fmla="*/ 8 w 133"/>
                  <a:gd name="T9" fmla="*/ 48 h 126"/>
                </a:gdLst>
                <a:ahLst/>
                <a:cxnLst>
                  <a:cxn ang="0">
                    <a:pos x="T0" y="T1"/>
                  </a:cxn>
                  <a:cxn ang="0">
                    <a:pos x="T2" y="T3"/>
                  </a:cxn>
                  <a:cxn ang="0">
                    <a:pos x="T4" y="T5"/>
                  </a:cxn>
                  <a:cxn ang="0">
                    <a:pos x="T6" y="T7"/>
                  </a:cxn>
                  <a:cxn ang="0">
                    <a:pos x="T8" y="T9"/>
                  </a:cxn>
                </a:cxnLst>
                <a:rect l="0" t="0" r="r" b="b"/>
                <a:pathLst>
                  <a:path w="133" h="126">
                    <a:moveTo>
                      <a:pt x="8" y="48"/>
                    </a:moveTo>
                    <a:cubicBezTo>
                      <a:pt x="0" y="78"/>
                      <a:pt x="19" y="109"/>
                      <a:pt x="50" y="117"/>
                    </a:cubicBezTo>
                    <a:cubicBezTo>
                      <a:pt x="82" y="126"/>
                      <a:pt x="115" y="108"/>
                      <a:pt x="125" y="77"/>
                    </a:cubicBezTo>
                    <a:cubicBezTo>
                      <a:pt x="133" y="46"/>
                      <a:pt x="114" y="16"/>
                      <a:pt x="81" y="7"/>
                    </a:cubicBezTo>
                    <a:cubicBezTo>
                      <a:pt x="49" y="0"/>
                      <a:pt x="16" y="17"/>
                      <a:pt x="8" y="4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31" name="Freeform 216">
                <a:extLst>
                  <a:ext uri="{FF2B5EF4-FFF2-40B4-BE49-F238E27FC236}">
                    <a16:creationId xmlns:a16="http://schemas.microsoft.com/office/drawing/2014/main" id="{4F2732E8-524E-4A49-AC1E-C225E981BD29}"/>
                  </a:ext>
                </a:extLst>
              </p:cNvPr>
              <p:cNvSpPr>
                <a:spLocks/>
              </p:cNvSpPr>
              <p:nvPr/>
            </p:nvSpPr>
            <p:spPr bwMode="auto">
              <a:xfrm>
                <a:off x="9101375" y="4084613"/>
                <a:ext cx="181145" cy="384027"/>
              </a:xfrm>
              <a:custGeom>
                <a:avLst/>
                <a:gdLst>
                  <a:gd name="T0" fmla="*/ 111 w 111"/>
                  <a:gd name="T1" fmla="*/ 56 h 237"/>
                  <a:gd name="T2" fmla="*/ 110 w 111"/>
                  <a:gd name="T3" fmla="*/ 61 h 237"/>
                  <a:gd name="T4" fmla="*/ 107 w 111"/>
                  <a:gd name="T5" fmla="*/ 80 h 237"/>
                  <a:gd name="T6" fmla="*/ 106 w 111"/>
                  <a:gd name="T7" fmla="*/ 91 h 237"/>
                  <a:gd name="T8" fmla="*/ 105 w 111"/>
                  <a:gd name="T9" fmla="*/ 96 h 237"/>
                  <a:gd name="T10" fmla="*/ 103 w 111"/>
                  <a:gd name="T11" fmla="*/ 103 h 237"/>
                  <a:gd name="T12" fmla="*/ 87 w 111"/>
                  <a:gd name="T13" fmla="*/ 209 h 237"/>
                  <a:gd name="T14" fmla="*/ 87 w 111"/>
                  <a:gd name="T15" fmla="*/ 212 h 237"/>
                  <a:gd name="T16" fmla="*/ 83 w 111"/>
                  <a:gd name="T17" fmla="*/ 237 h 237"/>
                  <a:gd name="T18" fmla="*/ 28 w 111"/>
                  <a:gd name="T19" fmla="*/ 202 h 237"/>
                  <a:gd name="T20" fmla="*/ 0 w 111"/>
                  <a:gd name="T21" fmla="*/ 176 h 237"/>
                  <a:gd name="T22" fmla="*/ 16 w 111"/>
                  <a:gd name="T23" fmla="*/ 76 h 237"/>
                  <a:gd name="T24" fmla="*/ 22 w 111"/>
                  <a:gd name="T25" fmla="*/ 40 h 237"/>
                  <a:gd name="T26" fmla="*/ 22 w 111"/>
                  <a:gd name="T27" fmla="*/ 35 h 237"/>
                  <a:gd name="T28" fmla="*/ 51 w 111"/>
                  <a:gd name="T29" fmla="*/ 5 h 237"/>
                  <a:gd name="T30" fmla="*/ 79 w 111"/>
                  <a:gd name="T31" fmla="*/ 3 h 237"/>
                  <a:gd name="T32" fmla="*/ 107 w 111"/>
                  <a:gd name="T33" fmla="*/ 27 h 237"/>
                  <a:gd name="T34" fmla="*/ 108 w 111"/>
                  <a:gd name="T35" fmla="*/ 32 h 237"/>
                  <a:gd name="T36" fmla="*/ 109 w 111"/>
                  <a:gd name="T37" fmla="*/ 35 h 237"/>
                  <a:gd name="T38" fmla="*/ 111 w 111"/>
                  <a:gd name="T39" fmla="*/ 44 h 237"/>
                  <a:gd name="T40" fmla="*/ 111 w 111"/>
                  <a:gd name="T41" fmla="*/ 5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237">
                    <a:moveTo>
                      <a:pt x="111" y="56"/>
                    </a:moveTo>
                    <a:cubicBezTo>
                      <a:pt x="111" y="57"/>
                      <a:pt x="110" y="58"/>
                      <a:pt x="110" y="61"/>
                    </a:cubicBezTo>
                    <a:cubicBezTo>
                      <a:pt x="109" y="68"/>
                      <a:pt x="108" y="73"/>
                      <a:pt x="107" y="80"/>
                    </a:cubicBezTo>
                    <a:cubicBezTo>
                      <a:pt x="107" y="84"/>
                      <a:pt x="106" y="87"/>
                      <a:pt x="106" y="91"/>
                    </a:cubicBezTo>
                    <a:cubicBezTo>
                      <a:pt x="105" y="93"/>
                      <a:pt x="105" y="94"/>
                      <a:pt x="105" y="96"/>
                    </a:cubicBezTo>
                    <a:cubicBezTo>
                      <a:pt x="105" y="99"/>
                      <a:pt x="103" y="101"/>
                      <a:pt x="103" y="103"/>
                    </a:cubicBezTo>
                    <a:cubicBezTo>
                      <a:pt x="98" y="138"/>
                      <a:pt x="91" y="173"/>
                      <a:pt x="87" y="209"/>
                    </a:cubicBezTo>
                    <a:cubicBezTo>
                      <a:pt x="87" y="210"/>
                      <a:pt x="87" y="211"/>
                      <a:pt x="87" y="212"/>
                    </a:cubicBezTo>
                    <a:cubicBezTo>
                      <a:pt x="85" y="221"/>
                      <a:pt x="84" y="229"/>
                      <a:pt x="83" y="237"/>
                    </a:cubicBezTo>
                    <a:cubicBezTo>
                      <a:pt x="64" y="227"/>
                      <a:pt x="46" y="216"/>
                      <a:pt x="28" y="202"/>
                    </a:cubicBezTo>
                    <a:cubicBezTo>
                      <a:pt x="19" y="194"/>
                      <a:pt x="9" y="185"/>
                      <a:pt x="0" y="176"/>
                    </a:cubicBezTo>
                    <a:cubicBezTo>
                      <a:pt x="5" y="143"/>
                      <a:pt x="10" y="109"/>
                      <a:pt x="16" y="76"/>
                    </a:cubicBezTo>
                    <a:cubicBezTo>
                      <a:pt x="18" y="64"/>
                      <a:pt x="20" y="52"/>
                      <a:pt x="22" y="40"/>
                    </a:cubicBezTo>
                    <a:cubicBezTo>
                      <a:pt x="22" y="39"/>
                      <a:pt x="22" y="37"/>
                      <a:pt x="22" y="35"/>
                    </a:cubicBezTo>
                    <a:cubicBezTo>
                      <a:pt x="25" y="20"/>
                      <a:pt x="37" y="10"/>
                      <a:pt x="51" y="5"/>
                    </a:cubicBezTo>
                    <a:cubicBezTo>
                      <a:pt x="60" y="2"/>
                      <a:pt x="70" y="0"/>
                      <a:pt x="79" y="3"/>
                    </a:cubicBezTo>
                    <a:cubicBezTo>
                      <a:pt x="92" y="6"/>
                      <a:pt x="101" y="15"/>
                      <a:pt x="107" y="27"/>
                    </a:cubicBezTo>
                    <a:cubicBezTo>
                      <a:pt x="107" y="29"/>
                      <a:pt x="108" y="31"/>
                      <a:pt x="108" y="32"/>
                    </a:cubicBezTo>
                    <a:cubicBezTo>
                      <a:pt x="109" y="33"/>
                      <a:pt x="109" y="34"/>
                      <a:pt x="109" y="35"/>
                    </a:cubicBezTo>
                    <a:cubicBezTo>
                      <a:pt x="110" y="37"/>
                      <a:pt x="110" y="41"/>
                      <a:pt x="111" y="44"/>
                    </a:cubicBezTo>
                    <a:cubicBezTo>
                      <a:pt x="111" y="48"/>
                      <a:pt x="111" y="51"/>
                      <a:pt x="111" y="56"/>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32" name="Freeform 217">
                <a:extLst>
                  <a:ext uri="{FF2B5EF4-FFF2-40B4-BE49-F238E27FC236}">
                    <a16:creationId xmlns:a16="http://schemas.microsoft.com/office/drawing/2014/main" id="{121B62B3-F753-4B79-97E3-17E286010A72}"/>
                  </a:ext>
                </a:extLst>
              </p:cNvPr>
              <p:cNvSpPr>
                <a:spLocks/>
              </p:cNvSpPr>
              <p:nvPr/>
            </p:nvSpPr>
            <p:spPr bwMode="auto">
              <a:xfrm>
                <a:off x="9078189" y="4145478"/>
                <a:ext cx="228967" cy="276789"/>
              </a:xfrm>
              <a:custGeom>
                <a:avLst/>
                <a:gdLst>
                  <a:gd name="T0" fmla="*/ 141 w 141"/>
                  <a:gd name="T1" fmla="*/ 19 h 171"/>
                  <a:gd name="T2" fmla="*/ 141 w 141"/>
                  <a:gd name="T3" fmla="*/ 21 h 171"/>
                  <a:gd name="T4" fmla="*/ 141 w 141"/>
                  <a:gd name="T5" fmla="*/ 22 h 171"/>
                  <a:gd name="T6" fmla="*/ 139 w 141"/>
                  <a:gd name="T7" fmla="*/ 36 h 171"/>
                  <a:gd name="T8" fmla="*/ 136 w 141"/>
                  <a:gd name="T9" fmla="*/ 52 h 171"/>
                  <a:gd name="T10" fmla="*/ 129 w 141"/>
                  <a:gd name="T11" fmla="*/ 91 h 171"/>
                  <a:gd name="T12" fmla="*/ 118 w 141"/>
                  <a:gd name="T13" fmla="*/ 171 h 171"/>
                  <a:gd name="T14" fmla="*/ 103 w 141"/>
                  <a:gd name="T15" fmla="*/ 170 h 171"/>
                  <a:gd name="T16" fmla="*/ 101 w 141"/>
                  <a:gd name="T17" fmla="*/ 170 h 171"/>
                  <a:gd name="T18" fmla="*/ 40 w 141"/>
                  <a:gd name="T19" fmla="*/ 163 h 171"/>
                  <a:gd name="T20" fmla="*/ 10 w 141"/>
                  <a:gd name="T21" fmla="*/ 137 h 171"/>
                  <a:gd name="T22" fmla="*/ 0 w 141"/>
                  <a:gd name="T23" fmla="*/ 129 h 171"/>
                  <a:gd name="T24" fmla="*/ 21 w 141"/>
                  <a:gd name="T25" fmla="*/ 3 h 171"/>
                  <a:gd name="T26" fmla="*/ 21 w 141"/>
                  <a:gd name="T27" fmla="*/ 0 h 171"/>
                  <a:gd name="T28" fmla="*/ 34 w 141"/>
                  <a:gd name="T29" fmla="*/ 2 h 171"/>
                  <a:gd name="T30" fmla="*/ 81 w 141"/>
                  <a:gd name="T31" fmla="*/ 10 h 171"/>
                  <a:gd name="T32" fmla="*/ 81 w 141"/>
                  <a:gd name="T33" fmla="*/ 10 h 171"/>
                  <a:gd name="T34" fmla="*/ 81 w 141"/>
                  <a:gd name="T35" fmla="*/ 10 h 171"/>
                  <a:gd name="T36" fmla="*/ 94 w 141"/>
                  <a:gd name="T37" fmla="*/ 12 h 171"/>
                  <a:gd name="T38" fmla="*/ 129 w 141"/>
                  <a:gd name="T39" fmla="*/ 18 h 171"/>
                  <a:gd name="T40" fmla="*/ 141 w 141"/>
                  <a:gd name="T41" fmla="*/ 19 h 171"/>
                  <a:gd name="T42" fmla="*/ 141 w 141"/>
                  <a:gd name="T43" fmla="*/ 1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1" h="171">
                    <a:moveTo>
                      <a:pt x="141" y="19"/>
                    </a:moveTo>
                    <a:cubicBezTo>
                      <a:pt x="141" y="20"/>
                      <a:pt x="141" y="21"/>
                      <a:pt x="141" y="21"/>
                    </a:cubicBezTo>
                    <a:cubicBezTo>
                      <a:pt x="141" y="22"/>
                      <a:pt x="141" y="22"/>
                      <a:pt x="141" y="22"/>
                    </a:cubicBezTo>
                    <a:cubicBezTo>
                      <a:pt x="140" y="26"/>
                      <a:pt x="140" y="32"/>
                      <a:pt x="139" y="36"/>
                    </a:cubicBezTo>
                    <a:cubicBezTo>
                      <a:pt x="137" y="41"/>
                      <a:pt x="136" y="47"/>
                      <a:pt x="136" y="52"/>
                    </a:cubicBezTo>
                    <a:cubicBezTo>
                      <a:pt x="134" y="65"/>
                      <a:pt x="131" y="78"/>
                      <a:pt x="129" y="91"/>
                    </a:cubicBezTo>
                    <a:cubicBezTo>
                      <a:pt x="124" y="120"/>
                      <a:pt x="121" y="150"/>
                      <a:pt x="118" y="171"/>
                    </a:cubicBezTo>
                    <a:cubicBezTo>
                      <a:pt x="103" y="170"/>
                      <a:pt x="103" y="170"/>
                      <a:pt x="103" y="170"/>
                    </a:cubicBezTo>
                    <a:cubicBezTo>
                      <a:pt x="101" y="170"/>
                      <a:pt x="101" y="170"/>
                      <a:pt x="101" y="170"/>
                    </a:cubicBezTo>
                    <a:cubicBezTo>
                      <a:pt x="40" y="163"/>
                      <a:pt x="40" y="163"/>
                      <a:pt x="40" y="163"/>
                    </a:cubicBezTo>
                    <a:cubicBezTo>
                      <a:pt x="30" y="155"/>
                      <a:pt x="19" y="147"/>
                      <a:pt x="10" y="137"/>
                    </a:cubicBezTo>
                    <a:cubicBezTo>
                      <a:pt x="6" y="135"/>
                      <a:pt x="3" y="132"/>
                      <a:pt x="0" y="129"/>
                    </a:cubicBezTo>
                    <a:cubicBezTo>
                      <a:pt x="6" y="87"/>
                      <a:pt x="15" y="34"/>
                      <a:pt x="21" y="3"/>
                    </a:cubicBezTo>
                    <a:cubicBezTo>
                      <a:pt x="21" y="3"/>
                      <a:pt x="21" y="2"/>
                      <a:pt x="21" y="0"/>
                    </a:cubicBezTo>
                    <a:cubicBezTo>
                      <a:pt x="34" y="2"/>
                      <a:pt x="34" y="2"/>
                      <a:pt x="34" y="2"/>
                    </a:cubicBezTo>
                    <a:cubicBezTo>
                      <a:pt x="81" y="10"/>
                      <a:pt x="81" y="10"/>
                      <a:pt x="81" y="10"/>
                    </a:cubicBezTo>
                    <a:cubicBezTo>
                      <a:pt x="81" y="10"/>
                      <a:pt x="81" y="10"/>
                      <a:pt x="81" y="10"/>
                    </a:cubicBezTo>
                    <a:cubicBezTo>
                      <a:pt x="81" y="10"/>
                      <a:pt x="81" y="10"/>
                      <a:pt x="81" y="10"/>
                    </a:cubicBezTo>
                    <a:cubicBezTo>
                      <a:pt x="94" y="12"/>
                      <a:pt x="94" y="12"/>
                      <a:pt x="94" y="12"/>
                    </a:cubicBezTo>
                    <a:cubicBezTo>
                      <a:pt x="129" y="18"/>
                      <a:pt x="129" y="18"/>
                      <a:pt x="129" y="18"/>
                    </a:cubicBezTo>
                    <a:cubicBezTo>
                      <a:pt x="141" y="19"/>
                      <a:pt x="141" y="19"/>
                      <a:pt x="141" y="19"/>
                    </a:cubicBezTo>
                    <a:cubicBezTo>
                      <a:pt x="141" y="19"/>
                      <a:pt x="141" y="19"/>
                      <a:pt x="141"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33" name="Freeform 218">
                <a:extLst>
                  <a:ext uri="{FF2B5EF4-FFF2-40B4-BE49-F238E27FC236}">
                    <a16:creationId xmlns:a16="http://schemas.microsoft.com/office/drawing/2014/main" id="{75E7614C-7D8E-4AFD-AF68-08830B77E564}"/>
                  </a:ext>
                </a:extLst>
              </p:cNvPr>
              <p:cNvSpPr>
                <a:spLocks/>
              </p:cNvSpPr>
              <p:nvPr/>
            </p:nvSpPr>
            <p:spPr bwMode="auto">
              <a:xfrm>
                <a:off x="9101375" y="4049834"/>
                <a:ext cx="215925" cy="215925"/>
              </a:xfrm>
              <a:custGeom>
                <a:avLst/>
                <a:gdLst>
                  <a:gd name="T0" fmla="*/ 124 w 133"/>
                  <a:gd name="T1" fmla="*/ 51 h 134"/>
                  <a:gd name="T2" fmla="*/ 82 w 133"/>
                  <a:gd name="T3" fmla="*/ 125 h 134"/>
                  <a:gd name="T4" fmla="*/ 8 w 133"/>
                  <a:gd name="T5" fmla="*/ 82 h 134"/>
                  <a:gd name="T6" fmla="*/ 51 w 133"/>
                  <a:gd name="T7" fmla="*/ 9 h 134"/>
                  <a:gd name="T8" fmla="*/ 124 w 133"/>
                  <a:gd name="T9" fmla="*/ 51 h 134"/>
                </a:gdLst>
                <a:ahLst/>
                <a:cxnLst>
                  <a:cxn ang="0">
                    <a:pos x="T0" y="T1"/>
                  </a:cxn>
                  <a:cxn ang="0">
                    <a:pos x="T2" y="T3"/>
                  </a:cxn>
                  <a:cxn ang="0">
                    <a:pos x="T4" y="T5"/>
                  </a:cxn>
                  <a:cxn ang="0">
                    <a:pos x="T6" y="T7"/>
                  </a:cxn>
                  <a:cxn ang="0">
                    <a:pos x="T8" y="T9"/>
                  </a:cxn>
                </a:cxnLst>
                <a:rect l="0" t="0" r="r" b="b"/>
                <a:pathLst>
                  <a:path w="133" h="134">
                    <a:moveTo>
                      <a:pt x="124" y="51"/>
                    </a:moveTo>
                    <a:cubicBezTo>
                      <a:pt x="133" y="84"/>
                      <a:pt x="113" y="117"/>
                      <a:pt x="82" y="125"/>
                    </a:cubicBezTo>
                    <a:cubicBezTo>
                      <a:pt x="50" y="134"/>
                      <a:pt x="17" y="115"/>
                      <a:pt x="8" y="82"/>
                    </a:cubicBezTo>
                    <a:cubicBezTo>
                      <a:pt x="0" y="50"/>
                      <a:pt x="19" y="17"/>
                      <a:pt x="51" y="9"/>
                    </a:cubicBezTo>
                    <a:cubicBezTo>
                      <a:pt x="83" y="0"/>
                      <a:pt x="116" y="19"/>
                      <a:pt x="124" y="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34" name="Freeform 221">
                <a:extLst>
                  <a:ext uri="{FF2B5EF4-FFF2-40B4-BE49-F238E27FC236}">
                    <a16:creationId xmlns:a16="http://schemas.microsoft.com/office/drawing/2014/main" id="{C47096D1-D64C-41B1-AFE2-5DA52CE5505E}"/>
                  </a:ext>
                </a:extLst>
              </p:cNvPr>
              <p:cNvSpPr>
                <a:spLocks/>
              </p:cNvSpPr>
              <p:nvPr/>
            </p:nvSpPr>
            <p:spPr bwMode="auto">
              <a:xfrm>
                <a:off x="9499894" y="4025198"/>
                <a:ext cx="84051" cy="263747"/>
              </a:xfrm>
              <a:custGeom>
                <a:avLst/>
                <a:gdLst>
                  <a:gd name="T0" fmla="*/ 0 w 58"/>
                  <a:gd name="T1" fmla="*/ 13 h 182"/>
                  <a:gd name="T2" fmla="*/ 29 w 58"/>
                  <a:gd name="T3" fmla="*/ 182 h 182"/>
                  <a:gd name="T4" fmla="*/ 58 w 58"/>
                  <a:gd name="T5" fmla="*/ 14 h 182"/>
                  <a:gd name="T6" fmla="*/ 54 w 58"/>
                  <a:gd name="T7" fmla="*/ 0 h 182"/>
                  <a:gd name="T8" fmla="*/ 0 w 58"/>
                  <a:gd name="T9" fmla="*/ 13 h 182"/>
                  <a:gd name="T10" fmla="*/ 0 w 58"/>
                  <a:gd name="T11" fmla="*/ 13 h 182"/>
                  <a:gd name="T12" fmla="*/ 0 w 58"/>
                  <a:gd name="T13" fmla="*/ 13 h 182"/>
                </a:gdLst>
                <a:ahLst/>
                <a:cxnLst>
                  <a:cxn ang="0">
                    <a:pos x="T0" y="T1"/>
                  </a:cxn>
                  <a:cxn ang="0">
                    <a:pos x="T2" y="T3"/>
                  </a:cxn>
                  <a:cxn ang="0">
                    <a:pos x="T4" y="T5"/>
                  </a:cxn>
                  <a:cxn ang="0">
                    <a:pos x="T6" y="T7"/>
                  </a:cxn>
                  <a:cxn ang="0">
                    <a:pos x="T8" y="T9"/>
                  </a:cxn>
                  <a:cxn ang="0">
                    <a:pos x="T10" y="T11"/>
                  </a:cxn>
                  <a:cxn ang="0">
                    <a:pos x="T12" y="T13"/>
                  </a:cxn>
                </a:cxnLst>
                <a:rect l="0" t="0" r="r" b="b"/>
                <a:pathLst>
                  <a:path w="58" h="182">
                    <a:moveTo>
                      <a:pt x="0" y="13"/>
                    </a:moveTo>
                    <a:lnTo>
                      <a:pt x="29" y="182"/>
                    </a:lnTo>
                    <a:lnTo>
                      <a:pt x="58" y="14"/>
                    </a:lnTo>
                    <a:lnTo>
                      <a:pt x="54" y="0"/>
                    </a:lnTo>
                    <a:lnTo>
                      <a:pt x="0" y="13"/>
                    </a:lnTo>
                    <a:lnTo>
                      <a:pt x="0" y="13"/>
                    </a:lnTo>
                    <a:lnTo>
                      <a:pt x="0" y="13"/>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35" name="Freeform 223">
                <a:extLst>
                  <a:ext uri="{FF2B5EF4-FFF2-40B4-BE49-F238E27FC236}">
                    <a16:creationId xmlns:a16="http://schemas.microsoft.com/office/drawing/2014/main" id="{22C35306-51FF-4750-933B-8C209A40D59B}"/>
                  </a:ext>
                </a:extLst>
              </p:cNvPr>
              <p:cNvSpPr>
                <a:spLocks noEditPoints="1"/>
              </p:cNvSpPr>
              <p:nvPr/>
            </p:nvSpPr>
            <p:spPr bwMode="auto">
              <a:xfrm>
                <a:off x="9354978" y="3604942"/>
                <a:ext cx="385476" cy="120280"/>
              </a:xfrm>
              <a:custGeom>
                <a:avLst/>
                <a:gdLst>
                  <a:gd name="T0" fmla="*/ 235 w 237"/>
                  <a:gd name="T1" fmla="*/ 4 h 74"/>
                  <a:gd name="T2" fmla="*/ 224 w 237"/>
                  <a:gd name="T3" fmla="*/ 3 h 74"/>
                  <a:gd name="T4" fmla="*/ 208 w 237"/>
                  <a:gd name="T5" fmla="*/ 1 h 74"/>
                  <a:gd name="T6" fmla="*/ 159 w 237"/>
                  <a:gd name="T7" fmla="*/ 4 h 74"/>
                  <a:gd name="T8" fmla="*/ 118 w 237"/>
                  <a:gd name="T9" fmla="*/ 9 h 74"/>
                  <a:gd name="T10" fmla="*/ 78 w 237"/>
                  <a:gd name="T11" fmla="*/ 4 h 74"/>
                  <a:gd name="T12" fmla="*/ 26 w 237"/>
                  <a:gd name="T13" fmla="*/ 1 h 74"/>
                  <a:gd name="T14" fmla="*/ 13 w 237"/>
                  <a:gd name="T15" fmla="*/ 3 h 74"/>
                  <a:gd name="T16" fmla="*/ 0 w 237"/>
                  <a:gd name="T17" fmla="*/ 6 h 74"/>
                  <a:gd name="T18" fmla="*/ 2 w 237"/>
                  <a:gd name="T19" fmla="*/ 28 h 74"/>
                  <a:gd name="T20" fmla="*/ 7 w 237"/>
                  <a:gd name="T21" fmla="*/ 35 h 74"/>
                  <a:gd name="T22" fmla="*/ 22 w 237"/>
                  <a:gd name="T23" fmla="*/ 66 h 74"/>
                  <a:gd name="T24" fmla="*/ 59 w 237"/>
                  <a:gd name="T25" fmla="*/ 74 h 74"/>
                  <a:gd name="T26" fmla="*/ 104 w 237"/>
                  <a:gd name="T27" fmla="*/ 43 h 74"/>
                  <a:gd name="T28" fmla="*/ 108 w 237"/>
                  <a:gd name="T29" fmla="*/ 35 h 74"/>
                  <a:gd name="T30" fmla="*/ 108 w 237"/>
                  <a:gd name="T31" fmla="*/ 28 h 74"/>
                  <a:gd name="T32" fmla="*/ 128 w 237"/>
                  <a:gd name="T33" fmla="*/ 28 h 74"/>
                  <a:gd name="T34" fmla="*/ 132 w 237"/>
                  <a:gd name="T35" fmla="*/ 43 h 74"/>
                  <a:gd name="T36" fmla="*/ 178 w 237"/>
                  <a:gd name="T37" fmla="*/ 74 h 74"/>
                  <a:gd name="T38" fmla="*/ 213 w 237"/>
                  <a:gd name="T39" fmla="*/ 67 h 74"/>
                  <a:gd name="T40" fmla="*/ 230 w 237"/>
                  <a:gd name="T41" fmla="*/ 35 h 74"/>
                  <a:gd name="T42" fmla="*/ 234 w 237"/>
                  <a:gd name="T43" fmla="*/ 28 h 74"/>
                  <a:gd name="T44" fmla="*/ 237 w 237"/>
                  <a:gd name="T45" fmla="*/ 16 h 74"/>
                  <a:gd name="T46" fmla="*/ 99 w 237"/>
                  <a:gd name="T47" fmla="*/ 42 h 74"/>
                  <a:gd name="T48" fmla="*/ 60 w 237"/>
                  <a:gd name="T49" fmla="*/ 69 h 74"/>
                  <a:gd name="T50" fmla="*/ 23 w 237"/>
                  <a:gd name="T51" fmla="*/ 59 h 74"/>
                  <a:gd name="T52" fmla="*/ 14 w 237"/>
                  <a:gd name="T53" fmla="*/ 18 h 74"/>
                  <a:gd name="T54" fmla="*/ 23 w 237"/>
                  <a:gd name="T55" fmla="*/ 9 h 74"/>
                  <a:gd name="T56" fmla="*/ 50 w 237"/>
                  <a:gd name="T57" fmla="*/ 7 h 74"/>
                  <a:gd name="T58" fmla="*/ 99 w 237"/>
                  <a:gd name="T59" fmla="*/ 19 h 74"/>
                  <a:gd name="T60" fmla="*/ 218 w 237"/>
                  <a:gd name="T61" fmla="*/ 52 h 74"/>
                  <a:gd name="T62" fmla="*/ 203 w 237"/>
                  <a:gd name="T63" fmla="*/ 66 h 74"/>
                  <a:gd name="T64" fmla="*/ 150 w 237"/>
                  <a:gd name="T65" fmla="*/ 63 h 74"/>
                  <a:gd name="T66" fmla="*/ 137 w 237"/>
                  <a:gd name="T67" fmla="*/ 19 h 74"/>
                  <a:gd name="T68" fmla="*/ 187 w 237"/>
                  <a:gd name="T69" fmla="*/ 7 h 74"/>
                  <a:gd name="T70" fmla="*/ 214 w 237"/>
                  <a:gd name="T71" fmla="*/ 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74">
                    <a:moveTo>
                      <a:pt x="236" y="6"/>
                    </a:moveTo>
                    <a:cubicBezTo>
                      <a:pt x="236" y="5"/>
                      <a:pt x="236" y="4"/>
                      <a:pt x="235" y="4"/>
                    </a:cubicBezTo>
                    <a:cubicBezTo>
                      <a:pt x="234" y="4"/>
                      <a:pt x="232" y="4"/>
                      <a:pt x="232" y="3"/>
                    </a:cubicBezTo>
                    <a:cubicBezTo>
                      <a:pt x="229" y="3"/>
                      <a:pt x="227" y="3"/>
                      <a:pt x="224" y="3"/>
                    </a:cubicBezTo>
                    <a:cubicBezTo>
                      <a:pt x="224" y="3"/>
                      <a:pt x="224" y="3"/>
                      <a:pt x="224" y="3"/>
                    </a:cubicBezTo>
                    <a:cubicBezTo>
                      <a:pt x="218" y="1"/>
                      <a:pt x="213" y="1"/>
                      <a:pt x="208" y="1"/>
                    </a:cubicBezTo>
                    <a:cubicBezTo>
                      <a:pt x="202" y="0"/>
                      <a:pt x="197" y="0"/>
                      <a:pt x="192" y="0"/>
                    </a:cubicBezTo>
                    <a:cubicBezTo>
                      <a:pt x="181" y="0"/>
                      <a:pt x="170" y="1"/>
                      <a:pt x="159" y="4"/>
                    </a:cubicBezTo>
                    <a:cubicBezTo>
                      <a:pt x="147" y="5"/>
                      <a:pt x="136" y="7"/>
                      <a:pt x="124" y="9"/>
                    </a:cubicBezTo>
                    <a:cubicBezTo>
                      <a:pt x="124" y="9"/>
                      <a:pt x="121" y="9"/>
                      <a:pt x="118" y="9"/>
                    </a:cubicBezTo>
                    <a:cubicBezTo>
                      <a:pt x="116" y="9"/>
                      <a:pt x="111" y="9"/>
                      <a:pt x="111" y="9"/>
                    </a:cubicBezTo>
                    <a:cubicBezTo>
                      <a:pt x="100" y="7"/>
                      <a:pt x="89" y="5"/>
                      <a:pt x="78" y="4"/>
                    </a:cubicBezTo>
                    <a:cubicBezTo>
                      <a:pt x="66" y="1"/>
                      <a:pt x="56" y="0"/>
                      <a:pt x="44" y="0"/>
                    </a:cubicBezTo>
                    <a:cubicBezTo>
                      <a:pt x="38" y="0"/>
                      <a:pt x="32" y="0"/>
                      <a:pt x="26" y="1"/>
                    </a:cubicBezTo>
                    <a:cubicBezTo>
                      <a:pt x="23" y="1"/>
                      <a:pt x="20" y="1"/>
                      <a:pt x="16" y="1"/>
                    </a:cubicBezTo>
                    <a:cubicBezTo>
                      <a:pt x="15" y="1"/>
                      <a:pt x="14" y="1"/>
                      <a:pt x="13" y="3"/>
                    </a:cubicBezTo>
                    <a:cubicBezTo>
                      <a:pt x="10" y="3"/>
                      <a:pt x="7" y="3"/>
                      <a:pt x="4" y="3"/>
                    </a:cubicBezTo>
                    <a:cubicBezTo>
                      <a:pt x="2" y="4"/>
                      <a:pt x="1" y="4"/>
                      <a:pt x="0" y="6"/>
                    </a:cubicBezTo>
                    <a:cubicBezTo>
                      <a:pt x="0" y="9"/>
                      <a:pt x="0" y="20"/>
                      <a:pt x="0" y="24"/>
                    </a:cubicBezTo>
                    <a:cubicBezTo>
                      <a:pt x="0" y="25"/>
                      <a:pt x="1" y="26"/>
                      <a:pt x="2" y="28"/>
                    </a:cubicBezTo>
                    <a:cubicBezTo>
                      <a:pt x="3" y="28"/>
                      <a:pt x="3" y="28"/>
                      <a:pt x="3" y="28"/>
                    </a:cubicBezTo>
                    <a:cubicBezTo>
                      <a:pt x="4" y="30"/>
                      <a:pt x="6" y="32"/>
                      <a:pt x="7" y="35"/>
                    </a:cubicBezTo>
                    <a:cubicBezTo>
                      <a:pt x="8" y="40"/>
                      <a:pt x="9" y="44"/>
                      <a:pt x="11" y="49"/>
                    </a:cubicBezTo>
                    <a:cubicBezTo>
                      <a:pt x="14" y="56"/>
                      <a:pt x="16" y="62"/>
                      <a:pt x="22" y="66"/>
                    </a:cubicBezTo>
                    <a:cubicBezTo>
                      <a:pt x="23" y="67"/>
                      <a:pt x="25" y="68"/>
                      <a:pt x="26" y="68"/>
                    </a:cubicBezTo>
                    <a:cubicBezTo>
                      <a:pt x="37" y="73"/>
                      <a:pt x="47" y="74"/>
                      <a:pt x="59" y="74"/>
                    </a:cubicBezTo>
                    <a:cubicBezTo>
                      <a:pt x="68" y="74"/>
                      <a:pt x="79" y="74"/>
                      <a:pt x="87" y="68"/>
                    </a:cubicBezTo>
                    <a:cubicBezTo>
                      <a:pt x="95" y="63"/>
                      <a:pt x="101" y="53"/>
                      <a:pt x="104" y="43"/>
                    </a:cubicBezTo>
                    <a:cubicBezTo>
                      <a:pt x="104" y="43"/>
                      <a:pt x="104" y="43"/>
                      <a:pt x="104" y="42"/>
                    </a:cubicBezTo>
                    <a:cubicBezTo>
                      <a:pt x="106" y="40"/>
                      <a:pt x="107" y="37"/>
                      <a:pt x="108" y="35"/>
                    </a:cubicBezTo>
                    <a:cubicBezTo>
                      <a:pt x="108" y="32"/>
                      <a:pt x="109" y="30"/>
                      <a:pt x="108" y="28"/>
                    </a:cubicBezTo>
                    <a:cubicBezTo>
                      <a:pt x="108" y="28"/>
                      <a:pt x="108" y="28"/>
                      <a:pt x="108" y="28"/>
                    </a:cubicBezTo>
                    <a:cubicBezTo>
                      <a:pt x="107" y="22"/>
                      <a:pt x="114" y="20"/>
                      <a:pt x="118" y="20"/>
                    </a:cubicBezTo>
                    <a:cubicBezTo>
                      <a:pt x="122" y="20"/>
                      <a:pt x="129" y="22"/>
                      <a:pt x="128" y="28"/>
                    </a:cubicBezTo>
                    <a:cubicBezTo>
                      <a:pt x="128" y="30"/>
                      <a:pt x="128" y="32"/>
                      <a:pt x="129" y="35"/>
                    </a:cubicBezTo>
                    <a:cubicBezTo>
                      <a:pt x="130" y="38"/>
                      <a:pt x="131" y="41"/>
                      <a:pt x="132" y="43"/>
                    </a:cubicBezTo>
                    <a:cubicBezTo>
                      <a:pt x="136" y="53"/>
                      <a:pt x="140" y="63"/>
                      <a:pt x="150" y="68"/>
                    </a:cubicBezTo>
                    <a:cubicBezTo>
                      <a:pt x="158" y="74"/>
                      <a:pt x="168" y="74"/>
                      <a:pt x="178" y="74"/>
                    </a:cubicBezTo>
                    <a:cubicBezTo>
                      <a:pt x="188" y="74"/>
                      <a:pt x="200" y="73"/>
                      <a:pt x="209" y="68"/>
                    </a:cubicBezTo>
                    <a:cubicBezTo>
                      <a:pt x="210" y="68"/>
                      <a:pt x="211" y="68"/>
                      <a:pt x="213" y="67"/>
                    </a:cubicBezTo>
                    <a:cubicBezTo>
                      <a:pt x="220" y="63"/>
                      <a:pt x="223" y="58"/>
                      <a:pt x="225" y="49"/>
                    </a:cubicBezTo>
                    <a:cubicBezTo>
                      <a:pt x="227" y="44"/>
                      <a:pt x="228" y="40"/>
                      <a:pt x="230" y="35"/>
                    </a:cubicBezTo>
                    <a:cubicBezTo>
                      <a:pt x="231" y="32"/>
                      <a:pt x="231" y="30"/>
                      <a:pt x="234" y="29"/>
                    </a:cubicBezTo>
                    <a:cubicBezTo>
                      <a:pt x="234" y="28"/>
                      <a:pt x="234" y="28"/>
                      <a:pt x="234" y="28"/>
                    </a:cubicBezTo>
                    <a:cubicBezTo>
                      <a:pt x="235" y="26"/>
                      <a:pt x="236" y="25"/>
                      <a:pt x="236" y="24"/>
                    </a:cubicBezTo>
                    <a:cubicBezTo>
                      <a:pt x="237" y="22"/>
                      <a:pt x="237" y="19"/>
                      <a:pt x="237" y="16"/>
                    </a:cubicBezTo>
                    <a:cubicBezTo>
                      <a:pt x="237" y="11"/>
                      <a:pt x="237" y="7"/>
                      <a:pt x="236" y="6"/>
                    </a:cubicBezTo>
                    <a:close/>
                    <a:moveTo>
                      <a:pt x="99" y="42"/>
                    </a:moveTo>
                    <a:cubicBezTo>
                      <a:pt x="96" y="49"/>
                      <a:pt x="93" y="59"/>
                      <a:pt x="86" y="63"/>
                    </a:cubicBezTo>
                    <a:cubicBezTo>
                      <a:pt x="79" y="69"/>
                      <a:pt x="68" y="68"/>
                      <a:pt x="60" y="69"/>
                    </a:cubicBezTo>
                    <a:cubicBezTo>
                      <a:pt x="51" y="69"/>
                      <a:pt x="42" y="68"/>
                      <a:pt x="33" y="66"/>
                    </a:cubicBezTo>
                    <a:cubicBezTo>
                      <a:pt x="29" y="63"/>
                      <a:pt x="25" y="62"/>
                      <a:pt x="23" y="59"/>
                    </a:cubicBezTo>
                    <a:cubicBezTo>
                      <a:pt x="21" y="56"/>
                      <a:pt x="20" y="54"/>
                      <a:pt x="18" y="52"/>
                    </a:cubicBezTo>
                    <a:cubicBezTo>
                      <a:pt x="15" y="43"/>
                      <a:pt x="10" y="28"/>
                      <a:pt x="14" y="18"/>
                    </a:cubicBezTo>
                    <a:cubicBezTo>
                      <a:pt x="14" y="17"/>
                      <a:pt x="14" y="17"/>
                      <a:pt x="14" y="17"/>
                    </a:cubicBezTo>
                    <a:cubicBezTo>
                      <a:pt x="15" y="13"/>
                      <a:pt x="18" y="10"/>
                      <a:pt x="23" y="9"/>
                    </a:cubicBezTo>
                    <a:cubicBezTo>
                      <a:pt x="24" y="9"/>
                      <a:pt x="25" y="9"/>
                      <a:pt x="26" y="7"/>
                    </a:cubicBezTo>
                    <a:cubicBezTo>
                      <a:pt x="33" y="6"/>
                      <a:pt x="43" y="6"/>
                      <a:pt x="50" y="7"/>
                    </a:cubicBezTo>
                    <a:cubicBezTo>
                      <a:pt x="59" y="7"/>
                      <a:pt x="68" y="9"/>
                      <a:pt x="77" y="10"/>
                    </a:cubicBezTo>
                    <a:cubicBezTo>
                      <a:pt x="85" y="11"/>
                      <a:pt x="94" y="12"/>
                      <a:pt x="99" y="19"/>
                    </a:cubicBezTo>
                    <a:cubicBezTo>
                      <a:pt x="103" y="26"/>
                      <a:pt x="100" y="35"/>
                      <a:pt x="99" y="42"/>
                    </a:cubicBezTo>
                    <a:close/>
                    <a:moveTo>
                      <a:pt x="218" y="52"/>
                    </a:moveTo>
                    <a:cubicBezTo>
                      <a:pt x="216" y="55"/>
                      <a:pt x="215" y="59"/>
                      <a:pt x="211" y="61"/>
                    </a:cubicBezTo>
                    <a:cubicBezTo>
                      <a:pt x="209" y="62"/>
                      <a:pt x="207" y="65"/>
                      <a:pt x="203" y="66"/>
                    </a:cubicBezTo>
                    <a:cubicBezTo>
                      <a:pt x="195" y="68"/>
                      <a:pt x="186" y="69"/>
                      <a:pt x="177" y="69"/>
                    </a:cubicBezTo>
                    <a:cubicBezTo>
                      <a:pt x="168" y="68"/>
                      <a:pt x="158" y="69"/>
                      <a:pt x="150" y="63"/>
                    </a:cubicBezTo>
                    <a:cubicBezTo>
                      <a:pt x="144" y="59"/>
                      <a:pt x="140" y="49"/>
                      <a:pt x="138" y="42"/>
                    </a:cubicBezTo>
                    <a:cubicBezTo>
                      <a:pt x="136" y="35"/>
                      <a:pt x="134" y="26"/>
                      <a:pt x="137" y="19"/>
                    </a:cubicBezTo>
                    <a:cubicBezTo>
                      <a:pt x="143" y="12"/>
                      <a:pt x="152" y="11"/>
                      <a:pt x="159" y="10"/>
                    </a:cubicBezTo>
                    <a:cubicBezTo>
                      <a:pt x="168" y="9"/>
                      <a:pt x="178" y="7"/>
                      <a:pt x="187" y="7"/>
                    </a:cubicBezTo>
                    <a:cubicBezTo>
                      <a:pt x="193" y="6"/>
                      <a:pt x="201" y="6"/>
                      <a:pt x="208" y="7"/>
                    </a:cubicBezTo>
                    <a:cubicBezTo>
                      <a:pt x="210" y="7"/>
                      <a:pt x="211" y="9"/>
                      <a:pt x="214" y="9"/>
                    </a:cubicBezTo>
                    <a:cubicBezTo>
                      <a:pt x="231" y="13"/>
                      <a:pt x="223" y="40"/>
                      <a:pt x="218"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36" name="Freeform 224">
                <a:extLst>
                  <a:ext uri="{FF2B5EF4-FFF2-40B4-BE49-F238E27FC236}">
                    <a16:creationId xmlns:a16="http://schemas.microsoft.com/office/drawing/2014/main" id="{F4820AD1-417D-4AF2-997C-B88B63E2FCAE}"/>
                  </a:ext>
                </a:extLst>
              </p:cNvPr>
              <p:cNvSpPr>
                <a:spLocks/>
              </p:cNvSpPr>
              <p:nvPr/>
            </p:nvSpPr>
            <p:spPr bwMode="auto">
              <a:xfrm>
                <a:off x="9770887" y="3525238"/>
                <a:ext cx="11593" cy="110136"/>
              </a:xfrm>
              <a:custGeom>
                <a:avLst/>
                <a:gdLst>
                  <a:gd name="T0" fmla="*/ 0 w 8"/>
                  <a:gd name="T1" fmla="*/ 0 h 76"/>
                  <a:gd name="T2" fmla="*/ 8 w 8"/>
                  <a:gd name="T3" fmla="*/ 0 h 76"/>
                  <a:gd name="T4" fmla="*/ 8 w 8"/>
                  <a:gd name="T5" fmla="*/ 76 h 76"/>
                  <a:gd name="T6" fmla="*/ 0 w 8"/>
                  <a:gd name="T7" fmla="*/ 76 h 76"/>
                  <a:gd name="T8" fmla="*/ 0 w 8"/>
                  <a:gd name="T9" fmla="*/ 0 h 76"/>
                  <a:gd name="T10" fmla="*/ 0 w 8"/>
                  <a:gd name="T11" fmla="*/ 0 h 76"/>
                </a:gdLst>
                <a:ahLst/>
                <a:cxnLst>
                  <a:cxn ang="0">
                    <a:pos x="T0" y="T1"/>
                  </a:cxn>
                  <a:cxn ang="0">
                    <a:pos x="T2" y="T3"/>
                  </a:cxn>
                  <a:cxn ang="0">
                    <a:pos x="T4" y="T5"/>
                  </a:cxn>
                  <a:cxn ang="0">
                    <a:pos x="T6" y="T7"/>
                  </a:cxn>
                  <a:cxn ang="0">
                    <a:pos x="T8" y="T9"/>
                  </a:cxn>
                  <a:cxn ang="0">
                    <a:pos x="T10" y="T11"/>
                  </a:cxn>
                </a:cxnLst>
                <a:rect l="0" t="0" r="r" b="b"/>
                <a:pathLst>
                  <a:path w="8" h="76">
                    <a:moveTo>
                      <a:pt x="0" y="0"/>
                    </a:moveTo>
                    <a:lnTo>
                      <a:pt x="8" y="0"/>
                    </a:lnTo>
                    <a:lnTo>
                      <a:pt x="8" y="76"/>
                    </a:lnTo>
                    <a:lnTo>
                      <a:pt x="0" y="76"/>
                    </a:lnTo>
                    <a:lnTo>
                      <a:pt x="0" y="0"/>
                    </a:lnTo>
                    <a:lnTo>
                      <a:pt x="0" y="0"/>
                    </a:ln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37" name="Freeform 225">
                <a:extLst>
                  <a:ext uri="{FF2B5EF4-FFF2-40B4-BE49-F238E27FC236}">
                    <a16:creationId xmlns:a16="http://schemas.microsoft.com/office/drawing/2014/main" id="{1A4A70C5-829B-49B1-9DA5-D4CE0AD70C34}"/>
                  </a:ext>
                </a:extLst>
              </p:cNvPr>
              <p:cNvSpPr>
                <a:spLocks/>
              </p:cNvSpPr>
              <p:nvPr/>
            </p:nvSpPr>
            <p:spPr bwMode="auto">
              <a:xfrm>
                <a:off x="9310054" y="3535382"/>
                <a:ext cx="11593" cy="110136"/>
              </a:xfrm>
              <a:custGeom>
                <a:avLst/>
                <a:gdLst>
                  <a:gd name="T0" fmla="*/ 0 w 8"/>
                  <a:gd name="T1" fmla="*/ 0 h 76"/>
                  <a:gd name="T2" fmla="*/ 8 w 8"/>
                  <a:gd name="T3" fmla="*/ 0 h 76"/>
                  <a:gd name="T4" fmla="*/ 8 w 8"/>
                  <a:gd name="T5" fmla="*/ 76 h 76"/>
                  <a:gd name="T6" fmla="*/ 0 w 8"/>
                  <a:gd name="T7" fmla="*/ 76 h 76"/>
                  <a:gd name="T8" fmla="*/ 0 w 8"/>
                  <a:gd name="T9" fmla="*/ 0 h 76"/>
                  <a:gd name="T10" fmla="*/ 0 w 8"/>
                  <a:gd name="T11" fmla="*/ 0 h 76"/>
                </a:gdLst>
                <a:ahLst/>
                <a:cxnLst>
                  <a:cxn ang="0">
                    <a:pos x="T0" y="T1"/>
                  </a:cxn>
                  <a:cxn ang="0">
                    <a:pos x="T2" y="T3"/>
                  </a:cxn>
                  <a:cxn ang="0">
                    <a:pos x="T4" y="T5"/>
                  </a:cxn>
                  <a:cxn ang="0">
                    <a:pos x="T6" y="T7"/>
                  </a:cxn>
                  <a:cxn ang="0">
                    <a:pos x="T8" y="T9"/>
                  </a:cxn>
                  <a:cxn ang="0">
                    <a:pos x="T10" y="T11"/>
                  </a:cxn>
                </a:cxnLst>
                <a:rect l="0" t="0" r="r" b="b"/>
                <a:pathLst>
                  <a:path w="8" h="76">
                    <a:moveTo>
                      <a:pt x="0" y="0"/>
                    </a:moveTo>
                    <a:lnTo>
                      <a:pt x="8" y="0"/>
                    </a:lnTo>
                    <a:lnTo>
                      <a:pt x="8" y="76"/>
                    </a:lnTo>
                    <a:lnTo>
                      <a:pt x="0" y="76"/>
                    </a:lnTo>
                    <a:lnTo>
                      <a:pt x="0" y="0"/>
                    </a:lnTo>
                    <a:lnTo>
                      <a:pt x="0" y="0"/>
                    </a:ln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38" name="Freeform 226">
                <a:extLst>
                  <a:ext uri="{FF2B5EF4-FFF2-40B4-BE49-F238E27FC236}">
                    <a16:creationId xmlns:a16="http://schemas.microsoft.com/office/drawing/2014/main" id="{68F89CCA-29A4-448F-B5E6-E861EF2176A3}"/>
                  </a:ext>
                </a:extLst>
              </p:cNvPr>
              <p:cNvSpPr>
                <a:spLocks/>
              </p:cNvSpPr>
              <p:nvPr/>
            </p:nvSpPr>
            <p:spPr bwMode="auto">
              <a:xfrm>
                <a:off x="9689734" y="3686094"/>
                <a:ext cx="143467" cy="176797"/>
              </a:xfrm>
              <a:custGeom>
                <a:avLst/>
                <a:gdLst>
                  <a:gd name="T0" fmla="*/ 4 w 88"/>
                  <a:gd name="T1" fmla="*/ 109 h 109"/>
                  <a:gd name="T2" fmla="*/ 0 w 88"/>
                  <a:gd name="T3" fmla="*/ 100 h 109"/>
                  <a:gd name="T4" fmla="*/ 75 w 88"/>
                  <a:gd name="T5" fmla="*/ 10 h 109"/>
                  <a:gd name="T6" fmla="*/ 63 w 88"/>
                  <a:gd name="T7" fmla="*/ 10 h 109"/>
                  <a:gd name="T8" fmla="*/ 63 w 88"/>
                  <a:gd name="T9" fmla="*/ 0 h 109"/>
                  <a:gd name="T10" fmla="*/ 86 w 88"/>
                  <a:gd name="T11" fmla="*/ 0 h 109"/>
                  <a:gd name="T12" fmla="*/ 86 w 88"/>
                  <a:gd name="T13" fmla="*/ 5 h 109"/>
                  <a:gd name="T14" fmla="*/ 4 w 88"/>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09">
                    <a:moveTo>
                      <a:pt x="4" y="109"/>
                    </a:moveTo>
                    <a:cubicBezTo>
                      <a:pt x="0" y="100"/>
                      <a:pt x="0" y="100"/>
                      <a:pt x="0" y="100"/>
                    </a:cubicBezTo>
                    <a:cubicBezTo>
                      <a:pt x="66" y="76"/>
                      <a:pt x="74" y="25"/>
                      <a:pt x="75" y="10"/>
                    </a:cubicBezTo>
                    <a:cubicBezTo>
                      <a:pt x="63" y="10"/>
                      <a:pt x="63" y="10"/>
                      <a:pt x="63" y="10"/>
                    </a:cubicBezTo>
                    <a:cubicBezTo>
                      <a:pt x="63" y="0"/>
                      <a:pt x="63" y="0"/>
                      <a:pt x="63" y="0"/>
                    </a:cubicBezTo>
                    <a:cubicBezTo>
                      <a:pt x="86" y="0"/>
                      <a:pt x="86" y="0"/>
                      <a:pt x="86" y="0"/>
                    </a:cubicBezTo>
                    <a:cubicBezTo>
                      <a:pt x="86" y="5"/>
                      <a:pt x="86" y="5"/>
                      <a:pt x="86" y="5"/>
                    </a:cubicBezTo>
                    <a:cubicBezTo>
                      <a:pt x="86" y="6"/>
                      <a:pt x="88" y="79"/>
                      <a:pt x="4" y="109"/>
                    </a:cubicBezTo>
                    <a:close/>
                  </a:path>
                </a:pathLst>
              </a:custGeom>
              <a:solidFill>
                <a:srgbClr val="39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39" name="Freeform 227">
                <a:extLst>
                  <a:ext uri="{FF2B5EF4-FFF2-40B4-BE49-F238E27FC236}">
                    <a16:creationId xmlns:a16="http://schemas.microsoft.com/office/drawing/2014/main" id="{E4A78638-6E7F-46B0-BACE-63A15BA74514}"/>
                  </a:ext>
                </a:extLst>
              </p:cNvPr>
              <p:cNvSpPr>
                <a:spLocks/>
              </p:cNvSpPr>
              <p:nvPr/>
            </p:nvSpPr>
            <p:spPr bwMode="auto">
              <a:xfrm>
                <a:off x="9281071" y="3599145"/>
                <a:ext cx="110136" cy="194187"/>
              </a:xfrm>
              <a:custGeom>
                <a:avLst/>
                <a:gdLst>
                  <a:gd name="T0" fmla="*/ 45 w 68"/>
                  <a:gd name="T1" fmla="*/ 37 h 120"/>
                  <a:gd name="T2" fmla="*/ 34 w 68"/>
                  <a:gd name="T3" fmla="*/ 120 h 120"/>
                  <a:gd name="T4" fmla="*/ 0 w 68"/>
                  <a:gd name="T5" fmla="*/ 48 h 120"/>
                  <a:gd name="T6" fmla="*/ 24 w 68"/>
                  <a:gd name="T7" fmla="*/ 0 h 120"/>
                  <a:gd name="T8" fmla="*/ 45 w 68"/>
                  <a:gd name="T9" fmla="*/ 37 h 120"/>
                </a:gdLst>
                <a:ahLst/>
                <a:cxnLst>
                  <a:cxn ang="0">
                    <a:pos x="T0" y="T1"/>
                  </a:cxn>
                  <a:cxn ang="0">
                    <a:pos x="T2" y="T3"/>
                  </a:cxn>
                  <a:cxn ang="0">
                    <a:pos x="T4" y="T5"/>
                  </a:cxn>
                  <a:cxn ang="0">
                    <a:pos x="T6" y="T7"/>
                  </a:cxn>
                  <a:cxn ang="0">
                    <a:pos x="T8" y="T9"/>
                  </a:cxn>
                </a:cxnLst>
                <a:rect l="0" t="0" r="r" b="b"/>
                <a:pathLst>
                  <a:path w="68" h="120">
                    <a:moveTo>
                      <a:pt x="45" y="37"/>
                    </a:moveTo>
                    <a:cubicBezTo>
                      <a:pt x="45" y="70"/>
                      <a:pt x="68" y="120"/>
                      <a:pt x="34" y="120"/>
                    </a:cubicBezTo>
                    <a:cubicBezTo>
                      <a:pt x="24" y="120"/>
                      <a:pt x="0" y="97"/>
                      <a:pt x="0" y="48"/>
                    </a:cubicBezTo>
                    <a:cubicBezTo>
                      <a:pt x="0" y="27"/>
                      <a:pt x="7" y="0"/>
                      <a:pt x="24" y="0"/>
                    </a:cubicBezTo>
                    <a:cubicBezTo>
                      <a:pt x="40" y="0"/>
                      <a:pt x="45" y="10"/>
                      <a:pt x="45" y="37"/>
                    </a:cubicBez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40" name="Freeform 228">
                <a:extLst>
                  <a:ext uri="{FF2B5EF4-FFF2-40B4-BE49-F238E27FC236}">
                    <a16:creationId xmlns:a16="http://schemas.microsoft.com/office/drawing/2014/main" id="{5C24DC55-374B-40DB-8AD2-C5D4724C3955}"/>
                  </a:ext>
                </a:extLst>
              </p:cNvPr>
              <p:cNvSpPr>
                <a:spLocks/>
              </p:cNvSpPr>
              <p:nvPr/>
            </p:nvSpPr>
            <p:spPr bwMode="auto">
              <a:xfrm>
                <a:off x="9663649" y="3833909"/>
                <a:ext cx="49271" cy="43475"/>
              </a:xfrm>
              <a:custGeom>
                <a:avLst/>
                <a:gdLst>
                  <a:gd name="T0" fmla="*/ 23 w 30"/>
                  <a:gd name="T1" fmla="*/ 24 h 27"/>
                  <a:gd name="T2" fmla="*/ 14 w 30"/>
                  <a:gd name="T3" fmla="*/ 26 h 27"/>
                  <a:gd name="T4" fmla="*/ 3 w 30"/>
                  <a:gd name="T5" fmla="*/ 20 h 27"/>
                  <a:gd name="T6" fmla="*/ 1 w 30"/>
                  <a:gd name="T7" fmla="*/ 15 h 27"/>
                  <a:gd name="T8" fmla="*/ 7 w 30"/>
                  <a:gd name="T9" fmla="*/ 4 h 27"/>
                  <a:gd name="T10" fmla="*/ 16 w 30"/>
                  <a:gd name="T11" fmla="*/ 2 h 27"/>
                  <a:gd name="T12" fmla="*/ 27 w 30"/>
                  <a:gd name="T13" fmla="*/ 8 h 27"/>
                  <a:gd name="T14" fmla="*/ 28 w 30"/>
                  <a:gd name="T15" fmla="*/ 12 h 27"/>
                  <a:gd name="T16" fmla="*/ 23 w 30"/>
                  <a:gd name="T17"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7">
                    <a:moveTo>
                      <a:pt x="23" y="24"/>
                    </a:moveTo>
                    <a:cubicBezTo>
                      <a:pt x="14" y="26"/>
                      <a:pt x="14" y="26"/>
                      <a:pt x="14" y="26"/>
                    </a:cubicBezTo>
                    <a:cubicBezTo>
                      <a:pt x="9" y="27"/>
                      <a:pt x="4" y="24"/>
                      <a:pt x="3" y="20"/>
                    </a:cubicBezTo>
                    <a:cubicBezTo>
                      <a:pt x="1" y="15"/>
                      <a:pt x="1" y="15"/>
                      <a:pt x="1" y="15"/>
                    </a:cubicBezTo>
                    <a:cubicBezTo>
                      <a:pt x="0" y="10"/>
                      <a:pt x="3" y="5"/>
                      <a:pt x="7" y="4"/>
                    </a:cubicBezTo>
                    <a:cubicBezTo>
                      <a:pt x="16" y="2"/>
                      <a:pt x="16" y="2"/>
                      <a:pt x="16" y="2"/>
                    </a:cubicBezTo>
                    <a:cubicBezTo>
                      <a:pt x="21" y="0"/>
                      <a:pt x="25" y="3"/>
                      <a:pt x="27" y="8"/>
                    </a:cubicBezTo>
                    <a:cubicBezTo>
                      <a:pt x="28" y="12"/>
                      <a:pt x="28" y="12"/>
                      <a:pt x="28" y="12"/>
                    </a:cubicBezTo>
                    <a:cubicBezTo>
                      <a:pt x="30" y="17"/>
                      <a:pt x="27" y="22"/>
                      <a:pt x="23" y="24"/>
                    </a:cubicBez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41" name="Freeform 229">
                <a:extLst>
                  <a:ext uri="{FF2B5EF4-FFF2-40B4-BE49-F238E27FC236}">
                    <a16:creationId xmlns:a16="http://schemas.microsoft.com/office/drawing/2014/main" id="{32C9F399-B72E-436D-B5A2-D6B0AAA10D77}"/>
                  </a:ext>
                </a:extLst>
              </p:cNvPr>
              <p:cNvSpPr>
                <a:spLocks/>
              </p:cNvSpPr>
              <p:nvPr/>
            </p:nvSpPr>
            <p:spPr bwMode="auto">
              <a:xfrm>
                <a:off x="9701328" y="3599145"/>
                <a:ext cx="110136" cy="194187"/>
              </a:xfrm>
              <a:custGeom>
                <a:avLst/>
                <a:gdLst>
                  <a:gd name="T0" fmla="*/ 24 w 68"/>
                  <a:gd name="T1" fmla="*/ 37 h 120"/>
                  <a:gd name="T2" fmla="*/ 34 w 68"/>
                  <a:gd name="T3" fmla="*/ 120 h 120"/>
                  <a:gd name="T4" fmla="*/ 68 w 68"/>
                  <a:gd name="T5" fmla="*/ 48 h 120"/>
                  <a:gd name="T6" fmla="*/ 44 w 68"/>
                  <a:gd name="T7" fmla="*/ 0 h 120"/>
                  <a:gd name="T8" fmla="*/ 24 w 68"/>
                  <a:gd name="T9" fmla="*/ 37 h 120"/>
                </a:gdLst>
                <a:ahLst/>
                <a:cxnLst>
                  <a:cxn ang="0">
                    <a:pos x="T0" y="T1"/>
                  </a:cxn>
                  <a:cxn ang="0">
                    <a:pos x="T2" y="T3"/>
                  </a:cxn>
                  <a:cxn ang="0">
                    <a:pos x="T4" y="T5"/>
                  </a:cxn>
                  <a:cxn ang="0">
                    <a:pos x="T6" y="T7"/>
                  </a:cxn>
                  <a:cxn ang="0">
                    <a:pos x="T8" y="T9"/>
                  </a:cxn>
                </a:cxnLst>
                <a:rect l="0" t="0" r="r" b="b"/>
                <a:pathLst>
                  <a:path w="68" h="120">
                    <a:moveTo>
                      <a:pt x="24" y="37"/>
                    </a:moveTo>
                    <a:cubicBezTo>
                      <a:pt x="24" y="70"/>
                      <a:pt x="0" y="120"/>
                      <a:pt x="34" y="120"/>
                    </a:cubicBezTo>
                    <a:cubicBezTo>
                      <a:pt x="44" y="120"/>
                      <a:pt x="68" y="97"/>
                      <a:pt x="68" y="48"/>
                    </a:cubicBezTo>
                    <a:cubicBezTo>
                      <a:pt x="68" y="27"/>
                      <a:pt x="61" y="0"/>
                      <a:pt x="44" y="0"/>
                    </a:cubicBezTo>
                    <a:cubicBezTo>
                      <a:pt x="27" y="0"/>
                      <a:pt x="24" y="10"/>
                      <a:pt x="24" y="37"/>
                    </a:cubicBez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42" name="Freeform 230">
                <a:extLst>
                  <a:ext uri="{FF2B5EF4-FFF2-40B4-BE49-F238E27FC236}">
                    <a16:creationId xmlns:a16="http://schemas.microsoft.com/office/drawing/2014/main" id="{CF60A670-2896-4CDF-8C50-BEDC21487BD0}"/>
                  </a:ext>
                </a:extLst>
              </p:cNvPr>
              <p:cNvSpPr>
                <a:spLocks/>
              </p:cNvSpPr>
              <p:nvPr/>
            </p:nvSpPr>
            <p:spPr bwMode="auto">
              <a:xfrm>
                <a:off x="9299910" y="3326703"/>
                <a:ext cx="488367" cy="208679"/>
              </a:xfrm>
              <a:custGeom>
                <a:avLst/>
                <a:gdLst>
                  <a:gd name="T0" fmla="*/ 301 w 301"/>
                  <a:gd name="T1" fmla="*/ 129 h 129"/>
                  <a:gd name="T2" fmla="*/ 285 w 301"/>
                  <a:gd name="T3" fmla="*/ 129 h 129"/>
                  <a:gd name="T4" fmla="*/ 173 w 301"/>
                  <a:gd name="T5" fmla="*/ 18 h 129"/>
                  <a:gd name="T6" fmla="*/ 128 w 301"/>
                  <a:gd name="T7" fmla="*/ 18 h 129"/>
                  <a:gd name="T8" fmla="*/ 17 w 301"/>
                  <a:gd name="T9" fmla="*/ 129 h 129"/>
                  <a:gd name="T10" fmla="*/ 0 w 301"/>
                  <a:gd name="T11" fmla="*/ 129 h 129"/>
                  <a:gd name="T12" fmla="*/ 128 w 301"/>
                  <a:gd name="T13" fmla="*/ 0 h 129"/>
                  <a:gd name="T14" fmla="*/ 173 w 301"/>
                  <a:gd name="T15" fmla="*/ 0 h 129"/>
                  <a:gd name="T16" fmla="*/ 301 w 301"/>
                  <a:gd name="T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29">
                    <a:moveTo>
                      <a:pt x="301" y="129"/>
                    </a:moveTo>
                    <a:cubicBezTo>
                      <a:pt x="285" y="129"/>
                      <a:pt x="285" y="129"/>
                      <a:pt x="285" y="129"/>
                    </a:cubicBezTo>
                    <a:cubicBezTo>
                      <a:pt x="285" y="68"/>
                      <a:pt x="234" y="18"/>
                      <a:pt x="173" y="18"/>
                    </a:cubicBezTo>
                    <a:cubicBezTo>
                      <a:pt x="128" y="18"/>
                      <a:pt x="128" y="18"/>
                      <a:pt x="128" y="18"/>
                    </a:cubicBezTo>
                    <a:cubicBezTo>
                      <a:pt x="67" y="18"/>
                      <a:pt x="17" y="68"/>
                      <a:pt x="17" y="129"/>
                    </a:cubicBezTo>
                    <a:cubicBezTo>
                      <a:pt x="0" y="129"/>
                      <a:pt x="0" y="129"/>
                      <a:pt x="0" y="129"/>
                    </a:cubicBezTo>
                    <a:cubicBezTo>
                      <a:pt x="0" y="59"/>
                      <a:pt x="57" y="0"/>
                      <a:pt x="128" y="0"/>
                    </a:cubicBezTo>
                    <a:cubicBezTo>
                      <a:pt x="173" y="0"/>
                      <a:pt x="173" y="0"/>
                      <a:pt x="173" y="0"/>
                    </a:cubicBezTo>
                    <a:cubicBezTo>
                      <a:pt x="244" y="0"/>
                      <a:pt x="301" y="59"/>
                      <a:pt x="301" y="129"/>
                    </a:cubicBezTo>
                    <a:close/>
                  </a:path>
                </a:pathLst>
              </a:custGeom>
              <a:solidFill>
                <a:srgbClr val="39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grpSp>
      <p:sp>
        <p:nvSpPr>
          <p:cNvPr id="643" name="Freeform 231">
            <a:extLst>
              <a:ext uri="{FF2B5EF4-FFF2-40B4-BE49-F238E27FC236}">
                <a16:creationId xmlns:a16="http://schemas.microsoft.com/office/drawing/2014/main" id="{A68727D1-F191-4F66-96FE-3B2E9839D31B}"/>
              </a:ext>
            </a:extLst>
          </p:cNvPr>
          <p:cNvSpPr>
            <a:spLocks/>
          </p:cNvSpPr>
          <p:nvPr/>
        </p:nvSpPr>
        <p:spPr bwMode="auto">
          <a:xfrm>
            <a:off x="1607200" y="1734745"/>
            <a:ext cx="128353" cy="80773"/>
          </a:xfrm>
          <a:custGeom>
            <a:avLst/>
            <a:gdLst>
              <a:gd name="T0" fmla="*/ 0 w 311"/>
              <a:gd name="T1" fmla="*/ 196 h 196"/>
              <a:gd name="T2" fmla="*/ 311 w 311"/>
              <a:gd name="T3" fmla="*/ 0 h 196"/>
            </a:gdLst>
            <a:ahLst/>
            <a:cxnLst>
              <a:cxn ang="0">
                <a:pos x="T0" y="T1"/>
              </a:cxn>
              <a:cxn ang="0">
                <a:pos x="T2" y="T3"/>
              </a:cxn>
            </a:cxnLst>
            <a:rect l="0" t="0" r="r" b="b"/>
            <a:pathLst>
              <a:path w="311" h="196">
                <a:moveTo>
                  <a:pt x="0" y="196"/>
                </a:moveTo>
                <a:cubicBezTo>
                  <a:pt x="86" y="108"/>
                  <a:pt x="192" y="41"/>
                  <a:pt x="311" y="0"/>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44" name="Freeform 232">
            <a:extLst>
              <a:ext uri="{FF2B5EF4-FFF2-40B4-BE49-F238E27FC236}">
                <a16:creationId xmlns:a16="http://schemas.microsoft.com/office/drawing/2014/main" id="{4C24652C-2155-4F7B-81CC-33750B44DC33}"/>
              </a:ext>
            </a:extLst>
          </p:cNvPr>
          <p:cNvSpPr>
            <a:spLocks/>
          </p:cNvSpPr>
          <p:nvPr/>
        </p:nvSpPr>
        <p:spPr bwMode="auto">
          <a:xfrm>
            <a:off x="1514256" y="1858302"/>
            <a:ext cx="652090" cy="510090"/>
          </a:xfrm>
          <a:custGeom>
            <a:avLst/>
            <a:gdLst>
              <a:gd name="T0" fmla="*/ 1578 w 1578"/>
              <a:gd name="T1" fmla="*/ 448 h 1236"/>
              <a:gd name="T2" fmla="*/ 789 w 1578"/>
              <a:gd name="T3" fmla="*/ 1236 h 1236"/>
              <a:gd name="T4" fmla="*/ 0 w 1578"/>
              <a:gd name="T5" fmla="*/ 448 h 1236"/>
              <a:gd name="T6" fmla="*/ 139 w 1578"/>
              <a:gd name="T7" fmla="*/ 0 h 1236"/>
            </a:gdLst>
            <a:ahLst/>
            <a:cxnLst>
              <a:cxn ang="0">
                <a:pos x="T0" y="T1"/>
              </a:cxn>
              <a:cxn ang="0">
                <a:pos x="T2" y="T3"/>
              </a:cxn>
              <a:cxn ang="0">
                <a:pos x="T4" y="T5"/>
              </a:cxn>
              <a:cxn ang="0">
                <a:pos x="T6" y="T7"/>
              </a:cxn>
            </a:cxnLst>
            <a:rect l="0" t="0" r="r" b="b"/>
            <a:pathLst>
              <a:path w="1578" h="1236">
                <a:moveTo>
                  <a:pt x="1578" y="448"/>
                </a:moveTo>
                <a:cubicBezTo>
                  <a:pt x="1578" y="883"/>
                  <a:pt x="1225" y="1236"/>
                  <a:pt x="789" y="1236"/>
                </a:cubicBezTo>
                <a:cubicBezTo>
                  <a:pt x="353" y="1236"/>
                  <a:pt x="0" y="883"/>
                  <a:pt x="0" y="448"/>
                </a:cubicBezTo>
                <a:cubicBezTo>
                  <a:pt x="0" y="281"/>
                  <a:pt x="52" y="127"/>
                  <a:pt x="139" y="0"/>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45" name="Freeform 233">
            <a:extLst>
              <a:ext uri="{FF2B5EF4-FFF2-40B4-BE49-F238E27FC236}">
                <a16:creationId xmlns:a16="http://schemas.microsoft.com/office/drawing/2014/main" id="{46BF845B-23FA-4CC3-A2CB-4FE8ACD0AE13}"/>
              </a:ext>
            </a:extLst>
          </p:cNvPr>
          <p:cNvSpPr>
            <a:spLocks/>
          </p:cNvSpPr>
          <p:nvPr/>
        </p:nvSpPr>
        <p:spPr bwMode="auto">
          <a:xfrm>
            <a:off x="1995577" y="1756875"/>
            <a:ext cx="152695" cy="178514"/>
          </a:xfrm>
          <a:custGeom>
            <a:avLst/>
            <a:gdLst>
              <a:gd name="T0" fmla="*/ 0 w 369"/>
              <a:gd name="T1" fmla="*/ 0 h 433"/>
              <a:gd name="T2" fmla="*/ 369 w 369"/>
              <a:gd name="T3" fmla="*/ 433 h 433"/>
            </a:gdLst>
            <a:ahLst/>
            <a:cxnLst>
              <a:cxn ang="0">
                <a:pos x="T0" y="T1"/>
              </a:cxn>
              <a:cxn ang="0">
                <a:pos x="T2" y="T3"/>
              </a:cxn>
            </a:cxnLst>
            <a:rect l="0" t="0" r="r" b="b"/>
            <a:pathLst>
              <a:path w="369" h="433">
                <a:moveTo>
                  <a:pt x="0" y="0"/>
                </a:moveTo>
                <a:cubicBezTo>
                  <a:pt x="171" y="93"/>
                  <a:pt x="304" y="247"/>
                  <a:pt x="369" y="433"/>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46" name="Freeform 234">
            <a:extLst>
              <a:ext uri="{FF2B5EF4-FFF2-40B4-BE49-F238E27FC236}">
                <a16:creationId xmlns:a16="http://schemas.microsoft.com/office/drawing/2014/main" id="{9E2D47D1-4317-4B2B-A1C1-9BB48E4BC853}"/>
              </a:ext>
            </a:extLst>
          </p:cNvPr>
          <p:cNvSpPr>
            <a:spLocks/>
          </p:cNvSpPr>
          <p:nvPr/>
        </p:nvSpPr>
        <p:spPr bwMode="auto">
          <a:xfrm>
            <a:off x="1337218" y="1582787"/>
            <a:ext cx="88519" cy="409031"/>
          </a:xfrm>
          <a:custGeom>
            <a:avLst/>
            <a:gdLst>
              <a:gd name="T0" fmla="*/ 38 w 214"/>
              <a:gd name="T1" fmla="*/ 991 h 991"/>
              <a:gd name="T2" fmla="*/ 0 w 214"/>
              <a:gd name="T3" fmla="*/ 688 h 991"/>
              <a:gd name="T4" fmla="*/ 214 w 214"/>
              <a:gd name="T5" fmla="*/ 0 h 991"/>
            </a:gdLst>
            <a:ahLst/>
            <a:cxnLst>
              <a:cxn ang="0">
                <a:pos x="T0" y="T1"/>
              </a:cxn>
              <a:cxn ang="0">
                <a:pos x="T2" y="T3"/>
              </a:cxn>
              <a:cxn ang="0">
                <a:pos x="T4" y="T5"/>
              </a:cxn>
            </a:cxnLst>
            <a:rect l="0" t="0" r="r" b="b"/>
            <a:pathLst>
              <a:path w="214" h="991">
                <a:moveTo>
                  <a:pt x="38" y="991"/>
                </a:moveTo>
                <a:cubicBezTo>
                  <a:pt x="14" y="894"/>
                  <a:pt x="0" y="792"/>
                  <a:pt x="0" y="688"/>
                </a:cubicBezTo>
                <a:cubicBezTo>
                  <a:pt x="0" y="432"/>
                  <a:pt x="79" y="195"/>
                  <a:pt x="214" y="0"/>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47" name="Freeform 235">
            <a:extLst>
              <a:ext uri="{FF2B5EF4-FFF2-40B4-BE49-F238E27FC236}">
                <a16:creationId xmlns:a16="http://schemas.microsoft.com/office/drawing/2014/main" id="{C56FEF9D-4100-4FEE-9154-92F3E1F84CFF}"/>
              </a:ext>
            </a:extLst>
          </p:cNvPr>
          <p:cNvSpPr>
            <a:spLocks/>
          </p:cNvSpPr>
          <p:nvPr/>
        </p:nvSpPr>
        <p:spPr bwMode="auto">
          <a:xfrm>
            <a:off x="1462250" y="1866786"/>
            <a:ext cx="880394" cy="501607"/>
          </a:xfrm>
          <a:custGeom>
            <a:avLst/>
            <a:gdLst>
              <a:gd name="T0" fmla="*/ 2131 w 2131"/>
              <a:gd name="T1" fmla="*/ 0 h 1216"/>
              <a:gd name="T2" fmla="*/ 2118 w 2131"/>
              <a:gd name="T3" fmla="*/ 185 h 1216"/>
              <a:gd name="T4" fmla="*/ 915 w 2131"/>
              <a:gd name="T5" fmla="*/ 1216 h 1216"/>
              <a:gd name="T6" fmla="*/ 0 w 2131"/>
              <a:gd name="T7" fmla="*/ 802 h 1216"/>
            </a:gdLst>
            <a:ahLst/>
            <a:cxnLst>
              <a:cxn ang="0">
                <a:pos x="T0" y="T1"/>
              </a:cxn>
              <a:cxn ang="0">
                <a:pos x="T2" y="T3"/>
              </a:cxn>
              <a:cxn ang="0">
                <a:pos x="T4" y="T5"/>
              </a:cxn>
              <a:cxn ang="0">
                <a:pos x="T6" y="T7"/>
              </a:cxn>
            </a:cxnLst>
            <a:rect l="0" t="0" r="r" b="b"/>
            <a:pathLst>
              <a:path w="2131" h="1216">
                <a:moveTo>
                  <a:pt x="2131" y="0"/>
                </a:moveTo>
                <a:cubicBezTo>
                  <a:pt x="2131" y="63"/>
                  <a:pt x="2127" y="124"/>
                  <a:pt x="2118" y="185"/>
                </a:cubicBezTo>
                <a:cubicBezTo>
                  <a:pt x="2028" y="769"/>
                  <a:pt x="1524" y="1216"/>
                  <a:pt x="915" y="1216"/>
                </a:cubicBezTo>
                <a:cubicBezTo>
                  <a:pt x="550" y="1216"/>
                  <a:pt x="223" y="1056"/>
                  <a:pt x="0" y="802"/>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48" name="Freeform 236">
            <a:extLst>
              <a:ext uri="{FF2B5EF4-FFF2-40B4-BE49-F238E27FC236}">
                <a16:creationId xmlns:a16="http://schemas.microsoft.com/office/drawing/2014/main" id="{DA8ED8D4-4B6B-4375-93B6-F85B294F3905}"/>
              </a:ext>
            </a:extLst>
          </p:cNvPr>
          <p:cNvSpPr>
            <a:spLocks/>
          </p:cNvSpPr>
          <p:nvPr/>
        </p:nvSpPr>
        <p:spPr bwMode="auto">
          <a:xfrm>
            <a:off x="2171508" y="1489474"/>
            <a:ext cx="126508" cy="170030"/>
          </a:xfrm>
          <a:custGeom>
            <a:avLst/>
            <a:gdLst>
              <a:gd name="T0" fmla="*/ 0 w 306"/>
              <a:gd name="T1" fmla="*/ 0 h 412"/>
              <a:gd name="T2" fmla="*/ 306 w 306"/>
              <a:gd name="T3" fmla="*/ 412 h 412"/>
            </a:gdLst>
            <a:ahLst/>
            <a:cxnLst>
              <a:cxn ang="0">
                <a:pos x="T0" y="T1"/>
              </a:cxn>
              <a:cxn ang="0">
                <a:pos x="T2" y="T3"/>
              </a:cxn>
            </a:cxnLst>
            <a:rect l="0" t="0" r="r" b="b"/>
            <a:pathLst>
              <a:path w="306" h="412">
                <a:moveTo>
                  <a:pt x="0" y="0"/>
                </a:moveTo>
                <a:cubicBezTo>
                  <a:pt x="130" y="113"/>
                  <a:pt x="235" y="254"/>
                  <a:pt x="306" y="412"/>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649" name="Freeform 237">
            <a:extLst>
              <a:ext uri="{FF2B5EF4-FFF2-40B4-BE49-F238E27FC236}">
                <a16:creationId xmlns:a16="http://schemas.microsoft.com/office/drawing/2014/main" id="{A5DB4D84-FEB7-46BD-BA53-35A4AD3BBE4A}"/>
              </a:ext>
            </a:extLst>
          </p:cNvPr>
          <p:cNvSpPr>
            <a:spLocks/>
          </p:cNvSpPr>
          <p:nvPr/>
        </p:nvSpPr>
        <p:spPr bwMode="auto">
          <a:xfrm>
            <a:off x="1656992" y="1364441"/>
            <a:ext cx="335634" cy="34301"/>
          </a:xfrm>
          <a:custGeom>
            <a:avLst/>
            <a:gdLst>
              <a:gd name="T0" fmla="*/ 0 w 812"/>
              <a:gd name="T1" fmla="*/ 83 h 83"/>
              <a:gd name="T2" fmla="*/ 443 w 812"/>
              <a:gd name="T3" fmla="*/ 0 h 83"/>
              <a:gd name="T4" fmla="*/ 812 w 812"/>
              <a:gd name="T5" fmla="*/ 57 h 83"/>
            </a:gdLst>
            <a:ahLst/>
            <a:cxnLst>
              <a:cxn ang="0">
                <a:pos x="T0" y="T1"/>
              </a:cxn>
              <a:cxn ang="0">
                <a:pos x="T2" y="T3"/>
              </a:cxn>
              <a:cxn ang="0">
                <a:pos x="T4" y="T5"/>
              </a:cxn>
            </a:cxnLst>
            <a:rect l="0" t="0" r="r" b="b"/>
            <a:pathLst>
              <a:path w="812" h="83">
                <a:moveTo>
                  <a:pt x="0" y="83"/>
                </a:moveTo>
                <a:cubicBezTo>
                  <a:pt x="138" y="30"/>
                  <a:pt x="287" y="0"/>
                  <a:pt x="443" y="0"/>
                </a:cubicBezTo>
                <a:cubicBezTo>
                  <a:pt x="572" y="0"/>
                  <a:pt x="695" y="20"/>
                  <a:pt x="812" y="57"/>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531" name="Oval 244">
            <a:extLst>
              <a:ext uri="{FF2B5EF4-FFF2-40B4-BE49-F238E27FC236}">
                <a16:creationId xmlns:a16="http://schemas.microsoft.com/office/drawing/2014/main" id="{454B1571-6426-4E43-814F-EFC5C89CE4BF}"/>
              </a:ext>
            </a:extLst>
          </p:cNvPr>
          <p:cNvSpPr>
            <a:spLocks noChangeArrowheads="1"/>
          </p:cNvSpPr>
          <p:nvPr/>
        </p:nvSpPr>
        <p:spPr bwMode="auto">
          <a:xfrm>
            <a:off x="1577688" y="1827328"/>
            <a:ext cx="19916" cy="20946"/>
          </a:xfrm>
          <a:prstGeom prst="ellipse">
            <a:avLst/>
          </a:prstGeom>
          <a:solidFill>
            <a:schemeClr val="tx2">
              <a:lumMod val="20000"/>
              <a:lumOff val="80000"/>
              <a:alpha val="61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695" name="Group 694">
            <a:extLst>
              <a:ext uri="{FF2B5EF4-FFF2-40B4-BE49-F238E27FC236}">
                <a16:creationId xmlns:a16="http://schemas.microsoft.com/office/drawing/2014/main" id="{48E49C1C-31C6-4340-8B2E-D70528B591FE}"/>
              </a:ext>
            </a:extLst>
          </p:cNvPr>
          <p:cNvGrpSpPr/>
          <p:nvPr/>
        </p:nvGrpSpPr>
        <p:grpSpPr>
          <a:xfrm>
            <a:off x="1819695" y="1680190"/>
            <a:ext cx="101974" cy="120606"/>
            <a:chOff x="1805903" y="1043656"/>
            <a:chExt cx="121819" cy="144080"/>
          </a:xfrm>
          <a:solidFill>
            <a:schemeClr val="accent3"/>
          </a:solidFill>
        </p:grpSpPr>
        <p:sp>
          <p:nvSpPr>
            <p:cNvPr id="691" name="Freeform: Shape 690">
              <a:extLst>
                <a:ext uri="{FF2B5EF4-FFF2-40B4-BE49-F238E27FC236}">
                  <a16:creationId xmlns:a16="http://schemas.microsoft.com/office/drawing/2014/main" id="{32ED4B78-7A83-4286-A000-58DAC2B55091}"/>
                </a:ext>
              </a:extLst>
            </p:cNvPr>
            <p:cNvSpPr/>
            <p:nvPr/>
          </p:nvSpPr>
          <p:spPr>
            <a:xfrm>
              <a:off x="1805903" y="1043656"/>
              <a:ext cx="78421" cy="78398"/>
            </a:xfrm>
            <a:custGeom>
              <a:avLst/>
              <a:gdLst>
                <a:gd name="connsiteX0" fmla="*/ 28351 w 78421"/>
                <a:gd name="connsiteY0" fmla="*/ 0 h 78398"/>
                <a:gd name="connsiteX1" fmla="*/ 48379 w 78421"/>
                <a:gd name="connsiteY1" fmla="*/ 8299 h 78398"/>
                <a:gd name="connsiteX2" fmla="*/ 78421 w 78421"/>
                <a:gd name="connsiteY2" fmla="*/ 38341 h 78398"/>
                <a:gd name="connsiteX3" fmla="*/ 38365 w 78421"/>
                <a:gd name="connsiteY3" fmla="*/ 78398 h 78398"/>
                <a:gd name="connsiteX4" fmla="*/ 8323 w 78421"/>
                <a:gd name="connsiteY4" fmla="*/ 48411 h 78398"/>
                <a:gd name="connsiteX5" fmla="*/ 8323 w 78421"/>
                <a:gd name="connsiteY5" fmla="*/ 8299 h 78398"/>
                <a:gd name="connsiteX6" fmla="*/ 28351 w 78421"/>
                <a:gd name="connsiteY6" fmla="*/ 0 h 78398"/>
                <a:gd name="connsiteX7" fmla="*/ 29347 w 78421"/>
                <a:gd name="connsiteY7" fmla="*/ 12504 h 78398"/>
                <a:gd name="connsiteX8" fmla="*/ 19609 w 78421"/>
                <a:gd name="connsiteY8" fmla="*/ 17040 h 78398"/>
                <a:gd name="connsiteX9" fmla="*/ 19515 w 78421"/>
                <a:gd name="connsiteY9" fmla="*/ 17133 h 78398"/>
                <a:gd name="connsiteX10" fmla="*/ 19581 w 78421"/>
                <a:gd name="connsiteY10" fmla="*/ 22141 h 78398"/>
                <a:gd name="connsiteX11" fmla="*/ 24589 w 78421"/>
                <a:gd name="connsiteY11" fmla="*/ 22075 h 78398"/>
                <a:gd name="connsiteX12" fmla="*/ 31449 w 78421"/>
                <a:gd name="connsiteY12" fmla="*/ 19641 h 78398"/>
                <a:gd name="connsiteX13" fmla="*/ 39638 w 78421"/>
                <a:gd name="connsiteY13" fmla="*/ 24565 h 78398"/>
                <a:gd name="connsiteX14" fmla="*/ 44617 w 78421"/>
                <a:gd name="connsiteY14" fmla="*/ 29600 h 78398"/>
                <a:gd name="connsiteX15" fmla="*/ 49652 w 78421"/>
                <a:gd name="connsiteY15" fmla="*/ 29600 h 78398"/>
                <a:gd name="connsiteX16" fmla="*/ 49652 w 78421"/>
                <a:gd name="connsiteY16" fmla="*/ 24565 h 78398"/>
                <a:gd name="connsiteX17" fmla="*/ 44617 w 78421"/>
                <a:gd name="connsiteY17" fmla="*/ 19586 h 78398"/>
                <a:gd name="connsiteX18" fmla="*/ 32722 w 78421"/>
                <a:gd name="connsiteY18" fmla="*/ 12670 h 78398"/>
                <a:gd name="connsiteX19" fmla="*/ 29347 w 78421"/>
                <a:gd name="connsiteY19" fmla="*/ 12504 h 7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421" h="78398">
                  <a:moveTo>
                    <a:pt x="28351" y="0"/>
                  </a:moveTo>
                  <a:cubicBezTo>
                    <a:pt x="35592" y="0"/>
                    <a:pt x="42831" y="2751"/>
                    <a:pt x="48379" y="8299"/>
                  </a:cubicBezTo>
                  <a:lnTo>
                    <a:pt x="78421" y="38341"/>
                  </a:lnTo>
                  <a:lnTo>
                    <a:pt x="38365" y="78398"/>
                  </a:lnTo>
                  <a:lnTo>
                    <a:pt x="8323" y="48411"/>
                  </a:lnTo>
                  <a:cubicBezTo>
                    <a:pt x="-2774" y="37314"/>
                    <a:pt x="-2774" y="19396"/>
                    <a:pt x="8323" y="8299"/>
                  </a:cubicBezTo>
                  <a:cubicBezTo>
                    <a:pt x="13871" y="2751"/>
                    <a:pt x="21110" y="0"/>
                    <a:pt x="28351" y="0"/>
                  </a:cubicBezTo>
                  <a:close/>
                  <a:moveTo>
                    <a:pt x="29347" y="12504"/>
                  </a:moveTo>
                  <a:cubicBezTo>
                    <a:pt x="25920" y="12730"/>
                    <a:pt x="22454" y="14196"/>
                    <a:pt x="19609" y="17040"/>
                  </a:cubicBezTo>
                  <a:cubicBezTo>
                    <a:pt x="19577" y="17071"/>
                    <a:pt x="19546" y="17102"/>
                    <a:pt x="19515" y="17133"/>
                  </a:cubicBezTo>
                  <a:cubicBezTo>
                    <a:pt x="18151" y="18534"/>
                    <a:pt x="18180" y="20776"/>
                    <a:pt x="19581" y="22141"/>
                  </a:cubicBezTo>
                  <a:cubicBezTo>
                    <a:pt x="20982" y="23506"/>
                    <a:pt x="23224" y="23476"/>
                    <a:pt x="24589" y="22075"/>
                  </a:cubicBezTo>
                  <a:cubicBezTo>
                    <a:pt x="27037" y="19627"/>
                    <a:pt x="29020" y="19200"/>
                    <a:pt x="31449" y="19641"/>
                  </a:cubicBezTo>
                  <a:cubicBezTo>
                    <a:pt x="33878" y="20082"/>
                    <a:pt x="36854" y="21781"/>
                    <a:pt x="39638" y="24565"/>
                  </a:cubicBezTo>
                  <a:lnTo>
                    <a:pt x="44617" y="29600"/>
                  </a:lnTo>
                  <a:cubicBezTo>
                    <a:pt x="46008" y="30990"/>
                    <a:pt x="48262" y="30990"/>
                    <a:pt x="49652" y="29600"/>
                  </a:cubicBezTo>
                  <a:cubicBezTo>
                    <a:pt x="51042" y="28209"/>
                    <a:pt x="51042" y="25955"/>
                    <a:pt x="49652" y="24565"/>
                  </a:cubicBezTo>
                  <a:lnTo>
                    <a:pt x="44617" y="19586"/>
                  </a:lnTo>
                  <a:cubicBezTo>
                    <a:pt x="41159" y="16127"/>
                    <a:pt x="37187" y="13481"/>
                    <a:pt x="32722" y="12670"/>
                  </a:cubicBezTo>
                  <a:cubicBezTo>
                    <a:pt x="31605" y="12467"/>
                    <a:pt x="30489" y="12429"/>
                    <a:pt x="29347" y="12504"/>
                  </a:cubicBezTo>
                  <a:close/>
                </a:path>
              </a:pathLst>
            </a:custGeom>
            <a:grpFill/>
            <a:ln w="9525" cap="flat">
              <a:noFill/>
              <a:prstDash val="solid"/>
              <a:miter/>
            </a:ln>
          </p:spPr>
          <p:txBody>
            <a:bodyPr rtlCol="0" anchor="ctr"/>
            <a:lstStyle/>
            <a:p>
              <a:endParaRPr lang="en-US"/>
            </a:p>
          </p:txBody>
        </p:sp>
        <p:sp>
          <p:nvSpPr>
            <p:cNvPr id="690" name="Freeform: Shape 689">
              <a:extLst>
                <a:ext uri="{FF2B5EF4-FFF2-40B4-BE49-F238E27FC236}">
                  <a16:creationId xmlns:a16="http://schemas.microsoft.com/office/drawing/2014/main" id="{C644D6A5-C764-4475-B345-43544A00D0B9}"/>
                </a:ext>
              </a:extLst>
            </p:cNvPr>
            <p:cNvSpPr/>
            <p:nvPr/>
          </p:nvSpPr>
          <p:spPr>
            <a:xfrm>
              <a:off x="1849246" y="1087033"/>
              <a:ext cx="78476" cy="78421"/>
            </a:xfrm>
            <a:custGeom>
              <a:avLst/>
              <a:gdLst>
                <a:gd name="connsiteX0" fmla="*/ 40112 w 78476"/>
                <a:gd name="connsiteY0" fmla="*/ 0 h 78421"/>
                <a:gd name="connsiteX1" fmla="*/ 70154 w 78476"/>
                <a:gd name="connsiteY1" fmla="*/ 30042 h 78421"/>
                <a:gd name="connsiteX2" fmla="*/ 70154 w 78476"/>
                <a:gd name="connsiteY2" fmla="*/ 70099 h 78421"/>
                <a:gd name="connsiteX3" fmla="*/ 30042 w 78476"/>
                <a:gd name="connsiteY3" fmla="*/ 70099 h 78421"/>
                <a:gd name="connsiteX4" fmla="*/ 0 w 78476"/>
                <a:gd name="connsiteY4" fmla="*/ 40056 h 78421"/>
                <a:gd name="connsiteX5" fmla="*/ 40112 w 78476"/>
                <a:gd name="connsiteY5" fmla="*/ 0 h 7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76" h="78421">
                  <a:moveTo>
                    <a:pt x="40112" y="0"/>
                  </a:moveTo>
                  <a:lnTo>
                    <a:pt x="70154" y="30042"/>
                  </a:lnTo>
                  <a:cubicBezTo>
                    <a:pt x="81251" y="41139"/>
                    <a:pt x="81251" y="59002"/>
                    <a:pt x="70154" y="70099"/>
                  </a:cubicBezTo>
                  <a:cubicBezTo>
                    <a:pt x="59057" y="81196"/>
                    <a:pt x="41139" y="81196"/>
                    <a:pt x="30042" y="70099"/>
                  </a:cubicBezTo>
                  <a:lnTo>
                    <a:pt x="0" y="40056"/>
                  </a:lnTo>
                  <a:lnTo>
                    <a:pt x="40112" y="0"/>
                  </a:lnTo>
                  <a:close/>
                </a:path>
              </a:pathLst>
            </a:custGeom>
            <a:grpFill/>
            <a:ln w="9525" cap="flat">
              <a:noFill/>
              <a:prstDash val="solid"/>
              <a:miter/>
            </a:ln>
          </p:spPr>
          <p:txBody>
            <a:bodyPr rtlCol="0" anchor="ctr"/>
            <a:lstStyle/>
            <a:p>
              <a:endParaRPr lang="en-US"/>
            </a:p>
          </p:txBody>
        </p:sp>
        <p:sp>
          <p:nvSpPr>
            <p:cNvPr id="689" name="Freeform: Shape 688">
              <a:extLst>
                <a:ext uri="{FF2B5EF4-FFF2-40B4-BE49-F238E27FC236}">
                  <a16:creationId xmlns:a16="http://schemas.microsoft.com/office/drawing/2014/main" id="{50D0B1BA-5EE8-4E66-8188-DC4198668C2F}"/>
                </a:ext>
              </a:extLst>
            </p:cNvPr>
            <p:cNvSpPr/>
            <p:nvPr/>
          </p:nvSpPr>
          <p:spPr>
            <a:xfrm>
              <a:off x="1839337" y="1127541"/>
              <a:ext cx="48687" cy="48687"/>
            </a:xfrm>
            <a:custGeom>
              <a:avLst/>
              <a:gdLst>
                <a:gd name="connsiteX0" fmla="*/ 18590 w 48687"/>
                <a:gd name="connsiteY0" fmla="*/ 0 h 48687"/>
                <a:gd name="connsiteX1" fmla="*/ 48687 w 48687"/>
                <a:gd name="connsiteY1" fmla="*/ 30097 h 48687"/>
                <a:gd name="connsiteX2" fmla="*/ 42214 w 48687"/>
                <a:gd name="connsiteY2" fmla="*/ 48687 h 48687"/>
                <a:gd name="connsiteX3" fmla="*/ 0 w 48687"/>
                <a:gd name="connsiteY3" fmla="*/ 6473 h 48687"/>
                <a:gd name="connsiteX4" fmla="*/ 18590 w 48687"/>
                <a:gd name="connsiteY4" fmla="*/ 0 h 48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87" h="48687">
                  <a:moveTo>
                    <a:pt x="18590" y="0"/>
                  </a:moveTo>
                  <a:cubicBezTo>
                    <a:pt x="35212" y="0"/>
                    <a:pt x="48687" y="13475"/>
                    <a:pt x="48687" y="30097"/>
                  </a:cubicBezTo>
                  <a:cubicBezTo>
                    <a:pt x="48687" y="37127"/>
                    <a:pt x="46253" y="43565"/>
                    <a:pt x="42214" y="48687"/>
                  </a:cubicBezTo>
                  <a:lnTo>
                    <a:pt x="0" y="6473"/>
                  </a:lnTo>
                  <a:cubicBezTo>
                    <a:pt x="5123" y="2434"/>
                    <a:pt x="11560" y="0"/>
                    <a:pt x="18590" y="0"/>
                  </a:cubicBezTo>
                  <a:close/>
                </a:path>
              </a:pathLst>
            </a:custGeom>
            <a:solidFill>
              <a:schemeClr val="accent3">
                <a:lumMod val="75000"/>
              </a:schemeClr>
            </a:solidFill>
            <a:ln w="9525" cap="flat">
              <a:noFill/>
              <a:prstDash val="solid"/>
              <a:miter/>
            </a:ln>
          </p:spPr>
          <p:txBody>
            <a:bodyPr rtlCol="0" anchor="ctr"/>
            <a:lstStyle/>
            <a:p>
              <a:endParaRPr lang="en-US"/>
            </a:p>
          </p:txBody>
        </p:sp>
        <p:sp>
          <p:nvSpPr>
            <p:cNvPr id="688" name="Freeform: Shape 687">
              <a:extLst>
                <a:ext uri="{FF2B5EF4-FFF2-40B4-BE49-F238E27FC236}">
                  <a16:creationId xmlns:a16="http://schemas.microsoft.com/office/drawing/2014/main" id="{B011BEC5-A73E-4FED-B079-8A90D602E716}"/>
                </a:ext>
              </a:extLst>
            </p:cNvPr>
            <p:cNvSpPr/>
            <p:nvPr/>
          </p:nvSpPr>
          <p:spPr>
            <a:xfrm>
              <a:off x="1827829" y="1138993"/>
              <a:ext cx="48687" cy="48743"/>
            </a:xfrm>
            <a:custGeom>
              <a:avLst/>
              <a:gdLst>
                <a:gd name="connsiteX0" fmla="*/ 6473 w 48687"/>
                <a:gd name="connsiteY0" fmla="*/ 0 h 48743"/>
                <a:gd name="connsiteX1" fmla="*/ 48687 w 48687"/>
                <a:gd name="connsiteY1" fmla="*/ 42270 h 48743"/>
                <a:gd name="connsiteX2" fmla="*/ 30098 w 48687"/>
                <a:gd name="connsiteY2" fmla="*/ 48743 h 48743"/>
                <a:gd name="connsiteX3" fmla="*/ 0 w 48687"/>
                <a:gd name="connsiteY3" fmla="*/ 18645 h 48743"/>
                <a:gd name="connsiteX4" fmla="*/ 6473 w 48687"/>
                <a:gd name="connsiteY4" fmla="*/ 0 h 48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87" h="48743">
                  <a:moveTo>
                    <a:pt x="6473" y="0"/>
                  </a:moveTo>
                  <a:lnTo>
                    <a:pt x="48687" y="42270"/>
                  </a:lnTo>
                  <a:cubicBezTo>
                    <a:pt x="43564" y="46308"/>
                    <a:pt x="37127" y="48743"/>
                    <a:pt x="30098" y="48743"/>
                  </a:cubicBezTo>
                  <a:cubicBezTo>
                    <a:pt x="13475" y="48743"/>
                    <a:pt x="0" y="35268"/>
                    <a:pt x="0" y="18645"/>
                  </a:cubicBezTo>
                  <a:cubicBezTo>
                    <a:pt x="0" y="11600"/>
                    <a:pt x="2418" y="5129"/>
                    <a:pt x="6473" y="0"/>
                  </a:cubicBezTo>
                  <a:close/>
                </a:path>
              </a:pathLst>
            </a:custGeom>
            <a:grpFill/>
            <a:ln w="9525" cap="flat">
              <a:noFill/>
              <a:prstDash val="solid"/>
              <a:miter/>
            </a:ln>
          </p:spPr>
          <p:txBody>
            <a:bodyPr rtlCol="0" anchor="ctr"/>
            <a:lstStyle/>
            <a:p>
              <a:endParaRPr lang="en-US"/>
            </a:p>
          </p:txBody>
        </p:sp>
      </p:grpSp>
      <p:sp>
        <p:nvSpPr>
          <p:cNvPr id="696" name="Freeform 127">
            <a:extLst>
              <a:ext uri="{FF2B5EF4-FFF2-40B4-BE49-F238E27FC236}">
                <a16:creationId xmlns:a16="http://schemas.microsoft.com/office/drawing/2014/main" id="{2A739A90-068B-4ACF-9BEA-5CE64DED0DFC}"/>
              </a:ext>
            </a:extLst>
          </p:cNvPr>
          <p:cNvSpPr/>
          <p:nvPr/>
        </p:nvSpPr>
        <p:spPr bwMode="auto">
          <a:xfrm>
            <a:off x="1497231" y="1409256"/>
            <a:ext cx="77280" cy="141916"/>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A940"/>
          </a:solidFill>
          <a:ln w="9525" cap="flat" cmpd="sng" algn="ctr">
            <a:noFill/>
            <a:prstDash val="soli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nvGrpSpPr>
          <p:cNvPr id="697" name="Group 696">
            <a:extLst>
              <a:ext uri="{FF2B5EF4-FFF2-40B4-BE49-F238E27FC236}">
                <a16:creationId xmlns:a16="http://schemas.microsoft.com/office/drawing/2014/main" id="{69A83417-6F23-4159-8276-1574FBACE028}"/>
              </a:ext>
            </a:extLst>
          </p:cNvPr>
          <p:cNvGrpSpPr/>
          <p:nvPr/>
        </p:nvGrpSpPr>
        <p:grpSpPr>
          <a:xfrm>
            <a:off x="1357772" y="2052613"/>
            <a:ext cx="101997" cy="80980"/>
            <a:chOff x="-10280651" y="-1238250"/>
            <a:chExt cx="7650163" cy="6073775"/>
          </a:xfrm>
          <a:solidFill>
            <a:srgbClr val="107C10"/>
          </a:solidFill>
        </p:grpSpPr>
        <p:sp>
          <p:nvSpPr>
            <p:cNvPr id="698" name="Freeform 149">
              <a:extLst>
                <a:ext uri="{FF2B5EF4-FFF2-40B4-BE49-F238E27FC236}">
                  <a16:creationId xmlns:a16="http://schemas.microsoft.com/office/drawing/2014/main" id="{75DE4C13-14FB-4A68-B08B-1C366A0D79FD}"/>
                </a:ext>
              </a:extLst>
            </p:cNvPr>
            <p:cNvSpPr>
              <a:spLocks/>
            </p:cNvSpPr>
            <p:nvPr/>
          </p:nvSpPr>
          <p:spPr bwMode="auto">
            <a:xfrm>
              <a:off x="-8312151" y="-1238250"/>
              <a:ext cx="5681663" cy="4076700"/>
            </a:xfrm>
            <a:custGeom>
              <a:avLst/>
              <a:gdLst>
                <a:gd name="T0" fmla="*/ 762 w 1518"/>
                <a:gd name="T1" fmla="*/ 0 h 1090"/>
                <a:gd name="T2" fmla="*/ 1436 w 1518"/>
                <a:gd name="T3" fmla="*/ 0 h 1090"/>
                <a:gd name="T4" fmla="*/ 1473 w 1518"/>
                <a:gd name="T5" fmla="*/ 4 h 1090"/>
                <a:gd name="T6" fmla="*/ 1518 w 1518"/>
                <a:gd name="T7" fmla="*/ 60 h 1090"/>
                <a:gd name="T8" fmla="*/ 1518 w 1518"/>
                <a:gd name="T9" fmla="*/ 74 h 1090"/>
                <a:gd name="T10" fmla="*/ 1518 w 1518"/>
                <a:gd name="T11" fmla="*/ 1016 h 1090"/>
                <a:gd name="T12" fmla="*/ 1445 w 1518"/>
                <a:gd name="T13" fmla="*/ 1090 h 1090"/>
                <a:gd name="T14" fmla="*/ 821 w 1518"/>
                <a:gd name="T15" fmla="*/ 1090 h 1090"/>
                <a:gd name="T16" fmla="*/ 805 w 1518"/>
                <a:gd name="T17" fmla="*/ 1064 h 1090"/>
                <a:gd name="T18" fmla="*/ 834 w 1518"/>
                <a:gd name="T19" fmla="*/ 982 h 1090"/>
                <a:gd name="T20" fmla="*/ 870 w 1518"/>
                <a:gd name="T21" fmla="*/ 955 h 1090"/>
                <a:gd name="T22" fmla="*/ 1354 w 1518"/>
                <a:gd name="T23" fmla="*/ 956 h 1090"/>
                <a:gd name="T24" fmla="*/ 1384 w 1518"/>
                <a:gd name="T25" fmla="*/ 926 h 1090"/>
                <a:gd name="T26" fmla="*/ 1384 w 1518"/>
                <a:gd name="T27" fmla="*/ 165 h 1090"/>
                <a:gd name="T28" fmla="*/ 1356 w 1518"/>
                <a:gd name="T29" fmla="*/ 137 h 1090"/>
                <a:gd name="T30" fmla="*/ 165 w 1518"/>
                <a:gd name="T31" fmla="*/ 137 h 1090"/>
                <a:gd name="T32" fmla="*/ 138 w 1518"/>
                <a:gd name="T33" fmla="*/ 163 h 1090"/>
                <a:gd name="T34" fmla="*/ 138 w 1518"/>
                <a:gd name="T35" fmla="*/ 233 h 1090"/>
                <a:gd name="T36" fmla="*/ 122 w 1518"/>
                <a:gd name="T37" fmla="*/ 255 h 1090"/>
                <a:gd name="T38" fmla="*/ 19 w 1518"/>
                <a:gd name="T39" fmla="*/ 293 h 1090"/>
                <a:gd name="T40" fmla="*/ 1 w 1518"/>
                <a:gd name="T41" fmla="*/ 282 h 1090"/>
                <a:gd name="T42" fmla="*/ 2 w 1518"/>
                <a:gd name="T43" fmla="*/ 64 h 1090"/>
                <a:gd name="T44" fmla="*/ 76 w 1518"/>
                <a:gd name="T45" fmla="*/ 0 h 1090"/>
                <a:gd name="T46" fmla="*/ 402 w 1518"/>
                <a:gd name="T47" fmla="*/ 0 h 1090"/>
                <a:gd name="T48" fmla="*/ 762 w 1518"/>
                <a:gd name="T49"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8" h="1090">
                  <a:moveTo>
                    <a:pt x="762" y="0"/>
                  </a:moveTo>
                  <a:cubicBezTo>
                    <a:pt x="986" y="0"/>
                    <a:pt x="1211" y="0"/>
                    <a:pt x="1436" y="0"/>
                  </a:cubicBezTo>
                  <a:cubicBezTo>
                    <a:pt x="1448" y="0"/>
                    <a:pt x="1461" y="0"/>
                    <a:pt x="1473" y="4"/>
                  </a:cubicBezTo>
                  <a:cubicBezTo>
                    <a:pt x="1501" y="11"/>
                    <a:pt x="1517" y="32"/>
                    <a:pt x="1518" y="60"/>
                  </a:cubicBezTo>
                  <a:cubicBezTo>
                    <a:pt x="1518" y="65"/>
                    <a:pt x="1518" y="70"/>
                    <a:pt x="1518" y="74"/>
                  </a:cubicBezTo>
                  <a:cubicBezTo>
                    <a:pt x="1518" y="388"/>
                    <a:pt x="1518" y="702"/>
                    <a:pt x="1518" y="1016"/>
                  </a:cubicBezTo>
                  <a:cubicBezTo>
                    <a:pt x="1518" y="1069"/>
                    <a:pt x="1498" y="1090"/>
                    <a:pt x="1445" y="1090"/>
                  </a:cubicBezTo>
                  <a:cubicBezTo>
                    <a:pt x="1237" y="1090"/>
                    <a:pt x="1029" y="1090"/>
                    <a:pt x="821" y="1090"/>
                  </a:cubicBezTo>
                  <a:cubicBezTo>
                    <a:pt x="792" y="1090"/>
                    <a:pt x="793" y="1090"/>
                    <a:pt x="805" y="1064"/>
                  </a:cubicBezTo>
                  <a:cubicBezTo>
                    <a:pt x="817" y="1038"/>
                    <a:pt x="828" y="1010"/>
                    <a:pt x="834" y="982"/>
                  </a:cubicBezTo>
                  <a:cubicBezTo>
                    <a:pt x="839" y="960"/>
                    <a:pt x="850" y="955"/>
                    <a:pt x="870" y="955"/>
                  </a:cubicBezTo>
                  <a:cubicBezTo>
                    <a:pt x="1032" y="956"/>
                    <a:pt x="1193" y="956"/>
                    <a:pt x="1354" y="956"/>
                  </a:cubicBezTo>
                  <a:cubicBezTo>
                    <a:pt x="1384" y="956"/>
                    <a:pt x="1384" y="956"/>
                    <a:pt x="1384" y="926"/>
                  </a:cubicBezTo>
                  <a:cubicBezTo>
                    <a:pt x="1384" y="673"/>
                    <a:pt x="1384" y="419"/>
                    <a:pt x="1384" y="165"/>
                  </a:cubicBezTo>
                  <a:cubicBezTo>
                    <a:pt x="1384" y="137"/>
                    <a:pt x="1384" y="137"/>
                    <a:pt x="1356" y="137"/>
                  </a:cubicBezTo>
                  <a:cubicBezTo>
                    <a:pt x="959" y="137"/>
                    <a:pt x="562" y="137"/>
                    <a:pt x="165" y="137"/>
                  </a:cubicBezTo>
                  <a:cubicBezTo>
                    <a:pt x="138" y="137"/>
                    <a:pt x="138" y="137"/>
                    <a:pt x="138" y="163"/>
                  </a:cubicBezTo>
                  <a:cubicBezTo>
                    <a:pt x="138" y="187"/>
                    <a:pt x="137" y="210"/>
                    <a:pt x="138" y="233"/>
                  </a:cubicBezTo>
                  <a:cubicBezTo>
                    <a:pt x="138" y="245"/>
                    <a:pt x="134" y="252"/>
                    <a:pt x="122" y="255"/>
                  </a:cubicBezTo>
                  <a:cubicBezTo>
                    <a:pt x="86" y="264"/>
                    <a:pt x="52" y="277"/>
                    <a:pt x="19" y="293"/>
                  </a:cubicBezTo>
                  <a:cubicBezTo>
                    <a:pt x="7" y="298"/>
                    <a:pt x="1" y="295"/>
                    <a:pt x="1" y="282"/>
                  </a:cubicBezTo>
                  <a:cubicBezTo>
                    <a:pt x="1" y="209"/>
                    <a:pt x="0" y="136"/>
                    <a:pt x="2" y="64"/>
                  </a:cubicBezTo>
                  <a:cubicBezTo>
                    <a:pt x="4" y="21"/>
                    <a:pt x="30" y="0"/>
                    <a:pt x="76" y="0"/>
                  </a:cubicBezTo>
                  <a:cubicBezTo>
                    <a:pt x="184" y="0"/>
                    <a:pt x="293" y="0"/>
                    <a:pt x="402" y="0"/>
                  </a:cubicBezTo>
                  <a:cubicBezTo>
                    <a:pt x="522" y="0"/>
                    <a:pt x="642" y="0"/>
                    <a:pt x="7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99" name="Freeform 150">
              <a:extLst>
                <a:ext uri="{FF2B5EF4-FFF2-40B4-BE49-F238E27FC236}">
                  <a16:creationId xmlns:a16="http://schemas.microsoft.com/office/drawing/2014/main" id="{6F256C35-39C2-449B-8B85-20FA4820F7A4}"/>
                </a:ext>
              </a:extLst>
            </p:cNvPr>
            <p:cNvSpPr>
              <a:spLocks noEditPoints="1"/>
            </p:cNvSpPr>
            <p:nvPr/>
          </p:nvSpPr>
          <p:spPr bwMode="auto">
            <a:xfrm>
              <a:off x="-10280651" y="-187325"/>
              <a:ext cx="4940300" cy="5022850"/>
            </a:xfrm>
            <a:custGeom>
              <a:avLst/>
              <a:gdLst>
                <a:gd name="T0" fmla="*/ 1320 w 1320"/>
                <a:gd name="T1" fmla="*/ 543 h 1343"/>
                <a:gd name="T2" fmla="*/ 865 w 1320"/>
                <a:gd name="T3" fmla="*/ 1061 h 1343"/>
                <a:gd name="T4" fmla="*/ 481 w 1320"/>
                <a:gd name="T5" fmla="*/ 960 h 1343"/>
                <a:gd name="T6" fmla="*/ 446 w 1320"/>
                <a:gd name="T7" fmla="*/ 963 h 1343"/>
                <a:gd name="T8" fmla="*/ 429 w 1320"/>
                <a:gd name="T9" fmla="*/ 980 h 1343"/>
                <a:gd name="T10" fmla="*/ 410 w 1320"/>
                <a:gd name="T11" fmla="*/ 1018 h 1343"/>
                <a:gd name="T12" fmla="*/ 384 w 1320"/>
                <a:gd name="T13" fmla="*/ 1073 h 1343"/>
                <a:gd name="T14" fmla="*/ 148 w 1320"/>
                <a:gd name="T15" fmla="*/ 1309 h 1343"/>
                <a:gd name="T16" fmla="*/ 51 w 1320"/>
                <a:gd name="T17" fmla="*/ 1328 h 1343"/>
                <a:gd name="T18" fmla="*/ 2 w 1320"/>
                <a:gd name="T19" fmla="*/ 1247 h 1343"/>
                <a:gd name="T20" fmla="*/ 26 w 1320"/>
                <a:gd name="T21" fmla="*/ 1193 h 1343"/>
                <a:gd name="T22" fmla="*/ 268 w 1320"/>
                <a:gd name="T23" fmla="*/ 952 h 1343"/>
                <a:gd name="T24" fmla="*/ 319 w 1320"/>
                <a:gd name="T25" fmla="*/ 928 h 1343"/>
                <a:gd name="T26" fmla="*/ 354 w 1320"/>
                <a:gd name="T27" fmla="*/ 911 h 1343"/>
                <a:gd name="T28" fmla="*/ 375 w 1320"/>
                <a:gd name="T29" fmla="*/ 891 h 1343"/>
                <a:gd name="T30" fmla="*/ 380 w 1320"/>
                <a:gd name="T31" fmla="*/ 859 h 1343"/>
                <a:gd name="T32" fmla="*/ 273 w 1320"/>
                <a:gd name="T33" fmla="*/ 567 h 1343"/>
                <a:gd name="T34" fmla="*/ 725 w 1320"/>
                <a:gd name="T35" fmla="*/ 22 h 1343"/>
                <a:gd name="T36" fmla="*/ 1168 w 1320"/>
                <a:gd name="T37" fmla="*/ 172 h 1343"/>
                <a:gd name="T38" fmla="*/ 1320 w 1320"/>
                <a:gd name="T39" fmla="*/ 543 h 1343"/>
                <a:gd name="T40" fmla="*/ 797 w 1320"/>
                <a:gd name="T41" fmla="*/ 119 h 1343"/>
                <a:gd name="T42" fmla="*/ 373 w 1320"/>
                <a:gd name="T43" fmla="*/ 541 h 1343"/>
                <a:gd name="T44" fmla="*/ 793 w 1320"/>
                <a:gd name="T45" fmla="*/ 964 h 1343"/>
                <a:gd name="T46" fmla="*/ 1219 w 1320"/>
                <a:gd name="T47" fmla="*/ 540 h 1343"/>
                <a:gd name="T48" fmla="*/ 797 w 1320"/>
                <a:gd name="T49" fmla="*/ 119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20" h="1343">
                  <a:moveTo>
                    <a:pt x="1320" y="543"/>
                  </a:moveTo>
                  <a:cubicBezTo>
                    <a:pt x="1320" y="806"/>
                    <a:pt x="1127" y="1026"/>
                    <a:pt x="865" y="1061"/>
                  </a:cubicBezTo>
                  <a:cubicBezTo>
                    <a:pt x="724" y="1080"/>
                    <a:pt x="596" y="1045"/>
                    <a:pt x="481" y="960"/>
                  </a:cubicBezTo>
                  <a:cubicBezTo>
                    <a:pt x="467" y="949"/>
                    <a:pt x="457" y="944"/>
                    <a:pt x="446" y="963"/>
                  </a:cubicBezTo>
                  <a:cubicBezTo>
                    <a:pt x="442" y="970"/>
                    <a:pt x="435" y="975"/>
                    <a:pt x="429" y="980"/>
                  </a:cubicBezTo>
                  <a:cubicBezTo>
                    <a:pt x="418" y="990"/>
                    <a:pt x="411" y="1001"/>
                    <a:pt x="410" y="1018"/>
                  </a:cubicBezTo>
                  <a:cubicBezTo>
                    <a:pt x="409" y="1039"/>
                    <a:pt x="399" y="1058"/>
                    <a:pt x="384" y="1073"/>
                  </a:cubicBezTo>
                  <a:cubicBezTo>
                    <a:pt x="306" y="1151"/>
                    <a:pt x="227" y="1230"/>
                    <a:pt x="148" y="1309"/>
                  </a:cubicBezTo>
                  <a:cubicBezTo>
                    <a:pt x="119" y="1338"/>
                    <a:pt x="83" y="1343"/>
                    <a:pt x="51" y="1328"/>
                  </a:cubicBezTo>
                  <a:cubicBezTo>
                    <a:pt x="20" y="1313"/>
                    <a:pt x="0" y="1281"/>
                    <a:pt x="2" y="1247"/>
                  </a:cubicBezTo>
                  <a:cubicBezTo>
                    <a:pt x="3" y="1226"/>
                    <a:pt x="11" y="1208"/>
                    <a:pt x="26" y="1193"/>
                  </a:cubicBezTo>
                  <a:cubicBezTo>
                    <a:pt x="106" y="1113"/>
                    <a:pt x="187" y="1032"/>
                    <a:pt x="268" y="952"/>
                  </a:cubicBezTo>
                  <a:cubicBezTo>
                    <a:pt x="282" y="937"/>
                    <a:pt x="299" y="928"/>
                    <a:pt x="319" y="928"/>
                  </a:cubicBezTo>
                  <a:cubicBezTo>
                    <a:pt x="334" y="927"/>
                    <a:pt x="344" y="922"/>
                    <a:pt x="354" y="911"/>
                  </a:cubicBezTo>
                  <a:cubicBezTo>
                    <a:pt x="360" y="904"/>
                    <a:pt x="367" y="895"/>
                    <a:pt x="375" y="891"/>
                  </a:cubicBezTo>
                  <a:cubicBezTo>
                    <a:pt x="392" y="881"/>
                    <a:pt x="391" y="873"/>
                    <a:pt x="380" y="859"/>
                  </a:cubicBezTo>
                  <a:cubicBezTo>
                    <a:pt x="314" y="772"/>
                    <a:pt x="279" y="675"/>
                    <a:pt x="273" y="567"/>
                  </a:cubicBezTo>
                  <a:cubicBezTo>
                    <a:pt x="258" y="296"/>
                    <a:pt x="459" y="56"/>
                    <a:pt x="725" y="22"/>
                  </a:cubicBezTo>
                  <a:cubicBezTo>
                    <a:pt x="897" y="0"/>
                    <a:pt x="1045" y="51"/>
                    <a:pt x="1168" y="172"/>
                  </a:cubicBezTo>
                  <a:cubicBezTo>
                    <a:pt x="1269" y="271"/>
                    <a:pt x="1320" y="402"/>
                    <a:pt x="1320" y="543"/>
                  </a:cubicBezTo>
                  <a:close/>
                  <a:moveTo>
                    <a:pt x="797" y="119"/>
                  </a:moveTo>
                  <a:cubicBezTo>
                    <a:pt x="574" y="116"/>
                    <a:pt x="373" y="295"/>
                    <a:pt x="373" y="541"/>
                  </a:cubicBezTo>
                  <a:cubicBezTo>
                    <a:pt x="374" y="782"/>
                    <a:pt x="568" y="964"/>
                    <a:pt x="793" y="964"/>
                  </a:cubicBezTo>
                  <a:cubicBezTo>
                    <a:pt x="1028" y="963"/>
                    <a:pt x="1219" y="775"/>
                    <a:pt x="1219" y="540"/>
                  </a:cubicBezTo>
                  <a:cubicBezTo>
                    <a:pt x="1219" y="306"/>
                    <a:pt x="1033" y="120"/>
                    <a:pt x="797"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700" name="Freeform 151">
              <a:extLst>
                <a:ext uri="{FF2B5EF4-FFF2-40B4-BE49-F238E27FC236}">
                  <a16:creationId xmlns:a16="http://schemas.microsoft.com/office/drawing/2014/main" id="{9743EEF3-0F32-4059-A5B5-6296CCFF7AFB}"/>
                </a:ext>
              </a:extLst>
            </p:cNvPr>
            <p:cNvSpPr>
              <a:spLocks/>
            </p:cNvSpPr>
            <p:nvPr/>
          </p:nvSpPr>
          <p:spPr bwMode="auto">
            <a:xfrm>
              <a:off x="-5688013" y="-269875"/>
              <a:ext cx="2216150" cy="1544638"/>
            </a:xfrm>
            <a:custGeom>
              <a:avLst/>
              <a:gdLst>
                <a:gd name="T0" fmla="*/ 122 w 592"/>
                <a:gd name="T1" fmla="*/ 116 h 413"/>
                <a:gd name="T2" fmla="*/ 90 w 592"/>
                <a:gd name="T3" fmla="*/ 162 h 413"/>
                <a:gd name="T4" fmla="*/ 46 w 592"/>
                <a:gd name="T5" fmla="*/ 229 h 413"/>
                <a:gd name="T6" fmla="*/ 25 w 592"/>
                <a:gd name="T7" fmla="*/ 230 h 413"/>
                <a:gd name="T8" fmla="*/ 8 w 592"/>
                <a:gd name="T9" fmla="*/ 208 h 413"/>
                <a:gd name="T10" fmla="*/ 6 w 592"/>
                <a:gd name="T11" fmla="*/ 185 h 413"/>
                <a:gd name="T12" fmla="*/ 118 w 592"/>
                <a:gd name="T13" fmla="*/ 17 h 413"/>
                <a:gd name="T14" fmla="*/ 139 w 592"/>
                <a:gd name="T15" fmla="*/ 21 h 413"/>
                <a:gd name="T16" fmla="*/ 273 w 592"/>
                <a:gd name="T17" fmla="*/ 289 h 413"/>
                <a:gd name="T18" fmla="*/ 311 w 592"/>
                <a:gd name="T19" fmla="*/ 295 h 413"/>
                <a:gd name="T20" fmla="*/ 427 w 592"/>
                <a:gd name="T21" fmla="*/ 179 h 413"/>
                <a:gd name="T22" fmla="*/ 452 w 592"/>
                <a:gd name="T23" fmla="*/ 183 h 413"/>
                <a:gd name="T24" fmla="*/ 517 w 592"/>
                <a:gd name="T25" fmla="*/ 316 h 413"/>
                <a:gd name="T26" fmla="*/ 553 w 592"/>
                <a:gd name="T27" fmla="*/ 337 h 413"/>
                <a:gd name="T28" fmla="*/ 575 w 592"/>
                <a:gd name="T29" fmla="*/ 337 h 413"/>
                <a:gd name="T30" fmla="*/ 589 w 592"/>
                <a:gd name="T31" fmla="*/ 353 h 413"/>
                <a:gd name="T32" fmla="*/ 589 w 592"/>
                <a:gd name="T33" fmla="*/ 355 h 413"/>
                <a:gd name="T34" fmla="*/ 552 w 592"/>
                <a:gd name="T35" fmla="*/ 396 h 413"/>
                <a:gd name="T36" fmla="*/ 467 w 592"/>
                <a:gd name="T37" fmla="*/ 343 h 413"/>
                <a:gd name="T38" fmla="*/ 435 w 592"/>
                <a:gd name="T39" fmla="*/ 277 h 413"/>
                <a:gd name="T40" fmla="*/ 414 w 592"/>
                <a:gd name="T41" fmla="*/ 274 h 413"/>
                <a:gd name="T42" fmla="*/ 288 w 592"/>
                <a:gd name="T43" fmla="*/ 400 h 413"/>
                <a:gd name="T44" fmla="*/ 262 w 592"/>
                <a:gd name="T45" fmla="*/ 395 h 413"/>
                <a:gd name="T46" fmla="*/ 133 w 592"/>
                <a:gd name="T47" fmla="*/ 138 h 413"/>
                <a:gd name="T48" fmla="*/ 122 w 592"/>
                <a:gd name="T49" fmla="*/ 11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2" h="413">
                  <a:moveTo>
                    <a:pt x="122" y="116"/>
                  </a:moveTo>
                  <a:cubicBezTo>
                    <a:pt x="110" y="133"/>
                    <a:pt x="100" y="148"/>
                    <a:pt x="90" y="162"/>
                  </a:cubicBezTo>
                  <a:cubicBezTo>
                    <a:pt x="76" y="184"/>
                    <a:pt x="61" y="206"/>
                    <a:pt x="46" y="229"/>
                  </a:cubicBezTo>
                  <a:cubicBezTo>
                    <a:pt x="39" y="241"/>
                    <a:pt x="33" y="240"/>
                    <a:pt x="25" y="230"/>
                  </a:cubicBezTo>
                  <a:cubicBezTo>
                    <a:pt x="20" y="222"/>
                    <a:pt x="14" y="215"/>
                    <a:pt x="8" y="208"/>
                  </a:cubicBezTo>
                  <a:cubicBezTo>
                    <a:pt x="1" y="200"/>
                    <a:pt x="0" y="194"/>
                    <a:pt x="6" y="185"/>
                  </a:cubicBezTo>
                  <a:cubicBezTo>
                    <a:pt x="44" y="129"/>
                    <a:pt x="81" y="73"/>
                    <a:pt x="118" y="17"/>
                  </a:cubicBezTo>
                  <a:cubicBezTo>
                    <a:pt x="130" y="0"/>
                    <a:pt x="134" y="11"/>
                    <a:pt x="139" y="21"/>
                  </a:cubicBezTo>
                  <a:cubicBezTo>
                    <a:pt x="184" y="111"/>
                    <a:pt x="228" y="200"/>
                    <a:pt x="273" y="289"/>
                  </a:cubicBezTo>
                  <a:cubicBezTo>
                    <a:pt x="289" y="322"/>
                    <a:pt x="285" y="321"/>
                    <a:pt x="311" y="295"/>
                  </a:cubicBezTo>
                  <a:cubicBezTo>
                    <a:pt x="350" y="256"/>
                    <a:pt x="389" y="218"/>
                    <a:pt x="427" y="179"/>
                  </a:cubicBezTo>
                  <a:cubicBezTo>
                    <a:pt x="440" y="166"/>
                    <a:pt x="445" y="168"/>
                    <a:pt x="452" y="183"/>
                  </a:cubicBezTo>
                  <a:cubicBezTo>
                    <a:pt x="473" y="228"/>
                    <a:pt x="497" y="271"/>
                    <a:pt x="517" y="316"/>
                  </a:cubicBezTo>
                  <a:cubicBezTo>
                    <a:pt x="525" y="332"/>
                    <a:pt x="535" y="340"/>
                    <a:pt x="553" y="337"/>
                  </a:cubicBezTo>
                  <a:cubicBezTo>
                    <a:pt x="560" y="336"/>
                    <a:pt x="567" y="337"/>
                    <a:pt x="575" y="337"/>
                  </a:cubicBezTo>
                  <a:cubicBezTo>
                    <a:pt x="585" y="338"/>
                    <a:pt x="589" y="343"/>
                    <a:pt x="589" y="353"/>
                  </a:cubicBezTo>
                  <a:cubicBezTo>
                    <a:pt x="589" y="353"/>
                    <a:pt x="589" y="354"/>
                    <a:pt x="589" y="355"/>
                  </a:cubicBezTo>
                  <a:cubicBezTo>
                    <a:pt x="592" y="394"/>
                    <a:pt x="591" y="391"/>
                    <a:pt x="552" y="396"/>
                  </a:cubicBezTo>
                  <a:cubicBezTo>
                    <a:pt x="507" y="401"/>
                    <a:pt x="481" y="386"/>
                    <a:pt x="467" y="343"/>
                  </a:cubicBezTo>
                  <a:cubicBezTo>
                    <a:pt x="460" y="320"/>
                    <a:pt x="446" y="299"/>
                    <a:pt x="435" y="277"/>
                  </a:cubicBezTo>
                  <a:cubicBezTo>
                    <a:pt x="429" y="263"/>
                    <a:pt x="423" y="264"/>
                    <a:pt x="414" y="274"/>
                  </a:cubicBezTo>
                  <a:cubicBezTo>
                    <a:pt x="372" y="316"/>
                    <a:pt x="330" y="357"/>
                    <a:pt x="288" y="400"/>
                  </a:cubicBezTo>
                  <a:cubicBezTo>
                    <a:pt x="275" y="413"/>
                    <a:pt x="270" y="411"/>
                    <a:pt x="262" y="395"/>
                  </a:cubicBezTo>
                  <a:cubicBezTo>
                    <a:pt x="220" y="309"/>
                    <a:pt x="176" y="223"/>
                    <a:pt x="133" y="138"/>
                  </a:cubicBezTo>
                  <a:cubicBezTo>
                    <a:pt x="130" y="131"/>
                    <a:pt x="127" y="125"/>
                    <a:pt x="122"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701" name="Freeform 152">
              <a:extLst>
                <a:ext uri="{FF2B5EF4-FFF2-40B4-BE49-F238E27FC236}">
                  <a16:creationId xmlns:a16="http://schemas.microsoft.com/office/drawing/2014/main" id="{CA81EBE1-AF98-40D3-B3CF-B658E97C1284}"/>
                </a:ext>
              </a:extLst>
            </p:cNvPr>
            <p:cNvSpPr>
              <a:spLocks/>
            </p:cNvSpPr>
            <p:nvPr/>
          </p:nvSpPr>
          <p:spPr bwMode="auto">
            <a:xfrm>
              <a:off x="-8723313" y="952500"/>
              <a:ext cx="2743200" cy="1803400"/>
            </a:xfrm>
            <a:custGeom>
              <a:avLst/>
              <a:gdLst>
                <a:gd name="T0" fmla="*/ 60 w 733"/>
                <a:gd name="T1" fmla="*/ 262 h 482"/>
                <a:gd name="T2" fmla="*/ 148 w 733"/>
                <a:gd name="T3" fmla="*/ 216 h 482"/>
                <a:gd name="T4" fmla="*/ 259 w 733"/>
                <a:gd name="T5" fmla="*/ 44 h 482"/>
                <a:gd name="T6" fmla="*/ 291 w 733"/>
                <a:gd name="T7" fmla="*/ 43 h 482"/>
                <a:gd name="T8" fmla="*/ 469 w 733"/>
                <a:gd name="T9" fmla="*/ 289 h 482"/>
                <a:gd name="T10" fmla="*/ 496 w 733"/>
                <a:gd name="T11" fmla="*/ 288 h 482"/>
                <a:gd name="T12" fmla="*/ 666 w 733"/>
                <a:gd name="T13" fmla="*/ 19 h 482"/>
                <a:gd name="T14" fmla="*/ 693 w 733"/>
                <a:gd name="T15" fmla="*/ 18 h 482"/>
                <a:gd name="T16" fmla="*/ 729 w 733"/>
                <a:gd name="T17" fmla="*/ 83 h 482"/>
                <a:gd name="T18" fmla="*/ 726 w 733"/>
                <a:gd name="T19" fmla="*/ 109 h 482"/>
                <a:gd name="T20" fmla="*/ 500 w 733"/>
                <a:gd name="T21" fmla="*/ 465 h 482"/>
                <a:gd name="T22" fmla="*/ 474 w 733"/>
                <a:gd name="T23" fmla="*/ 464 h 482"/>
                <a:gd name="T24" fmla="*/ 294 w 733"/>
                <a:gd name="T25" fmla="*/ 207 h 482"/>
                <a:gd name="T26" fmla="*/ 265 w 733"/>
                <a:gd name="T27" fmla="*/ 206 h 482"/>
                <a:gd name="T28" fmla="*/ 175 w 733"/>
                <a:gd name="T29" fmla="*/ 341 h 482"/>
                <a:gd name="T30" fmla="*/ 143 w 733"/>
                <a:gd name="T31" fmla="*/ 359 h 482"/>
                <a:gd name="T32" fmla="*/ 43 w 733"/>
                <a:gd name="T33" fmla="*/ 359 h 482"/>
                <a:gd name="T34" fmla="*/ 17 w 733"/>
                <a:gd name="T35" fmla="*/ 340 h 482"/>
                <a:gd name="T36" fmla="*/ 1 w 733"/>
                <a:gd name="T37" fmla="*/ 278 h 482"/>
                <a:gd name="T38" fmla="*/ 16 w 733"/>
                <a:gd name="T39" fmla="*/ 262 h 482"/>
                <a:gd name="T40" fmla="*/ 60 w 733"/>
                <a:gd name="T41" fmla="*/ 26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3" h="482">
                  <a:moveTo>
                    <a:pt x="60" y="262"/>
                  </a:moveTo>
                  <a:cubicBezTo>
                    <a:pt x="104" y="273"/>
                    <a:pt x="127" y="251"/>
                    <a:pt x="148" y="216"/>
                  </a:cubicBezTo>
                  <a:cubicBezTo>
                    <a:pt x="182" y="157"/>
                    <a:pt x="221" y="101"/>
                    <a:pt x="259" y="44"/>
                  </a:cubicBezTo>
                  <a:cubicBezTo>
                    <a:pt x="274" y="20"/>
                    <a:pt x="275" y="20"/>
                    <a:pt x="291" y="43"/>
                  </a:cubicBezTo>
                  <a:cubicBezTo>
                    <a:pt x="350" y="125"/>
                    <a:pt x="409" y="207"/>
                    <a:pt x="469" y="289"/>
                  </a:cubicBezTo>
                  <a:cubicBezTo>
                    <a:pt x="483" y="309"/>
                    <a:pt x="483" y="309"/>
                    <a:pt x="496" y="288"/>
                  </a:cubicBezTo>
                  <a:cubicBezTo>
                    <a:pt x="553" y="198"/>
                    <a:pt x="609" y="109"/>
                    <a:pt x="666" y="19"/>
                  </a:cubicBezTo>
                  <a:cubicBezTo>
                    <a:pt x="678" y="0"/>
                    <a:pt x="680" y="0"/>
                    <a:pt x="693" y="18"/>
                  </a:cubicBezTo>
                  <a:cubicBezTo>
                    <a:pt x="707" y="39"/>
                    <a:pt x="719" y="60"/>
                    <a:pt x="729" y="83"/>
                  </a:cubicBezTo>
                  <a:cubicBezTo>
                    <a:pt x="733" y="92"/>
                    <a:pt x="732" y="100"/>
                    <a:pt x="726" y="109"/>
                  </a:cubicBezTo>
                  <a:cubicBezTo>
                    <a:pt x="651" y="227"/>
                    <a:pt x="575" y="346"/>
                    <a:pt x="500" y="465"/>
                  </a:cubicBezTo>
                  <a:cubicBezTo>
                    <a:pt x="489" y="482"/>
                    <a:pt x="487" y="482"/>
                    <a:pt x="474" y="464"/>
                  </a:cubicBezTo>
                  <a:cubicBezTo>
                    <a:pt x="414" y="378"/>
                    <a:pt x="354" y="292"/>
                    <a:pt x="294" y="207"/>
                  </a:cubicBezTo>
                  <a:cubicBezTo>
                    <a:pt x="279" y="186"/>
                    <a:pt x="279" y="186"/>
                    <a:pt x="265" y="206"/>
                  </a:cubicBezTo>
                  <a:cubicBezTo>
                    <a:pt x="235" y="251"/>
                    <a:pt x="205" y="296"/>
                    <a:pt x="175" y="341"/>
                  </a:cubicBezTo>
                  <a:cubicBezTo>
                    <a:pt x="167" y="354"/>
                    <a:pt x="158" y="360"/>
                    <a:pt x="143" y="359"/>
                  </a:cubicBezTo>
                  <a:cubicBezTo>
                    <a:pt x="109" y="358"/>
                    <a:pt x="76" y="358"/>
                    <a:pt x="43" y="359"/>
                  </a:cubicBezTo>
                  <a:cubicBezTo>
                    <a:pt x="28" y="359"/>
                    <a:pt x="21" y="354"/>
                    <a:pt x="17" y="340"/>
                  </a:cubicBezTo>
                  <a:cubicBezTo>
                    <a:pt x="11" y="320"/>
                    <a:pt x="4" y="300"/>
                    <a:pt x="1" y="278"/>
                  </a:cubicBezTo>
                  <a:cubicBezTo>
                    <a:pt x="0" y="266"/>
                    <a:pt x="4" y="261"/>
                    <a:pt x="16" y="262"/>
                  </a:cubicBezTo>
                  <a:cubicBezTo>
                    <a:pt x="31" y="262"/>
                    <a:pt x="46" y="262"/>
                    <a:pt x="60" y="2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grpSp>
      <p:sp>
        <p:nvSpPr>
          <p:cNvPr id="702" name="Oval 2">
            <a:extLst>
              <a:ext uri="{FF2B5EF4-FFF2-40B4-BE49-F238E27FC236}">
                <a16:creationId xmlns:a16="http://schemas.microsoft.com/office/drawing/2014/main" id="{E94D8D24-4A81-42F4-B208-D54F578F2809}"/>
              </a:ext>
            </a:extLst>
          </p:cNvPr>
          <p:cNvSpPr/>
          <p:nvPr/>
        </p:nvSpPr>
        <p:spPr>
          <a:xfrm>
            <a:off x="2052755" y="1402374"/>
            <a:ext cx="66001" cy="63182"/>
          </a:xfrm>
          <a:custGeom>
            <a:avLst/>
            <a:gdLst/>
            <a:ahLst/>
            <a:cxnLst/>
            <a:rect l="l" t="t" r="r" b="b"/>
            <a:pathLst>
              <a:path w="1016264" h="972856">
                <a:moveTo>
                  <a:pt x="134879" y="817285"/>
                </a:moveTo>
                <a:cubicBezTo>
                  <a:pt x="102427" y="817285"/>
                  <a:pt x="76120" y="843592"/>
                  <a:pt x="76120" y="876044"/>
                </a:cubicBezTo>
                <a:cubicBezTo>
                  <a:pt x="76120" y="908496"/>
                  <a:pt x="102427" y="934803"/>
                  <a:pt x="134879" y="934803"/>
                </a:cubicBezTo>
                <a:cubicBezTo>
                  <a:pt x="167331" y="934803"/>
                  <a:pt x="193638" y="908496"/>
                  <a:pt x="193638" y="876044"/>
                </a:cubicBezTo>
                <a:cubicBezTo>
                  <a:pt x="193638" y="843592"/>
                  <a:pt x="167331" y="817285"/>
                  <a:pt x="134879" y="817285"/>
                </a:cubicBezTo>
                <a:close/>
                <a:moveTo>
                  <a:pt x="330279" y="497264"/>
                </a:moveTo>
                <a:lnTo>
                  <a:pt x="445265" y="611789"/>
                </a:lnTo>
                <a:cubicBezTo>
                  <a:pt x="429724" y="655979"/>
                  <a:pt x="431139" y="704341"/>
                  <a:pt x="447784" y="748318"/>
                </a:cubicBezTo>
                <a:lnTo>
                  <a:pt x="228798" y="967304"/>
                </a:lnTo>
                <a:cubicBezTo>
                  <a:pt x="177911" y="1018191"/>
                  <a:pt x="95405" y="1018191"/>
                  <a:pt x="44518" y="967304"/>
                </a:cubicBezTo>
                <a:lnTo>
                  <a:pt x="44519" y="967304"/>
                </a:lnTo>
                <a:lnTo>
                  <a:pt x="44518" y="967304"/>
                </a:lnTo>
                <a:lnTo>
                  <a:pt x="44518" y="967304"/>
                </a:lnTo>
                <a:cubicBezTo>
                  <a:pt x="-6369" y="916417"/>
                  <a:pt x="-6369" y="833911"/>
                  <a:pt x="44519" y="783024"/>
                </a:cubicBezTo>
                <a:close/>
                <a:moveTo>
                  <a:pt x="58759" y="26709"/>
                </a:moveTo>
                <a:lnTo>
                  <a:pt x="223018" y="126867"/>
                </a:lnTo>
                <a:lnTo>
                  <a:pt x="255068" y="220347"/>
                </a:lnTo>
                <a:lnTo>
                  <a:pt x="254364" y="221174"/>
                </a:lnTo>
                <a:lnTo>
                  <a:pt x="591085" y="553957"/>
                </a:lnTo>
                <a:cubicBezTo>
                  <a:pt x="639289" y="532384"/>
                  <a:pt x="697786" y="541541"/>
                  <a:pt x="737374" y="581129"/>
                </a:cubicBezTo>
                <a:lnTo>
                  <a:pt x="942601" y="786356"/>
                </a:lnTo>
                <a:cubicBezTo>
                  <a:pt x="994102" y="837856"/>
                  <a:pt x="994102" y="921356"/>
                  <a:pt x="942601" y="972856"/>
                </a:cubicBezTo>
                <a:cubicBezTo>
                  <a:pt x="891101" y="1024357"/>
                  <a:pt x="807601" y="1024357"/>
                  <a:pt x="756101" y="972856"/>
                </a:cubicBezTo>
                <a:lnTo>
                  <a:pt x="550874" y="767629"/>
                </a:lnTo>
                <a:cubicBezTo>
                  <a:pt x="508105" y="724860"/>
                  <a:pt x="500854" y="660021"/>
                  <a:pt x="529638" y="610059"/>
                </a:cubicBezTo>
                <a:lnTo>
                  <a:pt x="197507" y="281813"/>
                </a:lnTo>
                <a:lnTo>
                  <a:pt x="112176" y="255068"/>
                </a:lnTo>
                <a:lnTo>
                  <a:pt x="0" y="84133"/>
                </a:lnTo>
                <a:close/>
                <a:moveTo>
                  <a:pt x="773215" y="0"/>
                </a:moveTo>
                <a:cubicBezTo>
                  <a:pt x="800938" y="0"/>
                  <a:pt x="827577" y="4591"/>
                  <a:pt x="852055" y="14050"/>
                </a:cubicBezTo>
                <a:lnTo>
                  <a:pt x="725340" y="145397"/>
                </a:lnTo>
                <a:cubicBezTo>
                  <a:pt x="687446" y="184676"/>
                  <a:pt x="688568" y="247237"/>
                  <a:pt x="727848" y="285130"/>
                </a:cubicBezTo>
                <a:cubicBezTo>
                  <a:pt x="767126" y="323024"/>
                  <a:pt x="829687" y="321901"/>
                  <a:pt x="867580" y="282622"/>
                </a:cubicBezTo>
                <a:lnTo>
                  <a:pt x="997517" y="147937"/>
                </a:lnTo>
                <a:cubicBezTo>
                  <a:pt x="1009632" y="176361"/>
                  <a:pt x="1016264" y="207604"/>
                  <a:pt x="1016264" y="240378"/>
                </a:cubicBezTo>
                <a:cubicBezTo>
                  <a:pt x="1016264" y="373135"/>
                  <a:pt x="907448" y="480756"/>
                  <a:pt x="773215" y="480756"/>
                </a:cubicBezTo>
                <a:cubicBezTo>
                  <a:pt x="753961" y="480756"/>
                  <a:pt x="735229" y="478542"/>
                  <a:pt x="717487" y="473486"/>
                </a:cubicBezTo>
                <a:cubicBezTo>
                  <a:pt x="680562" y="460197"/>
                  <a:pt x="640719" y="457605"/>
                  <a:pt x="602672" y="465792"/>
                </a:cubicBezTo>
                <a:lnTo>
                  <a:pt x="481968" y="345575"/>
                </a:lnTo>
                <a:lnTo>
                  <a:pt x="507478" y="320064"/>
                </a:lnTo>
                <a:cubicBezTo>
                  <a:pt x="516650" y="310892"/>
                  <a:pt x="526849" y="303373"/>
                  <a:pt x="538003" y="298060"/>
                </a:cubicBezTo>
                <a:cubicBezTo>
                  <a:pt x="532623" y="279712"/>
                  <a:pt x="530166" y="260329"/>
                  <a:pt x="530166" y="240378"/>
                </a:cubicBezTo>
                <a:cubicBezTo>
                  <a:pt x="530166" y="107621"/>
                  <a:pt x="638982" y="0"/>
                  <a:pt x="773215" y="0"/>
                </a:cubicBezTo>
                <a:close/>
              </a:path>
            </a:pathLst>
          </a:custGeom>
          <a:solidFill>
            <a:schemeClr val="accent2"/>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08" name="Group 707">
            <a:extLst>
              <a:ext uri="{FF2B5EF4-FFF2-40B4-BE49-F238E27FC236}">
                <a16:creationId xmlns:a16="http://schemas.microsoft.com/office/drawing/2014/main" id="{76371250-9CBA-4174-AC66-7724C282E25D}"/>
              </a:ext>
            </a:extLst>
          </p:cNvPr>
          <p:cNvGrpSpPr/>
          <p:nvPr/>
        </p:nvGrpSpPr>
        <p:grpSpPr>
          <a:xfrm>
            <a:off x="2281630" y="1716255"/>
            <a:ext cx="86742" cy="92938"/>
            <a:chOff x="3588279" y="2456899"/>
            <a:chExt cx="800100" cy="857250"/>
          </a:xfrm>
          <a:solidFill>
            <a:schemeClr val="accent1"/>
          </a:solidFill>
        </p:grpSpPr>
        <p:sp>
          <p:nvSpPr>
            <p:cNvPr id="706" name="Freeform: Shape 705">
              <a:extLst>
                <a:ext uri="{FF2B5EF4-FFF2-40B4-BE49-F238E27FC236}">
                  <a16:creationId xmlns:a16="http://schemas.microsoft.com/office/drawing/2014/main" id="{152EACCB-F37A-4605-9ABE-5E74FDC1834F}"/>
                </a:ext>
              </a:extLst>
            </p:cNvPr>
            <p:cNvSpPr/>
            <p:nvPr/>
          </p:nvSpPr>
          <p:spPr>
            <a:xfrm>
              <a:off x="3588279" y="3276049"/>
              <a:ext cx="800100" cy="38100"/>
            </a:xfrm>
            <a:custGeom>
              <a:avLst/>
              <a:gdLst>
                <a:gd name="connsiteX0" fmla="*/ 0 w 800100"/>
                <a:gd name="connsiteY0" fmla="*/ 0 h 38100"/>
                <a:gd name="connsiteX1" fmla="*/ 800100 w 800100"/>
                <a:gd name="connsiteY1" fmla="*/ 0 h 38100"/>
                <a:gd name="connsiteX2" fmla="*/ 800100 w 800100"/>
                <a:gd name="connsiteY2" fmla="*/ 38100 h 38100"/>
                <a:gd name="connsiteX3" fmla="*/ 0 w 800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800100" h="38100">
                  <a:moveTo>
                    <a:pt x="0" y="0"/>
                  </a:moveTo>
                  <a:lnTo>
                    <a:pt x="800100" y="0"/>
                  </a:lnTo>
                  <a:lnTo>
                    <a:pt x="800100" y="38100"/>
                  </a:lnTo>
                  <a:lnTo>
                    <a:pt x="0" y="38100"/>
                  </a:lnTo>
                  <a:close/>
                </a:path>
              </a:pathLst>
            </a:custGeom>
            <a:grpFill/>
            <a:ln w="9525" cap="flat">
              <a:noFill/>
              <a:prstDash val="solid"/>
              <a:miter/>
            </a:ln>
          </p:spPr>
          <p:txBody>
            <a:bodyPr rtlCol="0" anchor="ctr"/>
            <a:lstStyle/>
            <a:p>
              <a:endParaRPr lang="en-US"/>
            </a:p>
          </p:txBody>
        </p:sp>
        <p:sp>
          <p:nvSpPr>
            <p:cNvPr id="707" name="Freeform: Shape 706">
              <a:extLst>
                <a:ext uri="{FF2B5EF4-FFF2-40B4-BE49-F238E27FC236}">
                  <a16:creationId xmlns:a16="http://schemas.microsoft.com/office/drawing/2014/main" id="{A5D06FAB-4BA2-48A5-941E-E3ACA43B7126}"/>
                </a:ext>
              </a:extLst>
            </p:cNvPr>
            <p:cNvSpPr/>
            <p:nvPr/>
          </p:nvSpPr>
          <p:spPr>
            <a:xfrm>
              <a:off x="3597804" y="2456899"/>
              <a:ext cx="781050" cy="790575"/>
            </a:xfrm>
            <a:custGeom>
              <a:avLst/>
              <a:gdLst>
                <a:gd name="connsiteX0" fmla="*/ 781050 w 781050"/>
                <a:gd name="connsiteY0" fmla="*/ 457200 h 790575"/>
                <a:gd name="connsiteX1" fmla="*/ 661111 w 781050"/>
                <a:gd name="connsiteY1" fmla="*/ 457200 h 790575"/>
                <a:gd name="connsiteX2" fmla="*/ 408756 w 781050"/>
                <a:gd name="connsiteY2" fmla="*/ 207769 h 790575"/>
                <a:gd name="connsiteX3" fmla="*/ 409575 w 781050"/>
                <a:gd name="connsiteY3" fmla="*/ 197368 h 790575"/>
                <a:gd name="connsiteX4" fmla="*/ 409575 w 781050"/>
                <a:gd name="connsiteY4" fmla="*/ 137579 h 790575"/>
                <a:gd name="connsiteX5" fmla="*/ 561975 w 781050"/>
                <a:gd name="connsiteY5" fmla="*/ 146876 h 790575"/>
                <a:gd name="connsiteX6" fmla="*/ 561975 w 781050"/>
                <a:gd name="connsiteY6" fmla="*/ 29756 h 790575"/>
                <a:gd name="connsiteX7" fmla="*/ 409623 w 781050"/>
                <a:gd name="connsiteY7" fmla="*/ 20469 h 790575"/>
                <a:gd name="connsiteX8" fmla="*/ 390563 w 781050"/>
                <a:gd name="connsiteY8" fmla="*/ 0 h 790575"/>
                <a:gd name="connsiteX9" fmla="*/ 371475 w 781050"/>
                <a:gd name="connsiteY9" fmla="*/ 20755 h 790575"/>
                <a:gd name="connsiteX10" fmla="*/ 371475 w 781050"/>
                <a:gd name="connsiteY10" fmla="*/ 197368 h 790575"/>
                <a:gd name="connsiteX11" fmla="*/ 372466 w 781050"/>
                <a:gd name="connsiteY11" fmla="*/ 207740 h 790575"/>
                <a:gd name="connsiteX12" fmla="*/ 119939 w 781050"/>
                <a:gd name="connsiteY12" fmla="*/ 457200 h 790575"/>
                <a:gd name="connsiteX13" fmla="*/ 0 w 781050"/>
                <a:gd name="connsiteY13" fmla="*/ 457200 h 790575"/>
                <a:gd name="connsiteX14" fmla="*/ 0 w 781050"/>
                <a:gd name="connsiteY14" fmla="*/ 790575 h 790575"/>
                <a:gd name="connsiteX15" fmla="*/ 781050 w 781050"/>
                <a:gd name="connsiteY15" fmla="*/ 790575 h 790575"/>
                <a:gd name="connsiteX16" fmla="*/ 781050 w 781050"/>
                <a:gd name="connsiteY16" fmla="*/ 457200 h 790575"/>
                <a:gd name="connsiteX17" fmla="*/ 171450 w 781050"/>
                <a:gd name="connsiteY17" fmla="*/ 712003 h 790575"/>
                <a:gd name="connsiteX18" fmla="*/ 138113 w 781050"/>
                <a:gd name="connsiteY18" fmla="*/ 743836 h 790575"/>
                <a:gd name="connsiteX19" fmla="*/ 104775 w 781050"/>
                <a:gd name="connsiteY19" fmla="*/ 712003 h 790575"/>
                <a:gd name="connsiteX20" fmla="*/ 104775 w 781050"/>
                <a:gd name="connsiteY20" fmla="*/ 557460 h 790575"/>
                <a:gd name="connsiteX21" fmla="*/ 138113 w 781050"/>
                <a:gd name="connsiteY21" fmla="*/ 525628 h 790575"/>
                <a:gd name="connsiteX22" fmla="*/ 171450 w 781050"/>
                <a:gd name="connsiteY22" fmla="*/ 557460 h 790575"/>
                <a:gd name="connsiteX23" fmla="*/ 171450 w 781050"/>
                <a:gd name="connsiteY23" fmla="*/ 712003 h 790575"/>
                <a:gd name="connsiteX24" fmla="*/ 342900 w 781050"/>
                <a:gd name="connsiteY24" fmla="*/ 712003 h 790575"/>
                <a:gd name="connsiteX25" fmla="*/ 309563 w 781050"/>
                <a:gd name="connsiteY25" fmla="*/ 743836 h 790575"/>
                <a:gd name="connsiteX26" fmla="*/ 276225 w 781050"/>
                <a:gd name="connsiteY26" fmla="*/ 712003 h 790575"/>
                <a:gd name="connsiteX27" fmla="*/ 276225 w 781050"/>
                <a:gd name="connsiteY27" fmla="*/ 557460 h 790575"/>
                <a:gd name="connsiteX28" fmla="*/ 309563 w 781050"/>
                <a:gd name="connsiteY28" fmla="*/ 525628 h 790575"/>
                <a:gd name="connsiteX29" fmla="*/ 342900 w 781050"/>
                <a:gd name="connsiteY29" fmla="*/ 557460 h 790575"/>
                <a:gd name="connsiteX30" fmla="*/ 342900 w 781050"/>
                <a:gd name="connsiteY30" fmla="*/ 712003 h 790575"/>
                <a:gd name="connsiteX31" fmla="*/ 504825 w 781050"/>
                <a:gd name="connsiteY31" fmla="*/ 712003 h 790575"/>
                <a:gd name="connsiteX32" fmla="*/ 471488 w 781050"/>
                <a:gd name="connsiteY32" fmla="*/ 743836 h 790575"/>
                <a:gd name="connsiteX33" fmla="*/ 438150 w 781050"/>
                <a:gd name="connsiteY33" fmla="*/ 712003 h 790575"/>
                <a:gd name="connsiteX34" fmla="*/ 438150 w 781050"/>
                <a:gd name="connsiteY34" fmla="*/ 557460 h 790575"/>
                <a:gd name="connsiteX35" fmla="*/ 471488 w 781050"/>
                <a:gd name="connsiteY35" fmla="*/ 525628 h 790575"/>
                <a:gd name="connsiteX36" fmla="*/ 504825 w 781050"/>
                <a:gd name="connsiteY36" fmla="*/ 557460 h 790575"/>
                <a:gd name="connsiteX37" fmla="*/ 504825 w 781050"/>
                <a:gd name="connsiteY37" fmla="*/ 712003 h 790575"/>
                <a:gd name="connsiteX38" fmla="*/ 676275 w 781050"/>
                <a:gd name="connsiteY38" fmla="*/ 712003 h 790575"/>
                <a:gd name="connsiteX39" fmla="*/ 642938 w 781050"/>
                <a:gd name="connsiteY39" fmla="*/ 743836 h 790575"/>
                <a:gd name="connsiteX40" fmla="*/ 609600 w 781050"/>
                <a:gd name="connsiteY40" fmla="*/ 712003 h 790575"/>
                <a:gd name="connsiteX41" fmla="*/ 609600 w 781050"/>
                <a:gd name="connsiteY41" fmla="*/ 557460 h 790575"/>
                <a:gd name="connsiteX42" fmla="*/ 642938 w 781050"/>
                <a:gd name="connsiteY42" fmla="*/ 525628 h 790575"/>
                <a:gd name="connsiteX43" fmla="*/ 676275 w 781050"/>
                <a:gd name="connsiteY43" fmla="*/ 557460 h 790575"/>
                <a:gd name="connsiteX44" fmla="*/ 676275 w 781050"/>
                <a:gd name="connsiteY44" fmla="*/ 712003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81050" h="790575">
                  <a:moveTo>
                    <a:pt x="781050" y="457200"/>
                  </a:moveTo>
                  <a:lnTo>
                    <a:pt x="661111" y="457200"/>
                  </a:lnTo>
                  <a:cubicBezTo>
                    <a:pt x="649700" y="323850"/>
                    <a:pt x="542030" y="217075"/>
                    <a:pt x="408756" y="207769"/>
                  </a:cubicBezTo>
                  <a:cubicBezTo>
                    <a:pt x="409880" y="205216"/>
                    <a:pt x="409575" y="200330"/>
                    <a:pt x="409575" y="197368"/>
                  </a:cubicBezTo>
                  <a:lnTo>
                    <a:pt x="409575" y="137579"/>
                  </a:lnTo>
                  <a:cubicBezTo>
                    <a:pt x="466725" y="118110"/>
                    <a:pt x="514350" y="187147"/>
                    <a:pt x="561975" y="146876"/>
                  </a:cubicBezTo>
                  <a:cubicBezTo>
                    <a:pt x="561975" y="107833"/>
                    <a:pt x="561975" y="68799"/>
                    <a:pt x="561975" y="29756"/>
                  </a:cubicBezTo>
                  <a:cubicBezTo>
                    <a:pt x="514350" y="70037"/>
                    <a:pt x="461010" y="962"/>
                    <a:pt x="409623" y="20469"/>
                  </a:cubicBezTo>
                  <a:cubicBezTo>
                    <a:pt x="409461" y="9144"/>
                    <a:pt x="401926" y="0"/>
                    <a:pt x="390563" y="0"/>
                  </a:cubicBezTo>
                  <a:cubicBezTo>
                    <a:pt x="379105" y="0"/>
                    <a:pt x="371475" y="9296"/>
                    <a:pt x="371475" y="20755"/>
                  </a:cubicBezTo>
                  <a:lnTo>
                    <a:pt x="371475" y="197368"/>
                  </a:lnTo>
                  <a:cubicBezTo>
                    <a:pt x="371475" y="200320"/>
                    <a:pt x="371351" y="205197"/>
                    <a:pt x="372466" y="207740"/>
                  </a:cubicBezTo>
                  <a:cubicBezTo>
                    <a:pt x="239030" y="216875"/>
                    <a:pt x="131359" y="323850"/>
                    <a:pt x="119939" y="457200"/>
                  </a:cubicBezTo>
                  <a:lnTo>
                    <a:pt x="0" y="457200"/>
                  </a:lnTo>
                  <a:lnTo>
                    <a:pt x="0" y="790575"/>
                  </a:lnTo>
                  <a:lnTo>
                    <a:pt x="781050" y="790575"/>
                  </a:lnTo>
                  <a:lnTo>
                    <a:pt x="781050" y="457200"/>
                  </a:lnTo>
                  <a:close/>
                  <a:moveTo>
                    <a:pt x="171450" y="712003"/>
                  </a:moveTo>
                  <a:cubicBezTo>
                    <a:pt x="171450" y="729586"/>
                    <a:pt x="155686" y="743836"/>
                    <a:pt x="138113" y="743836"/>
                  </a:cubicBezTo>
                  <a:cubicBezTo>
                    <a:pt x="120529" y="743836"/>
                    <a:pt x="104775" y="729577"/>
                    <a:pt x="104775" y="712003"/>
                  </a:cubicBezTo>
                  <a:lnTo>
                    <a:pt x="104775" y="557460"/>
                  </a:lnTo>
                  <a:cubicBezTo>
                    <a:pt x="104775" y="539877"/>
                    <a:pt x="120539" y="525628"/>
                    <a:pt x="138113" y="525628"/>
                  </a:cubicBezTo>
                  <a:cubicBezTo>
                    <a:pt x="155686" y="525628"/>
                    <a:pt x="171450" y="539887"/>
                    <a:pt x="171450" y="557460"/>
                  </a:cubicBezTo>
                  <a:lnTo>
                    <a:pt x="171450" y="712003"/>
                  </a:lnTo>
                  <a:close/>
                  <a:moveTo>
                    <a:pt x="342900" y="712003"/>
                  </a:moveTo>
                  <a:cubicBezTo>
                    <a:pt x="342900" y="729586"/>
                    <a:pt x="327136" y="743836"/>
                    <a:pt x="309563" y="743836"/>
                  </a:cubicBezTo>
                  <a:cubicBezTo>
                    <a:pt x="291979" y="743836"/>
                    <a:pt x="276225" y="729577"/>
                    <a:pt x="276225" y="712003"/>
                  </a:cubicBezTo>
                  <a:lnTo>
                    <a:pt x="276225" y="557460"/>
                  </a:lnTo>
                  <a:cubicBezTo>
                    <a:pt x="276225" y="539877"/>
                    <a:pt x="291989" y="525628"/>
                    <a:pt x="309563" y="525628"/>
                  </a:cubicBezTo>
                  <a:cubicBezTo>
                    <a:pt x="327136" y="525628"/>
                    <a:pt x="342900" y="539887"/>
                    <a:pt x="342900" y="557460"/>
                  </a:cubicBezTo>
                  <a:lnTo>
                    <a:pt x="342900" y="712003"/>
                  </a:lnTo>
                  <a:close/>
                  <a:moveTo>
                    <a:pt x="504825" y="712003"/>
                  </a:moveTo>
                  <a:cubicBezTo>
                    <a:pt x="504825" y="729586"/>
                    <a:pt x="489061" y="743836"/>
                    <a:pt x="471488" y="743836"/>
                  </a:cubicBezTo>
                  <a:cubicBezTo>
                    <a:pt x="453914" y="743836"/>
                    <a:pt x="438150" y="729577"/>
                    <a:pt x="438150" y="712003"/>
                  </a:cubicBezTo>
                  <a:lnTo>
                    <a:pt x="438150" y="557460"/>
                  </a:lnTo>
                  <a:cubicBezTo>
                    <a:pt x="438150" y="539877"/>
                    <a:pt x="453914" y="525628"/>
                    <a:pt x="471488" y="525628"/>
                  </a:cubicBezTo>
                  <a:cubicBezTo>
                    <a:pt x="489071" y="525628"/>
                    <a:pt x="504825" y="539887"/>
                    <a:pt x="504825" y="557460"/>
                  </a:cubicBezTo>
                  <a:lnTo>
                    <a:pt x="504825" y="712003"/>
                  </a:lnTo>
                  <a:close/>
                  <a:moveTo>
                    <a:pt x="676275" y="712003"/>
                  </a:moveTo>
                  <a:cubicBezTo>
                    <a:pt x="676275" y="729586"/>
                    <a:pt x="660511" y="743836"/>
                    <a:pt x="642938" y="743836"/>
                  </a:cubicBezTo>
                  <a:cubicBezTo>
                    <a:pt x="625364" y="743836"/>
                    <a:pt x="609600" y="729577"/>
                    <a:pt x="609600" y="712003"/>
                  </a:cubicBezTo>
                  <a:lnTo>
                    <a:pt x="609600" y="557460"/>
                  </a:lnTo>
                  <a:cubicBezTo>
                    <a:pt x="609600" y="539877"/>
                    <a:pt x="625364" y="525628"/>
                    <a:pt x="642938" y="525628"/>
                  </a:cubicBezTo>
                  <a:cubicBezTo>
                    <a:pt x="660521" y="525628"/>
                    <a:pt x="676275" y="539887"/>
                    <a:pt x="676275" y="557460"/>
                  </a:cubicBezTo>
                  <a:lnTo>
                    <a:pt x="676275" y="712003"/>
                  </a:lnTo>
                  <a:close/>
                </a:path>
              </a:pathLst>
            </a:custGeom>
            <a:grpFill/>
            <a:ln w="9525" cap="flat">
              <a:noFill/>
              <a:prstDash val="solid"/>
              <a:miter/>
            </a:ln>
          </p:spPr>
          <p:txBody>
            <a:bodyPr rtlCol="0" anchor="ctr"/>
            <a:lstStyle/>
            <a:p>
              <a:endParaRPr lang="en-US"/>
            </a:p>
          </p:txBody>
        </p:sp>
      </p:grpSp>
      <p:grpSp>
        <p:nvGrpSpPr>
          <p:cNvPr id="710" name="Group 709">
            <a:extLst>
              <a:ext uri="{FF2B5EF4-FFF2-40B4-BE49-F238E27FC236}">
                <a16:creationId xmlns:a16="http://schemas.microsoft.com/office/drawing/2014/main" id="{0599979D-6C08-474E-96B3-BFBAA87DF5DC}"/>
              </a:ext>
            </a:extLst>
          </p:cNvPr>
          <p:cNvGrpSpPr/>
          <p:nvPr/>
        </p:nvGrpSpPr>
        <p:grpSpPr>
          <a:xfrm>
            <a:off x="5029142" y="1362075"/>
            <a:ext cx="2082822" cy="1456354"/>
            <a:chOff x="5109487" y="1456354"/>
            <a:chExt cx="1922132" cy="1343996"/>
          </a:xfrm>
        </p:grpSpPr>
        <p:sp>
          <p:nvSpPr>
            <p:cNvPr id="709" name="Rectangle: Rounded Corners 708">
              <a:extLst>
                <a:ext uri="{FF2B5EF4-FFF2-40B4-BE49-F238E27FC236}">
                  <a16:creationId xmlns:a16="http://schemas.microsoft.com/office/drawing/2014/main" id="{C135E417-59CD-4D9C-9D2A-D34694FE482C}"/>
                </a:ext>
              </a:extLst>
            </p:cNvPr>
            <p:cNvSpPr/>
            <p:nvPr/>
          </p:nvSpPr>
          <p:spPr bwMode="auto">
            <a:xfrm>
              <a:off x="5109487" y="2738755"/>
              <a:ext cx="1920240" cy="61595"/>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66" name="Group 365">
              <a:extLst>
                <a:ext uri="{FF2B5EF4-FFF2-40B4-BE49-F238E27FC236}">
                  <a16:creationId xmlns:a16="http://schemas.microsoft.com/office/drawing/2014/main" id="{AA6A3B8D-8459-4FE6-924A-81B89B791899}"/>
                </a:ext>
              </a:extLst>
            </p:cNvPr>
            <p:cNvGrpSpPr/>
            <p:nvPr/>
          </p:nvGrpSpPr>
          <p:grpSpPr>
            <a:xfrm>
              <a:off x="5127359" y="1456354"/>
              <a:ext cx="1904260" cy="1327696"/>
              <a:chOff x="6546260" y="2906334"/>
              <a:chExt cx="5545962" cy="3866779"/>
            </a:xfrm>
          </p:grpSpPr>
          <p:sp>
            <p:nvSpPr>
              <p:cNvPr id="367" name="Freeform 465">
                <a:extLst>
                  <a:ext uri="{FF2B5EF4-FFF2-40B4-BE49-F238E27FC236}">
                    <a16:creationId xmlns:a16="http://schemas.microsoft.com/office/drawing/2014/main" id="{190E5A1F-649F-48D2-B86C-23D1A894D80A}"/>
                  </a:ext>
                </a:extLst>
              </p:cNvPr>
              <p:cNvSpPr>
                <a:spLocks/>
              </p:cNvSpPr>
              <p:nvPr/>
            </p:nvSpPr>
            <p:spPr bwMode="auto">
              <a:xfrm flipH="1">
                <a:off x="9789370" y="3717587"/>
                <a:ext cx="453095" cy="591177"/>
              </a:xfrm>
              <a:custGeom>
                <a:avLst/>
                <a:gdLst>
                  <a:gd name="T0" fmla="*/ 47 w 105"/>
                  <a:gd name="T1" fmla="*/ 137 h 137"/>
                  <a:gd name="T2" fmla="*/ 105 w 105"/>
                  <a:gd name="T3" fmla="*/ 123 h 137"/>
                  <a:gd name="T4" fmla="*/ 74 w 105"/>
                  <a:gd name="T5" fmla="*/ 0 h 137"/>
                  <a:gd name="T6" fmla="*/ 0 w 105"/>
                  <a:gd name="T7" fmla="*/ 16 h 137"/>
                  <a:gd name="T8" fmla="*/ 47 w 105"/>
                  <a:gd name="T9" fmla="*/ 137 h 137"/>
                </a:gdLst>
                <a:ahLst/>
                <a:cxnLst>
                  <a:cxn ang="0">
                    <a:pos x="T0" y="T1"/>
                  </a:cxn>
                  <a:cxn ang="0">
                    <a:pos x="T2" y="T3"/>
                  </a:cxn>
                  <a:cxn ang="0">
                    <a:pos x="T4" y="T5"/>
                  </a:cxn>
                  <a:cxn ang="0">
                    <a:pos x="T6" y="T7"/>
                  </a:cxn>
                  <a:cxn ang="0">
                    <a:pos x="T8" y="T9"/>
                  </a:cxn>
                </a:cxnLst>
                <a:rect l="0" t="0" r="r" b="b"/>
                <a:pathLst>
                  <a:path w="105" h="137">
                    <a:moveTo>
                      <a:pt x="47" y="137"/>
                    </a:moveTo>
                    <a:lnTo>
                      <a:pt x="105" y="123"/>
                    </a:lnTo>
                    <a:lnTo>
                      <a:pt x="74" y="0"/>
                    </a:lnTo>
                    <a:lnTo>
                      <a:pt x="0" y="16"/>
                    </a:lnTo>
                    <a:lnTo>
                      <a:pt x="47" y="137"/>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68" name="Freeform 466">
                <a:extLst>
                  <a:ext uri="{FF2B5EF4-FFF2-40B4-BE49-F238E27FC236}">
                    <a16:creationId xmlns:a16="http://schemas.microsoft.com/office/drawing/2014/main" id="{781B25C0-D300-48E2-9613-F5D78B345D60}"/>
                  </a:ext>
                </a:extLst>
              </p:cNvPr>
              <p:cNvSpPr>
                <a:spLocks/>
              </p:cNvSpPr>
              <p:nvPr/>
            </p:nvSpPr>
            <p:spPr bwMode="auto">
              <a:xfrm flipH="1">
                <a:off x="9905878" y="3566557"/>
                <a:ext cx="358161" cy="358158"/>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69" name="Freeform 467">
                <a:extLst>
                  <a:ext uri="{FF2B5EF4-FFF2-40B4-BE49-F238E27FC236}">
                    <a16:creationId xmlns:a16="http://schemas.microsoft.com/office/drawing/2014/main" id="{FBF819EA-BDE2-4818-9E75-FF4FCBC48FD8}"/>
                  </a:ext>
                </a:extLst>
              </p:cNvPr>
              <p:cNvSpPr>
                <a:spLocks/>
              </p:cNvSpPr>
              <p:nvPr/>
            </p:nvSpPr>
            <p:spPr bwMode="auto">
              <a:xfrm flipH="1">
                <a:off x="9077368" y="4442538"/>
                <a:ext cx="517821" cy="405627"/>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70" name="Freeform 468">
                <a:extLst>
                  <a:ext uri="{FF2B5EF4-FFF2-40B4-BE49-F238E27FC236}">
                    <a16:creationId xmlns:a16="http://schemas.microsoft.com/office/drawing/2014/main" id="{A54C645B-E4D4-4FA8-812F-7D316A668989}"/>
                  </a:ext>
                </a:extLst>
              </p:cNvPr>
              <p:cNvSpPr>
                <a:spLocks/>
              </p:cNvSpPr>
              <p:nvPr/>
            </p:nvSpPr>
            <p:spPr bwMode="auto">
              <a:xfrm flipH="1">
                <a:off x="9763479" y="4131845"/>
                <a:ext cx="293432" cy="293433"/>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71" name="Freeform 469">
                <a:extLst>
                  <a:ext uri="{FF2B5EF4-FFF2-40B4-BE49-F238E27FC236}">
                    <a16:creationId xmlns:a16="http://schemas.microsoft.com/office/drawing/2014/main" id="{16207EAA-F20C-417F-A97C-6F2C729EA31F}"/>
                  </a:ext>
                </a:extLst>
              </p:cNvPr>
              <p:cNvSpPr>
                <a:spLocks/>
              </p:cNvSpPr>
              <p:nvPr/>
            </p:nvSpPr>
            <p:spPr bwMode="auto">
              <a:xfrm flipH="1">
                <a:off x="9383743" y="4174997"/>
                <a:ext cx="604125" cy="560974"/>
              </a:xfrm>
              <a:custGeom>
                <a:avLst/>
                <a:gdLst>
                  <a:gd name="T0" fmla="*/ 109 w 140"/>
                  <a:gd name="T1" fmla="*/ 130 h 130"/>
                  <a:gd name="T2" fmla="*/ 140 w 140"/>
                  <a:gd name="T3" fmla="*/ 90 h 130"/>
                  <a:gd name="T4" fmla="*/ 37 w 140"/>
                  <a:gd name="T5" fmla="*/ 0 h 130"/>
                  <a:gd name="T6" fmla="*/ 0 w 140"/>
                  <a:gd name="T7" fmla="*/ 48 h 130"/>
                  <a:gd name="T8" fmla="*/ 109 w 140"/>
                  <a:gd name="T9" fmla="*/ 130 h 130"/>
                </a:gdLst>
                <a:ahLst/>
                <a:cxnLst>
                  <a:cxn ang="0">
                    <a:pos x="T0" y="T1"/>
                  </a:cxn>
                  <a:cxn ang="0">
                    <a:pos x="T2" y="T3"/>
                  </a:cxn>
                  <a:cxn ang="0">
                    <a:pos x="T4" y="T5"/>
                  </a:cxn>
                  <a:cxn ang="0">
                    <a:pos x="T6" y="T7"/>
                  </a:cxn>
                  <a:cxn ang="0">
                    <a:pos x="T8" y="T9"/>
                  </a:cxn>
                </a:cxnLst>
                <a:rect l="0" t="0" r="r" b="b"/>
                <a:pathLst>
                  <a:path w="140" h="130">
                    <a:moveTo>
                      <a:pt x="109" y="130"/>
                    </a:moveTo>
                    <a:lnTo>
                      <a:pt x="140" y="90"/>
                    </a:lnTo>
                    <a:lnTo>
                      <a:pt x="37" y="0"/>
                    </a:lnTo>
                    <a:lnTo>
                      <a:pt x="0" y="48"/>
                    </a:lnTo>
                    <a:lnTo>
                      <a:pt x="109" y="130"/>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72" name="Freeform 470">
                <a:extLst>
                  <a:ext uri="{FF2B5EF4-FFF2-40B4-BE49-F238E27FC236}">
                    <a16:creationId xmlns:a16="http://schemas.microsoft.com/office/drawing/2014/main" id="{D1AEB689-1297-452D-B362-BE2063775A72}"/>
                  </a:ext>
                </a:extLst>
              </p:cNvPr>
              <p:cNvSpPr>
                <a:spLocks/>
              </p:cNvSpPr>
              <p:nvPr/>
            </p:nvSpPr>
            <p:spPr bwMode="auto">
              <a:xfrm flipH="1">
                <a:off x="9599502" y="3967869"/>
                <a:ext cx="233019" cy="207130"/>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73" name="Line 471">
                <a:extLst>
                  <a:ext uri="{FF2B5EF4-FFF2-40B4-BE49-F238E27FC236}">
                    <a16:creationId xmlns:a16="http://schemas.microsoft.com/office/drawing/2014/main" id="{4589A16B-1305-49D8-BFBE-A1EC4974251F}"/>
                  </a:ext>
                </a:extLst>
              </p:cNvPr>
              <p:cNvSpPr>
                <a:spLocks noChangeShapeType="1"/>
              </p:cNvSpPr>
              <p:nvPr/>
            </p:nvSpPr>
            <p:spPr bwMode="auto">
              <a:xfrm flipV="1">
                <a:off x="9482991" y="4002389"/>
                <a:ext cx="263227" cy="90617"/>
              </a:xfrm>
              <a:prstGeom prst="line">
                <a:avLst/>
              </a:prstGeom>
              <a:noFill/>
              <a:ln w="12700" cap="flat">
                <a:solidFill>
                  <a:srgbClr val="28282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74" name="Freeform 473">
                <a:extLst>
                  <a:ext uri="{FF2B5EF4-FFF2-40B4-BE49-F238E27FC236}">
                    <a16:creationId xmlns:a16="http://schemas.microsoft.com/office/drawing/2014/main" id="{38B18FF2-FD03-4C72-874E-CA13CC57FEDB}"/>
                  </a:ext>
                </a:extLst>
              </p:cNvPr>
              <p:cNvSpPr>
                <a:spLocks/>
              </p:cNvSpPr>
              <p:nvPr/>
            </p:nvSpPr>
            <p:spPr bwMode="auto">
              <a:xfrm flipH="1">
                <a:off x="9707381" y="4080063"/>
                <a:ext cx="323641" cy="241650"/>
              </a:xfrm>
              <a:custGeom>
                <a:avLst/>
                <a:gdLst>
                  <a:gd name="T0" fmla="*/ 64 w 75"/>
                  <a:gd name="T1" fmla="*/ 0 h 56"/>
                  <a:gd name="T2" fmla="*/ 0 w 75"/>
                  <a:gd name="T3" fmla="*/ 13 h 56"/>
                  <a:gd name="T4" fmla="*/ 6 w 75"/>
                  <a:gd name="T5" fmla="*/ 56 h 56"/>
                  <a:gd name="T6" fmla="*/ 75 w 75"/>
                  <a:gd name="T7" fmla="*/ 35 h 56"/>
                  <a:gd name="T8" fmla="*/ 64 w 75"/>
                  <a:gd name="T9" fmla="*/ 0 h 56"/>
                </a:gdLst>
                <a:ahLst/>
                <a:cxnLst>
                  <a:cxn ang="0">
                    <a:pos x="T0" y="T1"/>
                  </a:cxn>
                  <a:cxn ang="0">
                    <a:pos x="T2" y="T3"/>
                  </a:cxn>
                  <a:cxn ang="0">
                    <a:pos x="T4" y="T5"/>
                  </a:cxn>
                  <a:cxn ang="0">
                    <a:pos x="T6" y="T7"/>
                  </a:cxn>
                  <a:cxn ang="0">
                    <a:pos x="T8" y="T9"/>
                  </a:cxn>
                </a:cxnLst>
                <a:rect l="0" t="0" r="r" b="b"/>
                <a:pathLst>
                  <a:path w="75" h="56">
                    <a:moveTo>
                      <a:pt x="64" y="0"/>
                    </a:moveTo>
                    <a:lnTo>
                      <a:pt x="0" y="13"/>
                    </a:lnTo>
                    <a:lnTo>
                      <a:pt x="6" y="56"/>
                    </a:lnTo>
                    <a:lnTo>
                      <a:pt x="75" y="35"/>
                    </a:lnTo>
                    <a:lnTo>
                      <a:pt x="64"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75" name="Freeform 474">
                <a:extLst>
                  <a:ext uri="{FF2B5EF4-FFF2-40B4-BE49-F238E27FC236}">
                    <a16:creationId xmlns:a16="http://schemas.microsoft.com/office/drawing/2014/main" id="{3C55C781-475B-4E46-97AC-78C1C1393FBD}"/>
                  </a:ext>
                </a:extLst>
              </p:cNvPr>
              <p:cNvSpPr>
                <a:spLocks/>
              </p:cNvSpPr>
              <p:nvPr/>
            </p:nvSpPr>
            <p:spPr bwMode="auto">
              <a:xfrm flipH="1">
                <a:off x="9707381" y="4080063"/>
                <a:ext cx="323641" cy="241650"/>
              </a:xfrm>
              <a:custGeom>
                <a:avLst/>
                <a:gdLst>
                  <a:gd name="T0" fmla="*/ 64 w 75"/>
                  <a:gd name="T1" fmla="*/ 0 h 56"/>
                  <a:gd name="T2" fmla="*/ 0 w 75"/>
                  <a:gd name="T3" fmla="*/ 13 h 56"/>
                  <a:gd name="T4" fmla="*/ 6 w 75"/>
                  <a:gd name="T5" fmla="*/ 56 h 56"/>
                  <a:gd name="T6" fmla="*/ 75 w 75"/>
                  <a:gd name="T7" fmla="*/ 35 h 56"/>
                </a:gdLst>
                <a:ahLst/>
                <a:cxnLst>
                  <a:cxn ang="0">
                    <a:pos x="T0" y="T1"/>
                  </a:cxn>
                  <a:cxn ang="0">
                    <a:pos x="T2" y="T3"/>
                  </a:cxn>
                  <a:cxn ang="0">
                    <a:pos x="T4" y="T5"/>
                  </a:cxn>
                  <a:cxn ang="0">
                    <a:pos x="T6" y="T7"/>
                  </a:cxn>
                </a:cxnLst>
                <a:rect l="0" t="0" r="r" b="b"/>
                <a:pathLst>
                  <a:path w="75" h="56">
                    <a:moveTo>
                      <a:pt x="64" y="0"/>
                    </a:moveTo>
                    <a:lnTo>
                      <a:pt x="0" y="13"/>
                    </a:lnTo>
                    <a:lnTo>
                      <a:pt x="6" y="56"/>
                    </a:lnTo>
                    <a:lnTo>
                      <a:pt x="75"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76" name="Freeform 492">
                <a:extLst>
                  <a:ext uri="{FF2B5EF4-FFF2-40B4-BE49-F238E27FC236}">
                    <a16:creationId xmlns:a16="http://schemas.microsoft.com/office/drawing/2014/main" id="{D0F01027-7A5B-4829-8805-65E82D8C7692}"/>
                  </a:ext>
                </a:extLst>
              </p:cNvPr>
              <p:cNvSpPr>
                <a:spLocks/>
              </p:cNvSpPr>
              <p:nvPr/>
            </p:nvSpPr>
            <p:spPr bwMode="auto">
              <a:xfrm flipH="1">
                <a:off x="10173419" y="4783439"/>
                <a:ext cx="358161" cy="815567"/>
              </a:xfrm>
              <a:custGeom>
                <a:avLst/>
                <a:gdLst>
                  <a:gd name="T0" fmla="*/ 72 w 83"/>
                  <a:gd name="T1" fmla="*/ 189 h 189"/>
                  <a:gd name="T2" fmla="*/ 2 w 83"/>
                  <a:gd name="T3" fmla="*/ 187 h 189"/>
                  <a:gd name="T4" fmla="*/ 0 w 83"/>
                  <a:gd name="T5" fmla="*/ 0 h 189"/>
                  <a:gd name="T6" fmla="*/ 83 w 83"/>
                  <a:gd name="T7" fmla="*/ 2 h 189"/>
                  <a:gd name="T8" fmla="*/ 72 w 83"/>
                  <a:gd name="T9" fmla="*/ 189 h 189"/>
                </a:gdLst>
                <a:ahLst/>
                <a:cxnLst>
                  <a:cxn ang="0">
                    <a:pos x="T0" y="T1"/>
                  </a:cxn>
                  <a:cxn ang="0">
                    <a:pos x="T2" y="T3"/>
                  </a:cxn>
                  <a:cxn ang="0">
                    <a:pos x="T4" y="T5"/>
                  </a:cxn>
                  <a:cxn ang="0">
                    <a:pos x="T6" y="T7"/>
                  </a:cxn>
                  <a:cxn ang="0">
                    <a:pos x="T8" y="T9"/>
                  </a:cxn>
                </a:cxnLst>
                <a:rect l="0" t="0" r="r" b="b"/>
                <a:pathLst>
                  <a:path w="83" h="189">
                    <a:moveTo>
                      <a:pt x="72" y="189"/>
                    </a:moveTo>
                    <a:lnTo>
                      <a:pt x="2" y="187"/>
                    </a:lnTo>
                    <a:lnTo>
                      <a:pt x="0" y="0"/>
                    </a:lnTo>
                    <a:lnTo>
                      <a:pt x="83" y="2"/>
                    </a:lnTo>
                    <a:lnTo>
                      <a:pt x="72" y="189"/>
                    </a:lnTo>
                    <a:close/>
                  </a:path>
                </a:pathLst>
              </a:custGeom>
              <a:solidFill>
                <a:srgbClr val="00BCF2">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77" name="Freeform 493">
                <a:extLst>
                  <a:ext uri="{FF2B5EF4-FFF2-40B4-BE49-F238E27FC236}">
                    <a16:creationId xmlns:a16="http://schemas.microsoft.com/office/drawing/2014/main" id="{E0A95EC4-242F-4184-AD0B-ADA8CD1C014D}"/>
                  </a:ext>
                </a:extLst>
              </p:cNvPr>
              <p:cNvSpPr>
                <a:spLocks/>
              </p:cNvSpPr>
              <p:nvPr/>
            </p:nvSpPr>
            <p:spPr bwMode="auto">
              <a:xfrm flipH="1">
                <a:off x="9841152" y="4774810"/>
                <a:ext cx="431518" cy="824198"/>
              </a:xfrm>
              <a:custGeom>
                <a:avLst/>
                <a:gdLst>
                  <a:gd name="T0" fmla="*/ 100 w 100"/>
                  <a:gd name="T1" fmla="*/ 187 h 191"/>
                  <a:gd name="T2" fmla="*/ 30 w 100"/>
                  <a:gd name="T3" fmla="*/ 191 h 191"/>
                  <a:gd name="T4" fmla="*/ 0 w 100"/>
                  <a:gd name="T5" fmla="*/ 5 h 191"/>
                  <a:gd name="T6" fmla="*/ 84 w 100"/>
                  <a:gd name="T7" fmla="*/ 0 h 191"/>
                  <a:gd name="T8" fmla="*/ 100 w 100"/>
                  <a:gd name="T9" fmla="*/ 187 h 191"/>
                </a:gdLst>
                <a:ahLst/>
                <a:cxnLst>
                  <a:cxn ang="0">
                    <a:pos x="T0" y="T1"/>
                  </a:cxn>
                  <a:cxn ang="0">
                    <a:pos x="T2" y="T3"/>
                  </a:cxn>
                  <a:cxn ang="0">
                    <a:pos x="T4" y="T5"/>
                  </a:cxn>
                  <a:cxn ang="0">
                    <a:pos x="T6" y="T7"/>
                  </a:cxn>
                  <a:cxn ang="0">
                    <a:pos x="T8" y="T9"/>
                  </a:cxn>
                </a:cxnLst>
                <a:rect l="0" t="0" r="r" b="b"/>
                <a:pathLst>
                  <a:path w="100" h="191">
                    <a:moveTo>
                      <a:pt x="100" y="187"/>
                    </a:moveTo>
                    <a:lnTo>
                      <a:pt x="30" y="191"/>
                    </a:lnTo>
                    <a:lnTo>
                      <a:pt x="0" y="5"/>
                    </a:lnTo>
                    <a:lnTo>
                      <a:pt x="84" y="0"/>
                    </a:lnTo>
                    <a:lnTo>
                      <a:pt x="100" y="187"/>
                    </a:lnTo>
                    <a:close/>
                  </a:path>
                </a:pathLst>
              </a:custGeom>
              <a:solidFill>
                <a:srgbClr val="00BCF2">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78" name="Freeform 494">
                <a:extLst>
                  <a:ext uri="{FF2B5EF4-FFF2-40B4-BE49-F238E27FC236}">
                    <a16:creationId xmlns:a16="http://schemas.microsoft.com/office/drawing/2014/main" id="{F4E90587-3CE1-47F2-9242-EE6CBE285DCD}"/>
                  </a:ext>
                </a:extLst>
              </p:cNvPr>
              <p:cNvSpPr>
                <a:spLocks/>
              </p:cNvSpPr>
              <p:nvPr/>
            </p:nvSpPr>
            <p:spPr bwMode="auto">
              <a:xfrm flipH="1">
                <a:off x="10445278" y="6311014"/>
                <a:ext cx="215759" cy="233019"/>
              </a:xfrm>
              <a:custGeom>
                <a:avLst/>
                <a:gdLst>
                  <a:gd name="T0" fmla="*/ 0 w 50"/>
                  <a:gd name="T1" fmla="*/ 48 h 54"/>
                  <a:gd name="T2" fmla="*/ 44 w 50"/>
                  <a:gd name="T3" fmla="*/ 54 h 54"/>
                  <a:gd name="T4" fmla="*/ 50 w 50"/>
                  <a:gd name="T5" fmla="*/ 6 h 54"/>
                  <a:gd name="T6" fmla="*/ 9 w 50"/>
                  <a:gd name="T7" fmla="*/ 0 h 54"/>
                  <a:gd name="T8" fmla="*/ 0 w 50"/>
                  <a:gd name="T9" fmla="*/ 48 h 54"/>
                </a:gdLst>
                <a:ahLst/>
                <a:cxnLst>
                  <a:cxn ang="0">
                    <a:pos x="T0" y="T1"/>
                  </a:cxn>
                  <a:cxn ang="0">
                    <a:pos x="T2" y="T3"/>
                  </a:cxn>
                  <a:cxn ang="0">
                    <a:pos x="T4" y="T5"/>
                  </a:cxn>
                  <a:cxn ang="0">
                    <a:pos x="T6" y="T7"/>
                  </a:cxn>
                  <a:cxn ang="0">
                    <a:pos x="T8" y="T9"/>
                  </a:cxn>
                </a:cxnLst>
                <a:rect l="0" t="0" r="r" b="b"/>
                <a:pathLst>
                  <a:path w="50" h="54">
                    <a:moveTo>
                      <a:pt x="0" y="48"/>
                    </a:moveTo>
                    <a:lnTo>
                      <a:pt x="44" y="54"/>
                    </a:lnTo>
                    <a:lnTo>
                      <a:pt x="50" y="6"/>
                    </a:lnTo>
                    <a:lnTo>
                      <a:pt x="9" y="0"/>
                    </a:lnTo>
                    <a:lnTo>
                      <a:pt x="0" y="48"/>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79" name="Freeform 495">
                <a:extLst>
                  <a:ext uri="{FF2B5EF4-FFF2-40B4-BE49-F238E27FC236}">
                    <a16:creationId xmlns:a16="http://schemas.microsoft.com/office/drawing/2014/main" id="{604FEB92-7038-4AEA-87BA-A3D4D6EA284D}"/>
                  </a:ext>
                </a:extLst>
              </p:cNvPr>
              <p:cNvSpPr>
                <a:spLocks/>
              </p:cNvSpPr>
              <p:nvPr/>
            </p:nvSpPr>
            <p:spPr bwMode="auto">
              <a:xfrm flipH="1">
                <a:off x="10143214" y="6440468"/>
                <a:ext cx="548029" cy="258912"/>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80" name="Freeform 496">
                <a:extLst>
                  <a:ext uri="{FF2B5EF4-FFF2-40B4-BE49-F238E27FC236}">
                    <a16:creationId xmlns:a16="http://schemas.microsoft.com/office/drawing/2014/main" id="{E2FDD8B8-394D-43D3-B1F7-6C37ED26ABB5}"/>
                  </a:ext>
                </a:extLst>
              </p:cNvPr>
              <p:cNvSpPr>
                <a:spLocks/>
              </p:cNvSpPr>
              <p:nvPr/>
            </p:nvSpPr>
            <p:spPr bwMode="auto">
              <a:xfrm flipH="1">
                <a:off x="10212259" y="5435030"/>
                <a:ext cx="319324" cy="319324"/>
              </a:xfrm>
              <a:custGeom>
                <a:avLst/>
                <a:gdLst>
                  <a:gd name="T0" fmla="*/ 3 w 108"/>
                  <a:gd name="T1" fmla="*/ 47 h 108"/>
                  <a:gd name="T2" fmla="*/ 60 w 108"/>
                  <a:gd name="T3" fmla="*/ 3 h 108"/>
                  <a:gd name="T4" fmla="*/ 105 w 108"/>
                  <a:gd name="T5" fmla="*/ 60 h 108"/>
                  <a:gd name="T6" fmla="*/ 48 w 108"/>
                  <a:gd name="T7" fmla="*/ 104 h 108"/>
                  <a:gd name="T8" fmla="*/ 3 w 108"/>
                  <a:gd name="T9" fmla="*/ 47 h 108"/>
                </a:gdLst>
                <a:ahLst/>
                <a:cxnLst>
                  <a:cxn ang="0">
                    <a:pos x="T0" y="T1"/>
                  </a:cxn>
                  <a:cxn ang="0">
                    <a:pos x="T2" y="T3"/>
                  </a:cxn>
                  <a:cxn ang="0">
                    <a:pos x="T4" y="T5"/>
                  </a:cxn>
                  <a:cxn ang="0">
                    <a:pos x="T6" y="T7"/>
                  </a:cxn>
                  <a:cxn ang="0">
                    <a:pos x="T8" y="T9"/>
                  </a:cxn>
                </a:cxnLst>
                <a:rect l="0" t="0" r="r" b="b"/>
                <a:pathLst>
                  <a:path w="108" h="108">
                    <a:moveTo>
                      <a:pt x="3" y="47"/>
                    </a:moveTo>
                    <a:cubicBezTo>
                      <a:pt x="7" y="19"/>
                      <a:pt x="32" y="0"/>
                      <a:pt x="60" y="3"/>
                    </a:cubicBezTo>
                    <a:cubicBezTo>
                      <a:pt x="88" y="7"/>
                      <a:pt x="108" y="32"/>
                      <a:pt x="105" y="60"/>
                    </a:cubicBezTo>
                    <a:cubicBezTo>
                      <a:pt x="101" y="88"/>
                      <a:pt x="76" y="108"/>
                      <a:pt x="48" y="104"/>
                    </a:cubicBezTo>
                    <a:cubicBezTo>
                      <a:pt x="20" y="101"/>
                      <a:pt x="0" y="75"/>
                      <a:pt x="3" y="47"/>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81" name="Freeform 497">
                <a:extLst>
                  <a:ext uri="{FF2B5EF4-FFF2-40B4-BE49-F238E27FC236}">
                    <a16:creationId xmlns:a16="http://schemas.microsoft.com/office/drawing/2014/main" id="{2C1A4EB3-7E1A-4DF1-A1C5-504A096673E9}"/>
                  </a:ext>
                </a:extLst>
              </p:cNvPr>
              <p:cNvSpPr>
                <a:spLocks/>
              </p:cNvSpPr>
              <p:nvPr/>
            </p:nvSpPr>
            <p:spPr bwMode="auto">
              <a:xfrm flipH="1">
                <a:off x="9836835" y="5443661"/>
                <a:ext cx="306379" cy="302062"/>
              </a:xfrm>
              <a:custGeom>
                <a:avLst/>
                <a:gdLst>
                  <a:gd name="T0" fmla="*/ 1 w 104"/>
                  <a:gd name="T1" fmla="*/ 51 h 104"/>
                  <a:gd name="T2" fmla="*/ 54 w 104"/>
                  <a:gd name="T3" fmla="*/ 1 h 104"/>
                  <a:gd name="T4" fmla="*/ 103 w 104"/>
                  <a:gd name="T5" fmla="*/ 54 h 104"/>
                  <a:gd name="T6" fmla="*/ 50 w 104"/>
                  <a:gd name="T7" fmla="*/ 103 h 104"/>
                  <a:gd name="T8" fmla="*/ 1 w 104"/>
                  <a:gd name="T9" fmla="*/ 51 h 104"/>
                </a:gdLst>
                <a:ahLst/>
                <a:cxnLst>
                  <a:cxn ang="0">
                    <a:pos x="T0" y="T1"/>
                  </a:cxn>
                  <a:cxn ang="0">
                    <a:pos x="T2" y="T3"/>
                  </a:cxn>
                  <a:cxn ang="0">
                    <a:pos x="T4" y="T5"/>
                  </a:cxn>
                  <a:cxn ang="0">
                    <a:pos x="T6" y="T7"/>
                  </a:cxn>
                  <a:cxn ang="0">
                    <a:pos x="T8" y="T9"/>
                  </a:cxn>
                </a:cxnLst>
                <a:rect l="0" t="0" r="r" b="b"/>
                <a:pathLst>
                  <a:path w="104" h="104">
                    <a:moveTo>
                      <a:pt x="1" y="51"/>
                    </a:moveTo>
                    <a:cubicBezTo>
                      <a:pt x="2" y="22"/>
                      <a:pt x="26" y="0"/>
                      <a:pt x="54" y="1"/>
                    </a:cubicBezTo>
                    <a:cubicBezTo>
                      <a:pt x="82" y="2"/>
                      <a:pt x="104" y="26"/>
                      <a:pt x="103" y="54"/>
                    </a:cubicBezTo>
                    <a:cubicBezTo>
                      <a:pt x="102" y="82"/>
                      <a:pt x="78" y="104"/>
                      <a:pt x="50" y="103"/>
                    </a:cubicBezTo>
                    <a:cubicBezTo>
                      <a:pt x="22" y="102"/>
                      <a:pt x="0" y="79"/>
                      <a:pt x="1" y="51"/>
                    </a:cubicBezTo>
                    <a:close/>
                  </a:path>
                </a:pathLst>
              </a:custGeom>
              <a:solidFill>
                <a:srgbClr val="00BCF2">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82" name="Freeform 498">
                <a:extLst>
                  <a:ext uri="{FF2B5EF4-FFF2-40B4-BE49-F238E27FC236}">
                    <a16:creationId xmlns:a16="http://schemas.microsoft.com/office/drawing/2014/main" id="{6CE01D86-092F-4F53-A42D-193E509D862D}"/>
                  </a:ext>
                </a:extLst>
              </p:cNvPr>
              <p:cNvSpPr>
                <a:spLocks/>
              </p:cNvSpPr>
              <p:nvPr/>
            </p:nvSpPr>
            <p:spPr bwMode="auto">
              <a:xfrm flipH="1">
                <a:off x="10220888" y="5573115"/>
                <a:ext cx="453095" cy="927763"/>
              </a:xfrm>
              <a:custGeom>
                <a:avLst/>
                <a:gdLst>
                  <a:gd name="T0" fmla="*/ 35 w 105"/>
                  <a:gd name="T1" fmla="*/ 0 h 215"/>
                  <a:gd name="T2" fmla="*/ 105 w 105"/>
                  <a:gd name="T3" fmla="*/ 9 h 215"/>
                  <a:gd name="T4" fmla="*/ 63 w 105"/>
                  <a:gd name="T5" fmla="*/ 215 h 215"/>
                  <a:gd name="T6" fmla="*/ 0 w 105"/>
                  <a:gd name="T7" fmla="*/ 212 h 215"/>
                  <a:gd name="T8" fmla="*/ 35 w 105"/>
                  <a:gd name="T9" fmla="*/ 0 h 215"/>
                </a:gdLst>
                <a:ahLst/>
                <a:cxnLst>
                  <a:cxn ang="0">
                    <a:pos x="T0" y="T1"/>
                  </a:cxn>
                  <a:cxn ang="0">
                    <a:pos x="T2" y="T3"/>
                  </a:cxn>
                  <a:cxn ang="0">
                    <a:pos x="T4" y="T5"/>
                  </a:cxn>
                  <a:cxn ang="0">
                    <a:pos x="T6" y="T7"/>
                  </a:cxn>
                  <a:cxn ang="0">
                    <a:pos x="T8" y="T9"/>
                  </a:cxn>
                </a:cxnLst>
                <a:rect l="0" t="0" r="r" b="b"/>
                <a:pathLst>
                  <a:path w="105" h="215">
                    <a:moveTo>
                      <a:pt x="35" y="0"/>
                    </a:moveTo>
                    <a:lnTo>
                      <a:pt x="105" y="9"/>
                    </a:lnTo>
                    <a:lnTo>
                      <a:pt x="63" y="215"/>
                    </a:lnTo>
                    <a:lnTo>
                      <a:pt x="0" y="212"/>
                    </a:lnTo>
                    <a:lnTo>
                      <a:pt x="35" y="0"/>
                    </a:lnTo>
                    <a:close/>
                  </a:path>
                </a:pathLst>
              </a:custGeom>
              <a:solidFill>
                <a:srgbClr val="00BCF2">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83" name="Freeform 499">
                <a:extLst>
                  <a:ext uri="{FF2B5EF4-FFF2-40B4-BE49-F238E27FC236}">
                    <a16:creationId xmlns:a16="http://schemas.microsoft.com/office/drawing/2014/main" id="{F62846F7-6A32-4E77-BEC1-462C6CA46DA9}"/>
                  </a:ext>
                </a:extLst>
              </p:cNvPr>
              <p:cNvSpPr>
                <a:spLocks/>
              </p:cNvSpPr>
              <p:nvPr/>
            </p:nvSpPr>
            <p:spPr bwMode="auto">
              <a:xfrm flipH="1">
                <a:off x="10005129" y="6328274"/>
                <a:ext cx="194185" cy="215759"/>
              </a:xfrm>
              <a:custGeom>
                <a:avLst/>
                <a:gdLst>
                  <a:gd name="T0" fmla="*/ 0 w 45"/>
                  <a:gd name="T1" fmla="*/ 48 h 50"/>
                  <a:gd name="T2" fmla="*/ 44 w 45"/>
                  <a:gd name="T3" fmla="*/ 50 h 50"/>
                  <a:gd name="T4" fmla="*/ 45 w 45"/>
                  <a:gd name="T5" fmla="*/ 2 h 50"/>
                  <a:gd name="T6" fmla="*/ 5 w 45"/>
                  <a:gd name="T7" fmla="*/ 0 h 50"/>
                  <a:gd name="T8" fmla="*/ 0 w 45"/>
                  <a:gd name="T9" fmla="*/ 48 h 50"/>
                </a:gdLst>
                <a:ahLst/>
                <a:cxnLst>
                  <a:cxn ang="0">
                    <a:pos x="T0" y="T1"/>
                  </a:cxn>
                  <a:cxn ang="0">
                    <a:pos x="T2" y="T3"/>
                  </a:cxn>
                  <a:cxn ang="0">
                    <a:pos x="T4" y="T5"/>
                  </a:cxn>
                  <a:cxn ang="0">
                    <a:pos x="T6" y="T7"/>
                  </a:cxn>
                  <a:cxn ang="0">
                    <a:pos x="T8" y="T9"/>
                  </a:cxn>
                </a:cxnLst>
                <a:rect l="0" t="0" r="r" b="b"/>
                <a:pathLst>
                  <a:path w="45" h="50">
                    <a:moveTo>
                      <a:pt x="0" y="48"/>
                    </a:moveTo>
                    <a:lnTo>
                      <a:pt x="44" y="50"/>
                    </a:lnTo>
                    <a:lnTo>
                      <a:pt x="45" y="2"/>
                    </a:lnTo>
                    <a:lnTo>
                      <a:pt x="5" y="0"/>
                    </a:lnTo>
                    <a:lnTo>
                      <a:pt x="0" y="48"/>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84" name="Freeform 500">
                <a:extLst>
                  <a:ext uri="{FF2B5EF4-FFF2-40B4-BE49-F238E27FC236}">
                    <a16:creationId xmlns:a16="http://schemas.microsoft.com/office/drawing/2014/main" id="{05CE628E-5FE8-45D9-8170-3D10DFB3B146}"/>
                  </a:ext>
                </a:extLst>
              </p:cNvPr>
              <p:cNvSpPr>
                <a:spLocks/>
              </p:cNvSpPr>
              <p:nvPr/>
            </p:nvSpPr>
            <p:spPr bwMode="auto">
              <a:xfrm flipH="1">
                <a:off x="9672859" y="6457728"/>
                <a:ext cx="548029" cy="220073"/>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85" name="Freeform 501">
                <a:extLst>
                  <a:ext uri="{FF2B5EF4-FFF2-40B4-BE49-F238E27FC236}">
                    <a16:creationId xmlns:a16="http://schemas.microsoft.com/office/drawing/2014/main" id="{22941E7A-19C3-41CC-904B-E2506F6E9444}"/>
                  </a:ext>
                </a:extLst>
              </p:cNvPr>
              <p:cNvSpPr>
                <a:spLocks/>
              </p:cNvSpPr>
              <p:nvPr/>
            </p:nvSpPr>
            <p:spPr bwMode="auto">
              <a:xfrm flipH="1">
                <a:off x="9841151" y="5590373"/>
                <a:ext cx="375423" cy="919132"/>
              </a:xfrm>
              <a:custGeom>
                <a:avLst/>
                <a:gdLst>
                  <a:gd name="T0" fmla="*/ 17 w 87"/>
                  <a:gd name="T1" fmla="*/ 0 h 213"/>
                  <a:gd name="T2" fmla="*/ 87 w 87"/>
                  <a:gd name="T3" fmla="*/ 2 h 213"/>
                  <a:gd name="T4" fmla="*/ 64 w 87"/>
                  <a:gd name="T5" fmla="*/ 210 h 213"/>
                  <a:gd name="T6" fmla="*/ 0 w 87"/>
                  <a:gd name="T7" fmla="*/ 213 h 213"/>
                  <a:gd name="T8" fmla="*/ 17 w 87"/>
                  <a:gd name="T9" fmla="*/ 0 h 213"/>
                </a:gdLst>
                <a:ahLst/>
                <a:cxnLst>
                  <a:cxn ang="0">
                    <a:pos x="T0" y="T1"/>
                  </a:cxn>
                  <a:cxn ang="0">
                    <a:pos x="T2" y="T3"/>
                  </a:cxn>
                  <a:cxn ang="0">
                    <a:pos x="T4" y="T5"/>
                  </a:cxn>
                  <a:cxn ang="0">
                    <a:pos x="T6" y="T7"/>
                  </a:cxn>
                  <a:cxn ang="0">
                    <a:pos x="T8" y="T9"/>
                  </a:cxn>
                </a:cxnLst>
                <a:rect l="0" t="0" r="r" b="b"/>
                <a:pathLst>
                  <a:path w="87" h="213">
                    <a:moveTo>
                      <a:pt x="17" y="0"/>
                    </a:moveTo>
                    <a:lnTo>
                      <a:pt x="87" y="2"/>
                    </a:lnTo>
                    <a:lnTo>
                      <a:pt x="64" y="210"/>
                    </a:lnTo>
                    <a:lnTo>
                      <a:pt x="0" y="213"/>
                    </a:lnTo>
                    <a:lnTo>
                      <a:pt x="17" y="0"/>
                    </a:lnTo>
                    <a:close/>
                  </a:path>
                </a:pathLst>
              </a:custGeom>
              <a:solidFill>
                <a:srgbClr val="00BCF2">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86" name="Freeform 502">
                <a:extLst>
                  <a:ext uri="{FF2B5EF4-FFF2-40B4-BE49-F238E27FC236}">
                    <a16:creationId xmlns:a16="http://schemas.microsoft.com/office/drawing/2014/main" id="{04FF294A-F70F-4882-AA42-C9E0BEBA1E64}"/>
                  </a:ext>
                </a:extLst>
              </p:cNvPr>
              <p:cNvSpPr>
                <a:spLocks/>
              </p:cNvSpPr>
              <p:nvPr/>
            </p:nvSpPr>
            <p:spPr bwMode="auto">
              <a:xfrm flipH="1">
                <a:off x="9884304" y="3553611"/>
                <a:ext cx="763788" cy="1307499"/>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87" name="Freeform 503">
                <a:extLst>
                  <a:ext uri="{FF2B5EF4-FFF2-40B4-BE49-F238E27FC236}">
                    <a16:creationId xmlns:a16="http://schemas.microsoft.com/office/drawing/2014/main" id="{A422AA5F-65DF-4588-AC21-64915E700215}"/>
                  </a:ext>
                </a:extLst>
              </p:cNvPr>
              <p:cNvSpPr>
                <a:spLocks/>
              </p:cNvSpPr>
              <p:nvPr/>
            </p:nvSpPr>
            <p:spPr bwMode="auto">
              <a:xfrm flipH="1">
                <a:off x="10285613" y="3790947"/>
                <a:ext cx="366792" cy="578234"/>
              </a:xfrm>
              <a:custGeom>
                <a:avLst/>
                <a:gdLst>
                  <a:gd name="T0" fmla="*/ 25 w 85"/>
                  <a:gd name="T1" fmla="*/ 134 h 134"/>
                  <a:gd name="T2" fmla="*/ 85 w 85"/>
                  <a:gd name="T3" fmla="*/ 127 h 134"/>
                  <a:gd name="T4" fmla="*/ 75 w 85"/>
                  <a:gd name="T5" fmla="*/ 0 h 134"/>
                  <a:gd name="T6" fmla="*/ 0 w 85"/>
                  <a:gd name="T7" fmla="*/ 7 h 134"/>
                  <a:gd name="T8" fmla="*/ 25 w 85"/>
                  <a:gd name="T9" fmla="*/ 134 h 134"/>
                </a:gdLst>
                <a:ahLst/>
                <a:cxnLst>
                  <a:cxn ang="0">
                    <a:pos x="T0" y="T1"/>
                  </a:cxn>
                  <a:cxn ang="0">
                    <a:pos x="T2" y="T3"/>
                  </a:cxn>
                  <a:cxn ang="0">
                    <a:pos x="T4" y="T5"/>
                  </a:cxn>
                  <a:cxn ang="0">
                    <a:pos x="T6" y="T7"/>
                  </a:cxn>
                  <a:cxn ang="0">
                    <a:pos x="T8" y="T9"/>
                  </a:cxn>
                </a:cxnLst>
                <a:rect l="0" t="0" r="r" b="b"/>
                <a:pathLst>
                  <a:path w="85" h="134">
                    <a:moveTo>
                      <a:pt x="25" y="134"/>
                    </a:moveTo>
                    <a:lnTo>
                      <a:pt x="85" y="127"/>
                    </a:lnTo>
                    <a:lnTo>
                      <a:pt x="75" y="0"/>
                    </a:lnTo>
                    <a:lnTo>
                      <a:pt x="0" y="7"/>
                    </a:lnTo>
                    <a:lnTo>
                      <a:pt x="25" y="134"/>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88" name="Freeform 504">
                <a:extLst>
                  <a:ext uri="{FF2B5EF4-FFF2-40B4-BE49-F238E27FC236}">
                    <a16:creationId xmlns:a16="http://schemas.microsoft.com/office/drawing/2014/main" id="{3EB55B40-5BC3-4406-B001-22373298686E}"/>
                  </a:ext>
                </a:extLst>
              </p:cNvPr>
              <p:cNvSpPr>
                <a:spLocks/>
              </p:cNvSpPr>
              <p:nvPr/>
            </p:nvSpPr>
            <p:spPr bwMode="auto">
              <a:xfrm flipH="1">
                <a:off x="10315822" y="3622654"/>
                <a:ext cx="349532" cy="345215"/>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89" name="Freeform 505">
                <a:extLst>
                  <a:ext uri="{FF2B5EF4-FFF2-40B4-BE49-F238E27FC236}">
                    <a16:creationId xmlns:a16="http://schemas.microsoft.com/office/drawing/2014/main" id="{2195F5DF-97E3-4E50-A700-4828F663507F}"/>
                  </a:ext>
                </a:extLst>
              </p:cNvPr>
              <p:cNvSpPr>
                <a:spLocks/>
              </p:cNvSpPr>
              <p:nvPr/>
            </p:nvSpPr>
            <p:spPr bwMode="auto">
              <a:xfrm flipH="1">
                <a:off x="10272670" y="4200888"/>
                <a:ext cx="284802" cy="284802"/>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90" name="Freeform 506">
                <a:extLst>
                  <a:ext uri="{FF2B5EF4-FFF2-40B4-BE49-F238E27FC236}">
                    <a16:creationId xmlns:a16="http://schemas.microsoft.com/office/drawing/2014/main" id="{1C901070-DFF5-48CA-9DD8-5E1770E278D9}"/>
                  </a:ext>
                </a:extLst>
              </p:cNvPr>
              <p:cNvSpPr>
                <a:spLocks/>
              </p:cNvSpPr>
              <p:nvPr/>
            </p:nvSpPr>
            <p:spPr bwMode="auto">
              <a:xfrm flipH="1">
                <a:off x="9810946" y="4093009"/>
                <a:ext cx="634332" cy="379736"/>
              </a:xfrm>
              <a:custGeom>
                <a:avLst/>
                <a:gdLst>
                  <a:gd name="T0" fmla="*/ 147 w 147"/>
                  <a:gd name="T1" fmla="*/ 48 h 88"/>
                  <a:gd name="T2" fmla="*/ 135 w 147"/>
                  <a:gd name="T3" fmla="*/ 0 h 88"/>
                  <a:gd name="T4" fmla="*/ 0 w 147"/>
                  <a:gd name="T5" fmla="*/ 29 h 88"/>
                  <a:gd name="T6" fmla="*/ 13 w 147"/>
                  <a:gd name="T7" fmla="*/ 88 h 88"/>
                  <a:gd name="T8" fmla="*/ 147 w 147"/>
                  <a:gd name="T9" fmla="*/ 48 h 88"/>
                </a:gdLst>
                <a:ahLst/>
                <a:cxnLst>
                  <a:cxn ang="0">
                    <a:pos x="T0" y="T1"/>
                  </a:cxn>
                  <a:cxn ang="0">
                    <a:pos x="T2" y="T3"/>
                  </a:cxn>
                  <a:cxn ang="0">
                    <a:pos x="T4" y="T5"/>
                  </a:cxn>
                  <a:cxn ang="0">
                    <a:pos x="T6" y="T7"/>
                  </a:cxn>
                  <a:cxn ang="0">
                    <a:pos x="T8" y="T9"/>
                  </a:cxn>
                </a:cxnLst>
                <a:rect l="0" t="0" r="r" b="b"/>
                <a:pathLst>
                  <a:path w="147" h="88">
                    <a:moveTo>
                      <a:pt x="147" y="48"/>
                    </a:moveTo>
                    <a:lnTo>
                      <a:pt x="135" y="0"/>
                    </a:lnTo>
                    <a:lnTo>
                      <a:pt x="0" y="29"/>
                    </a:lnTo>
                    <a:lnTo>
                      <a:pt x="13" y="88"/>
                    </a:lnTo>
                    <a:lnTo>
                      <a:pt x="147" y="48"/>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91" name="Freeform 507">
                <a:extLst>
                  <a:ext uri="{FF2B5EF4-FFF2-40B4-BE49-F238E27FC236}">
                    <a16:creationId xmlns:a16="http://schemas.microsoft.com/office/drawing/2014/main" id="{8ED594F9-A92E-448A-8366-A790B51C687C}"/>
                  </a:ext>
                </a:extLst>
              </p:cNvPr>
              <p:cNvSpPr>
                <a:spLocks/>
              </p:cNvSpPr>
              <p:nvPr/>
            </p:nvSpPr>
            <p:spPr bwMode="auto">
              <a:xfrm flipH="1">
                <a:off x="9858414" y="4093009"/>
                <a:ext cx="461726" cy="133770"/>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0078D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92" name="Freeform 547">
                <a:extLst>
                  <a:ext uri="{FF2B5EF4-FFF2-40B4-BE49-F238E27FC236}">
                    <a16:creationId xmlns:a16="http://schemas.microsoft.com/office/drawing/2014/main" id="{CDFB55B5-472A-4EE6-988C-0AE853201FDA}"/>
                  </a:ext>
                </a:extLst>
              </p:cNvPr>
              <p:cNvSpPr>
                <a:spLocks/>
              </p:cNvSpPr>
              <p:nvPr/>
            </p:nvSpPr>
            <p:spPr bwMode="auto">
              <a:xfrm flipH="1">
                <a:off x="10151845" y="3441415"/>
                <a:ext cx="233019" cy="224390"/>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93" name="Freeform 548">
                <a:extLst>
                  <a:ext uri="{FF2B5EF4-FFF2-40B4-BE49-F238E27FC236}">
                    <a16:creationId xmlns:a16="http://schemas.microsoft.com/office/drawing/2014/main" id="{AE7F13BF-9419-4A1C-9A4F-AAAE037752F5}"/>
                  </a:ext>
                </a:extLst>
              </p:cNvPr>
              <p:cNvSpPr>
                <a:spLocks/>
              </p:cNvSpPr>
              <p:nvPr/>
            </p:nvSpPr>
            <p:spPr bwMode="auto">
              <a:xfrm flipH="1">
                <a:off x="10151845" y="3406895"/>
                <a:ext cx="220076" cy="155346"/>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94" name="Freeform 549">
                <a:extLst>
                  <a:ext uri="{FF2B5EF4-FFF2-40B4-BE49-F238E27FC236}">
                    <a16:creationId xmlns:a16="http://schemas.microsoft.com/office/drawing/2014/main" id="{25E95C5D-46E7-450A-9C97-B72A9B9410E2}"/>
                  </a:ext>
                </a:extLst>
              </p:cNvPr>
              <p:cNvSpPr>
                <a:spLocks/>
              </p:cNvSpPr>
              <p:nvPr/>
            </p:nvSpPr>
            <p:spPr bwMode="auto">
              <a:xfrm flipH="1">
                <a:off x="9992183" y="3065997"/>
                <a:ext cx="617072" cy="483299"/>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95" name="Freeform 550">
                <a:extLst>
                  <a:ext uri="{FF2B5EF4-FFF2-40B4-BE49-F238E27FC236}">
                    <a16:creationId xmlns:a16="http://schemas.microsoft.com/office/drawing/2014/main" id="{7FE240CD-AB84-4D27-A206-AC8DBE3E31C4}"/>
                  </a:ext>
                </a:extLst>
              </p:cNvPr>
              <p:cNvSpPr>
                <a:spLocks/>
              </p:cNvSpPr>
              <p:nvPr/>
            </p:nvSpPr>
            <p:spPr bwMode="auto">
              <a:xfrm flipH="1">
                <a:off x="9987869" y="2906334"/>
                <a:ext cx="496247" cy="522136"/>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96" name="Freeform 551">
                <a:extLst>
                  <a:ext uri="{FF2B5EF4-FFF2-40B4-BE49-F238E27FC236}">
                    <a16:creationId xmlns:a16="http://schemas.microsoft.com/office/drawing/2014/main" id="{04350A69-F57B-4C81-95A8-3ABD490E19F8}"/>
                  </a:ext>
                </a:extLst>
              </p:cNvPr>
              <p:cNvSpPr>
                <a:spLocks/>
              </p:cNvSpPr>
              <p:nvPr/>
            </p:nvSpPr>
            <p:spPr bwMode="auto">
              <a:xfrm flipH="1">
                <a:off x="10061228" y="3247235"/>
                <a:ext cx="34521" cy="34521"/>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97" name="Freeform 552">
                <a:extLst>
                  <a:ext uri="{FF2B5EF4-FFF2-40B4-BE49-F238E27FC236}">
                    <a16:creationId xmlns:a16="http://schemas.microsoft.com/office/drawing/2014/main" id="{2AFA4DEB-8E66-47FA-B8F0-0FC327BFC6B8}"/>
                  </a:ext>
                </a:extLst>
              </p:cNvPr>
              <p:cNvSpPr>
                <a:spLocks/>
              </p:cNvSpPr>
              <p:nvPr/>
            </p:nvSpPr>
            <p:spPr bwMode="auto">
              <a:xfrm flipH="1">
                <a:off x="10048280" y="3432784"/>
                <a:ext cx="112196" cy="51782"/>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98" name="Freeform 553">
                <a:extLst>
                  <a:ext uri="{FF2B5EF4-FFF2-40B4-BE49-F238E27FC236}">
                    <a16:creationId xmlns:a16="http://schemas.microsoft.com/office/drawing/2014/main" id="{3A56C326-1060-47B7-9563-EA641EB4B613}"/>
                  </a:ext>
                </a:extLst>
              </p:cNvPr>
              <p:cNvSpPr>
                <a:spLocks/>
              </p:cNvSpPr>
              <p:nvPr/>
            </p:nvSpPr>
            <p:spPr bwMode="auto">
              <a:xfrm flipH="1">
                <a:off x="10048280" y="3432786"/>
                <a:ext cx="112196" cy="43151"/>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99" name="Freeform 554">
                <a:extLst>
                  <a:ext uri="{FF2B5EF4-FFF2-40B4-BE49-F238E27FC236}">
                    <a16:creationId xmlns:a16="http://schemas.microsoft.com/office/drawing/2014/main" id="{AEAB9C5C-16F6-4850-A053-C07D5B6085C2}"/>
                  </a:ext>
                </a:extLst>
              </p:cNvPr>
              <p:cNvSpPr>
                <a:spLocks/>
              </p:cNvSpPr>
              <p:nvPr/>
            </p:nvSpPr>
            <p:spPr bwMode="auto">
              <a:xfrm flipH="1">
                <a:off x="9530460" y="4032599"/>
                <a:ext cx="198499" cy="94934"/>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00" name="Freeform 555">
                <a:extLst>
                  <a:ext uri="{FF2B5EF4-FFF2-40B4-BE49-F238E27FC236}">
                    <a16:creationId xmlns:a16="http://schemas.microsoft.com/office/drawing/2014/main" id="{951295C3-A2F6-47BE-B070-4932F656566D}"/>
                  </a:ext>
                </a:extLst>
              </p:cNvPr>
              <p:cNvSpPr>
                <a:spLocks/>
              </p:cNvSpPr>
              <p:nvPr/>
            </p:nvSpPr>
            <p:spPr bwMode="auto">
              <a:xfrm flipH="1">
                <a:off x="9573611" y="4153422"/>
                <a:ext cx="172607" cy="64726"/>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01" name="Freeform 556">
                <a:extLst>
                  <a:ext uri="{FF2B5EF4-FFF2-40B4-BE49-F238E27FC236}">
                    <a16:creationId xmlns:a16="http://schemas.microsoft.com/office/drawing/2014/main" id="{80C15731-0284-4B7A-8AD9-3C3A324E7DBB}"/>
                  </a:ext>
                </a:extLst>
              </p:cNvPr>
              <p:cNvSpPr>
                <a:spLocks/>
              </p:cNvSpPr>
              <p:nvPr/>
            </p:nvSpPr>
            <p:spPr bwMode="auto">
              <a:xfrm flipH="1">
                <a:off x="9590873" y="4200888"/>
                <a:ext cx="133771" cy="47465"/>
              </a:xfrm>
              <a:custGeom>
                <a:avLst/>
                <a:gdLst>
                  <a:gd name="T0" fmla="*/ 0 w 45"/>
                  <a:gd name="T1" fmla="*/ 7 h 16"/>
                  <a:gd name="T2" fmla="*/ 8 w 45"/>
                  <a:gd name="T3" fmla="*/ 0 h 16"/>
                  <a:gd name="T4" fmla="*/ 37 w 45"/>
                  <a:gd name="T5" fmla="*/ 1 h 16"/>
                  <a:gd name="T6" fmla="*/ 45 w 45"/>
                  <a:gd name="T7" fmla="*/ 8 h 16"/>
                  <a:gd name="T8" fmla="*/ 37 w 45"/>
                  <a:gd name="T9" fmla="*/ 16 h 16"/>
                  <a:gd name="T10" fmla="*/ 8 w 45"/>
                  <a:gd name="T11" fmla="*/ 15 h 16"/>
                  <a:gd name="T12" fmla="*/ 0 w 45"/>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45" h="16">
                    <a:moveTo>
                      <a:pt x="0" y="7"/>
                    </a:moveTo>
                    <a:cubicBezTo>
                      <a:pt x="0" y="3"/>
                      <a:pt x="3" y="0"/>
                      <a:pt x="8" y="0"/>
                    </a:cubicBezTo>
                    <a:cubicBezTo>
                      <a:pt x="37" y="1"/>
                      <a:pt x="37" y="1"/>
                      <a:pt x="37" y="1"/>
                    </a:cubicBezTo>
                    <a:cubicBezTo>
                      <a:pt x="41" y="1"/>
                      <a:pt x="45" y="4"/>
                      <a:pt x="45" y="8"/>
                    </a:cubicBezTo>
                    <a:cubicBezTo>
                      <a:pt x="45" y="13"/>
                      <a:pt x="41" y="16"/>
                      <a:pt x="37" y="16"/>
                    </a:cubicBezTo>
                    <a:cubicBezTo>
                      <a:pt x="8" y="15"/>
                      <a:pt x="8" y="15"/>
                      <a:pt x="8" y="15"/>
                    </a:cubicBezTo>
                    <a:cubicBezTo>
                      <a:pt x="3" y="15"/>
                      <a:pt x="0" y="12"/>
                      <a:pt x="0" y="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02" name="Freeform 557">
                <a:extLst>
                  <a:ext uri="{FF2B5EF4-FFF2-40B4-BE49-F238E27FC236}">
                    <a16:creationId xmlns:a16="http://schemas.microsoft.com/office/drawing/2014/main" id="{6CD9583F-CD2C-4E9A-A50A-EB04F59D7818}"/>
                  </a:ext>
                </a:extLst>
              </p:cNvPr>
              <p:cNvSpPr>
                <a:spLocks/>
              </p:cNvSpPr>
              <p:nvPr/>
            </p:nvSpPr>
            <p:spPr bwMode="auto">
              <a:xfrm flipH="1">
                <a:off x="9552034" y="4101640"/>
                <a:ext cx="211445" cy="77674"/>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03" name="Freeform 558">
                <a:extLst>
                  <a:ext uri="{FF2B5EF4-FFF2-40B4-BE49-F238E27FC236}">
                    <a16:creationId xmlns:a16="http://schemas.microsoft.com/office/drawing/2014/main" id="{89EA8F76-68EA-4A21-95D3-42EE76CEB4CD}"/>
                  </a:ext>
                </a:extLst>
              </p:cNvPr>
              <p:cNvSpPr>
                <a:spLocks/>
              </p:cNvSpPr>
              <p:nvPr/>
            </p:nvSpPr>
            <p:spPr bwMode="auto">
              <a:xfrm flipH="1">
                <a:off x="9586559" y="4062802"/>
                <a:ext cx="172607" cy="207130"/>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04" name="Freeform 559">
                <a:extLst>
                  <a:ext uri="{FF2B5EF4-FFF2-40B4-BE49-F238E27FC236}">
                    <a16:creationId xmlns:a16="http://schemas.microsoft.com/office/drawing/2014/main" id="{E6794801-480E-42AC-AC74-075F61B01AFF}"/>
                  </a:ext>
                </a:extLst>
              </p:cNvPr>
              <p:cNvSpPr>
                <a:spLocks/>
              </p:cNvSpPr>
              <p:nvPr/>
            </p:nvSpPr>
            <p:spPr bwMode="auto">
              <a:xfrm flipH="1">
                <a:off x="9664228" y="4036911"/>
                <a:ext cx="125141" cy="112196"/>
              </a:xfrm>
              <a:custGeom>
                <a:avLst/>
                <a:gdLst>
                  <a:gd name="T0" fmla="*/ 43 w 43"/>
                  <a:gd name="T1" fmla="*/ 8 h 38"/>
                  <a:gd name="T2" fmla="*/ 0 w 43"/>
                  <a:gd name="T3" fmla="*/ 17 h 38"/>
                  <a:gd name="T4" fmla="*/ 13 w 43"/>
                  <a:gd name="T5" fmla="*/ 38 h 38"/>
                </a:gdLst>
                <a:ahLst/>
                <a:cxnLst>
                  <a:cxn ang="0">
                    <a:pos x="T0" y="T1"/>
                  </a:cxn>
                  <a:cxn ang="0">
                    <a:pos x="T2" y="T3"/>
                  </a:cxn>
                  <a:cxn ang="0">
                    <a:pos x="T4" y="T5"/>
                  </a:cxn>
                </a:cxnLst>
                <a:rect l="0" t="0" r="r" b="b"/>
                <a:pathLst>
                  <a:path w="43" h="38">
                    <a:moveTo>
                      <a:pt x="43" y="8"/>
                    </a:moveTo>
                    <a:cubicBezTo>
                      <a:pt x="33" y="0"/>
                      <a:pt x="10" y="6"/>
                      <a:pt x="0" y="17"/>
                    </a:cubicBezTo>
                    <a:cubicBezTo>
                      <a:pt x="3" y="32"/>
                      <a:pt x="13" y="38"/>
                      <a:pt x="13" y="38"/>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05" name="Freeform 560">
                <a:extLst>
                  <a:ext uri="{FF2B5EF4-FFF2-40B4-BE49-F238E27FC236}">
                    <a16:creationId xmlns:a16="http://schemas.microsoft.com/office/drawing/2014/main" id="{C79F0CE5-1D17-40AB-AA63-71CF587CA467}"/>
                  </a:ext>
                </a:extLst>
              </p:cNvPr>
              <p:cNvSpPr>
                <a:spLocks/>
              </p:cNvSpPr>
              <p:nvPr/>
            </p:nvSpPr>
            <p:spPr bwMode="auto">
              <a:xfrm flipH="1">
                <a:off x="9810946" y="3704644"/>
                <a:ext cx="850091" cy="781047"/>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78D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406" name="Group 405">
                <a:extLst>
                  <a:ext uri="{FF2B5EF4-FFF2-40B4-BE49-F238E27FC236}">
                    <a16:creationId xmlns:a16="http://schemas.microsoft.com/office/drawing/2014/main" id="{BC3FABCE-1B19-4E37-B821-A9DEF5A2289F}"/>
                  </a:ext>
                </a:extLst>
              </p:cNvPr>
              <p:cNvGrpSpPr/>
              <p:nvPr userDrawn="1"/>
            </p:nvGrpSpPr>
            <p:grpSpPr>
              <a:xfrm>
                <a:off x="6615887" y="5069524"/>
                <a:ext cx="5476335" cy="1600126"/>
                <a:chOff x="-6908800" y="8097838"/>
                <a:chExt cx="4938713" cy="1443038"/>
              </a:xfrm>
            </p:grpSpPr>
            <p:sp>
              <p:nvSpPr>
                <p:cNvPr id="521" name="Freeform 385">
                  <a:extLst>
                    <a:ext uri="{FF2B5EF4-FFF2-40B4-BE49-F238E27FC236}">
                      <a16:creationId xmlns:a16="http://schemas.microsoft.com/office/drawing/2014/main" id="{53B77409-87F7-4667-86D6-D5522D7214D2}"/>
                    </a:ext>
                  </a:extLst>
                </p:cNvPr>
                <p:cNvSpPr>
                  <a:spLocks/>
                </p:cNvSpPr>
                <p:nvPr userDrawn="1"/>
              </p:nvSpPr>
              <p:spPr bwMode="auto">
                <a:xfrm>
                  <a:off x="-6908800" y="8097838"/>
                  <a:ext cx="4938713" cy="1443038"/>
                </a:xfrm>
                <a:custGeom>
                  <a:avLst/>
                  <a:gdLst>
                    <a:gd name="T0" fmla="*/ 1543 w 1543"/>
                    <a:gd name="T1" fmla="*/ 38 h 453"/>
                    <a:gd name="T2" fmla="*/ 1543 w 1543"/>
                    <a:gd name="T3" fmla="*/ 36 h 453"/>
                    <a:gd name="T4" fmla="*/ 1098 w 1543"/>
                    <a:gd name="T5" fmla="*/ 0 h 453"/>
                    <a:gd name="T6" fmla="*/ 444 w 1543"/>
                    <a:gd name="T7" fmla="*/ 0 h 453"/>
                    <a:gd name="T8" fmla="*/ 0 w 1543"/>
                    <a:gd name="T9" fmla="*/ 36 h 453"/>
                    <a:gd name="T10" fmla="*/ 0 w 1543"/>
                    <a:gd name="T11" fmla="*/ 36 h 453"/>
                    <a:gd name="T12" fmla="*/ 0 w 1543"/>
                    <a:gd name="T13" fmla="*/ 36 h 453"/>
                    <a:gd name="T14" fmla="*/ 0 w 1543"/>
                    <a:gd name="T15" fmla="*/ 60 h 453"/>
                    <a:gd name="T16" fmla="*/ 135 w 1543"/>
                    <a:gd name="T17" fmla="*/ 86 h 453"/>
                    <a:gd name="T18" fmla="*/ 134 w 1543"/>
                    <a:gd name="T19" fmla="*/ 118 h 453"/>
                    <a:gd name="T20" fmla="*/ 53 w 1543"/>
                    <a:gd name="T21" fmla="*/ 437 h 453"/>
                    <a:gd name="T22" fmla="*/ 55 w 1543"/>
                    <a:gd name="T23" fmla="*/ 453 h 453"/>
                    <a:gd name="T24" fmla="*/ 65 w 1543"/>
                    <a:gd name="T25" fmla="*/ 449 h 453"/>
                    <a:gd name="T26" fmla="*/ 157 w 1543"/>
                    <a:gd name="T27" fmla="*/ 128 h 453"/>
                    <a:gd name="T28" fmla="*/ 179 w 1543"/>
                    <a:gd name="T29" fmla="*/ 89 h 453"/>
                    <a:gd name="T30" fmla="*/ 444 w 1543"/>
                    <a:gd name="T31" fmla="*/ 96 h 453"/>
                    <a:gd name="T32" fmla="*/ 1098 w 1543"/>
                    <a:gd name="T33" fmla="*/ 96 h 453"/>
                    <a:gd name="T34" fmla="*/ 1364 w 1543"/>
                    <a:gd name="T35" fmla="*/ 89 h 453"/>
                    <a:gd name="T36" fmla="*/ 1385 w 1543"/>
                    <a:gd name="T37" fmla="*/ 128 h 453"/>
                    <a:gd name="T38" fmla="*/ 1478 w 1543"/>
                    <a:gd name="T39" fmla="*/ 449 h 453"/>
                    <a:gd name="T40" fmla="*/ 1488 w 1543"/>
                    <a:gd name="T41" fmla="*/ 453 h 453"/>
                    <a:gd name="T42" fmla="*/ 1489 w 1543"/>
                    <a:gd name="T43" fmla="*/ 437 h 453"/>
                    <a:gd name="T44" fmla="*/ 1409 w 1543"/>
                    <a:gd name="T45" fmla="*/ 118 h 453"/>
                    <a:gd name="T46" fmla="*/ 1408 w 1543"/>
                    <a:gd name="T47" fmla="*/ 86 h 453"/>
                    <a:gd name="T48" fmla="*/ 1543 w 1543"/>
                    <a:gd name="T49" fmla="*/ 60 h 453"/>
                    <a:gd name="T50" fmla="*/ 1543 w 1543"/>
                    <a:gd name="T51" fmla="*/ 58 h 453"/>
                    <a:gd name="T52" fmla="*/ 1543 w 1543"/>
                    <a:gd name="T53" fmla="*/ 3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3" h="453">
                      <a:moveTo>
                        <a:pt x="1543" y="38"/>
                      </a:moveTo>
                      <a:cubicBezTo>
                        <a:pt x="1543" y="37"/>
                        <a:pt x="1543" y="37"/>
                        <a:pt x="1543" y="36"/>
                      </a:cubicBezTo>
                      <a:cubicBezTo>
                        <a:pt x="1543" y="16"/>
                        <a:pt x="1343" y="0"/>
                        <a:pt x="1098" y="0"/>
                      </a:cubicBezTo>
                      <a:cubicBezTo>
                        <a:pt x="444" y="0"/>
                        <a:pt x="444" y="0"/>
                        <a:pt x="444" y="0"/>
                      </a:cubicBezTo>
                      <a:cubicBezTo>
                        <a:pt x="200" y="0"/>
                        <a:pt x="0" y="16"/>
                        <a:pt x="0" y="36"/>
                      </a:cubicBezTo>
                      <a:cubicBezTo>
                        <a:pt x="0" y="36"/>
                        <a:pt x="0" y="36"/>
                        <a:pt x="0" y="36"/>
                      </a:cubicBezTo>
                      <a:cubicBezTo>
                        <a:pt x="0" y="36"/>
                        <a:pt x="0" y="36"/>
                        <a:pt x="0" y="36"/>
                      </a:cubicBezTo>
                      <a:cubicBezTo>
                        <a:pt x="0" y="60"/>
                        <a:pt x="0" y="60"/>
                        <a:pt x="0" y="60"/>
                      </a:cubicBezTo>
                      <a:cubicBezTo>
                        <a:pt x="0" y="70"/>
                        <a:pt x="51" y="79"/>
                        <a:pt x="135" y="86"/>
                      </a:cubicBezTo>
                      <a:cubicBezTo>
                        <a:pt x="136" y="98"/>
                        <a:pt x="134" y="118"/>
                        <a:pt x="134" y="118"/>
                      </a:cubicBezTo>
                      <a:cubicBezTo>
                        <a:pt x="134" y="118"/>
                        <a:pt x="57" y="423"/>
                        <a:pt x="53" y="437"/>
                      </a:cubicBezTo>
                      <a:cubicBezTo>
                        <a:pt x="50" y="451"/>
                        <a:pt x="49" y="453"/>
                        <a:pt x="55" y="453"/>
                      </a:cubicBezTo>
                      <a:cubicBezTo>
                        <a:pt x="61" y="453"/>
                        <a:pt x="65" y="449"/>
                        <a:pt x="65" y="449"/>
                      </a:cubicBezTo>
                      <a:cubicBezTo>
                        <a:pt x="65" y="449"/>
                        <a:pt x="144" y="179"/>
                        <a:pt x="157" y="128"/>
                      </a:cubicBezTo>
                      <a:cubicBezTo>
                        <a:pt x="163" y="108"/>
                        <a:pt x="171" y="96"/>
                        <a:pt x="179" y="89"/>
                      </a:cubicBezTo>
                      <a:cubicBezTo>
                        <a:pt x="253" y="94"/>
                        <a:pt x="345" y="96"/>
                        <a:pt x="444" y="96"/>
                      </a:cubicBezTo>
                      <a:cubicBezTo>
                        <a:pt x="1098" y="96"/>
                        <a:pt x="1098" y="96"/>
                        <a:pt x="1098" y="96"/>
                      </a:cubicBezTo>
                      <a:cubicBezTo>
                        <a:pt x="1198" y="96"/>
                        <a:pt x="1290" y="94"/>
                        <a:pt x="1364" y="89"/>
                      </a:cubicBezTo>
                      <a:cubicBezTo>
                        <a:pt x="1372" y="96"/>
                        <a:pt x="1380" y="108"/>
                        <a:pt x="1385" y="128"/>
                      </a:cubicBezTo>
                      <a:cubicBezTo>
                        <a:pt x="1399" y="179"/>
                        <a:pt x="1478" y="449"/>
                        <a:pt x="1478" y="449"/>
                      </a:cubicBezTo>
                      <a:cubicBezTo>
                        <a:pt x="1478" y="449"/>
                        <a:pt x="1482" y="453"/>
                        <a:pt x="1488" y="453"/>
                      </a:cubicBezTo>
                      <a:cubicBezTo>
                        <a:pt x="1494" y="453"/>
                        <a:pt x="1493" y="451"/>
                        <a:pt x="1489" y="437"/>
                      </a:cubicBezTo>
                      <a:cubicBezTo>
                        <a:pt x="1486" y="423"/>
                        <a:pt x="1409" y="118"/>
                        <a:pt x="1409" y="118"/>
                      </a:cubicBezTo>
                      <a:cubicBezTo>
                        <a:pt x="1409" y="118"/>
                        <a:pt x="1407" y="98"/>
                        <a:pt x="1408" y="86"/>
                      </a:cubicBezTo>
                      <a:cubicBezTo>
                        <a:pt x="1491" y="79"/>
                        <a:pt x="1543" y="70"/>
                        <a:pt x="1543" y="60"/>
                      </a:cubicBezTo>
                      <a:cubicBezTo>
                        <a:pt x="1543" y="59"/>
                        <a:pt x="1543" y="59"/>
                        <a:pt x="1543" y="58"/>
                      </a:cubicBezTo>
                      <a:lnTo>
                        <a:pt x="1543" y="38"/>
                      </a:lnTo>
                      <a:close/>
                    </a:path>
                  </a:pathLst>
                </a:custGeom>
                <a:solidFill>
                  <a:srgbClr val="FFFFF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2" name="Freeform 386">
                  <a:extLst>
                    <a:ext uri="{FF2B5EF4-FFF2-40B4-BE49-F238E27FC236}">
                      <a16:creationId xmlns:a16="http://schemas.microsoft.com/office/drawing/2014/main" id="{95E387E0-CE49-4D6C-8347-47BA6BE20C4D}"/>
                    </a:ext>
                  </a:extLst>
                </p:cNvPr>
                <p:cNvSpPr>
                  <a:spLocks/>
                </p:cNvSpPr>
                <p:nvPr userDrawn="1"/>
              </p:nvSpPr>
              <p:spPr bwMode="auto">
                <a:xfrm>
                  <a:off x="-6908800" y="8212138"/>
                  <a:ext cx="4938713" cy="1328738"/>
                </a:xfrm>
                <a:custGeom>
                  <a:avLst/>
                  <a:gdLst>
                    <a:gd name="T0" fmla="*/ 1543 w 1543"/>
                    <a:gd name="T1" fmla="*/ 2 h 417"/>
                    <a:gd name="T2" fmla="*/ 1098 w 1543"/>
                    <a:gd name="T3" fmla="*/ 37 h 417"/>
                    <a:gd name="T4" fmla="*/ 444 w 1543"/>
                    <a:gd name="T5" fmla="*/ 37 h 417"/>
                    <a:gd name="T6" fmla="*/ 0 w 1543"/>
                    <a:gd name="T7" fmla="*/ 0 h 417"/>
                    <a:gd name="T8" fmla="*/ 0 w 1543"/>
                    <a:gd name="T9" fmla="*/ 0 h 417"/>
                    <a:gd name="T10" fmla="*/ 0 w 1543"/>
                    <a:gd name="T11" fmla="*/ 24 h 417"/>
                    <a:gd name="T12" fmla="*/ 135 w 1543"/>
                    <a:gd name="T13" fmla="*/ 50 h 417"/>
                    <a:gd name="T14" fmla="*/ 134 w 1543"/>
                    <a:gd name="T15" fmla="*/ 82 h 417"/>
                    <a:gd name="T16" fmla="*/ 53 w 1543"/>
                    <a:gd name="T17" fmla="*/ 401 h 417"/>
                    <a:gd name="T18" fmla="*/ 55 w 1543"/>
                    <a:gd name="T19" fmla="*/ 417 h 417"/>
                    <a:gd name="T20" fmla="*/ 65 w 1543"/>
                    <a:gd name="T21" fmla="*/ 413 h 417"/>
                    <a:gd name="T22" fmla="*/ 157 w 1543"/>
                    <a:gd name="T23" fmla="*/ 92 h 417"/>
                    <a:gd name="T24" fmla="*/ 179 w 1543"/>
                    <a:gd name="T25" fmla="*/ 53 h 417"/>
                    <a:gd name="T26" fmla="*/ 444 w 1543"/>
                    <a:gd name="T27" fmla="*/ 60 h 417"/>
                    <a:gd name="T28" fmla="*/ 1098 w 1543"/>
                    <a:gd name="T29" fmla="*/ 60 h 417"/>
                    <a:gd name="T30" fmla="*/ 1364 w 1543"/>
                    <a:gd name="T31" fmla="*/ 53 h 417"/>
                    <a:gd name="T32" fmla="*/ 1385 w 1543"/>
                    <a:gd name="T33" fmla="*/ 92 h 417"/>
                    <a:gd name="T34" fmla="*/ 1478 w 1543"/>
                    <a:gd name="T35" fmla="*/ 413 h 417"/>
                    <a:gd name="T36" fmla="*/ 1488 w 1543"/>
                    <a:gd name="T37" fmla="*/ 417 h 417"/>
                    <a:gd name="T38" fmla="*/ 1489 w 1543"/>
                    <a:gd name="T39" fmla="*/ 401 h 417"/>
                    <a:gd name="T40" fmla="*/ 1409 w 1543"/>
                    <a:gd name="T41" fmla="*/ 82 h 417"/>
                    <a:gd name="T42" fmla="*/ 1408 w 1543"/>
                    <a:gd name="T43" fmla="*/ 50 h 417"/>
                    <a:gd name="T44" fmla="*/ 1543 w 1543"/>
                    <a:gd name="T45" fmla="*/ 24 h 417"/>
                    <a:gd name="T46" fmla="*/ 1543 w 1543"/>
                    <a:gd name="T47" fmla="*/ 22 h 417"/>
                    <a:gd name="T48" fmla="*/ 1543 w 1543"/>
                    <a:gd name="T49" fmla="*/ 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3" h="417">
                      <a:moveTo>
                        <a:pt x="1543" y="2"/>
                      </a:moveTo>
                      <a:cubicBezTo>
                        <a:pt x="1534" y="21"/>
                        <a:pt x="1338" y="37"/>
                        <a:pt x="1098" y="37"/>
                      </a:cubicBezTo>
                      <a:cubicBezTo>
                        <a:pt x="444" y="37"/>
                        <a:pt x="444" y="37"/>
                        <a:pt x="444" y="37"/>
                      </a:cubicBezTo>
                      <a:cubicBezTo>
                        <a:pt x="200" y="37"/>
                        <a:pt x="0" y="20"/>
                        <a:pt x="0" y="0"/>
                      </a:cubicBezTo>
                      <a:cubicBezTo>
                        <a:pt x="0" y="0"/>
                        <a:pt x="0" y="0"/>
                        <a:pt x="0" y="0"/>
                      </a:cubicBezTo>
                      <a:cubicBezTo>
                        <a:pt x="0" y="24"/>
                        <a:pt x="0" y="24"/>
                        <a:pt x="0" y="24"/>
                      </a:cubicBezTo>
                      <a:cubicBezTo>
                        <a:pt x="0" y="34"/>
                        <a:pt x="51" y="43"/>
                        <a:pt x="135" y="50"/>
                      </a:cubicBezTo>
                      <a:cubicBezTo>
                        <a:pt x="136" y="62"/>
                        <a:pt x="134" y="82"/>
                        <a:pt x="134" y="82"/>
                      </a:cubicBezTo>
                      <a:cubicBezTo>
                        <a:pt x="134" y="82"/>
                        <a:pt x="57" y="387"/>
                        <a:pt x="53" y="401"/>
                      </a:cubicBezTo>
                      <a:cubicBezTo>
                        <a:pt x="50" y="415"/>
                        <a:pt x="49" y="417"/>
                        <a:pt x="55" y="417"/>
                      </a:cubicBezTo>
                      <a:cubicBezTo>
                        <a:pt x="61" y="417"/>
                        <a:pt x="65" y="413"/>
                        <a:pt x="65" y="413"/>
                      </a:cubicBezTo>
                      <a:cubicBezTo>
                        <a:pt x="65" y="413"/>
                        <a:pt x="144" y="143"/>
                        <a:pt x="157" y="92"/>
                      </a:cubicBezTo>
                      <a:cubicBezTo>
                        <a:pt x="163" y="72"/>
                        <a:pt x="171" y="60"/>
                        <a:pt x="179" y="53"/>
                      </a:cubicBezTo>
                      <a:cubicBezTo>
                        <a:pt x="253" y="58"/>
                        <a:pt x="345" y="60"/>
                        <a:pt x="444" y="60"/>
                      </a:cubicBezTo>
                      <a:cubicBezTo>
                        <a:pt x="1098" y="60"/>
                        <a:pt x="1098" y="60"/>
                        <a:pt x="1098" y="60"/>
                      </a:cubicBezTo>
                      <a:cubicBezTo>
                        <a:pt x="1198" y="60"/>
                        <a:pt x="1290" y="58"/>
                        <a:pt x="1364" y="53"/>
                      </a:cubicBezTo>
                      <a:cubicBezTo>
                        <a:pt x="1372" y="60"/>
                        <a:pt x="1380" y="72"/>
                        <a:pt x="1385" y="92"/>
                      </a:cubicBezTo>
                      <a:cubicBezTo>
                        <a:pt x="1399" y="143"/>
                        <a:pt x="1478" y="413"/>
                        <a:pt x="1478" y="413"/>
                      </a:cubicBezTo>
                      <a:cubicBezTo>
                        <a:pt x="1478" y="413"/>
                        <a:pt x="1482" y="417"/>
                        <a:pt x="1488" y="417"/>
                      </a:cubicBezTo>
                      <a:cubicBezTo>
                        <a:pt x="1494" y="417"/>
                        <a:pt x="1493" y="415"/>
                        <a:pt x="1489" y="401"/>
                      </a:cubicBezTo>
                      <a:cubicBezTo>
                        <a:pt x="1486" y="387"/>
                        <a:pt x="1409" y="82"/>
                        <a:pt x="1409" y="82"/>
                      </a:cubicBezTo>
                      <a:cubicBezTo>
                        <a:pt x="1409" y="82"/>
                        <a:pt x="1407" y="62"/>
                        <a:pt x="1408" y="50"/>
                      </a:cubicBezTo>
                      <a:cubicBezTo>
                        <a:pt x="1491" y="43"/>
                        <a:pt x="1543" y="34"/>
                        <a:pt x="1543" y="24"/>
                      </a:cubicBezTo>
                      <a:cubicBezTo>
                        <a:pt x="1543" y="23"/>
                        <a:pt x="1543" y="23"/>
                        <a:pt x="1543" y="22"/>
                      </a:cubicBezTo>
                      <a:lnTo>
                        <a:pt x="1543" y="2"/>
                      </a:lnTo>
                      <a:close/>
                    </a:path>
                  </a:pathLst>
                </a:custGeom>
                <a:solidFill>
                  <a:srgbClr val="50505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407" name="Group 406">
                <a:extLst>
                  <a:ext uri="{FF2B5EF4-FFF2-40B4-BE49-F238E27FC236}">
                    <a16:creationId xmlns:a16="http://schemas.microsoft.com/office/drawing/2014/main" id="{553347BF-6C30-49C9-AD99-FE8711D15729}"/>
                  </a:ext>
                </a:extLst>
              </p:cNvPr>
              <p:cNvGrpSpPr/>
              <p:nvPr userDrawn="1"/>
            </p:nvGrpSpPr>
            <p:grpSpPr>
              <a:xfrm flipH="1">
                <a:off x="9482931" y="3786706"/>
                <a:ext cx="2276540" cy="2881892"/>
                <a:chOff x="1662112" y="4988435"/>
                <a:chExt cx="666750" cy="844046"/>
              </a:xfrm>
            </p:grpSpPr>
            <p:sp>
              <p:nvSpPr>
                <p:cNvPr id="475" name="Freeform 134">
                  <a:extLst>
                    <a:ext uri="{FF2B5EF4-FFF2-40B4-BE49-F238E27FC236}">
                      <a16:creationId xmlns:a16="http://schemas.microsoft.com/office/drawing/2014/main" id="{EECED927-B7A6-409A-A8DB-695DD52FA669}"/>
                    </a:ext>
                  </a:extLst>
                </p:cNvPr>
                <p:cNvSpPr>
                  <a:spLocks/>
                </p:cNvSpPr>
                <p:nvPr userDrawn="1"/>
              </p:nvSpPr>
              <p:spPr bwMode="auto">
                <a:xfrm>
                  <a:off x="2063749" y="5265743"/>
                  <a:ext cx="103188" cy="79375"/>
                </a:xfrm>
                <a:custGeom>
                  <a:avLst/>
                  <a:gdLst>
                    <a:gd name="T0" fmla="*/ 121 w 123"/>
                    <a:gd name="T1" fmla="*/ 56 h 94"/>
                    <a:gd name="T2" fmla="*/ 119 w 123"/>
                    <a:gd name="T3" fmla="*/ 48 h 94"/>
                    <a:gd name="T4" fmla="*/ 122 w 123"/>
                    <a:gd name="T5" fmla="*/ 43 h 94"/>
                    <a:gd name="T6" fmla="*/ 116 w 123"/>
                    <a:gd name="T7" fmla="*/ 33 h 94"/>
                    <a:gd name="T8" fmla="*/ 104 w 123"/>
                    <a:gd name="T9" fmla="*/ 30 h 94"/>
                    <a:gd name="T10" fmla="*/ 86 w 123"/>
                    <a:gd name="T11" fmla="*/ 23 h 94"/>
                    <a:gd name="T12" fmla="*/ 106 w 123"/>
                    <a:gd name="T13" fmla="*/ 17 h 94"/>
                    <a:gd name="T14" fmla="*/ 109 w 123"/>
                    <a:gd name="T15" fmla="*/ 0 h 94"/>
                    <a:gd name="T16" fmla="*/ 64 w 123"/>
                    <a:gd name="T17" fmla="*/ 11 h 94"/>
                    <a:gd name="T18" fmla="*/ 49 w 123"/>
                    <a:gd name="T19" fmla="*/ 25 h 94"/>
                    <a:gd name="T20" fmla="*/ 0 w 123"/>
                    <a:gd name="T21" fmla="*/ 49 h 94"/>
                    <a:gd name="T22" fmla="*/ 10 w 123"/>
                    <a:gd name="T23" fmla="*/ 94 h 94"/>
                    <a:gd name="T24" fmla="*/ 66 w 123"/>
                    <a:gd name="T25" fmla="*/ 80 h 94"/>
                    <a:gd name="T26" fmla="*/ 93 w 123"/>
                    <a:gd name="T27" fmla="*/ 82 h 94"/>
                    <a:gd name="T28" fmla="*/ 103 w 123"/>
                    <a:gd name="T29" fmla="*/ 76 h 94"/>
                    <a:gd name="T30" fmla="*/ 103 w 123"/>
                    <a:gd name="T31" fmla="*/ 72 h 94"/>
                    <a:gd name="T32" fmla="*/ 112 w 123"/>
                    <a:gd name="T33" fmla="*/ 66 h 94"/>
                    <a:gd name="T34" fmla="*/ 111 w 123"/>
                    <a:gd name="T35" fmla="*/ 61 h 94"/>
                    <a:gd name="T36" fmla="*/ 111 w 123"/>
                    <a:gd name="T37" fmla="*/ 61 h 94"/>
                    <a:gd name="T38" fmla="*/ 121 w 123"/>
                    <a:gd name="T39" fmla="*/ 5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94">
                      <a:moveTo>
                        <a:pt x="121" y="56"/>
                      </a:moveTo>
                      <a:cubicBezTo>
                        <a:pt x="122" y="53"/>
                        <a:pt x="121" y="50"/>
                        <a:pt x="119" y="48"/>
                      </a:cubicBezTo>
                      <a:cubicBezTo>
                        <a:pt x="120" y="46"/>
                        <a:pt x="121" y="45"/>
                        <a:pt x="122" y="43"/>
                      </a:cubicBezTo>
                      <a:cubicBezTo>
                        <a:pt x="123" y="39"/>
                        <a:pt x="120" y="35"/>
                        <a:pt x="116" y="33"/>
                      </a:cubicBezTo>
                      <a:cubicBezTo>
                        <a:pt x="104" y="30"/>
                        <a:pt x="104" y="30"/>
                        <a:pt x="104" y="30"/>
                      </a:cubicBezTo>
                      <a:cubicBezTo>
                        <a:pt x="86" y="23"/>
                        <a:pt x="86" y="23"/>
                        <a:pt x="86" y="23"/>
                      </a:cubicBezTo>
                      <a:cubicBezTo>
                        <a:pt x="106" y="17"/>
                        <a:pt x="106" y="17"/>
                        <a:pt x="106" y="17"/>
                      </a:cubicBezTo>
                      <a:cubicBezTo>
                        <a:pt x="106" y="17"/>
                        <a:pt x="117" y="8"/>
                        <a:pt x="109" y="0"/>
                      </a:cubicBezTo>
                      <a:cubicBezTo>
                        <a:pt x="75" y="11"/>
                        <a:pt x="75" y="5"/>
                        <a:pt x="64" y="11"/>
                      </a:cubicBezTo>
                      <a:cubicBezTo>
                        <a:pt x="57" y="14"/>
                        <a:pt x="52" y="19"/>
                        <a:pt x="49" y="25"/>
                      </a:cubicBezTo>
                      <a:cubicBezTo>
                        <a:pt x="47" y="28"/>
                        <a:pt x="0" y="49"/>
                        <a:pt x="0" y="49"/>
                      </a:cubicBezTo>
                      <a:cubicBezTo>
                        <a:pt x="10" y="94"/>
                        <a:pt x="10" y="94"/>
                        <a:pt x="10" y="94"/>
                      </a:cubicBezTo>
                      <a:cubicBezTo>
                        <a:pt x="66" y="80"/>
                        <a:pt x="66" y="80"/>
                        <a:pt x="66" y="80"/>
                      </a:cubicBezTo>
                      <a:cubicBezTo>
                        <a:pt x="93" y="82"/>
                        <a:pt x="93" y="82"/>
                        <a:pt x="93" y="82"/>
                      </a:cubicBezTo>
                      <a:cubicBezTo>
                        <a:pt x="97" y="83"/>
                        <a:pt x="101" y="81"/>
                        <a:pt x="103" y="76"/>
                      </a:cubicBezTo>
                      <a:cubicBezTo>
                        <a:pt x="103" y="75"/>
                        <a:pt x="103" y="73"/>
                        <a:pt x="103" y="72"/>
                      </a:cubicBezTo>
                      <a:cubicBezTo>
                        <a:pt x="107" y="73"/>
                        <a:pt x="110" y="70"/>
                        <a:pt x="112" y="66"/>
                      </a:cubicBezTo>
                      <a:cubicBezTo>
                        <a:pt x="112" y="65"/>
                        <a:pt x="112" y="63"/>
                        <a:pt x="111" y="61"/>
                      </a:cubicBezTo>
                      <a:cubicBezTo>
                        <a:pt x="111" y="61"/>
                        <a:pt x="111" y="61"/>
                        <a:pt x="111" y="61"/>
                      </a:cubicBezTo>
                      <a:cubicBezTo>
                        <a:pt x="116" y="63"/>
                        <a:pt x="120" y="60"/>
                        <a:pt x="121" y="5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6" name="Freeform 199">
                  <a:extLst>
                    <a:ext uri="{FF2B5EF4-FFF2-40B4-BE49-F238E27FC236}">
                      <a16:creationId xmlns:a16="http://schemas.microsoft.com/office/drawing/2014/main" id="{5279282D-4465-42D7-B940-ED0336D3A1D3}"/>
                    </a:ext>
                  </a:extLst>
                </p:cNvPr>
                <p:cNvSpPr>
                  <a:spLocks/>
                </p:cNvSpPr>
                <p:nvPr userDrawn="1"/>
              </p:nvSpPr>
              <p:spPr bwMode="auto">
                <a:xfrm>
                  <a:off x="1785937" y="5192718"/>
                  <a:ext cx="192088" cy="219075"/>
                </a:xfrm>
                <a:custGeom>
                  <a:avLst/>
                  <a:gdLst>
                    <a:gd name="T0" fmla="*/ 211 w 229"/>
                    <a:gd name="T1" fmla="*/ 248 h 261"/>
                    <a:gd name="T2" fmla="*/ 159 w 229"/>
                    <a:gd name="T3" fmla="*/ 243 h 261"/>
                    <a:gd name="T4" fmla="*/ 23 w 229"/>
                    <a:gd name="T5" fmla="*/ 94 h 261"/>
                    <a:gd name="T6" fmla="*/ 23 w 229"/>
                    <a:gd name="T7" fmla="*/ 94 h 261"/>
                    <a:gd name="T8" fmla="*/ 17 w 229"/>
                    <a:gd name="T9" fmla="*/ 88 h 261"/>
                    <a:gd name="T10" fmla="*/ 25 w 229"/>
                    <a:gd name="T11" fmla="*/ 17 h 261"/>
                    <a:gd name="T12" fmla="*/ 96 w 229"/>
                    <a:gd name="T13" fmla="*/ 25 h 261"/>
                    <a:gd name="T14" fmla="*/ 96 w 229"/>
                    <a:gd name="T15" fmla="*/ 25 h 261"/>
                    <a:gd name="T16" fmla="*/ 216 w 229"/>
                    <a:gd name="T17" fmla="*/ 197 h 261"/>
                    <a:gd name="T18" fmla="*/ 211 w 229"/>
                    <a:gd name="T19" fmla="*/ 24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61">
                      <a:moveTo>
                        <a:pt x="211" y="248"/>
                      </a:moveTo>
                      <a:cubicBezTo>
                        <a:pt x="195" y="261"/>
                        <a:pt x="172" y="259"/>
                        <a:pt x="159" y="243"/>
                      </a:cubicBezTo>
                      <a:cubicBezTo>
                        <a:pt x="23" y="94"/>
                        <a:pt x="23" y="94"/>
                        <a:pt x="23" y="94"/>
                      </a:cubicBezTo>
                      <a:cubicBezTo>
                        <a:pt x="23" y="94"/>
                        <a:pt x="23" y="94"/>
                        <a:pt x="23" y="94"/>
                      </a:cubicBezTo>
                      <a:cubicBezTo>
                        <a:pt x="17" y="88"/>
                        <a:pt x="17" y="88"/>
                        <a:pt x="17" y="88"/>
                      </a:cubicBezTo>
                      <a:cubicBezTo>
                        <a:pt x="0" y="66"/>
                        <a:pt x="3" y="34"/>
                        <a:pt x="25" y="17"/>
                      </a:cubicBezTo>
                      <a:cubicBezTo>
                        <a:pt x="47" y="0"/>
                        <a:pt x="79" y="3"/>
                        <a:pt x="96" y="25"/>
                      </a:cubicBezTo>
                      <a:cubicBezTo>
                        <a:pt x="96" y="25"/>
                        <a:pt x="96" y="25"/>
                        <a:pt x="96" y="25"/>
                      </a:cubicBezTo>
                      <a:cubicBezTo>
                        <a:pt x="216" y="197"/>
                        <a:pt x="216" y="197"/>
                        <a:pt x="216" y="197"/>
                      </a:cubicBezTo>
                      <a:cubicBezTo>
                        <a:pt x="229" y="212"/>
                        <a:pt x="226" y="236"/>
                        <a:pt x="211" y="248"/>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7" name="Freeform 202">
                  <a:extLst>
                    <a:ext uri="{FF2B5EF4-FFF2-40B4-BE49-F238E27FC236}">
                      <a16:creationId xmlns:a16="http://schemas.microsoft.com/office/drawing/2014/main" id="{2CA5B8F9-1A50-49FE-906A-EE1D77243ACF}"/>
                    </a:ext>
                  </a:extLst>
                </p:cNvPr>
                <p:cNvSpPr>
                  <a:spLocks/>
                </p:cNvSpPr>
                <p:nvPr userDrawn="1"/>
              </p:nvSpPr>
              <p:spPr bwMode="auto">
                <a:xfrm>
                  <a:off x="1825624" y="5126043"/>
                  <a:ext cx="69850" cy="111125"/>
                </a:xfrm>
                <a:custGeom>
                  <a:avLst/>
                  <a:gdLst>
                    <a:gd name="T0" fmla="*/ 84 w 84"/>
                    <a:gd name="T1" fmla="*/ 0 h 133"/>
                    <a:gd name="T2" fmla="*/ 9 w 84"/>
                    <a:gd name="T3" fmla="*/ 1 h 133"/>
                    <a:gd name="T4" fmla="*/ 2 w 84"/>
                    <a:gd name="T5" fmla="*/ 77 h 133"/>
                    <a:gd name="T6" fmla="*/ 33 w 84"/>
                    <a:gd name="T7" fmla="*/ 131 h 133"/>
                    <a:gd name="T8" fmla="*/ 76 w 84"/>
                    <a:gd name="T9" fmla="*/ 82 h 133"/>
                    <a:gd name="T10" fmla="*/ 84 w 84"/>
                    <a:gd name="T11" fmla="*/ 0 h 133"/>
                  </a:gdLst>
                  <a:ahLst/>
                  <a:cxnLst>
                    <a:cxn ang="0">
                      <a:pos x="T0" y="T1"/>
                    </a:cxn>
                    <a:cxn ang="0">
                      <a:pos x="T2" y="T3"/>
                    </a:cxn>
                    <a:cxn ang="0">
                      <a:pos x="T4" y="T5"/>
                    </a:cxn>
                    <a:cxn ang="0">
                      <a:pos x="T6" y="T7"/>
                    </a:cxn>
                    <a:cxn ang="0">
                      <a:pos x="T8" y="T9"/>
                    </a:cxn>
                    <a:cxn ang="0">
                      <a:pos x="T10" y="T11"/>
                    </a:cxn>
                  </a:cxnLst>
                  <a:rect l="0" t="0" r="r" b="b"/>
                  <a:pathLst>
                    <a:path w="84" h="133">
                      <a:moveTo>
                        <a:pt x="84" y="0"/>
                      </a:moveTo>
                      <a:cubicBezTo>
                        <a:pt x="9" y="1"/>
                        <a:pt x="9" y="1"/>
                        <a:pt x="9" y="1"/>
                      </a:cubicBezTo>
                      <a:cubicBezTo>
                        <a:pt x="4" y="58"/>
                        <a:pt x="3" y="53"/>
                        <a:pt x="2" y="77"/>
                      </a:cubicBezTo>
                      <a:cubicBezTo>
                        <a:pt x="2" y="93"/>
                        <a:pt x="0" y="128"/>
                        <a:pt x="33" y="131"/>
                      </a:cubicBezTo>
                      <a:cubicBezTo>
                        <a:pt x="65" y="133"/>
                        <a:pt x="74" y="97"/>
                        <a:pt x="76" y="82"/>
                      </a:cubicBezTo>
                      <a:cubicBezTo>
                        <a:pt x="79" y="61"/>
                        <a:pt x="84" y="0"/>
                        <a:pt x="84" y="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8" name="Freeform 203">
                  <a:extLst>
                    <a:ext uri="{FF2B5EF4-FFF2-40B4-BE49-F238E27FC236}">
                      <a16:creationId xmlns:a16="http://schemas.microsoft.com/office/drawing/2014/main" id="{A6071F2E-9A12-46AD-9D69-6D1705C2F8A0}"/>
                    </a:ext>
                  </a:extLst>
                </p:cNvPr>
                <p:cNvSpPr>
                  <a:spLocks/>
                </p:cNvSpPr>
                <p:nvPr userDrawn="1"/>
              </p:nvSpPr>
              <p:spPr bwMode="auto">
                <a:xfrm>
                  <a:off x="1835149" y="5159380"/>
                  <a:ext cx="57150" cy="28575"/>
                </a:xfrm>
                <a:custGeom>
                  <a:avLst/>
                  <a:gdLst>
                    <a:gd name="T0" fmla="*/ 1 w 68"/>
                    <a:gd name="T1" fmla="*/ 0 h 35"/>
                    <a:gd name="T2" fmla="*/ 65 w 68"/>
                    <a:gd name="T3" fmla="*/ 32 h 35"/>
                    <a:gd name="T4" fmla="*/ 68 w 68"/>
                    <a:gd name="T5" fmla="*/ 9 h 35"/>
                    <a:gd name="T6" fmla="*/ 1 w 68"/>
                    <a:gd name="T7" fmla="*/ 0 h 35"/>
                  </a:gdLst>
                  <a:ahLst/>
                  <a:cxnLst>
                    <a:cxn ang="0">
                      <a:pos x="T0" y="T1"/>
                    </a:cxn>
                    <a:cxn ang="0">
                      <a:pos x="T2" y="T3"/>
                    </a:cxn>
                    <a:cxn ang="0">
                      <a:pos x="T4" y="T5"/>
                    </a:cxn>
                    <a:cxn ang="0">
                      <a:pos x="T6" y="T7"/>
                    </a:cxn>
                  </a:cxnLst>
                  <a:rect l="0" t="0" r="r" b="b"/>
                  <a:pathLst>
                    <a:path w="68" h="35">
                      <a:moveTo>
                        <a:pt x="1" y="0"/>
                      </a:moveTo>
                      <a:cubicBezTo>
                        <a:pt x="0" y="16"/>
                        <a:pt x="44" y="35"/>
                        <a:pt x="65" y="32"/>
                      </a:cubicBezTo>
                      <a:cubicBezTo>
                        <a:pt x="68" y="9"/>
                        <a:pt x="68" y="9"/>
                        <a:pt x="68" y="9"/>
                      </a:cubicBezTo>
                      <a:lnTo>
                        <a:pt x="1" y="0"/>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9" name="Freeform 204">
                  <a:extLst>
                    <a:ext uri="{FF2B5EF4-FFF2-40B4-BE49-F238E27FC236}">
                      <a16:creationId xmlns:a16="http://schemas.microsoft.com/office/drawing/2014/main" id="{77139409-8564-4244-A60D-F307DBC34C1B}"/>
                    </a:ext>
                  </a:extLst>
                </p:cNvPr>
                <p:cNvSpPr>
                  <a:spLocks/>
                </p:cNvSpPr>
                <p:nvPr userDrawn="1"/>
              </p:nvSpPr>
              <p:spPr bwMode="auto">
                <a:xfrm>
                  <a:off x="1766987" y="4988435"/>
                  <a:ext cx="177800" cy="185738"/>
                </a:xfrm>
                <a:custGeom>
                  <a:avLst/>
                  <a:gdLst>
                    <a:gd name="T0" fmla="*/ 174 w 213"/>
                    <a:gd name="T1" fmla="*/ 88 h 221"/>
                    <a:gd name="T2" fmla="*/ 22 w 213"/>
                    <a:gd name="T3" fmla="*/ 81 h 221"/>
                    <a:gd name="T4" fmla="*/ 85 w 213"/>
                    <a:gd name="T5" fmla="*/ 205 h 221"/>
                    <a:gd name="T6" fmla="*/ 174 w 213"/>
                    <a:gd name="T7" fmla="*/ 212 h 221"/>
                    <a:gd name="T8" fmla="*/ 192 w 213"/>
                    <a:gd name="T9" fmla="*/ 201 h 221"/>
                    <a:gd name="T10" fmla="*/ 191 w 213"/>
                    <a:gd name="T11" fmla="*/ 144 h 221"/>
                    <a:gd name="T12" fmla="*/ 203 w 213"/>
                    <a:gd name="T13" fmla="*/ 129 h 221"/>
                    <a:gd name="T14" fmla="*/ 177 w 213"/>
                    <a:gd name="T15" fmla="*/ 95 h 221"/>
                    <a:gd name="T16" fmla="*/ 174 w 213"/>
                    <a:gd name="T17" fmla="*/ 89 h 221"/>
                    <a:gd name="T18" fmla="*/ 174 w 213"/>
                    <a:gd name="T19" fmla="*/ 8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21">
                      <a:moveTo>
                        <a:pt x="174" y="88"/>
                      </a:moveTo>
                      <a:cubicBezTo>
                        <a:pt x="143" y="0"/>
                        <a:pt x="43" y="17"/>
                        <a:pt x="22" y="81"/>
                      </a:cubicBezTo>
                      <a:cubicBezTo>
                        <a:pt x="0" y="146"/>
                        <a:pt x="43" y="185"/>
                        <a:pt x="85" y="205"/>
                      </a:cubicBezTo>
                      <a:cubicBezTo>
                        <a:pt x="116" y="221"/>
                        <a:pt x="155" y="214"/>
                        <a:pt x="174" y="212"/>
                      </a:cubicBezTo>
                      <a:cubicBezTo>
                        <a:pt x="193" y="210"/>
                        <a:pt x="192" y="201"/>
                        <a:pt x="192" y="201"/>
                      </a:cubicBezTo>
                      <a:cubicBezTo>
                        <a:pt x="191" y="189"/>
                        <a:pt x="186" y="151"/>
                        <a:pt x="191" y="144"/>
                      </a:cubicBezTo>
                      <a:cubicBezTo>
                        <a:pt x="213" y="138"/>
                        <a:pt x="205" y="131"/>
                        <a:pt x="203" y="129"/>
                      </a:cubicBezTo>
                      <a:cubicBezTo>
                        <a:pt x="201" y="126"/>
                        <a:pt x="178" y="102"/>
                        <a:pt x="177" y="95"/>
                      </a:cubicBezTo>
                      <a:cubicBezTo>
                        <a:pt x="176" y="93"/>
                        <a:pt x="175" y="91"/>
                        <a:pt x="174" y="89"/>
                      </a:cubicBezTo>
                      <a:cubicBezTo>
                        <a:pt x="174" y="88"/>
                        <a:pt x="174" y="88"/>
                        <a:pt x="174" y="8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0" name="Freeform 205">
                  <a:extLst>
                    <a:ext uri="{FF2B5EF4-FFF2-40B4-BE49-F238E27FC236}">
                      <a16:creationId xmlns:a16="http://schemas.microsoft.com/office/drawing/2014/main" id="{3E286426-9E69-404C-8917-B6DDB29666BE}"/>
                    </a:ext>
                  </a:extLst>
                </p:cNvPr>
                <p:cNvSpPr>
                  <a:spLocks/>
                </p:cNvSpPr>
                <p:nvPr userDrawn="1"/>
              </p:nvSpPr>
              <p:spPr bwMode="auto">
                <a:xfrm>
                  <a:off x="1835149" y="5092705"/>
                  <a:ext cx="11113" cy="31750"/>
                </a:xfrm>
                <a:custGeom>
                  <a:avLst/>
                  <a:gdLst>
                    <a:gd name="T0" fmla="*/ 13 w 13"/>
                    <a:gd name="T1" fmla="*/ 1 h 38"/>
                    <a:gd name="T2" fmla="*/ 2 w 13"/>
                    <a:gd name="T3" fmla="*/ 5 h 38"/>
                    <a:gd name="T4" fmla="*/ 5 w 13"/>
                    <a:gd name="T5" fmla="*/ 26 h 38"/>
                    <a:gd name="T6" fmla="*/ 11 w 13"/>
                    <a:gd name="T7" fmla="*/ 38 h 38"/>
                    <a:gd name="T8" fmla="*/ 13 w 13"/>
                    <a:gd name="T9" fmla="*/ 1 h 38"/>
                  </a:gdLst>
                  <a:ahLst/>
                  <a:cxnLst>
                    <a:cxn ang="0">
                      <a:pos x="T0" y="T1"/>
                    </a:cxn>
                    <a:cxn ang="0">
                      <a:pos x="T2" y="T3"/>
                    </a:cxn>
                    <a:cxn ang="0">
                      <a:pos x="T4" y="T5"/>
                    </a:cxn>
                    <a:cxn ang="0">
                      <a:pos x="T6" y="T7"/>
                    </a:cxn>
                    <a:cxn ang="0">
                      <a:pos x="T8" y="T9"/>
                    </a:cxn>
                  </a:cxnLst>
                  <a:rect l="0" t="0" r="r" b="b"/>
                  <a:pathLst>
                    <a:path w="13" h="38">
                      <a:moveTo>
                        <a:pt x="13" y="1"/>
                      </a:moveTo>
                      <a:cubicBezTo>
                        <a:pt x="8" y="0"/>
                        <a:pt x="3" y="0"/>
                        <a:pt x="2" y="5"/>
                      </a:cubicBezTo>
                      <a:cubicBezTo>
                        <a:pt x="0" y="10"/>
                        <a:pt x="2" y="19"/>
                        <a:pt x="5" y="26"/>
                      </a:cubicBezTo>
                      <a:cubicBezTo>
                        <a:pt x="7" y="31"/>
                        <a:pt x="9" y="35"/>
                        <a:pt x="11" y="38"/>
                      </a:cubicBezTo>
                      <a:cubicBezTo>
                        <a:pt x="9" y="30"/>
                        <a:pt x="5" y="8"/>
                        <a:pt x="13" y="1"/>
                      </a:cubicBez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1" name="Freeform 206">
                  <a:extLst>
                    <a:ext uri="{FF2B5EF4-FFF2-40B4-BE49-F238E27FC236}">
                      <a16:creationId xmlns:a16="http://schemas.microsoft.com/office/drawing/2014/main" id="{E1AA2D26-6877-488F-9D13-54AEC2DC4FD1}"/>
                    </a:ext>
                  </a:extLst>
                </p:cNvPr>
                <p:cNvSpPr>
                  <a:spLocks/>
                </p:cNvSpPr>
                <p:nvPr userDrawn="1"/>
              </p:nvSpPr>
              <p:spPr bwMode="auto">
                <a:xfrm>
                  <a:off x="1762124" y="4991105"/>
                  <a:ext cx="153988" cy="171450"/>
                </a:xfrm>
                <a:custGeom>
                  <a:avLst/>
                  <a:gdLst>
                    <a:gd name="T0" fmla="*/ 169 w 184"/>
                    <a:gd name="T1" fmla="*/ 87 h 205"/>
                    <a:gd name="T2" fmla="*/ 150 w 184"/>
                    <a:gd name="T3" fmla="*/ 64 h 205"/>
                    <a:gd name="T4" fmla="*/ 164 w 184"/>
                    <a:gd name="T5" fmla="*/ 89 h 205"/>
                    <a:gd name="T6" fmla="*/ 119 w 184"/>
                    <a:gd name="T7" fmla="*/ 122 h 205"/>
                    <a:gd name="T8" fmla="*/ 100 w 184"/>
                    <a:gd name="T9" fmla="*/ 122 h 205"/>
                    <a:gd name="T10" fmla="*/ 89 w 184"/>
                    <a:gd name="T11" fmla="*/ 126 h 205"/>
                    <a:gd name="T12" fmla="*/ 92 w 184"/>
                    <a:gd name="T13" fmla="*/ 147 h 205"/>
                    <a:gd name="T14" fmla="*/ 98 w 184"/>
                    <a:gd name="T15" fmla="*/ 159 h 205"/>
                    <a:gd name="T16" fmla="*/ 87 w 184"/>
                    <a:gd name="T17" fmla="*/ 205 h 205"/>
                    <a:gd name="T18" fmla="*/ 87 w 184"/>
                    <a:gd name="T19" fmla="*/ 205 h 205"/>
                    <a:gd name="T20" fmla="*/ 28 w 184"/>
                    <a:gd name="T21" fmla="*/ 159 h 205"/>
                    <a:gd name="T22" fmla="*/ 60 w 184"/>
                    <a:gd name="T23" fmla="*/ 30 h 205"/>
                    <a:gd name="T24" fmla="*/ 184 w 184"/>
                    <a:gd name="T25" fmla="*/ 81 h 205"/>
                    <a:gd name="T26" fmla="*/ 169 w 184"/>
                    <a:gd name="T27" fmla="*/ 8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205">
                      <a:moveTo>
                        <a:pt x="169" y="87"/>
                      </a:moveTo>
                      <a:cubicBezTo>
                        <a:pt x="168" y="82"/>
                        <a:pt x="151" y="64"/>
                        <a:pt x="150" y="64"/>
                      </a:cubicBezTo>
                      <a:cubicBezTo>
                        <a:pt x="149" y="65"/>
                        <a:pt x="167" y="87"/>
                        <a:pt x="164" y="89"/>
                      </a:cubicBezTo>
                      <a:cubicBezTo>
                        <a:pt x="153" y="94"/>
                        <a:pt x="107" y="77"/>
                        <a:pt x="119" y="122"/>
                      </a:cubicBezTo>
                      <a:cubicBezTo>
                        <a:pt x="121" y="129"/>
                        <a:pt x="109" y="125"/>
                        <a:pt x="100" y="122"/>
                      </a:cubicBezTo>
                      <a:cubicBezTo>
                        <a:pt x="95" y="121"/>
                        <a:pt x="90" y="121"/>
                        <a:pt x="89" y="126"/>
                      </a:cubicBezTo>
                      <a:cubicBezTo>
                        <a:pt x="87" y="131"/>
                        <a:pt x="89" y="140"/>
                        <a:pt x="92" y="147"/>
                      </a:cubicBezTo>
                      <a:cubicBezTo>
                        <a:pt x="94" y="152"/>
                        <a:pt x="96" y="156"/>
                        <a:pt x="98" y="159"/>
                      </a:cubicBezTo>
                      <a:cubicBezTo>
                        <a:pt x="103" y="167"/>
                        <a:pt x="106" y="197"/>
                        <a:pt x="87" y="205"/>
                      </a:cubicBezTo>
                      <a:cubicBezTo>
                        <a:pt x="87" y="205"/>
                        <a:pt x="87" y="205"/>
                        <a:pt x="87" y="205"/>
                      </a:cubicBezTo>
                      <a:cubicBezTo>
                        <a:pt x="86" y="205"/>
                        <a:pt x="43" y="184"/>
                        <a:pt x="28" y="159"/>
                      </a:cubicBezTo>
                      <a:cubicBezTo>
                        <a:pt x="5" y="121"/>
                        <a:pt x="0" y="65"/>
                        <a:pt x="60" y="30"/>
                      </a:cubicBezTo>
                      <a:cubicBezTo>
                        <a:pt x="113" y="0"/>
                        <a:pt x="176" y="27"/>
                        <a:pt x="184" y="81"/>
                      </a:cubicBezTo>
                      <a:lnTo>
                        <a:pt x="169" y="87"/>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2" name="Freeform 207">
                  <a:extLst>
                    <a:ext uri="{FF2B5EF4-FFF2-40B4-BE49-F238E27FC236}">
                      <a16:creationId xmlns:a16="http://schemas.microsoft.com/office/drawing/2014/main" id="{F8A6AF31-2961-4B4F-8CC1-CAE487F961C8}"/>
                    </a:ext>
                  </a:extLst>
                </p:cNvPr>
                <p:cNvSpPr>
                  <a:spLocks/>
                </p:cNvSpPr>
                <p:nvPr userDrawn="1"/>
              </p:nvSpPr>
              <p:spPr bwMode="auto">
                <a:xfrm>
                  <a:off x="1889124" y="5083179"/>
                  <a:ext cx="11113" cy="9525"/>
                </a:xfrm>
                <a:custGeom>
                  <a:avLst/>
                  <a:gdLst>
                    <a:gd name="T0" fmla="*/ 7 w 13"/>
                    <a:gd name="T1" fmla="*/ 8 h 10"/>
                    <a:gd name="T2" fmla="*/ 11 w 13"/>
                    <a:gd name="T3" fmla="*/ 10 h 10"/>
                    <a:gd name="T4" fmla="*/ 13 w 13"/>
                    <a:gd name="T5" fmla="*/ 6 h 10"/>
                    <a:gd name="T6" fmla="*/ 6 w 13"/>
                    <a:gd name="T7" fmla="*/ 0 h 10"/>
                    <a:gd name="T8" fmla="*/ 0 w 13"/>
                    <a:gd name="T9" fmla="*/ 6 h 10"/>
                    <a:gd name="T10" fmla="*/ 2 w 13"/>
                    <a:gd name="T11" fmla="*/ 10 h 10"/>
                    <a:gd name="T12" fmla="*/ 7 w 13"/>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13" h="10">
                      <a:moveTo>
                        <a:pt x="7" y="8"/>
                      </a:moveTo>
                      <a:cubicBezTo>
                        <a:pt x="9" y="8"/>
                        <a:pt x="10" y="9"/>
                        <a:pt x="11" y="10"/>
                      </a:cubicBezTo>
                      <a:cubicBezTo>
                        <a:pt x="12" y="9"/>
                        <a:pt x="13" y="7"/>
                        <a:pt x="13" y="6"/>
                      </a:cubicBezTo>
                      <a:cubicBezTo>
                        <a:pt x="13" y="3"/>
                        <a:pt x="10" y="0"/>
                        <a:pt x="6" y="0"/>
                      </a:cubicBezTo>
                      <a:cubicBezTo>
                        <a:pt x="3" y="0"/>
                        <a:pt x="0" y="3"/>
                        <a:pt x="0" y="6"/>
                      </a:cubicBezTo>
                      <a:cubicBezTo>
                        <a:pt x="0" y="8"/>
                        <a:pt x="1" y="9"/>
                        <a:pt x="2" y="10"/>
                      </a:cubicBezTo>
                      <a:cubicBezTo>
                        <a:pt x="3" y="9"/>
                        <a:pt x="5" y="8"/>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3" name="Freeform 208">
                  <a:extLst>
                    <a:ext uri="{FF2B5EF4-FFF2-40B4-BE49-F238E27FC236}">
                      <a16:creationId xmlns:a16="http://schemas.microsoft.com/office/drawing/2014/main" id="{6A3ED4E9-B145-4BC7-A802-A77B8B5ABF17}"/>
                    </a:ext>
                  </a:extLst>
                </p:cNvPr>
                <p:cNvSpPr>
                  <a:spLocks/>
                </p:cNvSpPr>
                <p:nvPr userDrawn="1"/>
              </p:nvSpPr>
              <p:spPr bwMode="auto">
                <a:xfrm>
                  <a:off x="1901824" y="5133979"/>
                  <a:ext cx="22225" cy="3175"/>
                </a:xfrm>
                <a:custGeom>
                  <a:avLst/>
                  <a:gdLst>
                    <a:gd name="T0" fmla="*/ 0 w 27"/>
                    <a:gd name="T1" fmla="*/ 0 h 4"/>
                    <a:gd name="T2" fmla="*/ 12 w 27"/>
                    <a:gd name="T3" fmla="*/ 1 h 4"/>
                    <a:gd name="T4" fmla="*/ 21 w 27"/>
                    <a:gd name="T5" fmla="*/ 1 h 4"/>
                    <a:gd name="T6" fmla="*/ 25 w 27"/>
                    <a:gd name="T7" fmla="*/ 0 h 4"/>
                    <a:gd name="T8" fmla="*/ 27 w 27"/>
                    <a:gd name="T9" fmla="*/ 2 h 4"/>
                    <a:gd name="T10" fmla="*/ 26 w 27"/>
                    <a:gd name="T11" fmla="*/ 3 h 4"/>
                    <a:gd name="T12" fmla="*/ 25 w 27"/>
                    <a:gd name="T13" fmla="*/ 3 h 4"/>
                    <a:gd name="T14" fmla="*/ 25 w 27"/>
                    <a:gd name="T15" fmla="*/ 3 h 4"/>
                    <a:gd name="T16" fmla="*/ 21 w 27"/>
                    <a:gd name="T17" fmla="*/ 4 h 4"/>
                    <a:gd name="T18" fmla="*/ 12 w 27"/>
                    <a:gd name="T19" fmla="*/ 3 h 4"/>
                    <a:gd name="T20" fmla="*/ 0 w 2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4">
                      <a:moveTo>
                        <a:pt x="0" y="0"/>
                      </a:moveTo>
                      <a:cubicBezTo>
                        <a:pt x="0" y="0"/>
                        <a:pt x="6" y="1"/>
                        <a:pt x="12" y="1"/>
                      </a:cubicBezTo>
                      <a:cubicBezTo>
                        <a:pt x="16" y="1"/>
                        <a:pt x="19" y="1"/>
                        <a:pt x="21" y="1"/>
                      </a:cubicBezTo>
                      <a:cubicBezTo>
                        <a:pt x="23" y="1"/>
                        <a:pt x="25" y="0"/>
                        <a:pt x="25" y="0"/>
                      </a:cubicBezTo>
                      <a:cubicBezTo>
                        <a:pt x="26" y="0"/>
                        <a:pt x="27" y="1"/>
                        <a:pt x="27" y="2"/>
                      </a:cubicBezTo>
                      <a:cubicBezTo>
                        <a:pt x="27" y="2"/>
                        <a:pt x="26" y="3"/>
                        <a:pt x="26" y="3"/>
                      </a:cubicBezTo>
                      <a:cubicBezTo>
                        <a:pt x="26" y="3"/>
                        <a:pt x="26" y="3"/>
                        <a:pt x="25" y="3"/>
                      </a:cubicBezTo>
                      <a:cubicBezTo>
                        <a:pt x="25" y="3"/>
                        <a:pt x="25" y="3"/>
                        <a:pt x="25" y="3"/>
                      </a:cubicBezTo>
                      <a:cubicBezTo>
                        <a:pt x="25" y="3"/>
                        <a:pt x="24" y="4"/>
                        <a:pt x="21" y="4"/>
                      </a:cubicBezTo>
                      <a:cubicBezTo>
                        <a:pt x="19" y="4"/>
                        <a:pt x="16" y="3"/>
                        <a:pt x="12" y="3"/>
                      </a:cubicBezTo>
                      <a:cubicBezTo>
                        <a:pt x="6" y="2"/>
                        <a:pt x="0" y="0"/>
                        <a:pt x="0" y="0"/>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4" name="Freeform 209">
                  <a:extLst>
                    <a:ext uri="{FF2B5EF4-FFF2-40B4-BE49-F238E27FC236}">
                      <a16:creationId xmlns:a16="http://schemas.microsoft.com/office/drawing/2014/main" id="{A255B7B8-EDE7-46CE-97B8-5A512F6A8963}"/>
                    </a:ext>
                  </a:extLst>
                </p:cNvPr>
                <p:cNvSpPr>
                  <a:spLocks/>
                </p:cNvSpPr>
                <p:nvPr userDrawn="1"/>
              </p:nvSpPr>
              <p:spPr bwMode="auto">
                <a:xfrm>
                  <a:off x="1901824" y="5133979"/>
                  <a:ext cx="20638" cy="6350"/>
                </a:xfrm>
                <a:custGeom>
                  <a:avLst/>
                  <a:gdLst>
                    <a:gd name="T0" fmla="*/ 0 w 26"/>
                    <a:gd name="T1" fmla="*/ 0 h 6"/>
                    <a:gd name="T2" fmla="*/ 12 w 26"/>
                    <a:gd name="T3" fmla="*/ 3 h 6"/>
                    <a:gd name="T4" fmla="*/ 21 w 26"/>
                    <a:gd name="T5" fmla="*/ 3 h 6"/>
                    <a:gd name="T6" fmla="*/ 25 w 26"/>
                    <a:gd name="T7" fmla="*/ 3 h 6"/>
                    <a:gd name="T8" fmla="*/ 26 w 26"/>
                    <a:gd name="T9" fmla="*/ 4 h 6"/>
                    <a:gd name="T10" fmla="*/ 25 w 26"/>
                    <a:gd name="T11" fmla="*/ 6 h 6"/>
                    <a:gd name="T12" fmla="*/ 25 w 26"/>
                    <a:gd name="T13" fmla="*/ 6 h 6"/>
                    <a:gd name="T14" fmla="*/ 25 w 26"/>
                    <a:gd name="T15" fmla="*/ 6 h 6"/>
                    <a:gd name="T16" fmla="*/ 21 w 26"/>
                    <a:gd name="T17" fmla="*/ 6 h 6"/>
                    <a:gd name="T18" fmla="*/ 12 w 26"/>
                    <a:gd name="T19" fmla="*/ 4 h 6"/>
                    <a:gd name="T20" fmla="*/ 0 w 2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6">
                      <a:moveTo>
                        <a:pt x="0" y="0"/>
                      </a:moveTo>
                      <a:cubicBezTo>
                        <a:pt x="0" y="0"/>
                        <a:pt x="6" y="2"/>
                        <a:pt x="12" y="3"/>
                      </a:cubicBezTo>
                      <a:cubicBezTo>
                        <a:pt x="15" y="3"/>
                        <a:pt x="19" y="3"/>
                        <a:pt x="21" y="3"/>
                      </a:cubicBezTo>
                      <a:cubicBezTo>
                        <a:pt x="23" y="3"/>
                        <a:pt x="25" y="3"/>
                        <a:pt x="25" y="3"/>
                      </a:cubicBezTo>
                      <a:cubicBezTo>
                        <a:pt x="26" y="3"/>
                        <a:pt x="26" y="4"/>
                        <a:pt x="26" y="4"/>
                      </a:cubicBezTo>
                      <a:cubicBezTo>
                        <a:pt x="26" y="5"/>
                        <a:pt x="26" y="6"/>
                        <a:pt x="25" y="6"/>
                      </a:cubicBezTo>
                      <a:cubicBezTo>
                        <a:pt x="25" y="6"/>
                        <a:pt x="25" y="6"/>
                        <a:pt x="25" y="6"/>
                      </a:cubicBezTo>
                      <a:cubicBezTo>
                        <a:pt x="25" y="6"/>
                        <a:pt x="25" y="6"/>
                        <a:pt x="25" y="6"/>
                      </a:cubicBezTo>
                      <a:cubicBezTo>
                        <a:pt x="25" y="6"/>
                        <a:pt x="23" y="6"/>
                        <a:pt x="21" y="6"/>
                      </a:cubicBezTo>
                      <a:cubicBezTo>
                        <a:pt x="18" y="5"/>
                        <a:pt x="15" y="5"/>
                        <a:pt x="12" y="4"/>
                      </a:cubicBezTo>
                      <a:cubicBezTo>
                        <a:pt x="6" y="3"/>
                        <a:pt x="0" y="0"/>
                        <a:pt x="0" y="0"/>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5" name="Freeform 210">
                  <a:extLst>
                    <a:ext uri="{FF2B5EF4-FFF2-40B4-BE49-F238E27FC236}">
                      <a16:creationId xmlns:a16="http://schemas.microsoft.com/office/drawing/2014/main" id="{19A108F4-F376-478A-9096-68647388A19E}"/>
                    </a:ext>
                  </a:extLst>
                </p:cNvPr>
                <p:cNvSpPr>
                  <a:spLocks/>
                </p:cNvSpPr>
                <p:nvPr userDrawn="1"/>
              </p:nvSpPr>
              <p:spPr bwMode="auto">
                <a:xfrm>
                  <a:off x="2011362" y="5780093"/>
                  <a:ext cx="198438" cy="52388"/>
                </a:xfrm>
                <a:custGeom>
                  <a:avLst/>
                  <a:gdLst>
                    <a:gd name="T0" fmla="*/ 0 w 237"/>
                    <a:gd name="T1" fmla="*/ 17 h 63"/>
                    <a:gd name="T2" fmla="*/ 6 w 237"/>
                    <a:gd name="T3" fmla="*/ 53 h 63"/>
                    <a:gd name="T4" fmla="*/ 29 w 237"/>
                    <a:gd name="T5" fmla="*/ 62 h 63"/>
                    <a:gd name="T6" fmla="*/ 140 w 237"/>
                    <a:gd name="T7" fmla="*/ 51 h 63"/>
                    <a:gd name="T8" fmla="*/ 214 w 237"/>
                    <a:gd name="T9" fmla="*/ 35 h 63"/>
                    <a:gd name="T10" fmla="*/ 218 w 237"/>
                    <a:gd name="T11" fmla="*/ 18 h 63"/>
                    <a:gd name="T12" fmla="*/ 112 w 237"/>
                    <a:gd name="T13" fmla="*/ 5 h 63"/>
                    <a:gd name="T14" fmla="*/ 0 w 237"/>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63">
                      <a:moveTo>
                        <a:pt x="0" y="17"/>
                      </a:moveTo>
                      <a:cubicBezTo>
                        <a:pt x="6" y="53"/>
                        <a:pt x="6" y="53"/>
                        <a:pt x="6" y="53"/>
                      </a:cubicBezTo>
                      <a:cubicBezTo>
                        <a:pt x="9" y="61"/>
                        <a:pt x="17" y="63"/>
                        <a:pt x="29" y="62"/>
                      </a:cubicBezTo>
                      <a:cubicBezTo>
                        <a:pt x="140" y="51"/>
                        <a:pt x="140" y="51"/>
                        <a:pt x="140" y="51"/>
                      </a:cubicBezTo>
                      <a:cubicBezTo>
                        <a:pt x="158" y="49"/>
                        <a:pt x="214" y="35"/>
                        <a:pt x="214" y="35"/>
                      </a:cubicBezTo>
                      <a:cubicBezTo>
                        <a:pt x="237" y="27"/>
                        <a:pt x="224" y="17"/>
                        <a:pt x="218" y="18"/>
                      </a:cubicBezTo>
                      <a:cubicBezTo>
                        <a:pt x="199" y="19"/>
                        <a:pt x="150" y="10"/>
                        <a:pt x="112" y="5"/>
                      </a:cubicBezTo>
                      <a:cubicBezTo>
                        <a:pt x="80" y="0"/>
                        <a:pt x="0" y="17"/>
                        <a:pt x="0" y="17"/>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6" name="Freeform 211">
                  <a:extLst>
                    <a:ext uri="{FF2B5EF4-FFF2-40B4-BE49-F238E27FC236}">
                      <a16:creationId xmlns:a16="http://schemas.microsoft.com/office/drawing/2014/main" id="{6FD13692-AD0C-484C-BBA2-1C68E01BEA4C}"/>
                    </a:ext>
                  </a:extLst>
                </p:cNvPr>
                <p:cNvSpPr>
                  <a:spLocks/>
                </p:cNvSpPr>
                <p:nvPr userDrawn="1"/>
              </p:nvSpPr>
              <p:spPr bwMode="auto">
                <a:xfrm>
                  <a:off x="2009775" y="5759450"/>
                  <a:ext cx="131763" cy="41275"/>
                </a:xfrm>
                <a:custGeom>
                  <a:avLst/>
                  <a:gdLst>
                    <a:gd name="T0" fmla="*/ 1 w 157"/>
                    <a:gd name="T1" fmla="*/ 10 h 49"/>
                    <a:gd name="T2" fmla="*/ 2 w 157"/>
                    <a:gd name="T3" fmla="*/ 40 h 49"/>
                    <a:gd name="T4" fmla="*/ 136 w 157"/>
                    <a:gd name="T5" fmla="*/ 40 h 49"/>
                    <a:gd name="T6" fmla="*/ 150 w 157"/>
                    <a:gd name="T7" fmla="*/ 33 h 49"/>
                    <a:gd name="T8" fmla="*/ 51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3" y="21"/>
                        <a:pt x="0" y="33"/>
                        <a:pt x="2" y="40"/>
                      </a:cubicBezTo>
                      <a:cubicBezTo>
                        <a:pt x="5" y="49"/>
                        <a:pt x="136" y="40"/>
                        <a:pt x="136" y="40"/>
                      </a:cubicBezTo>
                      <a:cubicBezTo>
                        <a:pt x="139" y="40"/>
                        <a:pt x="157" y="34"/>
                        <a:pt x="150" y="33"/>
                      </a:cubicBezTo>
                      <a:cubicBezTo>
                        <a:pt x="118" y="29"/>
                        <a:pt x="51" y="13"/>
                        <a:pt x="51" y="0"/>
                      </a:cubicBezTo>
                      <a:lnTo>
                        <a:pt x="1" y="1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7" name="Freeform 212">
                  <a:extLst>
                    <a:ext uri="{FF2B5EF4-FFF2-40B4-BE49-F238E27FC236}">
                      <a16:creationId xmlns:a16="http://schemas.microsoft.com/office/drawing/2014/main" id="{7F5EDED1-4133-4844-9BAA-8CCE2CCCD146}"/>
                    </a:ext>
                  </a:extLst>
                </p:cNvPr>
                <p:cNvSpPr>
                  <a:spLocks/>
                </p:cNvSpPr>
                <p:nvPr userDrawn="1"/>
              </p:nvSpPr>
              <p:spPr bwMode="auto">
                <a:xfrm>
                  <a:off x="2058986" y="5534030"/>
                  <a:ext cx="130175" cy="261938"/>
                </a:xfrm>
                <a:custGeom>
                  <a:avLst/>
                  <a:gdLst>
                    <a:gd name="T0" fmla="*/ 49 w 82"/>
                    <a:gd name="T1" fmla="*/ 164 h 165"/>
                    <a:gd name="T2" fmla="*/ 82 w 82"/>
                    <a:gd name="T3" fmla="*/ 165 h 165"/>
                    <a:gd name="T4" fmla="*/ 28 w 82"/>
                    <a:gd name="T5" fmla="*/ 0 h 165"/>
                    <a:gd name="T6" fmla="*/ 0 w 82"/>
                    <a:gd name="T7" fmla="*/ 8 h 165"/>
                    <a:gd name="T8" fmla="*/ 49 w 82"/>
                    <a:gd name="T9" fmla="*/ 164 h 165"/>
                  </a:gdLst>
                  <a:ahLst/>
                  <a:cxnLst>
                    <a:cxn ang="0">
                      <a:pos x="T0" y="T1"/>
                    </a:cxn>
                    <a:cxn ang="0">
                      <a:pos x="T2" y="T3"/>
                    </a:cxn>
                    <a:cxn ang="0">
                      <a:pos x="T4" y="T5"/>
                    </a:cxn>
                    <a:cxn ang="0">
                      <a:pos x="T6" y="T7"/>
                    </a:cxn>
                    <a:cxn ang="0">
                      <a:pos x="T8" y="T9"/>
                    </a:cxn>
                  </a:cxnLst>
                  <a:rect l="0" t="0" r="r" b="b"/>
                  <a:pathLst>
                    <a:path w="82" h="165">
                      <a:moveTo>
                        <a:pt x="49" y="164"/>
                      </a:moveTo>
                      <a:lnTo>
                        <a:pt x="82" y="165"/>
                      </a:lnTo>
                      <a:lnTo>
                        <a:pt x="28" y="0"/>
                      </a:lnTo>
                      <a:lnTo>
                        <a:pt x="0" y="8"/>
                      </a:lnTo>
                      <a:lnTo>
                        <a:pt x="49" y="164"/>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8" name="Freeform 213">
                  <a:extLst>
                    <a:ext uri="{FF2B5EF4-FFF2-40B4-BE49-F238E27FC236}">
                      <a16:creationId xmlns:a16="http://schemas.microsoft.com/office/drawing/2014/main" id="{16973D6B-1FA8-4120-A09B-2B3C7A3DCE93}"/>
                    </a:ext>
                  </a:extLst>
                </p:cNvPr>
                <p:cNvSpPr>
                  <a:spLocks/>
                </p:cNvSpPr>
                <p:nvPr userDrawn="1"/>
              </p:nvSpPr>
              <p:spPr bwMode="auto">
                <a:xfrm>
                  <a:off x="1971673" y="5553080"/>
                  <a:ext cx="92075" cy="239713"/>
                </a:xfrm>
                <a:custGeom>
                  <a:avLst/>
                  <a:gdLst>
                    <a:gd name="T0" fmla="*/ 26 w 58"/>
                    <a:gd name="T1" fmla="*/ 151 h 151"/>
                    <a:gd name="T2" fmla="*/ 58 w 58"/>
                    <a:gd name="T3" fmla="*/ 150 h 151"/>
                    <a:gd name="T4" fmla="*/ 33 w 58"/>
                    <a:gd name="T5" fmla="*/ 0 h 151"/>
                    <a:gd name="T6" fmla="*/ 0 w 58"/>
                    <a:gd name="T7" fmla="*/ 0 h 151"/>
                    <a:gd name="T8" fmla="*/ 26 w 58"/>
                    <a:gd name="T9" fmla="*/ 151 h 151"/>
                  </a:gdLst>
                  <a:ahLst/>
                  <a:cxnLst>
                    <a:cxn ang="0">
                      <a:pos x="T0" y="T1"/>
                    </a:cxn>
                    <a:cxn ang="0">
                      <a:pos x="T2" y="T3"/>
                    </a:cxn>
                    <a:cxn ang="0">
                      <a:pos x="T4" y="T5"/>
                    </a:cxn>
                    <a:cxn ang="0">
                      <a:pos x="T6" y="T7"/>
                    </a:cxn>
                    <a:cxn ang="0">
                      <a:pos x="T8" y="T9"/>
                    </a:cxn>
                  </a:cxnLst>
                  <a:rect l="0" t="0" r="r" b="b"/>
                  <a:pathLst>
                    <a:path w="58" h="151">
                      <a:moveTo>
                        <a:pt x="26" y="151"/>
                      </a:moveTo>
                      <a:lnTo>
                        <a:pt x="58" y="150"/>
                      </a:lnTo>
                      <a:lnTo>
                        <a:pt x="33" y="0"/>
                      </a:lnTo>
                      <a:lnTo>
                        <a:pt x="0" y="0"/>
                      </a:lnTo>
                      <a:lnTo>
                        <a:pt x="26" y="151"/>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9" name="Rectangle 214">
                  <a:extLst>
                    <a:ext uri="{FF2B5EF4-FFF2-40B4-BE49-F238E27FC236}">
                      <a16:creationId xmlns:a16="http://schemas.microsoft.com/office/drawing/2014/main" id="{75944C0D-A692-4800-858C-4C170BFE08BA}"/>
                    </a:ext>
                  </a:extLst>
                </p:cNvPr>
                <p:cNvSpPr>
                  <a:spLocks noChangeArrowheads="1"/>
                </p:cNvSpPr>
                <p:nvPr userDrawn="1"/>
              </p:nvSpPr>
              <p:spPr bwMode="auto">
                <a:xfrm>
                  <a:off x="1858961" y="5508630"/>
                  <a:ext cx="57150" cy="206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0" name="Freeform 215">
                  <a:extLst>
                    <a:ext uri="{FF2B5EF4-FFF2-40B4-BE49-F238E27FC236}">
                      <a16:creationId xmlns:a16="http://schemas.microsoft.com/office/drawing/2014/main" id="{ED69D18D-D153-4F57-9601-91DE3505966C}"/>
                    </a:ext>
                  </a:extLst>
                </p:cNvPr>
                <p:cNvSpPr>
                  <a:spLocks/>
                </p:cNvSpPr>
                <p:nvPr userDrawn="1"/>
              </p:nvSpPr>
              <p:spPr bwMode="auto">
                <a:xfrm>
                  <a:off x="1831974" y="5437193"/>
                  <a:ext cx="230188" cy="331788"/>
                </a:xfrm>
                <a:custGeom>
                  <a:avLst/>
                  <a:gdLst>
                    <a:gd name="T0" fmla="*/ 190 w 274"/>
                    <a:gd name="T1" fmla="*/ 398 h 398"/>
                    <a:gd name="T2" fmla="*/ 147 w 274"/>
                    <a:gd name="T3" fmla="*/ 111 h 398"/>
                    <a:gd name="T4" fmla="*/ 0 w 274"/>
                    <a:gd name="T5" fmla="*/ 89 h 398"/>
                    <a:gd name="T6" fmla="*/ 13 w 274"/>
                    <a:gd name="T7" fmla="*/ 0 h 398"/>
                    <a:gd name="T8" fmla="*/ 194 w 274"/>
                    <a:gd name="T9" fmla="*/ 28 h 398"/>
                    <a:gd name="T10" fmla="*/ 232 w 274"/>
                    <a:gd name="T11" fmla="*/ 67 h 398"/>
                    <a:gd name="T12" fmla="*/ 274 w 274"/>
                    <a:gd name="T13" fmla="*/ 372 h 398"/>
                    <a:gd name="T14" fmla="*/ 190 w 274"/>
                    <a:gd name="T15" fmla="*/ 398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8">
                      <a:moveTo>
                        <a:pt x="190" y="398"/>
                      </a:moveTo>
                      <a:cubicBezTo>
                        <a:pt x="147" y="111"/>
                        <a:pt x="147" y="111"/>
                        <a:pt x="147" y="111"/>
                      </a:cubicBezTo>
                      <a:cubicBezTo>
                        <a:pt x="0" y="89"/>
                        <a:pt x="0" y="89"/>
                        <a:pt x="0" y="89"/>
                      </a:cubicBezTo>
                      <a:cubicBezTo>
                        <a:pt x="13" y="0"/>
                        <a:pt x="13" y="0"/>
                        <a:pt x="13" y="0"/>
                      </a:cubicBezTo>
                      <a:cubicBezTo>
                        <a:pt x="194" y="28"/>
                        <a:pt x="194" y="28"/>
                        <a:pt x="194" y="28"/>
                      </a:cubicBezTo>
                      <a:cubicBezTo>
                        <a:pt x="214" y="31"/>
                        <a:pt x="229" y="47"/>
                        <a:pt x="232" y="67"/>
                      </a:cubicBezTo>
                      <a:cubicBezTo>
                        <a:pt x="274" y="372"/>
                        <a:pt x="274" y="372"/>
                        <a:pt x="274" y="372"/>
                      </a:cubicBezTo>
                      <a:lnTo>
                        <a:pt x="190" y="398"/>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1" name="Freeform 216">
                  <a:extLst>
                    <a:ext uri="{FF2B5EF4-FFF2-40B4-BE49-F238E27FC236}">
                      <a16:creationId xmlns:a16="http://schemas.microsoft.com/office/drawing/2014/main" id="{628B947A-B6FF-4430-8B38-08F01AABE992}"/>
                    </a:ext>
                  </a:extLst>
                </p:cNvPr>
                <p:cNvSpPr>
                  <a:spLocks/>
                </p:cNvSpPr>
                <p:nvPr userDrawn="1"/>
              </p:nvSpPr>
              <p:spPr bwMode="auto">
                <a:xfrm>
                  <a:off x="1831974" y="5437193"/>
                  <a:ext cx="182563" cy="331788"/>
                </a:xfrm>
                <a:custGeom>
                  <a:avLst/>
                  <a:gdLst>
                    <a:gd name="T0" fmla="*/ 93 w 115"/>
                    <a:gd name="T1" fmla="*/ 53 h 209"/>
                    <a:gd name="T2" fmla="*/ 14 w 115"/>
                    <a:gd name="T3" fmla="*/ 43 h 209"/>
                    <a:gd name="T4" fmla="*/ 20 w 115"/>
                    <a:gd name="T5" fmla="*/ 2 h 209"/>
                    <a:gd name="T6" fmla="*/ 7 w 115"/>
                    <a:gd name="T7" fmla="*/ 0 h 209"/>
                    <a:gd name="T8" fmla="*/ 0 w 115"/>
                    <a:gd name="T9" fmla="*/ 47 h 209"/>
                    <a:gd name="T10" fmla="*/ 78 w 115"/>
                    <a:gd name="T11" fmla="*/ 58 h 209"/>
                    <a:gd name="T12" fmla="*/ 101 w 115"/>
                    <a:gd name="T13" fmla="*/ 209 h 209"/>
                    <a:gd name="T14" fmla="*/ 115 w 115"/>
                    <a:gd name="T15" fmla="*/ 206 h 209"/>
                    <a:gd name="T16" fmla="*/ 93 w 115"/>
                    <a:gd name="T17" fmla="*/ 5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209">
                      <a:moveTo>
                        <a:pt x="93" y="53"/>
                      </a:moveTo>
                      <a:lnTo>
                        <a:pt x="14" y="43"/>
                      </a:lnTo>
                      <a:lnTo>
                        <a:pt x="20" y="2"/>
                      </a:lnTo>
                      <a:lnTo>
                        <a:pt x="7" y="0"/>
                      </a:lnTo>
                      <a:lnTo>
                        <a:pt x="0" y="47"/>
                      </a:lnTo>
                      <a:lnTo>
                        <a:pt x="78" y="58"/>
                      </a:lnTo>
                      <a:lnTo>
                        <a:pt x="101" y="209"/>
                      </a:lnTo>
                      <a:lnTo>
                        <a:pt x="115" y="206"/>
                      </a:lnTo>
                      <a:lnTo>
                        <a:pt x="93" y="53"/>
                      </a:ln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2" name="Freeform 217">
                  <a:extLst>
                    <a:ext uri="{FF2B5EF4-FFF2-40B4-BE49-F238E27FC236}">
                      <a16:creationId xmlns:a16="http://schemas.microsoft.com/office/drawing/2014/main" id="{7236FE97-ACB7-4AFF-A867-C8A1EC99D4FA}"/>
                    </a:ext>
                  </a:extLst>
                </p:cNvPr>
                <p:cNvSpPr>
                  <a:spLocks/>
                </p:cNvSpPr>
                <p:nvPr userDrawn="1"/>
              </p:nvSpPr>
              <p:spPr bwMode="auto">
                <a:xfrm>
                  <a:off x="1831974" y="5437193"/>
                  <a:ext cx="182563" cy="331788"/>
                </a:xfrm>
                <a:custGeom>
                  <a:avLst/>
                  <a:gdLst>
                    <a:gd name="T0" fmla="*/ 93 w 115"/>
                    <a:gd name="T1" fmla="*/ 53 h 209"/>
                    <a:gd name="T2" fmla="*/ 14 w 115"/>
                    <a:gd name="T3" fmla="*/ 43 h 209"/>
                    <a:gd name="T4" fmla="*/ 20 w 115"/>
                    <a:gd name="T5" fmla="*/ 2 h 209"/>
                    <a:gd name="T6" fmla="*/ 7 w 115"/>
                    <a:gd name="T7" fmla="*/ 0 h 209"/>
                    <a:gd name="T8" fmla="*/ 0 w 115"/>
                    <a:gd name="T9" fmla="*/ 47 h 209"/>
                    <a:gd name="T10" fmla="*/ 78 w 115"/>
                    <a:gd name="T11" fmla="*/ 58 h 209"/>
                    <a:gd name="T12" fmla="*/ 101 w 115"/>
                    <a:gd name="T13" fmla="*/ 209 h 209"/>
                    <a:gd name="T14" fmla="*/ 115 w 115"/>
                    <a:gd name="T15" fmla="*/ 206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9">
                      <a:moveTo>
                        <a:pt x="93" y="53"/>
                      </a:moveTo>
                      <a:lnTo>
                        <a:pt x="14" y="43"/>
                      </a:lnTo>
                      <a:lnTo>
                        <a:pt x="20" y="2"/>
                      </a:lnTo>
                      <a:lnTo>
                        <a:pt x="7" y="0"/>
                      </a:lnTo>
                      <a:lnTo>
                        <a:pt x="0" y="47"/>
                      </a:lnTo>
                      <a:lnTo>
                        <a:pt x="78" y="58"/>
                      </a:lnTo>
                      <a:lnTo>
                        <a:pt x="101" y="209"/>
                      </a:lnTo>
                      <a:lnTo>
                        <a:pt x="115" y="2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3" name="Freeform 218">
                  <a:extLst>
                    <a:ext uri="{FF2B5EF4-FFF2-40B4-BE49-F238E27FC236}">
                      <a16:creationId xmlns:a16="http://schemas.microsoft.com/office/drawing/2014/main" id="{09281AA0-CC27-481A-AEC5-931A9B9C4E4D}"/>
                    </a:ext>
                  </a:extLst>
                </p:cNvPr>
                <p:cNvSpPr>
                  <a:spLocks/>
                </p:cNvSpPr>
                <p:nvPr userDrawn="1"/>
              </p:nvSpPr>
              <p:spPr bwMode="auto">
                <a:xfrm>
                  <a:off x="2070098" y="5297493"/>
                  <a:ext cx="30163" cy="46038"/>
                </a:xfrm>
                <a:custGeom>
                  <a:avLst/>
                  <a:gdLst>
                    <a:gd name="T0" fmla="*/ 9 w 19"/>
                    <a:gd name="T1" fmla="*/ 0 h 29"/>
                    <a:gd name="T2" fmla="*/ 19 w 19"/>
                    <a:gd name="T3" fmla="*/ 26 h 29"/>
                    <a:gd name="T4" fmla="*/ 9 w 19"/>
                    <a:gd name="T5" fmla="*/ 29 h 29"/>
                    <a:gd name="T6" fmla="*/ 0 w 19"/>
                    <a:gd name="T7" fmla="*/ 5 h 29"/>
                    <a:gd name="T8" fmla="*/ 0 w 19"/>
                    <a:gd name="T9" fmla="*/ 3 h 29"/>
                    <a:gd name="T10" fmla="*/ 9 w 19"/>
                    <a:gd name="T11" fmla="*/ 0 h 29"/>
                  </a:gdLst>
                  <a:ahLst/>
                  <a:cxnLst>
                    <a:cxn ang="0">
                      <a:pos x="T0" y="T1"/>
                    </a:cxn>
                    <a:cxn ang="0">
                      <a:pos x="T2" y="T3"/>
                    </a:cxn>
                    <a:cxn ang="0">
                      <a:pos x="T4" y="T5"/>
                    </a:cxn>
                    <a:cxn ang="0">
                      <a:pos x="T6" y="T7"/>
                    </a:cxn>
                    <a:cxn ang="0">
                      <a:pos x="T8" y="T9"/>
                    </a:cxn>
                    <a:cxn ang="0">
                      <a:pos x="T10" y="T11"/>
                    </a:cxn>
                  </a:cxnLst>
                  <a:rect l="0" t="0" r="r" b="b"/>
                  <a:pathLst>
                    <a:path w="19" h="29">
                      <a:moveTo>
                        <a:pt x="9" y="0"/>
                      </a:moveTo>
                      <a:lnTo>
                        <a:pt x="19" y="26"/>
                      </a:lnTo>
                      <a:lnTo>
                        <a:pt x="9" y="29"/>
                      </a:lnTo>
                      <a:lnTo>
                        <a:pt x="0" y="5"/>
                      </a:lnTo>
                      <a:lnTo>
                        <a:pt x="0" y="3"/>
                      </a:lnTo>
                      <a:lnTo>
                        <a:pt x="9"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4" name="Freeform 219">
                  <a:extLst>
                    <a:ext uri="{FF2B5EF4-FFF2-40B4-BE49-F238E27FC236}">
                      <a16:creationId xmlns:a16="http://schemas.microsoft.com/office/drawing/2014/main" id="{4D255010-7E14-4305-AC44-80540EA30251}"/>
                    </a:ext>
                  </a:extLst>
                </p:cNvPr>
                <p:cNvSpPr>
                  <a:spLocks/>
                </p:cNvSpPr>
                <p:nvPr userDrawn="1"/>
              </p:nvSpPr>
              <p:spPr bwMode="auto">
                <a:xfrm>
                  <a:off x="1908173" y="5302254"/>
                  <a:ext cx="177800" cy="109538"/>
                </a:xfrm>
                <a:custGeom>
                  <a:avLst/>
                  <a:gdLst>
                    <a:gd name="T0" fmla="*/ 193 w 212"/>
                    <a:gd name="T1" fmla="*/ 0 h 131"/>
                    <a:gd name="T2" fmla="*/ 212 w 212"/>
                    <a:gd name="T3" fmla="*/ 53 h 131"/>
                    <a:gd name="T4" fmla="*/ 55 w 212"/>
                    <a:gd name="T5" fmla="*/ 123 h 131"/>
                    <a:gd name="T6" fmla="*/ 7 w 212"/>
                    <a:gd name="T7" fmla="*/ 103 h 131"/>
                    <a:gd name="T8" fmla="*/ 27 w 212"/>
                    <a:gd name="T9" fmla="*/ 56 h 131"/>
                    <a:gd name="T10" fmla="*/ 28 w 212"/>
                    <a:gd name="T11" fmla="*/ 55 h 131"/>
                    <a:gd name="T12" fmla="*/ 32 w 212"/>
                    <a:gd name="T13" fmla="*/ 54 h 131"/>
                    <a:gd name="T14" fmla="*/ 193 w 21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131">
                      <a:moveTo>
                        <a:pt x="193" y="0"/>
                      </a:moveTo>
                      <a:cubicBezTo>
                        <a:pt x="212" y="53"/>
                        <a:pt x="212" y="53"/>
                        <a:pt x="212" y="53"/>
                      </a:cubicBezTo>
                      <a:cubicBezTo>
                        <a:pt x="55" y="123"/>
                        <a:pt x="55" y="123"/>
                        <a:pt x="55" y="123"/>
                      </a:cubicBezTo>
                      <a:cubicBezTo>
                        <a:pt x="37" y="131"/>
                        <a:pt x="15" y="122"/>
                        <a:pt x="7" y="103"/>
                      </a:cubicBezTo>
                      <a:cubicBezTo>
                        <a:pt x="0" y="85"/>
                        <a:pt x="8" y="63"/>
                        <a:pt x="27" y="56"/>
                      </a:cubicBezTo>
                      <a:cubicBezTo>
                        <a:pt x="28" y="55"/>
                        <a:pt x="28" y="55"/>
                        <a:pt x="28" y="55"/>
                      </a:cubicBezTo>
                      <a:cubicBezTo>
                        <a:pt x="32" y="54"/>
                        <a:pt x="32" y="54"/>
                        <a:pt x="32" y="54"/>
                      </a:cubicBezTo>
                      <a:lnTo>
                        <a:pt x="193" y="0"/>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5" name="Freeform 220">
                  <a:extLst>
                    <a:ext uri="{FF2B5EF4-FFF2-40B4-BE49-F238E27FC236}">
                      <a16:creationId xmlns:a16="http://schemas.microsoft.com/office/drawing/2014/main" id="{2259D4B3-7692-4477-93BE-546D63E20BAA}"/>
                    </a:ext>
                  </a:extLst>
                </p:cNvPr>
                <p:cNvSpPr>
                  <a:spLocks/>
                </p:cNvSpPr>
                <p:nvPr userDrawn="1"/>
              </p:nvSpPr>
              <p:spPr bwMode="auto">
                <a:xfrm>
                  <a:off x="1827212" y="5448305"/>
                  <a:ext cx="350838" cy="319088"/>
                </a:xfrm>
                <a:custGeom>
                  <a:avLst/>
                  <a:gdLst>
                    <a:gd name="T0" fmla="*/ 334 w 419"/>
                    <a:gd name="T1" fmla="*/ 382 h 382"/>
                    <a:gd name="T2" fmla="*/ 256 w 419"/>
                    <a:gd name="T3" fmla="*/ 117 h 382"/>
                    <a:gd name="T4" fmla="*/ 0 w 419"/>
                    <a:gd name="T5" fmla="*/ 89 h 382"/>
                    <a:gd name="T6" fmla="*/ 10 w 419"/>
                    <a:gd name="T7" fmla="*/ 0 h 382"/>
                    <a:gd name="T8" fmla="*/ 296 w 419"/>
                    <a:gd name="T9" fmla="*/ 31 h 382"/>
                    <a:gd name="T10" fmla="*/ 335 w 419"/>
                    <a:gd name="T11" fmla="*/ 65 h 382"/>
                    <a:gd name="T12" fmla="*/ 419 w 419"/>
                    <a:gd name="T13" fmla="*/ 355 h 382"/>
                    <a:gd name="T14" fmla="*/ 334 w 419"/>
                    <a:gd name="T15" fmla="*/ 382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382">
                      <a:moveTo>
                        <a:pt x="334" y="382"/>
                      </a:moveTo>
                      <a:cubicBezTo>
                        <a:pt x="256" y="117"/>
                        <a:pt x="256" y="117"/>
                        <a:pt x="256" y="117"/>
                      </a:cubicBezTo>
                      <a:cubicBezTo>
                        <a:pt x="0" y="89"/>
                        <a:pt x="0" y="89"/>
                        <a:pt x="0" y="89"/>
                      </a:cubicBezTo>
                      <a:cubicBezTo>
                        <a:pt x="10" y="0"/>
                        <a:pt x="10" y="0"/>
                        <a:pt x="10" y="0"/>
                      </a:cubicBezTo>
                      <a:cubicBezTo>
                        <a:pt x="296" y="31"/>
                        <a:pt x="296" y="31"/>
                        <a:pt x="296" y="31"/>
                      </a:cubicBezTo>
                      <a:cubicBezTo>
                        <a:pt x="315" y="33"/>
                        <a:pt x="330" y="47"/>
                        <a:pt x="335" y="65"/>
                      </a:cubicBezTo>
                      <a:cubicBezTo>
                        <a:pt x="419" y="355"/>
                        <a:pt x="419" y="355"/>
                        <a:pt x="419" y="355"/>
                      </a:cubicBezTo>
                      <a:lnTo>
                        <a:pt x="334" y="382"/>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96" name="Freeform 221">
                  <a:extLst>
                    <a:ext uri="{FF2B5EF4-FFF2-40B4-BE49-F238E27FC236}">
                      <a16:creationId xmlns:a16="http://schemas.microsoft.com/office/drawing/2014/main" id="{F78E7EC4-59B4-45D9-AED2-64A809E8A2A9}"/>
                    </a:ext>
                  </a:extLst>
                </p:cNvPr>
                <p:cNvSpPr>
                  <a:spLocks/>
                </p:cNvSpPr>
                <p:nvPr userDrawn="1"/>
              </p:nvSpPr>
              <p:spPr bwMode="auto">
                <a:xfrm>
                  <a:off x="1827211" y="5503868"/>
                  <a:ext cx="301625" cy="263525"/>
                </a:xfrm>
                <a:custGeom>
                  <a:avLst/>
                  <a:gdLst>
                    <a:gd name="T0" fmla="*/ 334 w 359"/>
                    <a:gd name="T1" fmla="*/ 315 h 315"/>
                    <a:gd name="T2" fmla="*/ 359 w 359"/>
                    <a:gd name="T3" fmla="*/ 307 h 315"/>
                    <a:gd name="T4" fmla="*/ 285 w 359"/>
                    <a:gd name="T5" fmla="*/ 61 h 315"/>
                    <a:gd name="T6" fmla="*/ 246 w 359"/>
                    <a:gd name="T7" fmla="*/ 27 h 315"/>
                    <a:gd name="T8" fmla="*/ 2 w 359"/>
                    <a:gd name="T9" fmla="*/ 0 h 315"/>
                    <a:gd name="T10" fmla="*/ 0 w 359"/>
                    <a:gd name="T11" fmla="*/ 22 h 315"/>
                    <a:gd name="T12" fmla="*/ 256 w 359"/>
                    <a:gd name="T13" fmla="*/ 50 h 315"/>
                    <a:gd name="T14" fmla="*/ 334 w 359"/>
                    <a:gd name="T15" fmla="*/ 315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9" h="315">
                      <a:moveTo>
                        <a:pt x="334" y="315"/>
                      </a:moveTo>
                      <a:cubicBezTo>
                        <a:pt x="359" y="307"/>
                        <a:pt x="359" y="307"/>
                        <a:pt x="359" y="307"/>
                      </a:cubicBezTo>
                      <a:cubicBezTo>
                        <a:pt x="285" y="61"/>
                        <a:pt x="285" y="61"/>
                        <a:pt x="285" y="61"/>
                      </a:cubicBezTo>
                      <a:cubicBezTo>
                        <a:pt x="280" y="43"/>
                        <a:pt x="265" y="29"/>
                        <a:pt x="246" y="27"/>
                      </a:cubicBezTo>
                      <a:cubicBezTo>
                        <a:pt x="2" y="0"/>
                        <a:pt x="2" y="0"/>
                        <a:pt x="2" y="0"/>
                      </a:cubicBezTo>
                      <a:cubicBezTo>
                        <a:pt x="0" y="22"/>
                        <a:pt x="0" y="22"/>
                        <a:pt x="0" y="22"/>
                      </a:cubicBezTo>
                      <a:cubicBezTo>
                        <a:pt x="256" y="50"/>
                        <a:pt x="256" y="50"/>
                        <a:pt x="256" y="50"/>
                      </a:cubicBezTo>
                      <a:lnTo>
                        <a:pt x="334" y="315"/>
                      </a:ln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7" name="Freeform 222">
                  <a:extLst>
                    <a:ext uri="{FF2B5EF4-FFF2-40B4-BE49-F238E27FC236}">
                      <a16:creationId xmlns:a16="http://schemas.microsoft.com/office/drawing/2014/main" id="{F46AFF7C-A766-4CA0-953B-1345D9F612C3}"/>
                    </a:ext>
                  </a:extLst>
                </p:cNvPr>
                <p:cNvSpPr>
                  <a:spLocks/>
                </p:cNvSpPr>
                <p:nvPr userDrawn="1"/>
              </p:nvSpPr>
              <p:spPr bwMode="auto">
                <a:xfrm>
                  <a:off x="1776411" y="5197479"/>
                  <a:ext cx="233363" cy="334963"/>
                </a:xfrm>
                <a:custGeom>
                  <a:avLst/>
                  <a:gdLst>
                    <a:gd name="T0" fmla="*/ 211 w 278"/>
                    <a:gd name="T1" fmla="*/ 99 h 400"/>
                    <a:gd name="T2" fmla="*/ 134 w 278"/>
                    <a:gd name="T3" fmla="*/ 0 h 400"/>
                    <a:gd name="T4" fmla="*/ 70 w 278"/>
                    <a:gd name="T5" fmla="*/ 0 h 400"/>
                    <a:gd name="T6" fmla="*/ 19 w 278"/>
                    <a:gd name="T7" fmla="*/ 34 h 400"/>
                    <a:gd name="T8" fmla="*/ 0 w 278"/>
                    <a:gd name="T9" fmla="*/ 295 h 400"/>
                    <a:gd name="T10" fmla="*/ 34 w 278"/>
                    <a:gd name="T11" fmla="*/ 394 h 400"/>
                    <a:gd name="T12" fmla="*/ 109 w 278"/>
                    <a:gd name="T13" fmla="*/ 394 h 400"/>
                    <a:gd name="T14" fmla="*/ 238 w 278"/>
                    <a:gd name="T15" fmla="*/ 354 h 400"/>
                    <a:gd name="T16" fmla="*/ 211 w 278"/>
                    <a:gd name="T17" fmla="*/ 9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400">
                      <a:moveTo>
                        <a:pt x="211" y="99"/>
                      </a:moveTo>
                      <a:cubicBezTo>
                        <a:pt x="200" y="51"/>
                        <a:pt x="171" y="0"/>
                        <a:pt x="134" y="0"/>
                      </a:cubicBezTo>
                      <a:cubicBezTo>
                        <a:pt x="124" y="0"/>
                        <a:pt x="80" y="0"/>
                        <a:pt x="70" y="0"/>
                      </a:cubicBezTo>
                      <a:cubicBezTo>
                        <a:pt x="29" y="0"/>
                        <a:pt x="23" y="24"/>
                        <a:pt x="19" y="34"/>
                      </a:cubicBezTo>
                      <a:cubicBezTo>
                        <a:pt x="6" y="68"/>
                        <a:pt x="0" y="235"/>
                        <a:pt x="0" y="295"/>
                      </a:cubicBezTo>
                      <a:cubicBezTo>
                        <a:pt x="0" y="356"/>
                        <a:pt x="0" y="394"/>
                        <a:pt x="34" y="394"/>
                      </a:cubicBezTo>
                      <a:cubicBezTo>
                        <a:pt x="109" y="394"/>
                        <a:pt x="109" y="394"/>
                        <a:pt x="109" y="394"/>
                      </a:cubicBezTo>
                      <a:cubicBezTo>
                        <a:pt x="143" y="394"/>
                        <a:pt x="278" y="400"/>
                        <a:pt x="238" y="354"/>
                      </a:cubicBezTo>
                      <a:cubicBezTo>
                        <a:pt x="180" y="289"/>
                        <a:pt x="224" y="156"/>
                        <a:pt x="211" y="99"/>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8" name="Freeform 223">
                  <a:extLst>
                    <a:ext uri="{FF2B5EF4-FFF2-40B4-BE49-F238E27FC236}">
                      <a16:creationId xmlns:a16="http://schemas.microsoft.com/office/drawing/2014/main" id="{F37E2BA8-D625-447E-AD3B-D16A8C72F5DF}"/>
                    </a:ext>
                  </a:extLst>
                </p:cNvPr>
                <p:cNvSpPr>
                  <a:spLocks/>
                </p:cNvSpPr>
                <p:nvPr userDrawn="1"/>
              </p:nvSpPr>
              <p:spPr bwMode="auto">
                <a:xfrm>
                  <a:off x="1866899" y="5553080"/>
                  <a:ext cx="28575" cy="227013"/>
                </a:xfrm>
                <a:custGeom>
                  <a:avLst/>
                  <a:gdLst>
                    <a:gd name="T0" fmla="*/ 18 w 35"/>
                    <a:gd name="T1" fmla="*/ 270 h 270"/>
                    <a:gd name="T2" fmla="*/ 0 w 35"/>
                    <a:gd name="T3" fmla="*/ 252 h 270"/>
                    <a:gd name="T4" fmla="*/ 0 w 35"/>
                    <a:gd name="T5" fmla="*/ 18 h 270"/>
                    <a:gd name="T6" fmla="*/ 18 w 35"/>
                    <a:gd name="T7" fmla="*/ 0 h 270"/>
                    <a:gd name="T8" fmla="*/ 35 w 35"/>
                    <a:gd name="T9" fmla="*/ 18 h 270"/>
                    <a:gd name="T10" fmla="*/ 35 w 35"/>
                    <a:gd name="T11" fmla="*/ 252 h 270"/>
                    <a:gd name="T12" fmla="*/ 18 w 35"/>
                    <a:gd name="T13" fmla="*/ 270 h 270"/>
                  </a:gdLst>
                  <a:ahLst/>
                  <a:cxnLst>
                    <a:cxn ang="0">
                      <a:pos x="T0" y="T1"/>
                    </a:cxn>
                    <a:cxn ang="0">
                      <a:pos x="T2" y="T3"/>
                    </a:cxn>
                    <a:cxn ang="0">
                      <a:pos x="T4" y="T5"/>
                    </a:cxn>
                    <a:cxn ang="0">
                      <a:pos x="T6" y="T7"/>
                    </a:cxn>
                    <a:cxn ang="0">
                      <a:pos x="T8" y="T9"/>
                    </a:cxn>
                    <a:cxn ang="0">
                      <a:pos x="T10" y="T11"/>
                    </a:cxn>
                    <a:cxn ang="0">
                      <a:pos x="T12" y="T13"/>
                    </a:cxn>
                  </a:cxnLst>
                  <a:rect l="0" t="0" r="r" b="b"/>
                  <a:pathLst>
                    <a:path w="35" h="270">
                      <a:moveTo>
                        <a:pt x="18" y="270"/>
                      </a:moveTo>
                      <a:cubicBezTo>
                        <a:pt x="8" y="270"/>
                        <a:pt x="0" y="262"/>
                        <a:pt x="0" y="252"/>
                      </a:cubicBezTo>
                      <a:cubicBezTo>
                        <a:pt x="0" y="18"/>
                        <a:pt x="0" y="18"/>
                        <a:pt x="0" y="18"/>
                      </a:cubicBezTo>
                      <a:cubicBezTo>
                        <a:pt x="0" y="8"/>
                        <a:pt x="8" y="0"/>
                        <a:pt x="18" y="0"/>
                      </a:cubicBezTo>
                      <a:cubicBezTo>
                        <a:pt x="27" y="0"/>
                        <a:pt x="35" y="8"/>
                        <a:pt x="35" y="18"/>
                      </a:cubicBezTo>
                      <a:cubicBezTo>
                        <a:pt x="35" y="252"/>
                        <a:pt x="35" y="252"/>
                        <a:pt x="35" y="252"/>
                      </a:cubicBezTo>
                      <a:cubicBezTo>
                        <a:pt x="35" y="262"/>
                        <a:pt x="27" y="270"/>
                        <a:pt x="18" y="270"/>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9" name="Freeform 224">
                  <a:extLst>
                    <a:ext uri="{FF2B5EF4-FFF2-40B4-BE49-F238E27FC236}">
                      <a16:creationId xmlns:a16="http://schemas.microsoft.com/office/drawing/2014/main" id="{E8883FA5-8961-48DA-B7F3-695ADB2CBD7C}"/>
                    </a:ext>
                  </a:extLst>
                </p:cNvPr>
                <p:cNvSpPr>
                  <a:spLocks/>
                </p:cNvSpPr>
                <p:nvPr userDrawn="1"/>
              </p:nvSpPr>
              <p:spPr bwMode="auto">
                <a:xfrm>
                  <a:off x="1746249" y="5526093"/>
                  <a:ext cx="269875" cy="42863"/>
                </a:xfrm>
                <a:custGeom>
                  <a:avLst/>
                  <a:gdLst>
                    <a:gd name="T0" fmla="*/ 271 w 321"/>
                    <a:gd name="T1" fmla="*/ 0 h 51"/>
                    <a:gd name="T2" fmla="*/ 173 w 321"/>
                    <a:gd name="T3" fmla="*/ 0 h 51"/>
                    <a:gd name="T4" fmla="*/ 51 w 321"/>
                    <a:gd name="T5" fmla="*/ 0 h 51"/>
                    <a:gd name="T6" fmla="*/ 0 w 321"/>
                    <a:gd name="T7" fmla="*/ 51 h 51"/>
                    <a:gd name="T8" fmla="*/ 321 w 321"/>
                    <a:gd name="T9" fmla="*/ 51 h 51"/>
                    <a:gd name="T10" fmla="*/ 271 w 321"/>
                    <a:gd name="T11" fmla="*/ 0 h 51"/>
                  </a:gdLst>
                  <a:ahLst/>
                  <a:cxnLst>
                    <a:cxn ang="0">
                      <a:pos x="T0" y="T1"/>
                    </a:cxn>
                    <a:cxn ang="0">
                      <a:pos x="T2" y="T3"/>
                    </a:cxn>
                    <a:cxn ang="0">
                      <a:pos x="T4" y="T5"/>
                    </a:cxn>
                    <a:cxn ang="0">
                      <a:pos x="T6" y="T7"/>
                    </a:cxn>
                    <a:cxn ang="0">
                      <a:pos x="T8" y="T9"/>
                    </a:cxn>
                    <a:cxn ang="0">
                      <a:pos x="T10" y="T11"/>
                    </a:cxn>
                  </a:cxnLst>
                  <a:rect l="0" t="0" r="r" b="b"/>
                  <a:pathLst>
                    <a:path w="321" h="51">
                      <a:moveTo>
                        <a:pt x="271" y="0"/>
                      </a:moveTo>
                      <a:cubicBezTo>
                        <a:pt x="173" y="0"/>
                        <a:pt x="173" y="0"/>
                        <a:pt x="173" y="0"/>
                      </a:cubicBezTo>
                      <a:cubicBezTo>
                        <a:pt x="51" y="0"/>
                        <a:pt x="51" y="0"/>
                        <a:pt x="51" y="0"/>
                      </a:cubicBezTo>
                      <a:cubicBezTo>
                        <a:pt x="23" y="0"/>
                        <a:pt x="0" y="23"/>
                        <a:pt x="0" y="51"/>
                      </a:cubicBezTo>
                      <a:cubicBezTo>
                        <a:pt x="321" y="51"/>
                        <a:pt x="321" y="51"/>
                        <a:pt x="321" y="51"/>
                      </a:cubicBezTo>
                      <a:cubicBezTo>
                        <a:pt x="321" y="23"/>
                        <a:pt x="298" y="0"/>
                        <a:pt x="271"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0" name="Freeform 225">
                  <a:extLst>
                    <a:ext uri="{FF2B5EF4-FFF2-40B4-BE49-F238E27FC236}">
                      <a16:creationId xmlns:a16="http://schemas.microsoft.com/office/drawing/2014/main" id="{DE365180-B247-4C02-8A1F-04FFABEF522E}"/>
                    </a:ext>
                  </a:extLst>
                </p:cNvPr>
                <p:cNvSpPr>
                  <a:spLocks/>
                </p:cNvSpPr>
                <p:nvPr userDrawn="1"/>
              </p:nvSpPr>
              <p:spPr bwMode="auto">
                <a:xfrm>
                  <a:off x="1773236" y="5526093"/>
                  <a:ext cx="242888" cy="42863"/>
                </a:xfrm>
                <a:custGeom>
                  <a:avLst/>
                  <a:gdLst>
                    <a:gd name="T0" fmla="*/ 108 w 289"/>
                    <a:gd name="T1" fmla="*/ 4 h 51"/>
                    <a:gd name="T2" fmla="*/ 206 w 289"/>
                    <a:gd name="T3" fmla="*/ 4 h 51"/>
                    <a:gd name="T4" fmla="*/ 256 w 289"/>
                    <a:gd name="T5" fmla="*/ 51 h 51"/>
                    <a:gd name="T6" fmla="*/ 289 w 289"/>
                    <a:gd name="T7" fmla="*/ 51 h 51"/>
                    <a:gd name="T8" fmla="*/ 239 w 289"/>
                    <a:gd name="T9" fmla="*/ 0 h 51"/>
                    <a:gd name="T10" fmla="*/ 178 w 289"/>
                    <a:gd name="T11" fmla="*/ 0 h 51"/>
                    <a:gd name="T12" fmla="*/ 19 w 289"/>
                    <a:gd name="T13" fmla="*/ 0 h 51"/>
                    <a:gd name="T14" fmla="*/ 0 w 289"/>
                    <a:gd name="T15" fmla="*/ 4 h 51"/>
                    <a:gd name="T16" fmla="*/ 108 w 289"/>
                    <a:gd name="T17"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51">
                      <a:moveTo>
                        <a:pt x="108" y="4"/>
                      </a:moveTo>
                      <a:cubicBezTo>
                        <a:pt x="206" y="4"/>
                        <a:pt x="206" y="4"/>
                        <a:pt x="206" y="4"/>
                      </a:cubicBezTo>
                      <a:cubicBezTo>
                        <a:pt x="232" y="4"/>
                        <a:pt x="254" y="25"/>
                        <a:pt x="256" y="51"/>
                      </a:cubicBezTo>
                      <a:cubicBezTo>
                        <a:pt x="289" y="51"/>
                        <a:pt x="289" y="51"/>
                        <a:pt x="289" y="51"/>
                      </a:cubicBezTo>
                      <a:cubicBezTo>
                        <a:pt x="289" y="23"/>
                        <a:pt x="266" y="0"/>
                        <a:pt x="239" y="0"/>
                      </a:cubicBezTo>
                      <a:cubicBezTo>
                        <a:pt x="178" y="0"/>
                        <a:pt x="178" y="0"/>
                        <a:pt x="178" y="0"/>
                      </a:cubicBezTo>
                      <a:cubicBezTo>
                        <a:pt x="19" y="0"/>
                        <a:pt x="19" y="0"/>
                        <a:pt x="19" y="0"/>
                      </a:cubicBezTo>
                      <a:cubicBezTo>
                        <a:pt x="12" y="0"/>
                        <a:pt x="6" y="2"/>
                        <a:pt x="0" y="4"/>
                      </a:cubicBezTo>
                      <a:lnTo>
                        <a:pt x="108"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1" name="Freeform 226">
                  <a:extLst>
                    <a:ext uri="{FF2B5EF4-FFF2-40B4-BE49-F238E27FC236}">
                      <a16:creationId xmlns:a16="http://schemas.microsoft.com/office/drawing/2014/main" id="{FACA7000-8EBB-4DB3-AEF3-7EE0DA1BCBD1}"/>
                    </a:ext>
                  </a:extLst>
                </p:cNvPr>
                <p:cNvSpPr>
                  <a:spLocks/>
                </p:cNvSpPr>
                <p:nvPr userDrawn="1"/>
              </p:nvSpPr>
              <p:spPr bwMode="auto">
                <a:xfrm>
                  <a:off x="1782762" y="5734055"/>
                  <a:ext cx="198438" cy="66675"/>
                </a:xfrm>
                <a:custGeom>
                  <a:avLst/>
                  <a:gdLst>
                    <a:gd name="T0" fmla="*/ 218 w 237"/>
                    <a:gd name="T1" fmla="*/ 79 h 81"/>
                    <a:gd name="T2" fmla="*/ 205 w 237"/>
                    <a:gd name="T3" fmla="*/ 74 h 81"/>
                    <a:gd name="T4" fmla="*/ 119 w 237"/>
                    <a:gd name="T5" fmla="*/ 35 h 81"/>
                    <a:gd name="T6" fmla="*/ 33 w 237"/>
                    <a:gd name="T7" fmla="*/ 74 h 81"/>
                    <a:gd name="T8" fmla="*/ 8 w 237"/>
                    <a:gd name="T9" fmla="*/ 75 h 81"/>
                    <a:gd name="T10" fmla="*/ 6 w 237"/>
                    <a:gd name="T11" fmla="*/ 50 h 81"/>
                    <a:gd name="T12" fmla="*/ 119 w 237"/>
                    <a:gd name="T13" fmla="*/ 0 h 81"/>
                    <a:gd name="T14" fmla="*/ 231 w 237"/>
                    <a:gd name="T15" fmla="*/ 50 h 81"/>
                    <a:gd name="T16" fmla="*/ 230 w 237"/>
                    <a:gd name="T17" fmla="*/ 75 h 81"/>
                    <a:gd name="T18" fmla="*/ 218 w 237"/>
                    <a:gd name="T19" fmla="*/ 7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81">
                      <a:moveTo>
                        <a:pt x="218" y="79"/>
                      </a:moveTo>
                      <a:cubicBezTo>
                        <a:pt x="213" y="79"/>
                        <a:pt x="208" y="78"/>
                        <a:pt x="205" y="74"/>
                      </a:cubicBezTo>
                      <a:cubicBezTo>
                        <a:pt x="183" y="49"/>
                        <a:pt x="151" y="35"/>
                        <a:pt x="119" y="35"/>
                      </a:cubicBezTo>
                      <a:cubicBezTo>
                        <a:pt x="86" y="35"/>
                        <a:pt x="54" y="49"/>
                        <a:pt x="33" y="74"/>
                      </a:cubicBezTo>
                      <a:cubicBezTo>
                        <a:pt x="26" y="81"/>
                        <a:pt x="15" y="81"/>
                        <a:pt x="8" y="75"/>
                      </a:cubicBezTo>
                      <a:cubicBezTo>
                        <a:pt x="0" y="68"/>
                        <a:pt x="0" y="57"/>
                        <a:pt x="6" y="50"/>
                      </a:cubicBezTo>
                      <a:cubicBezTo>
                        <a:pt x="35" y="18"/>
                        <a:pt x="76" y="0"/>
                        <a:pt x="119" y="0"/>
                      </a:cubicBezTo>
                      <a:cubicBezTo>
                        <a:pt x="161" y="0"/>
                        <a:pt x="202" y="18"/>
                        <a:pt x="231" y="50"/>
                      </a:cubicBezTo>
                      <a:cubicBezTo>
                        <a:pt x="237" y="57"/>
                        <a:pt x="237" y="68"/>
                        <a:pt x="230" y="75"/>
                      </a:cubicBezTo>
                      <a:cubicBezTo>
                        <a:pt x="226" y="78"/>
                        <a:pt x="222" y="79"/>
                        <a:pt x="218" y="79"/>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2" name="Oval 227">
                  <a:extLst>
                    <a:ext uri="{FF2B5EF4-FFF2-40B4-BE49-F238E27FC236}">
                      <a16:creationId xmlns:a16="http://schemas.microsoft.com/office/drawing/2014/main" id="{3D0D2ABB-2C3C-4878-8BA8-77BAA4F3EFD5}"/>
                    </a:ext>
                  </a:extLst>
                </p:cNvPr>
                <p:cNvSpPr>
                  <a:spLocks noChangeArrowheads="1"/>
                </p:cNvSpPr>
                <p:nvPr userDrawn="1"/>
              </p:nvSpPr>
              <p:spPr bwMode="auto">
                <a:xfrm>
                  <a:off x="1782762" y="5792793"/>
                  <a:ext cx="31750" cy="31750"/>
                </a:xfrm>
                <a:prstGeom prst="ellipse">
                  <a:avLst/>
                </a:pr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3" name="Oval 228">
                  <a:extLst>
                    <a:ext uri="{FF2B5EF4-FFF2-40B4-BE49-F238E27FC236}">
                      <a16:creationId xmlns:a16="http://schemas.microsoft.com/office/drawing/2014/main" id="{B83F1425-6160-42CB-8CBF-FE9B476B1FA8}"/>
                    </a:ext>
                  </a:extLst>
                </p:cNvPr>
                <p:cNvSpPr>
                  <a:spLocks noChangeArrowheads="1"/>
                </p:cNvSpPr>
                <p:nvPr userDrawn="1"/>
              </p:nvSpPr>
              <p:spPr bwMode="auto">
                <a:xfrm>
                  <a:off x="1947861" y="5792793"/>
                  <a:ext cx="33338" cy="31750"/>
                </a:xfrm>
                <a:prstGeom prst="ellipse">
                  <a:avLst/>
                </a:pr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4" name="Freeform 229">
                  <a:extLst>
                    <a:ext uri="{FF2B5EF4-FFF2-40B4-BE49-F238E27FC236}">
                      <a16:creationId xmlns:a16="http://schemas.microsoft.com/office/drawing/2014/main" id="{530D58AA-4B05-4433-90D3-9E29E7D5030C}"/>
                    </a:ext>
                  </a:extLst>
                </p:cNvPr>
                <p:cNvSpPr>
                  <a:spLocks/>
                </p:cNvSpPr>
                <p:nvPr userDrawn="1"/>
              </p:nvSpPr>
              <p:spPr bwMode="auto">
                <a:xfrm>
                  <a:off x="1831974" y="5308605"/>
                  <a:ext cx="49213" cy="150813"/>
                </a:xfrm>
                <a:custGeom>
                  <a:avLst/>
                  <a:gdLst>
                    <a:gd name="T0" fmla="*/ 20 w 58"/>
                    <a:gd name="T1" fmla="*/ 0 h 181"/>
                    <a:gd name="T2" fmla="*/ 0 w 58"/>
                    <a:gd name="T3" fmla="*/ 0 h 181"/>
                    <a:gd name="T4" fmla="*/ 29 w 58"/>
                    <a:gd name="T5" fmla="*/ 42 h 181"/>
                    <a:gd name="T6" fmla="*/ 29 w 58"/>
                    <a:gd name="T7" fmla="*/ 139 h 181"/>
                    <a:gd name="T8" fmla="*/ 0 w 58"/>
                    <a:gd name="T9" fmla="*/ 181 h 181"/>
                    <a:gd name="T10" fmla="*/ 20 w 58"/>
                    <a:gd name="T11" fmla="*/ 181 h 181"/>
                    <a:gd name="T12" fmla="*/ 58 w 58"/>
                    <a:gd name="T13" fmla="*/ 139 h 181"/>
                    <a:gd name="T14" fmla="*/ 58 w 58"/>
                    <a:gd name="T15" fmla="*/ 42 h 181"/>
                    <a:gd name="T16" fmla="*/ 20 w 58"/>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81">
                      <a:moveTo>
                        <a:pt x="20" y="0"/>
                      </a:moveTo>
                      <a:cubicBezTo>
                        <a:pt x="20" y="0"/>
                        <a:pt x="10" y="0"/>
                        <a:pt x="0" y="0"/>
                      </a:cubicBezTo>
                      <a:cubicBezTo>
                        <a:pt x="16" y="5"/>
                        <a:pt x="29" y="23"/>
                        <a:pt x="29" y="42"/>
                      </a:cubicBezTo>
                      <a:cubicBezTo>
                        <a:pt x="29" y="139"/>
                        <a:pt x="29" y="139"/>
                        <a:pt x="29" y="139"/>
                      </a:cubicBezTo>
                      <a:cubicBezTo>
                        <a:pt x="29" y="159"/>
                        <a:pt x="17" y="177"/>
                        <a:pt x="0" y="181"/>
                      </a:cubicBezTo>
                      <a:cubicBezTo>
                        <a:pt x="10" y="181"/>
                        <a:pt x="20" y="181"/>
                        <a:pt x="20" y="181"/>
                      </a:cubicBezTo>
                      <a:cubicBezTo>
                        <a:pt x="41" y="181"/>
                        <a:pt x="58" y="162"/>
                        <a:pt x="58" y="139"/>
                      </a:cubicBezTo>
                      <a:cubicBezTo>
                        <a:pt x="58" y="42"/>
                        <a:pt x="58" y="42"/>
                        <a:pt x="58" y="42"/>
                      </a:cubicBezTo>
                      <a:cubicBezTo>
                        <a:pt x="58" y="19"/>
                        <a:pt x="41" y="0"/>
                        <a:pt x="20" y="0"/>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5" name="Freeform 230">
                  <a:extLst>
                    <a:ext uri="{FF2B5EF4-FFF2-40B4-BE49-F238E27FC236}">
                      <a16:creationId xmlns:a16="http://schemas.microsoft.com/office/drawing/2014/main" id="{DEBEC69D-E24B-4545-8A86-86BCE7F6051B}"/>
                    </a:ext>
                  </a:extLst>
                </p:cNvPr>
                <p:cNvSpPr>
                  <a:spLocks/>
                </p:cNvSpPr>
                <p:nvPr userDrawn="1"/>
              </p:nvSpPr>
              <p:spPr bwMode="auto">
                <a:xfrm>
                  <a:off x="1746249" y="5308605"/>
                  <a:ext cx="117475" cy="150813"/>
                </a:xfrm>
                <a:custGeom>
                  <a:avLst/>
                  <a:gdLst>
                    <a:gd name="T0" fmla="*/ 140 w 140"/>
                    <a:gd name="T1" fmla="*/ 139 h 181"/>
                    <a:gd name="T2" fmla="*/ 102 w 140"/>
                    <a:gd name="T3" fmla="*/ 181 h 181"/>
                    <a:gd name="T4" fmla="*/ 70 w 140"/>
                    <a:gd name="T5" fmla="*/ 180 h 181"/>
                    <a:gd name="T6" fmla="*/ 38 w 140"/>
                    <a:gd name="T7" fmla="*/ 181 h 181"/>
                    <a:gd name="T8" fmla="*/ 0 w 140"/>
                    <a:gd name="T9" fmla="*/ 139 h 181"/>
                    <a:gd name="T10" fmla="*/ 0 w 140"/>
                    <a:gd name="T11" fmla="*/ 42 h 181"/>
                    <a:gd name="T12" fmla="*/ 38 w 140"/>
                    <a:gd name="T13" fmla="*/ 0 h 181"/>
                    <a:gd name="T14" fmla="*/ 70 w 140"/>
                    <a:gd name="T15" fmla="*/ 2 h 181"/>
                    <a:gd name="T16" fmla="*/ 102 w 140"/>
                    <a:gd name="T17" fmla="*/ 0 h 181"/>
                    <a:gd name="T18" fmla="*/ 140 w 140"/>
                    <a:gd name="T19" fmla="*/ 42 h 181"/>
                    <a:gd name="T20" fmla="*/ 140 w 140"/>
                    <a:gd name="T21" fmla="*/ 13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181">
                      <a:moveTo>
                        <a:pt x="140" y="139"/>
                      </a:moveTo>
                      <a:cubicBezTo>
                        <a:pt x="140" y="162"/>
                        <a:pt x="123" y="181"/>
                        <a:pt x="102" y="181"/>
                      </a:cubicBezTo>
                      <a:cubicBezTo>
                        <a:pt x="102" y="181"/>
                        <a:pt x="81" y="180"/>
                        <a:pt x="70" y="180"/>
                      </a:cubicBezTo>
                      <a:cubicBezTo>
                        <a:pt x="58" y="180"/>
                        <a:pt x="38" y="181"/>
                        <a:pt x="38" y="181"/>
                      </a:cubicBezTo>
                      <a:cubicBezTo>
                        <a:pt x="17" y="181"/>
                        <a:pt x="0" y="162"/>
                        <a:pt x="0" y="139"/>
                      </a:cubicBezTo>
                      <a:cubicBezTo>
                        <a:pt x="0" y="42"/>
                        <a:pt x="0" y="42"/>
                        <a:pt x="0" y="42"/>
                      </a:cubicBezTo>
                      <a:cubicBezTo>
                        <a:pt x="0" y="19"/>
                        <a:pt x="17" y="0"/>
                        <a:pt x="38" y="0"/>
                      </a:cubicBezTo>
                      <a:cubicBezTo>
                        <a:pt x="38" y="0"/>
                        <a:pt x="55" y="2"/>
                        <a:pt x="70" y="2"/>
                      </a:cubicBezTo>
                      <a:cubicBezTo>
                        <a:pt x="85" y="2"/>
                        <a:pt x="102" y="0"/>
                        <a:pt x="102" y="0"/>
                      </a:cubicBezTo>
                      <a:cubicBezTo>
                        <a:pt x="123" y="0"/>
                        <a:pt x="140" y="19"/>
                        <a:pt x="140" y="42"/>
                      </a:cubicBezTo>
                      <a:lnTo>
                        <a:pt x="140" y="13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6" name="Freeform 231">
                  <a:extLst>
                    <a:ext uri="{FF2B5EF4-FFF2-40B4-BE49-F238E27FC236}">
                      <a16:creationId xmlns:a16="http://schemas.microsoft.com/office/drawing/2014/main" id="{41C58DA0-6F5F-46DC-9E3B-3BFE7F9BC406}"/>
                    </a:ext>
                  </a:extLst>
                </p:cNvPr>
                <p:cNvSpPr>
                  <a:spLocks/>
                </p:cNvSpPr>
                <p:nvPr userDrawn="1"/>
              </p:nvSpPr>
              <p:spPr bwMode="auto">
                <a:xfrm>
                  <a:off x="1822449" y="5308605"/>
                  <a:ext cx="41275" cy="150813"/>
                </a:xfrm>
                <a:custGeom>
                  <a:avLst/>
                  <a:gdLst>
                    <a:gd name="T0" fmla="*/ 11 w 49"/>
                    <a:gd name="T1" fmla="*/ 0 h 181"/>
                    <a:gd name="T2" fmla="*/ 2 w 49"/>
                    <a:gd name="T3" fmla="*/ 1 h 181"/>
                    <a:gd name="T4" fmla="*/ 32 w 49"/>
                    <a:gd name="T5" fmla="*/ 42 h 181"/>
                    <a:gd name="T6" fmla="*/ 32 w 49"/>
                    <a:gd name="T7" fmla="*/ 139 h 181"/>
                    <a:gd name="T8" fmla="*/ 0 w 49"/>
                    <a:gd name="T9" fmla="*/ 180 h 181"/>
                    <a:gd name="T10" fmla="*/ 11 w 49"/>
                    <a:gd name="T11" fmla="*/ 181 h 181"/>
                    <a:gd name="T12" fmla="*/ 49 w 49"/>
                    <a:gd name="T13" fmla="*/ 139 h 181"/>
                    <a:gd name="T14" fmla="*/ 49 w 49"/>
                    <a:gd name="T15" fmla="*/ 42 h 181"/>
                    <a:gd name="T16" fmla="*/ 11 w 49"/>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81">
                      <a:moveTo>
                        <a:pt x="11" y="0"/>
                      </a:moveTo>
                      <a:cubicBezTo>
                        <a:pt x="11" y="0"/>
                        <a:pt x="7" y="1"/>
                        <a:pt x="2" y="1"/>
                      </a:cubicBezTo>
                      <a:cubicBezTo>
                        <a:pt x="19" y="5"/>
                        <a:pt x="32" y="22"/>
                        <a:pt x="32" y="42"/>
                      </a:cubicBezTo>
                      <a:cubicBezTo>
                        <a:pt x="32" y="139"/>
                        <a:pt x="32" y="139"/>
                        <a:pt x="32" y="139"/>
                      </a:cubicBezTo>
                      <a:cubicBezTo>
                        <a:pt x="32" y="160"/>
                        <a:pt x="18" y="177"/>
                        <a:pt x="0" y="180"/>
                      </a:cubicBezTo>
                      <a:cubicBezTo>
                        <a:pt x="6" y="181"/>
                        <a:pt x="11" y="181"/>
                        <a:pt x="11" y="181"/>
                      </a:cubicBezTo>
                      <a:cubicBezTo>
                        <a:pt x="32" y="181"/>
                        <a:pt x="49" y="162"/>
                        <a:pt x="49" y="139"/>
                      </a:cubicBezTo>
                      <a:cubicBezTo>
                        <a:pt x="49" y="42"/>
                        <a:pt x="49" y="42"/>
                        <a:pt x="49" y="42"/>
                      </a:cubicBezTo>
                      <a:cubicBezTo>
                        <a:pt x="49" y="19"/>
                        <a:pt x="32" y="0"/>
                        <a:pt x="11" y="0"/>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7" name="Freeform 232">
                  <a:extLst>
                    <a:ext uri="{FF2B5EF4-FFF2-40B4-BE49-F238E27FC236}">
                      <a16:creationId xmlns:a16="http://schemas.microsoft.com/office/drawing/2014/main" id="{E428A0DC-5F9E-4374-8338-CE5BA5A14816}"/>
                    </a:ext>
                  </a:extLst>
                </p:cNvPr>
                <p:cNvSpPr>
                  <a:spLocks/>
                </p:cNvSpPr>
                <p:nvPr userDrawn="1"/>
              </p:nvSpPr>
              <p:spPr bwMode="auto">
                <a:xfrm>
                  <a:off x="1779587" y="5373693"/>
                  <a:ext cx="22225" cy="179388"/>
                </a:xfrm>
                <a:custGeom>
                  <a:avLst/>
                  <a:gdLst>
                    <a:gd name="T0" fmla="*/ 14 w 27"/>
                    <a:gd name="T1" fmla="*/ 215 h 215"/>
                    <a:gd name="T2" fmla="*/ 0 w 27"/>
                    <a:gd name="T3" fmla="*/ 202 h 215"/>
                    <a:gd name="T4" fmla="*/ 0 w 27"/>
                    <a:gd name="T5" fmla="*/ 13 h 215"/>
                    <a:gd name="T6" fmla="*/ 14 w 27"/>
                    <a:gd name="T7" fmla="*/ 0 h 215"/>
                    <a:gd name="T8" fmla="*/ 27 w 27"/>
                    <a:gd name="T9" fmla="*/ 13 h 215"/>
                    <a:gd name="T10" fmla="*/ 27 w 27"/>
                    <a:gd name="T11" fmla="*/ 202 h 215"/>
                    <a:gd name="T12" fmla="*/ 14 w 2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27" h="215">
                      <a:moveTo>
                        <a:pt x="14" y="215"/>
                      </a:moveTo>
                      <a:cubicBezTo>
                        <a:pt x="6" y="215"/>
                        <a:pt x="0" y="209"/>
                        <a:pt x="0" y="202"/>
                      </a:cubicBezTo>
                      <a:cubicBezTo>
                        <a:pt x="0" y="13"/>
                        <a:pt x="0" y="13"/>
                        <a:pt x="0" y="13"/>
                      </a:cubicBezTo>
                      <a:cubicBezTo>
                        <a:pt x="0" y="6"/>
                        <a:pt x="6" y="0"/>
                        <a:pt x="14" y="0"/>
                      </a:cubicBezTo>
                      <a:cubicBezTo>
                        <a:pt x="21" y="0"/>
                        <a:pt x="27" y="6"/>
                        <a:pt x="27" y="13"/>
                      </a:cubicBezTo>
                      <a:cubicBezTo>
                        <a:pt x="27" y="202"/>
                        <a:pt x="27" y="202"/>
                        <a:pt x="27" y="202"/>
                      </a:cubicBezTo>
                      <a:cubicBezTo>
                        <a:pt x="27" y="209"/>
                        <a:pt x="21" y="215"/>
                        <a:pt x="14" y="215"/>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8" name="Freeform 233">
                  <a:extLst>
                    <a:ext uri="{FF2B5EF4-FFF2-40B4-BE49-F238E27FC236}">
                      <a16:creationId xmlns:a16="http://schemas.microsoft.com/office/drawing/2014/main" id="{B60D80FE-428D-4FB5-A2E2-4CF5032C3791}"/>
                    </a:ext>
                  </a:extLst>
                </p:cNvPr>
                <p:cNvSpPr>
                  <a:spLocks/>
                </p:cNvSpPr>
                <p:nvPr userDrawn="1"/>
              </p:nvSpPr>
              <p:spPr bwMode="auto">
                <a:xfrm>
                  <a:off x="2130424" y="5780093"/>
                  <a:ext cx="198438" cy="52388"/>
                </a:xfrm>
                <a:custGeom>
                  <a:avLst/>
                  <a:gdLst>
                    <a:gd name="T0" fmla="*/ 0 w 236"/>
                    <a:gd name="T1" fmla="*/ 17 h 63"/>
                    <a:gd name="T2" fmla="*/ 5 w 236"/>
                    <a:gd name="T3" fmla="*/ 53 h 63"/>
                    <a:gd name="T4" fmla="*/ 28 w 236"/>
                    <a:gd name="T5" fmla="*/ 62 h 63"/>
                    <a:gd name="T6" fmla="*/ 139 w 236"/>
                    <a:gd name="T7" fmla="*/ 51 h 63"/>
                    <a:gd name="T8" fmla="*/ 213 w 236"/>
                    <a:gd name="T9" fmla="*/ 35 h 63"/>
                    <a:gd name="T10" fmla="*/ 218 w 236"/>
                    <a:gd name="T11" fmla="*/ 18 h 63"/>
                    <a:gd name="T12" fmla="*/ 112 w 236"/>
                    <a:gd name="T13" fmla="*/ 5 h 63"/>
                    <a:gd name="T14" fmla="*/ 0 w 236"/>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63">
                      <a:moveTo>
                        <a:pt x="0" y="17"/>
                      </a:moveTo>
                      <a:cubicBezTo>
                        <a:pt x="5" y="53"/>
                        <a:pt x="5" y="53"/>
                        <a:pt x="5" y="53"/>
                      </a:cubicBezTo>
                      <a:cubicBezTo>
                        <a:pt x="9" y="61"/>
                        <a:pt x="16" y="63"/>
                        <a:pt x="28" y="62"/>
                      </a:cubicBezTo>
                      <a:cubicBezTo>
                        <a:pt x="139" y="51"/>
                        <a:pt x="139" y="51"/>
                        <a:pt x="139" y="51"/>
                      </a:cubicBezTo>
                      <a:cubicBezTo>
                        <a:pt x="158" y="49"/>
                        <a:pt x="213" y="35"/>
                        <a:pt x="213" y="35"/>
                      </a:cubicBezTo>
                      <a:cubicBezTo>
                        <a:pt x="236" y="27"/>
                        <a:pt x="223" y="17"/>
                        <a:pt x="218" y="18"/>
                      </a:cubicBezTo>
                      <a:cubicBezTo>
                        <a:pt x="198" y="19"/>
                        <a:pt x="150" y="10"/>
                        <a:pt x="112" y="5"/>
                      </a:cubicBezTo>
                      <a:cubicBezTo>
                        <a:pt x="79" y="0"/>
                        <a:pt x="0" y="17"/>
                        <a:pt x="0" y="17"/>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9" name="Freeform 234">
                  <a:extLst>
                    <a:ext uri="{FF2B5EF4-FFF2-40B4-BE49-F238E27FC236}">
                      <a16:creationId xmlns:a16="http://schemas.microsoft.com/office/drawing/2014/main" id="{5AD52438-D60B-4E6C-BDBE-0C165671C70E}"/>
                    </a:ext>
                  </a:extLst>
                </p:cNvPr>
                <p:cNvSpPr>
                  <a:spLocks/>
                </p:cNvSpPr>
                <p:nvPr userDrawn="1"/>
              </p:nvSpPr>
              <p:spPr bwMode="auto">
                <a:xfrm>
                  <a:off x="2128837" y="5761043"/>
                  <a:ext cx="131763" cy="41275"/>
                </a:xfrm>
                <a:custGeom>
                  <a:avLst/>
                  <a:gdLst>
                    <a:gd name="T0" fmla="*/ 1 w 157"/>
                    <a:gd name="T1" fmla="*/ 10 h 49"/>
                    <a:gd name="T2" fmla="*/ 2 w 157"/>
                    <a:gd name="T3" fmla="*/ 40 h 49"/>
                    <a:gd name="T4" fmla="*/ 136 w 157"/>
                    <a:gd name="T5" fmla="*/ 40 h 49"/>
                    <a:gd name="T6" fmla="*/ 150 w 157"/>
                    <a:gd name="T7" fmla="*/ 33 h 49"/>
                    <a:gd name="T8" fmla="*/ 50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2" y="21"/>
                        <a:pt x="0" y="33"/>
                        <a:pt x="2" y="40"/>
                      </a:cubicBezTo>
                      <a:cubicBezTo>
                        <a:pt x="4" y="49"/>
                        <a:pt x="136" y="40"/>
                        <a:pt x="136" y="40"/>
                      </a:cubicBezTo>
                      <a:cubicBezTo>
                        <a:pt x="139" y="40"/>
                        <a:pt x="157" y="34"/>
                        <a:pt x="150" y="33"/>
                      </a:cubicBezTo>
                      <a:cubicBezTo>
                        <a:pt x="117" y="29"/>
                        <a:pt x="50" y="13"/>
                        <a:pt x="50" y="0"/>
                      </a:cubicBezTo>
                      <a:lnTo>
                        <a:pt x="1" y="1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0" name="Freeform 235">
                  <a:extLst>
                    <a:ext uri="{FF2B5EF4-FFF2-40B4-BE49-F238E27FC236}">
                      <a16:creationId xmlns:a16="http://schemas.microsoft.com/office/drawing/2014/main" id="{6391A9B6-A61C-4B65-9B3C-0256214CB5DA}"/>
                    </a:ext>
                  </a:extLst>
                </p:cNvPr>
                <p:cNvSpPr>
                  <a:spLocks/>
                </p:cNvSpPr>
                <p:nvPr userDrawn="1"/>
              </p:nvSpPr>
              <p:spPr bwMode="auto">
                <a:xfrm>
                  <a:off x="1662112" y="5084766"/>
                  <a:ext cx="117475" cy="176213"/>
                </a:xfrm>
                <a:custGeom>
                  <a:avLst/>
                  <a:gdLst>
                    <a:gd name="T0" fmla="*/ 134 w 140"/>
                    <a:gd name="T1" fmla="*/ 0 h 212"/>
                    <a:gd name="T2" fmla="*/ 127 w 140"/>
                    <a:gd name="T3" fmla="*/ 212 h 212"/>
                    <a:gd name="T4" fmla="*/ 120 w 140"/>
                    <a:gd name="T5" fmla="*/ 27 h 212"/>
                    <a:gd name="T6" fmla="*/ 140 w 140"/>
                    <a:gd name="T7" fmla="*/ 18 h 212"/>
                  </a:gdLst>
                  <a:ahLst/>
                  <a:cxnLst>
                    <a:cxn ang="0">
                      <a:pos x="T0" y="T1"/>
                    </a:cxn>
                    <a:cxn ang="0">
                      <a:pos x="T2" y="T3"/>
                    </a:cxn>
                    <a:cxn ang="0">
                      <a:pos x="T4" y="T5"/>
                    </a:cxn>
                    <a:cxn ang="0">
                      <a:pos x="T6" y="T7"/>
                    </a:cxn>
                  </a:cxnLst>
                  <a:rect l="0" t="0" r="r" b="b"/>
                  <a:pathLst>
                    <a:path w="140" h="212">
                      <a:moveTo>
                        <a:pt x="134" y="0"/>
                      </a:moveTo>
                      <a:cubicBezTo>
                        <a:pt x="56" y="30"/>
                        <a:pt x="0" y="205"/>
                        <a:pt x="127" y="212"/>
                      </a:cubicBezTo>
                      <a:cubicBezTo>
                        <a:pt x="94" y="168"/>
                        <a:pt x="73" y="73"/>
                        <a:pt x="120" y="27"/>
                      </a:cubicBezTo>
                      <a:cubicBezTo>
                        <a:pt x="130" y="18"/>
                        <a:pt x="138" y="18"/>
                        <a:pt x="140" y="18"/>
                      </a:cubicBezTo>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1" name="Freeform 236">
                  <a:extLst>
                    <a:ext uri="{FF2B5EF4-FFF2-40B4-BE49-F238E27FC236}">
                      <a16:creationId xmlns:a16="http://schemas.microsoft.com/office/drawing/2014/main" id="{33806C67-0E2F-4613-A4CA-963460612D15}"/>
                    </a:ext>
                  </a:extLst>
                </p:cNvPr>
                <p:cNvSpPr>
                  <a:spLocks/>
                </p:cNvSpPr>
                <p:nvPr userDrawn="1"/>
              </p:nvSpPr>
              <p:spPr bwMode="auto">
                <a:xfrm>
                  <a:off x="1843088" y="5192716"/>
                  <a:ext cx="192088" cy="219075"/>
                </a:xfrm>
                <a:custGeom>
                  <a:avLst/>
                  <a:gdLst>
                    <a:gd name="T0" fmla="*/ 211 w 229"/>
                    <a:gd name="T1" fmla="*/ 249 h 261"/>
                    <a:gd name="T2" fmla="*/ 159 w 229"/>
                    <a:gd name="T3" fmla="*/ 243 h 261"/>
                    <a:gd name="T4" fmla="*/ 23 w 229"/>
                    <a:gd name="T5" fmla="*/ 94 h 261"/>
                    <a:gd name="T6" fmla="*/ 23 w 229"/>
                    <a:gd name="T7" fmla="*/ 94 h 261"/>
                    <a:gd name="T8" fmla="*/ 17 w 229"/>
                    <a:gd name="T9" fmla="*/ 88 h 261"/>
                    <a:gd name="T10" fmla="*/ 25 w 229"/>
                    <a:gd name="T11" fmla="*/ 17 h 261"/>
                    <a:gd name="T12" fmla="*/ 95 w 229"/>
                    <a:gd name="T13" fmla="*/ 25 h 261"/>
                    <a:gd name="T14" fmla="*/ 216 w 229"/>
                    <a:gd name="T15" fmla="*/ 197 h 261"/>
                    <a:gd name="T16" fmla="*/ 211 w 229"/>
                    <a:gd name="T17" fmla="*/ 249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61">
                      <a:moveTo>
                        <a:pt x="211" y="249"/>
                      </a:moveTo>
                      <a:cubicBezTo>
                        <a:pt x="195" y="261"/>
                        <a:pt x="172" y="259"/>
                        <a:pt x="159" y="243"/>
                      </a:cubicBezTo>
                      <a:cubicBezTo>
                        <a:pt x="23" y="94"/>
                        <a:pt x="23" y="94"/>
                        <a:pt x="23" y="94"/>
                      </a:cubicBezTo>
                      <a:cubicBezTo>
                        <a:pt x="23" y="94"/>
                        <a:pt x="23" y="94"/>
                        <a:pt x="23" y="94"/>
                      </a:cubicBezTo>
                      <a:cubicBezTo>
                        <a:pt x="17" y="88"/>
                        <a:pt x="17" y="88"/>
                        <a:pt x="17" y="88"/>
                      </a:cubicBezTo>
                      <a:cubicBezTo>
                        <a:pt x="0" y="66"/>
                        <a:pt x="3" y="35"/>
                        <a:pt x="25" y="17"/>
                      </a:cubicBezTo>
                      <a:cubicBezTo>
                        <a:pt x="47" y="0"/>
                        <a:pt x="78" y="4"/>
                        <a:pt x="95" y="25"/>
                      </a:cubicBezTo>
                      <a:cubicBezTo>
                        <a:pt x="216" y="197"/>
                        <a:pt x="216" y="197"/>
                        <a:pt x="216" y="197"/>
                      </a:cubicBezTo>
                      <a:cubicBezTo>
                        <a:pt x="229" y="213"/>
                        <a:pt x="227" y="236"/>
                        <a:pt x="211" y="249"/>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2" name="Freeform 237">
                  <a:extLst>
                    <a:ext uri="{FF2B5EF4-FFF2-40B4-BE49-F238E27FC236}">
                      <a16:creationId xmlns:a16="http://schemas.microsoft.com/office/drawing/2014/main" id="{3C54B0B3-170F-4274-9484-C1C71D03D4FC}"/>
                    </a:ext>
                  </a:extLst>
                </p:cNvPr>
                <p:cNvSpPr>
                  <a:spLocks/>
                </p:cNvSpPr>
                <p:nvPr userDrawn="1"/>
              </p:nvSpPr>
              <p:spPr bwMode="auto">
                <a:xfrm>
                  <a:off x="2101850" y="5222878"/>
                  <a:ext cx="98425" cy="130175"/>
                </a:xfrm>
                <a:custGeom>
                  <a:avLst/>
                  <a:gdLst>
                    <a:gd name="T0" fmla="*/ 62 w 62"/>
                    <a:gd name="T1" fmla="*/ 5 h 82"/>
                    <a:gd name="T2" fmla="*/ 6 w 62"/>
                    <a:gd name="T3" fmla="*/ 82 h 82"/>
                    <a:gd name="T4" fmla="*/ 0 w 62"/>
                    <a:gd name="T5" fmla="*/ 81 h 82"/>
                    <a:gd name="T6" fmla="*/ 59 w 62"/>
                    <a:gd name="T7" fmla="*/ 0 h 82"/>
                    <a:gd name="T8" fmla="*/ 62 w 62"/>
                    <a:gd name="T9" fmla="*/ 5 h 82"/>
                  </a:gdLst>
                  <a:ahLst/>
                  <a:cxnLst>
                    <a:cxn ang="0">
                      <a:pos x="T0" y="T1"/>
                    </a:cxn>
                    <a:cxn ang="0">
                      <a:pos x="T2" y="T3"/>
                    </a:cxn>
                    <a:cxn ang="0">
                      <a:pos x="T4" y="T5"/>
                    </a:cxn>
                    <a:cxn ang="0">
                      <a:pos x="T6" y="T7"/>
                    </a:cxn>
                    <a:cxn ang="0">
                      <a:pos x="T8" y="T9"/>
                    </a:cxn>
                  </a:cxnLst>
                  <a:rect l="0" t="0" r="r" b="b"/>
                  <a:pathLst>
                    <a:path w="62" h="82">
                      <a:moveTo>
                        <a:pt x="62" y="5"/>
                      </a:moveTo>
                      <a:lnTo>
                        <a:pt x="6" y="82"/>
                      </a:lnTo>
                      <a:lnTo>
                        <a:pt x="0" y="81"/>
                      </a:lnTo>
                      <a:lnTo>
                        <a:pt x="59" y="0"/>
                      </a:lnTo>
                      <a:lnTo>
                        <a:pt x="62" y="5"/>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3" name="Freeform 238">
                  <a:extLst>
                    <a:ext uri="{FF2B5EF4-FFF2-40B4-BE49-F238E27FC236}">
                      <a16:creationId xmlns:a16="http://schemas.microsoft.com/office/drawing/2014/main" id="{276BADE5-36C5-4A76-859A-627A53BEC6FA}"/>
                    </a:ext>
                  </a:extLst>
                </p:cNvPr>
                <p:cNvSpPr>
                  <a:spLocks/>
                </p:cNvSpPr>
                <p:nvPr userDrawn="1"/>
              </p:nvSpPr>
              <p:spPr bwMode="auto">
                <a:xfrm>
                  <a:off x="1892300" y="5199065"/>
                  <a:ext cx="123825" cy="149225"/>
                </a:xfrm>
                <a:custGeom>
                  <a:avLst/>
                  <a:gdLst>
                    <a:gd name="T0" fmla="*/ 148 w 148"/>
                    <a:gd name="T1" fmla="*/ 178 h 179"/>
                    <a:gd name="T2" fmla="*/ 143 w 148"/>
                    <a:gd name="T3" fmla="*/ 179 h 179"/>
                    <a:gd name="T4" fmla="*/ 142 w 148"/>
                    <a:gd name="T5" fmla="*/ 176 h 179"/>
                    <a:gd name="T6" fmla="*/ 36 w 148"/>
                    <a:gd name="T7" fmla="*/ 25 h 179"/>
                    <a:gd name="T8" fmla="*/ 0 w 148"/>
                    <a:gd name="T9" fmla="*/ 0 h 179"/>
                    <a:gd name="T10" fmla="*/ 36 w 148"/>
                    <a:gd name="T11" fmla="*/ 19 h 179"/>
                    <a:gd name="T12" fmla="*/ 146 w 148"/>
                    <a:gd name="T13" fmla="*/ 176 h 179"/>
                    <a:gd name="T14" fmla="*/ 148 w 148"/>
                    <a:gd name="T15" fmla="*/ 178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79">
                      <a:moveTo>
                        <a:pt x="148" y="178"/>
                      </a:moveTo>
                      <a:cubicBezTo>
                        <a:pt x="143" y="179"/>
                        <a:pt x="143" y="179"/>
                        <a:pt x="143" y="179"/>
                      </a:cubicBezTo>
                      <a:cubicBezTo>
                        <a:pt x="142" y="176"/>
                        <a:pt x="142" y="176"/>
                        <a:pt x="142" y="176"/>
                      </a:cubicBezTo>
                      <a:cubicBezTo>
                        <a:pt x="142" y="176"/>
                        <a:pt x="66" y="66"/>
                        <a:pt x="36" y="25"/>
                      </a:cubicBezTo>
                      <a:cubicBezTo>
                        <a:pt x="23" y="8"/>
                        <a:pt x="15" y="1"/>
                        <a:pt x="0" y="0"/>
                      </a:cubicBezTo>
                      <a:cubicBezTo>
                        <a:pt x="14" y="0"/>
                        <a:pt x="27" y="7"/>
                        <a:pt x="36" y="19"/>
                      </a:cubicBezTo>
                      <a:cubicBezTo>
                        <a:pt x="65" y="57"/>
                        <a:pt x="146" y="176"/>
                        <a:pt x="146" y="176"/>
                      </a:cubicBezTo>
                      <a:lnTo>
                        <a:pt x="148" y="178"/>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4" name="Freeform 239">
                  <a:extLst>
                    <a:ext uri="{FF2B5EF4-FFF2-40B4-BE49-F238E27FC236}">
                      <a16:creationId xmlns:a16="http://schemas.microsoft.com/office/drawing/2014/main" id="{50563CDC-0859-4027-8C94-5829F343EB6B}"/>
                    </a:ext>
                  </a:extLst>
                </p:cNvPr>
                <p:cNvSpPr>
                  <a:spLocks/>
                </p:cNvSpPr>
                <p:nvPr userDrawn="1"/>
              </p:nvSpPr>
              <p:spPr bwMode="auto">
                <a:xfrm>
                  <a:off x="2163762" y="5327652"/>
                  <a:ext cx="74613" cy="57150"/>
                </a:xfrm>
                <a:custGeom>
                  <a:avLst/>
                  <a:gdLst>
                    <a:gd name="T0" fmla="*/ 76 w 89"/>
                    <a:gd name="T1" fmla="*/ 68 h 69"/>
                    <a:gd name="T2" fmla="*/ 76 w 89"/>
                    <a:gd name="T3" fmla="*/ 68 h 69"/>
                    <a:gd name="T4" fmla="*/ 76 w 89"/>
                    <a:gd name="T5" fmla="*/ 68 h 69"/>
                    <a:gd name="T6" fmla="*/ 12 w 89"/>
                    <a:gd name="T7" fmla="*/ 69 h 69"/>
                    <a:gd name="T8" fmla="*/ 1 w 89"/>
                    <a:gd name="T9" fmla="*/ 29 h 69"/>
                    <a:gd name="T10" fmla="*/ 3 w 89"/>
                    <a:gd name="T11" fmla="*/ 23 h 69"/>
                    <a:gd name="T12" fmla="*/ 12 w 89"/>
                    <a:gd name="T13" fmla="*/ 11 h 69"/>
                    <a:gd name="T14" fmla="*/ 17 w 89"/>
                    <a:gd name="T15" fmla="*/ 7 h 69"/>
                    <a:gd name="T16" fmla="*/ 57 w 89"/>
                    <a:gd name="T17" fmla="*/ 0 h 69"/>
                    <a:gd name="T18" fmla="*/ 56 w 89"/>
                    <a:gd name="T19" fmla="*/ 11 h 69"/>
                    <a:gd name="T20" fmla="*/ 35 w 89"/>
                    <a:gd name="T21" fmla="*/ 13 h 69"/>
                    <a:gd name="T22" fmla="*/ 39 w 89"/>
                    <a:gd name="T23" fmla="*/ 13 h 69"/>
                    <a:gd name="T24" fmla="*/ 74 w 89"/>
                    <a:gd name="T25" fmla="*/ 9 h 69"/>
                    <a:gd name="T26" fmla="*/ 75 w 89"/>
                    <a:gd name="T27" fmla="*/ 10 h 69"/>
                    <a:gd name="T28" fmla="*/ 83 w 89"/>
                    <a:gd name="T29" fmla="*/ 18 h 69"/>
                    <a:gd name="T30" fmla="*/ 82 w 89"/>
                    <a:gd name="T31" fmla="*/ 23 h 69"/>
                    <a:gd name="T32" fmla="*/ 89 w 89"/>
                    <a:gd name="T33" fmla="*/ 31 h 69"/>
                    <a:gd name="T34" fmla="*/ 84 w 89"/>
                    <a:gd name="T35" fmla="*/ 39 h 69"/>
                    <a:gd name="T36" fmla="*/ 88 w 89"/>
                    <a:gd name="T37" fmla="*/ 46 h 69"/>
                    <a:gd name="T38" fmla="*/ 82 w 89"/>
                    <a:gd name="T39" fmla="*/ 54 h 69"/>
                    <a:gd name="T40" fmla="*/ 84 w 89"/>
                    <a:gd name="T41" fmla="*/ 59 h 69"/>
                    <a:gd name="T42" fmla="*/ 76 w 89"/>
                    <a:gd name="T43"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69">
                      <a:moveTo>
                        <a:pt x="76" y="68"/>
                      </a:moveTo>
                      <a:cubicBezTo>
                        <a:pt x="76" y="68"/>
                        <a:pt x="76" y="68"/>
                        <a:pt x="76" y="68"/>
                      </a:cubicBezTo>
                      <a:cubicBezTo>
                        <a:pt x="76" y="68"/>
                        <a:pt x="76" y="68"/>
                        <a:pt x="76" y="68"/>
                      </a:cubicBezTo>
                      <a:cubicBezTo>
                        <a:pt x="12" y="69"/>
                        <a:pt x="12" y="69"/>
                        <a:pt x="12" y="69"/>
                      </a:cubicBezTo>
                      <a:cubicBezTo>
                        <a:pt x="12" y="69"/>
                        <a:pt x="0" y="35"/>
                        <a:pt x="1" y="29"/>
                      </a:cubicBezTo>
                      <a:cubicBezTo>
                        <a:pt x="1" y="27"/>
                        <a:pt x="2" y="25"/>
                        <a:pt x="3" y="23"/>
                      </a:cubicBezTo>
                      <a:cubicBezTo>
                        <a:pt x="6" y="19"/>
                        <a:pt x="10" y="14"/>
                        <a:pt x="12" y="11"/>
                      </a:cubicBezTo>
                      <a:cubicBezTo>
                        <a:pt x="14" y="9"/>
                        <a:pt x="15" y="8"/>
                        <a:pt x="17" y="7"/>
                      </a:cubicBezTo>
                      <a:cubicBezTo>
                        <a:pt x="23" y="5"/>
                        <a:pt x="36" y="2"/>
                        <a:pt x="57" y="0"/>
                      </a:cubicBezTo>
                      <a:cubicBezTo>
                        <a:pt x="61" y="3"/>
                        <a:pt x="59" y="9"/>
                        <a:pt x="56" y="11"/>
                      </a:cubicBezTo>
                      <a:cubicBezTo>
                        <a:pt x="53" y="14"/>
                        <a:pt x="35" y="13"/>
                        <a:pt x="35" y="13"/>
                      </a:cubicBezTo>
                      <a:cubicBezTo>
                        <a:pt x="39" y="13"/>
                        <a:pt x="39" y="13"/>
                        <a:pt x="39" y="13"/>
                      </a:cubicBezTo>
                      <a:cubicBezTo>
                        <a:pt x="74" y="9"/>
                        <a:pt x="74" y="9"/>
                        <a:pt x="74" y="9"/>
                      </a:cubicBezTo>
                      <a:cubicBezTo>
                        <a:pt x="75" y="10"/>
                        <a:pt x="75" y="10"/>
                        <a:pt x="75" y="10"/>
                      </a:cubicBezTo>
                      <a:cubicBezTo>
                        <a:pt x="79" y="9"/>
                        <a:pt x="83" y="13"/>
                        <a:pt x="83" y="18"/>
                      </a:cubicBezTo>
                      <a:cubicBezTo>
                        <a:pt x="83" y="20"/>
                        <a:pt x="83" y="21"/>
                        <a:pt x="82" y="23"/>
                      </a:cubicBezTo>
                      <a:cubicBezTo>
                        <a:pt x="86" y="23"/>
                        <a:pt x="89" y="27"/>
                        <a:pt x="89" y="31"/>
                      </a:cubicBezTo>
                      <a:cubicBezTo>
                        <a:pt x="89" y="35"/>
                        <a:pt x="87" y="38"/>
                        <a:pt x="84" y="39"/>
                      </a:cubicBezTo>
                      <a:cubicBezTo>
                        <a:pt x="86" y="41"/>
                        <a:pt x="88" y="43"/>
                        <a:pt x="88" y="46"/>
                      </a:cubicBezTo>
                      <a:cubicBezTo>
                        <a:pt x="88" y="50"/>
                        <a:pt x="86" y="53"/>
                        <a:pt x="82" y="54"/>
                      </a:cubicBezTo>
                      <a:cubicBezTo>
                        <a:pt x="83" y="56"/>
                        <a:pt x="84" y="57"/>
                        <a:pt x="84" y="59"/>
                      </a:cubicBezTo>
                      <a:cubicBezTo>
                        <a:pt x="85" y="64"/>
                        <a:pt x="81" y="68"/>
                        <a:pt x="76" y="6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5" name="Freeform 240">
                  <a:extLst>
                    <a:ext uri="{FF2B5EF4-FFF2-40B4-BE49-F238E27FC236}">
                      <a16:creationId xmlns:a16="http://schemas.microsoft.com/office/drawing/2014/main" id="{8C460ABE-A076-46C1-AA9F-03E80FB5DB34}"/>
                    </a:ext>
                  </a:extLst>
                </p:cNvPr>
                <p:cNvSpPr>
                  <a:spLocks/>
                </p:cNvSpPr>
                <p:nvPr userDrawn="1"/>
              </p:nvSpPr>
              <p:spPr bwMode="auto">
                <a:xfrm>
                  <a:off x="2124074" y="5351465"/>
                  <a:ext cx="50800" cy="36513"/>
                </a:xfrm>
                <a:custGeom>
                  <a:avLst/>
                  <a:gdLst>
                    <a:gd name="T0" fmla="*/ 26 w 32"/>
                    <a:gd name="T1" fmla="*/ 0 h 23"/>
                    <a:gd name="T2" fmla="*/ 0 w 32"/>
                    <a:gd name="T3" fmla="*/ 2 h 23"/>
                    <a:gd name="T4" fmla="*/ 1 w 32"/>
                    <a:gd name="T5" fmla="*/ 23 h 23"/>
                    <a:gd name="T6" fmla="*/ 32 w 32"/>
                    <a:gd name="T7" fmla="*/ 21 h 23"/>
                    <a:gd name="T8" fmla="*/ 26 w 32"/>
                    <a:gd name="T9" fmla="*/ 0 h 23"/>
                  </a:gdLst>
                  <a:ahLst/>
                  <a:cxnLst>
                    <a:cxn ang="0">
                      <a:pos x="T0" y="T1"/>
                    </a:cxn>
                    <a:cxn ang="0">
                      <a:pos x="T2" y="T3"/>
                    </a:cxn>
                    <a:cxn ang="0">
                      <a:pos x="T4" y="T5"/>
                    </a:cxn>
                    <a:cxn ang="0">
                      <a:pos x="T6" y="T7"/>
                    </a:cxn>
                    <a:cxn ang="0">
                      <a:pos x="T8" y="T9"/>
                    </a:cxn>
                  </a:cxnLst>
                  <a:rect l="0" t="0" r="r" b="b"/>
                  <a:pathLst>
                    <a:path w="32" h="23">
                      <a:moveTo>
                        <a:pt x="26" y="0"/>
                      </a:moveTo>
                      <a:lnTo>
                        <a:pt x="0" y="2"/>
                      </a:lnTo>
                      <a:lnTo>
                        <a:pt x="1" y="23"/>
                      </a:lnTo>
                      <a:lnTo>
                        <a:pt x="32" y="21"/>
                      </a:lnTo>
                      <a:lnTo>
                        <a:pt x="26" y="0"/>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6" name="Freeform 241">
                  <a:extLst>
                    <a:ext uri="{FF2B5EF4-FFF2-40B4-BE49-F238E27FC236}">
                      <a16:creationId xmlns:a16="http://schemas.microsoft.com/office/drawing/2014/main" id="{C5804AEA-D28E-4227-841E-60C95C04A292}"/>
                    </a:ext>
                  </a:extLst>
                </p:cNvPr>
                <p:cNvSpPr>
                  <a:spLocks/>
                </p:cNvSpPr>
                <p:nvPr userDrawn="1"/>
              </p:nvSpPr>
              <p:spPr bwMode="auto">
                <a:xfrm>
                  <a:off x="2124075" y="5351465"/>
                  <a:ext cx="50800" cy="36513"/>
                </a:xfrm>
                <a:custGeom>
                  <a:avLst/>
                  <a:gdLst>
                    <a:gd name="T0" fmla="*/ 26 w 32"/>
                    <a:gd name="T1" fmla="*/ 0 h 23"/>
                    <a:gd name="T2" fmla="*/ 0 w 32"/>
                    <a:gd name="T3" fmla="*/ 2 h 23"/>
                    <a:gd name="T4" fmla="*/ 1 w 32"/>
                    <a:gd name="T5" fmla="*/ 23 h 23"/>
                    <a:gd name="T6" fmla="*/ 32 w 32"/>
                    <a:gd name="T7" fmla="*/ 21 h 23"/>
                  </a:gdLst>
                  <a:ahLst/>
                  <a:cxnLst>
                    <a:cxn ang="0">
                      <a:pos x="T0" y="T1"/>
                    </a:cxn>
                    <a:cxn ang="0">
                      <a:pos x="T2" y="T3"/>
                    </a:cxn>
                    <a:cxn ang="0">
                      <a:pos x="T4" y="T5"/>
                    </a:cxn>
                    <a:cxn ang="0">
                      <a:pos x="T6" y="T7"/>
                    </a:cxn>
                  </a:cxnLst>
                  <a:rect l="0" t="0" r="r" b="b"/>
                  <a:pathLst>
                    <a:path w="32" h="23">
                      <a:moveTo>
                        <a:pt x="26" y="0"/>
                      </a:moveTo>
                      <a:lnTo>
                        <a:pt x="0" y="2"/>
                      </a:lnTo>
                      <a:lnTo>
                        <a:pt x="1" y="23"/>
                      </a:lnTo>
                      <a:lnTo>
                        <a:pt x="32"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7" name="Freeform 242">
                  <a:extLst>
                    <a:ext uri="{FF2B5EF4-FFF2-40B4-BE49-F238E27FC236}">
                      <a16:creationId xmlns:a16="http://schemas.microsoft.com/office/drawing/2014/main" id="{3EEE90FE-6A15-48BB-9CD5-22322BD933C1}"/>
                    </a:ext>
                  </a:extLst>
                </p:cNvPr>
                <p:cNvSpPr>
                  <a:spLocks/>
                </p:cNvSpPr>
                <p:nvPr userDrawn="1"/>
              </p:nvSpPr>
              <p:spPr bwMode="auto">
                <a:xfrm>
                  <a:off x="2143125" y="5346702"/>
                  <a:ext cx="17463" cy="42863"/>
                </a:xfrm>
                <a:custGeom>
                  <a:avLst/>
                  <a:gdLst>
                    <a:gd name="T0" fmla="*/ 9 w 11"/>
                    <a:gd name="T1" fmla="*/ 0 h 27"/>
                    <a:gd name="T2" fmla="*/ 11 w 11"/>
                    <a:gd name="T3" fmla="*/ 27 h 27"/>
                    <a:gd name="T4" fmla="*/ 2 w 11"/>
                    <a:gd name="T5" fmla="*/ 27 h 27"/>
                    <a:gd name="T6" fmla="*/ 1 w 11"/>
                    <a:gd name="T7" fmla="*/ 27 h 27"/>
                    <a:gd name="T8" fmla="*/ 0 w 11"/>
                    <a:gd name="T9" fmla="*/ 2 h 27"/>
                    <a:gd name="T10" fmla="*/ 0 w 11"/>
                    <a:gd name="T11" fmla="*/ 1 h 27"/>
                    <a:gd name="T12" fmla="*/ 9 w 1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1" h="27">
                      <a:moveTo>
                        <a:pt x="9" y="0"/>
                      </a:moveTo>
                      <a:lnTo>
                        <a:pt x="11" y="27"/>
                      </a:lnTo>
                      <a:lnTo>
                        <a:pt x="2" y="27"/>
                      </a:lnTo>
                      <a:lnTo>
                        <a:pt x="1" y="27"/>
                      </a:lnTo>
                      <a:lnTo>
                        <a:pt x="0" y="2"/>
                      </a:lnTo>
                      <a:lnTo>
                        <a:pt x="0" y="1"/>
                      </a:lnTo>
                      <a:lnTo>
                        <a:pt x="9"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8" name="Freeform 243">
                  <a:extLst>
                    <a:ext uri="{FF2B5EF4-FFF2-40B4-BE49-F238E27FC236}">
                      <a16:creationId xmlns:a16="http://schemas.microsoft.com/office/drawing/2014/main" id="{87BA1051-6A4A-4FE3-A8BE-6217708ACA06}"/>
                    </a:ext>
                  </a:extLst>
                </p:cNvPr>
                <p:cNvSpPr>
                  <a:spLocks/>
                </p:cNvSpPr>
                <p:nvPr userDrawn="1"/>
              </p:nvSpPr>
              <p:spPr bwMode="auto">
                <a:xfrm>
                  <a:off x="1966913" y="5345117"/>
                  <a:ext cx="179388" cy="63500"/>
                </a:xfrm>
                <a:custGeom>
                  <a:avLst/>
                  <a:gdLst>
                    <a:gd name="T0" fmla="*/ 209 w 213"/>
                    <a:gd name="T1" fmla="*/ 1 h 76"/>
                    <a:gd name="T2" fmla="*/ 209 w 213"/>
                    <a:gd name="T3" fmla="*/ 2 h 76"/>
                    <a:gd name="T4" fmla="*/ 209 w 213"/>
                    <a:gd name="T5" fmla="*/ 5 h 76"/>
                    <a:gd name="T6" fmla="*/ 213 w 213"/>
                    <a:gd name="T7" fmla="*/ 58 h 76"/>
                    <a:gd name="T8" fmla="*/ 43 w 213"/>
                    <a:gd name="T9" fmla="*/ 73 h 76"/>
                    <a:gd name="T10" fmla="*/ 2 w 213"/>
                    <a:gd name="T11" fmla="*/ 41 h 76"/>
                    <a:gd name="T12" fmla="*/ 34 w 213"/>
                    <a:gd name="T13" fmla="*/ 1 h 76"/>
                    <a:gd name="T14" fmla="*/ 35 w 213"/>
                    <a:gd name="T15" fmla="*/ 1 h 76"/>
                    <a:gd name="T16" fmla="*/ 40 w 213"/>
                    <a:gd name="T17" fmla="*/ 0 h 76"/>
                    <a:gd name="T18" fmla="*/ 209 w 213"/>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6">
                      <a:moveTo>
                        <a:pt x="209" y="1"/>
                      </a:moveTo>
                      <a:cubicBezTo>
                        <a:pt x="209" y="2"/>
                        <a:pt x="209" y="2"/>
                        <a:pt x="209" y="2"/>
                      </a:cubicBezTo>
                      <a:cubicBezTo>
                        <a:pt x="209" y="5"/>
                        <a:pt x="209" y="5"/>
                        <a:pt x="209" y="5"/>
                      </a:cubicBezTo>
                      <a:cubicBezTo>
                        <a:pt x="213" y="58"/>
                        <a:pt x="213" y="58"/>
                        <a:pt x="213" y="58"/>
                      </a:cubicBezTo>
                      <a:cubicBezTo>
                        <a:pt x="43" y="73"/>
                        <a:pt x="43" y="73"/>
                        <a:pt x="43" y="73"/>
                      </a:cubicBezTo>
                      <a:cubicBezTo>
                        <a:pt x="23" y="76"/>
                        <a:pt x="4" y="61"/>
                        <a:pt x="2" y="41"/>
                      </a:cubicBezTo>
                      <a:cubicBezTo>
                        <a:pt x="0" y="21"/>
                        <a:pt x="14" y="3"/>
                        <a:pt x="34" y="1"/>
                      </a:cubicBezTo>
                      <a:cubicBezTo>
                        <a:pt x="35" y="1"/>
                        <a:pt x="35" y="1"/>
                        <a:pt x="35" y="1"/>
                      </a:cubicBezTo>
                      <a:cubicBezTo>
                        <a:pt x="40" y="0"/>
                        <a:pt x="40" y="0"/>
                        <a:pt x="40" y="0"/>
                      </a:cubicBezTo>
                      <a:lnTo>
                        <a:pt x="209" y="1"/>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9" name="Freeform 244">
                  <a:extLst>
                    <a:ext uri="{FF2B5EF4-FFF2-40B4-BE49-F238E27FC236}">
                      <a16:creationId xmlns:a16="http://schemas.microsoft.com/office/drawing/2014/main" id="{5E7AB4F0-C66A-41B4-AD7C-DDBD4729F882}"/>
                    </a:ext>
                  </a:extLst>
                </p:cNvPr>
                <p:cNvSpPr>
                  <a:spLocks/>
                </p:cNvSpPr>
                <p:nvPr userDrawn="1"/>
              </p:nvSpPr>
              <p:spPr bwMode="auto">
                <a:xfrm>
                  <a:off x="2011364" y="5345117"/>
                  <a:ext cx="131763" cy="3175"/>
                </a:xfrm>
                <a:custGeom>
                  <a:avLst/>
                  <a:gdLst>
                    <a:gd name="T0" fmla="*/ 83 w 83"/>
                    <a:gd name="T1" fmla="*/ 2 h 2"/>
                    <a:gd name="T2" fmla="*/ 81 w 83"/>
                    <a:gd name="T3" fmla="*/ 2 h 2"/>
                    <a:gd name="T4" fmla="*/ 3 w 83"/>
                    <a:gd name="T5" fmla="*/ 2 h 2"/>
                    <a:gd name="T6" fmla="*/ 1 w 83"/>
                    <a:gd name="T7" fmla="*/ 2 h 2"/>
                    <a:gd name="T8" fmla="*/ 0 w 83"/>
                    <a:gd name="T9" fmla="*/ 0 h 2"/>
                    <a:gd name="T10" fmla="*/ 2 w 83"/>
                    <a:gd name="T11" fmla="*/ 0 h 2"/>
                    <a:gd name="T12" fmla="*/ 83 w 83"/>
                    <a:gd name="T13" fmla="*/ 1 h 2"/>
                    <a:gd name="T14" fmla="*/ 83 w 8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2">
                      <a:moveTo>
                        <a:pt x="83" y="2"/>
                      </a:moveTo>
                      <a:lnTo>
                        <a:pt x="81" y="2"/>
                      </a:lnTo>
                      <a:lnTo>
                        <a:pt x="3" y="2"/>
                      </a:lnTo>
                      <a:lnTo>
                        <a:pt x="1" y="2"/>
                      </a:lnTo>
                      <a:lnTo>
                        <a:pt x="0" y="0"/>
                      </a:lnTo>
                      <a:lnTo>
                        <a:pt x="2" y="0"/>
                      </a:lnTo>
                      <a:lnTo>
                        <a:pt x="83" y="1"/>
                      </a:lnTo>
                      <a:lnTo>
                        <a:pt x="83" y="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0" name="Freeform 245">
                  <a:extLst>
                    <a:ext uri="{FF2B5EF4-FFF2-40B4-BE49-F238E27FC236}">
                      <a16:creationId xmlns:a16="http://schemas.microsoft.com/office/drawing/2014/main" id="{B5A14FAE-C441-4D20-9F21-31E37D8DD256}"/>
                    </a:ext>
                  </a:extLst>
                </p:cNvPr>
                <p:cNvSpPr>
                  <a:spLocks/>
                </p:cNvSpPr>
                <p:nvPr userDrawn="1"/>
              </p:nvSpPr>
              <p:spPr bwMode="auto">
                <a:xfrm>
                  <a:off x="1862138" y="5272088"/>
                  <a:ext cx="284163" cy="134938"/>
                </a:xfrm>
                <a:custGeom>
                  <a:avLst/>
                  <a:gdLst>
                    <a:gd name="T0" fmla="*/ 0 w 339"/>
                    <a:gd name="T1" fmla="*/ 0 h 163"/>
                    <a:gd name="T2" fmla="*/ 145 w 339"/>
                    <a:gd name="T3" fmla="*/ 144 h 163"/>
                    <a:gd name="T4" fmla="*/ 151 w 339"/>
                    <a:gd name="T5" fmla="*/ 148 h 163"/>
                    <a:gd name="T6" fmla="*/ 174 w 339"/>
                    <a:gd name="T7" fmla="*/ 153 h 163"/>
                    <a:gd name="T8" fmla="*/ 338 w 339"/>
                    <a:gd name="T9" fmla="*/ 138 h 163"/>
                    <a:gd name="T10" fmla="*/ 338 w 339"/>
                    <a:gd name="T11" fmla="*/ 142 h 163"/>
                    <a:gd name="T12" fmla="*/ 338 w 339"/>
                    <a:gd name="T13" fmla="*/ 142 h 163"/>
                    <a:gd name="T14" fmla="*/ 339 w 339"/>
                    <a:gd name="T15" fmla="*/ 147 h 163"/>
                    <a:gd name="T16" fmla="*/ 169 w 339"/>
                    <a:gd name="T17" fmla="*/ 162 h 163"/>
                    <a:gd name="T18" fmla="*/ 147 w 339"/>
                    <a:gd name="T19" fmla="*/ 158 h 163"/>
                    <a:gd name="T20" fmla="*/ 143 w 339"/>
                    <a:gd name="T21" fmla="*/ 155 h 163"/>
                    <a:gd name="T22" fmla="*/ 70 w 339"/>
                    <a:gd name="T23" fmla="*/ 77 h 163"/>
                    <a:gd name="T24" fmla="*/ 0 w 3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63">
                      <a:moveTo>
                        <a:pt x="0" y="0"/>
                      </a:moveTo>
                      <a:cubicBezTo>
                        <a:pt x="46" y="51"/>
                        <a:pt x="96" y="95"/>
                        <a:pt x="145" y="144"/>
                      </a:cubicBezTo>
                      <a:cubicBezTo>
                        <a:pt x="147" y="145"/>
                        <a:pt x="149" y="147"/>
                        <a:pt x="151" y="148"/>
                      </a:cubicBezTo>
                      <a:cubicBezTo>
                        <a:pt x="158" y="152"/>
                        <a:pt x="166" y="153"/>
                        <a:pt x="174" y="153"/>
                      </a:cubicBezTo>
                      <a:cubicBezTo>
                        <a:pt x="228" y="148"/>
                        <a:pt x="283" y="143"/>
                        <a:pt x="338" y="138"/>
                      </a:cubicBezTo>
                      <a:cubicBezTo>
                        <a:pt x="338" y="142"/>
                        <a:pt x="338" y="142"/>
                        <a:pt x="338" y="142"/>
                      </a:cubicBezTo>
                      <a:cubicBezTo>
                        <a:pt x="338" y="142"/>
                        <a:pt x="338" y="142"/>
                        <a:pt x="338" y="142"/>
                      </a:cubicBezTo>
                      <a:cubicBezTo>
                        <a:pt x="339" y="147"/>
                        <a:pt x="339" y="147"/>
                        <a:pt x="339" y="147"/>
                      </a:cubicBezTo>
                      <a:cubicBezTo>
                        <a:pt x="282" y="152"/>
                        <a:pt x="225" y="157"/>
                        <a:pt x="169" y="162"/>
                      </a:cubicBezTo>
                      <a:cubicBezTo>
                        <a:pt x="161" y="163"/>
                        <a:pt x="154" y="161"/>
                        <a:pt x="147" y="158"/>
                      </a:cubicBezTo>
                      <a:cubicBezTo>
                        <a:pt x="146" y="158"/>
                        <a:pt x="144" y="156"/>
                        <a:pt x="143" y="155"/>
                      </a:cubicBezTo>
                      <a:cubicBezTo>
                        <a:pt x="116" y="134"/>
                        <a:pt x="93" y="102"/>
                        <a:pt x="70" y="77"/>
                      </a:cubicBezTo>
                      <a:cubicBezTo>
                        <a:pt x="47" y="51"/>
                        <a:pt x="23" y="26"/>
                        <a:pt x="0" y="0"/>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408" name="Group 407">
                <a:extLst>
                  <a:ext uri="{FF2B5EF4-FFF2-40B4-BE49-F238E27FC236}">
                    <a16:creationId xmlns:a16="http://schemas.microsoft.com/office/drawing/2014/main" id="{D12275B3-9DFE-4CD1-A719-ABBFCD4D1A81}"/>
                  </a:ext>
                </a:extLst>
              </p:cNvPr>
              <p:cNvGrpSpPr/>
              <p:nvPr userDrawn="1"/>
            </p:nvGrpSpPr>
            <p:grpSpPr>
              <a:xfrm>
                <a:off x="7862443" y="4772797"/>
                <a:ext cx="836881" cy="473191"/>
                <a:chOff x="-1352550" y="2592388"/>
                <a:chExt cx="339726" cy="192088"/>
              </a:xfrm>
            </p:grpSpPr>
            <p:sp>
              <p:nvSpPr>
                <p:cNvPr id="470" name="Freeform 899">
                  <a:extLst>
                    <a:ext uri="{FF2B5EF4-FFF2-40B4-BE49-F238E27FC236}">
                      <a16:creationId xmlns:a16="http://schemas.microsoft.com/office/drawing/2014/main" id="{DACCEB41-A8ED-4E12-A096-959DCACD62E3}"/>
                    </a:ext>
                  </a:extLst>
                </p:cNvPr>
                <p:cNvSpPr>
                  <a:spLocks/>
                </p:cNvSpPr>
                <p:nvPr userDrawn="1"/>
              </p:nvSpPr>
              <p:spPr bwMode="auto">
                <a:xfrm>
                  <a:off x="-1081087" y="2695576"/>
                  <a:ext cx="68263" cy="73025"/>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505050">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1" name="Freeform 900">
                  <a:extLst>
                    <a:ext uri="{FF2B5EF4-FFF2-40B4-BE49-F238E27FC236}">
                      <a16:creationId xmlns:a16="http://schemas.microsoft.com/office/drawing/2014/main" id="{BE4F0182-59F3-4385-968C-01EBD412FF09}"/>
                    </a:ext>
                  </a:extLst>
                </p:cNvPr>
                <p:cNvSpPr>
                  <a:spLocks/>
                </p:cNvSpPr>
                <p:nvPr userDrawn="1"/>
              </p:nvSpPr>
              <p:spPr bwMode="auto">
                <a:xfrm>
                  <a:off x="-1352550" y="2592388"/>
                  <a:ext cx="328613" cy="192088"/>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2" name="Freeform 906">
                  <a:extLst>
                    <a:ext uri="{FF2B5EF4-FFF2-40B4-BE49-F238E27FC236}">
                      <a16:creationId xmlns:a16="http://schemas.microsoft.com/office/drawing/2014/main" id="{4A0087EF-3CB8-4833-BC1C-00A7A9A51D27}"/>
                    </a:ext>
                  </a:extLst>
                </p:cNvPr>
                <p:cNvSpPr>
                  <a:spLocks/>
                </p:cNvSpPr>
                <p:nvPr userDrawn="1"/>
              </p:nvSpPr>
              <p:spPr bwMode="auto">
                <a:xfrm>
                  <a:off x="-1322387" y="2616201"/>
                  <a:ext cx="271463" cy="146050"/>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D83B01">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3" name="Freeform 916">
                  <a:extLst>
                    <a:ext uri="{FF2B5EF4-FFF2-40B4-BE49-F238E27FC236}">
                      <a16:creationId xmlns:a16="http://schemas.microsoft.com/office/drawing/2014/main" id="{0984101F-8405-43FB-BF06-0DFCE568FA0E}"/>
                    </a:ext>
                  </a:extLst>
                </p:cNvPr>
                <p:cNvSpPr>
                  <a:spLocks/>
                </p:cNvSpPr>
                <p:nvPr userDrawn="1"/>
              </p:nvSpPr>
              <p:spPr bwMode="auto">
                <a:xfrm>
                  <a:off x="-1322387" y="2617788"/>
                  <a:ext cx="242888" cy="144463"/>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74" name="Freeform 925">
                  <a:extLst>
                    <a:ext uri="{FF2B5EF4-FFF2-40B4-BE49-F238E27FC236}">
                      <a16:creationId xmlns:a16="http://schemas.microsoft.com/office/drawing/2014/main" id="{2A84F6E3-90BC-47A4-BD6F-C5868AC758BE}"/>
                    </a:ext>
                  </a:extLst>
                </p:cNvPr>
                <p:cNvSpPr>
                  <a:spLocks/>
                </p:cNvSpPr>
                <p:nvPr userDrawn="1"/>
              </p:nvSpPr>
              <p:spPr bwMode="auto">
                <a:xfrm>
                  <a:off x="-1303337" y="2627313"/>
                  <a:ext cx="207963" cy="115888"/>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409" name="Group 408">
                <a:extLst>
                  <a:ext uri="{FF2B5EF4-FFF2-40B4-BE49-F238E27FC236}">
                    <a16:creationId xmlns:a16="http://schemas.microsoft.com/office/drawing/2014/main" id="{E400C909-9956-4A82-B3ED-E2FDEFA67F4E}"/>
                  </a:ext>
                </a:extLst>
              </p:cNvPr>
              <p:cNvGrpSpPr/>
              <p:nvPr userDrawn="1"/>
            </p:nvGrpSpPr>
            <p:grpSpPr>
              <a:xfrm>
                <a:off x="6546260" y="3864991"/>
                <a:ext cx="1740960" cy="2908122"/>
                <a:chOff x="5513865" y="3810453"/>
                <a:chExt cx="1852004" cy="3093610"/>
              </a:xfrm>
            </p:grpSpPr>
            <p:grpSp>
              <p:nvGrpSpPr>
                <p:cNvPr id="415" name="Group 414">
                  <a:extLst>
                    <a:ext uri="{FF2B5EF4-FFF2-40B4-BE49-F238E27FC236}">
                      <a16:creationId xmlns:a16="http://schemas.microsoft.com/office/drawing/2014/main" id="{71531E7E-5CA6-49A8-81A1-81628EB21E87}"/>
                    </a:ext>
                  </a:extLst>
                </p:cNvPr>
                <p:cNvGrpSpPr/>
                <p:nvPr userDrawn="1"/>
              </p:nvGrpSpPr>
              <p:grpSpPr>
                <a:xfrm rot="5691031">
                  <a:off x="6846304" y="4900070"/>
                  <a:ext cx="213335" cy="373561"/>
                  <a:chOff x="6132702" y="4143377"/>
                  <a:chExt cx="430212" cy="753323"/>
                </a:xfrm>
              </p:grpSpPr>
              <p:sp>
                <p:nvSpPr>
                  <p:cNvPr id="467" name="Freeform 22">
                    <a:extLst>
                      <a:ext uri="{FF2B5EF4-FFF2-40B4-BE49-F238E27FC236}">
                        <a16:creationId xmlns:a16="http://schemas.microsoft.com/office/drawing/2014/main" id="{E6352C48-6945-47BC-9B5F-62D8FE6BF3CE}"/>
                      </a:ext>
                    </a:extLst>
                  </p:cNvPr>
                  <p:cNvSpPr>
                    <a:spLocks/>
                  </p:cNvSpPr>
                  <p:nvPr userDrawn="1"/>
                </p:nvSpPr>
                <p:spPr bwMode="auto">
                  <a:xfrm>
                    <a:off x="6229351" y="4194175"/>
                    <a:ext cx="160336" cy="160336"/>
                  </a:xfrm>
                  <a:custGeom>
                    <a:avLst/>
                    <a:gdLst>
                      <a:gd name="T0" fmla="*/ 46 w 47"/>
                      <a:gd name="T1" fmla="*/ 24 h 47"/>
                      <a:gd name="T2" fmla="*/ 45 w 47"/>
                      <a:gd name="T3" fmla="*/ 24 h 47"/>
                      <a:gd name="T4" fmla="*/ 39 w 47"/>
                      <a:gd name="T5" fmla="*/ 39 h 47"/>
                      <a:gd name="T6" fmla="*/ 24 w 47"/>
                      <a:gd name="T7" fmla="*/ 45 h 47"/>
                      <a:gd name="T8" fmla="*/ 9 w 47"/>
                      <a:gd name="T9" fmla="*/ 39 h 47"/>
                      <a:gd name="T10" fmla="*/ 3 w 47"/>
                      <a:gd name="T11" fmla="*/ 24 h 47"/>
                      <a:gd name="T12" fmla="*/ 9 w 47"/>
                      <a:gd name="T13" fmla="*/ 9 h 47"/>
                      <a:gd name="T14" fmla="*/ 24 w 47"/>
                      <a:gd name="T15" fmla="*/ 3 h 47"/>
                      <a:gd name="T16" fmla="*/ 39 w 47"/>
                      <a:gd name="T17" fmla="*/ 9 h 47"/>
                      <a:gd name="T18" fmla="*/ 45 w 47"/>
                      <a:gd name="T19" fmla="*/ 24 h 47"/>
                      <a:gd name="T20" fmla="*/ 46 w 47"/>
                      <a:gd name="T21" fmla="*/ 24 h 47"/>
                      <a:gd name="T22" fmla="*/ 47 w 47"/>
                      <a:gd name="T23" fmla="*/ 24 h 47"/>
                      <a:gd name="T24" fmla="*/ 24 w 47"/>
                      <a:gd name="T25" fmla="*/ 0 h 47"/>
                      <a:gd name="T26" fmla="*/ 0 w 47"/>
                      <a:gd name="T27" fmla="*/ 24 h 47"/>
                      <a:gd name="T28" fmla="*/ 24 w 47"/>
                      <a:gd name="T29" fmla="*/ 47 h 47"/>
                      <a:gd name="T30" fmla="*/ 47 w 47"/>
                      <a:gd name="T31" fmla="*/ 24 h 47"/>
                      <a:gd name="T32" fmla="*/ 46 w 47"/>
                      <a:gd name="T3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47">
                        <a:moveTo>
                          <a:pt x="46" y="24"/>
                        </a:moveTo>
                        <a:cubicBezTo>
                          <a:pt x="45" y="24"/>
                          <a:pt x="45" y="24"/>
                          <a:pt x="45" y="24"/>
                        </a:cubicBezTo>
                        <a:cubicBezTo>
                          <a:pt x="45" y="30"/>
                          <a:pt x="42" y="35"/>
                          <a:pt x="39" y="39"/>
                        </a:cubicBezTo>
                        <a:cubicBezTo>
                          <a:pt x="35" y="43"/>
                          <a:pt x="30" y="45"/>
                          <a:pt x="24" y="45"/>
                        </a:cubicBezTo>
                        <a:cubicBezTo>
                          <a:pt x="18" y="45"/>
                          <a:pt x="13" y="43"/>
                          <a:pt x="9" y="39"/>
                        </a:cubicBezTo>
                        <a:cubicBezTo>
                          <a:pt x="5" y="35"/>
                          <a:pt x="3" y="30"/>
                          <a:pt x="3" y="24"/>
                        </a:cubicBezTo>
                        <a:cubicBezTo>
                          <a:pt x="3" y="18"/>
                          <a:pt x="5" y="13"/>
                          <a:pt x="9" y="9"/>
                        </a:cubicBezTo>
                        <a:cubicBezTo>
                          <a:pt x="13" y="5"/>
                          <a:pt x="18" y="3"/>
                          <a:pt x="24" y="3"/>
                        </a:cubicBezTo>
                        <a:cubicBezTo>
                          <a:pt x="30" y="3"/>
                          <a:pt x="35" y="5"/>
                          <a:pt x="39" y="9"/>
                        </a:cubicBezTo>
                        <a:cubicBezTo>
                          <a:pt x="42" y="13"/>
                          <a:pt x="45" y="18"/>
                          <a:pt x="45" y="24"/>
                        </a:cubicBezTo>
                        <a:cubicBezTo>
                          <a:pt x="46" y="24"/>
                          <a:pt x="46" y="24"/>
                          <a:pt x="46" y="24"/>
                        </a:cubicBezTo>
                        <a:cubicBezTo>
                          <a:pt x="47" y="24"/>
                          <a:pt x="47" y="24"/>
                          <a:pt x="47" y="24"/>
                        </a:cubicBezTo>
                        <a:cubicBezTo>
                          <a:pt x="47" y="11"/>
                          <a:pt x="37" y="0"/>
                          <a:pt x="24" y="0"/>
                        </a:cubicBezTo>
                        <a:cubicBezTo>
                          <a:pt x="11" y="0"/>
                          <a:pt x="0" y="11"/>
                          <a:pt x="0" y="24"/>
                        </a:cubicBezTo>
                        <a:cubicBezTo>
                          <a:pt x="0" y="37"/>
                          <a:pt x="11" y="47"/>
                          <a:pt x="24" y="47"/>
                        </a:cubicBezTo>
                        <a:cubicBezTo>
                          <a:pt x="37" y="47"/>
                          <a:pt x="47" y="37"/>
                          <a:pt x="47" y="24"/>
                        </a:cubicBezTo>
                        <a:lnTo>
                          <a:pt x="4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8" name="Freeform 23">
                    <a:extLst>
                      <a:ext uri="{FF2B5EF4-FFF2-40B4-BE49-F238E27FC236}">
                        <a16:creationId xmlns:a16="http://schemas.microsoft.com/office/drawing/2014/main" id="{C0B58DB4-C4EE-4280-8ECD-950EBC3C8362}"/>
                      </a:ext>
                    </a:extLst>
                  </p:cNvPr>
                  <p:cNvSpPr>
                    <a:spLocks/>
                  </p:cNvSpPr>
                  <p:nvPr userDrawn="1"/>
                </p:nvSpPr>
                <p:spPr bwMode="auto">
                  <a:xfrm>
                    <a:off x="6173789" y="4143377"/>
                    <a:ext cx="269876" cy="266700"/>
                  </a:xfrm>
                  <a:custGeom>
                    <a:avLst/>
                    <a:gdLst>
                      <a:gd name="T0" fmla="*/ 78 w 79"/>
                      <a:gd name="T1" fmla="*/ 39 h 78"/>
                      <a:gd name="T2" fmla="*/ 76 w 79"/>
                      <a:gd name="T3" fmla="*/ 39 h 78"/>
                      <a:gd name="T4" fmla="*/ 66 w 79"/>
                      <a:gd name="T5" fmla="*/ 65 h 78"/>
                      <a:gd name="T6" fmla="*/ 40 w 79"/>
                      <a:gd name="T7" fmla="*/ 75 h 78"/>
                      <a:gd name="T8" fmla="*/ 14 w 79"/>
                      <a:gd name="T9" fmla="*/ 65 h 78"/>
                      <a:gd name="T10" fmla="*/ 3 w 79"/>
                      <a:gd name="T11" fmla="*/ 39 h 78"/>
                      <a:gd name="T12" fmla="*/ 14 w 79"/>
                      <a:gd name="T13" fmla="*/ 13 h 78"/>
                      <a:gd name="T14" fmla="*/ 40 w 79"/>
                      <a:gd name="T15" fmla="*/ 2 h 78"/>
                      <a:gd name="T16" fmla="*/ 66 w 79"/>
                      <a:gd name="T17" fmla="*/ 13 h 78"/>
                      <a:gd name="T18" fmla="*/ 76 w 79"/>
                      <a:gd name="T19" fmla="*/ 39 h 78"/>
                      <a:gd name="T20" fmla="*/ 78 w 79"/>
                      <a:gd name="T21" fmla="*/ 39 h 78"/>
                      <a:gd name="T22" fmla="*/ 79 w 79"/>
                      <a:gd name="T23" fmla="*/ 39 h 78"/>
                      <a:gd name="T24" fmla="*/ 40 w 79"/>
                      <a:gd name="T25" fmla="*/ 0 h 78"/>
                      <a:gd name="T26" fmla="*/ 0 w 79"/>
                      <a:gd name="T27" fmla="*/ 39 h 78"/>
                      <a:gd name="T28" fmla="*/ 40 w 79"/>
                      <a:gd name="T29" fmla="*/ 78 h 78"/>
                      <a:gd name="T30" fmla="*/ 79 w 79"/>
                      <a:gd name="T31" fmla="*/ 39 h 78"/>
                      <a:gd name="T32" fmla="*/ 78 w 79"/>
                      <a:gd name="T33"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 h="78">
                        <a:moveTo>
                          <a:pt x="78" y="39"/>
                        </a:moveTo>
                        <a:cubicBezTo>
                          <a:pt x="76" y="39"/>
                          <a:pt x="76" y="39"/>
                          <a:pt x="76" y="39"/>
                        </a:cubicBezTo>
                        <a:cubicBezTo>
                          <a:pt x="76" y="49"/>
                          <a:pt x="72" y="58"/>
                          <a:pt x="66" y="65"/>
                        </a:cubicBezTo>
                        <a:cubicBezTo>
                          <a:pt x="59" y="71"/>
                          <a:pt x="50" y="75"/>
                          <a:pt x="40" y="75"/>
                        </a:cubicBezTo>
                        <a:cubicBezTo>
                          <a:pt x="30" y="75"/>
                          <a:pt x="20" y="71"/>
                          <a:pt x="14" y="65"/>
                        </a:cubicBezTo>
                        <a:cubicBezTo>
                          <a:pt x="7" y="58"/>
                          <a:pt x="3" y="49"/>
                          <a:pt x="3" y="39"/>
                        </a:cubicBezTo>
                        <a:cubicBezTo>
                          <a:pt x="3" y="29"/>
                          <a:pt x="7" y="19"/>
                          <a:pt x="14" y="13"/>
                        </a:cubicBezTo>
                        <a:cubicBezTo>
                          <a:pt x="20" y="6"/>
                          <a:pt x="30" y="2"/>
                          <a:pt x="40" y="2"/>
                        </a:cubicBezTo>
                        <a:cubicBezTo>
                          <a:pt x="50" y="2"/>
                          <a:pt x="59" y="6"/>
                          <a:pt x="66" y="13"/>
                        </a:cubicBezTo>
                        <a:cubicBezTo>
                          <a:pt x="72" y="19"/>
                          <a:pt x="76" y="29"/>
                          <a:pt x="76" y="39"/>
                        </a:cubicBezTo>
                        <a:cubicBezTo>
                          <a:pt x="78" y="39"/>
                          <a:pt x="78" y="39"/>
                          <a:pt x="78" y="39"/>
                        </a:cubicBezTo>
                        <a:cubicBezTo>
                          <a:pt x="79" y="39"/>
                          <a:pt x="79" y="39"/>
                          <a:pt x="79" y="39"/>
                        </a:cubicBezTo>
                        <a:cubicBezTo>
                          <a:pt x="79" y="17"/>
                          <a:pt x="61" y="0"/>
                          <a:pt x="40" y="0"/>
                        </a:cubicBezTo>
                        <a:cubicBezTo>
                          <a:pt x="18" y="0"/>
                          <a:pt x="0" y="17"/>
                          <a:pt x="0" y="39"/>
                        </a:cubicBezTo>
                        <a:cubicBezTo>
                          <a:pt x="0" y="60"/>
                          <a:pt x="18" y="78"/>
                          <a:pt x="40" y="78"/>
                        </a:cubicBezTo>
                        <a:cubicBezTo>
                          <a:pt x="61" y="78"/>
                          <a:pt x="79" y="60"/>
                          <a:pt x="79" y="39"/>
                        </a:cubicBez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9" name="Freeform 24">
                    <a:extLst>
                      <a:ext uri="{FF2B5EF4-FFF2-40B4-BE49-F238E27FC236}">
                        <a16:creationId xmlns:a16="http://schemas.microsoft.com/office/drawing/2014/main" id="{10A56184-D09E-4263-930D-C73C8F1E9BC5}"/>
                      </a:ext>
                    </a:extLst>
                  </p:cNvPr>
                  <p:cNvSpPr>
                    <a:spLocks/>
                  </p:cNvSpPr>
                  <p:nvPr userDrawn="1"/>
                </p:nvSpPr>
                <p:spPr bwMode="auto">
                  <a:xfrm rot="10217938" flipV="1">
                    <a:off x="6132702" y="4242650"/>
                    <a:ext cx="430212" cy="654050"/>
                  </a:xfrm>
                  <a:custGeom>
                    <a:avLst/>
                    <a:gdLst>
                      <a:gd name="T0" fmla="*/ 126 w 126"/>
                      <a:gd name="T1" fmla="*/ 134 h 192"/>
                      <a:gd name="T2" fmla="*/ 126 w 126"/>
                      <a:gd name="T3" fmla="*/ 129 h 192"/>
                      <a:gd name="T4" fmla="*/ 126 w 126"/>
                      <a:gd name="T5" fmla="*/ 129 h 192"/>
                      <a:gd name="T6" fmla="*/ 126 w 126"/>
                      <a:gd name="T7" fmla="*/ 109 h 192"/>
                      <a:gd name="T8" fmla="*/ 126 w 126"/>
                      <a:gd name="T9" fmla="*/ 82 h 192"/>
                      <a:gd name="T10" fmla="*/ 126 w 126"/>
                      <a:gd name="T11" fmla="*/ 82 h 192"/>
                      <a:gd name="T12" fmla="*/ 114 w 126"/>
                      <a:gd name="T13" fmla="*/ 70 h 192"/>
                      <a:gd name="T14" fmla="*/ 102 w 126"/>
                      <a:gd name="T15" fmla="*/ 82 h 192"/>
                      <a:gd name="T16" fmla="*/ 102 w 126"/>
                      <a:gd name="T17" fmla="*/ 76 h 192"/>
                      <a:gd name="T18" fmla="*/ 90 w 126"/>
                      <a:gd name="T19" fmla="*/ 64 h 192"/>
                      <a:gd name="T20" fmla="*/ 78 w 126"/>
                      <a:gd name="T21" fmla="*/ 76 h 192"/>
                      <a:gd name="T22" fmla="*/ 78 w 126"/>
                      <a:gd name="T23" fmla="*/ 70 h 192"/>
                      <a:gd name="T24" fmla="*/ 65 w 126"/>
                      <a:gd name="T25" fmla="*/ 58 h 192"/>
                      <a:gd name="T26" fmla="*/ 53 w 126"/>
                      <a:gd name="T27" fmla="*/ 70 h 192"/>
                      <a:gd name="T28" fmla="*/ 53 w 126"/>
                      <a:gd name="T29" fmla="*/ 12 h 192"/>
                      <a:gd name="T30" fmla="*/ 41 w 126"/>
                      <a:gd name="T31" fmla="*/ 0 h 192"/>
                      <a:gd name="T32" fmla="*/ 29 w 126"/>
                      <a:gd name="T33" fmla="*/ 12 h 192"/>
                      <a:gd name="T34" fmla="*/ 29 w 126"/>
                      <a:gd name="T35" fmla="*/ 82 h 192"/>
                      <a:gd name="T36" fmla="*/ 29 w 126"/>
                      <a:gd name="T37" fmla="*/ 116 h 192"/>
                      <a:gd name="T38" fmla="*/ 24 w 126"/>
                      <a:gd name="T39" fmla="*/ 123 h 192"/>
                      <a:gd name="T40" fmla="*/ 24 w 126"/>
                      <a:gd name="T41" fmla="*/ 93 h 192"/>
                      <a:gd name="T42" fmla="*/ 12 w 126"/>
                      <a:gd name="T43" fmla="*/ 81 h 192"/>
                      <a:gd name="T44" fmla="*/ 0 w 126"/>
                      <a:gd name="T45" fmla="*/ 81 h 192"/>
                      <a:gd name="T46" fmla="*/ 0 w 126"/>
                      <a:gd name="T47" fmla="*/ 93 h 192"/>
                      <a:gd name="T48" fmla="*/ 0 w 126"/>
                      <a:gd name="T49" fmla="*/ 129 h 192"/>
                      <a:gd name="T50" fmla="*/ 0 w 126"/>
                      <a:gd name="T51" fmla="*/ 129 h 192"/>
                      <a:gd name="T52" fmla="*/ 0 w 126"/>
                      <a:gd name="T53" fmla="*/ 129 h 192"/>
                      <a:gd name="T54" fmla="*/ 63 w 126"/>
                      <a:gd name="T55" fmla="*/ 192 h 192"/>
                      <a:gd name="T56" fmla="*/ 126 w 126"/>
                      <a:gd name="T57" fmla="*/ 136 h 192"/>
                      <a:gd name="T58" fmla="*/ 126 w 126"/>
                      <a:gd name="T59" fmla="*/ 136 h 192"/>
                      <a:gd name="T60" fmla="*/ 126 w 126"/>
                      <a:gd name="T61" fmla="*/ 13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92">
                        <a:moveTo>
                          <a:pt x="126" y="134"/>
                        </a:moveTo>
                        <a:cubicBezTo>
                          <a:pt x="126" y="132"/>
                          <a:pt x="126" y="130"/>
                          <a:pt x="126" y="129"/>
                        </a:cubicBezTo>
                        <a:cubicBezTo>
                          <a:pt x="126" y="129"/>
                          <a:pt x="126" y="129"/>
                          <a:pt x="126" y="129"/>
                        </a:cubicBezTo>
                        <a:cubicBezTo>
                          <a:pt x="126" y="109"/>
                          <a:pt x="126" y="109"/>
                          <a:pt x="126" y="109"/>
                        </a:cubicBezTo>
                        <a:cubicBezTo>
                          <a:pt x="126" y="82"/>
                          <a:pt x="126" y="82"/>
                          <a:pt x="126" y="82"/>
                        </a:cubicBezTo>
                        <a:cubicBezTo>
                          <a:pt x="126" y="82"/>
                          <a:pt x="126" y="82"/>
                          <a:pt x="126" y="82"/>
                        </a:cubicBezTo>
                        <a:cubicBezTo>
                          <a:pt x="126" y="76"/>
                          <a:pt x="120" y="70"/>
                          <a:pt x="114" y="70"/>
                        </a:cubicBezTo>
                        <a:cubicBezTo>
                          <a:pt x="107" y="70"/>
                          <a:pt x="102" y="76"/>
                          <a:pt x="102" y="82"/>
                        </a:cubicBezTo>
                        <a:cubicBezTo>
                          <a:pt x="102" y="76"/>
                          <a:pt x="102" y="76"/>
                          <a:pt x="102" y="76"/>
                        </a:cubicBezTo>
                        <a:cubicBezTo>
                          <a:pt x="102" y="69"/>
                          <a:pt x="96" y="64"/>
                          <a:pt x="90" y="64"/>
                        </a:cubicBezTo>
                        <a:cubicBezTo>
                          <a:pt x="83" y="64"/>
                          <a:pt x="78" y="69"/>
                          <a:pt x="78" y="76"/>
                        </a:cubicBezTo>
                        <a:cubicBezTo>
                          <a:pt x="78" y="70"/>
                          <a:pt x="78" y="70"/>
                          <a:pt x="78" y="70"/>
                        </a:cubicBezTo>
                        <a:cubicBezTo>
                          <a:pt x="78" y="63"/>
                          <a:pt x="72" y="58"/>
                          <a:pt x="65" y="58"/>
                        </a:cubicBezTo>
                        <a:cubicBezTo>
                          <a:pt x="59" y="58"/>
                          <a:pt x="53" y="63"/>
                          <a:pt x="53" y="70"/>
                        </a:cubicBezTo>
                        <a:cubicBezTo>
                          <a:pt x="53" y="12"/>
                          <a:pt x="53" y="12"/>
                          <a:pt x="53" y="12"/>
                        </a:cubicBezTo>
                        <a:cubicBezTo>
                          <a:pt x="53" y="5"/>
                          <a:pt x="48" y="0"/>
                          <a:pt x="41" y="0"/>
                        </a:cubicBezTo>
                        <a:cubicBezTo>
                          <a:pt x="35" y="0"/>
                          <a:pt x="29" y="5"/>
                          <a:pt x="29" y="12"/>
                        </a:cubicBezTo>
                        <a:cubicBezTo>
                          <a:pt x="29" y="82"/>
                          <a:pt x="29" y="82"/>
                          <a:pt x="29" y="82"/>
                        </a:cubicBezTo>
                        <a:cubicBezTo>
                          <a:pt x="29" y="116"/>
                          <a:pt x="29" y="116"/>
                          <a:pt x="29" y="116"/>
                        </a:cubicBezTo>
                        <a:cubicBezTo>
                          <a:pt x="29" y="119"/>
                          <a:pt x="28" y="123"/>
                          <a:pt x="24" y="123"/>
                        </a:cubicBezTo>
                        <a:cubicBezTo>
                          <a:pt x="24" y="93"/>
                          <a:pt x="24" y="93"/>
                          <a:pt x="24" y="93"/>
                        </a:cubicBezTo>
                        <a:cubicBezTo>
                          <a:pt x="24" y="87"/>
                          <a:pt x="19" y="81"/>
                          <a:pt x="12" y="81"/>
                        </a:cubicBezTo>
                        <a:cubicBezTo>
                          <a:pt x="0" y="81"/>
                          <a:pt x="0" y="81"/>
                          <a:pt x="0" y="81"/>
                        </a:cubicBezTo>
                        <a:cubicBezTo>
                          <a:pt x="0" y="93"/>
                          <a:pt x="0" y="93"/>
                          <a:pt x="0" y="93"/>
                        </a:cubicBezTo>
                        <a:cubicBezTo>
                          <a:pt x="0" y="129"/>
                          <a:pt x="0" y="129"/>
                          <a:pt x="0" y="129"/>
                        </a:cubicBezTo>
                        <a:cubicBezTo>
                          <a:pt x="0" y="129"/>
                          <a:pt x="0" y="129"/>
                          <a:pt x="0" y="129"/>
                        </a:cubicBezTo>
                        <a:cubicBezTo>
                          <a:pt x="0" y="129"/>
                          <a:pt x="0" y="129"/>
                          <a:pt x="0" y="129"/>
                        </a:cubicBezTo>
                        <a:cubicBezTo>
                          <a:pt x="0" y="164"/>
                          <a:pt x="28" y="192"/>
                          <a:pt x="63" y="192"/>
                        </a:cubicBezTo>
                        <a:cubicBezTo>
                          <a:pt x="95" y="192"/>
                          <a:pt x="122" y="167"/>
                          <a:pt x="126" y="136"/>
                        </a:cubicBezTo>
                        <a:cubicBezTo>
                          <a:pt x="126" y="136"/>
                          <a:pt x="126" y="136"/>
                          <a:pt x="126" y="136"/>
                        </a:cubicBezTo>
                        <a:lnTo>
                          <a:pt x="126" y="134"/>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16" name="Group 415">
                  <a:extLst>
                    <a:ext uri="{FF2B5EF4-FFF2-40B4-BE49-F238E27FC236}">
                      <a16:creationId xmlns:a16="http://schemas.microsoft.com/office/drawing/2014/main" id="{5DF89E42-0DCB-4F82-9854-1BCD6AF26059}"/>
                    </a:ext>
                  </a:extLst>
                </p:cNvPr>
                <p:cNvGrpSpPr/>
                <p:nvPr userDrawn="1"/>
              </p:nvGrpSpPr>
              <p:grpSpPr>
                <a:xfrm>
                  <a:off x="6426337" y="5043957"/>
                  <a:ext cx="293543" cy="465800"/>
                  <a:chOff x="2073272" y="3543300"/>
                  <a:chExt cx="530228" cy="841376"/>
                </a:xfrm>
              </p:grpSpPr>
              <p:sp>
                <p:nvSpPr>
                  <p:cNvPr id="459" name="Freeform 5">
                    <a:extLst>
                      <a:ext uri="{FF2B5EF4-FFF2-40B4-BE49-F238E27FC236}">
                        <a16:creationId xmlns:a16="http://schemas.microsoft.com/office/drawing/2014/main" id="{37E3FE8A-374B-4502-AFFD-D4902665CA3A}"/>
                      </a:ext>
                    </a:extLst>
                  </p:cNvPr>
                  <p:cNvSpPr>
                    <a:spLocks/>
                  </p:cNvSpPr>
                  <p:nvPr userDrawn="1"/>
                </p:nvSpPr>
                <p:spPr bwMode="auto">
                  <a:xfrm flipH="1">
                    <a:off x="2212975" y="3830638"/>
                    <a:ext cx="390525" cy="554038"/>
                  </a:xfrm>
                  <a:custGeom>
                    <a:avLst/>
                    <a:gdLst>
                      <a:gd name="T0" fmla="*/ 152 w 152"/>
                      <a:gd name="T1" fmla="*/ 198 h 217"/>
                      <a:gd name="T2" fmla="*/ 134 w 152"/>
                      <a:gd name="T3" fmla="*/ 217 h 217"/>
                      <a:gd name="T4" fmla="*/ 19 w 152"/>
                      <a:gd name="T5" fmla="*/ 217 h 217"/>
                      <a:gd name="T6" fmla="*/ 0 w 152"/>
                      <a:gd name="T7" fmla="*/ 198 h 217"/>
                      <a:gd name="T8" fmla="*/ 0 w 152"/>
                      <a:gd name="T9" fmla="*/ 19 h 217"/>
                      <a:gd name="T10" fmla="*/ 19 w 152"/>
                      <a:gd name="T11" fmla="*/ 0 h 217"/>
                      <a:gd name="T12" fmla="*/ 134 w 152"/>
                      <a:gd name="T13" fmla="*/ 0 h 217"/>
                      <a:gd name="T14" fmla="*/ 152 w 152"/>
                      <a:gd name="T15" fmla="*/ 19 h 217"/>
                      <a:gd name="T16" fmla="*/ 152 w 152"/>
                      <a:gd name="T17" fmla="*/ 19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217">
                        <a:moveTo>
                          <a:pt x="152" y="198"/>
                        </a:moveTo>
                        <a:cubicBezTo>
                          <a:pt x="152" y="208"/>
                          <a:pt x="144" y="217"/>
                          <a:pt x="134" y="217"/>
                        </a:cubicBezTo>
                        <a:cubicBezTo>
                          <a:pt x="19" y="217"/>
                          <a:pt x="19" y="217"/>
                          <a:pt x="19" y="217"/>
                        </a:cubicBezTo>
                        <a:cubicBezTo>
                          <a:pt x="9" y="217"/>
                          <a:pt x="0" y="208"/>
                          <a:pt x="0" y="198"/>
                        </a:cubicBezTo>
                        <a:cubicBezTo>
                          <a:pt x="0" y="19"/>
                          <a:pt x="0" y="19"/>
                          <a:pt x="0" y="19"/>
                        </a:cubicBezTo>
                        <a:cubicBezTo>
                          <a:pt x="0" y="8"/>
                          <a:pt x="9" y="0"/>
                          <a:pt x="19" y="0"/>
                        </a:cubicBezTo>
                        <a:cubicBezTo>
                          <a:pt x="134" y="0"/>
                          <a:pt x="134" y="0"/>
                          <a:pt x="134" y="0"/>
                        </a:cubicBezTo>
                        <a:cubicBezTo>
                          <a:pt x="144" y="0"/>
                          <a:pt x="152" y="8"/>
                          <a:pt x="152" y="19"/>
                        </a:cubicBezTo>
                        <a:lnTo>
                          <a:pt x="152" y="198"/>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0" name="Oval 6">
                    <a:extLst>
                      <a:ext uri="{FF2B5EF4-FFF2-40B4-BE49-F238E27FC236}">
                        <a16:creationId xmlns:a16="http://schemas.microsoft.com/office/drawing/2014/main" id="{9E43FDF5-FED4-41B1-B8B3-90D60ABC94E2}"/>
                      </a:ext>
                    </a:extLst>
                  </p:cNvPr>
                  <p:cNvSpPr>
                    <a:spLocks noChangeArrowheads="1"/>
                  </p:cNvSpPr>
                  <p:nvPr userDrawn="1"/>
                </p:nvSpPr>
                <p:spPr bwMode="auto">
                  <a:xfrm flipH="1">
                    <a:off x="2212975" y="3808413"/>
                    <a:ext cx="390525" cy="109538"/>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1" name="Oval 7">
                    <a:extLst>
                      <a:ext uri="{FF2B5EF4-FFF2-40B4-BE49-F238E27FC236}">
                        <a16:creationId xmlns:a16="http://schemas.microsoft.com/office/drawing/2014/main" id="{A1E9371A-1619-4CFF-B12D-693DDF6BA026}"/>
                      </a:ext>
                    </a:extLst>
                  </p:cNvPr>
                  <p:cNvSpPr>
                    <a:spLocks noChangeArrowheads="1"/>
                  </p:cNvSpPr>
                  <p:nvPr userDrawn="1"/>
                </p:nvSpPr>
                <p:spPr bwMode="auto">
                  <a:xfrm flipH="1">
                    <a:off x="2239962" y="3830638"/>
                    <a:ext cx="334963" cy="63500"/>
                  </a:xfrm>
                  <a:prstGeom prst="ellipse">
                    <a:avLst/>
                  </a:pr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2" name="Freeform 8">
                    <a:extLst>
                      <a:ext uri="{FF2B5EF4-FFF2-40B4-BE49-F238E27FC236}">
                        <a16:creationId xmlns:a16="http://schemas.microsoft.com/office/drawing/2014/main" id="{F50C8018-B7BE-443C-9EB0-91F38956A4AF}"/>
                      </a:ext>
                    </a:extLst>
                  </p:cNvPr>
                  <p:cNvSpPr>
                    <a:spLocks/>
                  </p:cNvSpPr>
                  <p:nvPr userDrawn="1"/>
                </p:nvSpPr>
                <p:spPr bwMode="auto">
                  <a:xfrm flipH="1">
                    <a:off x="2073272" y="3910013"/>
                    <a:ext cx="175991" cy="361055"/>
                  </a:xfrm>
                  <a:custGeom>
                    <a:avLst/>
                    <a:gdLst>
                      <a:gd name="T0" fmla="*/ 11 w 64"/>
                      <a:gd name="T1" fmla="*/ 126 h 126"/>
                      <a:gd name="T2" fmla="*/ 2 w 64"/>
                      <a:gd name="T3" fmla="*/ 109 h 126"/>
                      <a:gd name="T4" fmla="*/ 44 w 64"/>
                      <a:gd name="T5" fmla="*/ 45 h 126"/>
                      <a:gd name="T6" fmla="*/ 38 w 64"/>
                      <a:gd name="T7" fmla="*/ 31 h 126"/>
                      <a:gd name="T8" fmla="*/ 3 w 64"/>
                      <a:gd name="T9" fmla="*/ 25 h 126"/>
                      <a:gd name="T10" fmla="*/ 0 w 64"/>
                      <a:gd name="T11" fmla="*/ 6 h 126"/>
                      <a:gd name="T12" fmla="*/ 51 w 64"/>
                      <a:gd name="T13" fmla="*/ 16 h 126"/>
                      <a:gd name="T14" fmla="*/ 64 w 64"/>
                      <a:gd name="T15" fmla="*/ 45 h 126"/>
                      <a:gd name="T16" fmla="*/ 11 w 64"/>
                      <a:gd name="T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26">
                        <a:moveTo>
                          <a:pt x="11" y="126"/>
                        </a:moveTo>
                        <a:cubicBezTo>
                          <a:pt x="2" y="109"/>
                          <a:pt x="2" y="109"/>
                          <a:pt x="2" y="109"/>
                        </a:cubicBezTo>
                        <a:cubicBezTo>
                          <a:pt x="24" y="97"/>
                          <a:pt x="44" y="81"/>
                          <a:pt x="44" y="45"/>
                        </a:cubicBezTo>
                        <a:cubicBezTo>
                          <a:pt x="44" y="39"/>
                          <a:pt x="42" y="34"/>
                          <a:pt x="38" y="31"/>
                        </a:cubicBezTo>
                        <a:cubicBezTo>
                          <a:pt x="29" y="23"/>
                          <a:pt x="10" y="24"/>
                          <a:pt x="3" y="25"/>
                        </a:cubicBezTo>
                        <a:cubicBezTo>
                          <a:pt x="0" y="6"/>
                          <a:pt x="0" y="6"/>
                          <a:pt x="0" y="6"/>
                        </a:cubicBezTo>
                        <a:cubicBezTo>
                          <a:pt x="3" y="5"/>
                          <a:pt x="33" y="0"/>
                          <a:pt x="51" y="16"/>
                        </a:cubicBezTo>
                        <a:cubicBezTo>
                          <a:pt x="59" y="23"/>
                          <a:pt x="64" y="33"/>
                          <a:pt x="64" y="45"/>
                        </a:cubicBezTo>
                        <a:cubicBezTo>
                          <a:pt x="64" y="92"/>
                          <a:pt x="36" y="113"/>
                          <a:pt x="11" y="126"/>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3" name="Freeform 9">
                    <a:extLst>
                      <a:ext uri="{FF2B5EF4-FFF2-40B4-BE49-F238E27FC236}">
                        <a16:creationId xmlns:a16="http://schemas.microsoft.com/office/drawing/2014/main" id="{51C1073F-1D4A-44BC-8A33-12831EC32BE0}"/>
                      </a:ext>
                    </a:extLst>
                  </p:cNvPr>
                  <p:cNvSpPr>
                    <a:spLocks/>
                  </p:cNvSpPr>
                  <p:nvPr userDrawn="1"/>
                </p:nvSpPr>
                <p:spPr bwMode="auto">
                  <a:xfrm flipH="1">
                    <a:off x="2470149" y="3876675"/>
                    <a:ext cx="46038" cy="201613"/>
                  </a:xfrm>
                  <a:custGeom>
                    <a:avLst/>
                    <a:gdLst>
                      <a:gd name="T0" fmla="*/ 3 w 18"/>
                      <a:gd name="T1" fmla="*/ 79 h 79"/>
                      <a:gd name="T2" fmla="*/ 1 w 18"/>
                      <a:gd name="T3" fmla="*/ 77 h 79"/>
                      <a:gd name="T4" fmla="*/ 1 w 18"/>
                      <a:gd name="T5" fmla="*/ 17 h 79"/>
                      <a:gd name="T6" fmla="*/ 4 w 18"/>
                      <a:gd name="T7" fmla="*/ 3 h 79"/>
                      <a:gd name="T8" fmla="*/ 9 w 18"/>
                      <a:gd name="T9" fmla="*/ 1 h 79"/>
                      <a:gd name="T10" fmla="*/ 9 w 18"/>
                      <a:gd name="T11" fmla="*/ 1 h 79"/>
                      <a:gd name="T12" fmla="*/ 17 w 18"/>
                      <a:gd name="T13" fmla="*/ 5 h 79"/>
                      <a:gd name="T14" fmla="*/ 16 w 18"/>
                      <a:gd name="T15" fmla="*/ 8 h 79"/>
                      <a:gd name="T16" fmla="*/ 13 w 18"/>
                      <a:gd name="T17" fmla="*/ 6 h 79"/>
                      <a:gd name="T18" fmla="*/ 9 w 18"/>
                      <a:gd name="T19" fmla="*/ 5 h 79"/>
                      <a:gd name="T20" fmla="*/ 9 w 18"/>
                      <a:gd name="T21" fmla="*/ 5 h 79"/>
                      <a:gd name="T22" fmla="*/ 9 w 18"/>
                      <a:gd name="T23" fmla="*/ 5 h 79"/>
                      <a:gd name="T24" fmla="*/ 9 w 18"/>
                      <a:gd name="T25" fmla="*/ 5 h 79"/>
                      <a:gd name="T26" fmla="*/ 7 w 18"/>
                      <a:gd name="T27" fmla="*/ 5 h 79"/>
                      <a:gd name="T28" fmla="*/ 5 w 18"/>
                      <a:gd name="T29" fmla="*/ 17 h 79"/>
                      <a:gd name="T30" fmla="*/ 5 w 18"/>
                      <a:gd name="T31" fmla="*/ 77 h 79"/>
                      <a:gd name="T32" fmla="*/ 3 w 18"/>
                      <a:gd name="T3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79">
                        <a:moveTo>
                          <a:pt x="3" y="79"/>
                        </a:moveTo>
                        <a:cubicBezTo>
                          <a:pt x="2" y="79"/>
                          <a:pt x="1" y="78"/>
                          <a:pt x="1" y="77"/>
                        </a:cubicBezTo>
                        <a:cubicBezTo>
                          <a:pt x="1" y="17"/>
                          <a:pt x="1" y="17"/>
                          <a:pt x="1" y="17"/>
                        </a:cubicBezTo>
                        <a:cubicBezTo>
                          <a:pt x="1" y="16"/>
                          <a:pt x="0" y="7"/>
                          <a:pt x="4" y="3"/>
                        </a:cubicBezTo>
                        <a:cubicBezTo>
                          <a:pt x="6" y="1"/>
                          <a:pt x="7" y="1"/>
                          <a:pt x="9" y="1"/>
                        </a:cubicBezTo>
                        <a:cubicBezTo>
                          <a:pt x="9" y="1"/>
                          <a:pt x="9" y="1"/>
                          <a:pt x="9" y="1"/>
                        </a:cubicBezTo>
                        <a:cubicBezTo>
                          <a:pt x="11" y="1"/>
                          <a:pt x="16" y="0"/>
                          <a:pt x="17" y="5"/>
                        </a:cubicBezTo>
                        <a:cubicBezTo>
                          <a:pt x="18" y="6"/>
                          <a:pt x="17" y="8"/>
                          <a:pt x="16" y="8"/>
                        </a:cubicBezTo>
                        <a:cubicBezTo>
                          <a:pt x="15" y="8"/>
                          <a:pt x="14" y="7"/>
                          <a:pt x="13" y="6"/>
                        </a:cubicBezTo>
                        <a:cubicBezTo>
                          <a:pt x="13" y="5"/>
                          <a:pt x="12" y="4"/>
                          <a:pt x="9" y="5"/>
                        </a:cubicBezTo>
                        <a:cubicBezTo>
                          <a:pt x="9" y="5"/>
                          <a:pt x="9" y="5"/>
                          <a:pt x="9" y="5"/>
                        </a:cubicBezTo>
                        <a:cubicBezTo>
                          <a:pt x="9" y="5"/>
                          <a:pt x="9" y="5"/>
                          <a:pt x="9" y="5"/>
                        </a:cubicBezTo>
                        <a:cubicBezTo>
                          <a:pt x="9" y="5"/>
                          <a:pt x="9" y="5"/>
                          <a:pt x="9" y="5"/>
                        </a:cubicBezTo>
                        <a:cubicBezTo>
                          <a:pt x="8" y="5"/>
                          <a:pt x="8" y="5"/>
                          <a:pt x="7" y="5"/>
                        </a:cubicBezTo>
                        <a:cubicBezTo>
                          <a:pt x="5" y="8"/>
                          <a:pt x="5" y="13"/>
                          <a:pt x="5" y="17"/>
                        </a:cubicBezTo>
                        <a:cubicBezTo>
                          <a:pt x="5" y="77"/>
                          <a:pt x="5" y="77"/>
                          <a:pt x="5" y="77"/>
                        </a:cubicBezTo>
                        <a:cubicBezTo>
                          <a:pt x="5" y="78"/>
                          <a:pt x="4" y="79"/>
                          <a:pt x="3" y="79"/>
                        </a:cubicBez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4" name="Freeform 10">
                    <a:extLst>
                      <a:ext uri="{FF2B5EF4-FFF2-40B4-BE49-F238E27FC236}">
                        <a16:creationId xmlns:a16="http://schemas.microsoft.com/office/drawing/2014/main" id="{D6282393-245C-450B-A8DF-DEED5D41B862}"/>
                      </a:ext>
                    </a:extLst>
                  </p:cNvPr>
                  <p:cNvSpPr>
                    <a:spLocks/>
                  </p:cNvSpPr>
                  <p:nvPr userDrawn="1"/>
                </p:nvSpPr>
                <p:spPr bwMode="auto">
                  <a:xfrm flipH="1">
                    <a:off x="2438400" y="4024313"/>
                    <a:ext cx="133350" cy="153988"/>
                  </a:xfrm>
                  <a:custGeom>
                    <a:avLst/>
                    <a:gdLst>
                      <a:gd name="T0" fmla="*/ 84 w 84"/>
                      <a:gd name="T1" fmla="*/ 79 h 97"/>
                      <a:gd name="T2" fmla="*/ 26 w 84"/>
                      <a:gd name="T3" fmla="*/ 97 h 97"/>
                      <a:gd name="T4" fmla="*/ 0 w 84"/>
                      <a:gd name="T5" fmla="*/ 18 h 97"/>
                      <a:gd name="T6" fmla="*/ 59 w 84"/>
                      <a:gd name="T7" fmla="*/ 0 h 97"/>
                      <a:gd name="T8" fmla="*/ 84 w 84"/>
                      <a:gd name="T9" fmla="*/ 79 h 97"/>
                    </a:gdLst>
                    <a:ahLst/>
                    <a:cxnLst>
                      <a:cxn ang="0">
                        <a:pos x="T0" y="T1"/>
                      </a:cxn>
                      <a:cxn ang="0">
                        <a:pos x="T2" y="T3"/>
                      </a:cxn>
                      <a:cxn ang="0">
                        <a:pos x="T4" y="T5"/>
                      </a:cxn>
                      <a:cxn ang="0">
                        <a:pos x="T6" y="T7"/>
                      </a:cxn>
                      <a:cxn ang="0">
                        <a:pos x="T8" y="T9"/>
                      </a:cxn>
                    </a:cxnLst>
                    <a:rect l="0" t="0" r="r" b="b"/>
                    <a:pathLst>
                      <a:path w="84" h="97">
                        <a:moveTo>
                          <a:pt x="84" y="79"/>
                        </a:moveTo>
                        <a:lnTo>
                          <a:pt x="26" y="97"/>
                        </a:lnTo>
                        <a:lnTo>
                          <a:pt x="0" y="18"/>
                        </a:lnTo>
                        <a:lnTo>
                          <a:pt x="59" y="0"/>
                        </a:lnTo>
                        <a:lnTo>
                          <a:pt x="84" y="79"/>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5" name="Freeform 11">
                    <a:extLst>
                      <a:ext uri="{FF2B5EF4-FFF2-40B4-BE49-F238E27FC236}">
                        <a16:creationId xmlns:a16="http://schemas.microsoft.com/office/drawing/2014/main" id="{A3BF5E75-45D0-427F-A098-347B11D1B3C2}"/>
                      </a:ext>
                    </a:extLst>
                  </p:cNvPr>
                  <p:cNvSpPr>
                    <a:spLocks/>
                  </p:cNvSpPr>
                  <p:nvPr userDrawn="1"/>
                </p:nvSpPr>
                <p:spPr bwMode="auto">
                  <a:xfrm flipH="1">
                    <a:off x="2478087" y="4024313"/>
                    <a:ext cx="93663" cy="153988"/>
                  </a:xfrm>
                  <a:custGeom>
                    <a:avLst/>
                    <a:gdLst>
                      <a:gd name="T0" fmla="*/ 26 w 59"/>
                      <a:gd name="T1" fmla="*/ 97 h 97"/>
                      <a:gd name="T2" fmla="*/ 0 w 59"/>
                      <a:gd name="T3" fmla="*/ 18 h 97"/>
                      <a:gd name="T4" fmla="*/ 59 w 59"/>
                      <a:gd name="T5" fmla="*/ 0 h 97"/>
                      <a:gd name="T6" fmla="*/ 26 w 59"/>
                      <a:gd name="T7" fmla="*/ 97 h 97"/>
                    </a:gdLst>
                    <a:ahLst/>
                    <a:cxnLst>
                      <a:cxn ang="0">
                        <a:pos x="T0" y="T1"/>
                      </a:cxn>
                      <a:cxn ang="0">
                        <a:pos x="T2" y="T3"/>
                      </a:cxn>
                      <a:cxn ang="0">
                        <a:pos x="T4" y="T5"/>
                      </a:cxn>
                      <a:cxn ang="0">
                        <a:pos x="T6" y="T7"/>
                      </a:cxn>
                    </a:cxnLst>
                    <a:rect l="0" t="0" r="r" b="b"/>
                    <a:pathLst>
                      <a:path w="59" h="97">
                        <a:moveTo>
                          <a:pt x="26" y="97"/>
                        </a:moveTo>
                        <a:lnTo>
                          <a:pt x="0" y="18"/>
                        </a:lnTo>
                        <a:lnTo>
                          <a:pt x="59" y="0"/>
                        </a:lnTo>
                        <a:lnTo>
                          <a:pt x="26" y="97"/>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6" name="Freeform 12">
                    <a:extLst>
                      <a:ext uri="{FF2B5EF4-FFF2-40B4-BE49-F238E27FC236}">
                        <a16:creationId xmlns:a16="http://schemas.microsoft.com/office/drawing/2014/main" id="{D6602B41-A27A-440A-9A1F-AE051D74D95E}"/>
                      </a:ext>
                    </a:extLst>
                  </p:cNvPr>
                  <p:cNvSpPr>
                    <a:spLocks/>
                  </p:cNvSpPr>
                  <p:nvPr userDrawn="1"/>
                </p:nvSpPr>
                <p:spPr bwMode="auto">
                  <a:xfrm flipH="1">
                    <a:off x="2362200" y="3543300"/>
                    <a:ext cx="66675" cy="234950"/>
                  </a:xfrm>
                  <a:custGeom>
                    <a:avLst/>
                    <a:gdLst>
                      <a:gd name="T0" fmla="*/ 10 w 26"/>
                      <a:gd name="T1" fmla="*/ 92 h 92"/>
                      <a:gd name="T2" fmla="*/ 0 w 26"/>
                      <a:gd name="T3" fmla="*/ 62 h 92"/>
                      <a:gd name="T4" fmla="*/ 5 w 26"/>
                      <a:gd name="T5" fmla="*/ 7 h 92"/>
                      <a:gd name="T6" fmla="*/ 14 w 26"/>
                      <a:gd name="T7" fmla="*/ 57 h 92"/>
                      <a:gd name="T8" fmla="*/ 10 w 26"/>
                      <a:gd name="T9" fmla="*/ 92 h 92"/>
                    </a:gdLst>
                    <a:ahLst/>
                    <a:cxnLst>
                      <a:cxn ang="0">
                        <a:pos x="T0" y="T1"/>
                      </a:cxn>
                      <a:cxn ang="0">
                        <a:pos x="T2" y="T3"/>
                      </a:cxn>
                      <a:cxn ang="0">
                        <a:pos x="T4" y="T5"/>
                      </a:cxn>
                      <a:cxn ang="0">
                        <a:pos x="T6" y="T7"/>
                      </a:cxn>
                      <a:cxn ang="0">
                        <a:pos x="T8" y="T9"/>
                      </a:cxn>
                    </a:cxnLst>
                    <a:rect l="0" t="0" r="r" b="b"/>
                    <a:pathLst>
                      <a:path w="26" h="92">
                        <a:moveTo>
                          <a:pt x="10" y="92"/>
                        </a:moveTo>
                        <a:cubicBezTo>
                          <a:pt x="10" y="92"/>
                          <a:pt x="0" y="78"/>
                          <a:pt x="0" y="62"/>
                        </a:cubicBezTo>
                        <a:cubicBezTo>
                          <a:pt x="1" y="46"/>
                          <a:pt x="14" y="19"/>
                          <a:pt x="5" y="7"/>
                        </a:cubicBezTo>
                        <a:cubicBezTo>
                          <a:pt x="0" y="0"/>
                          <a:pt x="26" y="26"/>
                          <a:pt x="14" y="57"/>
                        </a:cubicBezTo>
                        <a:cubicBezTo>
                          <a:pt x="4" y="82"/>
                          <a:pt x="10" y="92"/>
                          <a:pt x="10" y="92"/>
                        </a:cubicBezTo>
                        <a:close/>
                      </a:path>
                    </a:pathLst>
                  </a:custGeom>
                  <a:solidFill>
                    <a:srgbClr val="E3EE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417" name="Freeform 660">
                  <a:extLst>
                    <a:ext uri="{FF2B5EF4-FFF2-40B4-BE49-F238E27FC236}">
                      <a16:creationId xmlns:a16="http://schemas.microsoft.com/office/drawing/2014/main" id="{953ABFAD-FD38-4C1E-B3D2-06A1F28E03B1}"/>
                    </a:ext>
                  </a:extLst>
                </p:cNvPr>
                <p:cNvSpPr>
                  <a:spLocks/>
                </p:cNvSpPr>
                <p:nvPr userDrawn="1"/>
              </p:nvSpPr>
              <p:spPr bwMode="auto">
                <a:xfrm>
                  <a:off x="5983387" y="4671237"/>
                  <a:ext cx="829489" cy="516472"/>
                </a:xfrm>
                <a:custGeom>
                  <a:avLst/>
                  <a:gdLst>
                    <a:gd name="T0" fmla="*/ 0 w 250"/>
                    <a:gd name="T1" fmla="*/ 79 h 157"/>
                    <a:gd name="T2" fmla="*/ 33 w 250"/>
                    <a:gd name="T3" fmla="*/ 0 h 157"/>
                    <a:gd name="T4" fmla="*/ 139 w 250"/>
                    <a:gd name="T5" fmla="*/ 87 h 157"/>
                    <a:gd name="T6" fmla="*/ 250 w 250"/>
                    <a:gd name="T7" fmla="*/ 100 h 157"/>
                    <a:gd name="T8" fmla="*/ 242 w 250"/>
                    <a:gd name="T9" fmla="*/ 157 h 157"/>
                    <a:gd name="T10" fmla="*/ 123 w 250"/>
                    <a:gd name="T11" fmla="*/ 142 h 157"/>
                    <a:gd name="T12" fmla="*/ 0 w 250"/>
                    <a:gd name="T13" fmla="*/ 79 h 157"/>
                  </a:gdLst>
                  <a:ahLst/>
                  <a:cxnLst>
                    <a:cxn ang="0">
                      <a:pos x="T0" y="T1"/>
                    </a:cxn>
                    <a:cxn ang="0">
                      <a:pos x="T2" y="T3"/>
                    </a:cxn>
                    <a:cxn ang="0">
                      <a:pos x="T4" y="T5"/>
                    </a:cxn>
                    <a:cxn ang="0">
                      <a:pos x="T6" y="T7"/>
                    </a:cxn>
                    <a:cxn ang="0">
                      <a:pos x="T8" y="T9"/>
                    </a:cxn>
                    <a:cxn ang="0">
                      <a:pos x="T10" y="T11"/>
                    </a:cxn>
                    <a:cxn ang="0">
                      <a:pos x="T12" y="T13"/>
                    </a:cxn>
                  </a:cxnLst>
                  <a:rect l="0" t="0" r="r" b="b"/>
                  <a:pathLst>
                    <a:path w="250" h="157">
                      <a:moveTo>
                        <a:pt x="0" y="79"/>
                      </a:moveTo>
                      <a:cubicBezTo>
                        <a:pt x="33" y="0"/>
                        <a:pt x="33" y="0"/>
                        <a:pt x="33" y="0"/>
                      </a:cubicBezTo>
                      <a:cubicBezTo>
                        <a:pt x="139" y="87"/>
                        <a:pt x="139" y="87"/>
                        <a:pt x="139" y="87"/>
                      </a:cubicBezTo>
                      <a:cubicBezTo>
                        <a:pt x="250" y="100"/>
                        <a:pt x="250" y="100"/>
                        <a:pt x="250" y="100"/>
                      </a:cubicBezTo>
                      <a:cubicBezTo>
                        <a:pt x="242" y="157"/>
                        <a:pt x="242" y="157"/>
                        <a:pt x="242" y="157"/>
                      </a:cubicBezTo>
                      <a:cubicBezTo>
                        <a:pt x="123" y="142"/>
                        <a:pt x="123" y="142"/>
                        <a:pt x="123" y="142"/>
                      </a:cubicBezTo>
                      <a:cubicBezTo>
                        <a:pt x="118" y="142"/>
                        <a:pt x="0" y="79"/>
                        <a:pt x="0" y="79"/>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18" name="Freeform 661">
                  <a:extLst>
                    <a:ext uri="{FF2B5EF4-FFF2-40B4-BE49-F238E27FC236}">
                      <a16:creationId xmlns:a16="http://schemas.microsoft.com/office/drawing/2014/main" id="{4024AC10-ACEA-41BF-AFF4-42F7B28B09FF}"/>
                    </a:ext>
                  </a:extLst>
                </p:cNvPr>
                <p:cNvSpPr>
                  <a:spLocks/>
                </p:cNvSpPr>
                <p:nvPr userDrawn="1"/>
              </p:nvSpPr>
              <p:spPr bwMode="auto">
                <a:xfrm>
                  <a:off x="6092942" y="4671237"/>
                  <a:ext cx="719934" cy="365181"/>
                </a:xfrm>
                <a:custGeom>
                  <a:avLst/>
                  <a:gdLst>
                    <a:gd name="T0" fmla="*/ 0 w 138"/>
                    <a:gd name="T1" fmla="*/ 0 h 70"/>
                    <a:gd name="T2" fmla="*/ 0 w 138"/>
                    <a:gd name="T3" fmla="*/ 0 h 70"/>
                    <a:gd name="T4" fmla="*/ 0 w 138"/>
                    <a:gd name="T5" fmla="*/ 17 h 70"/>
                    <a:gd name="T6" fmla="*/ 67 w 138"/>
                    <a:gd name="T7" fmla="*/ 62 h 70"/>
                    <a:gd name="T8" fmla="*/ 136 w 138"/>
                    <a:gd name="T9" fmla="*/ 70 h 70"/>
                    <a:gd name="T10" fmla="*/ 138 w 138"/>
                    <a:gd name="T11" fmla="*/ 63 h 70"/>
                    <a:gd name="T12" fmla="*/ 67 w 138"/>
                    <a:gd name="T13" fmla="*/ 55 h 70"/>
                    <a:gd name="T14" fmla="*/ 0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0" y="0"/>
                      </a:moveTo>
                      <a:lnTo>
                        <a:pt x="0" y="0"/>
                      </a:lnTo>
                      <a:lnTo>
                        <a:pt x="0" y="17"/>
                      </a:lnTo>
                      <a:lnTo>
                        <a:pt x="67" y="62"/>
                      </a:lnTo>
                      <a:lnTo>
                        <a:pt x="136" y="70"/>
                      </a:lnTo>
                      <a:lnTo>
                        <a:pt x="138" y="63"/>
                      </a:lnTo>
                      <a:lnTo>
                        <a:pt x="67" y="55"/>
                      </a:lnTo>
                      <a:lnTo>
                        <a:pt x="0" y="0"/>
                      </a:lnTo>
                      <a:close/>
                    </a:path>
                  </a:pathLst>
                </a:custGeom>
                <a:solidFill>
                  <a:srgbClr val="5B43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19" name="Freeform 662">
                  <a:extLst>
                    <a:ext uri="{FF2B5EF4-FFF2-40B4-BE49-F238E27FC236}">
                      <a16:creationId xmlns:a16="http://schemas.microsoft.com/office/drawing/2014/main" id="{AD40E7FC-7851-4CD5-9207-6C05DAE6A6CF}"/>
                    </a:ext>
                  </a:extLst>
                </p:cNvPr>
                <p:cNvSpPr>
                  <a:spLocks/>
                </p:cNvSpPr>
                <p:nvPr userDrawn="1"/>
              </p:nvSpPr>
              <p:spPr bwMode="auto">
                <a:xfrm>
                  <a:off x="6092942" y="4671237"/>
                  <a:ext cx="719934" cy="365181"/>
                </a:xfrm>
                <a:custGeom>
                  <a:avLst/>
                  <a:gdLst>
                    <a:gd name="T0" fmla="*/ 0 w 138"/>
                    <a:gd name="T1" fmla="*/ 0 h 70"/>
                    <a:gd name="T2" fmla="*/ 0 w 138"/>
                    <a:gd name="T3" fmla="*/ 0 h 70"/>
                    <a:gd name="T4" fmla="*/ 0 w 138"/>
                    <a:gd name="T5" fmla="*/ 17 h 70"/>
                    <a:gd name="T6" fmla="*/ 67 w 138"/>
                    <a:gd name="T7" fmla="*/ 62 h 70"/>
                    <a:gd name="T8" fmla="*/ 136 w 138"/>
                    <a:gd name="T9" fmla="*/ 70 h 70"/>
                    <a:gd name="T10" fmla="*/ 138 w 138"/>
                    <a:gd name="T11" fmla="*/ 63 h 70"/>
                    <a:gd name="T12" fmla="*/ 67 w 138"/>
                    <a:gd name="T13" fmla="*/ 55 h 70"/>
                    <a:gd name="T14" fmla="*/ 0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0" y="0"/>
                      </a:moveTo>
                      <a:lnTo>
                        <a:pt x="0" y="0"/>
                      </a:lnTo>
                      <a:lnTo>
                        <a:pt x="0" y="17"/>
                      </a:lnTo>
                      <a:lnTo>
                        <a:pt x="67" y="62"/>
                      </a:lnTo>
                      <a:lnTo>
                        <a:pt x="136" y="70"/>
                      </a:lnTo>
                      <a:lnTo>
                        <a:pt x="138" y="63"/>
                      </a:lnTo>
                      <a:lnTo>
                        <a:pt x="67" y="5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0" name="Oval 663">
                  <a:extLst>
                    <a:ext uri="{FF2B5EF4-FFF2-40B4-BE49-F238E27FC236}">
                      <a16:creationId xmlns:a16="http://schemas.microsoft.com/office/drawing/2014/main" id="{003C8276-F7AC-4402-941E-F9FF521719EC}"/>
                    </a:ext>
                  </a:extLst>
                </p:cNvPr>
                <p:cNvSpPr>
                  <a:spLocks noChangeArrowheads="1"/>
                </p:cNvSpPr>
                <p:nvPr userDrawn="1"/>
              </p:nvSpPr>
              <p:spPr bwMode="auto">
                <a:xfrm>
                  <a:off x="5612987" y="3810453"/>
                  <a:ext cx="313014" cy="313013"/>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1" name="Freeform 667">
                  <a:extLst>
                    <a:ext uri="{FF2B5EF4-FFF2-40B4-BE49-F238E27FC236}">
                      <a16:creationId xmlns:a16="http://schemas.microsoft.com/office/drawing/2014/main" id="{CC826036-D2BD-4834-9D97-D3AF62453EAC}"/>
                    </a:ext>
                  </a:extLst>
                </p:cNvPr>
                <p:cNvSpPr>
                  <a:spLocks/>
                </p:cNvSpPr>
                <p:nvPr userDrawn="1"/>
              </p:nvSpPr>
              <p:spPr bwMode="auto">
                <a:xfrm>
                  <a:off x="6035556" y="5959808"/>
                  <a:ext cx="104337" cy="782533"/>
                </a:xfrm>
                <a:custGeom>
                  <a:avLst/>
                  <a:gdLst>
                    <a:gd name="T0" fmla="*/ 16 w 31"/>
                    <a:gd name="T1" fmla="*/ 238 h 238"/>
                    <a:gd name="T2" fmla="*/ 0 w 31"/>
                    <a:gd name="T3" fmla="*/ 223 h 238"/>
                    <a:gd name="T4" fmla="*/ 0 w 31"/>
                    <a:gd name="T5" fmla="*/ 16 h 238"/>
                    <a:gd name="T6" fmla="*/ 16 w 31"/>
                    <a:gd name="T7" fmla="*/ 0 h 238"/>
                    <a:gd name="T8" fmla="*/ 31 w 31"/>
                    <a:gd name="T9" fmla="*/ 16 h 238"/>
                    <a:gd name="T10" fmla="*/ 31 w 31"/>
                    <a:gd name="T11" fmla="*/ 223 h 238"/>
                    <a:gd name="T12" fmla="*/ 16 w 31"/>
                    <a:gd name="T13" fmla="*/ 238 h 238"/>
                  </a:gdLst>
                  <a:ahLst/>
                  <a:cxnLst>
                    <a:cxn ang="0">
                      <a:pos x="T0" y="T1"/>
                    </a:cxn>
                    <a:cxn ang="0">
                      <a:pos x="T2" y="T3"/>
                    </a:cxn>
                    <a:cxn ang="0">
                      <a:pos x="T4" y="T5"/>
                    </a:cxn>
                    <a:cxn ang="0">
                      <a:pos x="T6" y="T7"/>
                    </a:cxn>
                    <a:cxn ang="0">
                      <a:pos x="T8" y="T9"/>
                    </a:cxn>
                    <a:cxn ang="0">
                      <a:pos x="T10" y="T11"/>
                    </a:cxn>
                    <a:cxn ang="0">
                      <a:pos x="T12" y="T13"/>
                    </a:cxn>
                  </a:cxnLst>
                  <a:rect l="0" t="0" r="r" b="b"/>
                  <a:pathLst>
                    <a:path w="31" h="238">
                      <a:moveTo>
                        <a:pt x="16" y="238"/>
                      </a:moveTo>
                      <a:cubicBezTo>
                        <a:pt x="7" y="238"/>
                        <a:pt x="0" y="231"/>
                        <a:pt x="0" y="223"/>
                      </a:cubicBezTo>
                      <a:cubicBezTo>
                        <a:pt x="0" y="16"/>
                        <a:pt x="0" y="16"/>
                        <a:pt x="0" y="16"/>
                      </a:cubicBezTo>
                      <a:cubicBezTo>
                        <a:pt x="0" y="7"/>
                        <a:pt x="7" y="0"/>
                        <a:pt x="16" y="0"/>
                      </a:cubicBezTo>
                      <a:cubicBezTo>
                        <a:pt x="24" y="0"/>
                        <a:pt x="31" y="7"/>
                        <a:pt x="31" y="16"/>
                      </a:cubicBezTo>
                      <a:cubicBezTo>
                        <a:pt x="31" y="223"/>
                        <a:pt x="31" y="223"/>
                        <a:pt x="31" y="223"/>
                      </a:cubicBezTo>
                      <a:cubicBezTo>
                        <a:pt x="31" y="231"/>
                        <a:pt x="24" y="238"/>
                        <a:pt x="16" y="238"/>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2" name="Freeform 668">
                  <a:extLst>
                    <a:ext uri="{FF2B5EF4-FFF2-40B4-BE49-F238E27FC236}">
                      <a16:creationId xmlns:a16="http://schemas.microsoft.com/office/drawing/2014/main" id="{99A7FDAA-9CB6-4BFD-81E3-15803868F8E1}"/>
                    </a:ext>
                  </a:extLst>
                </p:cNvPr>
                <p:cNvSpPr>
                  <a:spLocks/>
                </p:cNvSpPr>
                <p:nvPr userDrawn="1"/>
              </p:nvSpPr>
              <p:spPr bwMode="auto">
                <a:xfrm>
                  <a:off x="5743408" y="6580615"/>
                  <a:ext cx="693850" cy="239977"/>
                </a:xfrm>
                <a:custGeom>
                  <a:avLst/>
                  <a:gdLst>
                    <a:gd name="T0" fmla="*/ 192 w 210"/>
                    <a:gd name="T1" fmla="*/ 70 h 72"/>
                    <a:gd name="T2" fmla="*/ 181 w 210"/>
                    <a:gd name="T3" fmla="*/ 65 h 72"/>
                    <a:gd name="T4" fmla="*/ 105 w 210"/>
                    <a:gd name="T5" fmla="*/ 31 h 72"/>
                    <a:gd name="T6" fmla="*/ 29 w 210"/>
                    <a:gd name="T7" fmla="*/ 65 h 72"/>
                    <a:gd name="T8" fmla="*/ 7 w 210"/>
                    <a:gd name="T9" fmla="*/ 66 h 72"/>
                    <a:gd name="T10" fmla="*/ 6 w 210"/>
                    <a:gd name="T11" fmla="*/ 44 h 72"/>
                    <a:gd name="T12" fmla="*/ 105 w 210"/>
                    <a:gd name="T13" fmla="*/ 0 h 72"/>
                    <a:gd name="T14" fmla="*/ 204 w 210"/>
                    <a:gd name="T15" fmla="*/ 44 h 72"/>
                    <a:gd name="T16" fmla="*/ 203 w 210"/>
                    <a:gd name="T17" fmla="*/ 66 h 72"/>
                    <a:gd name="T18" fmla="*/ 192 w 210"/>
                    <a:gd name="T19"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72">
                      <a:moveTo>
                        <a:pt x="192" y="70"/>
                      </a:moveTo>
                      <a:cubicBezTo>
                        <a:pt x="188" y="70"/>
                        <a:pt x="184" y="68"/>
                        <a:pt x="181" y="65"/>
                      </a:cubicBezTo>
                      <a:cubicBezTo>
                        <a:pt x="161" y="44"/>
                        <a:pt x="134" y="31"/>
                        <a:pt x="105" y="31"/>
                      </a:cubicBezTo>
                      <a:cubicBezTo>
                        <a:pt x="76" y="31"/>
                        <a:pt x="48" y="44"/>
                        <a:pt x="29" y="65"/>
                      </a:cubicBezTo>
                      <a:cubicBezTo>
                        <a:pt x="23" y="71"/>
                        <a:pt x="13" y="72"/>
                        <a:pt x="7" y="66"/>
                      </a:cubicBezTo>
                      <a:cubicBezTo>
                        <a:pt x="0" y="60"/>
                        <a:pt x="0" y="51"/>
                        <a:pt x="6" y="44"/>
                      </a:cubicBezTo>
                      <a:cubicBezTo>
                        <a:pt x="31" y="16"/>
                        <a:pt x="67" y="0"/>
                        <a:pt x="105" y="0"/>
                      </a:cubicBezTo>
                      <a:cubicBezTo>
                        <a:pt x="143" y="0"/>
                        <a:pt x="179" y="16"/>
                        <a:pt x="204" y="44"/>
                      </a:cubicBezTo>
                      <a:cubicBezTo>
                        <a:pt x="210" y="51"/>
                        <a:pt x="209" y="60"/>
                        <a:pt x="203" y="66"/>
                      </a:cubicBezTo>
                      <a:cubicBezTo>
                        <a:pt x="200" y="69"/>
                        <a:pt x="196" y="70"/>
                        <a:pt x="192" y="7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3" name="Oval 669">
                  <a:extLst>
                    <a:ext uri="{FF2B5EF4-FFF2-40B4-BE49-F238E27FC236}">
                      <a16:creationId xmlns:a16="http://schemas.microsoft.com/office/drawing/2014/main" id="{C8ECA8E8-B5FE-4C4F-8B75-13C8EB381E00}"/>
                    </a:ext>
                  </a:extLst>
                </p:cNvPr>
                <p:cNvSpPr>
                  <a:spLocks noChangeArrowheads="1"/>
                </p:cNvSpPr>
                <p:nvPr userDrawn="1"/>
              </p:nvSpPr>
              <p:spPr bwMode="auto">
                <a:xfrm>
                  <a:off x="5743408" y="6789292"/>
                  <a:ext cx="114772" cy="11477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4" name="Oval 670">
                  <a:extLst>
                    <a:ext uri="{FF2B5EF4-FFF2-40B4-BE49-F238E27FC236}">
                      <a16:creationId xmlns:a16="http://schemas.microsoft.com/office/drawing/2014/main" id="{65E3B9D3-DE67-4D94-AB5A-B6C2056138E6}"/>
                    </a:ext>
                  </a:extLst>
                </p:cNvPr>
                <p:cNvSpPr>
                  <a:spLocks noChangeArrowheads="1"/>
                </p:cNvSpPr>
                <p:nvPr userDrawn="1"/>
              </p:nvSpPr>
              <p:spPr bwMode="auto">
                <a:xfrm>
                  <a:off x="6322486" y="6789292"/>
                  <a:ext cx="114772" cy="11477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5" name="Freeform 671">
                  <a:extLst>
                    <a:ext uri="{FF2B5EF4-FFF2-40B4-BE49-F238E27FC236}">
                      <a16:creationId xmlns:a16="http://schemas.microsoft.com/office/drawing/2014/main" id="{558E20B4-49D6-47F5-B9EE-C60AA7349D3F}"/>
                    </a:ext>
                  </a:extLst>
                </p:cNvPr>
                <p:cNvSpPr>
                  <a:spLocks/>
                </p:cNvSpPr>
                <p:nvPr userDrawn="1"/>
              </p:nvSpPr>
              <p:spPr bwMode="auto">
                <a:xfrm>
                  <a:off x="5586903" y="5845036"/>
                  <a:ext cx="1012081" cy="140855"/>
                </a:xfrm>
                <a:custGeom>
                  <a:avLst/>
                  <a:gdLst>
                    <a:gd name="T0" fmla="*/ 285 w 306"/>
                    <a:gd name="T1" fmla="*/ 43 h 43"/>
                    <a:gd name="T2" fmla="*/ 22 w 306"/>
                    <a:gd name="T3" fmla="*/ 43 h 43"/>
                    <a:gd name="T4" fmla="*/ 0 w 306"/>
                    <a:gd name="T5" fmla="*/ 22 h 43"/>
                    <a:gd name="T6" fmla="*/ 22 w 306"/>
                    <a:gd name="T7" fmla="*/ 0 h 43"/>
                    <a:gd name="T8" fmla="*/ 285 w 306"/>
                    <a:gd name="T9" fmla="*/ 0 h 43"/>
                    <a:gd name="T10" fmla="*/ 306 w 306"/>
                    <a:gd name="T11" fmla="*/ 22 h 43"/>
                    <a:gd name="T12" fmla="*/ 285 w 306"/>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06" h="43">
                      <a:moveTo>
                        <a:pt x="285" y="43"/>
                      </a:moveTo>
                      <a:cubicBezTo>
                        <a:pt x="22" y="43"/>
                        <a:pt x="22" y="43"/>
                        <a:pt x="22" y="43"/>
                      </a:cubicBezTo>
                      <a:cubicBezTo>
                        <a:pt x="10" y="43"/>
                        <a:pt x="0" y="33"/>
                        <a:pt x="0" y="22"/>
                      </a:cubicBezTo>
                      <a:cubicBezTo>
                        <a:pt x="0" y="10"/>
                        <a:pt x="10" y="0"/>
                        <a:pt x="22" y="0"/>
                      </a:cubicBezTo>
                      <a:cubicBezTo>
                        <a:pt x="285" y="0"/>
                        <a:pt x="285" y="0"/>
                        <a:pt x="285" y="0"/>
                      </a:cubicBezTo>
                      <a:cubicBezTo>
                        <a:pt x="296" y="0"/>
                        <a:pt x="306" y="10"/>
                        <a:pt x="306" y="22"/>
                      </a:cubicBezTo>
                      <a:cubicBezTo>
                        <a:pt x="306" y="33"/>
                        <a:pt x="296" y="43"/>
                        <a:pt x="285" y="4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6" name="Freeform 672">
                  <a:extLst>
                    <a:ext uri="{FF2B5EF4-FFF2-40B4-BE49-F238E27FC236}">
                      <a16:creationId xmlns:a16="http://schemas.microsoft.com/office/drawing/2014/main" id="{8FB49727-2261-4EB1-90C5-E0D8FD6FA33F}"/>
                    </a:ext>
                  </a:extLst>
                </p:cNvPr>
                <p:cNvSpPr>
                  <a:spLocks/>
                </p:cNvSpPr>
                <p:nvPr userDrawn="1"/>
              </p:nvSpPr>
              <p:spPr bwMode="auto">
                <a:xfrm>
                  <a:off x="5586903" y="5845036"/>
                  <a:ext cx="125206" cy="140855"/>
                </a:xfrm>
                <a:custGeom>
                  <a:avLst/>
                  <a:gdLst>
                    <a:gd name="T0" fmla="*/ 16 w 37"/>
                    <a:gd name="T1" fmla="*/ 22 h 43"/>
                    <a:gd name="T2" fmla="*/ 37 w 37"/>
                    <a:gd name="T3" fmla="*/ 0 h 43"/>
                    <a:gd name="T4" fmla="*/ 22 w 37"/>
                    <a:gd name="T5" fmla="*/ 0 h 43"/>
                    <a:gd name="T6" fmla="*/ 0 w 37"/>
                    <a:gd name="T7" fmla="*/ 22 h 43"/>
                    <a:gd name="T8" fmla="*/ 22 w 37"/>
                    <a:gd name="T9" fmla="*/ 43 h 43"/>
                    <a:gd name="T10" fmla="*/ 37 w 37"/>
                    <a:gd name="T11" fmla="*/ 43 h 43"/>
                    <a:gd name="T12" fmla="*/ 16 w 37"/>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37" h="43">
                      <a:moveTo>
                        <a:pt x="16" y="22"/>
                      </a:moveTo>
                      <a:cubicBezTo>
                        <a:pt x="16" y="10"/>
                        <a:pt x="25" y="0"/>
                        <a:pt x="37" y="0"/>
                      </a:cubicBezTo>
                      <a:cubicBezTo>
                        <a:pt x="22" y="0"/>
                        <a:pt x="22" y="0"/>
                        <a:pt x="22" y="0"/>
                      </a:cubicBezTo>
                      <a:cubicBezTo>
                        <a:pt x="10" y="0"/>
                        <a:pt x="0" y="10"/>
                        <a:pt x="0" y="22"/>
                      </a:cubicBezTo>
                      <a:cubicBezTo>
                        <a:pt x="0" y="33"/>
                        <a:pt x="10" y="43"/>
                        <a:pt x="22" y="43"/>
                      </a:cubicBezTo>
                      <a:cubicBezTo>
                        <a:pt x="37" y="43"/>
                        <a:pt x="37" y="43"/>
                        <a:pt x="37" y="43"/>
                      </a:cubicBezTo>
                      <a:cubicBezTo>
                        <a:pt x="25" y="43"/>
                        <a:pt x="16" y="33"/>
                        <a:pt x="16" y="2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7" name="Freeform 673">
                  <a:extLst>
                    <a:ext uri="{FF2B5EF4-FFF2-40B4-BE49-F238E27FC236}">
                      <a16:creationId xmlns:a16="http://schemas.microsoft.com/office/drawing/2014/main" id="{AD07590C-E86D-4901-A90C-F1D954BC9FAA}"/>
                    </a:ext>
                  </a:extLst>
                </p:cNvPr>
                <p:cNvSpPr>
                  <a:spLocks/>
                </p:cNvSpPr>
                <p:nvPr userDrawn="1"/>
              </p:nvSpPr>
              <p:spPr bwMode="auto">
                <a:xfrm>
                  <a:off x="5513865" y="4937298"/>
                  <a:ext cx="620812" cy="526905"/>
                </a:xfrm>
                <a:custGeom>
                  <a:avLst/>
                  <a:gdLst>
                    <a:gd name="T0" fmla="*/ 32 w 188"/>
                    <a:gd name="T1" fmla="*/ 0 h 159"/>
                    <a:gd name="T2" fmla="*/ 0 w 188"/>
                    <a:gd name="T3" fmla="*/ 32 h 159"/>
                    <a:gd name="T4" fmla="*/ 0 w 188"/>
                    <a:gd name="T5" fmla="*/ 127 h 159"/>
                    <a:gd name="T6" fmla="*/ 32 w 188"/>
                    <a:gd name="T7" fmla="*/ 159 h 159"/>
                    <a:gd name="T8" fmla="*/ 156 w 188"/>
                    <a:gd name="T9" fmla="*/ 159 h 159"/>
                    <a:gd name="T10" fmla="*/ 188 w 188"/>
                    <a:gd name="T11" fmla="*/ 127 h 159"/>
                    <a:gd name="T12" fmla="*/ 188 w 188"/>
                    <a:gd name="T13" fmla="*/ 32 h 159"/>
                    <a:gd name="T14" fmla="*/ 156 w 188"/>
                    <a:gd name="T15" fmla="*/ 0 h 159"/>
                    <a:gd name="T16" fmla="*/ 32 w 188"/>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59">
                      <a:moveTo>
                        <a:pt x="32" y="0"/>
                      </a:moveTo>
                      <a:cubicBezTo>
                        <a:pt x="14" y="0"/>
                        <a:pt x="0" y="14"/>
                        <a:pt x="0" y="32"/>
                      </a:cubicBezTo>
                      <a:cubicBezTo>
                        <a:pt x="0" y="127"/>
                        <a:pt x="0" y="127"/>
                        <a:pt x="0" y="127"/>
                      </a:cubicBezTo>
                      <a:cubicBezTo>
                        <a:pt x="0" y="144"/>
                        <a:pt x="14" y="159"/>
                        <a:pt x="32" y="159"/>
                      </a:cubicBezTo>
                      <a:cubicBezTo>
                        <a:pt x="156" y="159"/>
                        <a:pt x="156" y="159"/>
                        <a:pt x="156" y="159"/>
                      </a:cubicBezTo>
                      <a:cubicBezTo>
                        <a:pt x="173" y="159"/>
                        <a:pt x="188" y="144"/>
                        <a:pt x="188" y="127"/>
                      </a:cubicBezTo>
                      <a:cubicBezTo>
                        <a:pt x="188" y="32"/>
                        <a:pt x="188" y="32"/>
                        <a:pt x="188" y="32"/>
                      </a:cubicBezTo>
                      <a:cubicBezTo>
                        <a:pt x="188" y="14"/>
                        <a:pt x="173" y="0"/>
                        <a:pt x="156" y="0"/>
                      </a:cubicBezTo>
                      <a:lnTo>
                        <a:pt x="32"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8" name="Freeform 674">
                  <a:extLst>
                    <a:ext uri="{FF2B5EF4-FFF2-40B4-BE49-F238E27FC236}">
                      <a16:creationId xmlns:a16="http://schemas.microsoft.com/office/drawing/2014/main" id="{2DA4F644-5CF4-4833-A7EA-91D47E9B12E2}"/>
                    </a:ext>
                  </a:extLst>
                </p:cNvPr>
                <p:cNvSpPr>
                  <a:spLocks/>
                </p:cNvSpPr>
                <p:nvPr userDrawn="1"/>
              </p:nvSpPr>
              <p:spPr bwMode="auto">
                <a:xfrm>
                  <a:off x="5513865" y="4937298"/>
                  <a:ext cx="146073" cy="526905"/>
                </a:xfrm>
                <a:custGeom>
                  <a:avLst/>
                  <a:gdLst>
                    <a:gd name="T0" fmla="*/ 11 w 43"/>
                    <a:gd name="T1" fmla="*/ 127 h 159"/>
                    <a:gd name="T2" fmla="*/ 11 w 43"/>
                    <a:gd name="T3" fmla="*/ 32 h 159"/>
                    <a:gd name="T4" fmla="*/ 43 w 43"/>
                    <a:gd name="T5" fmla="*/ 0 h 159"/>
                    <a:gd name="T6" fmla="*/ 32 w 43"/>
                    <a:gd name="T7" fmla="*/ 0 h 159"/>
                    <a:gd name="T8" fmla="*/ 0 w 43"/>
                    <a:gd name="T9" fmla="*/ 32 h 159"/>
                    <a:gd name="T10" fmla="*/ 0 w 43"/>
                    <a:gd name="T11" fmla="*/ 127 h 159"/>
                    <a:gd name="T12" fmla="*/ 32 w 43"/>
                    <a:gd name="T13" fmla="*/ 159 h 159"/>
                    <a:gd name="T14" fmla="*/ 43 w 43"/>
                    <a:gd name="T15" fmla="*/ 159 h 159"/>
                    <a:gd name="T16" fmla="*/ 11 w 43"/>
                    <a:gd name="T17" fmla="*/ 12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59">
                      <a:moveTo>
                        <a:pt x="11" y="127"/>
                      </a:moveTo>
                      <a:cubicBezTo>
                        <a:pt x="11" y="32"/>
                        <a:pt x="11" y="32"/>
                        <a:pt x="11" y="32"/>
                      </a:cubicBezTo>
                      <a:cubicBezTo>
                        <a:pt x="11" y="14"/>
                        <a:pt x="26" y="0"/>
                        <a:pt x="43" y="0"/>
                      </a:cubicBezTo>
                      <a:cubicBezTo>
                        <a:pt x="32" y="0"/>
                        <a:pt x="32" y="0"/>
                        <a:pt x="32" y="0"/>
                      </a:cubicBezTo>
                      <a:cubicBezTo>
                        <a:pt x="14" y="0"/>
                        <a:pt x="0" y="14"/>
                        <a:pt x="0" y="32"/>
                      </a:cubicBezTo>
                      <a:cubicBezTo>
                        <a:pt x="0" y="127"/>
                        <a:pt x="0" y="127"/>
                        <a:pt x="0" y="127"/>
                      </a:cubicBezTo>
                      <a:cubicBezTo>
                        <a:pt x="0" y="144"/>
                        <a:pt x="14" y="159"/>
                        <a:pt x="32" y="159"/>
                      </a:cubicBezTo>
                      <a:cubicBezTo>
                        <a:pt x="43" y="159"/>
                        <a:pt x="43" y="159"/>
                        <a:pt x="43" y="159"/>
                      </a:cubicBezTo>
                      <a:cubicBezTo>
                        <a:pt x="26" y="159"/>
                        <a:pt x="11" y="144"/>
                        <a:pt x="11" y="12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9" name="Freeform 675">
                  <a:extLst>
                    <a:ext uri="{FF2B5EF4-FFF2-40B4-BE49-F238E27FC236}">
                      <a16:creationId xmlns:a16="http://schemas.microsoft.com/office/drawing/2014/main" id="{171471C7-E9A3-4F3D-810C-DCDCCF836A7A}"/>
                    </a:ext>
                  </a:extLst>
                </p:cNvPr>
                <p:cNvSpPr>
                  <a:spLocks/>
                </p:cNvSpPr>
                <p:nvPr userDrawn="1"/>
              </p:nvSpPr>
              <p:spPr bwMode="auto">
                <a:xfrm>
                  <a:off x="5612987" y="4655588"/>
                  <a:ext cx="714717" cy="949473"/>
                </a:xfrm>
                <a:custGeom>
                  <a:avLst/>
                  <a:gdLst>
                    <a:gd name="T0" fmla="*/ 120 w 216"/>
                    <a:gd name="T1" fmla="*/ 0 h 289"/>
                    <a:gd name="T2" fmla="*/ 112 w 216"/>
                    <a:gd name="T3" fmla="*/ 0 h 289"/>
                    <a:gd name="T4" fmla="*/ 100 w 216"/>
                    <a:gd name="T5" fmla="*/ 0 h 289"/>
                    <a:gd name="T6" fmla="*/ 4 w 216"/>
                    <a:gd name="T7" fmla="*/ 98 h 289"/>
                    <a:gd name="T8" fmla="*/ 4 w 216"/>
                    <a:gd name="T9" fmla="*/ 289 h 289"/>
                    <a:gd name="T10" fmla="*/ 216 w 216"/>
                    <a:gd name="T11" fmla="*/ 289 h 289"/>
                    <a:gd name="T12" fmla="*/ 216 w 216"/>
                    <a:gd name="T13" fmla="*/ 84 h 289"/>
                    <a:gd name="T14" fmla="*/ 120 w 216"/>
                    <a:gd name="T15" fmla="*/ 0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89">
                      <a:moveTo>
                        <a:pt x="120" y="0"/>
                      </a:moveTo>
                      <a:cubicBezTo>
                        <a:pt x="120" y="0"/>
                        <a:pt x="113" y="0"/>
                        <a:pt x="112" y="0"/>
                      </a:cubicBezTo>
                      <a:cubicBezTo>
                        <a:pt x="107" y="0"/>
                        <a:pt x="100" y="0"/>
                        <a:pt x="100" y="0"/>
                      </a:cubicBezTo>
                      <a:cubicBezTo>
                        <a:pt x="0" y="6"/>
                        <a:pt x="4" y="98"/>
                        <a:pt x="4" y="98"/>
                      </a:cubicBezTo>
                      <a:cubicBezTo>
                        <a:pt x="4" y="289"/>
                        <a:pt x="4" y="289"/>
                        <a:pt x="4" y="289"/>
                      </a:cubicBezTo>
                      <a:cubicBezTo>
                        <a:pt x="216" y="289"/>
                        <a:pt x="216" y="289"/>
                        <a:pt x="216" y="289"/>
                      </a:cubicBezTo>
                      <a:cubicBezTo>
                        <a:pt x="216" y="84"/>
                        <a:pt x="216" y="84"/>
                        <a:pt x="216" y="84"/>
                      </a:cubicBezTo>
                      <a:cubicBezTo>
                        <a:pt x="216" y="84"/>
                        <a:pt x="205" y="9"/>
                        <a:pt x="120"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0" name="Freeform 676">
                  <a:extLst>
                    <a:ext uri="{FF2B5EF4-FFF2-40B4-BE49-F238E27FC236}">
                      <a16:creationId xmlns:a16="http://schemas.microsoft.com/office/drawing/2014/main" id="{7C2DE3F9-50C1-4B4A-AD37-D4CD9CA98D0B}"/>
                    </a:ext>
                  </a:extLst>
                </p:cNvPr>
                <p:cNvSpPr>
                  <a:spLocks/>
                </p:cNvSpPr>
                <p:nvPr userDrawn="1"/>
              </p:nvSpPr>
              <p:spPr bwMode="auto">
                <a:xfrm>
                  <a:off x="5952085" y="4655588"/>
                  <a:ext cx="375618" cy="949473"/>
                </a:xfrm>
                <a:custGeom>
                  <a:avLst/>
                  <a:gdLst>
                    <a:gd name="T0" fmla="*/ 17 w 113"/>
                    <a:gd name="T1" fmla="*/ 0 h 289"/>
                    <a:gd name="T2" fmla="*/ 9 w 113"/>
                    <a:gd name="T3" fmla="*/ 0 h 289"/>
                    <a:gd name="T4" fmla="*/ 0 w 113"/>
                    <a:gd name="T5" fmla="*/ 0 h 289"/>
                    <a:gd name="T6" fmla="*/ 2 w 113"/>
                    <a:gd name="T7" fmla="*/ 0 h 289"/>
                    <a:gd name="T8" fmla="*/ 99 w 113"/>
                    <a:gd name="T9" fmla="*/ 98 h 289"/>
                    <a:gd name="T10" fmla="*/ 99 w 113"/>
                    <a:gd name="T11" fmla="*/ 289 h 289"/>
                    <a:gd name="T12" fmla="*/ 113 w 113"/>
                    <a:gd name="T13" fmla="*/ 289 h 289"/>
                    <a:gd name="T14" fmla="*/ 113 w 113"/>
                    <a:gd name="T15" fmla="*/ 84 h 289"/>
                    <a:gd name="T16" fmla="*/ 17 w 113"/>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289">
                      <a:moveTo>
                        <a:pt x="17" y="0"/>
                      </a:moveTo>
                      <a:cubicBezTo>
                        <a:pt x="17" y="0"/>
                        <a:pt x="10" y="0"/>
                        <a:pt x="9" y="0"/>
                      </a:cubicBezTo>
                      <a:cubicBezTo>
                        <a:pt x="6" y="0"/>
                        <a:pt x="2" y="0"/>
                        <a:pt x="0" y="0"/>
                      </a:cubicBezTo>
                      <a:cubicBezTo>
                        <a:pt x="1" y="0"/>
                        <a:pt x="2" y="0"/>
                        <a:pt x="2" y="0"/>
                      </a:cubicBezTo>
                      <a:cubicBezTo>
                        <a:pt x="88" y="9"/>
                        <a:pt x="99" y="98"/>
                        <a:pt x="99" y="98"/>
                      </a:cubicBezTo>
                      <a:cubicBezTo>
                        <a:pt x="99" y="289"/>
                        <a:pt x="99" y="289"/>
                        <a:pt x="99" y="289"/>
                      </a:cubicBezTo>
                      <a:cubicBezTo>
                        <a:pt x="113" y="289"/>
                        <a:pt x="113" y="289"/>
                        <a:pt x="113" y="289"/>
                      </a:cubicBezTo>
                      <a:cubicBezTo>
                        <a:pt x="113" y="84"/>
                        <a:pt x="113" y="84"/>
                        <a:pt x="113" y="84"/>
                      </a:cubicBezTo>
                      <a:cubicBezTo>
                        <a:pt x="113" y="84"/>
                        <a:pt x="102" y="9"/>
                        <a:pt x="17" y="0"/>
                      </a:cubicBezTo>
                      <a:close/>
                    </a:path>
                  </a:pathLst>
                </a:custGeom>
                <a:solidFill>
                  <a:srgbClr val="400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1" name="Freeform 677">
                  <a:extLst>
                    <a:ext uri="{FF2B5EF4-FFF2-40B4-BE49-F238E27FC236}">
                      <a16:creationId xmlns:a16="http://schemas.microsoft.com/office/drawing/2014/main" id="{54957A8C-52DA-4C0D-9AD5-21F410E5296D}"/>
                    </a:ext>
                  </a:extLst>
                </p:cNvPr>
                <p:cNvSpPr>
                  <a:spLocks/>
                </p:cNvSpPr>
                <p:nvPr userDrawn="1"/>
              </p:nvSpPr>
              <p:spPr bwMode="auto">
                <a:xfrm>
                  <a:off x="5936434" y="4718190"/>
                  <a:ext cx="177375" cy="448652"/>
                </a:xfrm>
                <a:custGeom>
                  <a:avLst/>
                  <a:gdLst>
                    <a:gd name="T0" fmla="*/ 0 w 34"/>
                    <a:gd name="T1" fmla="*/ 0 h 86"/>
                    <a:gd name="T2" fmla="*/ 34 w 34"/>
                    <a:gd name="T3" fmla="*/ 86 h 86"/>
                    <a:gd name="T4" fmla="*/ 34 w 34"/>
                    <a:gd name="T5" fmla="*/ 0 h 86"/>
                    <a:gd name="T6" fmla="*/ 0 w 34"/>
                    <a:gd name="T7" fmla="*/ 0 h 86"/>
                  </a:gdLst>
                  <a:ahLst/>
                  <a:cxnLst>
                    <a:cxn ang="0">
                      <a:pos x="T0" y="T1"/>
                    </a:cxn>
                    <a:cxn ang="0">
                      <a:pos x="T2" y="T3"/>
                    </a:cxn>
                    <a:cxn ang="0">
                      <a:pos x="T4" y="T5"/>
                    </a:cxn>
                    <a:cxn ang="0">
                      <a:pos x="T6" y="T7"/>
                    </a:cxn>
                  </a:cxnLst>
                  <a:rect l="0" t="0" r="r" b="b"/>
                  <a:pathLst>
                    <a:path w="34" h="86">
                      <a:moveTo>
                        <a:pt x="0" y="0"/>
                      </a:moveTo>
                      <a:lnTo>
                        <a:pt x="34" y="86"/>
                      </a:lnTo>
                      <a:lnTo>
                        <a:pt x="3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2" name="Oval 678">
                  <a:extLst>
                    <a:ext uri="{FF2B5EF4-FFF2-40B4-BE49-F238E27FC236}">
                      <a16:creationId xmlns:a16="http://schemas.microsoft.com/office/drawing/2014/main" id="{3B421B6E-FE8E-433D-9E90-3E7746A55053}"/>
                    </a:ext>
                  </a:extLst>
                </p:cNvPr>
                <p:cNvSpPr>
                  <a:spLocks noChangeArrowheads="1"/>
                </p:cNvSpPr>
                <p:nvPr userDrawn="1"/>
              </p:nvSpPr>
              <p:spPr bwMode="auto">
                <a:xfrm>
                  <a:off x="6056424" y="4817310"/>
                  <a:ext cx="26084" cy="26084"/>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3" name="Oval 679">
                  <a:extLst>
                    <a:ext uri="{FF2B5EF4-FFF2-40B4-BE49-F238E27FC236}">
                      <a16:creationId xmlns:a16="http://schemas.microsoft.com/office/drawing/2014/main" id="{F9C9ABC7-956C-4F34-BA64-ACEFF3696578}"/>
                    </a:ext>
                  </a:extLst>
                </p:cNvPr>
                <p:cNvSpPr>
                  <a:spLocks noChangeArrowheads="1"/>
                </p:cNvSpPr>
                <p:nvPr userDrawn="1"/>
              </p:nvSpPr>
              <p:spPr bwMode="auto">
                <a:xfrm>
                  <a:off x="6056424" y="4885130"/>
                  <a:ext cx="26084" cy="3130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4" name="Freeform 680">
                  <a:extLst>
                    <a:ext uri="{FF2B5EF4-FFF2-40B4-BE49-F238E27FC236}">
                      <a16:creationId xmlns:a16="http://schemas.microsoft.com/office/drawing/2014/main" id="{3C397A95-8523-4FB3-9A32-C7A49272F58C}"/>
                    </a:ext>
                  </a:extLst>
                </p:cNvPr>
                <p:cNvSpPr>
                  <a:spLocks/>
                </p:cNvSpPr>
                <p:nvPr userDrawn="1"/>
              </p:nvSpPr>
              <p:spPr bwMode="auto">
                <a:xfrm>
                  <a:off x="5602552" y="4655588"/>
                  <a:ext cx="396485" cy="949473"/>
                </a:xfrm>
                <a:custGeom>
                  <a:avLst/>
                  <a:gdLst>
                    <a:gd name="T0" fmla="*/ 116 w 119"/>
                    <a:gd name="T1" fmla="*/ 0 h 289"/>
                    <a:gd name="T2" fmla="*/ 119 w 119"/>
                    <a:gd name="T3" fmla="*/ 0 h 289"/>
                    <a:gd name="T4" fmla="*/ 114 w 119"/>
                    <a:gd name="T5" fmla="*/ 0 h 289"/>
                    <a:gd name="T6" fmla="*/ 102 w 119"/>
                    <a:gd name="T7" fmla="*/ 0 h 289"/>
                    <a:gd name="T8" fmla="*/ 6 w 119"/>
                    <a:gd name="T9" fmla="*/ 98 h 289"/>
                    <a:gd name="T10" fmla="*/ 6 w 119"/>
                    <a:gd name="T11" fmla="*/ 289 h 289"/>
                    <a:gd name="T12" fmla="*/ 20 w 119"/>
                    <a:gd name="T13" fmla="*/ 289 h 289"/>
                    <a:gd name="T14" fmla="*/ 20 w 119"/>
                    <a:gd name="T15" fmla="*/ 98 h 289"/>
                    <a:gd name="T16" fmla="*/ 116 w 11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89">
                      <a:moveTo>
                        <a:pt x="116" y="0"/>
                      </a:moveTo>
                      <a:cubicBezTo>
                        <a:pt x="116" y="0"/>
                        <a:pt x="118" y="0"/>
                        <a:pt x="119" y="0"/>
                      </a:cubicBezTo>
                      <a:cubicBezTo>
                        <a:pt x="117" y="0"/>
                        <a:pt x="114" y="0"/>
                        <a:pt x="114" y="0"/>
                      </a:cubicBezTo>
                      <a:cubicBezTo>
                        <a:pt x="109" y="0"/>
                        <a:pt x="102" y="0"/>
                        <a:pt x="102" y="0"/>
                      </a:cubicBezTo>
                      <a:cubicBezTo>
                        <a:pt x="0" y="8"/>
                        <a:pt x="6" y="98"/>
                        <a:pt x="6" y="98"/>
                      </a:cubicBezTo>
                      <a:cubicBezTo>
                        <a:pt x="6" y="289"/>
                        <a:pt x="6" y="289"/>
                        <a:pt x="6" y="289"/>
                      </a:cubicBezTo>
                      <a:cubicBezTo>
                        <a:pt x="20" y="289"/>
                        <a:pt x="20" y="289"/>
                        <a:pt x="20" y="289"/>
                      </a:cubicBezTo>
                      <a:cubicBezTo>
                        <a:pt x="20" y="98"/>
                        <a:pt x="20" y="98"/>
                        <a:pt x="20" y="98"/>
                      </a:cubicBezTo>
                      <a:cubicBezTo>
                        <a:pt x="20" y="98"/>
                        <a:pt x="31" y="9"/>
                        <a:pt x="116" y="0"/>
                      </a:cubicBez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5" name="Freeform 681">
                  <a:extLst>
                    <a:ext uri="{FF2B5EF4-FFF2-40B4-BE49-F238E27FC236}">
                      <a16:creationId xmlns:a16="http://schemas.microsoft.com/office/drawing/2014/main" id="{78D6DA91-7FC3-4A68-A8C3-286EFDA915BC}"/>
                    </a:ext>
                  </a:extLst>
                </p:cNvPr>
                <p:cNvSpPr>
                  <a:spLocks/>
                </p:cNvSpPr>
                <p:nvPr userDrawn="1"/>
              </p:nvSpPr>
              <p:spPr bwMode="auto">
                <a:xfrm>
                  <a:off x="6364221" y="5662445"/>
                  <a:ext cx="599945" cy="954690"/>
                </a:xfrm>
                <a:custGeom>
                  <a:avLst/>
                  <a:gdLst>
                    <a:gd name="T0" fmla="*/ 171 w 182"/>
                    <a:gd name="T1" fmla="*/ 291 h 291"/>
                    <a:gd name="T2" fmla="*/ 121 w 182"/>
                    <a:gd name="T3" fmla="*/ 291 h 291"/>
                    <a:gd name="T4" fmla="*/ 107 w 182"/>
                    <a:gd name="T5" fmla="*/ 61 h 291"/>
                    <a:gd name="T6" fmla="*/ 0 w 182"/>
                    <a:gd name="T7" fmla="*/ 61 h 291"/>
                    <a:gd name="T8" fmla="*/ 0 w 182"/>
                    <a:gd name="T9" fmla="*/ 0 h 291"/>
                    <a:gd name="T10" fmla="*/ 152 w 182"/>
                    <a:gd name="T11" fmla="*/ 0 h 291"/>
                    <a:gd name="T12" fmla="*/ 182 w 182"/>
                    <a:gd name="T13" fmla="*/ 30 h 291"/>
                    <a:gd name="T14" fmla="*/ 171 w 182"/>
                    <a:gd name="T15" fmla="*/ 291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291">
                      <a:moveTo>
                        <a:pt x="171" y="291"/>
                      </a:moveTo>
                      <a:cubicBezTo>
                        <a:pt x="121" y="291"/>
                        <a:pt x="121" y="291"/>
                        <a:pt x="121" y="291"/>
                      </a:cubicBezTo>
                      <a:cubicBezTo>
                        <a:pt x="107" y="61"/>
                        <a:pt x="107" y="61"/>
                        <a:pt x="107" y="61"/>
                      </a:cubicBezTo>
                      <a:cubicBezTo>
                        <a:pt x="0" y="61"/>
                        <a:pt x="0" y="61"/>
                        <a:pt x="0" y="61"/>
                      </a:cubicBezTo>
                      <a:cubicBezTo>
                        <a:pt x="0" y="0"/>
                        <a:pt x="0" y="0"/>
                        <a:pt x="0" y="0"/>
                      </a:cubicBezTo>
                      <a:cubicBezTo>
                        <a:pt x="152" y="0"/>
                        <a:pt x="152" y="0"/>
                        <a:pt x="152" y="0"/>
                      </a:cubicBezTo>
                      <a:cubicBezTo>
                        <a:pt x="168" y="0"/>
                        <a:pt x="182" y="14"/>
                        <a:pt x="182" y="30"/>
                      </a:cubicBezTo>
                      <a:lnTo>
                        <a:pt x="171" y="291"/>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6" name="Freeform 682">
                  <a:extLst>
                    <a:ext uri="{FF2B5EF4-FFF2-40B4-BE49-F238E27FC236}">
                      <a16:creationId xmlns:a16="http://schemas.microsoft.com/office/drawing/2014/main" id="{30A422FB-3AFD-4C30-A026-DF08F16BDEB1}"/>
                    </a:ext>
                  </a:extLst>
                </p:cNvPr>
                <p:cNvSpPr>
                  <a:spLocks/>
                </p:cNvSpPr>
                <p:nvPr userDrawn="1"/>
              </p:nvSpPr>
              <p:spPr bwMode="auto">
                <a:xfrm>
                  <a:off x="6729405" y="5662445"/>
                  <a:ext cx="234761" cy="135639"/>
                </a:xfrm>
                <a:custGeom>
                  <a:avLst/>
                  <a:gdLst>
                    <a:gd name="T0" fmla="*/ 71 w 72"/>
                    <a:gd name="T1" fmla="*/ 41 h 41"/>
                    <a:gd name="T2" fmla="*/ 72 w 72"/>
                    <a:gd name="T3" fmla="*/ 30 h 41"/>
                    <a:gd name="T4" fmla="*/ 42 w 72"/>
                    <a:gd name="T5" fmla="*/ 0 h 41"/>
                    <a:gd name="T6" fmla="*/ 0 w 72"/>
                    <a:gd name="T7" fmla="*/ 0 h 41"/>
                    <a:gd name="T8" fmla="*/ 9 w 72"/>
                    <a:gd name="T9" fmla="*/ 15 h 41"/>
                    <a:gd name="T10" fmla="*/ 42 w 72"/>
                    <a:gd name="T11" fmla="*/ 15 h 41"/>
                    <a:gd name="T12" fmla="*/ 71 w 7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72" h="41">
                      <a:moveTo>
                        <a:pt x="71" y="41"/>
                      </a:moveTo>
                      <a:cubicBezTo>
                        <a:pt x="72" y="30"/>
                        <a:pt x="72" y="30"/>
                        <a:pt x="72" y="30"/>
                      </a:cubicBezTo>
                      <a:cubicBezTo>
                        <a:pt x="72" y="14"/>
                        <a:pt x="58" y="0"/>
                        <a:pt x="42" y="0"/>
                      </a:cubicBezTo>
                      <a:cubicBezTo>
                        <a:pt x="0" y="0"/>
                        <a:pt x="0" y="0"/>
                        <a:pt x="0" y="0"/>
                      </a:cubicBezTo>
                      <a:cubicBezTo>
                        <a:pt x="9" y="15"/>
                        <a:pt x="9" y="15"/>
                        <a:pt x="9" y="15"/>
                      </a:cubicBezTo>
                      <a:cubicBezTo>
                        <a:pt x="42" y="15"/>
                        <a:pt x="42" y="15"/>
                        <a:pt x="42" y="15"/>
                      </a:cubicBezTo>
                      <a:cubicBezTo>
                        <a:pt x="57" y="15"/>
                        <a:pt x="69" y="26"/>
                        <a:pt x="71" y="41"/>
                      </a:cubicBez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7" name="Freeform 683">
                  <a:extLst>
                    <a:ext uri="{FF2B5EF4-FFF2-40B4-BE49-F238E27FC236}">
                      <a16:creationId xmlns:a16="http://schemas.microsoft.com/office/drawing/2014/main" id="{1B494109-7053-4735-B1B8-4AE2616A5175}"/>
                    </a:ext>
                  </a:extLst>
                </p:cNvPr>
                <p:cNvSpPr>
                  <a:spLocks/>
                </p:cNvSpPr>
                <p:nvPr userDrawn="1"/>
              </p:nvSpPr>
              <p:spPr bwMode="auto">
                <a:xfrm>
                  <a:off x="6750274" y="6528447"/>
                  <a:ext cx="500824" cy="245193"/>
                </a:xfrm>
                <a:custGeom>
                  <a:avLst/>
                  <a:gdLst>
                    <a:gd name="T0" fmla="*/ 140 w 152"/>
                    <a:gd name="T1" fmla="*/ 36 h 75"/>
                    <a:gd name="T2" fmla="*/ 66 w 152"/>
                    <a:gd name="T3" fmla="*/ 1 h 75"/>
                    <a:gd name="T4" fmla="*/ 66 w 152"/>
                    <a:gd name="T5" fmla="*/ 1 h 75"/>
                    <a:gd name="T6" fmla="*/ 62 w 152"/>
                    <a:gd name="T7" fmla="*/ 0 h 75"/>
                    <a:gd name="T8" fmla="*/ 54 w 152"/>
                    <a:gd name="T9" fmla="*/ 6 h 75"/>
                    <a:gd name="T10" fmla="*/ 54 w 152"/>
                    <a:gd name="T11" fmla="*/ 6 h 75"/>
                    <a:gd name="T12" fmla="*/ 27 w 152"/>
                    <a:gd name="T13" fmla="*/ 25 h 75"/>
                    <a:gd name="T14" fmla="*/ 2 w 152"/>
                    <a:gd name="T15" fmla="*/ 9 h 75"/>
                    <a:gd name="T16" fmla="*/ 1 w 152"/>
                    <a:gd name="T17" fmla="*/ 62 h 75"/>
                    <a:gd name="T18" fmla="*/ 12 w 152"/>
                    <a:gd name="T19" fmla="*/ 72 h 75"/>
                    <a:gd name="T20" fmla="*/ 142 w 152"/>
                    <a:gd name="T21" fmla="*/ 74 h 75"/>
                    <a:gd name="T22" fmla="*/ 150 w 152"/>
                    <a:gd name="T23" fmla="*/ 65 h 75"/>
                    <a:gd name="T24" fmla="*/ 150 w 152"/>
                    <a:gd name="T25" fmla="*/ 48 h 75"/>
                    <a:gd name="T26" fmla="*/ 140 w 152"/>
                    <a:gd name="T27"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5">
                      <a:moveTo>
                        <a:pt x="140" y="36"/>
                      </a:moveTo>
                      <a:cubicBezTo>
                        <a:pt x="128" y="29"/>
                        <a:pt x="66" y="1"/>
                        <a:pt x="66" y="1"/>
                      </a:cubicBezTo>
                      <a:cubicBezTo>
                        <a:pt x="66" y="1"/>
                        <a:pt x="66" y="1"/>
                        <a:pt x="66" y="1"/>
                      </a:cubicBezTo>
                      <a:cubicBezTo>
                        <a:pt x="65" y="0"/>
                        <a:pt x="63" y="0"/>
                        <a:pt x="62" y="0"/>
                      </a:cubicBezTo>
                      <a:cubicBezTo>
                        <a:pt x="58" y="0"/>
                        <a:pt x="55" y="2"/>
                        <a:pt x="54" y="6"/>
                      </a:cubicBezTo>
                      <a:cubicBezTo>
                        <a:pt x="54" y="6"/>
                        <a:pt x="54" y="6"/>
                        <a:pt x="54" y="6"/>
                      </a:cubicBezTo>
                      <a:cubicBezTo>
                        <a:pt x="53" y="13"/>
                        <a:pt x="45" y="25"/>
                        <a:pt x="27" y="25"/>
                      </a:cubicBezTo>
                      <a:cubicBezTo>
                        <a:pt x="2" y="9"/>
                        <a:pt x="2" y="9"/>
                        <a:pt x="2" y="9"/>
                      </a:cubicBezTo>
                      <a:cubicBezTo>
                        <a:pt x="1" y="62"/>
                        <a:pt x="1" y="62"/>
                        <a:pt x="1" y="62"/>
                      </a:cubicBezTo>
                      <a:cubicBezTo>
                        <a:pt x="1" y="62"/>
                        <a:pt x="0" y="72"/>
                        <a:pt x="12" y="72"/>
                      </a:cubicBezTo>
                      <a:cubicBezTo>
                        <a:pt x="142" y="74"/>
                        <a:pt x="142" y="74"/>
                        <a:pt x="142" y="74"/>
                      </a:cubicBezTo>
                      <a:cubicBezTo>
                        <a:pt x="142" y="74"/>
                        <a:pt x="150" y="75"/>
                        <a:pt x="150" y="65"/>
                      </a:cubicBezTo>
                      <a:cubicBezTo>
                        <a:pt x="150" y="48"/>
                        <a:pt x="150" y="48"/>
                        <a:pt x="150" y="48"/>
                      </a:cubicBezTo>
                      <a:cubicBezTo>
                        <a:pt x="150" y="48"/>
                        <a:pt x="152" y="42"/>
                        <a:pt x="140"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8" name="Freeform 684">
                  <a:extLst>
                    <a:ext uri="{FF2B5EF4-FFF2-40B4-BE49-F238E27FC236}">
                      <a16:creationId xmlns:a16="http://schemas.microsoft.com/office/drawing/2014/main" id="{27AAF181-480B-4911-BF5C-82E895AE4058}"/>
                    </a:ext>
                  </a:extLst>
                </p:cNvPr>
                <p:cNvSpPr>
                  <a:spLocks/>
                </p:cNvSpPr>
                <p:nvPr userDrawn="1"/>
              </p:nvSpPr>
              <p:spPr bwMode="auto">
                <a:xfrm>
                  <a:off x="5623420" y="5605060"/>
                  <a:ext cx="1471170" cy="1074677"/>
                </a:xfrm>
                <a:custGeom>
                  <a:avLst/>
                  <a:gdLst>
                    <a:gd name="T0" fmla="*/ 353 w 445"/>
                    <a:gd name="T1" fmla="*/ 43 h 326"/>
                    <a:gd name="T2" fmla="*/ 317 w 445"/>
                    <a:gd name="T3" fmla="*/ 0 h 326"/>
                    <a:gd name="T4" fmla="*/ 257 w 445"/>
                    <a:gd name="T5" fmla="*/ 0 h 326"/>
                    <a:gd name="T6" fmla="*/ 0 w 445"/>
                    <a:gd name="T7" fmla="*/ 0 h 326"/>
                    <a:gd name="T8" fmla="*/ 0 w 445"/>
                    <a:gd name="T9" fmla="*/ 0 h 326"/>
                    <a:gd name="T10" fmla="*/ 74 w 445"/>
                    <a:gd name="T11" fmla="*/ 78 h 326"/>
                    <a:gd name="T12" fmla="*/ 74 w 445"/>
                    <a:gd name="T13" fmla="*/ 78 h 326"/>
                    <a:gd name="T14" fmla="*/ 280 w 445"/>
                    <a:gd name="T15" fmla="*/ 78 h 326"/>
                    <a:gd name="T16" fmla="*/ 386 w 445"/>
                    <a:gd name="T17" fmla="*/ 326 h 326"/>
                    <a:gd name="T18" fmla="*/ 445 w 445"/>
                    <a:gd name="T19" fmla="*/ 326 h 326"/>
                    <a:gd name="T20" fmla="*/ 353 w 445"/>
                    <a:gd name="T21" fmla="*/ 4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5" h="326">
                      <a:moveTo>
                        <a:pt x="353" y="43"/>
                      </a:moveTo>
                      <a:cubicBezTo>
                        <a:pt x="344" y="16"/>
                        <a:pt x="327" y="0"/>
                        <a:pt x="317" y="0"/>
                      </a:cubicBezTo>
                      <a:cubicBezTo>
                        <a:pt x="257" y="0"/>
                        <a:pt x="257" y="0"/>
                        <a:pt x="257" y="0"/>
                      </a:cubicBezTo>
                      <a:cubicBezTo>
                        <a:pt x="0" y="0"/>
                        <a:pt x="0" y="0"/>
                        <a:pt x="0" y="0"/>
                      </a:cubicBezTo>
                      <a:cubicBezTo>
                        <a:pt x="0" y="0"/>
                        <a:pt x="0" y="0"/>
                        <a:pt x="0" y="0"/>
                      </a:cubicBezTo>
                      <a:cubicBezTo>
                        <a:pt x="0" y="42"/>
                        <a:pt x="33" y="76"/>
                        <a:pt x="74" y="78"/>
                      </a:cubicBezTo>
                      <a:cubicBezTo>
                        <a:pt x="74" y="78"/>
                        <a:pt x="74" y="78"/>
                        <a:pt x="74" y="78"/>
                      </a:cubicBezTo>
                      <a:cubicBezTo>
                        <a:pt x="75" y="78"/>
                        <a:pt x="280" y="78"/>
                        <a:pt x="280" y="78"/>
                      </a:cubicBezTo>
                      <a:cubicBezTo>
                        <a:pt x="386" y="326"/>
                        <a:pt x="386" y="326"/>
                        <a:pt x="386" y="326"/>
                      </a:cubicBezTo>
                      <a:cubicBezTo>
                        <a:pt x="445" y="326"/>
                        <a:pt x="445" y="326"/>
                        <a:pt x="445" y="326"/>
                      </a:cubicBezTo>
                      <a:lnTo>
                        <a:pt x="353" y="43"/>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9" name="Freeform 685">
                  <a:extLst>
                    <a:ext uri="{FF2B5EF4-FFF2-40B4-BE49-F238E27FC236}">
                      <a16:creationId xmlns:a16="http://schemas.microsoft.com/office/drawing/2014/main" id="{FD27EB77-9CF7-4D25-809F-8660CED74986}"/>
                    </a:ext>
                  </a:extLst>
                </p:cNvPr>
                <p:cNvSpPr>
                  <a:spLocks/>
                </p:cNvSpPr>
                <p:nvPr userDrawn="1"/>
              </p:nvSpPr>
              <p:spPr bwMode="auto">
                <a:xfrm>
                  <a:off x="5732975" y="5813735"/>
                  <a:ext cx="1184238" cy="866002"/>
                </a:xfrm>
                <a:custGeom>
                  <a:avLst/>
                  <a:gdLst>
                    <a:gd name="T0" fmla="*/ 354 w 359"/>
                    <a:gd name="T1" fmla="*/ 263 h 263"/>
                    <a:gd name="T2" fmla="*/ 359 w 359"/>
                    <a:gd name="T3" fmla="*/ 263 h 263"/>
                    <a:gd name="T4" fmla="*/ 288 w 359"/>
                    <a:gd name="T5" fmla="*/ 43 h 263"/>
                    <a:gd name="T6" fmla="*/ 252 w 359"/>
                    <a:gd name="T7" fmla="*/ 0 h 263"/>
                    <a:gd name="T8" fmla="*/ 192 w 359"/>
                    <a:gd name="T9" fmla="*/ 0 h 263"/>
                    <a:gd name="T10" fmla="*/ 0 w 359"/>
                    <a:gd name="T11" fmla="*/ 0 h 263"/>
                    <a:gd name="T12" fmla="*/ 42 w 359"/>
                    <a:gd name="T13" fmla="*/ 15 h 263"/>
                    <a:gd name="T14" fmla="*/ 42 w 359"/>
                    <a:gd name="T15" fmla="*/ 15 h 263"/>
                    <a:gd name="T16" fmla="*/ 248 w 359"/>
                    <a:gd name="T17" fmla="*/ 15 h 263"/>
                    <a:gd name="T18" fmla="*/ 354 w 359"/>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9" h="263">
                      <a:moveTo>
                        <a:pt x="354" y="263"/>
                      </a:moveTo>
                      <a:cubicBezTo>
                        <a:pt x="359" y="263"/>
                        <a:pt x="359" y="263"/>
                        <a:pt x="359" y="263"/>
                      </a:cubicBezTo>
                      <a:cubicBezTo>
                        <a:pt x="288" y="43"/>
                        <a:pt x="288" y="43"/>
                        <a:pt x="288" y="43"/>
                      </a:cubicBezTo>
                      <a:cubicBezTo>
                        <a:pt x="279" y="15"/>
                        <a:pt x="262" y="0"/>
                        <a:pt x="252" y="0"/>
                      </a:cubicBezTo>
                      <a:cubicBezTo>
                        <a:pt x="192" y="0"/>
                        <a:pt x="192" y="0"/>
                        <a:pt x="192" y="0"/>
                      </a:cubicBezTo>
                      <a:cubicBezTo>
                        <a:pt x="0" y="0"/>
                        <a:pt x="0" y="0"/>
                        <a:pt x="0" y="0"/>
                      </a:cubicBezTo>
                      <a:cubicBezTo>
                        <a:pt x="12" y="9"/>
                        <a:pt x="26" y="14"/>
                        <a:pt x="42" y="15"/>
                      </a:cubicBezTo>
                      <a:cubicBezTo>
                        <a:pt x="42" y="15"/>
                        <a:pt x="42" y="15"/>
                        <a:pt x="42" y="15"/>
                      </a:cubicBezTo>
                      <a:cubicBezTo>
                        <a:pt x="43" y="15"/>
                        <a:pt x="248" y="15"/>
                        <a:pt x="248" y="15"/>
                      </a:cubicBezTo>
                      <a:lnTo>
                        <a:pt x="354" y="263"/>
                      </a:ln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0" name="Freeform 686">
                  <a:extLst>
                    <a:ext uri="{FF2B5EF4-FFF2-40B4-BE49-F238E27FC236}">
                      <a16:creationId xmlns:a16="http://schemas.microsoft.com/office/drawing/2014/main" id="{7B801B11-A929-452D-B3DD-DFF12FEF4241}"/>
                    </a:ext>
                  </a:extLst>
                </p:cNvPr>
                <p:cNvSpPr>
                  <a:spLocks/>
                </p:cNvSpPr>
                <p:nvPr userDrawn="1"/>
              </p:nvSpPr>
              <p:spPr bwMode="auto">
                <a:xfrm>
                  <a:off x="6859829" y="6564966"/>
                  <a:ext cx="506040" cy="250410"/>
                </a:xfrm>
                <a:custGeom>
                  <a:avLst/>
                  <a:gdLst>
                    <a:gd name="T0" fmla="*/ 141 w 153"/>
                    <a:gd name="T1" fmla="*/ 36 h 76"/>
                    <a:gd name="T2" fmla="*/ 66 w 153"/>
                    <a:gd name="T3" fmla="*/ 1 h 76"/>
                    <a:gd name="T4" fmla="*/ 66 w 153"/>
                    <a:gd name="T5" fmla="*/ 1 h 76"/>
                    <a:gd name="T6" fmla="*/ 62 w 153"/>
                    <a:gd name="T7" fmla="*/ 0 h 76"/>
                    <a:gd name="T8" fmla="*/ 55 w 153"/>
                    <a:gd name="T9" fmla="*/ 7 h 76"/>
                    <a:gd name="T10" fmla="*/ 54 w 153"/>
                    <a:gd name="T11" fmla="*/ 7 h 76"/>
                    <a:gd name="T12" fmla="*/ 28 w 153"/>
                    <a:gd name="T13" fmla="*/ 26 h 76"/>
                    <a:gd name="T14" fmla="*/ 2 w 153"/>
                    <a:gd name="T15" fmla="*/ 10 h 76"/>
                    <a:gd name="T16" fmla="*/ 2 w 153"/>
                    <a:gd name="T17" fmla="*/ 63 h 76"/>
                    <a:gd name="T18" fmla="*/ 12 w 153"/>
                    <a:gd name="T19" fmla="*/ 73 h 76"/>
                    <a:gd name="T20" fmla="*/ 142 w 153"/>
                    <a:gd name="T21" fmla="*/ 74 h 76"/>
                    <a:gd name="T22" fmla="*/ 151 w 153"/>
                    <a:gd name="T23" fmla="*/ 66 h 76"/>
                    <a:gd name="T24" fmla="*/ 151 w 153"/>
                    <a:gd name="T25" fmla="*/ 49 h 76"/>
                    <a:gd name="T26" fmla="*/ 141 w 153"/>
                    <a:gd name="T27"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76">
                      <a:moveTo>
                        <a:pt x="141" y="36"/>
                      </a:moveTo>
                      <a:cubicBezTo>
                        <a:pt x="128" y="30"/>
                        <a:pt x="66" y="1"/>
                        <a:pt x="66" y="1"/>
                      </a:cubicBezTo>
                      <a:cubicBezTo>
                        <a:pt x="66" y="1"/>
                        <a:pt x="66" y="1"/>
                        <a:pt x="66" y="1"/>
                      </a:cubicBezTo>
                      <a:cubicBezTo>
                        <a:pt x="65" y="1"/>
                        <a:pt x="64" y="0"/>
                        <a:pt x="62" y="0"/>
                      </a:cubicBezTo>
                      <a:cubicBezTo>
                        <a:pt x="59" y="0"/>
                        <a:pt x="55" y="3"/>
                        <a:pt x="55" y="7"/>
                      </a:cubicBezTo>
                      <a:cubicBezTo>
                        <a:pt x="54" y="7"/>
                        <a:pt x="54" y="7"/>
                        <a:pt x="54" y="7"/>
                      </a:cubicBezTo>
                      <a:cubicBezTo>
                        <a:pt x="53" y="14"/>
                        <a:pt x="46" y="26"/>
                        <a:pt x="28" y="26"/>
                      </a:cubicBezTo>
                      <a:cubicBezTo>
                        <a:pt x="2" y="10"/>
                        <a:pt x="2" y="10"/>
                        <a:pt x="2" y="10"/>
                      </a:cubicBezTo>
                      <a:cubicBezTo>
                        <a:pt x="2" y="63"/>
                        <a:pt x="2" y="63"/>
                        <a:pt x="2" y="63"/>
                      </a:cubicBezTo>
                      <a:cubicBezTo>
                        <a:pt x="2" y="63"/>
                        <a:pt x="0" y="73"/>
                        <a:pt x="12" y="73"/>
                      </a:cubicBezTo>
                      <a:cubicBezTo>
                        <a:pt x="142" y="74"/>
                        <a:pt x="142" y="74"/>
                        <a:pt x="142" y="74"/>
                      </a:cubicBezTo>
                      <a:cubicBezTo>
                        <a:pt x="142" y="74"/>
                        <a:pt x="150" y="76"/>
                        <a:pt x="151" y="66"/>
                      </a:cubicBezTo>
                      <a:cubicBezTo>
                        <a:pt x="151" y="49"/>
                        <a:pt x="151" y="49"/>
                        <a:pt x="151" y="49"/>
                      </a:cubicBezTo>
                      <a:cubicBezTo>
                        <a:pt x="151" y="49"/>
                        <a:pt x="153" y="43"/>
                        <a:pt x="141"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1" name="Freeform 692">
                  <a:extLst>
                    <a:ext uri="{FF2B5EF4-FFF2-40B4-BE49-F238E27FC236}">
                      <a16:creationId xmlns:a16="http://schemas.microsoft.com/office/drawing/2014/main" id="{A5FB1AF2-21C9-455B-A172-CCAFEE00AE90}"/>
                    </a:ext>
                  </a:extLst>
                </p:cNvPr>
                <p:cNvSpPr>
                  <a:spLocks/>
                </p:cNvSpPr>
                <p:nvPr userDrawn="1"/>
              </p:nvSpPr>
              <p:spPr bwMode="auto">
                <a:xfrm>
                  <a:off x="6197280" y="5250311"/>
                  <a:ext cx="307798" cy="151290"/>
                </a:xfrm>
                <a:custGeom>
                  <a:avLst/>
                  <a:gdLst>
                    <a:gd name="T0" fmla="*/ 88 w 93"/>
                    <a:gd name="T1" fmla="*/ 36 h 46"/>
                    <a:gd name="T2" fmla="*/ 87 w 93"/>
                    <a:gd name="T3" fmla="*/ 36 h 46"/>
                    <a:gd name="T4" fmla="*/ 88 w 93"/>
                    <a:gd name="T5" fmla="*/ 39 h 46"/>
                    <a:gd name="T6" fmla="*/ 85 w 93"/>
                    <a:gd name="T7" fmla="*/ 46 h 46"/>
                    <a:gd name="T8" fmla="*/ 4 w 93"/>
                    <a:gd name="T9" fmla="*/ 46 h 46"/>
                    <a:gd name="T10" fmla="*/ 0 w 93"/>
                    <a:gd name="T11" fmla="*/ 2 h 46"/>
                    <a:gd name="T12" fmla="*/ 28 w 93"/>
                    <a:gd name="T13" fmla="*/ 1 h 46"/>
                    <a:gd name="T14" fmla="*/ 65 w 93"/>
                    <a:gd name="T15" fmla="*/ 1 h 46"/>
                    <a:gd name="T16" fmla="*/ 83 w 93"/>
                    <a:gd name="T17" fmla="*/ 8 h 46"/>
                    <a:gd name="T18" fmla="*/ 90 w 93"/>
                    <a:gd name="T19" fmla="*/ 18 h 46"/>
                    <a:gd name="T20" fmla="*/ 88 w 93"/>
                    <a:gd name="T21"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46">
                      <a:moveTo>
                        <a:pt x="88" y="36"/>
                      </a:moveTo>
                      <a:cubicBezTo>
                        <a:pt x="87" y="36"/>
                        <a:pt x="87" y="36"/>
                        <a:pt x="87" y="36"/>
                      </a:cubicBezTo>
                      <a:cubicBezTo>
                        <a:pt x="88" y="37"/>
                        <a:pt x="88" y="38"/>
                        <a:pt x="88" y="39"/>
                      </a:cubicBezTo>
                      <a:cubicBezTo>
                        <a:pt x="88" y="42"/>
                        <a:pt x="87" y="44"/>
                        <a:pt x="85" y="46"/>
                      </a:cubicBezTo>
                      <a:cubicBezTo>
                        <a:pt x="4" y="46"/>
                        <a:pt x="4" y="46"/>
                        <a:pt x="4" y="46"/>
                      </a:cubicBezTo>
                      <a:cubicBezTo>
                        <a:pt x="0" y="2"/>
                        <a:pt x="0" y="2"/>
                        <a:pt x="0" y="2"/>
                      </a:cubicBezTo>
                      <a:cubicBezTo>
                        <a:pt x="28" y="1"/>
                        <a:pt x="28" y="1"/>
                        <a:pt x="28" y="1"/>
                      </a:cubicBezTo>
                      <a:cubicBezTo>
                        <a:pt x="44" y="0"/>
                        <a:pt x="56" y="0"/>
                        <a:pt x="65" y="1"/>
                      </a:cubicBezTo>
                      <a:cubicBezTo>
                        <a:pt x="83" y="8"/>
                        <a:pt x="83" y="8"/>
                        <a:pt x="83" y="8"/>
                      </a:cubicBezTo>
                      <a:cubicBezTo>
                        <a:pt x="88" y="9"/>
                        <a:pt x="91" y="13"/>
                        <a:pt x="90" y="18"/>
                      </a:cubicBezTo>
                      <a:cubicBezTo>
                        <a:pt x="90" y="18"/>
                        <a:pt x="93" y="36"/>
                        <a:pt x="88" y="36"/>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2" name="Freeform 693">
                  <a:extLst>
                    <a:ext uri="{FF2B5EF4-FFF2-40B4-BE49-F238E27FC236}">
                      <a16:creationId xmlns:a16="http://schemas.microsoft.com/office/drawing/2014/main" id="{76E0B165-A925-4AD0-B98C-637535B07688}"/>
                    </a:ext>
                  </a:extLst>
                </p:cNvPr>
                <p:cNvSpPr>
                  <a:spLocks/>
                </p:cNvSpPr>
                <p:nvPr userDrawn="1"/>
              </p:nvSpPr>
              <p:spPr bwMode="auto">
                <a:xfrm>
                  <a:off x="5665155" y="4739057"/>
                  <a:ext cx="631246" cy="667760"/>
                </a:xfrm>
                <a:custGeom>
                  <a:avLst/>
                  <a:gdLst>
                    <a:gd name="T0" fmla="*/ 74 w 191"/>
                    <a:gd name="T1" fmla="*/ 142 h 203"/>
                    <a:gd name="T2" fmla="*/ 58 w 191"/>
                    <a:gd name="T3" fmla="*/ 36 h 203"/>
                    <a:gd name="T4" fmla="*/ 33 w 191"/>
                    <a:gd name="T5" fmla="*/ 3 h 203"/>
                    <a:gd name="T6" fmla="*/ 0 w 191"/>
                    <a:gd name="T7" fmla="*/ 27 h 203"/>
                    <a:gd name="T8" fmla="*/ 12 w 191"/>
                    <a:gd name="T9" fmla="*/ 168 h 203"/>
                    <a:gd name="T10" fmla="*/ 19 w 191"/>
                    <a:gd name="T11" fmla="*/ 192 h 203"/>
                    <a:gd name="T12" fmla="*/ 22 w 191"/>
                    <a:gd name="T13" fmla="*/ 195 h 203"/>
                    <a:gd name="T14" fmla="*/ 42 w 191"/>
                    <a:gd name="T15" fmla="*/ 202 h 203"/>
                    <a:gd name="T16" fmla="*/ 191 w 191"/>
                    <a:gd name="T17" fmla="*/ 203 h 203"/>
                    <a:gd name="T18" fmla="*/ 191 w 191"/>
                    <a:gd name="T19" fmla="*/ 151 h 203"/>
                    <a:gd name="T20" fmla="*/ 75 w 191"/>
                    <a:gd name="T21" fmla="*/ 14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203">
                      <a:moveTo>
                        <a:pt x="74" y="142"/>
                      </a:moveTo>
                      <a:cubicBezTo>
                        <a:pt x="58" y="36"/>
                        <a:pt x="58" y="36"/>
                        <a:pt x="58" y="36"/>
                      </a:cubicBezTo>
                      <a:cubicBezTo>
                        <a:pt x="60" y="20"/>
                        <a:pt x="49" y="5"/>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cubicBezTo>
                        <a:pt x="42" y="202"/>
                        <a:pt x="190" y="203"/>
                        <a:pt x="191" y="203"/>
                      </a:cubicBezTo>
                      <a:cubicBezTo>
                        <a:pt x="191" y="151"/>
                        <a:pt x="191" y="151"/>
                        <a:pt x="191" y="151"/>
                      </a:cubicBezTo>
                      <a:cubicBezTo>
                        <a:pt x="75" y="143"/>
                        <a:pt x="75" y="143"/>
                        <a:pt x="75" y="143"/>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3" name="Freeform 694">
                  <a:extLst>
                    <a:ext uri="{FF2B5EF4-FFF2-40B4-BE49-F238E27FC236}">
                      <a16:creationId xmlns:a16="http://schemas.microsoft.com/office/drawing/2014/main" id="{F30C2E6E-5041-42A8-87B4-0A41332C1943}"/>
                    </a:ext>
                  </a:extLst>
                </p:cNvPr>
                <p:cNvSpPr>
                  <a:spLocks/>
                </p:cNvSpPr>
                <p:nvPr userDrawn="1"/>
              </p:nvSpPr>
              <p:spPr bwMode="auto">
                <a:xfrm>
                  <a:off x="5696457" y="5286830"/>
                  <a:ext cx="599945" cy="119989"/>
                </a:xfrm>
                <a:custGeom>
                  <a:avLst/>
                  <a:gdLst>
                    <a:gd name="T0" fmla="*/ 180 w 181"/>
                    <a:gd name="T1" fmla="*/ 26 h 36"/>
                    <a:gd name="T2" fmla="*/ 32 w 181"/>
                    <a:gd name="T3" fmla="*/ 25 h 36"/>
                    <a:gd name="T4" fmla="*/ 12 w 181"/>
                    <a:gd name="T5" fmla="*/ 18 h 36"/>
                    <a:gd name="T6" fmla="*/ 9 w 181"/>
                    <a:gd name="T7" fmla="*/ 15 h 36"/>
                    <a:gd name="T8" fmla="*/ 2 w 181"/>
                    <a:gd name="T9" fmla="*/ 0 h 36"/>
                    <a:gd name="T10" fmla="*/ 2 w 181"/>
                    <a:gd name="T11" fmla="*/ 0 h 36"/>
                    <a:gd name="T12" fmla="*/ 2 w 181"/>
                    <a:gd name="T13" fmla="*/ 1 h 36"/>
                    <a:gd name="T14" fmla="*/ 9 w 181"/>
                    <a:gd name="T15" fmla="*/ 25 h 36"/>
                    <a:gd name="T16" fmla="*/ 12 w 181"/>
                    <a:gd name="T17" fmla="*/ 28 h 36"/>
                    <a:gd name="T18" fmla="*/ 32 w 181"/>
                    <a:gd name="T19" fmla="*/ 35 h 36"/>
                    <a:gd name="T20" fmla="*/ 181 w 181"/>
                    <a:gd name="T21" fmla="*/ 36 h 36"/>
                    <a:gd name="T22" fmla="*/ 180 w 181"/>
                    <a:gd name="T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1" h="36">
                      <a:moveTo>
                        <a:pt x="180" y="26"/>
                      </a:moveTo>
                      <a:cubicBezTo>
                        <a:pt x="170" y="26"/>
                        <a:pt x="32" y="25"/>
                        <a:pt x="32" y="25"/>
                      </a:cubicBezTo>
                      <a:cubicBezTo>
                        <a:pt x="24" y="25"/>
                        <a:pt x="17" y="22"/>
                        <a:pt x="12" y="18"/>
                      </a:cubicBezTo>
                      <a:cubicBezTo>
                        <a:pt x="11" y="17"/>
                        <a:pt x="10" y="16"/>
                        <a:pt x="9" y="15"/>
                      </a:cubicBezTo>
                      <a:cubicBezTo>
                        <a:pt x="5" y="11"/>
                        <a:pt x="3" y="6"/>
                        <a:pt x="2" y="0"/>
                      </a:cubicBezTo>
                      <a:cubicBezTo>
                        <a:pt x="2" y="0"/>
                        <a:pt x="2" y="0"/>
                        <a:pt x="2" y="0"/>
                      </a:cubicBezTo>
                      <a:cubicBezTo>
                        <a:pt x="2" y="1"/>
                        <a:pt x="2" y="1"/>
                        <a:pt x="2" y="1"/>
                      </a:cubicBezTo>
                      <a:cubicBezTo>
                        <a:pt x="0" y="10"/>
                        <a:pt x="3" y="19"/>
                        <a:pt x="9" y="25"/>
                      </a:cubicBezTo>
                      <a:cubicBezTo>
                        <a:pt x="10" y="26"/>
                        <a:pt x="11" y="27"/>
                        <a:pt x="12" y="28"/>
                      </a:cubicBezTo>
                      <a:cubicBezTo>
                        <a:pt x="17" y="32"/>
                        <a:pt x="24" y="35"/>
                        <a:pt x="32" y="35"/>
                      </a:cubicBezTo>
                      <a:cubicBezTo>
                        <a:pt x="32" y="35"/>
                        <a:pt x="180" y="36"/>
                        <a:pt x="181" y="36"/>
                      </a:cubicBezTo>
                      <a:lnTo>
                        <a:pt x="180" y="26"/>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4" name="Freeform 695">
                  <a:extLst>
                    <a:ext uri="{FF2B5EF4-FFF2-40B4-BE49-F238E27FC236}">
                      <a16:creationId xmlns:a16="http://schemas.microsoft.com/office/drawing/2014/main" id="{5199BE04-749F-4FF2-BB18-D3C2F4DCF16B}"/>
                    </a:ext>
                  </a:extLst>
                </p:cNvPr>
                <p:cNvSpPr>
                  <a:spLocks/>
                </p:cNvSpPr>
                <p:nvPr userDrawn="1"/>
              </p:nvSpPr>
              <p:spPr bwMode="auto">
                <a:xfrm>
                  <a:off x="5665155" y="4739057"/>
                  <a:ext cx="166941" cy="662544"/>
                </a:xfrm>
                <a:custGeom>
                  <a:avLst/>
                  <a:gdLst>
                    <a:gd name="T0" fmla="*/ 51 w 51"/>
                    <a:gd name="T1" fmla="*/ 202 h 202"/>
                    <a:gd name="T2" fmla="*/ 31 w 51"/>
                    <a:gd name="T3" fmla="*/ 195 h 202"/>
                    <a:gd name="T4" fmla="*/ 28 w 51"/>
                    <a:gd name="T5" fmla="*/ 192 h 202"/>
                    <a:gd name="T6" fmla="*/ 21 w 51"/>
                    <a:gd name="T7" fmla="*/ 168 h 202"/>
                    <a:gd name="T8" fmla="*/ 9 w 51"/>
                    <a:gd name="T9" fmla="*/ 27 h 202"/>
                    <a:gd name="T10" fmla="*/ 33 w 51"/>
                    <a:gd name="T11" fmla="*/ 3 h 202"/>
                    <a:gd name="T12" fmla="*/ 33 w 51"/>
                    <a:gd name="T13" fmla="*/ 3 h 202"/>
                    <a:gd name="T14" fmla="*/ 0 w 51"/>
                    <a:gd name="T15" fmla="*/ 27 h 202"/>
                    <a:gd name="T16" fmla="*/ 12 w 51"/>
                    <a:gd name="T17" fmla="*/ 168 h 202"/>
                    <a:gd name="T18" fmla="*/ 19 w 51"/>
                    <a:gd name="T19" fmla="*/ 192 h 202"/>
                    <a:gd name="T20" fmla="*/ 22 w 51"/>
                    <a:gd name="T21" fmla="*/ 195 h 202"/>
                    <a:gd name="T22" fmla="*/ 42 w 51"/>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202">
                      <a:moveTo>
                        <a:pt x="51" y="202"/>
                      </a:moveTo>
                      <a:cubicBezTo>
                        <a:pt x="44" y="202"/>
                        <a:pt x="37" y="199"/>
                        <a:pt x="31" y="195"/>
                      </a:cubicBezTo>
                      <a:cubicBezTo>
                        <a:pt x="30" y="194"/>
                        <a:pt x="29" y="193"/>
                        <a:pt x="28" y="192"/>
                      </a:cubicBezTo>
                      <a:cubicBezTo>
                        <a:pt x="23" y="186"/>
                        <a:pt x="20" y="177"/>
                        <a:pt x="21" y="168"/>
                      </a:cubicBezTo>
                      <a:cubicBezTo>
                        <a:pt x="9" y="27"/>
                        <a:pt x="9" y="27"/>
                        <a:pt x="9" y="27"/>
                      </a:cubicBezTo>
                      <a:cubicBezTo>
                        <a:pt x="11" y="14"/>
                        <a:pt x="21" y="5"/>
                        <a:pt x="33" y="3"/>
                      </a:cubicBezTo>
                      <a:cubicBezTo>
                        <a:pt x="33" y="3"/>
                        <a:pt x="33" y="3"/>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path>
                  </a:pathLst>
                </a:custGeom>
                <a:solidFill>
                  <a:srgbClr val="654F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5" name="Freeform 696">
                  <a:extLst>
                    <a:ext uri="{FF2B5EF4-FFF2-40B4-BE49-F238E27FC236}">
                      <a16:creationId xmlns:a16="http://schemas.microsoft.com/office/drawing/2014/main" id="{AC0BCC7D-8EDB-4246-9BF7-E90C842F4BDC}"/>
                    </a:ext>
                  </a:extLst>
                </p:cNvPr>
                <p:cNvSpPr>
                  <a:spLocks/>
                </p:cNvSpPr>
                <p:nvPr userDrawn="1"/>
              </p:nvSpPr>
              <p:spPr bwMode="auto">
                <a:xfrm>
                  <a:off x="5936434" y="4488647"/>
                  <a:ext cx="182592" cy="302579"/>
                </a:xfrm>
                <a:custGeom>
                  <a:avLst/>
                  <a:gdLst>
                    <a:gd name="T0" fmla="*/ 0 w 55"/>
                    <a:gd name="T1" fmla="*/ 0 h 92"/>
                    <a:gd name="T2" fmla="*/ 0 w 55"/>
                    <a:gd name="T3" fmla="*/ 65 h 92"/>
                    <a:gd name="T4" fmla="*/ 27 w 55"/>
                    <a:gd name="T5" fmla="*/ 92 h 92"/>
                    <a:gd name="T6" fmla="*/ 55 w 55"/>
                    <a:gd name="T7" fmla="*/ 65 h 92"/>
                    <a:gd name="T8" fmla="*/ 55 w 55"/>
                    <a:gd name="T9" fmla="*/ 0 h 92"/>
                    <a:gd name="T10" fmla="*/ 0 w 55"/>
                    <a:gd name="T11" fmla="*/ 0 h 92"/>
                  </a:gdLst>
                  <a:ahLst/>
                  <a:cxnLst>
                    <a:cxn ang="0">
                      <a:pos x="T0" y="T1"/>
                    </a:cxn>
                    <a:cxn ang="0">
                      <a:pos x="T2" y="T3"/>
                    </a:cxn>
                    <a:cxn ang="0">
                      <a:pos x="T4" y="T5"/>
                    </a:cxn>
                    <a:cxn ang="0">
                      <a:pos x="T6" y="T7"/>
                    </a:cxn>
                    <a:cxn ang="0">
                      <a:pos x="T8" y="T9"/>
                    </a:cxn>
                    <a:cxn ang="0">
                      <a:pos x="T10" y="T11"/>
                    </a:cxn>
                  </a:cxnLst>
                  <a:rect l="0" t="0" r="r" b="b"/>
                  <a:pathLst>
                    <a:path w="55" h="92">
                      <a:moveTo>
                        <a:pt x="0" y="0"/>
                      </a:moveTo>
                      <a:cubicBezTo>
                        <a:pt x="0" y="65"/>
                        <a:pt x="0" y="65"/>
                        <a:pt x="0" y="65"/>
                      </a:cubicBezTo>
                      <a:cubicBezTo>
                        <a:pt x="0" y="80"/>
                        <a:pt x="12" y="92"/>
                        <a:pt x="27" y="92"/>
                      </a:cubicBezTo>
                      <a:cubicBezTo>
                        <a:pt x="42" y="92"/>
                        <a:pt x="55" y="80"/>
                        <a:pt x="55" y="65"/>
                      </a:cubicBezTo>
                      <a:cubicBezTo>
                        <a:pt x="55" y="0"/>
                        <a:pt x="55" y="0"/>
                        <a:pt x="55"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6" name="Freeform 697">
                  <a:extLst>
                    <a:ext uri="{FF2B5EF4-FFF2-40B4-BE49-F238E27FC236}">
                      <a16:creationId xmlns:a16="http://schemas.microsoft.com/office/drawing/2014/main" id="{D9BFEBE9-D9D7-4277-9FBB-B75A53E96946}"/>
                    </a:ext>
                  </a:extLst>
                </p:cNvPr>
                <p:cNvSpPr>
                  <a:spLocks/>
                </p:cNvSpPr>
                <p:nvPr userDrawn="1"/>
              </p:nvSpPr>
              <p:spPr bwMode="auto">
                <a:xfrm>
                  <a:off x="5706891" y="3951308"/>
                  <a:ext cx="631246" cy="626025"/>
                </a:xfrm>
                <a:custGeom>
                  <a:avLst/>
                  <a:gdLst>
                    <a:gd name="T0" fmla="*/ 189 w 191"/>
                    <a:gd name="T1" fmla="*/ 99 h 191"/>
                    <a:gd name="T2" fmla="*/ 92 w 191"/>
                    <a:gd name="T3" fmla="*/ 189 h 191"/>
                    <a:gd name="T4" fmla="*/ 2 w 191"/>
                    <a:gd name="T5" fmla="*/ 92 h 191"/>
                    <a:gd name="T6" fmla="*/ 99 w 191"/>
                    <a:gd name="T7" fmla="*/ 2 h 191"/>
                    <a:gd name="T8" fmla="*/ 189 w 191"/>
                    <a:gd name="T9" fmla="*/ 99 h 191"/>
                  </a:gdLst>
                  <a:ahLst/>
                  <a:cxnLst>
                    <a:cxn ang="0">
                      <a:pos x="T0" y="T1"/>
                    </a:cxn>
                    <a:cxn ang="0">
                      <a:pos x="T2" y="T3"/>
                    </a:cxn>
                    <a:cxn ang="0">
                      <a:pos x="T4" y="T5"/>
                    </a:cxn>
                    <a:cxn ang="0">
                      <a:pos x="T6" y="T7"/>
                    </a:cxn>
                    <a:cxn ang="0">
                      <a:pos x="T8" y="T9"/>
                    </a:cxn>
                  </a:cxnLst>
                  <a:rect l="0" t="0" r="r" b="b"/>
                  <a:pathLst>
                    <a:path w="191" h="191">
                      <a:moveTo>
                        <a:pt x="189" y="99"/>
                      </a:moveTo>
                      <a:cubicBezTo>
                        <a:pt x="187" y="151"/>
                        <a:pt x="143" y="191"/>
                        <a:pt x="92" y="189"/>
                      </a:cubicBezTo>
                      <a:cubicBezTo>
                        <a:pt x="40" y="187"/>
                        <a:pt x="0" y="144"/>
                        <a:pt x="2" y="92"/>
                      </a:cubicBezTo>
                      <a:cubicBezTo>
                        <a:pt x="3" y="40"/>
                        <a:pt x="47" y="0"/>
                        <a:pt x="99" y="2"/>
                      </a:cubicBezTo>
                      <a:cubicBezTo>
                        <a:pt x="150" y="4"/>
                        <a:pt x="191" y="47"/>
                        <a:pt x="189" y="99"/>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7" name="Oval 698">
                  <a:extLst>
                    <a:ext uri="{FF2B5EF4-FFF2-40B4-BE49-F238E27FC236}">
                      <a16:creationId xmlns:a16="http://schemas.microsoft.com/office/drawing/2014/main" id="{7AEEF257-17AD-4A12-9277-4BBE5A778FDA}"/>
                    </a:ext>
                  </a:extLst>
                </p:cNvPr>
                <p:cNvSpPr>
                  <a:spLocks noChangeArrowheads="1"/>
                </p:cNvSpPr>
                <p:nvPr userDrawn="1"/>
              </p:nvSpPr>
              <p:spPr bwMode="auto">
                <a:xfrm>
                  <a:off x="5748626" y="4285189"/>
                  <a:ext cx="119989" cy="119989"/>
                </a:xfrm>
                <a:prstGeom prst="ellipse">
                  <a:avLst/>
                </a:pr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8" name="Freeform 699">
                  <a:extLst>
                    <a:ext uri="{FF2B5EF4-FFF2-40B4-BE49-F238E27FC236}">
                      <a16:creationId xmlns:a16="http://schemas.microsoft.com/office/drawing/2014/main" id="{E5FF19E0-1E25-46D5-AF35-A65F8C17316F}"/>
                    </a:ext>
                  </a:extLst>
                </p:cNvPr>
                <p:cNvSpPr>
                  <a:spLocks/>
                </p:cNvSpPr>
                <p:nvPr userDrawn="1"/>
              </p:nvSpPr>
              <p:spPr bwMode="auto">
                <a:xfrm>
                  <a:off x="5748626" y="4285189"/>
                  <a:ext cx="119989" cy="99120"/>
                </a:xfrm>
                <a:custGeom>
                  <a:avLst/>
                  <a:gdLst>
                    <a:gd name="T0" fmla="*/ 22 w 36"/>
                    <a:gd name="T1" fmla="*/ 4 h 30"/>
                    <a:gd name="T2" fmla="*/ 3 w 36"/>
                    <a:gd name="T3" fmla="*/ 22 h 30"/>
                    <a:gd name="T4" fmla="*/ 4 w 36"/>
                    <a:gd name="T5" fmla="*/ 30 h 30"/>
                    <a:gd name="T6" fmla="*/ 0 w 36"/>
                    <a:gd name="T7" fmla="*/ 18 h 30"/>
                    <a:gd name="T8" fmla="*/ 19 w 36"/>
                    <a:gd name="T9" fmla="*/ 0 h 30"/>
                    <a:gd name="T10" fmla="*/ 36 w 36"/>
                    <a:gd name="T11" fmla="*/ 11 h 30"/>
                    <a:gd name="T12" fmla="*/ 22 w 36"/>
                    <a:gd name="T13" fmla="*/ 4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22" y="4"/>
                      </a:moveTo>
                      <a:cubicBezTo>
                        <a:pt x="11" y="4"/>
                        <a:pt x="3" y="12"/>
                        <a:pt x="3" y="22"/>
                      </a:cubicBezTo>
                      <a:cubicBezTo>
                        <a:pt x="3" y="25"/>
                        <a:pt x="3" y="27"/>
                        <a:pt x="4" y="30"/>
                      </a:cubicBezTo>
                      <a:cubicBezTo>
                        <a:pt x="2" y="26"/>
                        <a:pt x="0" y="22"/>
                        <a:pt x="0" y="18"/>
                      </a:cubicBezTo>
                      <a:cubicBezTo>
                        <a:pt x="0" y="8"/>
                        <a:pt x="9" y="0"/>
                        <a:pt x="19" y="0"/>
                      </a:cubicBezTo>
                      <a:cubicBezTo>
                        <a:pt x="27" y="0"/>
                        <a:pt x="33" y="4"/>
                        <a:pt x="36" y="11"/>
                      </a:cubicBezTo>
                      <a:cubicBezTo>
                        <a:pt x="33" y="7"/>
                        <a:pt x="27" y="4"/>
                        <a:pt x="22" y="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9" name="Freeform 700">
                  <a:extLst>
                    <a:ext uri="{FF2B5EF4-FFF2-40B4-BE49-F238E27FC236}">
                      <a16:creationId xmlns:a16="http://schemas.microsoft.com/office/drawing/2014/main" id="{7AD3EB3F-038E-48EF-99D3-7DB6CA2CE120}"/>
                    </a:ext>
                  </a:extLst>
                </p:cNvPr>
                <p:cNvSpPr>
                  <a:spLocks/>
                </p:cNvSpPr>
                <p:nvPr userDrawn="1"/>
              </p:nvSpPr>
              <p:spPr bwMode="auto">
                <a:xfrm>
                  <a:off x="5842530" y="4180852"/>
                  <a:ext cx="453871" cy="474736"/>
                </a:xfrm>
                <a:custGeom>
                  <a:avLst/>
                  <a:gdLst>
                    <a:gd name="T0" fmla="*/ 138 w 138"/>
                    <a:gd name="T1" fmla="*/ 11 h 144"/>
                    <a:gd name="T2" fmla="*/ 129 w 138"/>
                    <a:gd name="T3" fmla="*/ 1 h 144"/>
                    <a:gd name="T4" fmla="*/ 9 w 138"/>
                    <a:gd name="T5" fmla="*/ 0 h 144"/>
                    <a:gd name="T6" fmla="*/ 0 w 138"/>
                    <a:gd name="T7" fmla="*/ 10 h 144"/>
                    <a:gd name="T8" fmla="*/ 0 w 138"/>
                    <a:gd name="T9" fmla="*/ 91 h 144"/>
                    <a:gd name="T10" fmla="*/ 0 w 138"/>
                    <a:gd name="T11" fmla="*/ 93 h 144"/>
                    <a:gd name="T12" fmla="*/ 0 w 138"/>
                    <a:gd name="T13" fmla="*/ 94 h 144"/>
                    <a:gd name="T14" fmla="*/ 6 w 138"/>
                    <a:gd name="T15" fmla="*/ 109 h 144"/>
                    <a:gd name="T16" fmla="*/ 6 w 138"/>
                    <a:gd name="T17" fmla="*/ 109 h 144"/>
                    <a:gd name="T18" fmla="*/ 6 w 138"/>
                    <a:gd name="T19" fmla="*/ 109 h 144"/>
                    <a:gd name="T20" fmla="*/ 11 w 138"/>
                    <a:gd name="T21" fmla="*/ 112 h 144"/>
                    <a:gd name="T22" fmla="*/ 55 w 138"/>
                    <a:gd name="T23" fmla="*/ 139 h 144"/>
                    <a:gd name="T24" fmla="*/ 92 w 138"/>
                    <a:gd name="T25" fmla="*/ 139 h 144"/>
                    <a:gd name="T26" fmla="*/ 126 w 138"/>
                    <a:gd name="T27" fmla="*/ 113 h 144"/>
                    <a:gd name="T28" fmla="*/ 132 w 138"/>
                    <a:gd name="T29" fmla="*/ 108 h 144"/>
                    <a:gd name="T30" fmla="*/ 132 w 138"/>
                    <a:gd name="T31" fmla="*/ 108 h 144"/>
                    <a:gd name="T32" fmla="*/ 132 w 138"/>
                    <a:gd name="T33" fmla="*/ 108 h 144"/>
                    <a:gd name="T34" fmla="*/ 138 w 138"/>
                    <a:gd name="T35" fmla="*/ 95 h 144"/>
                    <a:gd name="T36" fmla="*/ 138 w 138"/>
                    <a:gd name="T37" fmla="*/ 94 h 144"/>
                    <a:gd name="T38" fmla="*/ 138 w 138"/>
                    <a:gd name="T39" fmla="*/ 92 h 144"/>
                    <a:gd name="T40" fmla="*/ 138 w 138"/>
                    <a:gd name="T41" fmla="*/ 1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144">
                      <a:moveTo>
                        <a:pt x="138" y="11"/>
                      </a:moveTo>
                      <a:cubicBezTo>
                        <a:pt x="138" y="6"/>
                        <a:pt x="134" y="1"/>
                        <a:pt x="129" y="1"/>
                      </a:cubicBezTo>
                      <a:cubicBezTo>
                        <a:pt x="9" y="0"/>
                        <a:pt x="9" y="0"/>
                        <a:pt x="9" y="0"/>
                      </a:cubicBezTo>
                      <a:cubicBezTo>
                        <a:pt x="4" y="0"/>
                        <a:pt x="0" y="5"/>
                        <a:pt x="0" y="10"/>
                      </a:cubicBezTo>
                      <a:cubicBezTo>
                        <a:pt x="0" y="91"/>
                        <a:pt x="0" y="91"/>
                        <a:pt x="0" y="91"/>
                      </a:cubicBezTo>
                      <a:cubicBezTo>
                        <a:pt x="0" y="92"/>
                        <a:pt x="0" y="92"/>
                        <a:pt x="0" y="93"/>
                      </a:cubicBezTo>
                      <a:cubicBezTo>
                        <a:pt x="0" y="93"/>
                        <a:pt x="0" y="94"/>
                        <a:pt x="0" y="94"/>
                      </a:cubicBezTo>
                      <a:cubicBezTo>
                        <a:pt x="0" y="100"/>
                        <a:pt x="2" y="105"/>
                        <a:pt x="6" y="109"/>
                      </a:cubicBezTo>
                      <a:cubicBezTo>
                        <a:pt x="6" y="109"/>
                        <a:pt x="6" y="109"/>
                        <a:pt x="6" y="109"/>
                      </a:cubicBezTo>
                      <a:cubicBezTo>
                        <a:pt x="6" y="109"/>
                        <a:pt x="6" y="109"/>
                        <a:pt x="6" y="109"/>
                      </a:cubicBezTo>
                      <a:cubicBezTo>
                        <a:pt x="7" y="110"/>
                        <a:pt x="9" y="111"/>
                        <a:pt x="11" y="112"/>
                      </a:cubicBezTo>
                      <a:cubicBezTo>
                        <a:pt x="55" y="139"/>
                        <a:pt x="55" y="139"/>
                        <a:pt x="55" y="139"/>
                      </a:cubicBezTo>
                      <a:cubicBezTo>
                        <a:pt x="57" y="143"/>
                        <a:pt x="90" y="144"/>
                        <a:pt x="92" y="139"/>
                      </a:cubicBezTo>
                      <a:cubicBezTo>
                        <a:pt x="126" y="113"/>
                        <a:pt x="126" y="113"/>
                        <a:pt x="126" y="113"/>
                      </a:cubicBezTo>
                      <a:cubicBezTo>
                        <a:pt x="128" y="112"/>
                        <a:pt x="130" y="110"/>
                        <a:pt x="132" y="108"/>
                      </a:cubicBezTo>
                      <a:cubicBezTo>
                        <a:pt x="132" y="108"/>
                        <a:pt x="132" y="108"/>
                        <a:pt x="132" y="108"/>
                      </a:cubicBezTo>
                      <a:cubicBezTo>
                        <a:pt x="132" y="108"/>
                        <a:pt x="132" y="108"/>
                        <a:pt x="132" y="108"/>
                      </a:cubicBezTo>
                      <a:cubicBezTo>
                        <a:pt x="136" y="105"/>
                        <a:pt x="138" y="101"/>
                        <a:pt x="138" y="95"/>
                      </a:cubicBezTo>
                      <a:cubicBezTo>
                        <a:pt x="138" y="95"/>
                        <a:pt x="138" y="94"/>
                        <a:pt x="138" y="94"/>
                      </a:cubicBezTo>
                      <a:cubicBezTo>
                        <a:pt x="138" y="93"/>
                        <a:pt x="138" y="93"/>
                        <a:pt x="138" y="92"/>
                      </a:cubicBezTo>
                      <a:lnTo>
                        <a:pt x="138" y="1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0" name="Freeform 701">
                  <a:extLst>
                    <a:ext uri="{FF2B5EF4-FFF2-40B4-BE49-F238E27FC236}">
                      <a16:creationId xmlns:a16="http://schemas.microsoft.com/office/drawing/2014/main" id="{2404263B-F36B-4A60-81D5-6AEF1CD9739A}"/>
                    </a:ext>
                  </a:extLst>
                </p:cNvPr>
                <p:cNvSpPr>
                  <a:spLocks/>
                </p:cNvSpPr>
                <p:nvPr userDrawn="1"/>
              </p:nvSpPr>
              <p:spPr bwMode="auto">
                <a:xfrm>
                  <a:off x="6072075" y="4212152"/>
                  <a:ext cx="224328" cy="438219"/>
                </a:xfrm>
                <a:custGeom>
                  <a:avLst/>
                  <a:gdLst>
                    <a:gd name="T0" fmla="*/ 61 w 68"/>
                    <a:gd name="T1" fmla="*/ 0 h 133"/>
                    <a:gd name="T2" fmla="*/ 61 w 68"/>
                    <a:gd name="T3" fmla="*/ 81 h 133"/>
                    <a:gd name="T4" fmla="*/ 61 w 68"/>
                    <a:gd name="T5" fmla="*/ 82 h 133"/>
                    <a:gd name="T6" fmla="*/ 61 w 68"/>
                    <a:gd name="T7" fmla="*/ 84 h 133"/>
                    <a:gd name="T8" fmla="*/ 54 w 68"/>
                    <a:gd name="T9" fmla="*/ 98 h 133"/>
                    <a:gd name="T10" fmla="*/ 54 w 68"/>
                    <a:gd name="T11" fmla="*/ 98 h 133"/>
                    <a:gd name="T12" fmla="*/ 53 w 68"/>
                    <a:gd name="T13" fmla="*/ 98 h 133"/>
                    <a:gd name="T14" fmla="*/ 48 w 68"/>
                    <a:gd name="T15" fmla="*/ 103 h 133"/>
                    <a:gd name="T16" fmla="*/ 14 w 68"/>
                    <a:gd name="T17" fmla="*/ 129 h 133"/>
                    <a:gd name="T18" fmla="*/ 0 w 68"/>
                    <a:gd name="T19" fmla="*/ 132 h 133"/>
                    <a:gd name="T20" fmla="*/ 22 w 68"/>
                    <a:gd name="T21" fmla="*/ 129 h 133"/>
                    <a:gd name="T22" fmla="*/ 56 w 68"/>
                    <a:gd name="T23" fmla="*/ 103 h 133"/>
                    <a:gd name="T24" fmla="*/ 62 w 68"/>
                    <a:gd name="T25" fmla="*/ 98 h 133"/>
                    <a:gd name="T26" fmla="*/ 62 w 68"/>
                    <a:gd name="T27" fmla="*/ 98 h 133"/>
                    <a:gd name="T28" fmla="*/ 62 w 68"/>
                    <a:gd name="T29" fmla="*/ 98 h 133"/>
                    <a:gd name="T30" fmla="*/ 68 w 68"/>
                    <a:gd name="T31" fmla="*/ 85 h 133"/>
                    <a:gd name="T32" fmla="*/ 68 w 68"/>
                    <a:gd name="T33" fmla="*/ 84 h 133"/>
                    <a:gd name="T34" fmla="*/ 68 w 68"/>
                    <a:gd name="T35" fmla="*/ 82 h 133"/>
                    <a:gd name="T36" fmla="*/ 68 w 68"/>
                    <a:gd name="T37"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133">
                      <a:moveTo>
                        <a:pt x="61" y="0"/>
                      </a:moveTo>
                      <a:cubicBezTo>
                        <a:pt x="61" y="81"/>
                        <a:pt x="61" y="81"/>
                        <a:pt x="61" y="81"/>
                      </a:cubicBezTo>
                      <a:cubicBezTo>
                        <a:pt x="61" y="81"/>
                        <a:pt x="61" y="82"/>
                        <a:pt x="61" y="82"/>
                      </a:cubicBezTo>
                      <a:cubicBezTo>
                        <a:pt x="61" y="83"/>
                        <a:pt x="61" y="83"/>
                        <a:pt x="61" y="84"/>
                      </a:cubicBezTo>
                      <a:cubicBezTo>
                        <a:pt x="61" y="89"/>
                        <a:pt x="57" y="95"/>
                        <a:pt x="54" y="98"/>
                      </a:cubicBezTo>
                      <a:cubicBezTo>
                        <a:pt x="54" y="98"/>
                        <a:pt x="54" y="98"/>
                        <a:pt x="54" y="98"/>
                      </a:cubicBezTo>
                      <a:cubicBezTo>
                        <a:pt x="53" y="98"/>
                        <a:pt x="53" y="98"/>
                        <a:pt x="53" y="98"/>
                      </a:cubicBezTo>
                      <a:cubicBezTo>
                        <a:pt x="52" y="100"/>
                        <a:pt x="50" y="102"/>
                        <a:pt x="48" y="103"/>
                      </a:cubicBezTo>
                      <a:cubicBezTo>
                        <a:pt x="14" y="129"/>
                        <a:pt x="14" y="129"/>
                        <a:pt x="14" y="129"/>
                      </a:cubicBezTo>
                      <a:cubicBezTo>
                        <a:pt x="13" y="131"/>
                        <a:pt x="7" y="132"/>
                        <a:pt x="0" y="132"/>
                      </a:cubicBezTo>
                      <a:cubicBezTo>
                        <a:pt x="10" y="133"/>
                        <a:pt x="21" y="132"/>
                        <a:pt x="22" y="129"/>
                      </a:cubicBezTo>
                      <a:cubicBezTo>
                        <a:pt x="56" y="103"/>
                        <a:pt x="56" y="103"/>
                        <a:pt x="56" y="103"/>
                      </a:cubicBezTo>
                      <a:cubicBezTo>
                        <a:pt x="58" y="102"/>
                        <a:pt x="60" y="100"/>
                        <a:pt x="62" y="98"/>
                      </a:cubicBezTo>
                      <a:cubicBezTo>
                        <a:pt x="62" y="98"/>
                        <a:pt x="62" y="98"/>
                        <a:pt x="62" y="98"/>
                      </a:cubicBezTo>
                      <a:cubicBezTo>
                        <a:pt x="62" y="98"/>
                        <a:pt x="62" y="98"/>
                        <a:pt x="62" y="98"/>
                      </a:cubicBezTo>
                      <a:cubicBezTo>
                        <a:pt x="66" y="95"/>
                        <a:pt x="68" y="91"/>
                        <a:pt x="68" y="85"/>
                      </a:cubicBezTo>
                      <a:cubicBezTo>
                        <a:pt x="68" y="85"/>
                        <a:pt x="68" y="84"/>
                        <a:pt x="68" y="84"/>
                      </a:cubicBezTo>
                      <a:cubicBezTo>
                        <a:pt x="68" y="83"/>
                        <a:pt x="68" y="83"/>
                        <a:pt x="68" y="82"/>
                      </a:cubicBezTo>
                      <a:cubicBezTo>
                        <a:pt x="68" y="1"/>
                        <a:pt x="68" y="1"/>
                        <a:pt x="68" y="1"/>
                      </a:cubicBezTo>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1" name="Freeform 702">
                  <a:extLst>
                    <a:ext uri="{FF2B5EF4-FFF2-40B4-BE49-F238E27FC236}">
                      <a16:creationId xmlns:a16="http://schemas.microsoft.com/office/drawing/2014/main" id="{714AF056-E405-427D-9322-82D879CD43A2}"/>
                    </a:ext>
                  </a:extLst>
                </p:cNvPr>
                <p:cNvSpPr>
                  <a:spLocks/>
                </p:cNvSpPr>
                <p:nvPr userDrawn="1"/>
              </p:nvSpPr>
              <p:spPr bwMode="auto">
                <a:xfrm>
                  <a:off x="6014689" y="4342574"/>
                  <a:ext cx="57386" cy="46951"/>
                </a:xfrm>
                <a:custGeom>
                  <a:avLst/>
                  <a:gdLst>
                    <a:gd name="T0" fmla="*/ 8 w 17"/>
                    <a:gd name="T1" fmla="*/ 13 h 14"/>
                    <a:gd name="T2" fmla="*/ 15 w 17"/>
                    <a:gd name="T3" fmla="*/ 14 h 14"/>
                    <a:gd name="T4" fmla="*/ 17 w 17"/>
                    <a:gd name="T5" fmla="*/ 8 h 14"/>
                    <a:gd name="T6" fmla="*/ 8 w 17"/>
                    <a:gd name="T7" fmla="*/ 0 h 14"/>
                    <a:gd name="T8" fmla="*/ 0 w 17"/>
                    <a:gd name="T9" fmla="*/ 8 h 14"/>
                    <a:gd name="T10" fmla="*/ 2 w 17"/>
                    <a:gd name="T11" fmla="*/ 14 h 14"/>
                    <a:gd name="T12" fmla="*/ 8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8" y="13"/>
                      </a:moveTo>
                      <a:cubicBezTo>
                        <a:pt x="11" y="13"/>
                        <a:pt x="13" y="13"/>
                        <a:pt x="15" y="14"/>
                      </a:cubicBezTo>
                      <a:cubicBezTo>
                        <a:pt x="16" y="12"/>
                        <a:pt x="17" y="11"/>
                        <a:pt x="17" y="8"/>
                      </a:cubicBezTo>
                      <a:cubicBezTo>
                        <a:pt x="17" y="4"/>
                        <a:pt x="13" y="0"/>
                        <a:pt x="8" y="0"/>
                      </a:cubicBezTo>
                      <a:cubicBezTo>
                        <a:pt x="4" y="0"/>
                        <a:pt x="0" y="4"/>
                        <a:pt x="0" y="8"/>
                      </a:cubicBezTo>
                      <a:cubicBezTo>
                        <a:pt x="0" y="10"/>
                        <a:pt x="0" y="12"/>
                        <a:pt x="2" y="14"/>
                      </a:cubicBezTo>
                      <a:cubicBezTo>
                        <a:pt x="4" y="13"/>
                        <a:pt x="6" y="13"/>
                        <a:pt x="8"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2" name="Freeform 703">
                  <a:extLst>
                    <a:ext uri="{FF2B5EF4-FFF2-40B4-BE49-F238E27FC236}">
                      <a16:creationId xmlns:a16="http://schemas.microsoft.com/office/drawing/2014/main" id="{C512747D-07B7-4C08-B021-2C732573D098}"/>
                    </a:ext>
                  </a:extLst>
                </p:cNvPr>
                <p:cNvSpPr>
                  <a:spLocks/>
                </p:cNvSpPr>
                <p:nvPr userDrawn="1"/>
              </p:nvSpPr>
              <p:spPr bwMode="auto">
                <a:xfrm>
                  <a:off x="6181630" y="4342574"/>
                  <a:ext cx="57386" cy="46951"/>
                </a:xfrm>
                <a:custGeom>
                  <a:avLst/>
                  <a:gdLst>
                    <a:gd name="T0" fmla="*/ 9 w 17"/>
                    <a:gd name="T1" fmla="*/ 13 h 14"/>
                    <a:gd name="T2" fmla="*/ 15 w 17"/>
                    <a:gd name="T3" fmla="*/ 14 h 14"/>
                    <a:gd name="T4" fmla="*/ 17 w 17"/>
                    <a:gd name="T5" fmla="*/ 8 h 14"/>
                    <a:gd name="T6" fmla="*/ 9 w 17"/>
                    <a:gd name="T7" fmla="*/ 0 h 14"/>
                    <a:gd name="T8" fmla="*/ 0 w 17"/>
                    <a:gd name="T9" fmla="*/ 8 h 14"/>
                    <a:gd name="T10" fmla="*/ 3 w 17"/>
                    <a:gd name="T11" fmla="*/ 14 h 14"/>
                    <a:gd name="T12" fmla="*/ 9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9" y="13"/>
                      </a:moveTo>
                      <a:cubicBezTo>
                        <a:pt x="11" y="13"/>
                        <a:pt x="13" y="13"/>
                        <a:pt x="15" y="14"/>
                      </a:cubicBezTo>
                      <a:cubicBezTo>
                        <a:pt x="17" y="12"/>
                        <a:pt x="17" y="11"/>
                        <a:pt x="17" y="8"/>
                      </a:cubicBezTo>
                      <a:cubicBezTo>
                        <a:pt x="17" y="4"/>
                        <a:pt x="14" y="0"/>
                        <a:pt x="9" y="0"/>
                      </a:cubicBezTo>
                      <a:cubicBezTo>
                        <a:pt x="4" y="0"/>
                        <a:pt x="0" y="4"/>
                        <a:pt x="0" y="8"/>
                      </a:cubicBezTo>
                      <a:cubicBezTo>
                        <a:pt x="0" y="10"/>
                        <a:pt x="1" y="12"/>
                        <a:pt x="3" y="14"/>
                      </a:cubicBezTo>
                      <a:cubicBezTo>
                        <a:pt x="5" y="13"/>
                        <a:pt x="7" y="13"/>
                        <a:pt x="9"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3" name="Freeform 704">
                  <a:extLst>
                    <a:ext uri="{FF2B5EF4-FFF2-40B4-BE49-F238E27FC236}">
                      <a16:creationId xmlns:a16="http://schemas.microsoft.com/office/drawing/2014/main" id="{D38D7D62-261D-4458-973A-C9DE798328E4}"/>
                    </a:ext>
                  </a:extLst>
                </p:cNvPr>
                <p:cNvSpPr>
                  <a:spLocks/>
                </p:cNvSpPr>
                <p:nvPr userDrawn="1"/>
              </p:nvSpPr>
              <p:spPr bwMode="auto">
                <a:xfrm>
                  <a:off x="5884265" y="4144332"/>
                  <a:ext cx="427787" cy="172157"/>
                </a:xfrm>
                <a:custGeom>
                  <a:avLst/>
                  <a:gdLst>
                    <a:gd name="T0" fmla="*/ 129 w 129"/>
                    <a:gd name="T1" fmla="*/ 19 h 52"/>
                    <a:gd name="T2" fmla="*/ 129 w 129"/>
                    <a:gd name="T3" fmla="*/ 50 h 52"/>
                    <a:gd name="T4" fmla="*/ 0 w 129"/>
                    <a:gd name="T5" fmla="*/ 0 h 52"/>
                    <a:gd name="T6" fmla="*/ 120 w 129"/>
                    <a:gd name="T7" fmla="*/ 1 h 52"/>
                  </a:gdLst>
                  <a:ahLst/>
                  <a:cxnLst>
                    <a:cxn ang="0">
                      <a:pos x="T0" y="T1"/>
                    </a:cxn>
                    <a:cxn ang="0">
                      <a:pos x="T2" y="T3"/>
                    </a:cxn>
                    <a:cxn ang="0">
                      <a:pos x="T4" y="T5"/>
                    </a:cxn>
                    <a:cxn ang="0">
                      <a:pos x="T6" y="T7"/>
                    </a:cxn>
                  </a:cxnLst>
                  <a:rect l="0" t="0" r="r" b="b"/>
                  <a:pathLst>
                    <a:path w="129" h="52">
                      <a:moveTo>
                        <a:pt x="129" y="19"/>
                      </a:moveTo>
                      <a:cubicBezTo>
                        <a:pt x="129" y="50"/>
                        <a:pt x="129" y="50"/>
                        <a:pt x="129" y="50"/>
                      </a:cubicBezTo>
                      <a:cubicBezTo>
                        <a:pt x="129" y="50"/>
                        <a:pt x="6" y="52"/>
                        <a:pt x="0" y="0"/>
                      </a:cubicBezTo>
                      <a:cubicBezTo>
                        <a:pt x="89" y="9"/>
                        <a:pt x="120" y="1"/>
                        <a:pt x="120" y="1"/>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4" name="Freeform 705">
                  <a:extLst>
                    <a:ext uri="{FF2B5EF4-FFF2-40B4-BE49-F238E27FC236}">
                      <a16:creationId xmlns:a16="http://schemas.microsoft.com/office/drawing/2014/main" id="{46A9FD82-D478-4AAE-A131-A3E4F651302F}"/>
                    </a:ext>
                  </a:extLst>
                </p:cNvPr>
                <p:cNvSpPr>
                  <a:spLocks/>
                </p:cNvSpPr>
                <p:nvPr userDrawn="1"/>
              </p:nvSpPr>
              <p:spPr bwMode="auto">
                <a:xfrm>
                  <a:off x="6056424" y="4499080"/>
                  <a:ext cx="140857" cy="41736"/>
                </a:xfrm>
                <a:custGeom>
                  <a:avLst/>
                  <a:gdLst>
                    <a:gd name="T0" fmla="*/ 0 w 44"/>
                    <a:gd name="T1" fmla="*/ 0 h 13"/>
                    <a:gd name="T2" fmla="*/ 22 w 44"/>
                    <a:gd name="T3" fmla="*/ 13 h 13"/>
                    <a:gd name="T4" fmla="*/ 44 w 44"/>
                    <a:gd name="T5" fmla="*/ 0 h 13"/>
                    <a:gd name="T6" fmla="*/ 0 w 44"/>
                    <a:gd name="T7" fmla="*/ 0 h 13"/>
                  </a:gdLst>
                  <a:ahLst/>
                  <a:cxnLst>
                    <a:cxn ang="0">
                      <a:pos x="T0" y="T1"/>
                    </a:cxn>
                    <a:cxn ang="0">
                      <a:pos x="T2" y="T3"/>
                    </a:cxn>
                    <a:cxn ang="0">
                      <a:pos x="T4" y="T5"/>
                    </a:cxn>
                    <a:cxn ang="0">
                      <a:pos x="T6" y="T7"/>
                    </a:cxn>
                  </a:cxnLst>
                  <a:rect l="0" t="0" r="r" b="b"/>
                  <a:pathLst>
                    <a:path w="44" h="13">
                      <a:moveTo>
                        <a:pt x="0" y="0"/>
                      </a:moveTo>
                      <a:cubicBezTo>
                        <a:pt x="4" y="8"/>
                        <a:pt x="12" y="13"/>
                        <a:pt x="22" y="13"/>
                      </a:cubicBezTo>
                      <a:cubicBezTo>
                        <a:pt x="32" y="13"/>
                        <a:pt x="40" y="8"/>
                        <a:pt x="44" y="0"/>
                      </a:cubicBezTo>
                      <a:lnTo>
                        <a:pt x="0" y="0"/>
                      </a:ln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5" name="Freeform 706">
                  <a:extLst>
                    <a:ext uri="{FF2B5EF4-FFF2-40B4-BE49-F238E27FC236}">
                      <a16:creationId xmlns:a16="http://schemas.microsoft.com/office/drawing/2014/main" id="{EACC70C0-2BC4-4B2A-BCC6-D71287B15941}"/>
                    </a:ext>
                  </a:extLst>
                </p:cNvPr>
                <p:cNvSpPr>
                  <a:spLocks/>
                </p:cNvSpPr>
                <p:nvPr userDrawn="1"/>
              </p:nvSpPr>
              <p:spPr bwMode="auto">
                <a:xfrm>
                  <a:off x="5800795" y="4149550"/>
                  <a:ext cx="119989" cy="302579"/>
                </a:xfrm>
                <a:custGeom>
                  <a:avLst/>
                  <a:gdLst>
                    <a:gd name="T0" fmla="*/ 0 w 36"/>
                    <a:gd name="T1" fmla="*/ 0 h 92"/>
                    <a:gd name="T2" fmla="*/ 0 w 36"/>
                    <a:gd name="T3" fmla="*/ 92 h 92"/>
                    <a:gd name="T4" fmla="*/ 7 w 36"/>
                    <a:gd name="T5" fmla="*/ 88 h 92"/>
                    <a:gd name="T6" fmla="*/ 36 w 36"/>
                    <a:gd name="T7" fmla="*/ 0 h 92"/>
                    <a:gd name="T8" fmla="*/ 0 w 36"/>
                    <a:gd name="T9" fmla="*/ 0 h 92"/>
                  </a:gdLst>
                  <a:ahLst/>
                  <a:cxnLst>
                    <a:cxn ang="0">
                      <a:pos x="T0" y="T1"/>
                    </a:cxn>
                    <a:cxn ang="0">
                      <a:pos x="T2" y="T3"/>
                    </a:cxn>
                    <a:cxn ang="0">
                      <a:pos x="T4" y="T5"/>
                    </a:cxn>
                    <a:cxn ang="0">
                      <a:pos x="T6" y="T7"/>
                    </a:cxn>
                    <a:cxn ang="0">
                      <a:pos x="T8" y="T9"/>
                    </a:cxn>
                  </a:cxnLst>
                  <a:rect l="0" t="0" r="r" b="b"/>
                  <a:pathLst>
                    <a:path w="36" h="92">
                      <a:moveTo>
                        <a:pt x="0" y="0"/>
                      </a:moveTo>
                      <a:cubicBezTo>
                        <a:pt x="0" y="92"/>
                        <a:pt x="0" y="92"/>
                        <a:pt x="0" y="92"/>
                      </a:cubicBezTo>
                      <a:cubicBezTo>
                        <a:pt x="7" y="88"/>
                        <a:pt x="7" y="88"/>
                        <a:pt x="7" y="88"/>
                      </a:cubicBezTo>
                      <a:cubicBezTo>
                        <a:pt x="7" y="88"/>
                        <a:pt x="36" y="27"/>
                        <a:pt x="36" y="0"/>
                      </a:cubicBezTo>
                      <a:cubicBezTo>
                        <a:pt x="0" y="0"/>
                        <a:pt x="0" y="0"/>
                        <a:pt x="0" y="0"/>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6" name="Freeform 742">
                  <a:extLst>
                    <a:ext uri="{FF2B5EF4-FFF2-40B4-BE49-F238E27FC236}">
                      <a16:creationId xmlns:a16="http://schemas.microsoft.com/office/drawing/2014/main" id="{56B6B270-047A-4624-89BA-3568F00E69D4}"/>
                    </a:ext>
                  </a:extLst>
                </p:cNvPr>
                <p:cNvSpPr>
                  <a:spLocks/>
                </p:cNvSpPr>
                <p:nvPr userDrawn="1"/>
              </p:nvSpPr>
              <p:spPr bwMode="auto">
                <a:xfrm>
                  <a:off x="6092942" y="4347791"/>
                  <a:ext cx="36518" cy="109555"/>
                </a:xfrm>
                <a:custGeom>
                  <a:avLst/>
                  <a:gdLst>
                    <a:gd name="T0" fmla="*/ 11 w 11"/>
                    <a:gd name="T1" fmla="*/ 34 h 34"/>
                    <a:gd name="T2" fmla="*/ 11 w 11"/>
                    <a:gd name="T3" fmla="*/ 0 h 34"/>
                    <a:gd name="T4" fmla="*/ 4 w 11"/>
                    <a:gd name="T5" fmla="*/ 7 h 34"/>
                    <a:gd name="T6" fmla="*/ 0 w 11"/>
                    <a:gd name="T7" fmla="*/ 34 h 34"/>
                    <a:gd name="T8" fmla="*/ 11 w 11"/>
                    <a:gd name="T9" fmla="*/ 34 h 34"/>
                  </a:gdLst>
                  <a:ahLst/>
                  <a:cxnLst>
                    <a:cxn ang="0">
                      <a:pos x="T0" y="T1"/>
                    </a:cxn>
                    <a:cxn ang="0">
                      <a:pos x="T2" y="T3"/>
                    </a:cxn>
                    <a:cxn ang="0">
                      <a:pos x="T4" y="T5"/>
                    </a:cxn>
                    <a:cxn ang="0">
                      <a:pos x="T6" y="T7"/>
                    </a:cxn>
                    <a:cxn ang="0">
                      <a:pos x="T8" y="T9"/>
                    </a:cxn>
                  </a:cxnLst>
                  <a:rect l="0" t="0" r="r" b="b"/>
                  <a:pathLst>
                    <a:path w="11" h="34">
                      <a:moveTo>
                        <a:pt x="11" y="34"/>
                      </a:moveTo>
                      <a:cubicBezTo>
                        <a:pt x="11" y="0"/>
                        <a:pt x="11" y="0"/>
                        <a:pt x="11" y="0"/>
                      </a:cubicBezTo>
                      <a:cubicBezTo>
                        <a:pt x="7" y="0"/>
                        <a:pt x="4" y="3"/>
                        <a:pt x="4" y="7"/>
                      </a:cubicBezTo>
                      <a:cubicBezTo>
                        <a:pt x="0" y="34"/>
                        <a:pt x="0" y="34"/>
                        <a:pt x="0" y="34"/>
                      </a:cubicBezTo>
                      <a:lnTo>
                        <a:pt x="11" y="34"/>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7" name="Freeform 743">
                  <a:extLst>
                    <a:ext uri="{FF2B5EF4-FFF2-40B4-BE49-F238E27FC236}">
                      <a16:creationId xmlns:a16="http://schemas.microsoft.com/office/drawing/2014/main" id="{D4855C68-F79C-49BF-B246-FF5D176160BA}"/>
                    </a:ext>
                  </a:extLst>
                </p:cNvPr>
                <p:cNvSpPr>
                  <a:spLocks/>
                </p:cNvSpPr>
                <p:nvPr userDrawn="1"/>
              </p:nvSpPr>
              <p:spPr bwMode="auto">
                <a:xfrm>
                  <a:off x="6092942" y="4457346"/>
                  <a:ext cx="83470" cy="26084"/>
                </a:xfrm>
                <a:custGeom>
                  <a:avLst/>
                  <a:gdLst>
                    <a:gd name="T0" fmla="*/ 0 w 26"/>
                    <a:gd name="T1" fmla="*/ 0 h 7"/>
                    <a:gd name="T2" fmla="*/ 13 w 26"/>
                    <a:gd name="T3" fmla="*/ 7 h 7"/>
                    <a:gd name="T4" fmla="*/ 26 w 26"/>
                    <a:gd name="T5" fmla="*/ 0 h 7"/>
                    <a:gd name="T6" fmla="*/ 0 w 26"/>
                    <a:gd name="T7" fmla="*/ 0 h 7"/>
                  </a:gdLst>
                  <a:ahLst/>
                  <a:cxnLst>
                    <a:cxn ang="0">
                      <a:pos x="T0" y="T1"/>
                    </a:cxn>
                    <a:cxn ang="0">
                      <a:pos x="T2" y="T3"/>
                    </a:cxn>
                    <a:cxn ang="0">
                      <a:pos x="T4" y="T5"/>
                    </a:cxn>
                    <a:cxn ang="0">
                      <a:pos x="T6" y="T7"/>
                    </a:cxn>
                  </a:cxnLst>
                  <a:rect l="0" t="0" r="r" b="b"/>
                  <a:pathLst>
                    <a:path w="26" h="7">
                      <a:moveTo>
                        <a:pt x="0" y="0"/>
                      </a:moveTo>
                      <a:cubicBezTo>
                        <a:pt x="3" y="4"/>
                        <a:pt x="7" y="7"/>
                        <a:pt x="13" y="7"/>
                      </a:cubicBezTo>
                      <a:cubicBezTo>
                        <a:pt x="18" y="7"/>
                        <a:pt x="23" y="4"/>
                        <a:pt x="26"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8" name="Freeform 744">
                  <a:extLst>
                    <a:ext uri="{FF2B5EF4-FFF2-40B4-BE49-F238E27FC236}">
                      <a16:creationId xmlns:a16="http://schemas.microsoft.com/office/drawing/2014/main" id="{B2834727-C833-4100-82D1-4F9F3285B632}"/>
                    </a:ext>
                  </a:extLst>
                </p:cNvPr>
                <p:cNvSpPr>
                  <a:spLocks/>
                </p:cNvSpPr>
                <p:nvPr userDrawn="1"/>
              </p:nvSpPr>
              <p:spPr bwMode="auto">
                <a:xfrm>
                  <a:off x="6056424" y="4499080"/>
                  <a:ext cx="140857" cy="31302"/>
                </a:xfrm>
                <a:custGeom>
                  <a:avLst/>
                  <a:gdLst>
                    <a:gd name="T0" fmla="*/ 0 w 44"/>
                    <a:gd name="T1" fmla="*/ 0 h 10"/>
                    <a:gd name="T2" fmla="*/ 22 w 44"/>
                    <a:gd name="T3" fmla="*/ 10 h 10"/>
                    <a:gd name="T4" fmla="*/ 44 w 44"/>
                    <a:gd name="T5" fmla="*/ 0 h 10"/>
                    <a:gd name="T6" fmla="*/ 0 w 44"/>
                    <a:gd name="T7" fmla="*/ 0 h 10"/>
                  </a:gdLst>
                  <a:ahLst/>
                  <a:cxnLst>
                    <a:cxn ang="0">
                      <a:pos x="T0" y="T1"/>
                    </a:cxn>
                    <a:cxn ang="0">
                      <a:pos x="T2" y="T3"/>
                    </a:cxn>
                    <a:cxn ang="0">
                      <a:pos x="T4" y="T5"/>
                    </a:cxn>
                    <a:cxn ang="0">
                      <a:pos x="T6" y="T7"/>
                    </a:cxn>
                  </a:cxnLst>
                  <a:rect l="0" t="0" r="r" b="b"/>
                  <a:pathLst>
                    <a:path w="44" h="10">
                      <a:moveTo>
                        <a:pt x="0" y="0"/>
                      </a:moveTo>
                      <a:cubicBezTo>
                        <a:pt x="4" y="8"/>
                        <a:pt x="12" y="10"/>
                        <a:pt x="22" y="10"/>
                      </a:cubicBezTo>
                      <a:cubicBezTo>
                        <a:pt x="32" y="10"/>
                        <a:pt x="40" y="8"/>
                        <a:pt x="4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410" name="Group 409">
                <a:extLst>
                  <a:ext uri="{FF2B5EF4-FFF2-40B4-BE49-F238E27FC236}">
                    <a16:creationId xmlns:a16="http://schemas.microsoft.com/office/drawing/2014/main" id="{1D1700D1-56B8-42D0-B7A1-02771E76B5B5}"/>
                  </a:ext>
                </a:extLst>
              </p:cNvPr>
              <p:cNvGrpSpPr/>
              <p:nvPr/>
            </p:nvGrpSpPr>
            <p:grpSpPr>
              <a:xfrm rot="20172753">
                <a:off x="8733473" y="4387258"/>
                <a:ext cx="529184" cy="671915"/>
                <a:chOff x="10633084" y="2852743"/>
                <a:chExt cx="623888" cy="792163"/>
              </a:xfrm>
            </p:grpSpPr>
            <p:sp>
              <p:nvSpPr>
                <p:cNvPr id="412" name="Freeform 613">
                  <a:extLst>
                    <a:ext uri="{FF2B5EF4-FFF2-40B4-BE49-F238E27FC236}">
                      <a16:creationId xmlns:a16="http://schemas.microsoft.com/office/drawing/2014/main" id="{06256495-124A-4C47-8725-15F2E850F7E8}"/>
                    </a:ext>
                  </a:extLst>
                </p:cNvPr>
                <p:cNvSpPr>
                  <a:spLocks/>
                </p:cNvSpPr>
                <p:nvPr/>
              </p:nvSpPr>
              <p:spPr bwMode="auto">
                <a:xfrm>
                  <a:off x="10633084" y="2852743"/>
                  <a:ext cx="623888" cy="692151"/>
                </a:xfrm>
                <a:custGeom>
                  <a:avLst/>
                  <a:gdLst>
                    <a:gd name="T0" fmla="*/ 174 w 182"/>
                    <a:gd name="T1" fmla="*/ 14 h 203"/>
                    <a:gd name="T2" fmla="*/ 164 w 182"/>
                    <a:gd name="T3" fmla="*/ 14 h 203"/>
                    <a:gd name="T4" fmla="*/ 144 w 182"/>
                    <a:gd name="T5" fmla="*/ 0 h 203"/>
                    <a:gd name="T6" fmla="*/ 20 w 182"/>
                    <a:gd name="T7" fmla="*/ 0 h 203"/>
                    <a:gd name="T8" fmla="*/ 0 w 182"/>
                    <a:gd name="T9" fmla="*/ 20 h 203"/>
                    <a:gd name="T10" fmla="*/ 0 w 182"/>
                    <a:gd name="T11" fmla="*/ 183 h 203"/>
                    <a:gd name="T12" fmla="*/ 20 w 182"/>
                    <a:gd name="T13" fmla="*/ 203 h 203"/>
                    <a:gd name="T14" fmla="*/ 144 w 182"/>
                    <a:gd name="T15" fmla="*/ 203 h 203"/>
                    <a:gd name="T16" fmla="*/ 165 w 182"/>
                    <a:gd name="T17" fmla="*/ 183 h 203"/>
                    <a:gd name="T18" fmla="*/ 165 w 182"/>
                    <a:gd name="T19" fmla="*/ 91 h 203"/>
                    <a:gd name="T20" fmla="*/ 174 w 182"/>
                    <a:gd name="T21" fmla="*/ 91 h 203"/>
                    <a:gd name="T22" fmla="*/ 182 w 182"/>
                    <a:gd name="T23" fmla="*/ 83 h 203"/>
                    <a:gd name="T24" fmla="*/ 182 w 182"/>
                    <a:gd name="T25" fmla="*/ 22 h 203"/>
                    <a:gd name="T26" fmla="*/ 174 w 182"/>
                    <a:gd name="T27" fmla="*/ 1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203">
                      <a:moveTo>
                        <a:pt x="174" y="14"/>
                      </a:moveTo>
                      <a:cubicBezTo>
                        <a:pt x="164" y="14"/>
                        <a:pt x="164" y="14"/>
                        <a:pt x="164" y="14"/>
                      </a:cubicBezTo>
                      <a:cubicBezTo>
                        <a:pt x="161" y="6"/>
                        <a:pt x="153" y="0"/>
                        <a:pt x="144" y="0"/>
                      </a:cubicBezTo>
                      <a:cubicBezTo>
                        <a:pt x="20" y="0"/>
                        <a:pt x="20" y="0"/>
                        <a:pt x="20" y="0"/>
                      </a:cubicBezTo>
                      <a:cubicBezTo>
                        <a:pt x="9" y="0"/>
                        <a:pt x="0" y="9"/>
                        <a:pt x="0" y="20"/>
                      </a:cubicBezTo>
                      <a:cubicBezTo>
                        <a:pt x="0" y="183"/>
                        <a:pt x="0" y="183"/>
                        <a:pt x="0" y="183"/>
                      </a:cubicBezTo>
                      <a:cubicBezTo>
                        <a:pt x="0" y="194"/>
                        <a:pt x="9" y="203"/>
                        <a:pt x="20" y="203"/>
                      </a:cubicBezTo>
                      <a:cubicBezTo>
                        <a:pt x="144" y="203"/>
                        <a:pt x="144" y="203"/>
                        <a:pt x="144" y="203"/>
                      </a:cubicBezTo>
                      <a:cubicBezTo>
                        <a:pt x="156" y="203"/>
                        <a:pt x="165" y="194"/>
                        <a:pt x="165" y="183"/>
                      </a:cubicBezTo>
                      <a:cubicBezTo>
                        <a:pt x="165" y="91"/>
                        <a:pt x="165" y="91"/>
                        <a:pt x="165" y="91"/>
                      </a:cubicBezTo>
                      <a:cubicBezTo>
                        <a:pt x="174" y="91"/>
                        <a:pt x="174" y="91"/>
                        <a:pt x="174" y="91"/>
                      </a:cubicBezTo>
                      <a:cubicBezTo>
                        <a:pt x="178" y="91"/>
                        <a:pt x="182" y="87"/>
                        <a:pt x="182" y="83"/>
                      </a:cubicBezTo>
                      <a:cubicBezTo>
                        <a:pt x="182" y="22"/>
                        <a:pt x="182" y="22"/>
                        <a:pt x="182" y="22"/>
                      </a:cubicBezTo>
                      <a:cubicBezTo>
                        <a:pt x="182" y="18"/>
                        <a:pt x="178" y="14"/>
                        <a:pt x="174" y="14"/>
                      </a:cubicBez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13" name="Rectangle 614">
                  <a:extLst>
                    <a:ext uri="{FF2B5EF4-FFF2-40B4-BE49-F238E27FC236}">
                      <a16:creationId xmlns:a16="http://schemas.microsoft.com/office/drawing/2014/main" id="{EC4D1DD7-E4FC-4A12-ABE8-A421CE3E285B}"/>
                    </a:ext>
                  </a:extLst>
                </p:cNvPr>
                <p:cNvSpPr>
                  <a:spLocks noChangeArrowheads="1"/>
                </p:cNvSpPr>
                <p:nvPr/>
              </p:nvSpPr>
              <p:spPr bwMode="auto">
                <a:xfrm>
                  <a:off x="10698172" y="2908305"/>
                  <a:ext cx="455613" cy="603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14" name="Freeform 615">
                  <a:extLst>
                    <a:ext uri="{FF2B5EF4-FFF2-40B4-BE49-F238E27FC236}">
                      <a16:creationId xmlns:a16="http://schemas.microsoft.com/office/drawing/2014/main" id="{9001F723-5367-4DD6-85EF-285F3884FA06}"/>
                    </a:ext>
                  </a:extLst>
                </p:cNvPr>
                <p:cNvSpPr>
                  <a:spLocks/>
                </p:cNvSpPr>
                <p:nvPr/>
              </p:nvSpPr>
              <p:spPr bwMode="auto">
                <a:xfrm>
                  <a:off x="10633084" y="2860680"/>
                  <a:ext cx="479425" cy="784226"/>
                </a:xfrm>
                <a:custGeom>
                  <a:avLst/>
                  <a:gdLst>
                    <a:gd name="T0" fmla="*/ 140 w 140"/>
                    <a:gd name="T1" fmla="*/ 212 h 230"/>
                    <a:gd name="T2" fmla="*/ 123 w 140"/>
                    <a:gd name="T3" fmla="*/ 228 h 230"/>
                    <a:gd name="T4" fmla="*/ 17 w 140"/>
                    <a:gd name="T5" fmla="*/ 205 h 230"/>
                    <a:gd name="T6" fmla="*/ 0 w 140"/>
                    <a:gd name="T7" fmla="*/ 181 h 230"/>
                    <a:gd name="T8" fmla="*/ 0 w 140"/>
                    <a:gd name="T9" fmla="*/ 18 h 230"/>
                    <a:gd name="T10" fmla="*/ 17 w 140"/>
                    <a:gd name="T11" fmla="*/ 2 h 230"/>
                    <a:gd name="T12" fmla="*/ 123 w 140"/>
                    <a:gd name="T13" fmla="*/ 25 h 230"/>
                    <a:gd name="T14" fmla="*/ 140 w 140"/>
                    <a:gd name="T15" fmla="*/ 49 h 230"/>
                    <a:gd name="T16" fmla="*/ 140 w 140"/>
                    <a:gd name="T17"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30">
                      <a:moveTo>
                        <a:pt x="140" y="212"/>
                      </a:moveTo>
                      <a:cubicBezTo>
                        <a:pt x="140" y="223"/>
                        <a:pt x="132" y="230"/>
                        <a:pt x="123" y="228"/>
                      </a:cubicBezTo>
                      <a:cubicBezTo>
                        <a:pt x="17" y="205"/>
                        <a:pt x="17" y="205"/>
                        <a:pt x="17" y="205"/>
                      </a:cubicBezTo>
                      <a:cubicBezTo>
                        <a:pt x="8" y="203"/>
                        <a:pt x="0" y="192"/>
                        <a:pt x="0" y="181"/>
                      </a:cubicBezTo>
                      <a:cubicBezTo>
                        <a:pt x="0" y="18"/>
                        <a:pt x="0" y="18"/>
                        <a:pt x="0" y="18"/>
                      </a:cubicBezTo>
                      <a:cubicBezTo>
                        <a:pt x="0" y="7"/>
                        <a:pt x="8" y="0"/>
                        <a:pt x="17" y="2"/>
                      </a:cubicBezTo>
                      <a:cubicBezTo>
                        <a:pt x="123" y="25"/>
                        <a:pt x="123" y="25"/>
                        <a:pt x="123" y="25"/>
                      </a:cubicBezTo>
                      <a:cubicBezTo>
                        <a:pt x="132" y="28"/>
                        <a:pt x="140" y="38"/>
                        <a:pt x="140" y="49"/>
                      </a:cubicBezTo>
                      <a:lnTo>
                        <a:pt x="140" y="2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411" name="Freeform 467">
                <a:extLst>
                  <a:ext uri="{FF2B5EF4-FFF2-40B4-BE49-F238E27FC236}">
                    <a16:creationId xmlns:a16="http://schemas.microsoft.com/office/drawing/2014/main" id="{EFA234EF-597A-4479-BC54-9087ECF398F7}"/>
                  </a:ext>
                </a:extLst>
              </p:cNvPr>
              <p:cNvSpPr>
                <a:spLocks/>
              </p:cNvSpPr>
              <p:nvPr/>
            </p:nvSpPr>
            <p:spPr bwMode="auto">
              <a:xfrm flipH="1">
                <a:off x="9115370" y="4595295"/>
                <a:ext cx="311568" cy="116732"/>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 name="connsiteX0" fmla="*/ 2500 w 9898"/>
                  <a:gd name="connsiteY0" fmla="*/ 2878 h 6017"/>
                  <a:gd name="connsiteX1" fmla="*/ 6477 w 9898"/>
                  <a:gd name="connsiteY1" fmla="*/ 5827 h 6017"/>
                  <a:gd name="connsiteX2" fmla="*/ 7614 w 9898"/>
                  <a:gd name="connsiteY2" fmla="*/ 5324 h 6017"/>
                  <a:gd name="connsiteX3" fmla="*/ 8920 w 9898"/>
                  <a:gd name="connsiteY3" fmla="*/ 4820 h 6017"/>
                  <a:gd name="connsiteX4" fmla="*/ 9886 w 9898"/>
                  <a:gd name="connsiteY4" fmla="*/ 4317 h 6017"/>
                  <a:gd name="connsiteX5" fmla="*/ 9091 w 9898"/>
                  <a:gd name="connsiteY5" fmla="*/ 3669 h 6017"/>
                  <a:gd name="connsiteX6" fmla="*/ 8523 w 9898"/>
                  <a:gd name="connsiteY6" fmla="*/ 2446 h 6017"/>
                  <a:gd name="connsiteX7" fmla="*/ 7500 w 9898"/>
                  <a:gd name="connsiteY7" fmla="*/ 1799 h 6017"/>
                  <a:gd name="connsiteX8" fmla="*/ 8466 w 9898"/>
                  <a:gd name="connsiteY8" fmla="*/ 719 h 6017"/>
                  <a:gd name="connsiteX9" fmla="*/ 5341 w 9898"/>
                  <a:gd name="connsiteY9" fmla="*/ 0 h 6017"/>
                  <a:gd name="connsiteX10" fmla="*/ 4716 w 9898"/>
                  <a:gd name="connsiteY10" fmla="*/ 0 h 6017"/>
                  <a:gd name="connsiteX11" fmla="*/ 0 w 9898"/>
                  <a:gd name="connsiteY11" fmla="*/ 576 h 6017"/>
                  <a:gd name="connsiteX12" fmla="*/ 2500 w 9898"/>
                  <a:gd name="connsiteY12" fmla="*/ 2878 h 6017"/>
                  <a:gd name="connsiteX0" fmla="*/ 0 w 7474"/>
                  <a:gd name="connsiteY0" fmla="*/ 4783 h 10000"/>
                  <a:gd name="connsiteX1" fmla="*/ 4018 w 7474"/>
                  <a:gd name="connsiteY1" fmla="*/ 9684 h 10000"/>
                  <a:gd name="connsiteX2" fmla="*/ 5166 w 7474"/>
                  <a:gd name="connsiteY2" fmla="*/ 8848 h 10000"/>
                  <a:gd name="connsiteX3" fmla="*/ 6486 w 7474"/>
                  <a:gd name="connsiteY3" fmla="*/ 8011 h 10000"/>
                  <a:gd name="connsiteX4" fmla="*/ 7462 w 7474"/>
                  <a:gd name="connsiteY4" fmla="*/ 7175 h 10000"/>
                  <a:gd name="connsiteX5" fmla="*/ 6659 w 7474"/>
                  <a:gd name="connsiteY5" fmla="*/ 6098 h 10000"/>
                  <a:gd name="connsiteX6" fmla="*/ 6085 w 7474"/>
                  <a:gd name="connsiteY6" fmla="*/ 4065 h 10000"/>
                  <a:gd name="connsiteX7" fmla="*/ 5051 w 7474"/>
                  <a:gd name="connsiteY7" fmla="*/ 2990 h 10000"/>
                  <a:gd name="connsiteX8" fmla="*/ 6027 w 7474"/>
                  <a:gd name="connsiteY8" fmla="*/ 1195 h 10000"/>
                  <a:gd name="connsiteX9" fmla="*/ 2870 w 7474"/>
                  <a:gd name="connsiteY9" fmla="*/ 0 h 10000"/>
                  <a:gd name="connsiteX10" fmla="*/ 2239 w 7474"/>
                  <a:gd name="connsiteY10" fmla="*/ 0 h 10000"/>
                  <a:gd name="connsiteX11" fmla="*/ 0 w 7474"/>
                  <a:gd name="connsiteY11" fmla="*/ 4783 h 10000"/>
                  <a:gd name="connsiteX0" fmla="*/ 0 w 9105"/>
                  <a:gd name="connsiteY0" fmla="*/ 4783 h 10000"/>
                  <a:gd name="connsiteX1" fmla="*/ 5376 w 9105"/>
                  <a:gd name="connsiteY1" fmla="*/ 9684 h 10000"/>
                  <a:gd name="connsiteX2" fmla="*/ 6912 w 9105"/>
                  <a:gd name="connsiteY2" fmla="*/ 8848 h 10000"/>
                  <a:gd name="connsiteX3" fmla="*/ 8678 w 9105"/>
                  <a:gd name="connsiteY3" fmla="*/ 8011 h 10000"/>
                  <a:gd name="connsiteX4" fmla="*/ 8910 w 9105"/>
                  <a:gd name="connsiteY4" fmla="*/ 6098 h 10000"/>
                  <a:gd name="connsiteX5" fmla="*/ 8142 w 9105"/>
                  <a:gd name="connsiteY5" fmla="*/ 4065 h 10000"/>
                  <a:gd name="connsiteX6" fmla="*/ 6758 w 9105"/>
                  <a:gd name="connsiteY6" fmla="*/ 2990 h 10000"/>
                  <a:gd name="connsiteX7" fmla="*/ 8064 w 9105"/>
                  <a:gd name="connsiteY7" fmla="*/ 1195 h 10000"/>
                  <a:gd name="connsiteX8" fmla="*/ 3840 w 9105"/>
                  <a:gd name="connsiteY8" fmla="*/ 0 h 10000"/>
                  <a:gd name="connsiteX9" fmla="*/ 2996 w 9105"/>
                  <a:gd name="connsiteY9" fmla="*/ 0 h 10000"/>
                  <a:gd name="connsiteX10" fmla="*/ 0 w 9105"/>
                  <a:gd name="connsiteY10" fmla="*/ 4783 h 10000"/>
                  <a:gd name="connsiteX0" fmla="*/ 0 w 9860"/>
                  <a:gd name="connsiteY0" fmla="*/ 4783 h 10000"/>
                  <a:gd name="connsiteX1" fmla="*/ 5904 w 9860"/>
                  <a:gd name="connsiteY1" fmla="*/ 9684 h 10000"/>
                  <a:gd name="connsiteX2" fmla="*/ 7591 w 9860"/>
                  <a:gd name="connsiteY2" fmla="*/ 8848 h 10000"/>
                  <a:gd name="connsiteX3" fmla="*/ 9531 w 9860"/>
                  <a:gd name="connsiteY3" fmla="*/ 8011 h 10000"/>
                  <a:gd name="connsiteX4" fmla="*/ 8942 w 9860"/>
                  <a:gd name="connsiteY4" fmla="*/ 4065 h 10000"/>
                  <a:gd name="connsiteX5" fmla="*/ 7422 w 9860"/>
                  <a:gd name="connsiteY5" fmla="*/ 2990 h 10000"/>
                  <a:gd name="connsiteX6" fmla="*/ 8857 w 9860"/>
                  <a:gd name="connsiteY6" fmla="*/ 1195 h 10000"/>
                  <a:gd name="connsiteX7" fmla="*/ 4217 w 9860"/>
                  <a:gd name="connsiteY7" fmla="*/ 0 h 10000"/>
                  <a:gd name="connsiteX8" fmla="*/ 3290 w 9860"/>
                  <a:gd name="connsiteY8" fmla="*/ 0 h 10000"/>
                  <a:gd name="connsiteX9" fmla="*/ 0 w 9860"/>
                  <a:gd name="connsiteY9" fmla="*/ 4783 h 10000"/>
                  <a:gd name="connsiteX0" fmla="*/ 0 w 10000"/>
                  <a:gd name="connsiteY0" fmla="*/ 4783 h 10000"/>
                  <a:gd name="connsiteX1" fmla="*/ 5988 w 10000"/>
                  <a:gd name="connsiteY1" fmla="*/ 9684 h 10000"/>
                  <a:gd name="connsiteX2" fmla="*/ 7699 w 10000"/>
                  <a:gd name="connsiteY2" fmla="*/ 8848 h 10000"/>
                  <a:gd name="connsiteX3" fmla="*/ 9666 w 10000"/>
                  <a:gd name="connsiteY3" fmla="*/ 8011 h 10000"/>
                  <a:gd name="connsiteX4" fmla="*/ 7527 w 10000"/>
                  <a:gd name="connsiteY4" fmla="*/ 2990 h 10000"/>
                  <a:gd name="connsiteX5" fmla="*/ 8983 w 10000"/>
                  <a:gd name="connsiteY5" fmla="*/ 1195 h 10000"/>
                  <a:gd name="connsiteX6" fmla="*/ 4277 w 10000"/>
                  <a:gd name="connsiteY6" fmla="*/ 0 h 10000"/>
                  <a:gd name="connsiteX7" fmla="*/ 3337 w 10000"/>
                  <a:gd name="connsiteY7" fmla="*/ 0 h 10000"/>
                  <a:gd name="connsiteX8" fmla="*/ 0 w 10000"/>
                  <a:gd name="connsiteY8" fmla="*/ 4783 h 10000"/>
                  <a:gd name="connsiteX0" fmla="*/ 0 w 9012"/>
                  <a:gd name="connsiteY0" fmla="*/ 4783 h 10000"/>
                  <a:gd name="connsiteX1" fmla="*/ 5988 w 9012"/>
                  <a:gd name="connsiteY1" fmla="*/ 9684 h 10000"/>
                  <a:gd name="connsiteX2" fmla="*/ 7699 w 9012"/>
                  <a:gd name="connsiteY2" fmla="*/ 8848 h 10000"/>
                  <a:gd name="connsiteX3" fmla="*/ 7527 w 9012"/>
                  <a:gd name="connsiteY3" fmla="*/ 2990 h 10000"/>
                  <a:gd name="connsiteX4" fmla="*/ 8983 w 9012"/>
                  <a:gd name="connsiteY4" fmla="*/ 1195 h 10000"/>
                  <a:gd name="connsiteX5" fmla="*/ 4277 w 9012"/>
                  <a:gd name="connsiteY5" fmla="*/ 0 h 10000"/>
                  <a:gd name="connsiteX6" fmla="*/ 3337 w 9012"/>
                  <a:gd name="connsiteY6" fmla="*/ 0 h 10000"/>
                  <a:gd name="connsiteX7" fmla="*/ 0 w 9012"/>
                  <a:gd name="connsiteY7" fmla="*/ 4783 h 10000"/>
                  <a:gd name="connsiteX0" fmla="*/ 0 w 10006"/>
                  <a:gd name="connsiteY0" fmla="*/ 4783 h 9684"/>
                  <a:gd name="connsiteX1" fmla="*/ 6644 w 10006"/>
                  <a:gd name="connsiteY1" fmla="*/ 9684 h 9684"/>
                  <a:gd name="connsiteX2" fmla="*/ 8352 w 10006"/>
                  <a:gd name="connsiteY2" fmla="*/ 2990 h 9684"/>
                  <a:gd name="connsiteX3" fmla="*/ 9968 w 10006"/>
                  <a:gd name="connsiteY3" fmla="*/ 1195 h 9684"/>
                  <a:gd name="connsiteX4" fmla="*/ 4746 w 10006"/>
                  <a:gd name="connsiteY4" fmla="*/ 0 h 9684"/>
                  <a:gd name="connsiteX5" fmla="*/ 3703 w 10006"/>
                  <a:gd name="connsiteY5" fmla="*/ 0 h 9684"/>
                  <a:gd name="connsiteX6" fmla="*/ 0 w 10006"/>
                  <a:gd name="connsiteY6" fmla="*/ 4783 h 9684"/>
                  <a:gd name="connsiteX0" fmla="*/ 0 w 10063"/>
                  <a:gd name="connsiteY0" fmla="*/ 4939 h 5032"/>
                  <a:gd name="connsiteX1" fmla="*/ 8347 w 10063"/>
                  <a:gd name="connsiteY1" fmla="*/ 3088 h 5032"/>
                  <a:gd name="connsiteX2" fmla="*/ 9962 w 10063"/>
                  <a:gd name="connsiteY2" fmla="*/ 1234 h 5032"/>
                  <a:gd name="connsiteX3" fmla="*/ 4743 w 10063"/>
                  <a:gd name="connsiteY3" fmla="*/ 0 h 5032"/>
                  <a:gd name="connsiteX4" fmla="*/ 3701 w 10063"/>
                  <a:gd name="connsiteY4" fmla="*/ 0 h 5032"/>
                  <a:gd name="connsiteX5" fmla="*/ 0 w 10063"/>
                  <a:gd name="connsiteY5" fmla="*/ 4939 h 5032"/>
                  <a:gd name="connsiteX0" fmla="*/ 0 w 10000"/>
                  <a:gd name="connsiteY0" fmla="*/ 9815 h 9815"/>
                  <a:gd name="connsiteX1" fmla="*/ 8295 w 10000"/>
                  <a:gd name="connsiteY1" fmla="*/ 6137 h 9815"/>
                  <a:gd name="connsiteX2" fmla="*/ 9900 w 10000"/>
                  <a:gd name="connsiteY2" fmla="*/ 2452 h 9815"/>
                  <a:gd name="connsiteX3" fmla="*/ 4713 w 10000"/>
                  <a:gd name="connsiteY3" fmla="*/ 0 h 9815"/>
                  <a:gd name="connsiteX4" fmla="*/ 3678 w 10000"/>
                  <a:gd name="connsiteY4" fmla="*/ 0 h 9815"/>
                  <a:gd name="connsiteX5" fmla="*/ 0 w 10000"/>
                  <a:gd name="connsiteY5" fmla="*/ 9815 h 9815"/>
                  <a:gd name="connsiteX0" fmla="*/ 0 w 9984"/>
                  <a:gd name="connsiteY0" fmla="*/ 10000 h 10000"/>
                  <a:gd name="connsiteX1" fmla="*/ 8152 w 9984"/>
                  <a:gd name="connsiteY1" fmla="*/ 5486 h 10000"/>
                  <a:gd name="connsiteX2" fmla="*/ 9900 w 9984"/>
                  <a:gd name="connsiteY2" fmla="*/ 2498 h 10000"/>
                  <a:gd name="connsiteX3" fmla="*/ 4713 w 9984"/>
                  <a:gd name="connsiteY3" fmla="*/ 0 h 10000"/>
                  <a:gd name="connsiteX4" fmla="*/ 3678 w 9984"/>
                  <a:gd name="connsiteY4" fmla="*/ 0 h 10000"/>
                  <a:gd name="connsiteX5" fmla="*/ 0 w 9984"/>
                  <a:gd name="connsiteY5" fmla="*/ 10000 h 10000"/>
                  <a:gd name="connsiteX0" fmla="*/ 0 w 10000"/>
                  <a:gd name="connsiteY0" fmla="*/ 10000 h 10000"/>
                  <a:gd name="connsiteX1" fmla="*/ 8165 w 10000"/>
                  <a:gd name="connsiteY1" fmla="*/ 5486 h 10000"/>
                  <a:gd name="connsiteX2" fmla="*/ 9916 w 10000"/>
                  <a:gd name="connsiteY2" fmla="*/ 2498 h 10000"/>
                  <a:gd name="connsiteX3" fmla="*/ 4721 w 10000"/>
                  <a:gd name="connsiteY3" fmla="*/ 0 h 10000"/>
                  <a:gd name="connsiteX4" fmla="*/ 3684 w 10000"/>
                  <a:gd name="connsiteY4" fmla="*/ 0 h 10000"/>
                  <a:gd name="connsiteX5" fmla="*/ 0 w 10000"/>
                  <a:gd name="connsiteY5"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10000"/>
                    </a:moveTo>
                    <a:cubicBezTo>
                      <a:pt x="4722" y="689"/>
                      <a:pt x="6097" y="5609"/>
                      <a:pt x="8165" y="5486"/>
                    </a:cubicBezTo>
                    <a:cubicBezTo>
                      <a:pt x="9817" y="5388"/>
                      <a:pt x="10197" y="4250"/>
                      <a:pt x="9916" y="2498"/>
                    </a:cubicBezTo>
                    <a:cubicBezTo>
                      <a:pt x="8405" y="2248"/>
                      <a:pt x="6514" y="251"/>
                      <a:pt x="4721" y="0"/>
                    </a:cubicBezTo>
                    <a:lnTo>
                      <a:pt x="3684" y="0"/>
                    </a:lnTo>
                    <a:lnTo>
                      <a:pt x="0" y="1000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358" name="Group 97">
            <a:extLst>
              <a:ext uri="{FF2B5EF4-FFF2-40B4-BE49-F238E27FC236}">
                <a16:creationId xmlns:a16="http://schemas.microsoft.com/office/drawing/2014/main" id="{98B62EFF-EA30-4D0E-850D-5BFD7EE5EA1F}"/>
              </a:ext>
            </a:extLst>
          </p:cNvPr>
          <p:cNvGrpSpPr>
            <a:grpSpLocks noChangeAspect="1"/>
          </p:cNvGrpSpPr>
          <p:nvPr/>
        </p:nvGrpSpPr>
        <p:grpSpPr bwMode="auto">
          <a:xfrm>
            <a:off x="9703295" y="1184407"/>
            <a:ext cx="1282046" cy="1670828"/>
            <a:chOff x="2227" y="1"/>
            <a:chExt cx="3380" cy="4405"/>
          </a:xfrm>
        </p:grpSpPr>
        <p:sp>
          <p:nvSpPr>
            <p:cNvPr id="359" name="Rectangle 98">
              <a:extLst>
                <a:ext uri="{FF2B5EF4-FFF2-40B4-BE49-F238E27FC236}">
                  <a16:creationId xmlns:a16="http://schemas.microsoft.com/office/drawing/2014/main" id="{1F9FE946-EAC1-4E69-9B62-6F18E5499660}"/>
                </a:ext>
              </a:extLst>
            </p:cNvPr>
            <p:cNvSpPr>
              <a:spLocks noChangeArrowheads="1"/>
            </p:cNvSpPr>
            <p:nvPr/>
          </p:nvSpPr>
          <p:spPr bwMode="auto">
            <a:xfrm>
              <a:off x="3375" y="677"/>
              <a:ext cx="178" cy="551"/>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0" name="Rectangle 99">
              <a:extLst>
                <a:ext uri="{FF2B5EF4-FFF2-40B4-BE49-F238E27FC236}">
                  <a16:creationId xmlns:a16="http://schemas.microsoft.com/office/drawing/2014/main" id="{5F3E905D-0F02-4555-A670-2ADB09E67C01}"/>
                </a:ext>
              </a:extLst>
            </p:cNvPr>
            <p:cNvSpPr>
              <a:spLocks noChangeArrowheads="1"/>
            </p:cNvSpPr>
            <p:nvPr/>
          </p:nvSpPr>
          <p:spPr bwMode="auto">
            <a:xfrm>
              <a:off x="3607" y="515"/>
              <a:ext cx="177" cy="71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1" name="Rectangle 100">
              <a:extLst>
                <a:ext uri="{FF2B5EF4-FFF2-40B4-BE49-F238E27FC236}">
                  <a16:creationId xmlns:a16="http://schemas.microsoft.com/office/drawing/2014/main" id="{57A3935C-DD3A-4B18-8CAD-712BEFADAC04}"/>
                </a:ext>
              </a:extLst>
            </p:cNvPr>
            <p:cNvSpPr>
              <a:spLocks noChangeArrowheads="1"/>
            </p:cNvSpPr>
            <p:nvPr/>
          </p:nvSpPr>
          <p:spPr bwMode="auto">
            <a:xfrm>
              <a:off x="3838" y="272"/>
              <a:ext cx="178" cy="956"/>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2" name="Oval 101">
              <a:extLst>
                <a:ext uri="{FF2B5EF4-FFF2-40B4-BE49-F238E27FC236}">
                  <a16:creationId xmlns:a16="http://schemas.microsoft.com/office/drawing/2014/main" id="{DBF7F29F-BD88-46D3-8325-191A8FF2940A}"/>
                </a:ext>
              </a:extLst>
            </p:cNvPr>
            <p:cNvSpPr>
              <a:spLocks noChangeArrowheads="1"/>
            </p:cNvSpPr>
            <p:nvPr/>
          </p:nvSpPr>
          <p:spPr bwMode="auto">
            <a:xfrm>
              <a:off x="4255" y="1"/>
              <a:ext cx="921" cy="919"/>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3" name="Freeform 102">
              <a:extLst>
                <a:ext uri="{FF2B5EF4-FFF2-40B4-BE49-F238E27FC236}">
                  <a16:creationId xmlns:a16="http://schemas.microsoft.com/office/drawing/2014/main" id="{51514BE8-5FAD-4800-BD2C-4CC5B829D529}"/>
                </a:ext>
              </a:extLst>
            </p:cNvPr>
            <p:cNvSpPr>
              <a:spLocks/>
            </p:cNvSpPr>
            <p:nvPr/>
          </p:nvSpPr>
          <p:spPr bwMode="auto">
            <a:xfrm>
              <a:off x="4715" y="1"/>
              <a:ext cx="461" cy="459"/>
            </a:xfrm>
            <a:custGeom>
              <a:avLst/>
              <a:gdLst>
                <a:gd name="T0" fmla="*/ 0 w 1098"/>
                <a:gd name="T1" fmla="*/ 0 h 1098"/>
                <a:gd name="T2" fmla="*/ 0 w 1098"/>
                <a:gd name="T3" fmla="*/ 1098 h 1098"/>
                <a:gd name="T4" fmla="*/ 1098 w 1098"/>
                <a:gd name="T5" fmla="*/ 1098 h 1098"/>
                <a:gd name="T6" fmla="*/ 1098 w 1098"/>
                <a:gd name="T7" fmla="*/ 1098 h 1098"/>
                <a:gd name="T8" fmla="*/ 24 w 1098"/>
                <a:gd name="T9" fmla="*/ 0 h 1098"/>
                <a:gd name="T10" fmla="*/ 0 w 1098"/>
                <a:gd name="T11" fmla="*/ 0 h 1098"/>
              </a:gdLst>
              <a:ahLst/>
              <a:cxnLst>
                <a:cxn ang="0">
                  <a:pos x="T0" y="T1"/>
                </a:cxn>
                <a:cxn ang="0">
                  <a:pos x="T2" y="T3"/>
                </a:cxn>
                <a:cxn ang="0">
                  <a:pos x="T4" y="T5"/>
                </a:cxn>
                <a:cxn ang="0">
                  <a:pos x="T6" y="T7"/>
                </a:cxn>
                <a:cxn ang="0">
                  <a:pos x="T8" y="T9"/>
                </a:cxn>
                <a:cxn ang="0">
                  <a:pos x="T10" y="T11"/>
                </a:cxn>
              </a:cxnLst>
              <a:rect l="0" t="0" r="r" b="b"/>
              <a:pathLst>
                <a:path w="1098" h="1098">
                  <a:moveTo>
                    <a:pt x="0" y="0"/>
                  </a:moveTo>
                  <a:cubicBezTo>
                    <a:pt x="0" y="1098"/>
                    <a:pt x="0" y="1098"/>
                    <a:pt x="0" y="1098"/>
                  </a:cubicBezTo>
                  <a:cubicBezTo>
                    <a:pt x="1098" y="1098"/>
                    <a:pt x="1098" y="1098"/>
                    <a:pt x="1098" y="1098"/>
                  </a:cubicBezTo>
                  <a:cubicBezTo>
                    <a:pt x="1098" y="1098"/>
                    <a:pt x="1098" y="1098"/>
                    <a:pt x="1098" y="1098"/>
                  </a:cubicBezTo>
                  <a:cubicBezTo>
                    <a:pt x="1098" y="501"/>
                    <a:pt x="621" y="13"/>
                    <a:pt x="24" y="0"/>
                  </a:cubicBez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4" name="Freeform 103">
              <a:extLst>
                <a:ext uri="{FF2B5EF4-FFF2-40B4-BE49-F238E27FC236}">
                  <a16:creationId xmlns:a16="http://schemas.microsoft.com/office/drawing/2014/main" id="{602F4375-F8A0-48CD-9409-2E4884E6BB3E}"/>
                </a:ext>
              </a:extLst>
            </p:cNvPr>
            <p:cNvSpPr>
              <a:spLocks/>
            </p:cNvSpPr>
            <p:nvPr/>
          </p:nvSpPr>
          <p:spPr bwMode="auto">
            <a:xfrm>
              <a:off x="4715" y="460"/>
              <a:ext cx="394" cy="363"/>
            </a:xfrm>
            <a:custGeom>
              <a:avLst/>
              <a:gdLst>
                <a:gd name="T0" fmla="*/ 0 w 940"/>
                <a:gd name="T1" fmla="*/ 0 h 867"/>
                <a:gd name="T2" fmla="*/ 674 w 940"/>
                <a:gd name="T3" fmla="*/ 867 h 867"/>
                <a:gd name="T4" fmla="*/ 940 w 940"/>
                <a:gd name="T5" fmla="*/ 568 h 867"/>
                <a:gd name="T6" fmla="*/ 0 w 940"/>
                <a:gd name="T7" fmla="*/ 0 h 867"/>
              </a:gdLst>
              <a:ahLst/>
              <a:cxnLst>
                <a:cxn ang="0">
                  <a:pos x="T0" y="T1"/>
                </a:cxn>
                <a:cxn ang="0">
                  <a:pos x="T2" y="T3"/>
                </a:cxn>
                <a:cxn ang="0">
                  <a:pos x="T4" y="T5"/>
                </a:cxn>
                <a:cxn ang="0">
                  <a:pos x="T6" y="T7"/>
                </a:cxn>
              </a:cxnLst>
              <a:rect l="0" t="0" r="r" b="b"/>
              <a:pathLst>
                <a:path w="940" h="867">
                  <a:moveTo>
                    <a:pt x="0" y="0"/>
                  </a:moveTo>
                  <a:cubicBezTo>
                    <a:pt x="674" y="867"/>
                    <a:pt x="674" y="867"/>
                    <a:pt x="674" y="867"/>
                  </a:cubicBezTo>
                  <a:cubicBezTo>
                    <a:pt x="674" y="867"/>
                    <a:pt x="861" y="727"/>
                    <a:pt x="940" y="568"/>
                  </a:cubicBezTo>
                  <a:cubicBezTo>
                    <a:pt x="0" y="0"/>
                    <a:pt x="0" y="0"/>
                    <a:pt x="0" y="0"/>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5" name="Freeform 104">
              <a:extLst>
                <a:ext uri="{FF2B5EF4-FFF2-40B4-BE49-F238E27FC236}">
                  <a16:creationId xmlns:a16="http://schemas.microsoft.com/office/drawing/2014/main" id="{FC911D20-6BEB-4D50-BB59-EBF84E7D2B5E}"/>
                </a:ext>
              </a:extLst>
            </p:cNvPr>
            <p:cNvSpPr>
              <a:spLocks/>
            </p:cNvSpPr>
            <p:nvPr/>
          </p:nvSpPr>
          <p:spPr bwMode="auto">
            <a:xfrm>
              <a:off x="4715" y="460"/>
              <a:ext cx="465" cy="238"/>
            </a:xfrm>
            <a:custGeom>
              <a:avLst/>
              <a:gdLst>
                <a:gd name="T0" fmla="*/ 940 w 1109"/>
                <a:gd name="T1" fmla="*/ 568 h 568"/>
                <a:gd name="T2" fmla="*/ 0 w 1109"/>
                <a:gd name="T3" fmla="*/ 0 h 568"/>
                <a:gd name="T4" fmla="*/ 1098 w 1109"/>
                <a:gd name="T5" fmla="*/ 0 h 568"/>
                <a:gd name="T6" fmla="*/ 940 w 1109"/>
                <a:gd name="T7" fmla="*/ 568 h 568"/>
              </a:gdLst>
              <a:ahLst/>
              <a:cxnLst>
                <a:cxn ang="0">
                  <a:pos x="T0" y="T1"/>
                </a:cxn>
                <a:cxn ang="0">
                  <a:pos x="T2" y="T3"/>
                </a:cxn>
                <a:cxn ang="0">
                  <a:pos x="T4" y="T5"/>
                </a:cxn>
                <a:cxn ang="0">
                  <a:pos x="T6" y="T7"/>
                </a:cxn>
              </a:cxnLst>
              <a:rect l="0" t="0" r="r" b="b"/>
              <a:pathLst>
                <a:path w="1109" h="568">
                  <a:moveTo>
                    <a:pt x="940" y="568"/>
                  </a:moveTo>
                  <a:cubicBezTo>
                    <a:pt x="0" y="0"/>
                    <a:pt x="0" y="0"/>
                    <a:pt x="0" y="0"/>
                  </a:cubicBezTo>
                  <a:cubicBezTo>
                    <a:pt x="1098" y="0"/>
                    <a:pt x="1098" y="0"/>
                    <a:pt x="1098" y="0"/>
                  </a:cubicBezTo>
                  <a:cubicBezTo>
                    <a:pt x="1098" y="0"/>
                    <a:pt x="1109" y="353"/>
                    <a:pt x="940" y="56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3" name="Freeform 105">
              <a:extLst>
                <a:ext uri="{FF2B5EF4-FFF2-40B4-BE49-F238E27FC236}">
                  <a16:creationId xmlns:a16="http://schemas.microsoft.com/office/drawing/2014/main" id="{60C5752E-FE72-4A97-AC22-1E525E07C4E3}"/>
                </a:ext>
              </a:extLst>
            </p:cNvPr>
            <p:cNvSpPr>
              <a:spLocks/>
            </p:cNvSpPr>
            <p:nvPr/>
          </p:nvSpPr>
          <p:spPr bwMode="auto">
            <a:xfrm>
              <a:off x="3002" y="611"/>
              <a:ext cx="2486" cy="1261"/>
            </a:xfrm>
            <a:custGeom>
              <a:avLst/>
              <a:gdLst>
                <a:gd name="T0" fmla="*/ 5176 w 5929"/>
                <a:gd name="T1" fmla="*/ 1506 h 3012"/>
                <a:gd name="T2" fmla="*/ 4855 w 5929"/>
                <a:gd name="T3" fmla="*/ 1579 h 3012"/>
                <a:gd name="T4" fmla="*/ 4857 w 5929"/>
                <a:gd name="T5" fmla="*/ 1506 h 3012"/>
                <a:gd name="T6" fmla="*/ 3351 w 5929"/>
                <a:gd name="T7" fmla="*/ 0 h 3012"/>
                <a:gd name="T8" fmla="*/ 1851 w 5929"/>
                <a:gd name="T9" fmla="*/ 1372 h 3012"/>
                <a:gd name="T10" fmla="*/ 1027 w 5929"/>
                <a:gd name="T11" fmla="*/ 957 h 3012"/>
                <a:gd name="T12" fmla="*/ 0 w 5929"/>
                <a:gd name="T13" fmla="*/ 1985 h 3012"/>
                <a:gd name="T14" fmla="*/ 1027 w 5929"/>
                <a:gd name="T15" fmla="*/ 3012 h 3012"/>
                <a:gd name="T16" fmla="*/ 5176 w 5929"/>
                <a:gd name="T17" fmla="*/ 3012 h 3012"/>
                <a:gd name="T18" fmla="*/ 5929 w 5929"/>
                <a:gd name="T19" fmla="*/ 2259 h 3012"/>
                <a:gd name="T20" fmla="*/ 5176 w 5929"/>
                <a:gd name="T21" fmla="*/ 150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29" h="3012">
                  <a:moveTo>
                    <a:pt x="5176" y="1506"/>
                  </a:moveTo>
                  <a:cubicBezTo>
                    <a:pt x="5061" y="1506"/>
                    <a:pt x="4952" y="1533"/>
                    <a:pt x="4855" y="1579"/>
                  </a:cubicBezTo>
                  <a:cubicBezTo>
                    <a:pt x="4856" y="1555"/>
                    <a:pt x="4857" y="1531"/>
                    <a:pt x="4857" y="1506"/>
                  </a:cubicBezTo>
                  <a:cubicBezTo>
                    <a:pt x="4857" y="675"/>
                    <a:pt x="4182" y="0"/>
                    <a:pt x="3351" y="0"/>
                  </a:cubicBezTo>
                  <a:cubicBezTo>
                    <a:pt x="2565" y="0"/>
                    <a:pt x="1919" y="603"/>
                    <a:pt x="1851" y="1372"/>
                  </a:cubicBezTo>
                  <a:cubicBezTo>
                    <a:pt x="1664" y="1120"/>
                    <a:pt x="1365" y="957"/>
                    <a:pt x="1027" y="957"/>
                  </a:cubicBezTo>
                  <a:cubicBezTo>
                    <a:pt x="460" y="957"/>
                    <a:pt x="0" y="1417"/>
                    <a:pt x="0" y="1985"/>
                  </a:cubicBezTo>
                  <a:cubicBezTo>
                    <a:pt x="0" y="2552"/>
                    <a:pt x="460" y="3012"/>
                    <a:pt x="1027" y="3012"/>
                  </a:cubicBezTo>
                  <a:cubicBezTo>
                    <a:pt x="1512" y="3012"/>
                    <a:pt x="4850" y="3012"/>
                    <a:pt x="5176" y="3012"/>
                  </a:cubicBezTo>
                  <a:cubicBezTo>
                    <a:pt x="5592" y="3012"/>
                    <a:pt x="5929" y="2675"/>
                    <a:pt x="5929" y="2259"/>
                  </a:cubicBezTo>
                  <a:cubicBezTo>
                    <a:pt x="5929" y="1843"/>
                    <a:pt x="5592" y="1506"/>
                    <a:pt x="5176" y="150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4" name="Freeform 106">
              <a:extLst>
                <a:ext uri="{FF2B5EF4-FFF2-40B4-BE49-F238E27FC236}">
                  <a16:creationId xmlns:a16="http://schemas.microsoft.com/office/drawing/2014/main" id="{73821648-E7E9-4A62-BD72-63D89FEB46D9}"/>
                </a:ext>
              </a:extLst>
            </p:cNvPr>
            <p:cNvSpPr>
              <a:spLocks/>
            </p:cNvSpPr>
            <p:nvPr/>
          </p:nvSpPr>
          <p:spPr bwMode="auto">
            <a:xfrm>
              <a:off x="4418" y="1460"/>
              <a:ext cx="86" cy="412"/>
            </a:xfrm>
            <a:custGeom>
              <a:avLst/>
              <a:gdLst>
                <a:gd name="T0" fmla="*/ 42 w 86"/>
                <a:gd name="T1" fmla="*/ 0 h 412"/>
                <a:gd name="T2" fmla="*/ 86 w 86"/>
                <a:gd name="T3" fmla="*/ 412 h 412"/>
                <a:gd name="T4" fmla="*/ 0 w 86"/>
                <a:gd name="T5" fmla="*/ 412 h 412"/>
                <a:gd name="T6" fmla="*/ 42 w 86"/>
                <a:gd name="T7" fmla="*/ 0 h 412"/>
              </a:gdLst>
              <a:ahLst/>
              <a:cxnLst>
                <a:cxn ang="0">
                  <a:pos x="T0" y="T1"/>
                </a:cxn>
                <a:cxn ang="0">
                  <a:pos x="T2" y="T3"/>
                </a:cxn>
                <a:cxn ang="0">
                  <a:pos x="T4" y="T5"/>
                </a:cxn>
                <a:cxn ang="0">
                  <a:pos x="T6" y="T7"/>
                </a:cxn>
              </a:cxnLst>
              <a:rect l="0" t="0" r="r" b="b"/>
              <a:pathLst>
                <a:path w="86" h="412">
                  <a:moveTo>
                    <a:pt x="42" y="0"/>
                  </a:moveTo>
                  <a:lnTo>
                    <a:pt x="86" y="412"/>
                  </a:lnTo>
                  <a:lnTo>
                    <a:pt x="0" y="412"/>
                  </a:lnTo>
                  <a:lnTo>
                    <a:pt x="42"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5" name="Freeform 107">
              <a:extLst>
                <a:ext uri="{FF2B5EF4-FFF2-40B4-BE49-F238E27FC236}">
                  <a16:creationId xmlns:a16="http://schemas.microsoft.com/office/drawing/2014/main" id="{00E1C077-08B0-4276-BEFE-E3719B1E6963}"/>
                </a:ext>
              </a:extLst>
            </p:cNvPr>
            <p:cNvSpPr>
              <a:spLocks/>
            </p:cNvSpPr>
            <p:nvPr/>
          </p:nvSpPr>
          <p:spPr bwMode="auto">
            <a:xfrm>
              <a:off x="4418" y="1460"/>
              <a:ext cx="86" cy="412"/>
            </a:xfrm>
            <a:custGeom>
              <a:avLst/>
              <a:gdLst>
                <a:gd name="T0" fmla="*/ 42 w 86"/>
                <a:gd name="T1" fmla="*/ 0 h 412"/>
                <a:gd name="T2" fmla="*/ 86 w 86"/>
                <a:gd name="T3" fmla="*/ 412 h 412"/>
                <a:gd name="T4" fmla="*/ 0 w 86"/>
                <a:gd name="T5" fmla="*/ 412 h 412"/>
                <a:gd name="T6" fmla="*/ 42 w 86"/>
                <a:gd name="T7" fmla="*/ 0 h 412"/>
              </a:gdLst>
              <a:ahLst/>
              <a:cxnLst>
                <a:cxn ang="0">
                  <a:pos x="T0" y="T1"/>
                </a:cxn>
                <a:cxn ang="0">
                  <a:pos x="T2" y="T3"/>
                </a:cxn>
                <a:cxn ang="0">
                  <a:pos x="T4" y="T5"/>
                </a:cxn>
                <a:cxn ang="0">
                  <a:pos x="T6" y="T7"/>
                </a:cxn>
              </a:cxnLst>
              <a:rect l="0" t="0" r="r" b="b"/>
              <a:pathLst>
                <a:path w="86" h="412">
                  <a:moveTo>
                    <a:pt x="42" y="0"/>
                  </a:moveTo>
                  <a:lnTo>
                    <a:pt x="86" y="412"/>
                  </a:lnTo>
                  <a:lnTo>
                    <a:pt x="0" y="412"/>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6" name="Freeform 108">
              <a:extLst>
                <a:ext uri="{FF2B5EF4-FFF2-40B4-BE49-F238E27FC236}">
                  <a16:creationId xmlns:a16="http://schemas.microsoft.com/office/drawing/2014/main" id="{390383CB-5DDA-44ED-A128-070BE48AAA19}"/>
                </a:ext>
              </a:extLst>
            </p:cNvPr>
            <p:cNvSpPr>
              <a:spLocks/>
            </p:cNvSpPr>
            <p:nvPr/>
          </p:nvSpPr>
          <p:spPr bwMode="auto">
            <a:xfrm>
              <a:off x="3939" y="1460"/>
              <a:ext cx="85" cy="412"/>
            </a:xfrm>
            <a:custGeom>
              <a:avLst/>
              <a:gdLst>
                <a:gd name="T0" fmla="*/ 42 w 85"/>
                <a:gd name="T1" fmla="*/ 0 h 412"/>
                <a:gd name="T2" fmla="*/ 85 w 85"/>
                <a:gd name="T3" fmla="*/ 412 h 412"/>
                <a:gd name="T4" fmla="*/ 0 w 85"/>
                <a:gd name="T5" fmla="*/ 412 h 412"/>
                <a:gd name="T6" fmla="*/ 42 w 85"/>
                <a:gd name="T7" fmla="*/ 0 h 412"/>
              </a:gdLst>
              <a:ahLst/>
              <a:cxnLst>
                <a:cxn ang="0">
                  <a:pos x="T0" y="T1"/>
                </a:cxn>
                <a:cxn ang="0">
                  <a:pos x="T2" y="T3"/>
                </a:cxn>
                <a:cxn ang="0">
                  <a:pos x="T4" y="T5"/>
                </a:cxn>
                <a:cxn ang="0">
                  <a:pos x="T6" y="T7"/>
                </a:cxn>
              </a:cxnLst>
              <a:rect l="0" t="0" r="r" b="b"/>
              <a:pathLst>
                <a:path w="85" h="412">
                  <a:moveTo>
                    <a:pt x="42" y="0"/>
                  </a:moveTo>
                  <a:lnTo>
                    <a:pt x="85" y="412"/>
                  </a:lnTo>
                  <a:lnTo>
                    <a:pt x="0" y="412"/>
                  </a:lnTo>
                  <a:lnTo>
                    <a:pt x="42"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7" name="Freeform 109">
              <a:extLst>
                <a:ext uri="{FF2B5EF4-FFF2-40B4-BE49-F238E27FC236}">
                  <a16:creationId xmlns:a16="http://schemas.microsoft.com/office/drawing/2014/main" id="{69138B34-F92F-459D-8D97-541BCF211A3F}"/>
                </a:ext>
              </a:extLst>
            </p:cNvPr>
            <p:cNvSpPr>
              <a:spLocks/>
            </p:cNvSpPr>
            <p:nvPr/>
          </p:nvSpPr>
          <p:spPr bwMode="auto">
            <a:xfrm>
              <a:off x="3939" y="1460"/>
              <a:ext cx="85" cy="412"/>
            </a:xfrm>
            <a:custGeom>
              <a:avLst/>
              <a:gdLst>
                <a:gd name="T0" fmla="*/ 42 w 85"/>
                <a:gd name="T1" fmla="*/ 0 h 412"/>
                <a:gd name="T2" fmla="*/ 85 w 85"/>
                <a:gd name="T3" fmla="*/ 412 h 412"/>
                <a:gd name="T4" fmla="*/ 0 w 85"/>
                <a:gd name="T5" fmla="*/ 412 h 412"/>
                <a:gd name="T6" fmla="*/ 42 w 85"/>
                <a:gd name="T7" fmla="*/ 0 h 412"/>
              </a:gdLst>
              <a:ahLst/>
              <a:cxnLst>
                <a:cxn ang="0">
                  <a:pos x="T0" y="T1"/>
                </a:cxn>
                <a:cxn ang="0">
                  <a:pos x="T2" y="T3"/>
                </a:cxn>
                <a:cxn ang="0">
                  <a:pos x="T4" y="T5"/>
                </a:cxn>
                <a:cxn ang="0">
                  <a:pos x="T6" y="T7"/>
                </a:cxn>
              </a:cxnLst>
              <a:rect l="0" t="0" r="r" b="b"/>
              <a:pathLst>
                <a:path w="85" h="412">
                  <a:moveTo>
                    <a:pt x="42" y="0"/>
                  </a:moveTo>
                  <a:lnTo>
                    <a:pt x="85" y="412"/>
                  </a:lnTo>
                  <a:lnTo>
                    <a:pt x="0" y="412"/>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9" name="Freeform 110">
              <a:extLst>
                <a:ext uri="{FF2B5EF4-FFF2-40B4-BE49-F238E27FC236}">
                  <a16:creationId xmlns:a16="http://schemas.microsoft.com/office/drawing/2014/main" id="{1A2EFB53-A424-4E08-B309-49CD0EC27BDB}"/>
                </a:ext>
              </a:extLst>
            </p:cNvPr>
            <p:cNvSpPr>
              <a:spLocks/>
            </p:cNvSpPr>
            <p:nvPr/>
          </p:nvSpPr>
          <p:spPr bwMode="auto">
            <a:xfrm>
              <a:off x="2831" y="2514"/>
              <a:ext cx="59" cy="55"/>
            </a:xfrm>
            <a:custGeom>
              <a:avLst/>
              <a:gdLst>
                <a:gd name="T0" fmla="*/ 0 w 59"/>
                <a:gd name="T1" fmla="*/ 25 h 55"/>
                <a:gd name="T2" fmla="*/ 35 w 59"/>
                <a:gd name="T3" fmla="*/ 0 h 55"/>
                <a:gd name="T4" fmla="*/ 59 w 59"/>
                <a:gd name="T5" fmla="*/ 35 h 55"/>
                <a:gd name="T6" fmla="*/ 46 w 59"/>
                <a:gd name="T7" fmla="*/ 55 h 55"/>
                <a:gd name="T8" fmla="*/ 0 w 59"/>
                <a:gd name="T9" fmla="*/ 25 h 55"/>
              </a:gdLst>
              <a:ahLst/>
              <a:cxnLst>
                <a:cxn ang="0">
                  <a:pos x="T0" y="T1"/>
                </a:cxn>
                <a:cxn ang="0">
                  <a:pos x="T2" y="T3"/>
                </a:cxn>
                <a:cxn ang="0">
                  <a:pos x="T4" y="T5"/>
                </a:cxn>
                <a:cxn ang="0">
                  <a:pos x="T6" y="T7"/>
                </a:cxn>
                <a:cxn ang="0">
                  <a:pos x="T8" y="T9"/>
                </a:cxn>
              </a:cxnLst>
              <a:rect l="0" t="0" r="r" b="b"/>
              <a:pathLst>
                <a:path w="59" h="55">
                  <a:moveTo>
                    <a:pt x="0" y="25"/>
                  </a:moveTo>
                  <a:lnTo>
                    <a:pt x="35" y="0"/>
                  </a:lnTo>
                  <a:lnTo>
                    <a:pt x="59" y="35"/>
                  </a:lnTo>
                  <a:lnTo>
                    <a:pt x="46" y="55"/>
                  </a:lnTo>
                  <a:lnTo>
                    <a:pt x="0" y="25"/>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30" name="Freeform 111">
              <a:extLst>
                <a:ext uri="{FF2B5EF4-FFF2-40B4-BE49-F238E27FC236}">
                  <a16:creationId xmlns:a16="http://schemas.microsoft.com/office/drawing/2014/main" id="{442919EC-9125-477D-A5BC-5C2552EA8F87}"/>
                </a:ext>
              </a:extLst>
            </p:cNvPr>
            <p:cNvSpPr>
              <a:spLocks/>
            </p:cNvSpPr>
            <p:nvPr/>
          </p:nvSpPr>
          <p:spPr bwMode="auto">
            <a:xfrm>
              <a:off x="2227" y="4327"/>
              <a:ext cx="2253" cy="76"/>
            </a:xfrm>
            <a:custGeom>
              <a:avLst/>
              <a:gdLst>
                <a:gd name="T0" fmla="*/ 90 w 5374"/>
                <a:gd name="T1" fmla="*/ 0 h 181"/>
                <a:gd name="T2" fmla="*/ 5284 w 5374"/>
                <a:gd name="T3" fmla="*/ 0 h 181"/>
                <a:gd name="T4" fmla="*/ 5374 w 5374"/>
                <a:gd name="T5" fmla="*/ 90 h 181"/>
                <a:gd name="T6" fmla="*/ 5374 w 5374"/>
                <a:gd name="T7" fmla="*/ 90 h 181"/>
                <a:gd name="T8" fmla="*/ 5284 w 5374"/>
                <a:gd name="T9" fmla="*/ 181 h 181"/>
                <a:gd name="T10" fmla="*/ 90 w 5374"/>
                <a:gd name="T11" fmla="*/ 181 h 181"/>
                <a:gd name="T12" fmla="*/ 0 w 5374"/>
                <a:gd name="T13" fmla="*/ 90 h 181"/>
                <a:gd name="T14" fmla="*/ 0 w 5374"/>
                <a:gd name="T15" fmla="*/ 90 h 181"/>
                <a:gd name="T16" fmla="*/ 90 w 5374"/>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4" h="181">
                  <a:moveTo>
                    <a:pt x="90" y="0"/>
                  </a:moveTo>
                  <a:cubicBezTo>
                    <a:pt x="5284" y="0"/>
                    <a:pt x="5284" y="0"/>
                    <a:pt x="5284" y="0"/>
                  </a:cubicBezTo>
                  <a:cubicBezTo>
                    <a:pt x="5334" y="0"/>
                    <a:pt x="5374" y="40"/>
                    <a:pt x="5374" y="90"/>
                  </a:cubicBezTo>
                  <a:cubicBezTo>
                    <a:pt x="5374" y="90"/>
                    <a:pt x="5374" y="90"/>
                    <a:pt x="5374" y="90"/>
                  </a:cubicBezTo>
                  <a:cubicBezTo>
                    <a:pt x="5374" y="140"/>
                    <a:pt x="5334" y="181"/>
                    <a:pt x="5284" y="181"/>
                  </a:cubicBezTo>
                  <a:cubicBezTo>
                    <a:pt x="90" y="181"/>
                    <a:pt x="90" y="181"/>
                    <a:pt x="90" y="181"/>
                  </a:cubicBezTo>
                  <a:cubicBezTo>
                    <a:pt x="40" y="181"/>
                    <a:pt x="0" y="140"/>
                    <a:pt x="0" y="90"/>
                  </a:cubicBezTo>
                  <a:cubicBezTo>
                    <a:pt x="0" y="90"/>
                    <a:pt x="0" y="90"/>
                    <a:pt x="0" y="90"/>
                  </a:cubicBezTo>
                  <a:cubicBezTo>
                    <a:pt x="0" y="40"/>
                    <a:pt x="40" y="0"/>
                    <a:pt x="9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38" name="Freeform 112">
              <a:extLst>
                <a:ext uri="{FF2B5EF4-FFF2-40B4-BE49-F238E27FC236}">
                  <a16:creationId xmlns:a16="http://schemas.microsoft.com/office/drawing/2014/main" id="{996DA38F-7967-4B06-868E-C5A7AA14ECAF}"/>
                </a:ext>
              </a:extLst>
            </p:cNvPr>
            <p:cNvSpPr>
              <a:spLocks/>
            </p:cNvSpPr>
            <p:nvPr/>
          </p:nvSpPr>
          <p:spPr bwMode="auto">
            <a:xfrm>
              <a:off x="3688" y="2644"/>
              <a:ext cx="86" cy="89"/>
            </a:xfrm>
            <a:custGeom>
              <a:avLst/>
              <a:gdLst>
                <a:gd name="T0" fmla="*/ 31 w 86"/>
                <a:gd name="T1" fmla="*/ 89 h 89"/>
                <a:gd name="T2" fmla="*/ 86 w 86"/>
                <a:gd name="T3" fmla="*/ 56 h 89"/>
                <a:gd name="T4" fmla="*/ 31 w 86"/>
                <a:gd name="T5" fmla="*/ 0 h 89"/>
                <a:gd name="T6" fmla="*/ 0 w 86"/>
                <a:gd name="T7" fmla="*/ 71 h 89"/>
                <a:gd name="T8" fmla="*/ 31 w 86"/>
                <a:gd name="T9" fmla="*/ 89 h 89"/>
              </a:gdLst>
              <a:ahLst/>
              <a:cxnLst>
                <a:cxn ang="0">
                  <a:pos x="T0" y="T1"/>
                </a:cxn>
                <a:cxn ang="0">
                  <a:pos x="T2" y="T3"/>
                </a:cxn>
                <a:cxn ang="0">
                  <a:pos x="T4" y="T5"/>
                </a:cxn>
                <a:cxn ang="0">
                  <a:pos x="T6" y="T7"/>
                </a:cxn>
                <a:cxn ang="0">
                  <a:pos x="T8" y="T9"/>
                </a:cxn>
              </a:cxnLst>
              <a:rect l="0" t="0" r="r" b="b"/>
              <a:pathLst>
                <a:path w="86" h="89">
                  <a:moveTo>
                    <a:pt x="31" y="89"/>
                  </a:moveTo>
                  <a:lnTo>
                    <a:pt x="86" y="56"/>
                  </a:lnTo>
                  <a:lnTo>
                    <a:pt x="31" y="0"/>
                  </a:lnTo>
                  <a:lnTo>
                    <a:pt x="0" y="71"/>
                  </a:lnTo>
                  <a:lnTo>
                    <a:pt x="31" y="89"/>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98" name="Freeform 113">
              <a:extLst>
                <a:ext uri="{FF2B5EF4-FFF2-40B4-BE49-F238E27FC236}">
                  <a16:creationId xmlns:a16="http://schemas.microsoft.com/office/drawing/2014/main" id="{93DBE47A-E348-4BA1-95C4-8010D471E290}"/>
                </a:ext>
              </a:extLst>
            </p:cNvPr>
            <p:cNvSpPr>
              <a:spLocks/>
            </p:cNvSpPr>
            <p:nvPr/>
          </p:nvSpPr>
          <p:spPr bwMode="auto">
            <a:xfrm>
              <a:off x="2844" y="4247"/>
              <a:ext cx="371" cy="159"/>
            </a:xfrm>
            <a:custGeom>
              <a:avLst/>
              <a:gdLst>
                <a:gd name="T0" fmla="*/ 48 w 884"/>
                <a:gd name="T1" fmla="*/ 0 h 380"/>
                <a:gd name="T2" fmla="*/ 23 w 884"/>
                <a:gd name="T3" fmla="*/ 113 h 380"/>
                <a:gd name="T4" fmla="*/ 7 w 884"/>
                <a:gd name="T5" fmla="*/ 380 h 380"/>
                <a:gd name="T6" fmla="*/ 7 w 884"/>
                <a:gd name="T7" fmla="*/ 380 h 380"/>
                <a:gd name="T8" fmla="*/ 872 w 884"/>
                <a:gd name="T9" fmla="*/ 380 h 380"/>
                <a:gd name="T10" fmla="*/ 872 w 884"/>
                <a:gd name="T11" fmla="*/ 380 h 380"/>
                <a:gd name="T12" fmla="*/ 777 w 884"/>
                <a:gd name="T13" fmla="*/ 233 h 380"/>
                <a:gd name="T14" fmla="*/ 562 w 884"/>
                <a:gd name="T15" fmla="*/ 187 h 380"/>
                <a:gd name="T16" fmla="*/ 450 w 884"/>
                <a:gd name="T17" fmla="*/ 109 h 380"/>
                <a:gd name="T18" fmla="*/ 383 w 884"/>
                <a:gd name="T19" fmla="*/ 2 h 380"/>
                <a:gd name="T20" fmla="*/ 48 w 884"/>
                <a:gd name="T21"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4" h="380">
                  <a:moveTo>
                    <a:pt x="48" y="0"/>
                  </a:moveTo>
                  <a:cubicBezTo>
                    <a:pt x="23" y="113"/>
                    <a:pt x="23" y="113"/>
                    <a:pt x="23" y="113"/>
                  </a:cubicBezTo>
                  <a:cubicBezTo>
                    <a:pt x="5" y="200"/>
                    <a:pt x="0" y="290"/>
                    <a:pt x="7" y="380"/>
                  </a:cubicBezTo>
                  <a:cubicBezTo>
                    <a:pt x="7" y="380"/>
                    <a:pt x="7" y="380"/>
                    <a:pt x="7" y="380"/>
                  </a:cubicBezTo>
                  <a:cubicBezTo>
                    <a:pt x="872" y="380"/>
                    <a:pt x="872" y="380"/>
                    <a:pt x="872" y="380"/>
                  </a:cubicBezTo>
                  <a:cubicBezTo>
                    <a:pt x="872" y="380"/>
                    <a:pt x="872" y="380"/>
                    <a:pt x="872" y="380"/>
                  </a:cubicBezTo>
                  <a:cubicBezTo>
                    <a:pt x="884" y="313"/>
                    <a:pt x="843" y="249"/>
                    <a:pt x="777" y="233"/>
                  </a:cubicBezTo>
                  <a:cubicBezTo>
                    <a:pt x="562" y="187"/>
                    <a:pt x="562" y="187"/>
                    <a:pt x="562" y="187"/>
                  </a:cubicBezTo>
                  <a:cubicBezTo>
                    <a:pt x="516" y="177"/>
                    <a:pt x="475" y="149"/>
                    <a:pt x="450" y="109"/>
                  </a:cubicBezTo>
                  <a:cubicBezTo>
                    <a:pt x="383" y="2"/>
                    <a:pt x="383" y="2"/>
                    <a:pt x="383" y="2"/>
                  </a:cubicBezTo>
                  <a:lnTo>
                    <a:pt x="48" y="0"/>
                  </a:ln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99" name="Freeform 114">
              <a:extLst>
                <a:ext uri="{FF2B5EF4-FFF2-40B4-BE49-F238E27FC236}">
                  <a16:creationId xmlns:a16="http://schemas.microsoft.com/office/drawing/2014/main" id="{FF62D821-022D-4970-B4B7-2072385BF0F4}"/>
                </a:ext>
              </a:extLst>
            </p:cNvPr>
            <p:cNvSpPr>
              <a:spLocks noEditPoints="1"/>
            </p:cNvSpPr>
            <p:nvPr/>
          </p:nvSpPr>
          <p:spPr bwMode="auto">
            <a:xfrm>
              <a:off x="3594" y="1460"/>
              <a:ext cx="866" cy="2943"/>
            </a:xfrm>
            <a:custGeom>
              <a:avLst/>
              <a:gdLst>
                <a:gd name="T0" fmla="*/ 798 w 866"/>
                <a:gd name="T1" fmla="*/ 0 h 2943"/>
                <a:gd name="T2" fmla="*/ 775 w 866"/>
                <a:gd name="T3" fmla="*/ 248 h 2943"/>
                <a:gd name="T4" fmla="*/ 361 w 866"/>
                <a:gd name="T5" fmla="*/ 248 h 2943"/>
                <a:gd name="T6" fmla="*/ 384 w 866"/>
                <a:gd name="T7" fmla="*/ 0 h 2943"/>
                <a:gd name="T8" fmla="*/ 272 w 866"/>
                <a:gd name="T9" fmla="*/ 0 h 2943"/>
                <a:gd name="T10" fmla="*/ 0 w 866"/>
                <a:gd name="T11" fmla="*/ 2943 h 2943"/>
                <a:gd name="T12" fmla="*/ 112 w 866"/>
                <a:gd name="T13" fmla="*/ 2943 h 2943"/>
                <a:gd name="T14" fmla="*/ 134 w 866"/>
                <a:gd name="T15" fmla="*/ 2701 h 2943"/>
                <a:gd name="T16" fmla="*/ 504 w 866"/>
                <a:gd name="T17" fmla="*/ 2701 h 2943"/>
                <a:gd name="T18" fmla="*/ 482 w 866"/>
                <a:gd name="T19" fmla="*/ 2943 h 2943"/>
                <a:gd name="T20" fmla="*/ 594 w 866"/>
                <a:gd name="T21" fmla="*/ 2943 h 2943"/>
                <a:gd name="T22" fmla="*/ 866 w 866"/>
                <a:gd name="T23" fmla="*/ 0 h 2943"/>
                <a:gd name="T24" fmla="*/ 798 w 866"/>
                <a:gd name="T25" fmla="*/ 0 h 2943"/>
                <a:gd name="T26" fmla="*/ 765 w 866"/>
                <a:gd name="T27" fmla="*/ 351 h 2943"/>
                <a:gd name="T28" fmla="*/ 744 w 866"/>
                <a:gd name="T29" fmla="*/ 584 h 2943"/>
                <a:gd name="T30" fmla="*/ 330 w 866"/>
                <a:gd name="T31" fmla="*/ 584 h 2943"/>
                <a:gd name="T32" fmla="*/ 351 w 866"/>
                <a:gd name="T33" fmla="*/ 351 h 2943"/>
                <a:gd name="T34" fmla="*/ 765 w 866"/>
                <a:gd name="T35" fmla="*/ 351 h 2943"/>
                <a:gd name="T36" fmla="*/ 206 w 866"/>
                <a:gd name="T37" fmla="*/ 1926 h 2943"/>
                <a:gd name="T38" fmla="*/ 227 w 866"/>
                <a:gd name="T39" fmla="*/ 1694 h 2943"/>
                <a:gd name="T40" fmla="*/ 641 w 866"/>
                <a:gd name="T41" fmla="*/ 1694 h 2943"/>
                <a:gd name="T42" fmla="*/ 620 w 866"/>
                <a:gd name="T43" fmla="*/ 1926 h 2943"/>
                <a:gd name="T44" fmla="*/ 206 w 866"/>
                <a:gd name="T45" fmla="*/ 1926 h 2943"/>
                <a:gd name="T46" fmla="*/ 610 w 866"/>
                <a:gd name="T47" fmla="*/ 2030 h 2943"/>
                <a:gd name="T48" fmla="*/ 589 w 866"/>
                <a:gd name="T49" fmla="*/ 2262 h 2943"/>
                <a:gd name="T50" fmla="*/ 175 w 866"/>
                <a:gd name="T51" fmla="*/ 2262 h 2943"/>
                <a:gd name="T52" fmla="*/ 196 w 866"/>
                <a:gd name="T53" fmla="*/ 2030 h 2943"/>
                <a:gd name="T54" fmla="*/ 610 w 866"/>
                <a:gd name="T55" fmla="*/ 2030 h 2943"/>
                <a:gd name="T56" fmla="*/ 237 w 866"/>
                <a:gd name="T57" fmla="*/ 1591 h 2943"/>
                <a:gd name="T58" fmla="*/ 258 w 866"/>
                <a:gd name="T59" fmla="*/ 1358 h 2943"/>
                <a:gd name="T60" fmla="*/ 672 w 866"/>
                <a:gd name="T61" fmla="*/ 1358 h 2943"/>
                <a:gd name="T62" fmla="*/ 651 w 866"/>
                <a:gd name="T63" fmla="*/ 1591 h 2943"/>
                <a:gd name="T64" fmla="*/ 237 w 866"/>
                <a:gd name="T65" fmla="*/ 1591 h 2943"/>
                <a:gd name="T66" fmla="*/ 268 w 866"/>
                <a:gd name="T67" fmla="*/ 1255 h 2943"/>
                <a:gd name="T68" fmla="*/ 289 w 866"/>
                <a:gd name="T69" fmla="*/ 1023 h 2943"/>
                <a:gd name="T70" fmla="*/ 703 w 866"/>
                <a:gd name="T71" fmla="*/ 1023 h 2943"/>
                <a:gd name="T72" fmla="*/ 682 w 866"/>
                <a:gd name="T73" fmla="*/ 1255 h 2943"/>
                <a:gd name="T74" fmla="*/ 268 w 866"/>
                <a:gd name="T75" fmla="*/ 1255 h 2943"/>
                <a:gd name="T76" fmla="*/ 299 w 866"/>
                <a:gd name="T77" fmla="*/ 919 h 2943"/>
                <a:gd name="T78" fmla="*/ 320 w 866"/>
                <a:gd name="T79" fmla="*/ 687 h 2943"/>
                <a:gd name="T80" fmla="*/ 734 w 866"/>
                <a:gd name="T81" fmla="*/ 687 h 2943"/>
                <a:gd name="T82" fmla="*/ 713 w 866"/>
                <a:gd name="T83" fmla="*/ 919 h 2943"/>
                <a:gd name="T84" fmla="*/ 299 w 866"/>
                <a:gd name="T85" fmla="*/ 919 h 2943"/>
                <a:gd name="T86" fmla="*/ 144 w 866"/>
                <a:gd name="T87" fmla="*/ 2598 h 2943"/>
                <a:gd name="T88" fmla="*/ 165 w 866"/>
                <a:gd name="T89" fmla="*/ 2366 h 2943"/>
                <a:gd name="T90" fmla="*/ 579 w 866"/>
                <a:gd name="T91" fmla="*/ 2366 h 2943"/>
                <a:gd name="T92" fmla="*/ 558 w 866"/>
                <a:gd name="T93" fmla="*/ 2598 h 2943"/>
                <a:gd name="T94" fmla="*/ 144 w 866"/>
                <a:gd name="T95" fmla="*/ 2598 h 2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6" h="2943">
                  <a:moveTo>
                    <a:pt x="798" y="0"/>
                  </a:moveTo>
                  <a:lnTo>
                    <a:pt x="775" y="248"/>
                  </a:lnTo>
                  <a:lnTo>
                    <a:pt x="361" y="248"/>
                  </a:lnTo>
                  <a:lnTo>
                    <a:pt x="384" y="0"/>
                  </a:lnTo>
                  <a:lnTo>
                    <a:pt x="272" y="0"/>
                  </a:lnTo>
                  <a:lnTo>
                    <a:pt x="0" y="2943"/>
                  </a:lnTo>
                  <a:lnTo>
                    <a:pt x="112" y="2943"/>
                  </a:lnTo>
                  <a:lnTo>
                    <a:pt x="134" y="2701"/>
                  </a:lnTo>
                  <a:lnTo>
                    <a:pt x="504" y="2701"/>
                  </a:lnTo>
                  <a:lnTo>
                    <a:pt x="482" y="2943"/>
                  </a:lnTo>
                  <a:lnTo>
                    <a:pt x="594" y="2943"/>
                  </a:lnTo>
                  <a:lnTo>
                    <a:pt x="866" y="0"/>
                  </a:lnTo>
                  <a:lnTo>
                    <a:pt x="798" y="0"/>
                  </a:lnTo>
                  <a:close/>
                  <a:moveTo>
                    <a:pt x="765" y="351"/>
                  </a:moveTo>
                  <a:lnTo>
                    <a:pt x="744" y="584"/>
                  </a:lnTo>
                  <a:lnTo>
                    <a:pt x="330" y="584"/>
                  </a:lnTo>
                  <a:lnTo>
                    <a:pt x="351" y="351"/>
                  </a:lnTo>
                  <a:lnTo>
                    <a:pt x="765" y="351"/>
                  </a:lnTo>
                  <a:close/>
                  <a:moveTo>
                    <a:pt x="206" y="1926"/>
                  </a:moveTo>
                  <a:lnTo>
                    <a:pt x="227" y="1694"/>
                  </a:lnTo>
                  <a:lnTo>
                    <a:pt x="641" y="1694"/>
                  </a:lnTo>
                  <a:lnTo>
                    <a:pt x="620" y="1926"/>
                  </a:lnTo>
                  <a:lnTo>
                    <a:pt x="206" y="1926"/>
                  </a:lnTo>
                  <a:close/>
                  <a:moveTo>
                    <a:pt x="610" y="2030"/>
                  </a:moveTo>
                  <a:lnTo>
                    <a:pt x="589" y="2262"/>
                  </a:lnTo>
                  <a:lnTo>
                    <a:pt x="175" y="2262"/>
                  </a:lnTo>
                  <a:lnTo>
                    <a:pt x="196" y="2030"/>
                  </a:lnTo>
                  <a:lnTo>
                    <a:pt x="610" y="2030"/>
                  </a:lnTo>
                  <a:close/>
                  <a:moveTo>
                    <a:pt x="237" y="1591"/>
                  </a:moveTo>
                  <a:lnTo>
                    <a:pt x="258" y="1358"/>
                  </a:lnTo>
                  <a:lnTo>
                    <a:pt x="672" y="1358"/>
                  </a:lnTo>
                  <a:lnTo>
                    <a:pt x="651" y="1591"/>
                  </a:lnTo>
                  <a:lnTo>
                    <a:pt x="237" y="1591"/>
                  </a:lnTo>
                  <a:close/>
                  <a:moveTo>
                    <a:pt x="268" y="1255"/>
                  </a:moveTo>
                  <a:lnTo>
                    <a:pt x="289" y="1023"/>
                  </a:lnTo>
                  <a:lnTo>
                    <a:pt x="703" y="1023"/>
                  </a:lnTo>
                  <a:lnTo>
                    <a:pt x="682" y="1255"/>
                  </a:lnTo>
                  <a:lnTo>
                    <a:pt x="268" y="1255"/>
                  </a:lnTo>
                  <a:close/>
                  <a:moveTo>
                    <a:pt x="299" y="919"/>
                  </a:moveTo>
                  <a:lnTo>
                    <a:pt x="320" y="687"/>
                  </a:lnTo>
                  <a:lnTo>
                    <a:pt x="734" y="687"/>
                  </a:lnTo>
                  <a:lnTo>
                    <a:pt x="713" y="919"/>
                  </a:lnTo>
                  <a:lnTo>
                    <a:pt x="299" y="919"/>
                  </a:lnTo>
                  <a:close/>
                  <a:moveTo>
                    <a:pt x="144" y="2598"/>
                  </a:moveTo>
                  <a:lnTo>
                    <a:pt x="165" y="2366"/>
                  </a:lnTo>
                  <a:lnTo>
                    <a:pt x="579" y="2366"/>
                  </a:lnTo>
                  <a:lnTo>
                    <a:pt x="558" y="2598"/>
                  </a:lnTo>
                  <a:lnTo>
                    <a:pt x="144" y="259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0" name="Freeform 115">
              <a:extLst>
                <a:ext uri="{FF2B5EF4-FFF2-40B4-BE49-F238E27FC236}">
                  <a16:creationId xmlns:a16="http://schemas.microsoft.com/office/drawing/2014/main" id="{6F879CB8-8218-4355-B167-BD3AF0FF14A7}"/>
                </a:ext>
              </a:extLst>
            </p:cNvPr>
            <p:cNvSpPr>
              <a:spLocks noEditPoints="1"/>
            </p:cNvSpPr>
            <p:nvPr/>
          </p:nvSpPr>
          <p:spPr bwMode="auto">
            <a:xfrm>
              <a:off x="3571" y="1460"/>
              <a:ext cx="822" cy="2943"/>
            </a:xfrm>
            <a:custGeom>
              <a:avLst/>
              <a:gdLst>
                <a:gd name="T0" fmla="*/ 754 w 822"/>
                <a:gd name="T1" fmla="*/ 0 h 2943"/>
                <a:gd name="T2" fmla="*/ 731 w 822"/>
                <a:gd name="T3" fmla="*/ 248 h 2943"/>
                <a:gd name="T4" fmla="*/ 317 w 822"/>
                <a:gd name="T5" fmla="*/ 248 h 2943"/>
                <a:gd name="T6" fmla="*/ 340 w 822"/>
                <a:gd name="T7" fmla="*/ 0 h 2943"/>
                <a:gd name="T8" fmla="*/ 272 w 822"/>
                <a:gd name="T9" fmla="*/ 0 h 2943"/>
                <a:gd name="T10" fmla="*/ 0 w 822"/>
                <a:gd name="T11" fmla="*/ 2943 h 2943"/>
                <a:gd name="T12" fmla="*/ 67 w 822"/>
                <a:gd name="T13" fmla="*/ 2943 h 2943"/>
                <a:gd name="T14" fmla="*/ 90 w 822"/>
                <a:gd name="T15" fmla="*/ 2701 h 2943"/>
                <a:gd name="T16" fmla="*/ 504 w 822"/>
                <a:gd name="T17" fmla="*/ 2701 h 2943"/>
                <a:gd name="T18" fmla="*/ 481 w 822"/>
                <a:gd name="T19" fmla="*/ 2943 h 2943"/>
                <a:gd name="T20" fmla="*/ 550 w 822"/>
                <a:gd name="T21" fmla="*/ 2943 h 2943"/>
                <a:gd name="T22" fmla="*/ 822 w 822"/>
                <a:gd name="T23" fmla="*/ 0 h 2943"/>
                <a:gd name="T24" fmla="*/ 754 w 822"/>
                <a:gd name="T25" fmla="*/ 0 h 2943"/>
                <a:gd name="T26" fmla="*/ 721 w 822"/>
                <a:gd name="T27" fmla="*/ 351 h 2943"/>
                <a:gd name="T28" fmla="*/ 700 w 822"/>
                <a:gd name="T29" fmla="*/ 584 h 2943"/>
                <a:gd name="T30" fmla="*/ 286 w 822"/>
                <a:gd name="T31" fmla="*/ 584 h 2943"/>
                <a:gd name="T32" fmla="*/ 307 w 822"/>
                <a:gd name="T33" fmla="*/ 351 h 2943"/>
                <a:gd name="T34" fmla="*/ 721 w 822"/>
                <a:gd name="T35" fmla="*/ 351 h 2943"/>
                <a:gd name="T36" fmla="*/ 161 w 822"/>
                <a:gd name="T37" fmla="*/ 1926 h 2943"/>
                <a:gd name="T38" fmla="*/ 183 w 822"/>
                <a:gd name="T39" fmla="*/ 1694 h 2943"/>
                <a:gd name="T40" fmla="*/ 597 w 822"/>
                <a:gd name="T41" fmla="*/ 1694 h 2943"/>
                <a:gd name="T42" fmla="*/ 576 w 822"/>
                <a:gd name="T43" fmla="*/ 1926 h 2943"/>
                <a:gd name="T44" fmla="*/ 161 w 822"/>
                <a:gd name="T45" fmla="*/ 1926 h 2943"/>
                <a:gd name="T46" fmla="*/ 566 w 822"/>
                <a:gd name="T47" fmla="*/ 2030 h 2943"/>
                <a:gd name="T48" fmla="*/ 545 w 822"/>
                <a:gd name="T49" fmla="*/ 2262 h 2943"/>
                <a:gd name="T50" fmla="*/ 130 w 822"/>
                <a:gd name="T51" fmla="*/ 2262 h 2943"/>
                <a:gd name="T52" fmla="*/ 152 w 822"/>
                <a:gd name="T53" fmla="*/ 2030 h 2943"/>
                <a:gd name="T54" fmla="*/ 566 w 822"/>
                <a:gd name="T55" fmla="*/ 2030 h 2943"/>
                <a:gd name="T56" fmla="*/ 193 w 822"/>
                <a:gd name="T57" fmla="*/ 1591 h 2943"/>
                <a:gd name="T58" fmla="*/ 214 w 822"/>
                <a:gd name="T59" fmla="*/ 1358 h 2943"/>
                <a:gd name="T60" fmla="*/ 628 w 822"/>
                <a:gd name="T61" fmla="*/ 1358 h 2943"/>
                <a:gd name="T62" fmla="*/ 607 w 822"/>
                <a:gd name="T63" fmla="*/ 1591 h 2943"/>
                <a:gd name="T64" fmla="*/ 193 w 822"/>
                <a:gd name="T65" fmla="*/ 1591 h 2943"/>
                <a:gd name="T66" fmla="*/ 224 w 822"/>
                <a:gd name="T67" fmla="*/ 1255 h 2943"/>
                <a:gd name="T68" fmla="*/ 245 w 822"/>
                <a:gd name="T69" fmla="*/ 1023 h 2943"/>
                <a:gd name="T70" fmla="*/ 659 w 822"/>
                <a:gd name="T71" fmla="*/ 1023 h 2943"/>
                <a:gd name="T72" fmla="*/ 638 w 822"/>
                <a:gd name="T73" fmla="*/ 1255 h 2943"/>
                <a:gd name="T74" fmla="*/ 224 w 822"/>
                <a:gd name="T75" fmla="*/ 1255 h 2943"/>
                <a:gd name="T76" fmla="*/ 255 w 822"/>
                <a:gd name="T77" fmla="*/ 919 h 2943"/>
                <a:gd name="T78" fmla="*/ 276 w 822"/>
                <a:gd name="T79" fmla="*/ 687 h 2943"/>
                <a:gd name="T80" fmla="*/ 690 w 822"/>
                <a:gd name="T81" fmla="*/ 687 h 2943"/>
                <a:gd name="T82" fmla="*/ 669 w 822"/>
                <a:gd name="T83" fmla="*/ 919 h 2943"/>
                <a:gd name="T84" fmla="*/ 255 w 822"/>
                <a:gd name="T85" fmla="*/ 919 h 2943"/>
                <a:gd name="T86" fmla="*/ 99 w 822"/>
                <a:gd name="T87" fmla="*/ 2598 h 2943"/>
                <a:gd name="T88" fmla="*/ 121 w 822"/>
                <a:gd name="T89" fmla="*/ 2366 h 2943"/>
                <a:gd name="T90" fmla="*/ 535 w 822"/>
                <a:gd name="T91" fmla="*/ 2366 h 2943"/>
                <a:gd name="T92" fmla="*/ 513 w 822"/>
                <a:gd name="T93" fmla="*/ 2598 h 2943"/>
                <a:gd name="T94" fmla="*/ 99 w 822"/>
                <a:gd name="T95" fmla="*/ 2598 h 2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2" h="2943">
                  <a:moveTo>
                    <a:pt x="754" y="0"/>
                  </a:moveTo>
                  <a:lnTo>
                    <a:pt x="731" y="248"/>
                  </a:lnTo>
                  <a:lnTo>
                    <a:pt x="317" y="248"/>
                  </a:lnTo>
                  <a:lnTo>
                    <a:pt x="340" y="0"/>
                  </a:lnTo>
                  <a:lnTo>
                    <a:pt x="272" y="0"/>
                  </a:lnTo>
                  <a:lnTo>
                    <a:pt x="0" y="2943"/>
                  </a:lnTo>
                  <a:lnTo>
                    <a:pt x="67" y="2943"/>
                  </a:lnTo>
                  <a:lnTo>
                    <a:pt x="90" y="2701"/>
                  </a:lnTo>
                  <a:lnTo>
                    <a:pt x="504" y="2701"/>
                  </a:lnTo>
                  <a:lnTo>
                    <a:pt x="481" y="2943"/>
                  </a:lnTo>
                  <a:lnTo>
                    <a:pt x="550" y="2943"/>
                  </a:lnTo>
                  <a:lnTo>
                    <a:pt x="822" y="0"/>
                  </a:lnTo>
                  <a:lnTo>
                    <a:pt x="754" y="0"/>
                  </a:lnTo>
                  <a:close/>
                  <a:moveTo>
                    <a:pt x="721" y="351"/>
                  </a:moveTo>
                  <a:lnTo>
                    <a:pt x="700" y="584"/>
                  </a:lnTo>
                  <a:lnTo>
                    <a:pt x="286" y="584"/>
                  </a:lnTo>
                  <a:lnTo>
                    <a:pt x="307" y="351"/>
                  </a:lnTo>
                  <a:lnTo>
                    <a:pt x="721" y="351"/>
                  </a:lnTo>
                  <a:close/>
                  <a:moveTo>
                    <a:pt x="161" y="1926"/>
                  </a:moveTo>
                  <a:lnTo>
                    <a:pt x="183" y="1694"/>
                  </a:lnTo>
                  <a:lnTo>
                    <a:pt x="597" y="1694"/>
                  </a:lnTo>
                  <a:lnTo>
                    <a:pt x="576" y="1926"/>
                  </a:lnTo>
                  <a:lnTo>
                    <a:pt x="161" y="1926"/>
                  </a:lnTo>
                  <a:close/>
                  <a:moveTo>
                    <a:pt x="566" y="2030"/>
                  </a:moveTo>
                  <a:lnTo>
                    <a:pt x="545" y="2262"/>
                  </a:lnTo>
                  <a:lnTo>
                    <a:pt x="130" y="2262"/>
                  </a:lnTo>
                  <a:lnTo>
                    <a:pt x="152" y="2030"/>
                  </a:lnTo>
                  <a:lnTo>
                    <a:pt x="566" y="2030"/>
                  </a:lnTo>
                  <a:close/>
                  <a:moveTo>
                    <a:pt x="193" y="1591"/>
                  </a:moveTo>
                  <a:lnTo>
                    <a:pt x="214" y="1358"/>
                  </a:lnTo>
                  <a:lnTo>
                    <a:pt x="628" y="1358"/>
                  </a:lnTo>
                  <a:lnTo>
                    <a:pt x="607" y="1591"/>
                  </a:lnTo>
                  <a:lnTo>
                    <a:pt x="193" y="1591"/>
                  </a:lnTo>
                  <a:close/>
                  <a:moveTo>
                    <a:pt x="224" y="1255"/>
                  </a:moveTo>
                  <a:lnTo>
                    <a:pt x="245" y="1023"/>
                  </a:lnTo>
                  <a:lnTo>
                    <a:pt x="659" y="1023"/>
                  </a:lnTo>
                  <a:lnTo>
                    <a:pt x="638" y="1255"/>
                  </a:lnTo>
                  <a:lnTo>
                    <a:pt x="224" y="1255"/>
                  </a:lnTo>
                  <a:close/>
                  <a:moveTo>
                    <a:pt x="255" y="919"/>
                  </a:moveTo>
                  <a:lnTo>
                    <a:pt x="276" y="687"/>
                  </a:lnTo>
                  <a:lnTo>
                    <a:pt x="690" y="687"/>
                  </a:lnTo>
                  <a:lnTo>
                    <a:pt x="669" y="919"/>
                  </a:lnTo>
                  <a:lnTo>
                    <a:pt x="255" y="919"/>
                  </a:lnTo>
                  <a:close/>
                  <a:moveTo>
                    <a:pt x="99" y="2598"/>
                  </a:moveTo>
                  <a:lnTo>
                    <a:pt x="121" y="2366"/>
                  </a:lnTo>
                  <a:lnTo>
                    <a:pt x="535" y="2366"/>
                  </a:lnTo>
                  <a:lnTo>
                    <a:pt x="513" y="2598"/>
                  </a:lnTo>
                  <a:lnTo>
                    <a:pt x="99" y="259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1" name="Freeform 116">
              <a:extLst>
                <a:ext uri="{FF2B5EF4-FFF2-40B4-BE49-F238E27FC236}">
                  <a16:creationId xmlns:a16="http://schemas.microsoft.com/office/drawing/2014/main" id="{62B8C71E-61DC-40B3-A75F-E26E167D38AC}"/>
                </a:ext>
              </a:extLst>
            </p:cNvPr>
            <p:cNvSpPr>
              <a:spLocks/>
            </p:cNvSpPr>
            <p:nvPr/>
          </p:nvSpPr>
          <p:spPr bwMode="auto">
            <a:xfrm>
              <a:off x="3620" y="3707"/>
              <a:ext cx="285" cy="163"/>
            </a:xfrm>
            <a:custGeom>
              <a:avLst/>
              <a:gdLst>
                <a:gd name="T0" fmla="*/ 285 w 285"/>
                <a:gd name="T1" fmla="*/ 15 h 163"/>
                <a:gd name="T2" fmla="*/ 245 w 285"/>
                <a:gd name="T3" fmla="*/ 119 h 163"/>
                <a:gd name="T4" fmla="*/ 72 w 285"/>
                <a:gd name="T5" fmla="*/ 119 h 163"/>
                <a:gd name="T6" fmla="*/ 72 w 285"/>
                <a:gd name="T7" fmla="*/ 163 h 163"/>
                <a:gd name="T8" fmla="*/ 0 w 285"/>
                <a:gd name="T9" fmla="*/ 163 h 163"/>
                <a:gd name="T10" fmla="*/ 7 w 285"/>
                <a:gd name="T11" fmla="*/ 89 h 163"/>
                <a:gd name="T12" fmla="*/ 274 w 285"/>
                <a:gd name="T13" fmla="*/ 0 h 163"/>
                <a:gd name="T14" fmla="*/ 285 w 285"/>
                <a:gd name="T15" fmla="*/ 15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163">
                  <a:moveTo>
                    <a:pt x="285" y="15"/>
                  </a:moveTo>
                  <a:lnTo>
                    <a:pt x="245" y="119"/>
                  </a:lnTo>
                  <a:lnTo>
                    <a:pt x="72" y="119"/>
                  </a:lnTo>
                  <a:lnTo>
                    <a:pt x="72" y="163"/>
                  </a:lnTo>
                  <a:lnTo>
                    <a:pt x="0" y="163"/>
                  </a:lnTo>
                  <a:lnTo>
                    <a:pt x="7" y="89"/>
                  </a:lnTo>
                  <a:lnTo>
                    <a:pt x="274" y="0"/>
                  </a:lnTo>
                  <a:lnTo>
                    <a:pt x="285" y="15"/>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2" name="Freeform 117">
              <a:extLst>
                <a:ext uri="{FF2B5EF4-FFF2-40B4-BE49-F238E27FC236}">
                  <a16:creationId xmlns:a16="http://schemas.microsoft.com/office/drawing/2014/main" id="{D8C2F4CB-045D-4EAA-84F9-35E61A891949}"/>
                </a:ext>
              </a:extLst>
            </p:cNvPr>
            <p:cNvSpPr>
              <a:spLocks/>
            </p:cNvSpPr>
            <p:nvPr/>
          </p:nvSpPr>
          <p:spPr bwMode="auto">
            <a:xfrm>
              <a:off x="3517" y="3585"/>
              <a:ext cx="163" cy="101"/>
            </a:xfrm>
            <a:custGeom>
              <a:avLst/>
              <a:gdLst>
                <a:gd name="T0" fmla="*/ 0 w 389"/>
                <a:gd name="T1" fmla="*/ 241 h 241"/>
                <a:gd name="T2" fmla="*/ 389 w 389"/>
                <a:gd name="T3" fmla="*/ 44 h 241"/>
                <a:gd name="T4" fmla="*/ 340 w 389"/>
                <a:gd name="T5" fmla="*/ 0 h 241"/>
                <a:gd name="T6" fmla="*/ 22 w 389"/>
                <a:gd name="T7" fmla="*/ 161 h 241"/>
                <a:gd name="T8" fmla="*/ 0 w 389"/>
                <a:gd name="T9" fmla="*/ 241 h 241"/>
              </a:gdLst>
              <a:ahLst/>
              <a:cxnLst>
                <a:cxn ang="0">
                  <a:pos x="T0" y="T1"/>
                </a:cxn>
                <a:cxn ang="0">
                  <a:pos x="T2" y="T3"/>
                </a:cxn>
                <a:cxn ang="0">
                  <a:pos x="T4" y="T5"/>
                </a:cxn>
                <a:cxn ang="0">
                  <a:pos x="T6" y="T7"/>
                </a:cxn>
                <a:cxn ang="0">
                  <a:pos x="T8" y="T9"/>
                </a:cxn>
              </a:cxnLst>
              <a:rect l="0" t="0" r="r" b="b"/>
              <a:pathLst>
                <a:path w="389" h="241">
                  <a:moveTo>
                    <a:pt x="0" y="241"/>
                  </a:moveTo>
                  <a:cubicBezTo>
                    <a:pt x="0" y="241"/>
                    <a:pt x="303" y="190"/>
                    <a:pt x="389" y="44"/>
                  </a:cubicBezTo>
                  <a:cubicBezTo>
                    <a:pt x="340" y="0"/>
                    <a:pt x="340" y="0"/>
                    <a:pt x="340" y="0"/>
                  </a:cubicBezTo>
                  <a:cubicBezTo>
                    <a:pt x="22" y="161"/>
                    <a:pt x="22" y="161"/>
                    <a:pt x="22" y="161"/>
                  </a:cubicBezTo>
                  <a:lnTo>
                    <a:pt x="0" y="241"/>
                  </a:lnTo>
                  <a:close/>
                </a:path>
              </a:pathLst>
            </a:custGeom>
            <a:solidFill>
              <a:srgbClr val="022E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3" name="Freeform 118">
              <a:extLst>
                <a:ext uri="{FF2B5EF4-FFF2-40B4-BE49-F238E27FC236}">
                  <a16:creationId xmlns:a16="http://schemas.microsoft.com/office/drawing/2014/main" id="{E539C1C1-1024-4276-B3C3-197F1948AA4E}"/>
                </a:ext>
              </a:extLst>
            </p:cNvPr>
            <p:cNvSpPr>
              <a:spLocks/>
            </p:cNvSpPr>
            <p:nvPr/>
          </p:nvSpPr>
          <p:spPr bwMode="auto">
            <a:xfrm>
              <a:off x="3527" y="3588"/>
              <a:ext cx="168" cy="136"/>
            </a:xfrm>
            <a:custGeom>
              <a:avLst/>
              <a:gdLst>
                <a:gd name="T0" fmla="*/ 156 w 168"/>
                <a:gd name="T1" fmla="*/ 52 h 136"/>
                <a:gd name="T2" fmla="*/ 122 w 168"/>
                <a:gd name="T3" fmla="*/ 0 h 136"/>
                <a:gd name="T4" fmla="*/ 0 w 168"/>
                <a:gd name="T5" fmla="*/ 33 h 136"/>
                <a:gd name="T6" fmla="*/ 49 w 168"/>
                <a:gd name="T7" fmla="*/ 136 h 136"/>
                <a:gd name="T8" fmla="*/ 168 w 168"/>
                <a:gd name="T9" fmla="*/ 92 h 136"/>
                <a:gd name="T10" fmla="*/ 156 w 168"/>
                <a:gd name="T11" fmla="*/ 52 h 136"/>
              </a:gdLst>
              <a:ahLst/>
              <a:cxnLst>
                <a:cxn ang="0">
                  <a:pos x="T0" y="T1"/>
                </a:cxn>
                <a:cxn ang="0">
                  <a:pos x="T2" y="T3"/>
                </a:cxn>
                <a:cxn ang="0">
                  <a:pos x="T4" y="T5"/>
                </a:cxn>
                <a:cxn ang="0">
                  <a:pos x="T6" y="T7"/>
                </a:cxn>
                <a:cxn ang="0">
                  <a:pos x="T8" y="T9"/>
                </a:cxn>
                <a:cxn ang="0">
                  <a:pos x="T10" y="T11"/>
                </a:cxn>
              </a:cxnLst>
              <a:rect l="0" t="0" r="r" b="b"/>
              <a:pathLst>
                <a:path w="168" h="136">
                  <a:moveTo>
                    <a:pt x="156" y="52"/>
                  </a:moveTo>
                  <a:lnTo>
                    <a:pt x="122" y="0"/>
                  </a:lnTo>
                  <a:lnTo>
                    <a:pt x="0" y="33"/>
                  </a:lnTo>
                  <a:lnTo>
                    <a:pt x="49" y="136"/>
                  </a:lnTo>
                  <a:lnTo>
                    <a:pt x="168" y="92"/>
                  </a:lnTo>
                  <a:lnTo>
                    <a:pt x="15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4" name="Freeform 119">
              <a:extLst>
                <a:ext uri="{FF2B5EF4-FFF2-40B4-BE49-F238E27FC236}">
                  <a16:creationId xmlns:a16="http://schemas.microsoft.com/office/drawing/2014/main" id="{22C6564C-A41B-42D1-8962-90528990C17F}"/>
                </a:ext>
              </a:extLst>
            </p:cNvPr>
            <p:cNvSpPr>
              <a:spLocks/>
            </p:cNvSpPr>
            <p:nvPr/>
          </p:nvSpPr>
          <p:spPr bwMode="auto">
            <a:xfrm>
              <a:off x="2661" y="2521"/>
              <a:ext cx="1075" cy="1765"/>
            </a:xfrm>
            <a:custGeom>
              <a:avLst/>
              <a:gdLst>
                <a:gd name="T0" fmla="*/ 1731 w 2564"/>
                <a:gd name="T1" fmla="*/ 1692 h 4215"/>
                <a:gd name="T2" fmla="*/ 1525 w 2564"/>
                <a:gd name="T3" fmla="*/ 1742 h 4215"/>
                <a:gd name="T4" fmla="*/ 1437 w 2564"/>
                <a:gd name="T5" fmla="*/ 795 h 4215"/>
                <a:gd name="T6" fmla="*/ 1800 w 2564"/>
                <a:gd name="T7" fmla="*/ 1003 h 4215"/>
                <a:gd name="T8" fmla="*/ 1973 w 2564"/>
                <a:gd name="T9" fmla="*/ 990 h 4215"/>
                <a:gd name="T10" fmla="*/ 2564 w 2564"/>
                <a:gd name="T11" fmla="*/ 523 h 4215"/>
                <a:gd name="T12" fmla="*/ 2375 w 2564"/>
                <a:gd name="T13" fmla="*/ 322 h 4215"/>
                <a:gd name="T14" fmla="*/ 1891 w 2564"/>
                <a:gd name="T15" fmla="*/ 610 h 4215"/>
                <a:gd name="T16" fmla="*/ 1382 w 2564"/>
                <a:gd name="T17" fmla="*/ 204 h 4215"/>
                <a:gd name="T18" fmla="*/ 1376 w 2564"/>
                <a:gd name="T19" fmla="*/ 143 h 4215"/>
                <a:gd name="T20" fmla="*/ 567 w 2564"/>
                <a:gd name="T21" fmla="*/ 0 h 4215"/>
                <a:gd name="T22" fmla="*/ 0 w 2564"/>
                <a:gd name="T23" fmla="*/ 497 h 4215"/>
                <a:gd name="T24" fmla="*/ 500 w 2564"/>
                <a:gd name="T25" fmla="*/ 2023 h 4215"/>
                <a:gd name="T26" fmla="*/ 648 w 2564"/>
                <a:gd name="T27" fmla="*/ 3099 h 4215"/>
                <a:gd name="T28" fmla="*/ 458 w 2564"/>
                <a:gd name="T29" fmla="*/ 4182 h 4215"/>
                <a:gd name="T30" fmla="*/ 485 w 2564"/>
                <a:gd name="T31" fmla="*/ 4186 h 4215"/>
                <a:gd name="T32" fmla="*/ 893 w 2564"/>
                <a:gd name="T33" fmla="*/ 4172 h 4215"/>
                <a:gd name="T34" fmla="*/ 1180 w 2564"/>
                <a:gd name="T35" fmla="*/ 3061 h 4215"/>
                <a:gd name="T36" fmla="*/ 1151 w 2564"/>
                <a:gd name="T37" fmla="*/ 2388 h 4215"/>
                <a:gd name="T38" fmla="*/ 1714 w 2564"/>
                <a:gd name="T39" fmla="*/ 2220 h 4215"/>
                <a:gd name="T40" fmla="*/ 2043 w 2564"/>
                <a:gd name="T41" fmla="*/ 2782 h 4215"/>
                <a:gd name="T42" fmla="*/ 2432 w 2564"/>
                <a:gd name="T43" fmla="*/ 2585 h 4215"/>
                <a:gd name="T44" fmla="*/ 1930 w 2564"/>
                <a:gd name="T45" fmla="*/ 1769 h 4215"/>
                <a:gd name="T46" fmla="*/ 1731 w 2564"/>
                <a:gd name="T47" fmla="*/ 1692 h 4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64" h="4215">
                  <a:moveTo>
                    <a:pt x="1731" y="1692"/>
                  </a:moveTo>
                  <a:cubicBezTo>
                    <a:pt x="1525" y="1742"/>
                    <a:pt x="1525" y="1742"/>
                    <a:pt x="1525" y="1742"/>
                  </a:cubicBezTo>
                  <a:cubicBezTo>
                    <a:pt x="1437" y="795"/>
                    <a:pt x="1437" y="795"/>
                    <a:pt x="1437" y="795"/>
                  </a:cubicBezTo>
                  <a:cubicBezTo>
                    <a:pt x="1800" y="1003"/>
                    <a:pt x="1800" y="1003"/>
                    <a:pt x="1800" y="1003"/>
                  </a:cubicBezTo>
                  <a:cubicBezTo>
                    <a:pt x="1855" y="1034"/>
                    <a:pt x="1923" y="1029"/>
                    <a:pt x="1973" y="990"/>
                  </a:cubicBezTo>
                  <a:cubicBezTo>
                    <a:pt x="2564" y="523"/>
                    <a:pt x="2564" y="523"/>
                    <a:pt x="2564" y="523"/>
                  </a:cubicBezTo>
                  <a:cubicBezTo>
                    <a:pt x="2375" y="322"/>
                    <a:pt x="2375" y="322"/>
                    <a:pt x="2375" y="322"/>
                  </a:cubicBezTo>
                  <a:cubicBezTo>
                    <a:pt x="1891" y="610"/>
                    <a:pt x="1891" y="610"/>
                    <a:pt x="1891" y="610"/>
                  </a:cubicBezTo>
                  <a:cubicBezTo>
                    <a:pt x="1382" y="204"/>
                    <a:pt x="1382" y="204"/>
                    <a:pt x="1382" y="204"/>
                  </a:cubicBezTo>
                  <a:cubicBezTo>
                    <a:pt x="1376" y="143"/>
                    <a:pt x="1376" y="143"/>
                    <a:pt x="1376" y="143"/>
                  </a:cubicBezTo>
                  <a:cubicBezTo>
                    <a:pt x="567" y="0"/>
                    <a:pt x="567" y="0"/>
                    <a:pt x="567" y="0"/>
                  </a:cubicBezTo>
                  <a:cubicBezTo>
                    <a:pt x="0" y="497"/>
                    <a:pt x="0" y="497"/>
                    <a:pt x="0" y="497"/>
                  </a:cubicBezTo>
                  <a:cubicBezTo>
                    <a:pt x="500" y="2023"/>
                    <a:pt x="500" y="2023"/>
                    <a:pt x="500" y="2023"/>
                  </a:cubicBezTo>
                  <a:cubicBezTo>
                    <a:pt x="648" y="3099"/>
                    <a:pt x="648" y="3099"/>
                    <a:pt x="648" y="3099"/>
                  </a:cubicBezTo>
                  <a:cubicBezTo>
                    <a:pt x="458" y="4182"/>
                    <a:pt x="458" y="4182"/>
                    <a:pt x="458" y="4182"/>
                  </a:cubicBezTo>
                  <a:cubicBezTo>
                    <a:pt x="485" y="4186"/>
                    <a:pt x="485" y="4186"/>
                    <a:pt x="485" y="4186"/>
                  </a:cubicBezTo>
                  <a:cubicBezTo>
                    <a:pt x="622" y="4212"/>
                    <a:pt x="759" y="4215"/>
                    <a:pt x="893" y="4172"/>
                  </a:cubicBezTo>
                  <a:cubicBezTo>
                    <a:pt x="1180" y="3061"/>
                    <a:pt x="1180" y="3061"/>
                    <a:pt x="1180" y="3061"/>
                  </a:cubicBezTo>
                  <a:cubicBezTo>
                    <a:pt x="1151" y="2388"/>
                    <a:pt x="1151" y="2388"/>
                    <a:pt x="1151" y="2388"/>
                  </a:cubicBezTo>
                  <a:cubicBezTo>
                    <a:pt x="1446" y="2313"/>
                    <a:pt x="1714" y="2220"/>
                    <a:pt x="1714" y="2220"/>
                  </a:cubicBezTo>
                  <a:cubicBezTo>
                    <a:pt x="2043" y="2782"/>
                    <a:pt x="2043" y="2782"/>
                    <a:pt x="2043" y="2782"/>
                  </a:cubicBezTo>
                  <a:cubicBezTo>
                    <a:pt x="2202" y="2588"/>
                    <a:pt x="2432" y="2585"/>
                    <a:pt x="2432" y="2585"/>
                  </a:cubicBezTo>
                  <a:cubicBezTo>
                    <a:pt x="1930" y="1769"/>
                    <a:pt x="1930" y="1769"/>
                    <a:pt x="1930" y="1769"/>
                  </a:cubicBezTo>
                  <a:cubicBezTo>
                    <a:pt x="1889" y="1702"/>
                    <a:pt x="1807" y="1670"/>
                    <a:pt x="1731" y="1692"/>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5" name="Freeform 120">
              <a:extLst>
                <a:ext uri="{FF2B5EF4-FFF2-40B4-BE49-F238E27FC236}">
                  <a16:creationId xmlns:a16="http://schemas.microsoft.com/office/drawing/2014/main" id="{0E262BB7-1019-499B-9311-27EC0EDC5C57}"/>
                </a:ext>
              </a:extLst>
            </p:cNvPr>
            <p:cNvSpPr>
              <a:spLocks/>
            </p:cNvSpPr>
            <p:nvPr/>
          </p:nvSpPr>
          <p:spPr bwMode="auto">
            <a:xfrm>
              <a:off x="3175" y="2569"/>
              <a:ext cx="513" cy="301"/>
            </a:xfrm>
            <a:custGeom>
              <a:avLst/>
              <a:gdLst>
                <a:gd name="T0" fmla="*/ 513 w 513"/>
                <a:gd name="T1" fmla="*/ 120 h 301"/>
                <a:gd name="T2" fmla="*/ 321 w 513"/>
                <a:gd name="T3" fmla="*/ 273 h 301"/>
                <a:gd name="T4" fmla="*/ 298 w 513"/>
                <a:gd name="T5" fmla="*/ 237 h 301"/>
                <a:gd name="T6" fmla="*/ 261 w 513"/>
                <a:gd name="T7" fmla="*/ 301 h 301"/>
                <a:gd name="T8" fmla="*/ 228 w 513"/>
                <a:gd name="T9" fmla="*/ 239 h 301"/>
                <a:gd name="T10" fmla="*/ 50 w 513"/>
                <a:gd name="T11" fmla="*/ 131 h 301"/>
                <a:gd name="T12" fmla="*/ 0 w 513"/>
                <a:gd name="T13" fmla="*/ 0 h 301"/>
                <a:gd name="T14" fmla="*/ 63 w 513"/>
                <a:gd name="T15" fmla="*/ 12 h 301"/>
                <a:gd name="T16" fmla="*/ 71 w 513"/>
                <a:gd name="T17" fmla="*/ 43 h 301"/>
                <a:gd name="T18" fmla="*/ 279 w 513"/>
                <a:gd name="T19" fmla="*/ 208 h 301"/>
                <a:gd name="T20" fmla="*/ 291 w 513"/>
                <a:gd name="T21" fmla="*/ 185 h 301"/>
                <a:gd name="T22" fmla="*/ 308 w 513"/>
                <a:gd name="T23" fmla="*/ 190 h 301"/>
                <a:gd name="T24" fmla="*/ 481 w 513"/>
                <a:gd name="T25" fmla="*/ 87 h 301"/>
                <a:gd name="T26" fmla="*/ 513 w 513"/>
                <a:gd name="T27" fmla="*/ 1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3" h="301">
                  <a:moveTo>
                    <a:pt x="513" y="120"/>
                  </a:moveTo>
                  <a:lnTo>
                    <a:pt x="321" y="273"/>
                  </a:lnTo>
                  <a:lnTo>
                    <a:pt x="298" y="237"/>
                  </a:lnTo>
                  <a:lnTo>
                    <a:pt x="261" y="301"/>
                  </a:lnTo>
                  <a:lnTo>
                    <a:pt x="228" y="239"/>
                  </a:lnTo>
                  <a:lnTo>
                    <a:pt x="50" y="131"/>
                  </a:lnTo>
                  <a:lnTo>
                    <a:pt x="0" y="0"/>
                  </a:lnTo>
                  <a:lnTo>
                    <a:pt x="63" y="12"/>
                  </a:lnTo>
                  <a:lnTo>
                    <a:pt x="71" y="43"/>
                  </a:lnTo>
                  <a:lnTo>
                    <a:pt x="279" y="208"/>
                  </a:lnTo>
                  <a:lnTo>
                    <a:pt x="291" y="185"/>
                  </a:lnTo>
                  <a:lnTo>
                    <a:pt x="308" y="190"/>
                  </a:lnTo>
                  <a:lnTo>
                    <a:pt x="481" y="87"/>
                  </a:lnTo>
                  <a:lnTo>
                    <a:pt x="513" y="120"/>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6" name="Freeform 121">
              <a:extLst>
                <a:ext uri="{FF2B5EF4-FFF2-40B4-BE49-F238E27FC236}">
                  <a16:creationId xmlns:a16="http://schemas.microsoft.com/office/drawing/2014/main" id="{8FDC4CCD-26F8-4DCC-BF10-0293E5812249}"/>
                </a:ext>
              </a:extLst>
            </p:cNvPr>
            <p:cNvSpPr>
              <a:spLocks/>
            </p:cNvSpPr>
            <p:nvPr/>
          </p:nvSpPr>
          <p:spPr bwMode="auto">
            <a:xfrm>
              <a:off x="3105" y="2555"/>
              <a:ext cx="236" cy="726"/>
            </a:xfrm>
            <a:custGeom>
              <a:avLst/>
              <a:gdLst>
                <a:gd name="T0" fmla="*/ 313 w 563"/>
                <a:gd name="T1" fmla="*/ 1732 h 1732"/>
                <a:gd name="T2" fmla="*/ 313 w 563"/>
                <a:gd name="T3" fmla="*/ 1732 h 1732"/>
                <a:gd name="T4" fmla="*/ 529 w 563"/>
                <a:gd name="T5" fmla="*/ 1655 h 1732"/>
                <a:gd name="T6" fmla="*/ 549 w 563"/>
                <a:gd name="T7" fmla="*/ 1585 h 1732"/>
                <a:gd name="T8" fmla="*/ 525 w 563"/>
                <a:gd name="T9" fmla="*/ 1434 h 1732"/>
                <a:gd name="T10" fmla="*/ 479 w 563"/>
                <a:gd name="T11" fmla="*/ 1362 h 1732"/>
                <a:gd name="T12" fmla="*/ 444 w 563"/>
                <a:gd name="T13" fmla="*/ 669 h 1732"/>
                <a:gd name="T14" fmla="*/ 349 w 563"/>
                <a:gd name="T15" fmla="*/ 309 h 1732"/>
                <a:gd name="T16" fmla="*/ 206 w 563"/>
                <a:gd name="T17" fmla="*/ 29 h 1732"/>
                <a:gd name="T18" fmla="*/ 47 w 563"/>
                <a:gd name="T19" fmla="*/ 0 h 1732"/>
                <a:gd name="T20" fmla="*/ 93 w 563"/>
                <a:gd name="T21" fmla="*/ 130 h 1732"/>
                <a:gd name="T22" fmla="*/ 29 w 563"/>
                <a:gd name="T23" fmla="*/ 762 h 1732"/>
                <a:gd name="T24" fmla="*/ 6 w 563"/>
                <a:gd name="T25" fmla="*/ 900 h 1732"/>
                <a:gd name="T26" fmla="*/ 62 w 563"/>
                <a:gd name="T27" fmla="*/ 1362 h 1732"/>
                <a:gd name="T28" fmla="*/ 313 w 563"/>
                <a:gd name="T29" fmla="*/ 1732 h 1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3" h="1732">
                  <a:moveTo>
                    <a:pt x="313" y="1732"/>
                  </a:moveTo>
                  <a:cubicBezTo>
                    <a:pt x="313" y="1732"/>
                    <a:pt x="313" y="1732"/>
                    <a:pt x="313" y="1732"/>
                  </a:cubicBezTo>
                  <a:cubicBezTo>
                    <a:pt x="529" y="1655"/>
                    <a:pt x="529" y="1655"/>
                    <a:pt x="529" y="1655"/>
                  </a:cubicBezTo>
                  <a:cubicBezTo>
                    <a:pt x="549" y="1585"/>
                    <a:pt x="549" y="1585"/>
                    <a:pt x="549" y="1585"/>
                  </a:cubicBezTo>
                  <a:cubicBezTo>
                    <a:pt x="563" y="1534"/>
                    <a:pt x="555" y="1478"/>
                    <a:pt x="525" y="1434"/>
                  </a:cubicBezTo>
                  <a:cubicBezTo>
                    <a:pt x="479" y="1362"/>
                    <a:pt x="479" y="1362"/>
                    <a:pt x="479" y="1362"/>
                  </a:cubicBezTo>
                  <a:cubicBezTo>
                    <a:pt x="444" y="669"/>
                    <a:pt x="444" y="669"/>
                    <a:pt x="444" y="669"/>
                  </a:cubicBezTo>
                  <a:cubicBezTo>
                    <a:pt x="438" y="543"/>
                    <a:pt x="406" y="421"/>
                    <a:pt x="349" y="309"/>
                  </a:cubicBezTo>
                  <a:cubicBezTo>
                    <a:pt x="206" y="29"/>
                    <a:pt x="206" y="29"/>
                    <a:pt x="206" y="29"/>
                  </a:cubicBezTo>
                  <a:cubicBezTo>
                    <a:pt x="47" y="0"/>
                    <a:pt x="47" y="0"/>
                    <a:pt x="47" y="0"/>
                  </a:cubicBezTo>
                  <a:cubicBezTo>
                    <a:pt x="93" y="130"/>
                    <a:pt x="93" y="130"/>
                    <a:pt x="93" y="130"/>
                  </a:cubicBezTo>
                  <a:cubicBezTo>
                    <a:pt x="150" y="360"/>
                    <a:pt x="127" y="556"/>
                    <a:pt x="29" y="762"/>
                  </a:cubicBezTo>
                  <a:cubicBezTo>
                    <a:pt x="8" y="805"/>
                    <a:pt x="0" y="853"/>
                    <a:pt x="6" y="900"/>
                  </a:cubicBezTo>
                  <a:cubicBezTo>
                    <a:pt x="62" y="1362"/>
                    <a:pt x="62" y="1362"/>
                    <a:pt x="62" y="1362"/>
                  </a:cubicBezTo>
                  <a:cubicBezTo>
                    <a:pt x="83" y="1518"/>
                    <a:pt x="176" y="1655"/>
                    <a:pt x="313" y="1732"/>
                  </a:cubicBezTo>
                  <a:close/>
                </a:path>
              </a:pathLst>
            </a:custGeom>
            <a:solidFill>
              <a:srgbClr val="CADF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7" name="Freeform 122">
              <a:extLst>
                <a:ext uri="{FF2B5EF4-FFF2-40B4-BE49-F238E27FC236}">
                  <a16:creationId xmlns:a16="http://schemas.microsoft.com/office/drawing/2014/main" id="{6FB71861-F1E9-48BB-92E7-2606ED5C17D1}"/>
                </a:ext>
              </a:extLst>
            </p:cNvPr>
            <p:cNvSpPr>
              <a:spLocks/>
            </p:cNvSpPr>
            <p:nvPr/>
          </p:nvSpPr>
          <p:spPr bwMode="auto">
            <a:xfrm>
              <a:off x="3053" y="2514"/>
              <a:ext cx="105" cy="106"/>
            </a:xfrm>
            <a:custGeom>
              <a:avLst/>
              <a:gdLst>
                <a:gd name="T0" fmla="*/ 94 w 251"/>
                <a:gd name="T1" fmla="*/ 253 h 253"/>
                <a:gd name="T2" fmla="*/ 148 w 251"/>
                <a:gd name="T3" fmla="*/ 161 h 253"/>
                <a:gd name="T4" fmla="*/ 251 w 251"/>
                <a:gd name="T5" fmla="*/ 207 h 253"/>
                <a:gd name="T6" fmla="*/ 92 w 251"/>
                <a:gd name="T7" fmla="*/ 0 h 253"/>
                <a:gd name="T8" fmla="*/ 0 w 251"/>
                <a:gd name="T9" fmla="*/ 68 h 253"/>
                <a:gd name="T10" fmla="*/ 94 w 251"/>
                <a:gd name="T11" fmla="*/ 253 h 253"/>
              </a:gdLst>
              <a:ahLst/>
              <a:cxnLst>
                <a:cxn ang="0">
                  <a:pos x="T0" y="T1"/>
                </a:cxn>
                <a:cxn ang="0">
                  <a:pos x="T2" y="T3"/>
                </a:cxn>
                <a:cxn ang="0">
                  <a:pos x="T4" y="T5"/>
                </a:cxn>
                <a:cxn ang="0">
                  <a:pos x="T6" y="T7"/>
                </a:cxn>
                <a:cxn ang="0">
                  <a:pos x="T8" y="T9"/>
                </a:cxn>
                <a:cxn ang="0">
                  <a:pos x="T10" y="T11"/>
                </a:cxn>
              </a:cxnLst>
              <a:rect l="0" t="0" r="r" b="b"/>
              <a:pathLst>
                <a:path w="251" h="253">
                  <a:moveTo>
                    <a:pt x="94" y="253"/>
                  </a:moveTo>
                  <a:cubicBezTo>
                    <a:pt x="148" y="161"/>
                    <a:pt x="148" y="161"/>
                    <a:pt x="148" y="161"/>
                  </a:cubicBezTo>
                  <a:cubicBezTo>
                    <a:pt x="251" y="207"/>
                    <a:pt x="251" y="207"/>
                    <a:pt x="251" y="207"/>
                  </a:cubicBezTo>
                  <a:cubicBezTo>
                    <a:pt x="92" y="0"/>
                    <a:pt x="92" y="0"/>
                    <a:pt x="92" y="0"/>
                  </a:cubicBezTo>
                  <a:cubicBezTo>
                    <a:pt x="0" y="68"/>
                    <a:pt x="0" y="68"/>
                    <a:pt x="0" y="68"/>
                  </a:cubicBezTo>
                  <a:cubicBezTo>
                    <a:pt x="0" y="68"/>
                    <a:pt x="88" y="197"/>
                    <a:pt x="94" y="253"/>
                  </a:cubicBez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8" name="Freeform 123">
              <a:extLst>
                <a:ext uri="{FF2B5EF4-FFF2-40B4-BE49-F238E27FC236}">
                  <a16:creationId xmlns:a16="http://schemas.microsoft.com/office/drawing/2014/main" id="{05B583DA-59BE-4CDD-9BBC-3FBC19B50E36}"/>
                </a:ext>
              </a:extLst>
            </p:cNvPr>
            <p:cNvSpPr>
              <a:spLocks/>
            </p:cNvSpPr>
            <p:nvPr/>
          </p:nvSpPr>
          <p:spPr bwMode="auto">
            <a:xfrm>
              <a:off x="3139" y="2950"/>
              <a:ext cx="161" cy="97"/>
            </a:xfrm>
            <a:custGeom>
              <a:avLst/>
              <a:gdLst>
                <a:gd name="T0" fmla="*/ 0 w 385"/>
                <a:gd name="T1" fmla="*/ 78 h 233"/>
                <a:gd name="T2" fmla="*/ 100 w 385"/>
                <a:gd name="T3" fmla="*/ 78 h 233"/>
                <a:gd name="T4" fmla="*/ 329 w 385"/>
                <a:gd name="T5" fmla="*/ 25 h 233"/>
                <a:gd name="T6" fmla="*/ 379 w 385"/>
                <a:gd name="T7" fmla="*/ 0 h 233"/>
                <a:gd name="T8" fmla="*/ 385 w 385"/>
                <a:gd name="T9" fmla="*/ 139 h 233"/>
                <a:gd name="T10" fmla="*/ 366 w 385"/>
                <a:gd name="T11" fmla="*/ 150 h 233"/>
                <a:gd name="T12" fmla="*/ 96 w 385"/>
                <a:gd name="T13" fmla="*/ 228 h 233"/>
                <a:gd name="T14" fmla="*/ 0 w 385"/>
                <a:gd name="T15" fmla="*/ 233 h 233"/>
                <a:gd name="T16" fmla="*/ 0 w 385"/>
                <a:gd name="T17" fmla="*/ 7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5" h="233">
                  <a:moveTo>
                    <a:pt x="0" y="78"/>
                  </a:moveTo>
                  <a:cubicBezTo>
                    <a:pt x="100" y="78"/>
                    <a:pt x="100" y="78"/>
                    <a:pt x="100" y="78"/>
                  </a:cubicBezTo>
                  <a:cubicBezTo>
                    <a:pt x="179" y="78"/>
                    <a:pt x="258" y="60"/>
                    <a:pt x="329" y="25"/>
                  </a:cubicBezTo>
                  <a:cubicBezTo>
                    <a:pt x="379" y="0"/>
                    <a:pt x="379" y="0"/>
                    <a:pt x="379" y="0"/>
                  </a:cubicBezTo>
                  <a:cubicBezTo>
                    <a:pt x="385" y="139"/>
                    <a:pt x="385" y="139"/>
                    <a:pt x="385" y="139"/>
                  </a:cubicBezTo>
                  <a:cubicBezTo>
                    <a:pt x="366" y="150"/>
                    <a:pt x="366" y="150"/>
                    <a:pt x="366" y="150"/>
                  </a:cubicBezTo>
                  <a:cubicBezTo>
                    <a:pt x="283" y="197"/>
                    <a:pt x="191" y="224"/>
                    <a:pt x="96" y="228"/>
                  </a:cubicBezTo>
                  <a:cubicBezTo>
                    <a:pt x="0" y="233"/>
                    <a:pt x="0" y="233"/>
                    <a:pt x="0" y="233"/>
                  </a:cubicBezTo>
                  <a:lnTo>
                    <a:pt x="0" y="7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9" name="Freeform 124">
              <a:extLst>
                <a:ext uri="{FF2B5EF4-FFF2-40B4-BE49-F238E27FC236}">
                  <a16:creationId xmlns:a16="http://schemas.microsoft.com/office/drawing/2014/main" id="{861330FD-C251-4E4E-A1A8-1A10559195AF}"/>
                </a:ext>
              </a:extLst>
            </p:cNvPr>
            <p:cNvSpPr>
              <a:spLocks/>
            </p:cNvSpPr>
            <p:nvPr/>
          </p:nvSpPr>
          <p:spPr bwMode="auto">
            <a:xfrm>
              <a:off x="3145" y="3060"/>
              <a:ext cx="161" cy="97"/>
            </a:xfrm>
            <a:custGeom>
              <a:avLst/>
              <a:gdLst>
                <a:gd name="T0" fmla="*/ 0 w 385"/>
                <a:gd name="T1" fmla="*/ 77 h 232"/>
                <a:gd name="T2" fmla="*/ 100 w 385"/>
                <a:gd name="T3" fmla="*/ 77 h 232"/>
                <a:gd name="T4" fmla="*/ 328 w 385"/>
                <a:gd name="T5" fmla="*/ 24 h 232"/>
                <a:gd name="T6" fmla="*/ 378 w 385"/>
                <a:gd name="T7" fmla="*/ 0 h 232"/>
                <a:gd name="T8" fmla="*/ 385 w 385"/>
                <a:gd name="T9" fmla="*/ 138 h 232"/>
                <a:gd name="T10" fmla="*/ 365 w 385"/>
                <a:gd name="T11" fmla="*/ 149 h 232"/>
                <a:gd name="T12" fmla="*/ 95 w 385"/>
                <a:gd name="T13" fmla="*/ 227 h 232"/>
                <a:gd name="T14" fmla="*/ 0 w 385"/>
                <a:gd name="T15" fmla="*/ 232 h 232"/>
                <a:gd name="T16" fmla="*/ 0 w 385"/>
                <a:gd name="T17" fmla="*/ 7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5" h="232">
                  <a:moveTo>
                    <a:pt x="0" y="77"/>
                  </a:moveTo>
                  <a:cubicBezTo>
                    <a:pt x="100" y="77"/>
                    <a:pt x="100" y="77"/>
                    <a:pt x="100" y="77"/>
                  </a:cubicBezTo>
                  <a:cubicBezTo>
                    <a:pt x="179" y="77"/>
                    <a:pt x="257" y="59"/>
                    <a:pt x="328" y="24"/>
                  </a:cubicBezTo>
                  <a:cubicBezTo>
                    <a:pt x="378" y="0"/>
                    <a:pt x="378" y="0"/>
                    <a:pt x="378" y="0"/>
                  </a:cubicBezTo>
                  <a:cubicBezTo>
                    <a:pt x="385" y="138"/>
                    <a:pt x="385" y="138"/>
                    <a:pt x="385" y="138"/>
                  </a:cubicBezTo>
                  <a:cubicBezTo>
                    <a:pt x="365" y="149"/>
                    <a:pt x="365" y="149"/>
                    <a:pt x="365" y="149"/>
                  </a:cubicBezTo>
                  <a:cubicBezTo>
                    <a:pt x="282" y="196"/>
                    <a:pt x="190" y="223"/>
                    <a:pt x="95" y="227"/>
                  </a:cubicBezTo>
                  <a:cubicBezTo>
                    <a:pt x="0" y="232"/>
                    <a:pt x="0" y="232"/>
                    <a:pt x="0" y="232"/>
                  </a:cubicBezTo>
                  <a:lnTo>
                    <a:pt x="0" y="7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0" name="Freeform 125">
              <a:extLst>
                <a:ext uri="{FF2B5EF4-FFF2-40B4-BE49-F238E27FC236}">
                  <a16:creationId xmlns:a16="http://schemas.microsoft.com/office/drawing/2014/main" id="{09CF0B69-6865-41F9-B1DA-D1F92CE75B01}"/>
                </a:ext>
              </a:extLst>
            </p:cNvPr>
            <p:cNvSpPr>
              <a:spLocks/>
            </p:cNvSpPr>
            <p:nvPr/>
          </p:nvSpPr>
          <p:spPr bwMode="auto">
            <a:xfrm>
              <a:off x="3556" y="3637"/>
              <a:ext cx="368" cy="205"/>
            </a:xfrm>
            <a:custGeom>
              <a:avLst/>
              <a:gdLst>
                <a:gd name="T0" fmla="*/ 0 w 878"/>
                <a:gd name="T1" fmla="*/ 182 h 488"/>
                <a:gd name="T2" fmla="*/ 2 w 878"/>
                <a:gd name="T3" fmla="*/ 205 h 488"/>
                <a:gd name="T4" fmla="*/ 89 w 878"/>
                <a:gd name="T5" fmla="*/ 448 h 488"/>
                <a:gd name="T6" fmla="*/ 144 w 878"/>
                <a:gd name="T7" fmla="*/ 482 h 488"/>
                <a:gd name="T8" fmla="*/ 878 w 878"/>
                <a:gd name="T9" fmla="*/ 185 h 488"/>
                <a:gd name="T10" fmla="*/ 828 w 878"/>
                <a:gd name="T11" fmla="*/ 113 h 488"/>
                <a:gd name="T12" fmla="*/ 680 w 878"/>
                <a:gd name="T13" fmla="*/ 60 h 488"/>
                <a:gd name="T14" fmla="*/ 386 w 878"/>
                <a:gd name="T15" fmla="*/ 91 h 488"/>
                <a:gd name="T16" fmla="*/ 313 w 878"/>
                <a:gd name="T17" fmla="*/ 0 h 488"/>
                <a:gd name="T18" fmla="*/ 290 w 878"/>
                <a:gd name="T19" fmla="*/ 7 h 488"/>
                <a:gd name="T20" fmla="*/ 0 w 878"/>
                <a:gd name="T21" fmla="*/ 18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8" h="488">
                  <a:moveTo>
                    <a:pt x="0" y="182"/>
                  </a:moveTo>
                  <a:cubicBezTo>
                    <a:pt x="2" y="205"/>
                    <a:pt x="2" y="205"/>
                    <a:pt x="2" y="205"/>
                  </a:cubicBezTo>
                  <a:cubicBezTo>
                    <a:pt x="6" y="243"/>
                    <a:pt x="44" y="383"/>
                    <a:pt x="89" y="448"/>
                  </a:cubicBezTo>
                  <a:cubicBezTo>
                    <a:pt x="104" y="469"/>
                    <a:pt x="120" y="488"/>
                    <a:pt x="144" y="482"/>
                  </a:cubicBezTo>
                  <a:cubicBezTo>
                    <a:pt x="878" y="185"/>
                    <a:pt x="878" y="185"/>
                    <a:pt x="878" y="185"/>
                  </a:cubicBezTo>
                  <a:cubicBezTo>
                    <a:pt x="866" y="161"/>
                    <a:pt x="847" y="135"/>
                    <a:pt x="828" y="113"/>
                  </a:cubicBezTo>
                  <a:cubicBezTo>
                    <a:pt x="791" y="70"/>
                    <a:pt x="735" y="50"/>
                    <a:pt x="680" y="60"/>
                  </a:cubicBezTo>
                  <a:cubicBezTo>
                    <a:pt x="574" y="78"/>
                    <a:pt x="402" y="106"/>
                    <a:pt x="386" y="91"/>
                  </a:cubicBezTo>
                  <a:cubicBezTo>
                    <a:pt x="313" y="0"/>
                    <a:pt x="313" y="0"/>
                    <a:pt x="313" y="0"/>
                  </a:cubicBezTo>
                  <a:cubicBezTo>
                    <a:pt x="290" y="7"/>
                    <a:pt x="290" y="7"/>
                    <a:pt x="290" y="7"/>
                  </a:cubicBezTo>
                  <a:cubicBezTo>
                    <a:pt x="179" y="38"/>
                    <a:pt x="79" y="99"/>
                    <a:pt x="0" y="182"/>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1" name="Freeform 126">
              <a:extLst>
                <a:ext uri="{FF2B5EF4-FFF2-40B4-BE49-F238E27FC236}">
                  <a16:creationId xmlns:a16="http://schemas.microsoft.com/office/drawing/2014/main" id="{06B355B2-8F40-4F22-8835-46EC623A84CF}"/>
                </a:ext>
              </a:extLst>
            </p:cNvPr>
            <p:cNvSpPr>
              <a:spLocks/>
            </p:cNvSpPr>
            <p:nvPr/>
          </p:nvSpPr>
          <p:spPr bwMode="auto">
            <a:xfrm>
              <a:off x="2718" y="2612"/>
              <a:ext cx="396" cy="835"/>
            </a:xfrm>
            <a:custGeom>
              <a:avLst/>
              <a:gdLst>
                <a:gd name="T0" fmla="*/ 926 w 945"/>
                <a:gd name="T1" fmla="*/ 1179 h 1996"/>
                <a:gd name="T2" fmla="*/ 868 w 945"/>
                <a:gd name="T3" fmla="*/ 711 h 1996"/>
                <a:gd name="T4" fmla="*/ 738 w 945"/>
                <a:gd name="T5" fmla="*/ 384 h 1996"/>
                <a:gd name="T6" fmla="*/ 661 w 945"/>
                <a:gd name="T7" fmla="*/ 279 h 1996"/>
                <a:gd name="T8" fmla="*/ 183 w 945"/>
                <a:gd name="T9" fmla="*/ 0 h 1996"/>
                <a:gd name="T10" fmla="*/ 174 w 945"/>
                <a:gd name="T11" fmla="*/ 0 h 1996"/>
                <a:gd name="T12" fmla="*/ 0 w 945"/>
                <a:gd name="T13" fmla="*/ 150 h 1996"/>
                <a:gd name="T14" fmla="*/ 19 w 945"/>
                <a:gd name="T15" fmla="*/ 156 h 1996"/>
                <a:gd name="T16" fmla="*/ 353 w 945"/>
                <a:gd name="T17" fmla="*/ 593 h 1996"/>
                <a:gd name="T18" fmla="*/ 172 w 945"/>
                <a:gd name="T19" fmla="*/ 987 h 1996"/>
                <a:gd name="T20" fmla="*/ 169 w 945"/>
                <a:gd name="T21" fmla="*/ 1060 h 1996"/>
                <a:gd name="T22" fmla="*/ 632 w 945"/>
                <a:gd name="T23" fmla="*/ 1177 h 1996"/>
                <a:gd name="T24" fmla="*/ 561 w 945"/>
                <a:gd name="T25" fmla="*/ 1458 h 1996"/>
                <a:gd name="T26" fmla="*/ 168 w 945"/>
                <a:gd name="T27" fmla="*/ 1394 h 1996"/>
                <a:gd name="T28" fmla="*/ 275 w 945"/>
                <a:gd name="T29" fmla="*/ 1996 h 1996"/>
                <a:gd name="T30" fmla="*/ 472 w 945"/>
                <a:gd name="T31" fmla="*/ 1924 h 1996"/>
                <a:gd name="T32" fmla="*/ 830 w 945"/>
                <a:gd name="T33" fmla="*/ 1628 h 1996"/>
                <a:gd name="T34" fmla="*/ 926 w 945"/>
                <a:gd name="T35" fmla="*/ 1179 h 1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5" h="1996">
                  <a:moveTo>
                    <a:pt x="926" y="1179"/>
                  </a:moveTo>
                  <a:cubicBezTo>
                    <a:pt x="868" y="711"/>
                    <a:pt x="868" y="711"/>
                    <a:pt x="868" y="711"/>
                  </a:cubicBezTo>
                  <a:cubicBezTo>
                    <a:pt x="853" y="593"/>
                    <a:pt x="808" y="480"/>
                    <a:pt x="738" y="384"/>
                  </a:cubicBezTo>
                  <a:cubicBezTo>
                    <a:pt x="661" y="279"/>
                    <a:pt x="661" y="279"/>
                    <a:pt x="661" y="279"/>
                  </a:cubicBezTo>
                  <a:cubicBezTo>
                    <a:pt x="547" y="124"/>
                    <a:pt x="374" y="23"/>
                    <a:pt x="183" y="0"/>
                  </a:cubicBezTo>
                  <a:cubicBezTo>
                    <a:pt x="174" y="0"/>
                    <a:pt x="174" y="0"/>
                    <a:pt x="174" y="0"/>
                  </a:cubicBezTo>
                  <a:cubicBezTo>
                    <a:pt x="0" y="150"/>
                    <a:pt x="0" y="150"/>
                    <a:pt x="0" y="150"/>
                  </a:cubicBezTo>
                  <a:cubicBezTo>
                    <a:pt x="19" y="156"/>
                    <a:pt x="19" y="156"/>
                    <a:pt x="19" y="156"/>
                  </a:cubicBezTo>
                  <a:cubicBezTo>
                    <a:pt x="211" y="217"/>
                    <a:pt x="345" y="392"/>
                    <a:pt x="353" y="593"/>
                  </a:cubicBezTo>
                  <a:cubicBezTo>
                    <a:pt x="359" y="746"/>
                    <a:pt x="292" y="892"/>
                    <a:pt x="172" y="987"/>
                  </a:cubicBezTo>
                  <a:cubicBezTo>
                    <a:pt x="169" y="1060"/>
                    <a:pt x="169" y="1060"/>
                    <a:pt x="169" y="1060"/>
                  </a:cubicBezTo>
                  <a:cubicBezTo>
                    <a:pt x="632" y="1177"/>
                    <a:pt x="632" y="1177"/>
                    <a:pt x="632" y="1177"/>
                  </a:cubicBezTo>
                  <a:cubicBezTo>
                    <a:pt x="561" y="1458"/>
                    <a:pt x="561" y="1458"/>
                    <a:pt x="561" y="1458"/>
                  </a:cubicBezTo>
                  <a:cubicBezTo>
                    <a:pt x="168" y="1394"/>
                    <a:pt x="168" y="1394"/>
                    <a:pt x="168" y="1394"/>
                  </a:cubicBezTo>
                  <a:cubicBezTo>
                    <a:pt x="275" y="1996"/>
                    <a:pt x="275" y="1996"/>
                    <a:pt x="275" y="1996"/>
                  </a:cubicBezTo>
                  <a:cubicBezTo>
                    <a:pt x="472" y="1924"/>
                    <a:pt x="472" y="1924"/>
                    <a:pt x="472" y="1924"/>
                  </a:cubicBezTo>
                  <a:cubicBezTo>
                    <a:pt x="621" y="1869"/>
                    <a:pt x="748" y="1765"/>
                    <a:pt x="830" y="1628"/>
                  </a:cubicBezTo>
                  <a:cubicBezTo>
                    <a:pt x="912" y="1494"/>
                    <a:pt x="945" y="1335"/>
                    <a:pt x="926" y="1179"/>
                  </a:cubicBezTo>
                  <a:close/>
                </a:path>
              </a:pathLst>
            </a:custGeom>
            <a:solidFill>
              <a:srgbClr val="CADF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2" name="Freeform 127">
              <a:extLst>
                <a:ext uri="{FF2B5EF4-FFF2-40B4-BE49-F238E27FC236}">
                  <a16:creationId xmlns:a16="http://schemas.microsoft.com/office/drawing/2014/main" id="{A53F5D17-BEB7-4D1C-BD34-CA1E9CCC9DE4}"/>
                </a:ext>
              </a:extLst>
            </p:cNvPr>
            <p:cNvSpPr>
              <a:spLocks/>
            </p:cNvSpPr>
            <p:nvPr/>
          </p:nvSpPr>
          <p:spPr bwMode="auto">
            <a:xfrm>
              <a:off x="2799" y="3230"/>
              <a:ext cx="94" cy="68"/>
            </a:xfrm>
            <a:custGeom>
              <a:avLst/>
              <a:gdLst>
                <a:gd name="T0" fmla="*/ 8 w 94"/>
                <a:gd name="T1" fmla="*/ 68 h 68"/>
                <a:gd name="T2" fmla="*/ 94 w 94"/>
                <a:gd name="T3" fmla="*/ 40 h 68"/>
                <a:gd name="T4" fmla="*/ 78 w 94"/>
                <a:gd name="T5" fmla="*/ 0 h 68"/>
                <a:gd name="T6" fmla="*/ 0 w 94"/>
                <a:gd name="T7" fmla="*/ 22 h 68"/>
                <a:gd name="T8" fmla="*/ 8 w 94"/>
                <a:gd name="T9" fmla="*/ 68 h 68"/>
              </a:gdLst>
              <a:ahLst/>
              <a:cxnLst>
                <a:cxn ang="0">
                  <a:pos x="T0" y="T1"/>
                </a:cxn>
                <a:cxn ang="0">
                  <a:pos x="T2" y="T3"/>
                </a:cxn>
                <a:cxn ang="0">
                  <a:pos x="T4" y="T5"/>
                </a:cxn>
                <a:cxn ang="0">
                  <a:pos x="T6" y="T7"/>
                </a:cxn>
                <a:cxn ang="0">
                  <a:pos x="T8" y="T9"/>
                </a:cxn>
              </a:cxnLst>
              <a:rect l="0" t="0" r="r" b="b"/>
              <a:pathLst>
                <a:path w="94" h="68">
                  <a:moveTo>
                    <a:pt x="8" y="68"/>
                  </a:moveTo>
                  <a:lnTo>
                    <a:pt x="94" y="40"/>
                  </a:lnTo>
                  <a:lnTo>
                    <a:pt x="78" y="0"/>
                  </a:lnTo>
                  <a:lnTo>
                    <a:pt x="0" y="22"/>
                  </a:lnTo>
                  <a:lnTo>
                    <a:pt x="8" y="6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3" name="Freeform 128">
              <a:extLst>
                <a:ext uri="{FF2B5EF4-FFF2-40B4-BE49-F238E27FC236}">
                  <a16:creationId xmlns:a16="http://schemas.microsoft.com/office/drawing/2014/main" id="{B3824BE4-235A-461C-A3FD-970B2CF53DFC}"/>
                </a:ext>
              </a:extLst>
            </p:cNvPr>
            <p:cNvSpPr>
              <a:spLocks/>
            </p:cNvSpPr>
            <p:nvPr/>
          </p:nvSpPr>
          <p:spPr bwMode="auto">
            <a:xfrm>
              <a:off x="2767" y="2880"/>
              <a:ext cx="469" cy="490"/>
            </a:xfrm>
            <a:custGeom>
              <a:avLst/>
              <a:gdLst>
                <a:gd name="T0" fmla="*/ 1105 w 1119"/>
                <a:gd name="T1" fmla="*/ 440 h 1170"/>
                <a:gd name="T2" fmla="*/ 541 w 1119"/>
                <a:gd name="T3" fmla="*/ 1149 h 1170"/>
                <a:gd name="T4" fmla="*/ 481 w 1119"/>
                <a:gd name="T5" fmla="*/ 1156 h 1170"/>
                <a:gd name="T6" fmla="*/ 22 w 1119"/>
                <a:gd name="T7" fmla="*/ 790 h 1170"/>
                <a:gd name="T8" fmla="*/ 15 w 1119"/>
                <a:gd name="T9" fmla="*/ 730 h 1170"/>
                <a:gd name="T10" fmla="*/ 579 w 1119"/>
                <a:gd name="T11" fmla="*/ 21 h 1170"/>
                <a:gd name="T12" fmla="*/ 639 w 1119"/>
                <a:gd name="T13" fmla="*/ 15 h 1170"/>
                <a:gd name="T14" fmla="*/ 1098 w 1119"/>
                <a:gd name="T15" fmla="*/ 380 h 1170"/>
                <a:gd name="T16" fmla="*/ 1105 w 1119"/>
                <a:gd name="T17" fmla="*/ 440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9" h="1170">
                  <a:moveTo>
                    <a:pt x="1105" y="440"/>
                  </a:moveTo>
                  <a:cubicBezTo>
                    <a:pt x="541" y="1149"/>
                    <a:pt x="541" y="1149"/>
                    <a:pt x="541" y="1149"/>
                  </a:cubicBezTo>
                  <a:cubicBezTo>
                    <a:pt x="526" y="1167"/>
                    <a:pt x="499" y="1170"/>
                    <a:pt x="481" y="1156"/>
                  </a:cubicBezTo>
                  <a:cubicBezTo>
                    <a:pt x="22" y="790"/>
                    <a:pt x="22" y="790"/>
                    <a:pt x="22" y="790"/>
                  </a:cubicBezTo>
                  <a:cubicBezTo>
                    <a:pt x="3" y="776"/>
                    <a:pt x="0" y="749"/>
                    <a:pt x="15" y="730"/>
                  </a:cubicBezTo>
                  <a:cubicBezTo>
                    <a:pt x="579" y="21"/>
                    <a:pt x="579" y="21"/>
                    <a:pt x="579" y="21"/>
                  </a:cubicBezTo>
                  <a:cubicBezTo>
                    <a:pt x="593" y="3"/>
                    <a:pt x="620" y="0"/>
                    <a:pt x="639" y="15"/>
                  </a:cubicBezTo>
                  <a:cubicBezTo>
                    <a:pt x="1098" y="380"/>
                    <a:pt x="1098" y="380"/>
                    <a:pt x="1098" y="380"/>
                  </a:cubicBezTo>
                  <a:cubicBezTo>
                    <a:pt x="1116" y="394"/>
                    <a:pt x="1119" y="421"/>
                    <a:pt x="1105" y="4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4" name="Freeform 129">
              <a:extLst>
                <a:ext uri="{FF2B5EF4-FFF2-40B4-BE49-F238E27FC236}">
                  <a16:creationId xmlns:a16="http://schemas.microsoft.com/office/drawing/2014/main" id="{E3F86D96-981A-4E6D-99E6-712B62A38402}"/>
                </a:ext>
              </a:extLst>
            </p:cNvPr>
            <p:cNvSpPr>
              <a:spLocks/>
            </p:cNvSpPr>
            <p:nvPr/>
          </p:nvSpPr>
          <p:spPr bwMode="auto">
            <a:xfrm>
              <a:off x="2796" y="2909"/>
              <a:ext cx="411" cy="431"/>
            </a:xfrm>
            <a:custGeom>
              <a:avLst/>
              <a:gdLst>
                <a:gd name="T0" fmla="*/ 411 w 411"/>
                <a:gd name="T1" fmla="*/ 147 h 431"/>
                <a:gd name="T2" fmla="*/ 185 w 411"/>
                <a:gd name="T3" fmla="*/ 431 h 431"/>
                <a:gd name="T4" fmla="*/ 0 w 411"/>
                <a:gd name="T5" fmla="*/ 284 h 431"/>
                <a:gd name="T6" fmla="*/ 227 w 411"/>
                <a:gd name="T7" fmla="*/ 0 h 431"/>
                <a:gd name="T8" fmla="*/ 411 w 411"/>
                <a:gd name="T9" fmla="*/ 147 h 431"/>
              </a:gdLst>
              <a:ahLst/>
              <a:cxnLst>
                <a:cxn ang="0">
                  <a:pos x="T0" y="T1"/>
                </a:cxn>
                <a:cxn ang="0">
                  <a:pos x="T2" y="T3"/>
                </a:cxn>
                <a:cxn ang="0">
                  <a:pos x="T4" y="T5"/>
                </a:cxn>
                <a:cxn ang="0">
                  <a:pos x="T6" y="T7"/>
                </a:cxn>
                <a:cxn ang="0">
                  <a:pos x="T8" y="T9"/>
                </a:cxn>
              </a:cxnLst>
              <a:rect l="0" t="0" r="r" b="b"/>
              <a:pathLst>
                <a:path w="411" h="431">
                  <a:moveTo>
                    <a:pt x="411" y="147"/>
                  </a:moveTo>
                  <a:lnTo>
                    <a:pt x="185" y="431"/>
                  </a:lnTo>
                  <a:lnTo>
                    <a:pt x="0" y="284"/>
                  </a:lnTo>
                  <a:lnTo>
                    <a:pt x="227" y="0"/>
                  </a:lnTo>
                  <a:lnTo>
                    <a:pt x="411" y="147"/>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5" name="Freeform 130">
              <a:extLst>
                <a:ext uri="{FF2B5EF4-FFF2-40B4-BE49-F238E27FC236}">
                  <a16:creationId xmlns:a16="http://schemas.microsoft.com/office/drawing/2014/main" id="{CDA3ED0E-E2E4-4C60-B633-CB721353FEC9}"/>
                </a:ext>
              </a:extLst>
            </p:cNvPr>
            <p:cNvSpPr>
              <a:spLocks/>
            </p:cNvSpPr>
            <p:nvPr/>
          </p:nvSpPr>
          <p:spPr bwMode="auto">
            <a:xfrm>
              <a:off x="2779" y="3157"/>
              <a:ext cx="297" cy="156"/>
            </a:xfrm>
            <a:custGeom>
              <a:avLst/>
              <a:gdLst>
                <a:gd name="T0" fmla="*/ 0 w 297"/>
                <a:gd name="T1" fmla="*/ 73 h 156"/>
                <a:gd name="T2" fmla="*/ 178 w 297"/>
                <a:gd name="T3" fmla="*/ 109 h 156"/>
                <a:gd name="T4" fmla="*/ 241 w 297"/>
                <a:gd name="T5" fmla="*/ 156 h 156"/>
                <a:gd name="T6" fmla="*/ 297 w 297"/>
                <a:gd name="T7" fmla="*/ 86 h 156"/>
                <a:gd name="T8" fmla="*/ 148 w 297"/>
                <a:gd name="T9" fmla="*/ 7 h 156"/>
                <a:gd name="T10" fmla="*/ 3 w 297"/>
                <a:gd name="T11" fmla="*/ 0 h 156"/>
                <a:gd name="T12" fmla="*/ 0 w 297"/>
                <a:gd name="T13" fmla="*/ 73 h 156"/>
              </a:gdLst>
              <a:ahLst/>
              <a:cxnLst>
                <a:cxn ang="0">
                  <a:pos x="T0" y="T1"/>
                </a:cxn>
                <a:cxn ang="0">
                  <a:pos x="T2" y="T3"/>
                </a:cxn>
                <a:cxn ang="0">
                  <a:pos x="T4" y="T5"/>
                </a:cxn>
                <a:cxn ang="0">
                  <a:pos x="T6" y="T7"/>
                </a:cxn>
                <a:cxn ang="0">
                  <a:pos x="T8" y="T9"/>
                </a:cxn>
                <a:cxn ang="0">
                  <a:pos x="T10" y="T11"/>
                </a:cxn>
                <a:cxn ang="0">
                  <a:pos x="T12" y="T13"/>
                </a:cxn>
              </a:cxnLst>
              <a:rect l="0" t="0" r="r" b="b"/>
              <a:pathLst>
                <a:path w="297" h="156">
                  <a:moveTo>
                    <a:pt x="0" y="73"/>
                  </a:moveTo>
                  <a:lnTo>
                    <a:pt x="178" y="109"/>
                  </a:lnTo>
                  <a:lnTo>
                    <a:pt x="241" y="156"/>
                  </a:lnTo>
                  <a:lnTo>
                    <a:pt x="297" y="86"/>
                  </a:lnTo>
                  <a:lnTo>
                    <a:pt x="148" y="7"/>
                  </a:lnTo>
                  <a:lnTo>
                    <a:pt x="3" y="0"/>
                  </a:lnTo>
                  <a:lnTo>
                    <a:pt x="0" y="7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6" name="Freeform 131">
              <a:extLst>
                <a:ext uri="{FF2B5EF4-FFF2-40B4-BE49-F238E27FC236}">
                  <a16:creationId xmlns:a16="http://schemas.microsoft.com/office/drawing/2014/main" id="{A64C4B3E-0C7C-4C33-A395-6DB03D909BFB}"/>
                </a:ext>
              </a:extLst>
            </p:cNvPr>
            <p:cNvSpPr>
              <a:spLocks/>
            </p:cNvSpPr>
            <p:nvPr/>
          </p:nvSpPr>
          <p:spPr bwMode="auto">
            <a:xfrm>
              <a:off x="2939" y="3096"/>
              <a:ext cx="216" cy="174"/>
            </a:xfrm>
            <a:custGeom>
              <a:avLst/>
              <a:gdLst>
                <a:gd name="T0" fmla="*/ 465 w 514"/>
                <a:gd name="T1" fmla="*/ 60 h 415"/>
                <a:gd name="T2" fmla="*/ 512 w 514"/>
                <a:gd name="T3" fmla="*/ 28 h 415"/>
                <a:gd name="T4" fmla="*/ 514 w 514"/>
                <a:gd name="T5" fmla="*/ 18 h 415"/>
                <a:gd name="T6" fmla="*/ 432 w 514"/>
                <a:gd name="T7" fmla="*/ 1 h 415"/>
                <a:gd name="T8" fmla="*/ 268 w 514"/>
                <a:gd name="T9" fmla="*/ 0 h 415"/>
                <a:gd name="T10" fmla="*/ 268 w 514"/>
                <a:gd name="T11" fmla="*/ 0 h 415"/>
                <a:gd name="T12" fmla="*/ 248 w 514"/>
                <a:gd name="T13" fmla="*/ 2 h 415"/>
                <a:gd name="T14" fmla="*/ 67 w 514"/>
                <a:gd name="T15" fmla="*/ 40 h 415"/>
                <a:gd name="T16" fmla="*/ 0 w 514"/>
                <a:gd name="T17" fmla="*/ 258 h 415"/>
                <a:gd name="T18" fmla="*/ 158 w 514"/>
                <a:gd name="T19" fmla="*/ 376 h 415"/>
                <a:gd name="T20" fmla="*/ 196 w 514"/>
                <a:gd name="T21" fmla="*/ 392 h 415"/>
                <a:gd name="T22" fmla="*/ 315 w 514"/>
                <a:gd name="T23" fmla="*/ 412 h 415"/>
                <a:gd name="T24" fmla="*/ 357 w 514"/>
                <a:gd name="T25" fmla="*/ 390 h 415"/>
                <a:gd name="T26" fmla="*/ 403 w 514"/>
                <a:gd name="T27" fmla="*/ 292 h 415"/>
                <a:gd name="T28" fmla="*/ 409 w 514"/>
                <a:gd name="T29" fmla="*/ 290 h 415"/>
                <a:gd name="T30" fmla="*/ 449 w 514"/>
                <a:gd name="T31" fmla="*/ 243 h 415"/>
                <a:gd name="T32" fmla="*/ 449 w 514"/>
                <a:gd name="T33" fmla="*/ 219 h 415"/>
                <a:gd name="T34" fmla="*/ 457 w 514"/>
                <a:gd name="T35" fmla="*/ 221 h 415"/>
                <a:gd name="T36" fmla="*/ 508 w 514"/>
                <a:gd name="T37" fmla="*/ 186 h 415"/>
                <a:gd name="T38" fmla="*/ 480 w 514"/>
                <a:gd name="T39" fmla="*/ 138 h 415"/>
                <a:gd name="T40" fmla="*/ 361 w 514"/>
                <a:gd name="T41" fmla="*/ 98 h 415"/>
                <a:gd name="T42" fmla="*/ 357 w 514"/>
                <a:gd name="T43" fmla="*/ 80 h 415"/>
                <a:gd name="T44" fmla="*/ 418 w 514"/>
                <a:gd name="T45" fmla="*/ 53 h 415"/>
                <a:gd name="T46" fmla="*/ 465 w 514"/>
                <a:gd name="T47" fmla="*/ 6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4" h="415">
                  <a:moveTo>
                    <a:pt x="465" y="60"/>
                  </a:moveTo>
                  <a:cubicBezTo>
                    <a:pt x="486" y="63"/>
                    <a:pt x="506" y="49"/>
                    <a:pt x="512" y="28"/>
                  </a:cubicBezTo>
                  <a:cubicBezTo>
                    <a:pt x="514" y="18"/>
                    <a:pt x="514" y="18"/>
                    <a:pt x="514" y="18"/>
                  </a:cubicBezTo>
                  <a:cubicBezTo>
                    <a:pt x="432" y="1"/>
                    <a:pt x="432" y="1"/>
                    <a:pt x="432" y="1"/>
                  </a:cubicBezTo>
                  <a:cubicBezTo>
                    <a:pt x="268" y="0"/>
                    <a:pt x="268" y="0"/>
                    <a:pt x="268" y="0"/>
                  </a:cubicBezTo>
                  <a:cubicBezTo>
                    <a:pt x="268" y="0"/>
                    <a:pt x="268" y="0"/>
                    <a:pt x="268" y="0"/>
                  </a:cubicBezTo>
                  <a:cubicBezTo>
                    <a:pt x="262" y="0"/>
                    <a:pt x="255" y="0"/>
                    <a:pt x="248" y="2"/>
                  </a:cubicBezTo>
                  <a:cubicBezTo>
                    <a:pt x="67" y="40"/>
                    <a:pt x="67" y="40"/>
                    <a:pt x="67" y="40"/>
                  </a:cubicBezTo>
                  <a:cubicBezTo>
                    <a:pt x="0" y="258"/>
                    <a:pt x="0" y="258"/>
                    <a:pt x="0" y="258"/>
                  </a:cubicBezTo>
                  <a:cubicBezTo>
                    <a:pt x="158" y="376"/>
                    <a:pt x="158" y="376"/>
                    <a:pt x="158" y="376"/>
                  </a:cubicBezTo>
                  <a:cubicBezTo>
                    <a:pt x="169" y="384"/>
                    <a:pt x="182" y="390"/>
                    <a:pt x="196" y="392"/>
                  </a:cubicBezTo>
                  <a:cubicBezTo>
                    <a:pt x="315" y="412"/>
                    <a:pt x="315" y="412"/>
                    <a:pt x="315" y="412"/>
                  </a:cubicBezTo>
                  <a:cubicBezTo>
                    <a:pt x="332" y="415"/>
                    <a:pt x="350" y="406"/>
                    <a:pt x="357" y="390"/>
                  </a:cubicBezTo>
                  <a:cubicBezTo>
                    <a:pt x="403" y="292"/>
                    <a:pt x="403" y="292"/>
                    <a:pt x="403" y="292"/>
                  </a:cubicBezTo>
                  <a:cubicBezTo>
                    <a:pt x="409" y="290"/>
                    <a:pt x="409" y="290"/>
                    <a:pt x="409" y="290"/>
                  </a:cubicBezTo>
                  <a:cubicBezTo>
                    <a:pt x="432" y="286"/>
                    <a:pt x="448" y="266"/>
                    <a:pt x="449" y="243"/>
                  </a:cubicBezTo>
                  <a:cubicBezTo>
                    <a:pt x="449" y="219"/>
                    <a:pt x="449" y="219"/>
                    <a:pt x="449" y="219"/>
                  </a:cubicBezTo>
                  <a:cubicBezTo>
                    <a:pt x="457" y="221"/>
                    <a:pt x="457" y="221"/>
                    <a:pt x="457" y="221"/>
                  </a:cubicBezTo>
                  <a:cubicBezTo>
                    <a:pt x="481" y="226"/>
                    <a:pt x="504" y="210"/>
                    <a:pt x="508" y="186"/>
                  </a:cubicBezTo>
                  <a:cubicBezTo>
                    <a:pt x="512" y="166"/>
                    <a:pt x="500" y="145"/>
                    <a:pt x="480" y="138"/>
                  </a:cubicBezTo>
                  <a:cubicBezTo>
                    <a:pt x="361" y="98"/>
                    <a:pt x="361" y="98"/>
                    <a:pt x="361" y="98"/>
                  </a:cubicBezTo>
                  <a:cubicBezTo>
                    <a:pt x="357" y="80"/>
                    <a:pt x="357" y="80"/>
                    <a:pt x="357" y="80"/>
                  </a:cubicBezTo>
                  <a:cubicBezTo>
                    <a:pt x="418" y="53"/>
                    <a:pt x="418" y="53"/>
                    <a:pt x="418" y="53"/>
                  </a:cubicBezTo>
                  <a:lnTo>
                    <a:pt x="465" y="60"/>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7" name="Freeform 132">
              <a:extLst>
                <a:ext uri="{FF2B5EF4-FFF2-40B4-BE49-F238E27FC236}">
                  <a16:creationId xmlns:a16="http://schemas.microsoft.com/office/drawing/2014/main" id="{6C28C9C7-0971-4EC5-A994-3B97A7B31F89}"/>
                </a:ext>
              </a:extLst>
            </p:cNvPr>
            <p:cNvSpPr>
              <a:spLocks/>
            </p:cNvSpPr>
            <p:nvPr/>
          </p:nvSpPr>
          <p:spPr bwMode="auto">
            <a:xfrm>
              <a:off x="3656" y="2532"/>
              <a:ext cx="176" cy="175"/>
            </a:xfrm>
            <a:custGeom>
              <a:avLst/>
              <a:gdLst>
                <a:gd name="T0" fmla="*/ 0 w 419"/>
                <a:gd name="T1" fmla="*/ 296 h 419"/>
                <a:gd name="T2" fmla="*/ 87 w 419"/>
                <a:gd name="T3" fmla="*/ 77 h 419"/>
                <a:gd name="T4" fmla="*/ 135 w 419"/>
                <a:gd name="T5" fmla="*/ 35 h 419"/>
                <a:gd name="T6" fmla="*/ 294 w 419"/>
                <a:gd name="T7" fmla="*/ 0 h 419"/>
                <a:gd name="T8" fmla="*/ 419 w 419"/>
                <a:gd name="T9" fmla="*/ 72 h 419"/>
                <a:gd name="T10" fmla="*/ 406 w 419"/>
                <a:gd name="T11" fmla="*/ 90 h 419"/>
                <a:gd name="T12" fmla="*/ 339 w 419"/>
                <a:gd name="T13" fmla="*/ 106 h 419"/>
                <a:gd name="T14" fmla="*/ 292 w 419"/>
                <a:gd name="T15" fmla="*/ 83 h 419"/>
                <a:gd name="T16" fmla="*/ 209 w 419"/>
                <a:gd name="T17" fmla="*/ 135 h 419"/>
                <a:gd name="T18" fmla="*/ 212 w 419"/>
                <a:gd name="T19" fmla="*/ 165 h 419"/>
                <a:gd name="T20" fmla="*/ 115 w 419"/>
                <a:gd name="T21" fmla="*/ 419 h 419"/>
                <a:gd name="T22" fmla="*/ 115 w 419"/>
                <a:gd name="T23" fmla="*/ 419 h 419"/>
                <a:gd name="T24" fmla="*/ 0 w 419"/>
                <a:gd name="T25" fmla="*/ 29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9" h="419">
                  <a:moveTo>
                    <a:pt x="0" y="296"/>
                  </a:moveTo>
                  <a:cubicBezTo>
                    <a:pt x="87" y="77"/>
                    <a:pt x="87" y="77"/>
                    <a:pt x="87" y="77"/>
                  </a:cubicBezTo>
                  <a:cubicBezTo>
                    <a:pt x="95" y="56"/>
                    <a:pt x="113" y="40"/>
                    <a:pt x="135" y="35"/>
                  </a:cubicBezTo>
                  <a:cubicBezTo>
                    <a:pt x="294" y="0"/>
                    <a:pt x="294" y="0"/>
                    <a:pt x="294" y="0"/>
                  </a:cubicBezTo>
                  <a:cubicBezTo>
                    <a:pt x="419" y="72"/>
                    <a:pt x="419" y="72"/>
                    <a:pt x="419" y="72"/>
                  </a:cubicBezTo>
                  <a:cubicBezTo>
                    <a:pt x="406" y="90"/>
                    <a:pt x="406" y="90"/>
                    <a:pt x="406" y="90"/>
                  </a:cubicBezTo>
                  <a:cubicBezTo>
                    <a:pt x="390" y="111"/>
                    <a:pt x="362" y="118"/>
                    <a:pt x="339" y="106"/>
                  </a:cubicBezTo>
                  <a:cubicBezTo>
                    <a:pt x="292" y="83"/>
                    <a:pt x="292" y="83"/>
                    <a:pt x="292" y="83"/>
                  </a:cubicBezTo>
                  <a:cubicBezTo>
                    <a:pt x="209" y="135"/>
                    <a:pt x="209" y="135"/>
                    <a:pt x="209" y="135"/>
                  </a:cubicBezTo>
                  <a:cubicBezTo>
                    <a:pt x="212" y="165"/>
                    <a:pt x="212" y="165"/>
                    <a:pt x="212" y="165"/>
                  </a:cubicBezTo>
                  <a:cubicBezTo>
                    <a:pt x="221" y="260"/>
                    <a:pt x="185" y="354"/>
                    <a:pt x="115" y="419"/>
                  </a:cubicBezTo>
                  <a:cubicBezTo>
                    <a:pt x="115" y="419"/>
                    <a:pt x="115" y="419"/>
                    <a:pt x="115" y="419"/>
                  </a:cubicBezTo>
                  <a:lnTo>
                    <a:pt x="0" y="29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8" name="Freeform 133">
              <a:extLst>
                <a:ext uri="{FF2B5EF4-FFF2-40B4-BE49-F238E27FC236}">
                  <a16:creationId xmlns:a16="http://schemas.microsoft.com/office/drawing/2014/main" id="{1D8F6E92-4D7F-4912-B2C0-1E9622B873C5}"/>
                </a:ext>
              </a:extLst>
            </p:cNvPr>
            <p:cNvSpPr>
              <a:spLocks/>
            </p:cNvSpPr>
            <p:nvPr/>
          </p:nvSpPr>
          <p:spPr bwMode="auto">
            <a:xfrm>
              <a:off x="3837" y="2616"/>
              <a:ext cx="55" cy="37"/>
            </a:xfrm>
            <a:custGeom>
              <a:avLst/>
              <a:gdLst>
                <a:gd name="T0" fmla="*/ 105 w 132"/>
                <a:gd name="T1" fmla="*/ 70 h 89"/>
                <a:gd name="T2" fmla="*/ 43 w 132"/>
                <a:gd name="T3" fmla="*/ 85 h 89"/>
                <a:gd name="T4" fmla="*/ 5 w 132"/>
                <a:gd name="T5" fmla="*/ 62 h 89"/>
                <a:gd name="T6" fmla="*/ 4 w 132"/>
                <a:gd name="T7" fmla="*/ 57 h 89"/>
                <a:gd name="T8" fmla="*/ 27 w 132"/>
                <a:gd name="T9" fmla="*/ 20 h 89"/>
                <a:gd name="T10" fmla="*/ 88 w 132"/>
                <a:gd name="T11" fmla="*/ 4 h 89"/>
                <a:gd name="T12" fmla="*/ 126 w 132"/>
                <a:gd name="T13" fmla="*/ 27 h 89"/>
                <a:gd name="T14" fmla="*/ 127 w 132"/>
                <a:gd name="T15" fmla="*/ 32 h 89"/>
                <a:gd name="T16" fmla="*/ 105 w 132"/>
                <a:gd name="T17"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89">
                  <a:moveTo>
                    <a:pt x="105" y="70"/>
                  </a:moveTo>
                  <a:cubicBezTo>
                    <a:pt x="43" y="85"/>
                    <a:pt x="43" y="85"/>
                    <a:pt x="43" y="85"/>
                  </a:cubicBezTo>
                  <a:cubicBezTo>
                    <a:pt x="27" y="89"/>
                    <a:pt x="10" y="79"/>
                    <a:pt x="5" y="62"/>
                  </a:cubicBezTo>
                  <a:cubicBezTo>
                    <a:pt x="4" y="57"/>
                    <a:pt x="4" y="57"/>
                    <a:pt x="4" y="57"/>
                  </a:cubicBezTo>
                  <a:cubicBezTo>
                    <a:pt x="0" y="41"/>
                    <a:pt x="10" y="24"/>
                    <a:pt x="27" y="20"/>
                  </a:cubicBezTo>
                  <a:cubicBezTo>
                    <a:pt x="88" y="4"/>
                    <a:pt x="88" y="4"/>
                    <a:pt x="88" y="4"/>
                  </a:cubicBezTo>
                  <a:cubicBezTo>
                    <a:pt x="105" y="0"/>
                    <a:pt x="122" y="11"/>
                    <a:pt x="126" y="27"/>
                  </a:cubicBezTo>
                  <a:cubicBezTo>
                    <a:pt x="127" y="32"/>
                    <a:pt x="127" y="32"/>
                    <a:pt x="127" y="32"/>
                  </a:cubicBezTo>
                  <a:cubicBezTo>
                    <a:pt x="132" y="49"/>
                    <a:pt x="121" y="65"/>
                    <a:pt x="105"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9" name="Freeform 134">
              <a:extLst>
                <a:ext uri="{FF2B5EF4-FFF2-40B4-BE49-F238E27FC236}">
                  <a16:creationId xmlns:a16="http://schemas.microsoft.com/office/drawing/2014/main" id="{250EC97E-B676-4D3C-88C0-F1ADD3608F3F}"/>
                </a:ext>
              </a:extLst>
            </p:cNvPr>
            <p:cNvSpPr>
              <a:spLocks/>
            </p:cNvSpPr>
            <p:nvPr/>
          </p:nvSpPr>
          <p:spPr bwMode="auto">
            <a:xfrm>
              <a:off x="3835" y="2658"/>
              <a:ext cx="47" cy="27"/>
            </a:xfrm>
            <a:custGeom>
              <a:avLst/>
              <a:gdLst>
                <a:gd name="T0" fmla="*/ 84 w 113"/>
                <a:gd name="T1" fmla="*/ 60 h 64"/>
                <a:gd name="T2" fmla="*/ 33 w 113"/>
                <a:gd name="T3" fmla="*/ 63 h 64"/>
                <a:gd name="T4" fmla="*/ 2 w 113"/>
                <a:gd name="T5" fmla="*/ 36 h 64"/>
                <a:gd name="T6" fmla="*/ 2 w 113"/>
                <a:gd name="T7" fmla="*/ 36 h 64"/>
                <a:gd name="T8" fmla="*/ 29 w 113"/>
                <a:gd name="T9" fmla="*/ 4 h 64"/>
                <a:gd name="T10" fmla="*/ 80 w 113"/>
                <a:gd name="T11" fmla="*/ 1 h 64"/>
                <a:gd name="T12" fmla="*/ 112 w 113"/>
                <a:gd name="T13" fmla="*/ 28 h 64"/>
                <a:gd name="T14" fmla="*/ 112 w 113"/>
                <a:gd name="T15" fmla="*/ 28 h 64"/>
                <a:gd name="T16" fmla="*/ 84 w 113"/>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4">
                  <a:moveTo>
                    <a:pt x="84" y="60"/>
                  </a:moveTo>
                  <a:cubicBezTo>
                    <a:pt x="33" y="63"/>
                    <a:pt x="33" y="63"/>
                    <a:pt x="33" y="63"/>
                  </a:cubicBezTo>
                  <a:cubicBezTo>
                    <a:pt x="17" y="64"/>
                    <a:pt x="3" y="52"/>
                    <a:pt x="2" y="36"/>
                  </a:cubicBezTo>
                  <a:cubicBezTo>
                    <a:pt x="2" y="36"/>
                    <a:pt x="2" y="36"/>
                    <a:pt x="2" y="36"/>
                  </a:cubicBezTo>
                  <a:cubicBezTo>
                    <a:pt x="0" y="20"/>
                    <a:pt x="13" y="6"/>
                    <a:pt x="29" y="4"/>
                  </a:cubicBezTo>
                  <a:cubicBezTo>
                    <a:pt x="80" y="1"/>
                    <a:pt x="80" y="1"/>
                    <a:pt x="80" y="1"/>
                  </a:cubicBezTo>
                  <a:cubicBezTo>
                    <a:pt x="96" y="0"/>
                    <a:pt x="111" y="12"/>
                    <a:pt x="112" y="28"/>
                  </a:cubicBezTo>
                  <a:cubicBezTo>
                    <a:pt x="112" y="28"/>
                    <a:pt x="112" y="28"/>
                    <a:pt x="112" y="28"/>
                  </a:cubicBezTo>
                  <a:cubicBezTo>
                    <a:pt x="113" y="44"/>
                    <a:pt x="101" y="58"/>
                    <a:pt x="84" y="6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0" name="Freeform 135">
              <a:extLst>
                <a:ext uri="{FF2B5EF4-FFF2-40B4-BE49-F238E27FC236}">
                  <a16:creationId xmlns:a16="http://schemas.microsoft.com/office/drawing/2014/main" id="{71FEB7EB-0676-48BA-8878-78084EE65A84}"/>
                </a:ext>
              </a:extLst>
            </p:cNvPr>
            <p:cNvSpPr>
              <a:spLocks/>
            </p:cNvSpPr>
            <p:nvPr/>
          </p:nvSpPr>
          <p:spPr bwMode="auto">
            <a:xfrm>
              <a:off x="3828" y="2544"/>
              <a:ext cx="77" cy="80"/>
            </a:xfrm>
            <a:custGeom>
              <a:avLst/>
              <a:gdLst>
                <a:gd name="T0" fmla="*/ 175 w 183"/>
                <a:gd name="T1" fmla="*/ 91 h 191"/>
                <a:gd name="T2" fmla="*/ 146 w 183"/>
                <a:gd name="T3" fmla="*/ 70 h 191"/>
                <a:gd name="T4" fmla="*/ 158 w 183"/>
                <a:gd name="T5" fmla="*/ 27 h 191"/>
                <a:gd name="T6" fmla="*/ 110 w 183"/>
                <a:gd name="T7" fmla="*/ 8 h 191"/>
                <a:gd name="T8" fmla="*/ 32 w 183"/>
                <a:gd name="T9" fmla="*/ 42 h 191"/>
                <a:gd name="T10" fmla="*/ 14 w 183"/>
                <a:gd name="T11" fmla="*/ 89 h 191"/>
                <a:gd name="T12" fmla="*/ 41 w 183"/>
                <a:gd name="T13" fmla="*/ 110 h 191"/>
                <a:gd name="T14" fmla="*/ 27 w 183"/>
                <a:gd name="T15" fmla="*/ 116 h 191"/>
                <a:gd name="T16" fmla="*/ 8 w 183"/>
                <a:gd name="T17" fmla="*/ 164 h 191"/>
                <a:gd name="T18" fmla="*/ 56 w 183"/>
                <a:gd name="T19" fmla="*/ 183 h 191"/>
                <a:gd name="T20" fmla="*/ 157 w 183"/>
                <a:gd name="T21" fmla="*/ 139 h 191"/>
                <a:gd name="T22" fmla="*/ 175 w 183"/>
                <a:gd name="T23" fmla="*/ 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91">
                  <a:moveTo>
                    <a:pt x="175" y="91"/>
                  </a:moveTo>
                  <a:cubicBezTo>
                    <a:pt x="170" y="79"/>
                    <a:pt x="158" y="71"/>
                    <a:pt x="146" y="70"/>
                  </a:cubicBezTo>
                  <a:cubicBezTo>
                    <a:pt x="159" y="60"/>
                    <a:pt x="165" y="43"/>
                    <a:pt x="158" y="27"/>
                  </a:cubicBezTo>
                  <a:cubicBezTo>
                    <a:pt x="150" y="8"/>
                    <a:pt x="129" y="0"/>
                    <a:pt x="110" y="8"/>
                  </a:cubicBezTo>
                  <a:cubicBezTo>
                    <a:pt x="32" y="42"/>
                    <a:pt x="32" y="42"/>
                    <a:pt x="32" y="42"/>
                  </a:cubicBezTo>
                  <a:cubicBezTo>
                    <a:pt x="14" y="50"/>
                    <a:pt x="6" y="71"/>
                    <a:pt x="14" y="89"/>
                  </a:cubicBezTo>
                  <a:cubicBezTo>
                    <a:pt x="19" y="101"/>
                    <a:pt x="29" y="108"/>
                    <a:pt x="41" y="110"/>
                  </a:cubicBezTo>
                  <a:cubicBezTo>
                    <a:pt x="27" y="116"/>
                    <a:pt x="27" y="116"/>
                    <a:pt x="27" y="116"/>
                  </a:cubicBezTo>
                  <a:cubicBezTo>
                    <a:pt x="8" y="124"/>
                    <a:pt x="0" y="145"/>
                    <a:pt x="8" y="164"/>
                  </a:cubicBezTo>
                  <a:cubicBezTo>
                    <a:pt x="16" y="182"/>
                    <a:pt x="37" y="191"/>
                    <a:pt x="56" y="183"/>
                  </a:cubicBezTo>
                  <a:cubicBezTo>
                    <a:pt x="157" y="139"/>
                    <a:pt x="157" y="139"/>
                    <a:pt x="157" y="139"/>
                  </a:cubicBezTo>
                  <a:cubicBezTo>
                    <a:pt x="175" y="131"/>
                    <a:pt x="183" y="110"/>
                    <a:pt x="175" y="91"/>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2" name="Freeform 136">
              <a:extLst>
                <a:ext uri="{FF2B5EF4-FFF2-40B4-BE49-F238E27FC236}">
                  <a16:creationId xmlns:a16="http://schemas.microsoft.com/office/drawing/2014/main" id="{E845AEA1-BEA7-43DC-BD1C-243AE947A23B}"/>
                </a:ext>
              </a:extLst>
            </p:cNvPr>
            <p:cNvSpPr>
              <a:spLocks/>
            </p:cNvSpPr>
            <p:nvPr/>
          </p:nvSpPr>
          <p:spPr bwMode="auto">
            <a:xfrm>
              <a:off x="2625" y="2706"/>
              <a:ext cx="358" cy="516"/>
            </a:xfrm>
            <a:custGeom>
              <a:avLst/>
              <a:gdLst>
                <a:gd name="T0" fmla="*/ 49 w 853"/>
                <a:gd name="T1" fmla="*/ 135 h 1232"/>
                <a:gd name="T2" fmla="*/ 2 w 853"/>
                <a:gd name="T3" fmla="*/ 1034 h 1232"/>
                <a:gd name="T4" fmla="*/ 68 w 853"/>
                <a:gd name="T5" fmla="*/ 1116 h 1232"/>
                <a:gd name="T6" fmla="*/ 782 w 853"/>
                <a:gd name="T7" fmla="*/ 1232 h 1232"/>
                <a:gd name="T8" fmla="*/ 853 w 853"/>
                <a:gd name="T9" fmla="*/ 951 h 1232"/>
                <a:gd name="T10" fmla="*/ 390 w 853"/>
                <a:gd name="T11" fmla="*/ 834 h 1232"/>
                <a:gd name="T12" fmla="*/ 414 w 853"/>
                <a:gd name="T13" fmla="*/ 268 h 1232"/>
                <a:gd name="T14" fmla="*/ 226 w 853"/>
                <a:gd name="T15" fmla="*/ 15 h 1232"/>
                <a:gd name="T16" fmla="*/ 200 w 853"/>
                <a:gd name="T17" fmla="*/ 11 h 1232"/>
                <a:gd name="T18" fmla="*/ 49 w 853"/>
                <a:gd name="T19" fmla="*/ 135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3" h="1232">
                  <a:moveTo>
                    <a:pt x="49" y="135"/>
                  </a:moveTo>
                  <a:cubicBezTo>
                    <a:pt x="2" y="1034"/>
                    <a:pt x="2" y="1034"/>
                    <a:pt x="2" y="1034"/>
                  </a:cubicBezTo>
                  <a:cubicBezTo>
                    <a:pt x="0" y="1074"/>
                    <a:pt x="29" y="1109"/>
                    <a:pt x="68" y="1116"/>
                  </a:cubicBezTo>
                  <a:cubicBezTo>
                    <a:pt x="782" y="1232"/>
                    <a:pt x="782" y="1232"/>
                    <a:pt x="782" y="1232"/>
                  </a:cubicBezTo>
                  <a:cubicBezTo>
                    <a:pt x="853" y="951"/>
                    <a:pt x="853" y="951"/>
                    <a:pt x="853" y="951"/>
                  </a:cubicBezTo>
                  <a:cubicBezTo>
                    <a:pt x="390" y="834"/>
                    <a:pt x="390" y="834"/>
                    <a:pt x="390" y="834"/>
                  </a:cubicBezTo>
                  <a:cubicBezTo>
                    <a:pt x="414" y="268"/>
                    <a:pt x="414" y="268"/>
                    <a:pt x="414" y="268"/>
                  </a:cubicBezTo>
                  <a:cubicBezTo>
                    <a:pt x="425" y="139"/>
                    <a:pt x="354" y="34"/>
                    <a:pt x="226" y="15"/>
                  </a:cubicBezTo>
                  <a:cubicBezTo>
                    <a:pt x="200" y="11"/>
                    <a:pt x="200" y="11"/>
                    <a:pt x="200" y="11"/>
                  </a:cubicBezTo>
                  <a:cubicBezTo>
                    <a:pt x="123" y="0"/>
                    <a:pt x="53" y="57"/>
                    <a:pt x="49" y="135"/>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5" name="Freeform 137">
              <a:extLst>
                <a:ext uri="{FF2B5EF4-FFF2-40B4-BE49-F238E27FC236}">
                  <a16:creationId xmlns:a16="http://schemas.microsoft.com/office/drawing/2014/main" id="{65498FAF-04E8-4855-871B-EEE78731AD79}"/>
                </a:ext>
              </a:extLst>
            </p:cNvPr>
            <p:cNvSpPr>
              <a:spLocks/>
            </p:cNvSpPr>
            <p:nvPr/>
          </p:nvSpPr>
          <p:spPr bwMode="auto">
            <a:xfrm>
              <a:off x="2976" y="2539"/>
              <a:ext cx="125" cy="226"/>
            </a:xfrm>
            <a:custGeom>
              <a:avLst/>
              <a:gdLst>
                <a:gd name="T0" fmla="*/ 9 w 300"/>
                <a:gd name="T1" fmla="*/ 62 h 540"/>
                <a:gd name="T2" fmla="*/ 0 w 300"/>
                <a:gd name="T3" fmla="*/ 197 h 540"/>
                <a:gd name="T4" fmla="*/ 233 w 300"/>
                <a:gd name="T5" fmla="*/ 502 h 540"/>
                <a:gd name="T6" fmla="*/ 248 w 300"/>
                <a:gd name="T7" fmla="*/ 540 h 540"/>
                <a:gd name="T8" fmla="*/ 278 w 300"/>
                <a:gd name="T9" fmla="*/ 378 h 540"/>
                <a:gd name="T10" fmla="*/ 222 w 300"/>
                <a:gd name="T11" fmla="*/ 26 h 540"/>
                <a:gd name="T12" fmla="*/ 202 w 300"/>
                <a:gd name="T13" fmla="*/ 0 h 540"/>
                <a:gd name="T14" fmla="*/ 9 w 300"/>
                <a:gd name="T15" fmla="*/ 62 h 5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540">
                  <a:moveTo>
                    <a:pt x="9" y="62"/>
                  </a:moveTo>
                  <a:cubicBezTo>
                    <a:pt x="0" y="197"/>
                    <a:pt x="0" y="197"/>
                    <a:pt x="0" y="197"/>
                  </a:cubicBezTo>
                  <a:cubicBezTo>
                    <a:pt x="120" y="296"/>
                    <a:pt x="175" y="359"/>
                    <a:pt x="233" y="502"/>
                  </a:cubicBezTo>
                  <a:cubicBezTo>
                    <a:pt x="248" y="540"/>
                    <a:pt x="248" y="540"/>
                    <a:pt x="248" y="540"/>
                  </a:cubicBezTo>
                  <a:cubicBezTo>
                    <a:pt x="278" y="378"/>
                    <a:pt x="278" y="378"/>
                    <a:pt x="278" y="378"/>
                  </a:cubicBezTo>
                  <a:cubicBezTo>
                    <a:pt x="300" y="258"/>
                    <a:pt x="280" y="134"/>
                    <a:pt x="222" y="26"/>
                  </a:cubicBezTo>
                  <a:cubicBezTo>
                    <a:pt x="202" y="0"/>
                    <a:pt x="202" y="0"/>
                    <a:pt x="202" y="0"/>
                  </a:cubicBezTo>
                  <a:lnTo>
                    <a:pt x="9" y="62"/>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6" name="Freeform 138">
              <a:extLst>
                <a:ext uri="{FF2B5EF4-FFF2-40B4-BE49-F238E27FC236}">
                  <a16:creationId xmlns:a16="http://schemas.microsoft.com/office/drawing/2014/main" id="{A65CD8B8-90DD-4686-B3EF-6D5401173855}"/>
                </a:ext>
              </a:extLst>
            </p:cNvPr>
            <p:cNvSpPr>
              <a:spLocks/>
            </p:cNvSpPr>
            <p:nvPr/>
          </p:nvSpPr>
          <p:spPr bwMode="auto">
            <a:xfrm>
              <a:off x="2771" y="2206"/>
              <a:ext cx="361" cy="442"/>
            </a:xfrm>
            <a:custGeom>
              <a:avLst/>
              <a:gdLst>
                <a:gd name="T0" fmla="*/ 832 w 862"/>
                <a:gd name="T1" fmla="*/ 459 h 1057"/>
                <a:gd name="T2" fmla="*/ 805 w 862"/>
                <a:gd name="T3" fmla="*/ 326 h 1057"/>
                <a:gd name="T4" fmla="*/ 374 w 862"/>
                <a:gd name="T5" fmla="*/ 40 h 1057"/>
                <a:gd name="T6" fmla="*/ 86 w 862"/>
                <a:gd name="T7" fmla="*/ 453 h 1057"/>
                <a:gd name="T8" fmla="*/ 57 w 862"/>
                <a:gd name="T9" fmla="*/ 457 h 1057"/>
                <a:gd name="T10" fmla="*/ 15 w 862"/>
                <a:gd name="T11" fmla="*/ 549 h 1057"/>
                <a:gd name="T12" fmla="*/ 30 w 862"/>
                <a:gd name="T13" fmla="*/ 591 h 1057"/>
                <a:gd name="T14" fmla="*/ 128 w 862"/>
                <a:gd name="T15" fmla="*/ 651 h 1057"/>
                <a:gd name="T16" fmla="*/ 331 w 862"/>
                <a:gd name="T17" fmla="*/ 868 h 1057"/>
                <a:gd name="T18" fmla="*/ 341 w 862"/>
                <a:gd name="T19" fmla="*/ 896 h 1057"/>
                <a:gd name="T20" fmla="*/ 409 w 862"/>
                <a:gd name="T21" fmla="*/ 937 h 1057"/>
                <a:gd name="T22" fmla="*/ 419 w 862"/>
                <a:gd name="T23" fmla="*/ 875 h 1057"/>
                <a:gd name="T24" fmla="*/ 488 w 862"/>
                <a:gd name="T25" fmla="*/ 993 h 1057"/>
                <a:gd name="T26" fmla="*/ 561 w 862"/>
                <a:gd name="T27" fmla="*/ 1057 h 1057"/>
                <a:gd name="T28" fmla="*/ 632 w 862"/>
                <a:gd name="T29" fmla="*/ 990 h 1057"/>
                <a:gd name="T30" fmla="*/ 629 w 862"/>
                <a:gd name="T31" fmla="*/ 949 h 1057"/>
                <a:gd name="T32" fmla="*/ 678 w 862"/>
                <a:gd name="T33" fmla="*/ 835 h 1057"/>
                <a:gd name="T34" fmla="*/ 678 w 862"/>
                <a:gd name="T35" fmla="*/ 835 h 1057"/>
                <a:gd name="T36" fmla="*/ 832 w 862"/>
                <a:gd name="T37" fmla="*/ 45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2" h="1057">
                  <a:moveTo>
                    <a:pt x="832" y="459"/>
                  </a:moveTo>
                  <a:cubicBezTo>
                    <a:pt x="805" y="326"/>
                    <a:pt x="805" y="326"/>
                    <a:pt x="805" y="326"/>
                  </a:cubicBezTo>
                  <a:cubicBezTo>
                    <a:pt x="764" y="128"/>
                    <a:pt x="571" y="0"/>
                    <a:pt x="374" y="40"/>
                  </a:cubicBezTo>
                  <a:cubicBezTo>
                    <a:pt x="182" y="79"/>
                    <a:pt x="56" y="262"/>
                    <a:pt x="86" y="453"/>
                  </a:cubicBezTo>
                  <a:cubicBezTo>
                    <a:pt x="76" y="453"/>
                    <a:pt x="67" y="454"/>
                    <a:pt x="57" y="457"/>
                  </a:cubicBezTo>
                  <a:cubicBezTo>
                    <a:pt x="20" y="471"/>
                    <a:pt x="0" y="512"/>
                    <a:pt x="15" y="549"/>
                  </a:cubicBezTo>
                  <a:cubicBezTo>
                    <a:pt x="30" y="591"/>
                    <a:pt x="30" y="591"/>
                    <a:pt x="30" y="591"/>
                  </a:cubicBezTo>
                  <a:cubicBezTo>
                    <a:pt x="46" y="632"/>
                    <a:pt x="87" y="655"/>
                    <a:pt x="128" y="651"/>
                  </a:cubicBezTo>
                  <a:cubicBezTo>
                    <a:pt x="163" y="751"/>
                    <a:pt x="238" y="829"/>
                    <a:pt x="331" y="868"/>
                  </a:cubicBezTo>
                  <a:cubicBezTo>
                    <a:pt x="330" y="879"/>
                    <a:pt x="333" y="889"/>
                    <a:pt x="341" y="896"/>
                  </a:cubicBezTo>
                  <a:cubicBezTo>
                    <a:pt x="366" y="910"/>
                    <a:pt x="388" y="924"/>
                    <a:pt x="409" y="937"/>
                  </a:cubicBezTo>
                  <a:cubicBezTo>
                    <a:pt x="409" y="912"/>
                    <a:pt x="410" y="881"/>
                    <a:pt x="419" y="875"/>
                  </a:cubicBezTo>
                  <a:cubicBezTo>
                    <a:pt x="488" y="993"/>
                    <a:pt x="488" y="993"/>
                    <a:pt x="488" y="993"/>
                  </a:cubicBezTo>
                  <a:cubicBezTo>
                    <a:pt x="536" y="1037"/>
                    <a:pt x="561" y="1057"/>
                    <a:pt x="561" y="1057"/>
                  </a:cubicBezTo>
                  <a:cubicBezTo>
                    <a:pt x="561" y="1057"/>
                    <a:pt x="633" y="1010"/>
                    <a:pt x="632" y="990"/>
                  </a:cubicBezTo>
                  <a:cubicBezTo>
                    <a:pt x="629" y="949"/>
                    <a:pt x="629" y="949"/>
                    <a:pt x="629" y="949"/>
                  </a:cubicBezTo>
                  <a:cubicBezTo>
                    <a:pt x="626" y="905"/>
                    <a:pt x="645" y="863"/>
                    <a:pt x="678" y="835"/>
                  </a:cubicBezTo>
                  <a:cubicBezTo>
                    <a:pt x="678" y="835"/>
                    <a:pt x="678" y="835"/>
                    <a:pt x="678" y="835"/>
                  </a:cubicBezTo>
                  <a:cubicBezTo>
                    <a:pt x="797" y="755"/>
                    <a:pt x="862" y="608"/>
                    <a:pt x="832" y="459"/>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7" name="Freeform 139">
              <a:extLst>
                <a:ext uri="{FF2B5EF4-FFF2-40B4-BE49-F238E27FC236}">
                  <a16:creationId xmlns:a16="http://schemas.microsoft.com/office/drawing/2014/main" id="{F36719A7-ABCE-4A87-8680-9786CB584E99}"/>
                </a:ext>
              </a:extLst>
            </p:cNvPr>
            <p:cNvSpPr>
              <a:spLocks/>
            </p:cNvSpPr>
            <p:nvPr/>
          </p:nvSpPr>
          <p:spPr bwMode="auto">
            <a:xfrm>
              <a:off x="3022" y="2302"/>
              <a:ext cx="108" cy="234"/>
            </a:xfrm>
            <a:custGeom>
              <a:avLst/>
              <a:gdLst>
                <a:gd name="T0" fmla="*/ 137 w 259"/>
                <a:gd name="T1" fmla="*/ 558 h 558"/>
                <a:gd name="T2" fmla="*/ 234 w 259"/>
                <a:gd name="T3" fmla="*/ 229 h 558"/>
                <a:gd name="T4" fmla="*/ 207 w 259"/>
                <a:gd name="T5" fmla="*/ 96 h 558"/>
                <a:gd name="T6" fmla="*/ 176 w 259"/>
                <a:gd name="T7" fmla="*/ 7 h 558"/>
                <a:gd name="T8" fmla="*/ 2 w 259"/>
                <a:gd name="T9" fmla="*/ 83 h 558"/>
                <a:gd name="T10" fmla="*/ 3 w 259"/>
                <a:gd name="T11" fmla="*/ 93 h 558"/>
                <a:gd name="T12" fmla="*/ 52 w 259"/>
                <a:gd name="T13" fmla="*/ 156 h 558"/>
                <a:gd name="T14" fmla="*/ 123 w 259"/>
                <a:gd name="T15" fmla="*/ 180 h 558"/>
                <a:gd name="T16" fmla="*/ 144 w 259"/>
                <a:gd name="T17" fmla="*/ 256 h 558"/>
                <a:gd name="T18" fmla="*/ 127 w 259"/>
                <a:gd name="T19" fmla="*/ 283 h 558"/>
                <a:gd name="T20" fmla="*/ 127 w 259"/>
                <a:gd name="T21" fmla="*/ 343 h 558"/>
                <a:gd name="T22" fmla="*/ 127 w 259"/>
                <a:gd name="T23" fmla="*/ 343 h 558"/>
                <a:gd name="T24" fmla="*/ 152 w 259"/>
                <a:gd name="T25" fmla="*/ 490 h 558"/>
                <a:gd name="T26" fmla="*/ 137 w 259"/>
                <a:gd name="T27"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558">
                  <a:moveTo>
                    <a:pt x="137" y="558"/>
                  </a:moveTo>
                  <a:cubicBezTo>
                    <a:pt x="219" y="474"/>
                    <a:pt x="259" y="353"/>
                    <a:pt x="234" y="229"/>
                  </a:cubicBezTo>
                  <a:cubicBezTo>
                    <a:pt x="207" y="96"/>
                    <a:pt x="207" y="96"/>
                    <a:pt x="207" y="96"/>
                  </a:cubicBezTo>
                  <a:cubicBezTo>
                    <a:pt x="200" y="64"/>
                    <a:pt x="190" y="35"/>
                    <a:pt x="176" y="7"/>
                  </a:cubicBezTo>
                  <a:cubicBezTo>
                    <a:pt x="106" y="0"/>
                    <a:pt x="0" y="62"/>
                    <a:pt x="2" y="83"/>
                  </a:cubicBezTo>
                  <a:cubicBezTo>
                    <a:pt x="3" y="93"/>
                    <a:pt x="3" y="93"/>
                    <a:pt x="3" y="93"/>
                  </a:cubicBezTo>
                  <a:cubicBezTo>
                    <a:pt x="5" y="122"/>
                    <a:pt x="25" y="147"/>
                    <a:pt x="52" y="156"/>
                  </a:cubicBezTo>
                  <a:cubicBezTo>
                    <a:pt x="123" y="180"/>
                    <a:pt x="123" y="180"/>
                    <a:pt x="123" y="180"/>
                  </a:cubicBezTo>
                  <a:cubicBezTo>
                    <a:pt x="155" y="191"/>
                    <a:pt x="166" y="230"/>
                    <a:pt x="144" y="256"/>
                  </a:cubicBezTo>
                  <a:cubicBezTo>
                    <a:pt x="127" y="283"/>
                    <a:pt x="127" y="283"/>
                    <a:pt x="127" y="283"/>
                  </a:cubicBezTo>
                  <a:cubicBezTo>
                    <a:pt x="115" y="301"/>
                    <a:pt x="115" y="325"/>
                    <a:pt x="127" y="343"/>
                  </a:cubicBezTo>
                  <a:cubicBezTo>
                    <a:pt x="127" y="343"/>
                    <a:pt x="127" y="343"/>
                    <a:pt x="127" y="343"/>
                  </a:cubicBezTo>
                  <a:cubicBezTo>
                    <a:pt x="154" y="387"/>
                    <a:pt x="163" y="440"/>
                    <a:pt x="152" y="490"/>
                  </a:cubicBezTo>
                  <a:lnTo>
                    <a:pt x="137" y="558"/>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8" name="Oval 140">
              <a:extLst>
                <a:ext uri="{FF2B5EF4-FFF2-40B4-BE49-F238E27FC236}">
                  <a16:creationId xmlns:a16="http://schemas.microsoft.com/office/drawing/2014/main" id="{C1D43013-6021-40A6-928A-4DE66BF53723}"/>
                </a:ext>
              </a:extLst>
            </p:cNvPr>
            <p:cNvSpPr>
              <a:spLocks noChangeArrowheads="1"/>
            </p:cNvSpPr>
            <p:nvPr/>
          </p:nvSpPr>
          <p:spPr bwMode="auto">
            <a:xfrm>
              <a:off x="2913" y="2358"/>
              <a:ext cx="29"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9" name="Oval 141">
              <a:extLst>
                <a:ext uri="{FF2B5EF4-FFF2-40B4-BE49-F238E27FC236}">
                  <a16:creationId xmlns:a16="http://schemas.microsoft.com/office/drawing/2014/main" id="{C28F2353-2652-4CEF-8A61-2A0D62821415}"/>
                </a:ext>
              </a:extLst>
            </p:cNvPr>
            <p:cNvSpPr>
              <a:spLocks noChangeArrowheads="1"/>
            </p:cNvSpPr>
            <p:nvPr/>
          </p:nvSpPr>
          <p:spPr bwMode="auto">
            <a:xfrm>
              <a:off x="3067" y="2332"/>
              <a:ext cx="29"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0" name="Freeform 142">
              <a:extLst>
                <a:ext uri="{FF2B5EF4-FFF2-40B4-BE49-F238E27FC236}">
                  <a16:creationId xmlns:a16="http://schemas.microsoft.com/office/drawing/2014/main" id="{1DA2A3E6-B240-4A6B-96D2-46444EDD3AF8}"/>
                </a:ext>
              </a:extLst>
            </p:cNvPr>
            <p:cNvSpPr>
              <a:spLocks/>
            </p:cNvSpPr>
            <p:nvPr/>
          </p:nvSpPr>
          <p:spPr bwMode="auto">
            <a:xfrm>
              <a:off x="2792" y="2327"/>
              <a:ext cx="82" cy="132"/>
            </a:xfrm>
            <a:custGeom>
              <a:avLst/>
              <a:gdLst>
                <a:gd name="T0" fmla="*/ 97 w 196"/>
                <a:gd name="T1" fmla="*/ 207 h 315"/>
                <a:gd name="T2" fmla="*/ 142 w 196"/>
                <a:gd name="T3" fmla="*/ 315 h 315"/>
                <a:gd name="T4" fmla="*/ 196 w 196"/>
                <a:gd name="T5" fmla="*/ 293 h 315"/>
                <a:gd name="T6" fmla="*/ 169 w 196"/>
                <a:gd name="T7" fmla="*/ 201 h 315"/>
                <a:gd name="T8" fmla="*/ 165 w 196"/>
                <a:gd name="T9" fmla="*/ 149 h 315"/>
                <a:gd name="T10" fmla="*/ 182 w 196"/>
                <a:gd name="T11" fmla="*/ 22 h 315"/>
                <a:gd name="T12" fmla="*/ 13 w 196"/>
                <a:gd name="T13" fmla="*/ 0 h 315"/>
                <a:gd name="T14" fmla="*/ 0 w 196"/>
                <a:gd name="T15" fmla="*/ 142 h 315"/>
                <a:gd name="T16" fmla="*/ 10 w 196"/>
                <a:gd name="T17" fmla="*/ 167 h 315"/>
                <a:gd name="T18" fmla="*/ 97 w 196"/>
                <a:gd name="T19" fmla="*/ 207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315">
                  <a:moveTo>
                    <a:pt x="97" y="207"/>
                  </a:moveTo>
                  <a:cubicBezTo>
                    <a:pt x="142" y="315"/>
                    <a:pt x="142" y="315"/>
                    <a:pt x="142" y="315"/>
                  </a:cubicBezTo>
                  <a:cubicBezTo>
                    <a:pt x="196" y="293"/>
                    <a:pt x="196" y="293"/>
                    <a:pt x="196" y="293"/>
                  </a:cubicBezTo>
                  <a:cubicBezTo>
                    <a:pt x="169" y="201"/>
                    <a:pt x="169" y="201"/>
                    <a:pt x="169" y="201"/>
                  </a:cubicBezTo>
                  <a:cubicBezTo>
                    <a:pt x="164" y="184"/>
                    <a:pt x="163" y="166"/>
                    <a:pt x="165" y="149"/>
                  </a:cubicBezTo>
                  <a:cubicBezTo>
                    <a:pt x="182" y="22"/>
                    <a:pt x="182" y="22"/>
                    <a:pt x="182" y="22"/>
                  </a:cubicBezTo>
                  <a:cubicBezTo>
                    <a:pt x="13" y="0"/>
                    <a:pt x="13" y="0"/>
                    <a:pt x="13" y="0"/>
                  </a:cubicBezTo>
                  <a:cubicBezTo>
                    <a:pt x="0" y="142"/>
                    <a:pt x="0" y="142"/>
                    <a:pt x="0" y="142"/>
                  </a:cubicBezTo>
                  <a:cubicBezTo>
                    <a:pt x="10" y="167"/>
                    <a:pt x="10" y="167"/>
                    <a:pt x="10" y="167"/>
                  </a:cubicBezTo>
                  <a:cubicBezTo>
                    <a:pt x="45" y="156"/>
                    <a:pt x="82" y="173"/>
                    <a:pt x="97" y="20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1" name="Freeform 143">
              <a:extLst>
                <a:ext uri="{FF2B5EF4-FFF2-40B4-BE49-F238E27FC236}">
                  <a16:creationId xmlns:a16="http://schemas.microsoft.com/office/drawing/2014/main" id="{724AE5D9-8FFD-4457-8DF5-85FCD0388500}"/>
                </a:ext>
              </a:extLst>
            </p:cNvPr>
            <p:cNvSpPr>
              <a:spLocks/>
            </p:cNvSpPr>
            <p:nvPr/>
          </p:nvSpPr>
          <p:spPr bwMode="auto">
            <a:xfrm>
              <a:off x="2808" y="2331"/>
              <a:ext cx="54" cy="77"/>
            </a:xfrm>
            <a:custGeom>
              <a:avLst/>
              <a:gdLst>
                <a:gd name="T0" fmla="*/ 49 w 128"/>
                <a:gd name="T1" fmla="*/ 184 h 184"/>
                <a:gd name="T2" fmla="*/ 128 w 128"/>
                <a:gd name="T3" fmla="*/ 0 h 184"/>
                <a:gd name="T4" fmla="*/ 54 w 128"/>
                <a:gd name="T5" fmla="*/ 24 h 184"/>
                <a:gd name="T6" fmla="*/ 0 w 128"/>
                <a:gd name="T7" fmla="*/ 155 h 184"/>
                <a:gd name="T8" fmla="*/ 49 w 128"/>
                <a:gd name="T9" fmla="*/ 184 h 184"/>
              </a:gdLst>
              <a:ahLst/>
              <a:cxnLst>
                <a:cxn ang="0">
                  <a:pos x="T0" y="T1"/>
                </a:cxn>
                <a:cxn ang="0">
                  <a:pos x="T2" y="T3"/>
                </a:cxn>
                <a:cxn ang="0">
                  <a:pos x="T4" y="T5"/>
                </a:cxn>
                <a:cxn ang="0">
                  <a:pos x="T6" y="T7"/>
                </a:cxn>
                <a:cxn ang="0">
                  <a:pos x="T8" y="T9"/>
                </a:cxn>
              </a:cxnLst>
              <a:rect l="0" t="0" r="r" b="b"/>
              <a:pathLst>
                <a:path w="128" h="184">
                  <a:moveTo>
                    <a:pt x="49" y="184"/>
                  </a:moveTo>
                  <a:cubicBezTo>
                    <a:pt x="128" y="0"/>
                    <a:pt x="128" y="0"/>
                    <a:pt x="128" y="0"/>
                  </a:cubicBezTo>
                  <a:cubicBezTo>
                    <a:pt x="54" y="24"/>
                    <a:pt x="54" y="24"/>
                    <a:pt x="54" y="24"/>
                  </a:cubicBezTo>
                  <a:cubicBezTo>
                    <a:pt x="0" y="155"/>
                    <a:pt x="0" y="155"/>
                    <a:pt x="0" y="155"/>
                  </a:cubicBezTo>
                  <a:cubicBezTo>
                    <a:pt x="19" y="157"/>
                    <a:pt x="38" y="167"/>
                    <a:pt x="49" y="18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2" name="Freeform 144">
              <a:extLst>
                <a:ext uri="{FF2B5EF4-FFF2-40B4-BE49-F238E27FC236}">
                  <a16:creationId xmlns:a16="http://schemas.microsoft.com/office/drawing/2014/main" id="{594E02C5-4CC8-4D7D-8550-6029FA8381A5}"/>
                </a:ext>
              </a:extLst>
            </p:cNvPr>
            <p:cNvSpPr>
              <a:spLocks/>
            </p:cNvSpPr>
            <p:nvPr/>
          </p:nvSpPr>
          <p:spPr bwMode="auto">
            <a:xfrm>
              <a:off x="2817" y="2470"/>
              <a:ext cx="34" cy="57"/>
            </a:xfrm>
            <a:custGeom>
              <a:avLst/>
              <a:gdLst>
                <a:gd name="T0" fmla="*/ 46 w 80"/>
                <a:gd name="T1" fmla="*/ 14 h 137"/>
                <a:gd name="T2" fmla="*/ 0 w 80"/>
                <a:gd name="T3" fmla="*/ 20 h 137"/>
                <a:gd name="T4" fmla="*/ 80 w 80"/>
                <a:gd name="T5" fmla="*/ 137 h 137"/>
                <a:gd name="T6" fmla="*/ 80 w 80"/>
                <a:gd name="T7" fmla="*/ 0 h 137"/>
                <a:gd name="T8" fmla="*/ 46 w 80"/>
                <a:gd name="T9" fmla="*/ 14 h 137"/>
              </a:gdLst>
              <a:ahLst/>
              <a:cxnLst>
                <a:cxn ang="0">
                  <a:pos x="T0" y="T1"/>
                </a:cxn>
                <a:cxn ang="0">
                  <a:pos x="T2" y="T3"/>
                </a:cxn>
                <a:cxn ang="0">
                  <a:pos x="T4" y="T5"/>
                </a:cxn>
                <a:cxn ang="0">
                  <a:pos x="T6" y="T7"/>
                </a:cxn>
                <a:cxn ang="0">
                  <a:pos x="T8" y="T9"/>
                </a:cxn>
              </a:cxnLst>
              <a:rect l="0" t="0" r="r" b="b"/>
              <a:pathLst>
                <a:path w="80" h="137">
                  <a:moveTo>
                    <a:pt x="46" y="14"/>
                  </a:moveTo>
                  <a:cubicBezTo>
                    <a:pt x="31" y="20"/>
                    <a:pt x="15" y="22"/>
                    <a:pt x="0" y="20"/>
                  </a:cubicBezTo>
                  <a:cubicBezTo>
                    <a:pt x="30" y="103"/>
                    <a:pt x="80" y="137"/>
                    <a:pt x="80" y="137"/>
                  </a:cubicBezTo>
                  <a:cubicBezTo>
                    <a:pt x="80" y="0"/>
                    <a:pt x="80" y="0"/>
                    <a:pt x="80" y="0"/>
                  </a:cubicBezTo>
                  <a:lnTo>
                    <a:pt x="46" y="14"/>
                  </a:ln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3" name="Freeform 145">
              <a:extLst>
                <a:ext uri="{FF2B5EF4-FFF2-40B4-BE49-F238E27FC236}">
                  <a16:creationId xmlns:a16="http://schemas.microsoft.com/office/drawing/2014/main" id="{7782A5E1-4B19-41D4-9F65-A62A0C16E237}"/>
                </a:ext>
              </a:extLst>
            </p:cNvPr>
            <p:cNvSpPr>
              <a:spLocks/>
            </p:cNvSpPr>
            <p:nvPr/>
          </p:nvSpPr>
          <p:spPr bwMode="auto">
            <a:xfrm>
              <a:off x="3006" y="2424"/>
              <a:ext cx="114" cy="58"/>
            </a:xfrm>
            <a:custGeom>
              <a:avLst/>
              <a:gdLst>
                <a:gd name="T0" fmla="*/ 154 w 271"/>
                <a:gd name="T1" fmla="*/ 3 h 138"/>
                <a:gd name="T2" fmla="*/ 76 w 271"/>
                <a:gd name="T3" fmla="*/ 28 h 138"/>
                <a:gd name="T4" fmla="*/ 3 w 271"/>
                <a:gd name="T5" fmla="*/ 110 h 138"/>
                <a:gd name="T6" fmla="*/ 0 w 271"/>
                <a:gd name="T7" fmla="*/ 138 h 138"/>
                <a:gd name="T8" fmla="*/ 271 w 271"/>
                <a:gd name="T9" fmla="*/ 59 h 138"/>
                <a:gd name="T10" fmla="*/ 266 w 271"/>
                <a:gd name="T11" fmla="*/ 50 h 138"/>
                <a:gd name="T12" fmla="*/ 163 w 271"/>
                <a:gd name="T13" fmla="*/ 3 h 138"/>
                <a:gd name="T14" fmla="*/ 154 w 271"/>
                <a:gd name="T15" fmla="*/ 3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138">
                  <a:moveTo>
                    <a:pt x="154" y="3"/>
                  </a:moveTo>
                  <a:cubicBezTo>
                    <a:pt x="76" y="28"/>
                    <a:pt x="76" y="28"/>
                    <a:pt x="76" y="28"/>
                  </a:cubicBezTo>
                  <a:cubicBezTo>
                    <a:pt x="35" y="41"/>
                    <a:pt x="6" y="73"/>
                    <a:pt x="3" y="110"/>
                  </a:cubicBezTo>
                  <a:cubicBezTo>
                    <a:pt x="0" y="138"/>
                    <a:pt x="0" y="138"/>
                    <a:pt x="0" y="138"/>
                  </a:cubicBezTo>
                  <a:cubicBezTo>
                    <a:pt x="0" y="138"/>
                    <a:pt x="216" y="105"/>
                    <a:pt x="271" y="59"/>
                  </a:cubicBezTo>
                  <a:cubicBezTo>
                    <a:pt x="269" y="56"/>
                    <a:pt x="267" y="53"/>
                    <a:pt x="266" y="50"/>
                  </a:cubicBezTo>
                  <a:cubicBezTo>
                    <a:pt x="245" y="19"/>
                    <a:pt x="205" y="0"/>
                    <a:pt x="163" y="3"/>
                  </a:cubicBezTo>
                  <a:lnTo>
                    <a:pt x="154" y="3"/>
                  </a:ln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4" name="Freeform 146">
              <a:extLst>
                <a:ext uri="{FF2B5EF4-FFF2-40B4-BE49-F238E27FC236}">
                  <a16:creationId xmlns:a16="http://schemas.microsoft.com/office/drawing/2014/main" id="{44AB7FD9-32E3-462F-98D8-99A9F96370C1}"/>
                </a:ext>
              </a:extLst>
            </p:cNvPr>
            <p:cNvSpPr>
              <a:spLocks/>
            </p:cNvSpPr>
            <p:nvPr/>
          </p:nvSpPr>
          <p:spPr bwMode="auto">
            <a:xfrm>
              <a:off x="2824" y="2539"/>
              <a:ext cx="127" cy="131"/>
            </a:xfrm>
            <a:custGeom>
              <a:avLst/>
              <a:gdLst>
                <a:gd name="T0" fmla="*/ 292 w 302"/>
                <a:gd name="T1" fmla="*/ 79 h 312"/>
                <a:gd name="T2" fmla="*/ 16 w 302"/>
                <a:gd name="T3" fmla="*/ 0 h 312"/>
                <a:gd name="T4" fmla="*/ 0 w 302"/>
                <a:gd name="T5" fmla="*/ 112 h 312"/>
                <a:gd name="T6" fmla="*/ 302 w 302"/>
                <a:gd name="T7" fmla="*/ 312 h 312"/>
                <a:gd name="T8" fmla="*/ 295 w 302"/>
                <a:gd name="T9" fmla="*/ 264 h 312"/>
                <a:gd name="T10" fmla="*/ 292 w 302"/>
                <a:gd name="T11" fmla="*/ 81 h 312"/>
                <a:gd name="T12" fmla="*/ 292 w 302"/>
                <a:gd name="T13" fmla="*/ 79 h 312"/>
              </a:gdLst>
              <a:ahLst/>
              <a:cxnLst>
                <a:cxn ang="0">
                  <a:pos x="T0" y="T1"/>
                </a:cxn>
                <a:cxn ang="0">
                  <a:pos x="T2" y="T3"/>
                </a:cxn>
                <a:cxn ang="0">
                  <a:pos x="T4" y="T5"/>
                </a:cxn>
                <a:cxn ang="0">
                  <a:pos x="T6" y="T7"/>
                </a:cxn>
                <a:cxn ang="0">
                  <a:pos x="T8" y="T9"/>
                </a:cxn>
                <a:cxn ang="0">
                  <a:pos x="T10" y="T11"/>
                </a:cxn>
                <a:cxn ang="0">
                  <a:pos x="T12" y="T13"/>
                </a:cxn>
              </a:cxnLst>
              <a:rect l="0" t="0" r="r" b="b"/>
              <a:pathLst>
                <a:path w="302" h="312">
                  <a:moveTo>
                    <a:pt x="292" y="79"/>
                  </a:moveTo>
                  <a:cubicBezTo>
                    <a:pt x="16" y="0"/>
                    <a:pt x="16" y="0"/>
                    <a:pt x="16" y="0"/>
                  </a:cubicBezTo>
                  <a:cubicBezTo>
                    <a:pt x="0" y="112"/>
                    <a:pt x="0" y="112"/>
                    <a:pt x="0" y="112"/>
                  </a:cubicBezTo>
                  <a:cubicBezTo>
                    <a:pt x="302" y="312"/>
                    <a:pt x="302" y="312"/>
                    <a:pt x="302" y="312"/>
                  </a:cubicBezTo>
                  <a:cubicBezTo>
                    <a:pt x="295" y="264"/>
                    <a:pt x="295" y="264"/>
                    <a:pt x="295" y="264"/>
                  </a:cubicBezTo>
                  <a:cubicBezTo>
                    <a:pt x="287" y="203"/>
                    <a:pt x="286" y="142"/>
                    <a:pt x="292" y="81"/>
                  </a:cubicBezTo>
                  <a:lnTo>
                    <a:pt x="292" y="79"/>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5" name="Freeform 147">
              <a:extLst>
                <a:ext uri="{FF2B5EF4-FFF2-40B4-BE49-F238E27FC236}">
                  <a16:creationId xmlns:a16="http://schemas.microsoft.com/office/drawing/2014/main" id="{3094742F-CA09-4B38-B0A8-B6CB3169AF87}"/>
                </a:ext>
              </a:extLst>
            </p:cNvPr>
            <p:cNvSpPr>
              <a:spLocks/>
            </p:cNvSpPr>
            <p:nvPr/>
          </p:nvSpPr>
          <p:spPr bwMode="auto">
            <a:xfrm>
              <a:off x="2745" y="2110"/>
              <a:ext cx="397" cy="278"/>
            </a:xfrm>
            <a:custGeom>
              <a:avLst/>
              <a:gdLst>
                <a:gd name="T0" fmla="*/ 926 w 948"/>
                <a:gd name="T1" fmla="*/ 397 h 663"/>
                <a:gd name="T2" fmla="*/ 859 w 948"/>
                <a:gd name="T3" fmla="*/ 374 h 663"/>
                <a:gd name="T4" fmla="*/ 846 w 948"/>
                <a:gd name="T5" fmla="*/ 279 h 663"/>
                <a:gd name="T6" fmla="*/ 830 w 948"/>
                <a:gd name="T7" fmla="*/ 267 h 663"/>
                <a:gd name="T8" fmla="*/ 814 w 948"/>
                <a:gd name="T9" fmla="*/ 269 h 663"/>
                <a:gd name="T10" fmla="*/ 423 w 948"/>
                <a:gd name="T11" fmla="*/ 11 h 663"/>
                <a:gd name="T12" fmla="*/ 350 w 948"/>
                <a:gd name="T13" fmla="*/ 3 h 663"/>
                <a:gd name="T14" fmla="*/ 220 w 948"/>
                <a:gd name="T15" fmla="*/ 33 h 663"/>
                <a:gd name="T16" fmla="*/ 259 w 948"/>
                <a:gd name="T17" fmla="*/ 45 h 663"/>
                <a:gd name="T18" fmla="*/ 26 w 948"/>
                <a:gd name="T19" fmla="*/ 480 h 663"/>
                <a:gd name="T20" fmla="*/ 48 w 948"/>
                <a:gd name="T21" fmla="*/ 563 h 663"/>
                <a:gd name="T22" fmla="*/ 47 w 948"/>
                <a:gd name="T23" fmla="*/ 604 h 663"/>
                <a:gd name="T24" fmla="*/ 42 w 948"/>
                <a:gd name="T25" fmla="*/ 621 h 663"/>
                <a:gd name="T26" fmla="*/ 83 w 948"/>
                <a:gd name="T27" fmla="*/ 653 h 663"/>
                <a:gd name="T28" fmla="*/ 362 w 948"/>
                <a:gd name="T29" fmla="*/ 527 h 663"/>
                <a:gd name="T30" fmla="*/ 728 w 948"/>
                <a:gd name="T31" fmla="*/ 442 h 663"/>
                <a:gd name="T32" fmla="*/ 919 w 948"/>
                <a:gd name="T33" fmla="*/ 436 h 663"/>
                <a:gd name="T34" fmla="*/ 926 w 948"/>
                <a:gd name="T35" fmla="*/ 397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8" h="663">
                  <a:moveTo>
                    <a:pt x="926" y="397"/>
                  </a:moveTo>
                  <a:cubicBezTo>
                    <a:pt x="859" y="374"/>
                    <a:pt x="859" y="374"/>
                    <a:pt x="859" y="374"/>
                  </a:cubicBezTo>
                  <a:cubicBezTo>
                    <a:pt x="846" y="279"/>
                    <a:pt x="846" y="279"/>
                    <a:pt x="846" y="279"/>
                  </a:cubicBezTo>
                  <a:cubicBezTo>
                    <a:pt x="845" y="272"/>
                    <a:pt x="838" y="266"/>
                    <a:pt x="830" y="267"/>
                  </a:cubicBezTo>
                  <a:cubicBezTo>
                    <a:pt x="814" y="269"/>
                    <a:pt x="814" y="269"/>
                    <a:pt x="814" y="269"/>
                  </a:cubicBezTo>
                  <a:cubicBezTo>
                    <a:pt x="756" y="160"/>
                    <a:pt x="636" y="6"/>
                    <a:pt x="423" y="11"/>
                  </a:cubicBezTo>
                  <a:cubicBezTo>
                    <a:pt x="397" y="3"/>
                    <a:pt x="372" y="0"/>
                    <a:pt x="350" y="3"/>
                  </a:cubicBezTo>
                  <a:cubicBezTo>
                    <a:pt x="315" y="5"/>
                    <a:pt x="220" y="33"/>
                    <a:pt x="220" y="33"/>
                  </a:cubicBezTo>
                  <a:cubicBezTo>
                    <a:pt x="259" y="45"/>
                    <a:pt x="259" y="45"/>
                    <a:pt x="259" y="45"/>
                  </a:cubicBezTo>
                  <a:cubicBezTo>
                    <a:pt x="10" y="139"/>
                    <a:pt x="0" y="383"/>
                    <a:pt x="26" y="480"/>
                  </a:cubicBezTo>
                  <a:cubicBezTo>
                    <a:pt x="48" y="563"/>
                    <a:pt x="48" y="563"/>
                    <a:pt x="48" y="563"/>
                  </a:cubicBezTo>
                  <a:cubicBezTo>
                    <a:pt x="51" y="577"/>
                    <a:pt x="51" y="591"/>
                    <a:pt x="47" y="604"/>
                  </a:cubicBezTo>
                  <a:cubicBezTo>
                    <a:pt x="42" y="621"/>
                    <a:pt x="42" y="621"/>
                    <a:pt x="42" y="621"/>
                  </a:cubicBezTo>
                  <a:cubicBezTo>
                    <a:pt x="35" y="644"/>
                    <a:pt x="60" y="663"/>
                    <a:pt x="83" y="653"/>
                  </a:cubicBezTo>
                  <a:cubicBezTo>
                    <a:pt x="362" y="527"/>
                    <a:pt x="362" y="527"/>
                    <a:pt x="362" y="527"/>
                  </a:cubicBezTo>
                  <a:cubicBezTo>
                    <a:pt x="476" y="475"/>
                    <a:pt x="601" y="446"/>
                    <a:pt x="728" y="442"/>
                  </a:cubicBezTo>
                  <a:cubicBezTo>
                    <a:pt x="919" y="436"/>
                    <a:pt x="919" y="436"/>
                    <a:pt x="919" y="436"/>
                  </a:cubicBezTo>
                  <a:cubicBezTo>
                    <a:pt x="943" y="436"/>
                    <a:pt x="948" y="405"/>
                    <a:pt x="926" y="397"/>
                  </a:cubicBez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6" name="Freeform 148">
              <a:extLst>
                <a:ext uri="{FF2B5EF4-FFF2-40B4-BE49-F238E27FC236}">
                  <a16:creationId xmlns:a16="http://schemas.microsoft.com/office/drawing/2014/main" id="{34DC331B-1D93-43D3-9472-7898BEBC2B9C}"/>
                </a:ext>
              </a:extLst>
            </p:cNvPr>
            <p:cNvSpPr>
              <a:spLocks/>
            </p:cNvSpPr>
            <p:nvPr/>
          </p:nvSpPr>
          <p:spPr bwMode="auto">
            <a:xfrm>
              <a:off x="2815" y="2105"/>
              <a:ext cx="186" cy="177"/>
            </a:xfrm>
            <a:custGeom>
              <a:avLst/>
              <a:gdLst>
                <a:gd name="T0" fmla="*/ 442 w 442"/>
                <a:gd name="T1" fmla="*/ 408 h 423"/>
                <a:gd name="T2" fmla="*/ 52 w 442"/>
                <a:gd name="T3" fmla="*/ 44 h 423"/>
                <a:gd name="T4" fmla="*/ 8 w 442"/>
                <a:gd name="T5" fmla="*/ 97 h 423"/>
                <a:gd name="T6" fmla="*/ 51 w 442"/>
                <a:gd name="T7" fmla="*/ 72 h 423"/>
                <a:gd name="T8" fmla="*/ 372 w 442"/>
                <a:gd name="T9" fmla="*/ 423 h 423"/>
                <a:gd name="T10" fmla="*/ 442 w 442"/>
                <a:gd name="T11" fmla="*/ 408 h 423"/>
              </a:gdLst>
              <a:ahLst/>
              <a:cxnLst>
                <a:cxn ang="0">
                  <a:pos x="T0" y="T1"/>
                </a:cxn>
                <a:cxn ang="0">
                  <a:pos x="T2" y="T3"/>
                </a:cxn>
                <a:cxn ang="0">
                  <a:pos x="T4" y="T5"/>
                </a:cxn>
                <a:cxn ang="0">
                  <a:pos x="T6" y="T7"/>
                </a:cxn>
                <a:cxn ang="0">
                  <a:pos x="T8" y="T9"/>
                </a:cxn>
                <a:cxn ang="0">
                  <a:pos x="T10" y="T11"/>
                </a:cxn>
              </a:cxnLst>
              <a:rect l="0" t="0" r="r" b="b"/>
              <a:pathLst>
                <a:path w="442" h="423">
                  <a:moveTo>
                    <a:pt x="442" y="408"/>
                  </a:moveTo>
                  <a:cubicBezTo>
                    <a:pt x="442" y="408"/>
                    <a:pt x="380" y="0"/>
                    <a:pt x="52" y="44"/>
                  </a:cubicBezTo>
                  <a:cubicBezTo>
                    <a:pt x="0" y="57"/>
                    <a:pt x="8" y="97"/>
                    <a:pt x="8" y="97"/>
                  </a:cubicBezTo>
                  <a:cubicBezTo>
                    <a:pt x="51" y="72"/>
                    <a:pt x="51" y="72"/>
                    <a:pt x="51" y="72"/>
                  </a:cubicBezTo>
                  <a:cubicBezTo>
                    <a:pt x="51" y="72"/>
                    <a:pt x="314" y="44"/>
                    <a:pt x="372" y="423"/>
                  </a:cubicBezTo>
                  <a:cubicBezTo>
                    <a:pt x="419" y="411"/>
                    <a:pt x="442" y="408"/>
                    <a:pt x="442" y="408"/>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7" name="Freeform 149">
              <a:extLst>
                <a:ext uri="{FF2B5EF4-FFF2-40B4-BE49-F238E27FC236}">
                  <a16:creationId xmlns:a16="http://schemas.microsoft.com/office/drawing/2014/main" id="{A7274760-8B96-4FF8-9E18-2473E10BEDA6}"/>
                </a:ext>
              </a:extLst>
            </p:cNvPr>
            <p:cNvSpPr>
              <a:spLocks/>
            </p:cNvSpPr>
            <p:nvPr/>
          </p:nvSpPr>
          <p:spPr bwMode="auto">
            <a:xfrm>
              <a:off x="2748" y="2177"/>
              <a:ext cx="145" cy="201"/>
            </a:xfrm>
            <a:custGeom>
              <a:avLst/>
              <a:gdLst>
                <a:gd name="T0" fmla="*/ 306 w 345"/>
                <a:gd name="T1" fmla="*/ 205 h 480"/>
                <a:gd name="T2" fmla="*/ 345 w 345"/>
                <a:gd name="T3" fmla="*/ 195 h 480"/>
                <a:gd name="T4" fmla="*/ 87 w 345"/>
                <a:gd name="T5" fmla="*/ 0 h 480"/>
                <a:gd name="T6" fmla="*/ 19 w 345"/>
                <a:gd name="T7" fmla="*/ 319 h 480"/>
                <a:gd name="T8" fmla="*/ 41 w 345"/>
                <a:gd name="T9" fmla="*/ 402 h 480"/>
                <a:gd name="T10" fmla="*/ 40 w 345"/>
                <a:gd name="T11" fmla="*/ 443 h 480"/>
                <a:gd name="T12" fmla="*/ 35 w 345"/>
                <a:gd name="T13" fmla="*/ 460 h 480"/>
                <a:gd name="T14" fmla="*/ 37 w 345"/>
                <a:gd name="T15" fmla="*/ 480 h 480"/>
                <a:gd name="T16" fmla="*/ 126 w 345"/>
                <a:gd name="T17" fmla="*/ 423 h 480"/>
                <a:gd name="T18" fmla="*/ 96 w 345"/>
                <a:gd name="T19" fmla="*/ 325 h 480"/>
                <a:gd name="T20" fmla="*/ 106 w 345"/>
                <a:gd name="T21" fmla="*/ 305 h 480"/>
                <a:gd name="T22" fmla="*/ 131 w 345"/>
                <a:gd name="T23" fmla="*/ 296 h 480"/>
                <a:gd name="T24" fmla="*/ 164 w 345"/>
                <a:gd name="T25" fmla="*/ 401 h 480"/>
                <a:gd name="T26" fmla="*/ 324 w 345"/>
                <a:gd name="T27" fmla="*/ 321 h 480"/>
                <a:gd name="T28" fmla="*/ 296 w 345"/>
                <a:gd name="T29" fmla="*/ 222 h 480"/>
                <a:gd name="T30" fmla="*/ 306 w 345"/>
                <a:gd name="T31" fmla="*/ 205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5" h="480">
                  <a:moveTo>
                    <a:pt x="306" y="205"/>
                  </a:moveTo>
                  <a:cubicBezTo>
                    <a:pt x="345" y="195"/>
                    <a:pt x="345" y="195"/>
                    <a:pt x="345" y="195"/>
                  </a:cubicBezTo>
                  <a:cubicBezTo>
                    <a:pt x="303" y="113"/>
                    <a:pt x="225" y="10"/>
                    <a:pt x="87" y="0"/>
                  </a:cubicBezTo>
                  <a:cubicBezTo>
                    <a:pt x="0" y="111"/>
                    <a:pt x="0" y="251"/>
                    <a:pt x="19" y="319"/>
                  </a:cubicBezTo>
                  <a:cubicBezTo>
                    <a:pt x="41" y="402"/>
                    <a:pt x="41" y="402"/>
                    <a:pt x="41" y="402"/>
                  </a:cubicBezTo>
                  <a:cubicBezTo>
                    <a:pt x="44" y="416"/>
                    <a:pt x="44" y="430"/>
                    <a:pt x="40" y="443"/>
                  </a:cubicBezTo>
                  <a:cubicBezTo>
                    <a:pt x="35" y="460"/>
                    <a:pt x="35" y="460"/>
                    <a:pt x="35" y="460"/>
                  </a:cubicBezTo>
                  <a:cubicBezTo>
                    <a:pt x="33" y="467"/>
                    <a:pt x="34" y="474"/>
                    <a:pt x="37" y="480"/>
                  </a:cubicBezTo>
                  <a:cubicBezTo>
                    <a:pt x="52" y="470"/>
                    <a:pt x="83" y="449"/>
                    <a:pt x="126" y="423"/>
                  </a:cubicBezTo>
                  <a:cubicBezTo>
                    <a:pt x="96" y="325"/>
                    <a:pt x="96" y="325"/>
                    <a:pt x="96" y="325"/>
                  </a:cubicBezTo>
                  <a:cubicBezTo>
                    <a:pt x="94" y="316"/>
                    <a:pt x="98" y="308"/>
                    <a:pt x="106" y="305"/>
                  </a:cubicBezTo>
                  <a:cubicBezTo>
                    <a:pt x="131" y="296"/>
                    <a:pt x="131" y="296"/>
                    <a:pt x="131" y="296"/>
                  </a:cubicBezTo>
                  <a:cubicBezTo>
                    <a:pt x="164" y="401"/>
                    <a:pt x="164" y="401"/>
                    <a:pt x="164" y="401"/>
                  </a:cubicBezTo>
                  <a:cubicBezTo>
                    <a:pt x="209" y="375"/>
                    <a:pt x="264" y="347"/>
                    <a:pt x="324" y="321"/>
                  </a:cubicBezTo>
                  <a:cubicBezTo>
                    <a:pt x="296" y="222"/>
                    <a:pt x="296" y="222"/>
                    <a:pt x="296" y="222"/>
                  </a:cubicBezTo>
                  <a:cubicBezTo>
                    <a:pt x="294" y="215"/>
                    <a:pt x="298" y="207"/>
                    <a:pt x="306" y="205"/>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92" name="Freeform 150">
              <a:extLst>
                <a:ext uri="{FF2B5EF4-FFF2-40B4-BE49-F238E27FC236}">
                  <a16:creationId xmlns:a16="http://schemas.microsoft.com/office/drawing/2014/main" id="{0CB3EA1B-E9AA-4D02-B3FB-F4A7279D0242}"/>
                </a:ext>
              </a:extLst>
            </p:cNvPr>
            <p:cNvSpPr>
              <a:spLocks/>
            </p:cNvSpPr>
            <p:nvPr/>
          </p:nvSpPr>
          <p:spPr bwMode="auto">
            <a:xfrm>
              <a:off x="2875" y="2325"/>
              <a:ext cx="89" cy="42"/>
            </a:xfrm>
            <a:custGeom>
              <a:avLst/>
              <a:gdLst>
                <a:gd name="T0" fmla="*/ 17 w 211"/>
                <a:gd name="T1" fmla="*/ 100 h 100"/>
                <a:gd name="T2" fmla="*/ 9 w 211"/>
                <a:gd name="T3" fmla="*/ 98 h 100"/>
                <a:gd name="T4" fmla="*/ 4 w 211"/>
                <a:gd name="T5" fmla="*/ 78 h 100"/>
                <a:gd name="T6" fmla="*/ 99 w 211"/>
                <a:gd name="T7" fmla="*/ 7 h 100"/>
                <a:gd name="T8" fmla="*/ 202 w 211"/>
                <a:gd name="T9" fmla="*/ 30 h 100"/>
                <a:gd name="T10" fmla="*/ 206 w 211"/>
                <a:gd name="T11" fmla="*/ 50 h 100"/>
                <a:gd name="T12" fmla="*/ 186 w 211"/>
                <a:gd name="T13" fmla="*/ 55 h 100"/>
                <a:gd name="T14" fmla="*/ 106 w 211"/>
                <a:gd name="T15" fmla="*/ 36 h 100"/>
                <a:gd name="T16" fmla="*/ 30 w 211"/>
                <a:gd name="T17" fmla="*/ 93 h 100"/>
                <a:gd name="T18" fmla="*/ 17 w 211"/>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00">
                  <a:moveTo>
                    <a:pt x="17" y="100"/>
                  </a:moveTo>
                  <a:cubicBezTo>
                    <a:pt x="14" y="100"/>
                    <a:pt x="12" y="100"/>
                    <a:pt x="9" y="98"/>
                  </a:cubicBezTo>
                  <a:cubicBezTo>
                    <a:pt x="2" y="94"/>
                    <a:pt x="0" y="85"/>
                    <a:pt x="4" y="78"/>
                  </a:cubicBezTo>
                  <a:cubicBezTo>
                    <a:pt x="6" y="75"/>
                    <a:pt x="40" y="21"/>
                    <a:pt x="99" y="7"/>
                  </a:cubicBezTo>
                  <a:cubicBezTo>
                    <a:pt x="133" y="0"/>
                    <a:pt x="168" y="7"/>
                    <a:pt x="202" y="30"/>
                  </a:cubicBezTo>
                  <a:cubicBezTo>
                    <a:pt x="209" y="34"/>
                    <a:pt x="211" y="43"/>
                    <a:pt x="206" y="50"/>
                  </a:cubicBezTo>
                  <a:cubicBezTo>
                    <a:pt x="202" y="57"/>
                    <a:pt x="193" y="59"/>
                    <a:pt x="186" y="55"/>
                  </a:cubicBezTo>
                  <a:cubicBezTo>
                    <a:pt x="159" y="37"/>
                    <a:pt x="132" y="31"/>
                    <a:pt x="106" y="36"/>
                  </a:cubicBezTo>
                  <a:cubicBezTo>
                    <a:pt x="59" y="47"/>
                    <a:pt x="30" y="93"/>
                    <a:pt x="30" y="93"/>
                  </a:cubicBezTo>
                  <a:cubicBezTo>
                    <a:pt x="27" y="98"/>
                    <a:pt x="22" y="100"/>
                    <a:pt x="17" y="100"/>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93" name="Freeform 151">
              <a:extLst>
                <a:ext uri="{FF2B5EF4-FFF2-40B4-BE49-F238E27FC236}">
                  <a16:creationId xmlns:a16="http://schemas.microsoft.com/office/drawing/2014/main" id="{255143BD-CA4B-46F7-8BBA-41818329610B}"/>
                </a:ext>
              </a:extLst>
            </p:cNvPr>
            <p:cNvSpPr>
              <a:spLocks/>
            </p:cNvSpPr>
            <p:nvPr/>
          </p:nvSpPr>
          <p:spPr bwMode="auto">
            <a:xfrm>
              <a:off x="3028" y="2286"/>
              <a:ext cx="81" cy="44"/>
            </a:xfrm>
            <a:custGeom>
              <a:avLst/>
              <a:gdLst>
                <a:gd name="T0" fmla="*/ 16 w 192"/>
                <a:gd name="T1" fmla="*/ 105 h 105"/>
                <a:gd name="T2" fmla="*/ 6 w 192"/>
                <a:gd name="T3" fmla="*/ 101 h 105"/>
                <a:gd name="T4" fmla="*/ 5 w 192"/>
                <a:gd name="T5" fmla="*/ 80 h 105"/>
                <a:gd name="T6" fmla="*/ 183 w 192"/>
                <a:gd name="T7" fmla="*/ 48 h 105"/>
                <a:gd name="T8" fmla="*/ 188 w 192"/>
                <a:gd name="T9" fmla="*/ 68 h 105"/>
                <a:gd name="T10" fmla="*/ 167 w 192"/>
                <a:gd name="T11" fmla="*/ 73 h 105"/>
                <a:gd name="T12" fmla="*/ 27 w 192"/>
                <a:gd name="T13" fmla="*/ 100 h 105"/>
                <a:gd name="T14" fmla="*/ 16 w 192"/>
                <a:gd name="T15" fmla="*/ 105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105">
                  <a:moveTo>
                    <a:pt x="16" y="105"/>
                  </a:moveTo>
                  <a:cubicBezTo>
                    <a:pt x="13" y="105"/>
                    <a:pt x="9" y="104"/>
                    <a:pt x="6" y="101"/>
                  </a:cubicBezTo>
                  <a:cubicBezTo>
                    <a:pt x="0" y="96"/>
                    <a:pt x="0" y="86"/>
                    <a:pt x="5" y="80"/>
                  </a:cubicBezTo>
                  <a:cubicBezTo>
                    <a:pt x="34" y="48"/>
                    <a:pt x="108" y="0"/>
                    <a:pt x="183" y="48"/>
                  </a:cubicBezTo>
                  <a:cubicBezTo>
                    <a:pt x="190" y="52"/>
                    <a:pt x="192" y="61"/>
                    <a:pt x="188" y="68"/>
                  </a:cubicBezTo>
                  <a:cubicBezTo>
                    <a:pt x="183" y="75"/>
                    <a:pt x="174" y="77"/>
                    <a:pt x="167" y="73"/>
                  </a:cubicBezTo>
                  <a:cubicBezTo>
                    <a:pt x="95" y="27"/>
                    <a:pt x="30" y="97"/>
                    <a:pt x="27" y="100"/>
                  </a:cubicBezTo>
                  <a:cubicBezTo>
                    <a:pt x="24" y="103"/>
                    <a:pt x="20" y="105"/>
                    <a:pt x="16" y="105"/>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94" name="Freeform 152">
              <a:extLst>
                <a:ext uri="{FF2B5EF4-FFF2-40B4-BE49-F238E27FC236}">
                  <a16:creationId xmlns:a16="http://schemas.microsoft.com/office/drawing/2014/main" id="{AA2B1AF9-9235-458E-90B8-F6BBA520DAC6}"/>
                </a:ext>
              </a:extLst>
            </p:cNvPr>
            <p:cNvSpPr>
              <a:spLocks/>
            </p:cNvSpPr>
            <p:nvPr/>
          </p:nvSpPr>
          <p:spPr bwMode="auto">
            <a:xfrm>
              <a:off x="2702" y="2818"/>
              <a:ext cx="281" cy="364"/>
            </a:xfrm>
            <a:custGeom>
              <a:avLst/>
              <a:gdLst>
                <a:gd name="T0" fmla="*/ 671 w 671"/>
                <a:gd name="T1" fmla="*/ 683 h 869"/>
                <a:gd name="T2" fmla="*/ 622 w 671"/>
                <a:gd name="T3" fmla="*/ 869 h 869"/>
                <a:gd name="T4" fmla="*/ 548 w 671"/>
                <a:gd name="T5" fmla="*/ 860 h 869"/>
                <a:gd name="T6" fmla="*/ 567 w 671"/>
                <a:gd name="T7" fmla="*/ 750 h 869"/>
                <a:gd name="T8" fmla="*/ 138 w 671"/>
                <a:gd name="T9" fmla="*/ 624 h 869"/>
                <a:gd name="T10" fmla="*/ 0 w 671"/>
                <a:gd name="T11" fmla="*/ 663 h 869"/>
                <a:gd name="T12" fmla="*/ 118 w 671"/>
                <a:gd name="T13" fmla="*/ 546 h 869"/>
                <a:gd name="T14" fmla="*/ 232 w 671"/>
                <a:gd name="T15" fmla="*/ 0 h 869"/>
                <a:gd name="T16" fmla="*/ 209 w 671"/>
                <a:gd name="T17" fmla="*/ 554 h 869"/>
                <a:gd name="T18" fmla="*/ 671 w 671"/>
                <a:gd name="T19" fmla="*/ 683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1" h="869">
                  <a:moveTo>
                    <a:pt x="671" y="683"/>
                  </a:moveTo>
                  <a:cubicBezTo>
                    <a:pt x="622" y="869"/>
                    <a:pt x="622" y="869"/>
                    <a:pt x="622" y="869"/>
                  </a:cubicBezTo>
                  <a:cubicBezTo>
                    <a:pt x="548" y="860"/>
                    <a:pt x="548" y="860"/>
                    <a:pt x="548" y="860"/>
                  </a:cubicBezTo>
                  <a:cubicBezTo>
                    <a:pt x="567" y="750"/>
                    <a:pt x="567" y="750"/>
                    <a:pt x="567" y="750"/>
                  </a:cubicBezTo>
                  <a:cubicBezTo>
                    <a:pt x="138" y="624"/>
                    <a:pt x="138" y="624"/>
                    <a:pt x="138" y="624"/>
                  </a:cubicBezTo>
                  <a:cubicBezTo>
                    <a:pt x="0" y="663"/>
                    <a:pt x="0" y="663"/>
                    <a:pt x="0" y="663"/>
                  </a:cubicBezTo>
                  <a:cubicBezTo>
                    <a:pt x="0" y="663"/>
                    <a:pt x="27" y="551"/>
                    <a:pt x="118" y="546"/>
                  </a:cubicBezTo>
                  <a:cubicBezTo>
                    <a:pt x="134" y="246"/>
                    <a:pt x="232" y="0"/>
                    <a:pt x="232" y="0"/>
                  </a:cubicBezTo>
                  <a:cubicBezTo>
                    <a:pt x="209" y="554"/>
                    <a:pt x="209" y="554"/>
                    <a:pt x="209" y="554"/>
                  </a:cubicBezTo>
                  <a:lnTo>
                    <a:pt x="671" y="683"/>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03" name="Oval 153">
              <a:extLst>
                <a:ext uri="{FF2B5EF4-FFF2-40B4-BE49-F238E27FC236}">
                  <a16:creationId xmlns:a16="http://schemas.microsoft.com/office/drawing/2014/main" id="{FED33F57-BFC6-4BFF-89C0-046425B283EF}"/>
                </a:ext>
              </a:extLst>
            </p:cNvPr>
            <p:cNvSpPr>
              <a:spLocks noChangeArrowheads="1"/>
            </p:cNvSpPr>
            <p:nvPr/>
          </p:nvSpPr>
          <p:spPr bwMode="auto">
            <a:xfrm>
              <a:off x="3053" y="2780"/>
              <a:ext cx="23" cy="23"/>
            </a:xfrm>
            <a:prstGeom prst="ellipse">
              <a:avLst/>
            </a:pr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04" name="Freeform 154">
              <a:extLst>
                <a:ext uri="{FF2B5EF4-FFF2-40B4-BE49-F238E27FC236}">
                  <a16:creationId xmlns:a16="http://schemas.microsoft.com/office/drawing/2014/main" id="{30B7E8BF-F28D-42B5-9374-97EEF6A3B5AD}"/>
                </a:ext>
              </a:extLst>
            </p:cNvPr>
            <p:cNvSpPr>
              <a:spLocks/>
            </p:cNvSpPr>
            <p:nvPr/>
          </p:nvSpPr>
          <p:spPr bwMode="auto">
            <a:xfrm>
              <a:off x="2864" y="3521"/>
              <a:ext cx="291" cy="760"/>
            </a:xfrm>
            <a:custGeom>
              <a:avLst/>
              <a:gdLst>
                <a:gd name="T0" fmla="*/ 670 w 695"/>
                <a:gd name="T1" fmla="*/ 0 h 1815"/>
                <a:gd name="T2" fmla="*/ 491 w 695"/>
                <a:gd name="T3" fmla="*/ 42 h 1815"/>
                <a:gd name="T4" fmla="*/ 395 w 695"/>
                <a:gd name="T5" fmla="*/ 49 h 1815"/>
                <a:gd name="T6" fmla="*/ 494 w 695"/>
                <a:gd name="T7" fmla="*/ 680 h 1815"/>
                <a:gd name="T8" fmla="*/ 274 w 695"/>
                <a:gd name="T9" fmla="*/ 1731 h 1815"/>
                <a:gd name="T10" fmla="*/ 4 w 695"/>
                <a:gd name="T11" fmla="*/ 1708 h 1815"/>
                <a:gd name="T12" fmla="*/ 0 w 695"/>
                <a:gd name="T13" fmla="*/ 1734 h 1815"/>
                <a:gd name="T14" fmla="*/ 269 w 695"/>
                <a:gd name="T15" fmla="*/ 1757 h 1815"/>
                <a:gd name="T16" fmla="*/ 257 w 695"/>
                <a:gd name="T17" fmla="*/ 1815 h 1815"/>
                <a:gd name="T18" fmla="*/ 408 w 695"/>
                <a:gd name="T19" fmla="*/ 1785 h 1815"/>
                <a:gd name="T20" fmla="*/ 695 w 695"/>
                <a:gd name="T21" fmla="*/ 674 h 1815"/>
                <a:gd name="T22" fmla="*/ 670 w 695"/>
                <a:gd name="T23" fmla="*/ 0 h 1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5" h="1815">
                  <a:moveTo>
                    <a:pt x="670" y="0"/>
                  </a:moveTo>
                  <a:cubicBezTo>
                    <a:pt x="611" y="15"/>
                    <a:pt x="551" y="29"/>
                    <a:pt x="491" y="42"/>
                  </a:cubicBezTo>
                  <a:cubicBezTo>
                    <a:pt x="459" y="49"/>
                    <a:pt x="427" y="51"/>
                    <a:pt x="395" y="49"/>
                  </a:cubicBezTo>
                  <a:cubicBezTo>
                    <a:pt x="494" y="680"/>
                    <a:pt x="494" y="680"/>
                    <a:pt x="494" y="680"/>
                  </a:cubicBezTo>
                  <a:cubicBezTo>
                    <a:pt x="274" y="1731"/>
                    <a:pt x="274" y="1731"/>
                    <a:pt x="274" y="1731"/>
                  </a:cubicBezTo>
                  <a:cubicBezTo>
                    <a:pt x="214" y="1734"/>
                    <a:pt x="108" y="1733"/>
                    <a:pt x="4" y="1708"/>
                  </a:cubicBezTo>
                  <a:cubicBezTo>
                    <a:pt x="2" y="1715"/>
                    <a:pt x="0" y="1734"/>
                    <a:pt x="0" y="1734"/>
                  </a:cubicBezTo>
                  <a:cubicBezTo>
                    <a:pt x="0" y="1734"/>
                    <a:pt x="143" y="1771"/>
                    <a:pt x="269" y="1757"/>
                  </a:cubicBezTo>
                  <a:cubicBezTo>
                    <a:pt x="257" y="1815"/>
                    <a:pt x="257" y="1815"/>
                    <a:pt x="257" y="1815"/>
                  </a:cubicBezTo>
                  <a:cubicBezTo>
                    <a:pt x="340" y="1806"/>
                    <a:pt x="408" y="1785"/>
                    <a:pt x="408" y="1785"/>
                  </a:cubicBezTo>
                  <a:cubicBezTo>
                    <a:pt x="695" y="674"/>
                    <a:pt x="695" y="674"/>
                    <a:pt x="695" y="674"/>
                  </a:cubicBezTo>
                  <a:lnTo>
                    <a:pt x="670" y="0"/>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05" name="Freeform 155">
              <a:extLst>
                <a:ext uri="{FF2B5EF4-FFF2-40B4-BE49-F238E27FC236}">
                  <a16:creationId xmlns:a16="http://schemas.microsoft.com/office/drawing/2014/main" id="{DAAF5C5B-CB73-4E7E-963F-7540CBB3BEEC}"/>
                </a:ext>
              </a:extLst>
            </p:cNvPr>
            <p:cNvSpPr>
              <a:spLocks/>
            </p:cNvSpPr>
            <p:nvPr/>
          </p:nvSpPr>
          <p:spPr bwMode="auto">
            <a:xfrm>
              <a:off x="3064" y="3220"/>
              <a:ext cx="616" cy="420"/>
            </a:xfrm>
            <a:custGeom>
              <a:avLst/>
              <a:gdLst>
                <a:gd name="T0" fmla="*/ 1471 w 1471"/>
                <a:gd name="T1" fmla="*/ 915 h 1001"/>
                <a:gd name="T2" fmla="*/ 969 w 1471"/>
                <a:gd name="T3" fmla="*/ 99 h 1001"/>
                <a:gd name="T4" fmla="*/ 770 w 1471"/>
                <a:gd name="T5" fmla="*/ 22 h 1001"/>
                <a:gd name="T6" fmla="*/ 0 w 1471"/>
                <a:gd name="T7" fmla="*/ 206 h 1001"/>
                <a:gd name="T8" fmla="*/ 129 w 1471"/>
                <a:gd name="T9" fmla="*/ 243 h 1001"/>
                <a:gd name="T10" fmla="*/ 81 w 1471"/>
                <a:gd name="T11" fmla="*/ 487 h 1001"/>
                <a:gd name="T12" fmla="*/ 115 w 1471"/>
                <a:gd name="T13" fmla="*/ 442 h 1001"/>
                <a:gd name="T14" fmla="*/ 457 w 1471"/>
                <a:gd name="T15" fmla="*/ 227 h 1001"/>
                <a:gd name="T16" fmla="*/ 844 w 1471"/>
                <a:gd name="T17" fmla="*/ 147 h 1001"/>
                <a:gd name="T18" fmla="*/ 800 w 1471"/>
                <a:gd name="T19" fmla="*/ 403 h 1001"/>
                <a:gd name="T20" fmla="*/ 893 w 1471"/>
                <a:gd name="T21" fmla="*/ 263 h 1001"/>
                <a:gd name="T22" fmla="*/ 1316 w 1471"/>
                <a:gd name="T23" fmla="*/ 844 h 1001"/>
                <a:gd name="T24" fmla="*/ 1087 w 1471"/>
                <a:gd name="T25" fmla="*/ 978 h 1001"/>
                <a:gd name="T26" fmla="*/ 1104 w 1471"/>
                <a:gd name="T27" fmla="*/ 1001 h 1001"/>
                <a:gd name="T28" fmla="*/ 1341 w 1471"/>
                <a:gd name="T29" fmla="*/ 877 h 1001"/>
                <a:gd name="T30" fmla="*/ 1379 w 1471"/>
                <a:gd name="T31" fmla="*/ 929 h 1001"/>
                <a:gd name="T32" fmla="*/ 1471 w 1471"/>
                <a:gd name="T33" fmla="*/ 915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1" h="1001">
                  <a:moveTo>
                    <a:pt x="1471" y="915"/>
                  </a:moveTo>
                  <a:cubicBezTo>
                    <a:pt x="969" y="99"/>
                    <a:pt x="969" y="99"/>
                    <a:pt x="969" y="99"/>
                  </a:cubicBezTo>
                  <a:cubicBezTo>
                    <a:pt x="928" y="32"/>
                    <a:pt x="846" y="0"/>
                    <a:pt x="770" y="22"/>
                  </a:cubicBezTo>
                  <a:cubicBezTo>
                    <a:pt x="0" y="206"/>
                    <a:pt x="0" y="206"/>
                    <a:pt x="0" y="206"/>
                  </a:cubicBezTo>
                  <a:cubicBezTo>
                    <a:pt x="129" y="243"/>
                    <a:pt x="129" y="243"/>
                    <a:pt x="129" y="243"/>
                  </a:cubicBezTo>
                  <a:cubicBezTo>
                    <a:pt x="81" y="487"/>
                    <a:pt x="81" y="487"/>
                    <a:pt x="81" y="487"/>
                  </a:cubicBezTo>
                  <a:cubicBezTo>
                    <a:pt x="115" y="442"/>
                    <a:pt x="115" y="442"/>
                    <a:pt x="115" y="442"/>
                  </a:cubicBezTo>
                  <a:cubicBezTo>
                    <a:pt x="200" y="331"/>
                    <a:pt x="321" y="255"/>
                    <a:pt x="457" y="227"/>
                  </a:cubicBezTo>
                  <a:cubicBezTo>
                    <a:pt x="844" y="147"/>
                    <a:pt x="844" y="147"/>
                    <a:pt x="844" y="147"/>
                  </a:cubicBezTo>
                  <a:cubicBezTo>
                    <a:pt x="733" y="205"/>
                    <a:pt x="800" y="403"/>
                    <a:pt x="800" y="403"/>
                  </a:cubicBezTo>
                  <a:cubicBezTo>
                    <a:pt x="893" y="263"/>
                    <a:pt x="893" y="263"/>
                    <a:pt x="893" y="263"/>
                  </a:cubicBezTo>
                  <a:cubicBezTo>
                    <a:pt x="1316" y="844"/>
                    <a:pt x="1316" y="844"/>
                    <a:pt x="1316" y="844"/>
                  </a:cubicBezTo>
                  <a:cubicBezTo>
                    <a:pt x="1258" y="857"/>
                    <a:pt x="1163" y="890"/>
                    <a:pt x="1087" y="978"/>
                  </a:cubicBezTo>
                  <a:cubicBezTo>
                    <a:pt x="1092" y="990"/>
                    <a:pt x="1104" y="1001"/>
                    <a:pt x="1104" y="1001"/>
                  </a:cubicBezTo>
                  <a:cubicBezTo>
                    <a:pt x="1104" y="1001"/>
                    <a:pt x="1203" y="883"/>
                    <a:pt x="1341" y="877"/>
                  </a:cubicBezTo>
                  <a:cubicBezTo>
                    <a:pt x="1379" y="929"/>
                    <a:pt x="1379" y="929"/>
                    <a:pt x="1379" y="929"/>
                  </a:cubicBezTo>
                  <a:cubicBezTo>
                    <a:pt x="1433" y="916"/>
                    <a:pt x="1471" y="915"/>
                    <a:pt x="1471" y="915"/>
                  </a:cubicBez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11" name="Freeform 156">
              <a:extLst>
                <a:ext uri="{FF2B5EF4-FFF2-40B4-BE49-F238E27FC236}">
                  <a16:creationId xmlns:a16="http://schemas.microsoft.com/office/drawing/2014/main" id="{62668705-DCF4-4B88-8792-29A2CCF519DB}"/>
                </a:ext>
              </a:extLst>
            </p:cNvPr>
            <p:cNvSpPr>
              <a:spLocks/>
            </p:cNvSpPr>
            <p:nvPr/>
          </p:nvSpPr>
          <p:spPr bwMode="auto">
            <a:xfrm>
              <a:off x="4593" y="738"/>
              <a:ext cx="1014" cy="486"/>
            </a:xfrm>
            <a:custGeom>
              <a:avLst/>
              <a:gdLst>
                <a:gd name="T0" fmla="*/ 1877 w 2420"/>
                <a:gd name="T1" fmla="*/ 146 h 1161"/>
                <a:gd name="T2" fmla="*/ 2009 w 2420"/>
                <a:gd name="T3" fmla="*/ 278 h 1161"/>
                <a:gd name="T4" fmla="*/ 1666 w 2420"/>
                <a:gd name="T5" fmla="*/ 622 h 1161"/>
                <a:gd name="T6" fmla="*/ 1278 w 2420"/>
                <a:gd name="T7" fmla="*/ 235 h 1161"/>
                <a:gd name="T8" fmla="*/ 618 w 2420"/>
                <a:gd name="T9" fmla="*/ 895 h 1161"/>
                <a:gd name="T10" fmla="*/ 308 w 2420"/>
                <a:gd name="T11" fmla="*/ 585 h 1161"/>
                <a:gd name="T12" fmla="*/ 0 w 2420"/>
                <a:gd name="T13" fmla="*/ 894 h 1161"/>
                <a:gd name="T14" fmla="*/ 198 w 2420"/>
                <a:gd name="T15" fmla="*/ 961 h 1161"/>
                <a:gd name="T16" fmla="*/ 308 w 2420"/>
                <a:gd name="T17" fmla="*/ 851 h 1161"/>
                <a:gd name="T18" fmla="*/ 618 w 2420"/>
                <a:gd name="T19" fmla="*/ 1161 h 1161"/>
                <a:gd name="T20" fmla="*/ 1278 w 2420"/>
                <a:gd name="T21" fmla="*/ 501 h 1161"/>
                <a:gd name="T22" fmla="*/ 1666 w 2420"/>
                <a:gd name="T23" fmla="*/ 888 h 1161"/>
                <a:gd name="T24" fmla="*/ 2142 w 2420"/>
                <a:gd name="T25" fmla="*/ 411 h 1161"/>
                <a:gd name="T26" fmla="*/ 2275 w 2420"/>
                <a:gd name="T27" fmla="*/ 544 h 1161"/>
                <a:gd name="T28" fmla="*/ 2420 w 2420"/>
                <a:gd name="T29" fmla="*/ 0 h 1161"/>
                <a:gd name="T30" fmla="*/ 1877 w 2420"/>
                <a:gd name="T31" fmla="*/ 146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0" h="1161">
                  <a:moveTo>
                    <a:pt x="1877" y="146"/>
                  </a:moveTo>
                  <a:cubicBezTo>
                    <a:pt x="2009" y="278"/>
                    <a:pt x="2009" y="278"/>
                    <a:pt x="2009" y="278"/>
                  </a:cubicBezTo>
                  <a:cubicBezTo>
                    <a:pt x="1666" y="622"/>
                    <a:pt x="1666" y="622"/>
                    <a:pt x="1666" y="622"/>
                  </a:cubicBezTo>
                  <a:cubicBezTo>
                    <a:pt x="1278" y="235"/>
                    <a:pt x="1278" y="235"/>
                    <a:pt x="1278" y="235"/>
                  </a:cubicBezTo>
                  <a:cubicBezTo>
                    <a:pt x="618" y="895"/>
                    <a:pt x="618" y="895"/>
                    <a:pt x="618" y="895"/>
                  </a:cubicBezTo>
                  <a:cubicBezTo>
                    <a:pt x="308" y="585"/>
                    <a:pt x="308" y="585"/>
                    <a:pt x="308" y="585"/>
                  </a:cubicBezTo>
                  <a:cubicBezTo>
                    <a:pt x="0" y="894"/>
                    <a:pt x="0" y="894"/>
                    <a:pt x="0" y="894"/>
                  </a:cubicBezTo>
                  <a:cubicBezTo>
                    <a:pt x="68" y="910"/>
                    <a:pt x="135" y="933"/>
                    <a:pt x="198" y="961"/>
                  </a:cubicBezTo>
                  <a:cubicBezTo>
                    <a:pt x="308" y="851"/>
                    <a:pt x="308" y="851"/>
                    <a:pt x="308" y="851"/>
                  </a:cubicBezTo>
                  <a:cubicBezTo>
                    <a:pt x="618" y="1161"/>
                    <a:pt x="618" y="1161"/>
                    <a:pt x="618" y="1161"/>
                  </a:cubicBezTo>
                  <a:cubicBezTo>
                    <a:pt x="1278" y="501"/>
                    <a:pt x="1278" y="501"/>
                    <a:pt x="1278" y="501"/>
                  </a:cubicBezTo>
                  <a:cubicBezTo>
                    <a:pt x="1666" y="888"/>
                    <a:pt x="1666" y="888"/>
                    <a:pt x="1666" y="888"/>
                  </a:cubicBezTo>
                  <a:cubicBezTo>
                    <a:pt x="2142" y="411"/>
                    <a:pt x="2142" y="411"/>
                    <a:pt x="2142" y="411"/>
                  </a:cubicBezTo>
                  <a:cubicBezTo>
                    <a:pt x="2275" y="544"/>
                    <a:pt x="2275" y="544"/>
                    <a:pt x="2275" y="544"/>
                  </a:cubicBezTo>
                  <a:cubicBezTo>
                    <a:pt x="2420" y="0"/>
                    <a:pt x="2420" y="0"/>
                    <a:pt x="2420" y="0"/>
                  </a:cubicBezTo>
                  <a:lnTo>
                    <a:pt x="1877" y="14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spTree>
    <p:extLst>
      <p:ext uri="{BB962C8B-B14F-4D97-AF65-F5344CB8AC3E}">
        <p14:creationId xmlns:p14="http://schemas.microsoft.com/office/powerpoint/2010/main" val="1998267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537251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10" name="Rectangle 409">
            <a:extLst>
              <a:ext uri="{FF2B5EF4-FFF2-40B4-BE49-F238E27FC236}">
                <a16:creationId xmlns:a16="http://schemas.microsoft.com/office/drawing/2014/main" id="{77B81BF6-744F-4166-9BF8-F245140CB4D6}"/>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The attack surface is reduced, compared to on-prem</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5486374" cy="369332"/>
          </a:xfrm>
          <a:prstGeom prst="rect">
            <a:avLst/>
          </a:prstGeom>
        </p:spPr>
        <p:txBody>
          <a:bodyPr wrap="none">
            <a:spAutoFit/>
          </a:bodyPr>
          <a:lstStyle/>
          <a:p>
            <a:r>
              <a:rPr lang="en-US" b="1" i="1" dirty="0"/>
              <a:t>Enhanced Security with Simplified Configuration</a:t>
            </a:r>
          </a:p>
        </p:txBody>
      </p:sp>
      <p:sp>
        <p:nvSpPr>
          <p:cNvPr id="743" name="Freeform: Shape 742">
            <a:extLst>
              <a:ext uri="{FF2B5EF4-FFF2-40B4-BE49-F238E27FC236}">
                <a16:creationId xmlns:a16="http://schemas.microsoft.com/office/drawing/2014/main" id="{925D6C5B-E16F-4713-8425-80311703044B}"/>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lvl="0" defTabSz="932472" fontAlgn="base">
              <a:spcBef>
                <a:spcPts val="200"/>
              </a:spcBef>
              <a:spcAft>
                <a:spcPct val="0"/>
              </a:spcAft>
            </a:pPr>
            <a:r>
              <a:rPr lang="en-US" sz="1600" b="1" dirty="0">
                <a:solidFill>
                  <a:srgbClr val="243A5E"/>
                </a:solidFill>
                <a:cs typeface="Segoe UI" pitchFamily="34" charset="0"/>
              </a:rPr>
              <a:t>Customer Scenario – Moving from on-prem virtualization to WVD</a:t>
            </a:r>
          </a:p>
          <a:p>
            <a:pPr marL="344488" lvl="0" indent="-176213" defTabSz="932472" fontAlgn="base">
              <a:spcBef>
                <a:spcPts val="200"/>
              </a:spcBef>
              <a:spcAft>
                <a:spcPct val="0"/>
              </a:spcAft>
              <a:buFont typeface="Arial" panose="020B0604020202020204" pitchFamily="34" charset="0"/>
              <a:buChar char="•"/>
            </a:pPr>
            <a:r>
              <a:rPr lang="en-US" sz="1400" dirty="0">
                <a:solidFill>
                  <a:srgbClr val="000000"/>
                </a:solidFill>
                <a:cs typeface="Segoe UI" pitchFamily="34" charset="0"/>
              </a:rPr>
              <a:t>Reverse connect eliminates the need to open inbound ports, reducing the attack surface</a:t>
            </a:r>
          </a:p>
        </p:txBody>
      </p:sp>
      <p:grpSp>
        <p:nvGrpSpPr>
          <p:cNvPr id="744" name="Group 743">
            <a:extLst>
              <a:ext uri="{FF2B5EF4-FFF2-40B4-BE49-F238E27FC236}">
                <a16:creationId xmlns:a16="http://schemas.microsoft.com/office/drawing/2014/main" id="{03DE74E7-6CDA-442B-ACB5-0A25A9545847}"/>
              </a:ext>
            </a:extLst>
          </p:cNvPr>
          <p:cNvGrpSpPr>
            <a:grpSpLocks noChangeAspect="1"/>
          </p:cNvGrpSpPr>
          <p:nvPr/>
        </p:nvGrpSpPr>
        <p:grpSpPr>
          <a:xfrm>
            <a:off x="10777886" y="1372927"/>
            <a:ext cx="806355" cy="914400"/>
            <a:chOff x="797126" y="3893732"/>
            <a:chExt cx="1125722" cy="1276864"/>
          </a:xfrm>
        </p:grpSpPr>
        <p:sp>
          <p:nvSpPr>
            <p:cNvPr id="745" name="Freeform 403">
              <a:extLst>
                <a:ext uri="{FF2B5EF4-FFF2-40B4-BE49-F238E27FC236}">
                  <a16:creationId xmlns:a16="http://schemas.microsoft.com/office/drawing/2014/main" id="{45DB63C6-79FC-403A-B44F-5EE3DADBF8A0}"/>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746" name="Freeform: Shape 745">
              <a:extLst>
                <a:ext uri="{FF2B5EF4-FFF2-40B4-BE49-F238E27FC236}">
                  <a16:creationId xmlns:a16="http://schemas.microsoft.com/office/drawing/2014/main" id="{7A13C810-987F-481E-B980-E9F4B30C8EEC}"/>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747" name="Group 746">
              <a:extLst>
                <a:ext uri="{FF2B5EF4-FFF2-40B4-BE49-F238E27FC236}">
                  <a16:creationId xmlns:a16="http://schemas.microsoft.com/office/drawing/2014/main" id="{748EB977-D184-4316-8550-D32AD12CF75A}"/>
                </a:ext>
              </a:extLst>
            </p:cNvPr>
            <p:cNvGrpSpPr/>
            <p:nvPr/>
          </p:nvGrpSpPr>
          <p:grpSpPr>
            <a:xfrm>
              <a:off x="971699" y="4043345"/>
              <a:ext cx="773592" cy="920012"/>
              <a:chOff x="993458" y="3447450"/>
              <a:chExt cx="682781" cy="812014"/>
            </a:xfrm>
          </p:grpSpPr>
          <p:grpSp>
            <p:nvGrpSpPr>
              <p:cNvPr id="748" name="Group 747">
                <a:extLst>
                  <a:ext uri="{FF2B5EF4-FFF2-40B4-BE49-F238E27FC236}">
                    <a16:creationId xmlns:a16="http://schemas.microsoft.com/office/drawing/2014/main" id="{4E4C5728-FF17-4B5A-941A-CC428277924C}"/>
                  </a:ext>
                </a:extLst>
              </p:cNvPr>
              <p:cNvGrpSpPr/>
              <p:nvPr/>
            </p:nvGrpSpPr>
            <p:grpSpPr>
              <a:xfrm>
                <a:off x="993458" y="3447450"/>
                <a:ext cx="576652" cy="812014"/>
                <a:chOff x="499414" y="1517311"/>
                <a:chExt cx="3686809" cy="5340604"/>
              </a:xfrm>
            </p:grpSpPr>
            <p:sp>
              <p:nvSpPr>
                <p:cNvPr id="848" name="Rectangle 847">
                  <a:extLst>
                    <a:ext uri="{FF2B5EF4-FFF2-40B4-BE49-F238E27FC236}">
                      <a16:creationId xmlns:a16="http://schemas.microsoft.com/office/drawing/2014/main" id="{CDEC6366-4A54-464A-B074-268E5D60A7F7}"/>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849" name="Group 848">
                  <a:extLst>
                    <a:ext uri="{FF2B5EF4-FFF2-40B4-BE49-F238E27FC236}">
                      <a16:creationId xmlns:a16="http://schemas.microsoft.com/office/drawing/2014/main" id="{3BD636B6-671C-48CB-AFEF-FCB944BB127D}"/>
                    </a:ext>
                  </a:extLst>
                </p:cNvPr>
                <p:cNvGrpSpPr/>
                <p:nvPr/>
              </p:nvGrpSpPr>
              <p:grpSpPr>
                <a:xfrm rot="20371446">
                  <a:off x="2524661" y="2299216"/>
                  <a:ext cx="859576" cy="554927"/>
                  <a:chOff x="4775201" y="792163"/>
                  <a:chExt cx="2024063" cy="1306513"/>
                </a:xfrm>
              </p:grpSpPr>
              <p:sp>
                <p:nvSpPr>
                  <p:cNvPr id="1009" name="Freeform 354">
                    <a:extLst>
                      <a:ext uri="{FF2B5EF4-FFF2-40B4-BE49-F238E27FC236}">
                        <a16:creationId xmlns:a16="http://schemas.microsoft.com/office/drawing/2014/main" id="{AB1C9A77-C807-47A4-980A-86F644BA4FCC}"/>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0" name="Rectangle 1009">
                    <a:extLst>
                      <a:ext uri="{FF2B5EF4-FFF2-40B4-BE49-F238E27FC236}">
                        <a16:creationId xmlns:a16="http://schemas.microsoft.com/office/drawing/2014/main" id="{9BC6D19E-0727-4084-B718-9BEA89A377E8}"/>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1" name="Freeform 356">
                    <a:extLst>
                      <a:ext uri="{FF2B5EF4-FFF2-40B4-BE49-F238E27FC236}">
                        <a16:creationId xmlns:a16="http://schemas.microsoft.com/office/drawing/2014/main" id="{04AB13E0-E9A6-40AF-A4A2-0CF0BCF26ABF}"/>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2" name="Freeform 357">
                    <a:extLst>
                      <a:ext uri="{FF2B5EF4-FFF2-40B4-BE49-F238E27FC236}">
                        <a16:creationId xmlns:a16="http://schemas.microsoft.com/office/drawing/2014/main" id="{814F6652-CE90-4716-8B37-EE88BF8E80F8}"/>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3" name="Freeform 358">
                    <a:extLst>
                      <a:ext uri="{FF2B5EF4-FFF2-40B4-BE49-F238E27FC236}">
                        <a16:creationId xmlns:a16="http://schemas.microsoft.com/office/drawing/2014/main" id="{9FF150A2-1651-43C2-8A08-F2BBEF4381C4}"/>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4" name="Rectangle 1013">
                    <a:extLst>
                      <a:ext uri="{FF2B5EF4-FFF2-40B4-BE49-F238E27FC236}">
                        <a16:creationId xmlns:a16="http://schemas.microsoft.com/office/drawing/2014/main" id="{C037BB47-027B-435A-AE8C-3AE51A7BCE64}"/>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5" name="Freeform 360">
                    <a:extLst>
                      <a:ext uri="{FF2B5EF4-FFF2-40B4-BE49-F238E27FC236}">
                        <a16:creationId xmlns:a16="http://schemas.microsoft.com/office/drawing/2014/main" id="{6C0BFA00-18DC-4128-B9FA-57C32D5263B4}"/>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6" name="Rectangle 1015">
                    <a:extLst>
                      <a:ext uri="{FF2B5EF4-FFF2-40B4-BE49-F238E27FC236}">
                        <a16:creationId xmlns:a16="http://schemas.microsoft.com/office/drawing/2014/main" id="{C68F5C54-DC57-4848-B656-546658B64DAB}"/>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7" name="Rectangle 1016">
                    <a:extLst>
                      <a:ext uri="{FF2B5EF4-FFF2-40B4-BE49-F238E27FC236}">
                        <a16:creationId xmlns:a16="http://schemas.microsoft.com/office/drawing/2014/main" id="{E075CC0F-E314-4651-9FB9-49207D16CA27}"/>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8" name="Rectangle 1017">
                    <a:extLst>
                      <a:ext uri="{FF2B5EF4-FFF2-40B4-BE49-F238E27FC236}">
                        <a16:creationId xmlns:a16="http://schemas.microsoft.com/office/drawing/2014/main" id="{D7D1267B-0B00-4B09-BCD3-6043910871B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9" name="Rectangle 1018">
                    <a:extLst>
                      <a:ext uri="{FF2B5EF4-FFF2-40B4-BE49-F238E27FC236}">
                        <a16:creationId xmlns:a16="http://schemas.microsoft.com/office/drawing/2014/main" id="{112C387A-C898-4683-9EF5-A125395CC2F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20" name="Rectangle 1019">
                    <a:extLst>
                      <a:ext uri="{FF2B5EF4-FFF2-40B4-BE49-F238E27FC236}">
                        <a16:creationId xmlns:a16="http://schemas.microsoft.com/office/drawing/2014/main" id="{1F620B92-1EED-473C-B681-564F74CCFAE7}"/>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850" name="Group 849">
                  <a:extLst>
                    <a:ext uri="{FF2B5EF4-FFF2-40B4-BE49-F238E27FC236}">
                      <a16:creationId xmlns:a16="http://schemas.microsoft.com/office/drawing/2014/main" id="{5212FB22-E778-4AFC-8784-59D185578A68}"/>
                    </a:ext>
                  </a:extLst>
                </p:cNvPr>
                <p:cNvGrpSpPr/>
                <p:nvPr/>
              </p:nvGrpSpPr>
              <p:grpSpPr>
                <a:xfrm>
                  <a:off x="1190120" y="2235988"/>
                  <a:ext cx="983059" cy="983198"/>
                  <a:chOff x="5413781" y="5749281"/>
                  <a:chExt cx="652036" cy="652036"/>
                </a:xfrm>
              </p:grpSpPr>
              <p:sp>
                <p:nvSpPr>
                  <p:cNvPr id="1007" name="Oval 1006">
                    <a:extLst>
                      <a:ext uri="{FF2B5EF4-FFF2-40B4-BE49-F238E27FC236}">
                        <a16:creationId xmlns:a16="http://schemas.microsoft.com/office/drawing/2014/main" id="{F79CDCF6-E06D-4264-9E9F-3EE1738F62FE}"/>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08" name="Freeform 353">
                    <a:extLst>
                      <a:ext uri="{FF2B5EF4-FFF2-40B4-BE49-F238E27FC236}">
                        <a16:creationId xmlns:a16="http://schemas.microsoft.com/office/drawing/2014/main" id="{DC60C35E-2976-4F47-AA1F-872445D3CE8B}"/>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51" name="Group 850">
                  <a:extLst>
                    <a:ext uri="{FF2B5EF4-FFF2-40B4-BE49-F238E27FC236}">
                      <a16:creationId xmlns:a16="http://schemas.microsoft.com/office/drawing/2014/main" id="{C13F6207-810D-4500-8C8E-97D7DBC8F817}"/>
                    </a:ext>
                  </a:extLst>
                </p:cNvPr>
                <p:cNvGrpSpPr>
                  <a:grpSpLocks noChangeAspect="1"/>
                </p:cNvGrpSpPr>
                <p:nvPr/>
              </p:nvGrpSpPr>
              <p:grpSpPr bwMode="auto">
                <a:xfrm rot="1800000">
                  <a:off x="3563928" y="2295726"/>
                  <a:ext cx="622295" cy="847393"/>
                  <a:chOff x="6652" y="1661"/>
                  <a:chExt cx="260" cy="354"/>
                </a:xfrm>
              </p:grpSpPr>
              <p:sp>
                <p:nvSpPr>
                  <p:cNvPr id="1003" name="AutoShape 138">
                    <a:extLst>
                      <a:ext uri="{FF2B5EF4-FFF2-40B4-BE49-F238E27FC236}">
                        <a16:creationId xmlns:a16="http://schemas.microsoft.com/office/drawing/2014/main" id="{6706EB2F-7311-4461-ADDE-A7564AF14838}"/>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04" name="Freeform 349">
                    <a:extLst>
                      <a:ext uri="{FF2B5EF4-FFF2-40B4-BE49-F238E27FC236}">
                        <a16:creationId xmlns:a16="http://schemas.microsoft.com/office/drawing/2014/main" id="{923A534C-4CD9-4BD0-9273-8ABC0A3ABB99}"/>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05" name="Rectangle 1004">
                    <a:extLst>
                      <a:ext uri="{FF2B5EF4-FFF2-40B4-BE49-F238E27FC236}">
                        <a16:creationId xmlns:a16="http://schemas.microsoft.com/office/drawing/2014/main" id="{CDBD8AB8-ED02-482E-A567-A66B218ED6C6}"/>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06" name="Freeform 351">
                    <a:extLst>
                      <a:ext uri="{FF2B5EF4-FFF2-40B4-BE49-F238E27FC236}">
                        <a16:creationId xmlns:a16="http://schemas.microsoft.com/office/drawing/2014/main" id="{569AFA1E-037D-44DE-9114-9C04EB6C73D0}"/>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852" name="Group 851">
                  <a:extLst>
                    <a:ext uri="{FF2B5EF4-FFF2-40B4-BE49-F238E27FC236}">
                      <a16:creationId xmlns:a16="http://schemas.microsoft.com/office/drawing/2014/main" id="{2FDF80B7-430A-4341-842E-2C6E8B6D3F57}"/>
                    </a:ext>
                  </a:extLst>
                </p:cNvPr>
                <p:cNvGrpSpPr/>
                <p:nvPr/>
              </p:nvGrpSpPr>
              <p:grpSpPr>
                <a:xfrm flipH="1">
                  <a:off x="499414" y="3565526"/>
                  <a:ext cx="1323206" cy="3292389"/>
                  <a:chOff x="8371759" y="2973033"/>
                  <a:chExt cx="1482609" cy="3688507"/>
                </a:xfrm>
              </p:grpSpPr>
              <p:sp>
                <p:nvSpPr>
                  <p:cNvPr id="863" name="Freeform 314">
                    <a:extLst>
                      <a:ext uri="{FF2B5EF4-FFF2-40B4-BE49-F238E27FC236}">
                        <a16:creationId xmlns:a16="http://schemas.microsoft.com/office/drawing/2014/main" id="{3B253A13-8AF7-4191-B287-DE7EE9164DC7}"/>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4" name="Freeform 315">
                    <a:extLst>
                      <a:ext uri="{FF2B5EF4-FFF2-40B4-BE49-F238E27FC236}">
                        <a16:creationId xmlns:a16="http://schemas.microsoft.com/office/drawing/2014/main" id="{0850621F-941B-40FB-96DF-267BA22B9E01}"/>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5" name="Freeform 316">
                    <a:extLst>
                      <a:ext uri="{FF2B5EF4-FFF2-40B4-BE49-F238E27FC236}">
                        <a16:creationId xmlns:a16="http://schemas.microsoft.com/office/drawing/2014/main" id="{EAACAB6E-C8AC-4E2C-BD42-9184F4541283}"/>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6" name="Rectangle 865">
                    <a:extLst>
                      <a:ext uri="{FF2B5EF4-FFF2-40B4-BE49-F238E27FC236}">
                        <a16:creationId xmlns:a16="http://schemas.microsoft.com/office/drawing/2014/main" id="{6EED0C27-66A2-495A-A152-0873FBA66C1B}"/>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7" name="Rectangle 866">
                    <a:extLst>
                      <a:ext uri="{FF2B5EF4-FFF2-40B4-BE49-F238E27FC236}">
                        <a16:creationId xmlns:a16="http://schemas.microsoft.com/office/drawing/2014/main" id="{E384E723-6FCC-46AD-9A1D-8F1A52931730}"/>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8" name="Rectangle 867">
                    <a:extLst>
                      <a:ext uri="{FF2B5EF4-FFF2-40B4-BE49-F238E27FC236}">
                        <a16:creationId xmlns:a16="http://schemas.microsoft.com/office/drawing/2014/main" id="{BC6AF92A-AD83-4F6C-9175-D51349D961AA}"/>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1" name="Rectangle 870">
                    <a:extLst>
                      <a:ext uri="{FF2B5EF4-FFF2-40B4-BE49-F238E27FC236}">
                        <a16:creationId xmlns:a16="http://schemas.microsoft.com/office/drawing/2014/main" id="{5709FA03-C852-42CC-A5F9-F8827A9B8703}"/>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94" name="Freeform 321">
                    <a:extLst>
                      <a:ext uri="{FF2B5EF4-FFF2-40B4-BE49-F238E27FC236}">
                        <a16:creationId xmlns:a16="http://schemas.microsoft.com/office/drawing/2014/main" id="{286E0189-E9E2-485A-ADB9-219B721D7235}"/>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76" name="Rectangle 975">
                    <a:extLst>
                      <a:ext uri="{FF2B5EF4-FFF2-40B4-BE49-F238E27FC236}">
                        <a16:creationId xmlns:a16="http://schemas.microsoft.com/office/drawing/2014/main" id="{808E5EF6-6E60-4ECE-B6EE-0A8E0AD74AD0}"/>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77" name="Rectangle 976">
                    <a:extLst>
                      <a:ext uri="{FF2B5EF4-FFF2-40B4-BE49-F238E27FC236}">
                        <a16:creationId xmlns:a16="http://schemas.microsoft.com/office/drawing/2014/main" id="{FC68AF80-1E3A-4FD6-9C52-FFFFC7E9665B}"/>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78" name="Freeform 324">
                    <a:extLst>
                      <a:ext uri="{FF2B5EF4-FFF2-40B4-BE49-F238E27FC236}">
                        <a16:creationId xmlns:a16="http://schemas.microsoft.com/office/drawing/2014/main" id="{A43EB47E-46BB-4780-AF4A-4CC0923BAA48}"/>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79" name="Freeform 325">
                    <a:extLst>
                      <a:ext uri="{FF2B5EF4-FFF2-40B4-BE49-F238E27FC236}">
                        <a16:creationId xmlns:a16="http://schemas.microsoft.com/office/drawing/2014/main" id="{A0F722C0-8444-4592-904E-D22821B58387}"/>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80" name="Freeform 326">
                    <a:extLst>
                      <a:ext uri="{FF2B5EF4-FFF2-40B4-BE49-F238E27FC236}">
                        <a16:creationId xmlns:a16="http://schemas.microsoft.com/office/drawing/2014/main" id="{19E35D35-EBF3-4B31-A558-B3B51B9BAA39}"/>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81" name="Freeform 327">
                    <a:extLst>
                      <a:ext uri="{FF2B5EF4-FFF2-40B4-BE49-F238E27FC236}">
                        <a16:creationId xmlns:a16="http://schemas.microsoft.com/office/drawing/2014/main" id="{F75FE967-5BC2-42A0-B11B-7DB20206BB9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83" name="Freeform 328">
                    <a:extLst>
                      <a:ext uri="{FF2B5EF4-FFF2-40B4-BE49-F238E27FC236}">
                        <a16:creationId xmlns:a16="http://schemas.microsoft.com/office/drawing/2014/main" id="{23A76E4B-2882-4276-A45F-C669A1AD275F}"/>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84" name="Freeform 329">
                    <a:extLst>
                      <a:ext uri="{FF2B5EF4-FFF2-40B4-BE49-F238E27FC236}">
                        <a16:creationId xmlns:a16="http://schemas.microsoft.com/office/drawing/2014/main" id="{42A3EF51-0053-49DD-BD8E-D022560D3715}"/>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85" name="Freeform 330">
                    <a:extLst>
                      <a:ext uri="{FF2B5EF4-FFF2-40B4-BE49-F238E27FC236}">
                        <a16:creationId xmlns:a16="http://schemas.microsoft.com/office/drawing/2014/main" id="{A8F8C84B-6B68-4A26-AED2-2B835272A02C}"/>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86" name="Freeform 331">
                    <a:extLst>
                      <a:ext uri="{FF2B5EF4-FFF2-40B4-BE49-F238E27FC236}">
                        <a16:creationId xmlns:a16="http://schemas.microsoft.com/office/drawing/2014/main" id="{7EB433F6-57DF-477B-9F2F-218BFE02BC8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87" name="Freeform 332">
                    <a:extLst>
                      <a:ext uri="{FF2B5EF4-FFF2-40B4-BE49-F238E27FC236}">
                        <a16:creationId xmlns:a16="http://schemas.microsoft.com/office/drawing/2014/main" id="{C9427E04-7AB6-4140-8573-34BA749BEC98}"/>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88" name="Freeform 333">
                    <a:extLst>
                      <a:ext uri="{FF2B5EF4-FFF2-40B4-BE49-F238E27FC236}">
                        <a16:creationId xmlns:a16="http://schemas.microsoft.com/office/drawing/2014/main" id="{4C69697E-F509-4386-9E7C-4232D93C8FD1}"/>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89" name="Freeform 334">
                    <a:extLst>
                      <a:ext uri="{FF2B5EF4-FFF2-40B4-BE49-F238E27FC236}">
                        <a16:creationId xmlns:a16="http://schemas.microsoft.com/office/drawing/2014/main" id="{1C00B15D-1373-495C-A65C-9B692DC83E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90" name="Freeform 335">
                    <a:extLst>
                      <a:ext uri="{FF2B5EF4-FFF2-40B4-BE49-F238E27FC236}">
                        <a16:creationId xmlns:a16="http://schemas.microsoft.com/office/drawing/2014/main" id="{7820F6C6-7889-4CFF-81E3-66DA6BBAC604}"/>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91" name="Freeform 336">
                    <a:extLst>
                      <a:ext uri="{FF2B5EF4-FFF2-40B4-BE49-F238E27FC236}">
                        <a16:creationId xmlns:a16="http://schemas.microsoft.com/office/drawing/2014/main" id="{32194F5D-8A47-4F72-AAEC-B1C72AF58E17}"/>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92" name="Freeform 337">
                    <a:extLst>
                      <a:ext uri="{FF2B5EF4-FFF2-40B4-BE49-F238E27FC236}">
                        <a16:creationId xmlns:a16="http://schemas.microsoft.com/office/drawing/2014/main" id="{02E2D75D-B7F7-4849-A03F-AB14D2F08EB5}"/>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93" name="Freeform 338">
                    <a:extLst>
                      <a:ext uri="{FF2B5EF4-FFF2-40B4-BE49-F238E27FC236}">
                        <a16:creationId xmlns:a16="http://schemas.microsoft.com/office/drawing/2014/main" id="{0B30B807-E452-4D3F-BCCD-8206ACF697C4}"/>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94" name="Freeform 339">
                    <a:extLst>
                      <a:ext uri="{FF2B5EF4-FFF2-40B4-BE49-F238E27FC236}">
                        <a16:creationId xmlns:a16="http://schemas.microsoft.com/office/drawing/2014/main" id="{882F54EA-31AF-4925-956C-398A5AD8E89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95" name="Freeform 340">
                    <a:extLst>
                      <a:ext uri="{FF2B5EF4-FFF2-40B4-BE49-F238E27FC236}">
                        <a16:creationId xmlns:a16="http://schemas.microsoft.com/office/drawing/2014/main" id="{963CE51E-DB33-4DB8-85EE-17EF26B27F40}"/>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96" name="Freeform 341">
                    <a:extLst>
                      <a:ext uri="{FF2B5EF4-FFF2-40B4-BE49-F238E27FC236}">
                        <a16:creationId xmlns:a16="http://schemas.microsoft.com/office/drawing/2014/main" id="{3CE59C51-1FCE-47EF-A26C-E10CBAA4FCD5}"/>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97" name="Freeform 342">
                    <a:extLst>
                      <a:ext uri="{FF2B5EF4-FFF2-40B4-BE49-F238E27FC236}">
                        <a16:creationId xmlns:a16="http://schemas.microsoft.com/office/drawing/2014/main" id="{03CA2119-BE35-4659-8C81-DA70C375E381}"/>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98" name="Freeform 343">
                    <a:extLst>
                      <a:ext uri="{FF2B5EF4-FFF2-40B4-BE49-F238E27FC236}">
                        <a16:creationId xmlns:a16="http://schemas.microsoft.com/office/drawing/2014/main" id="{E606D572-C246-4512-B676-A71368F27DAB}"/>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99" name="Freeform 344">
                    <a:extLst>
                      <a:ext uri="{FF2B5EF4-FFF2-40B4-BE49-F238E27FC236}">
                        <a16:creationId xmlns:a16="http://schemas.microsoft.com/office/drawing/2014/main" id="{58CF201C-8FF2-4FB1-AD37-83E0C23035F7}"/>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00" name="Freeform 345">
                    <a:extLst>
                      <a:ext uri="{FF2B5EF4-FFF2-40B4-BE49-F238E27FC236}">
                        <a16:creationId xmlns:a16="http://schemas.microsoft.com/office/drawing/2014/main" id="{426AA2BB-8577-475F-B98E-4860E1D9063F}"/>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01" name="Freeform 346">
                    <a:extLst>
                      <a:ext uri="{FF2B5EF4-FFF2-40B4-BE49-F238E27FC236}">
                        <a16:creationId xmlns:a16="http://schemas.microsoft.com/office/drawing/2014/main" id="{D634997B-A396-4A96-A93E-90BB3C7DB8EB}"/>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02" name="Freeform 347">
                    <a:extLst>
                      <a:ext uri="{FF2B5EF4-FFF2-40B4-BE49-F238E27FC236}">
                        <a16:creationId xmlns:a16="http://schemas.microsoft.com/office/drawing/2014/main" id="{1A5C6E92-A888-4F48-BC5F-BE9CC326FFD5}"/>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853" name="Straight Connector 852">
                  <a:extLst>
                    <a:ext uri="{FF2B5EF4-FFF2-40B4-BE49-F238E27FC236}">
                      <a16:creationId xmlns:a16="http://schemas.microsoft.com/office/drawing/2014/main" id="{79C0BCB2-B9D7-4669-906D-027F8F57246C}"/>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854" name="Straight Connector 853">
                  <a:extLst>
                    <a:ext uri="{FF2B5EF4-FFF2-40B4-BE49-F238E27FC236}">
                      <a16:creationId xmlns:a16="http://schemas.microsoft.com/office/drawing/2014/main" id="{5D5C0F08-CB93-47D7-ADFF-A88497718CB3}"/>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855" name="Straight Connector 854">
                  <a:extLst>
                    <a:ext uri="{FF2B5EF4-FFF2-40B4-BE49-F238E27FC236}">
                      <a16:creationId xmlns:a16="http://schemas.microsoft.com/office/drawing/2014/main" id="{DE33DDA0-076F-4514-B4EA-36E183D95BB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856" name="Straight Connector 855">
                  <a:extLst>
                    <a:ext uri="{FF2B5EF4-FFF2-40B4-BE49-F238E27FC236}">
                      <a16:creationId xmlns:a16="http://schemas.microsoft.com/office/drawing/2014/main" id="{5747FA68-8BE5-4B92-9130-7EDA5F38C633}"/>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857" name="Group 856">
                  <a:extLst>
                    <a:ext uri="{FF2B5EF4-FFF2-40B4-BE49-F238E27FC236}">
                      <a16:creationId xmlns:a16="http://schemas.microsoft.com/office/drawing/2014/main" id="{6F89BF2C-6C1D-441D-BCA4-16CD0BBA5F71}"/>
                    </a:ext>
                  </a:extLst>
                </p:cNvPr>
                <p:cNvGrpSpPr/>
                <p:nvPr/>
              </p:nvGrpSpPr>
              <p:grpSpPr>
                <a:xfrm>
                  <a:off x="2022695" y="1566515"/>
                  <a:ext cx="766903" cy="767014"/>
                  <a:chOff x="9123445" y="2463609"/>
                  <a:chExt cx="652033" cy="652035"/>
                </a:xfrm>
              </p:grpSpPr>
              <p:sp>
                <p:nvSpPr>
                  <p:cNvPr id="861" name="Oval 860">
                    <a:extLst>
                      <a:ext uri="{FF2B5EF4-FFF2-40B4-BE49-F238E27FC236}">
                        <a16:creationId xmlns:a16="http://schemas.microsoft.com/office/drawing/2014/main" id="{89B9CF82-6A09-4C71-AABA-39B5F089B2A2}"/>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62" name="Freeform 313">
                    <a:extLst>
                      <a:ext uri="{FF2B5EF4-FFF2-40B4-BE49-F238E27FC236}">
                        <a16:creationId xmlns:a16="http://schemas.microsoft.com/office/drawing/2014/main" id="{D8F543EC-2DE5-4828-84FE-52FD1EF7436E}"/>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858" name="Group 857">
                  <a:extLst>
                    <a:ext uri="{FF2B5EF4-FFF2-40B4-BE49-F238E27FC236}">
                      <a16:creationId xmlns:a16="http://schemas.microsoft.com/office/drawing/2014/main" id="{98BC7C85-5FDD-45E4-96E4-BB3CF389366D}"/>
                    </a:ext>
                  </a:extLst>
                </p:cNvPr>
                <p:cNvGrpSpPr/>
                <p:nvPr/>
              </p:nvGrpSpPr>
              <p:grpSpPr>
                <a:xfrm>
                  <a:off x="1973388" y="1517311"/>
                  <a:ext cx="853073" cy="853194"/>
                  <a:chOff x="9123452" y="2463609"/>
                  <a:chExt cx="652035" cy="652035"/>
                </a:xfrm>
              </p:grpSpPr>
              <p:sp>
                <p:nvSpPr>
                  <p:cNvPr id="859" name="Oval 858">
                    <a:extLst>
                      <a:ext uri="{FF2B5EF4-FFF2-40B4-BE49-F238E27FC236}">
                        <a16:creationId xmlns:a16="http://schemas.microsoft.com/office/drawing/2014/main" id="{650FA0B3-C1C7-486E-A8EF-588D7470CDBA}"/>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60" name="Freeform 311">
                    <a:extLst>
                      <a:ext uri="{FF2B5EF4-FFF2-40B4-BE49-F238E27FC236}">
                        <a16:creationId xmlns:a16="http://schemas.microsoft.com/office/drawing/2014/main" id="{56F1920F-F9DC-43D1-9EAD-6E352EF0B9C2}"/>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749" name="Group 748">
                <a:extLst>
                  <a:ext uri="{FF2B5EF4-FFF2-40B4-BE49-F238E27FC236}">
                    <a16:creationId xmlns:a16="http://schemas.microsoft.com/office/drawing/2014/main" id="{1BA19562-7C36-4935-B93E-9DD1832B8E32}"/>
                  </a:ext>
                </a:extLst>
              </p:cNvPr>
              <p:cNvGrpSpPr/>
              <p:nvPr/>
            </p:nvGrpSpPr>
            <p:grpSpPr>
              <a:xfrm>
                <a:off x="1226671" y="3909844"/>
                <a:ext cx="304563" cy="307388"/>
                <a:chOff x="4471988" y="3821062"/>
                <a:chExt cx="2035176" cy="2113013"/>
              </a:xfrm>
            </p:grpSpPr>
            <p:sp>
              <p:nvSpPr>
                <p:cNvPr id="793" name="Rectangle 6">
                  <a:extLst>
                    <a:ext uri="{FF2B5EF4-FFF2-40B4-BE49-F238E27FC236}">
                      <a16:creationId xmlns:a16="http://schemas.microsoft.com/office/drawing/2014/main" id="{347E38FF-D17B-4EC2-B58F-CED371AA997A}"/>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4" name="Freeform 7">
                  <a:extLst>
                    <a:ext uri="{FF2B5EF4-FFF2-40B4-BE49-F238E27FC236}">
                      <a16:creationId xmlns:a16="http://schemas.microsoft.com/office/drawing/2014/main" id="{ADD12DB7-D513-4CFF-9EE0-DE9B859AC324}"/>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5" name="Freeform 10">
                  <a:extLst>
                    <a:ext uri="{FF2B5EF4-FFF2-40B4-BE49-F238E27FC236}">
                      <a16:creationId xmlns:a16="http://schemas.microsoft.com/office/drawing/2014/main" id="{AB65D0CA-367A-4582-A0E9-8F6E82BBF956}"/>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6" name="Freeform 11">
                  <a:extLst>
                    <a:ext uri="{FF2B5EF4-FFF2-40B4-BE49-F238E27FC236}">
                      <a16:creationId xmlns:a16="http://schemas.microsoft.com/office/drawing/2014/main" id="{6EED805F-AA1C-455F-883D-A77BE4942EB4}"/>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7" name="Oval 12">
                  <a:extLst>
                    <a:ext uri="{FF2B5EF4-FFF2-40B4-BE49-F238E27FC236}">
                      <a16:creationId xmlns:a16="http://schemas.microsoft.com/office/drawing/2014/main" id="{4468564C-7C6E-45BF-93BC-A33F0DBCE434}"/>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8" name="Oval 13">
                  <a:extLst>
                    <a:ext uri="{FF2B5EF4-FFF2-40B4-BE49-F238E27FC236}">
                      <a16:creationId xmlns:a16="http://schemas.microsoft.com/office/drawing/2014/main" id="{32C470C7-BCAB-485D-92FC-D0AB5293CDC6}"/>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9" name="Freeform 14">
                  <a:extLst>
                    <a:ext uri="{FF2B5EF4-FFF2-40B4-BE49-F238E27FC236}">
                      <a16:creationId xmlns:a16="http://schemas.microsoft.com/office/drawing/2014/main" id="{49947354-35EC-4294-9448-B1072236F86F}"/>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0" name="Rectangle 15">
                  <a:extLst>
                    <a:ext uri="{FF2B5EF4-FFF2-40B4-BE49-F238E27FC236}">
                      <a16:creationId xmlns:a16="http://schemas.microsoft.com/office/drawing/2014/main" id="{CA95F512-DEFB-4081-AD74-C01A77822D81}"/>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1" name="Rectangle 16">
                  <a:extLst>
                    <a:ext uri="{FF2B5EF4-FFF2-40B4-BE49-F238E27FC236}">
                      <a16:creationId xmlns:a16="http://schemas.microsoft.com/office/drawing/2014/main" id="{10CB9CF2-346A-4B88-BFF3-5372A287DFEB}"/>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2" name="Freeform 17">
                  <a:extLst>
                    <a:ext uri="{FF2B5EF4-FFF2-40B4-BE49-F238E27FC236}">
                      <a16:creationId xmlns:a16="http://schemas.microsoft.com/office/drawing/2014/main" id="{EA1DF09E-EF54-48C1-AF79-FB4C2C896ACF}"/>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3" name="Freeform 18">
                  <a:extLst>
                    <a:ext uri="{FF2B5EF4-FFF2-40B4-BE49-F238E27FC236}">
                      <a16:creationId xmlns:a16="http://schemas.microsoft.com/office/drawing/2014/main" id="{29794B50-7C27-488B-A223-C3CAF8C1F335}"/>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4" name="Rectangle 19">
                  <a:extLst>
                    <a:ext uri="{FF2B5EF4-FFF2-40B4-BE49-F238E27FC236}">
                      <a16:creationId xmlns:a16="http://schemas.microsoft.com/office/drawing/2014/main" id="{3AFB109D-DBF0-425F-845B-6D4AF844A975}"/>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5" name="Freeform 20">
                  <a:extLst>
                    <a:ext uri="{FF2B5EF4-FFF2-40B4-BE49-F238E27FC236}">
                      <a16:creationId xmlns:a16="http://schemas.microsoft.com/office/drawing/2014/main" id="{D81614E9-79C0-43FE-A32A-8FAD98F3C6D0}"/>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6" name="Freeform 21">
                  <a:extLst>
                    <a:ext uri="{FF2B5EF4-FFF2-40B4-BE49-F238E27FC236}">
                      <a16:creationId xmlns:a16="http://schemas.microsoft.com/office/drawing/2014/main" id="{EA403E93-81BD-45A0-90B7-D1165E9291D9}"/>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7" name="Freeform 22">
                  <a:extLst>
                    <a:ext uri="{FF2B5EF4-FFF2-40B4-BE49-F238E27FC236}">
                      <a16:creationId xmlns:a16="http://schemas.microsoft.com/office/drawing/2014/main" id="{9E6AFB9D-7DC3-426B-A053-240677B302BE}"/>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8" name="Freeform 23">
                  <a:extLst>
                    <a:ext uri="{FF2B5EF4-FFF2-40B4-BE49-F238E27FC236}">
                      <a16:creationId xmlns:a16="http://schemas.microsoft.com/office/drawing/2014/main" id="{4177F057-5283-405B-9192-908B3C666D7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9" name="Freeform 24">
                  <a:extLst>
                    <a:ext uri="{FF2B5EF4-FFF2-40B4-BE49-F238E27FC236}">
                      <a16:creationId xmlns:a16="http://schemas.microsoft.com/office/drawing/2014/main" id="{1AB6F580-AE55-4210-8313-FB0083ADAA8A}"/>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0" name="Rectangle 25">
                  <a:extLst>
                    <a:ext uri="{FF2B5EF4-FFF2-40B4-BE49-F238E27FC236}">
                      <a16:creationId xmlns:a16="http://schemas.microsoft.com/office/drawing/2014/main" id="{FCE231D5-2E51-4039-8594-BEB3F97E0B4C}"/>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1" name="Freeform 26">
                  <a:extLst>
                    <a:ext uri="{FF2B5EF4-FFF2-40B4-BE49-F238E27FC236}">
                      <a16:creationId xmlns:a16="http://schemas.microsoft.com/office/drawing/2014/main" id="{E785E005-086D-409D-9A0A-67D7F7B9B88E}"/>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2" name="Freeform 27">
                  <a:extLst>
                    <a:ext uri="{FF2B5EF4-FFF2-40B4-BE49-F238E27FC236}">
                      <a16:creationId xmlns:a16="http://schemas.microsoft.com/office/drawing/2014/main" id="{2B7116AF-3A4C-4FCF-999E-F3361ADC664C}"/>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3" name="Freeform 28">
                  <a:extLst>
                    <a:ext uri="{FF2B5EF4-FFF2-40B4-BE49-F238E27FC236}">
                      <a16:creationId xmlns:a16="http://schemas.microsoft.com/office/drawing/2014/main" id="{FC8D61D5-5973-4A53-B890-4ECF5A41C2ED}"/>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5" name="Freeform 29">
                  <a:extLst>
                    <a:ext uri="{FF2B5EF4-FFF2-40B4-BE49-F238E27FC236}">
                      <a16:creationId xmlns:a16="http://schemas.microsoft.com/office/drawing/2014/main" id="{8CCACCFA-B078-4B65-BF93-CF48ED791625}"/>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6" name="Freeform 30">
                  <a:extLst>
                    <a:ext uri="{FF2B5EF4-FFF2-40B4-BE49-F238E27FC236}">
                      <a16:creationId xmlns:a16="http://schemas.microsoft.com/office/drawing/2014/main" id="{BB2BA69A-E5E9-413E-8C80-944FDC927566}"/>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7" name="Freeform 31">
                  <a:extLst>
                    <a:ext uri="{FF2B5EF4-FFF2-40B4-BE49-F238E27FC236}">
                      <a16:creationId xmlns:a16="http://schemas.microsoft.com/office/drawing/2014/main" id="{96873F86-8953-4FAF-B68F-8C3EDB7D2E76}"/>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8" name="Freeform 32">
                  <a:extLst>
                    <a:ext uri="{FF2B5EF4-FFF2-40B4-BE49-F238E27FC236}">
                      <a16:creationId xmlns:a16="http://schemas.microsoft.com/office/drawing/2014/main" id="{B76D185D-B4D4-4EC1-9ABA-A8EF63CF8FC6}"/>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9" name="Freeform 102">
                  <a:extLst>
                    <a:ext uri="{FF2B5EF4-FFF2-40B4-BE49-F238E27FC236}">
                      <a16:creationId xmlns:a16="http://schemas.microsoft.com/office/drawing/2014/main" id="{DCD4D80D-CCBB-4FC3-8FE7-D4AB812C110F}"/>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0" name="Freeform 103">
                  <a:extLst>
                    <a:ext uri="{FF2B5EF4-FFF2-40B4-BE49-F238E27FC236}">
                      <a16:creationId xmlns:a16="http://schemas.microsoft.com/office/drawing/2014/main" id="{D3A3D85C-F0CF-47B3-85E2-547EFF9C2D18}"/>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1" name="Freeform 104">
                  <a:extLst>
                    <a:ext uri="{FF2B5EF4-FFF2-40B4-BE49-F238E27FC236}">
                      <a16:creationId xmlns:a16="http://schemas.microsoft.com/office/drawing/2014/main" id="{D3A1CF8D-7F67-47A6-910F-DD2C3E33C7E8}"/>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2" name="Freeform 105">
                  <a:extLst>
                    <a:ext uri="{FF2B5EF4-FFF2-40B4-BE49-F238E27FC236}">
                      <a16:creationId xmlns:a16="http://schemas.microsoft.com/office/drawing/2014/main" id="{E71C4B75-4411-4329-88B8-DDE9A87ED4F7}"/>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3" name="Freeform 106">
                  <a:extLst>
                    <a:ext uri="{FF2B5EF4-FFF2-40B4-BE49-F238E27FC236}">
                      <a16:creationId xmlns:a16="http://schemas.microsoft.com/office/drawing/2014/main" id="{CB89FADF-4495-4201-A7EF-3AFEC8DDDAEE}"/>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4" name="Freeform 107">
                  <a:extLst>
                    <a:ext uri="{FF2B5EF4-FFF2-40B4-BE49-F238E27FC236}">
                      <a16:creationId xmlns:a16="http://schemas.microsoft.com/office/drawing/2014/main" id="{3C7602B7-E545-4EE0-A02C-D6E720649EDE}"/>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5" name="Freeform 108">
                  <a:extLst>
                    <a:ext uri="{FF2B5EF4-FFF2-40B4-BE49-F238E27FC236}">
                      <a16:creationId xmlns:a16="http://schemas.microsoft.com/office/drawing/2014/main" id="{3ED11EEC-3E10-427F-B10C-64789C4A19C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6" name="Rectangle 825">
                  <a:extLst>
                    <a:ext uri="{FF2B5EF4-FFF2-40B4-BE49-F238E27FC236}">
                      <a16:creationId xmlns:a16="http://schemas.microsoft.com/office/drawing/2014/main" id="{62F2C22D-5671-44BF-AFD8-BAE5E2A844FE}"/>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7" name="Freeform 110">
                  <a:extLst>
                    <a:ext uri="{FF2B5EF4-FFF2-40B4-BE49-F238E27FC236}">
                      <a16:creationId xmlns:a16="http://schemas.microsoft.com/office/drawing/2014/main" id="{A1FA9063-5E3A-4306-9B1A-BA28F0F95782}"/>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8" name="Freeform 111">
                  <a:extLst>
                    <a:ext uri="{FF2B5EF4-FFF2-40B4-BE49-F238E27FC236}">
                      <a16:creationId xmlns:a16="http://schemas.microsoft.com/office/drawing/2014/main" id="{28140048-23BB-45FB-B7D4-6C88CC74F000}"/>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9" name="Freeform 112">
                  <a:extLst>
                    <a:ext uri="{FF2B5EF4-FFF2-40B4-BE49-F238E27FC236}">
                      <a16:creationId xmlns:a16="http://schemas.microsoft.com/office/drawing/2014/main" id="{7C4C851D-9196-4AD1-ABB3-7B54D06B910F}"/>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0" name="Freeform 113">
                  <a:extLst>
                    <a:ext uri="{FF2B5EF4-FFF2-40B4-BE49-F238E27FC236}">
                      <a16:creationId xmlns:a16="http://schemas.microsoft.com/office/drawing/2014/main" id="{A80D7DF1-4874-4791-9AD4-84FBEABD3B1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1" name="Rectangle 830">
                  <a:extLst>
                    <a:ext uri="{FF2B5EF4-FFF2-40B4-BE49-F238E27FC236}">
                      <a16:creationId xmlns:a16="http://schemas.microsoft.com/office/drawing/2014/main" id="{C576E9F4-0D4F-44BD-A9D2-4168CFC305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2" name="Freeform 115">
                  <a:extLst>
                    <a:ext uri="{FF2B5EF4-FFF2-40B4-BE49-F238E27FC236}">
                      <a16:creationId xmlns:a16="http://schemas.microsoft.com/office/drawing/2014/main" id="{8B7CCD61-B515-4100-92B3-6951DB5FD529}"/>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3" name="Freeform 116">
                  <a:extLst>
                    <a:ext uri="{FF2B5EF4-FFF2-40B4-BE49-F238E27FC236}">
                      <a16:creationId xmlns:a16="http://schemas.microsoft.com/office/drawing/2014/main" id="{1C43D485-C18C-46A7-9ECE-169543C423E3}"/>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4" name="Freeform 117">
                  <a:extLst>
                    <a:ext uri="{FF2B5EF4-FFF2-40B4-BE49-F238E27FC236}">
                      <a16:creationId xmlns:a16="http://schemas.microsoft.com/office/drawing/2014/main" id="{6AD64BF8-0989-47A7-82E3-92F97D321A02}"/>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5" name="Freeform 118">
                  <a:extLst>
                    <a:ext uri="{FF2B5EF4-FFF2-40B4-BE49-F238E27FC236}">
                      <a16:creationId xmlns:a16="http://schemas.microsoft.com/office/drawing/2014/main" id="{1D54E32A-E44B-405E-939C-967687194BBA}"/>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6" name="Oval 835">
                  <a:extLst>
                    <a:ext uri="{FF2B5EF4-FFF2-40B4-BE49-F238E27FC236}">
                      <a16:creationId xmlns:a16="http://schemas.microsoft.com/office/drawing/2014/main" id="{0A5B86A8-5FE5-4E12-BD5E-E141DB249F8F}"/>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7" name="Freeform 120">
                  <a:extLst>
                    <a:ext uri="{FF2B5EF4-FFF2-40B4-BE49-F238E27FC236}">
                      <a16:creationId xmlns:a16="http://schemas.microsoft.com/office/drawing/2014/main" id="{ADE992B1-FE2E-407C-ABFC-C2CB7EE50C01}"/>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8" name="Freeform 121">
                  <a:extLst>
                    <a:ext uri="{FF2B5EF4-FFF2-40B4-BE49-F238E27FC236}">
                      <a16:creationId xmlns:a16="http://schemas.microsoft.com/office/drawing/2014/main" id="{30BE8551-E445-44A7-B061-5EAC7BAD1DA1}"/>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9" name="Freeform 122">
                  <a:extLst>
                    <a:ext uri="{FF2B5EF4-FFF2-40B4-BE49-F238E27FC236}">
                      <a16:creationId xmlns:a16="http://schemas.microsoft.com/office/drawing/2014/main" id="{CBF68028-78DE-4F32-9508-22294F22CCC7}"/>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0" name="Freeform 123">
                  <a:extLst>
                    <a:ext uri="{FF2B5EF4-FFF2-40B4-BE49-F238E27FC236}">
                      <a16:creationId xmlns:a16="http://schemas.microsoft.com/office/drawing/2014/main" id="{CFCC3A41-B0B3-4347-A601-0C2F94AAE12C}"/>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1" name="Freeform 124">
                  <a:extLst>
                    <a:ext uri="{FF2B5EF4-FFF2-40B4-BE49-F238E27FC236}">
                      <a16:creationId xmlns:a16="http://schemas.microsoft.com/office/drawing/2014/main" id="{5DF5D3DC-C7FC-4A99-8AFE-C8E0DC426216}"/>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2" name="Freeform 63">
                  <a:extLst>
                    <a:ext uri="{FF2B5EF4-FFF2-40B4-BE49-F238E27FC236}">
                      <a16:creationId xmlns:a16="http://schemas.microsoft.com/office/drawing/2014/main" id="{F5AA36D7-9E92-4078-A927-097EFAD06F5D}"/>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3" name="Freeform 65">
                  <a:extLst>
                    <a:ext uri="{FF2B5EF4-FFF2-40B4-BE49-F238E27FC236}">
                      <a16:creationId xmlns:a16="http://schemas.microsoft.com/office/drawing/2014/main" id="{400EBE86-F9BA-4276-B8A8-DA827D883881}"/>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4" name="Freeform 66">
                  <a:extLst>
                    <a:ext uri="{FF2B5EF4-FFF2-40B4-BE49-F238E27FC236}">
                      <a16:creationId xmlns:a16="http://schemas.microsoft.com/office/drawing/2014/main" id="{2CE3BC3A-F919-4269-89CE-0929FD3C85D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5" name="Freeform 67">
                  <a:extLst>
                    <a:ext uri="{FF2B5EF4-FFF2-40B4-BE49-F238E27FC236}">
                      <a16:creationId xmlns:a16="http://schemas.microsoft.com/office/drawing/2014/main" id="{F234D72A-7EEE-42E2-96D5-55872BA1E2C2}"/>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6" name="Oval 68">
                  <a:extLst>
                    <a:ext uri="{FF2B5EF4-FFF2-40B4-BE49-F238E27FC236}">
                      <a16:creationId xmlns:a16="http://schemas.microsoft.com/office/drawing/2014/main" id="{62ECDFE4-5216-4149-B53A-DE57A3EBAF51}"/>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7" name="Oval 69">
                  <a:extLst>
                    <a:ext uri="{FF2B5EF4-FFF2-40B4-BE49-F238E27FC236}">
                      <a16:creationId xmlns:a16="http://schemas.microsoft.com/office/drawing/2014/main" id="{E03F6A23-693E-47E0-80C5-F6E0BBD75F70}"/>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750" name="Group 749">
                <a:extLst>
                  <a:ext uri="{FF2B5EF4-FFF2-40B4-BE49-F238E27FC236}">
                    <a16:creationId xmlns:a16="http://schemas.microsoft.com/office/drawing/2014/main" id="{BB221E3E-B294-468D-8D5C-C738C30D7225}"/>
                  </a:ext>
                </a:extLst>
              </p:cNvPr>
              <p:cNvGrpSpPr/>
              <p:nvPr/>
            </p:nvGrpSpPr>
            <p:grpSpPr>
              <a:xfrm>
                <a:off x="1206839" y="3914891"/>
                <a:ext cx="469400" cy="342521"/>
                <a:chOff x="1557350" y="4606481"/>
                <a:chExt cx="3001095" cy="2252753"/>
              </a:xfrm>
            </p:grpSpPr>
            <p:sp>
              <p:nvSpPr>
                <p:cNvPr id="752" name="Rectangle 751">
                  <a:extLst>
                    <a:ext uri="{FF2B5EF4-FFF2-40B4-BE49-F238E27FC236}">
                      <a16:creationId xmlns:a16="http://schemas.microsoft.com/office/drawing/2014/main" id="{6B301516-A22B-4B0E-901F-A4B90AC71CE1}"/>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3" name="Rectangle 752">
                  <a:extLst>
                    <a:ext uri="{FF2B5EF4-FFF2-40B4-BE49-F238E27FC236}">
                      <a16:creationId xmlns:a16="http://schemas.microsoft.com/office/drawing/2014/main" id="{C924D7E5-5106-4D8C-BCA4-ED05932B1BE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4" name="Rectangle 753">
                  <a:extLst>
                    <a:ext uri="{FF2B5EF4-FFF2-40B4-BE49-F238E27FC236}">
                      <a16:creationId xmlns:a16="http://schemas.microsoft.com/office/drawing/2014/main" id="{D4C767F0-3950-451C-90CC-58DB89CED898}"/>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5" name="Rectangle 754">
                  <a:extLst>
                    <a:ext uri="{FF2B5EF4-FFF2-40B4-BE49-F238E27FC236}">
                      <a16:creationId xmlns:a16="http://schemas.microsoft.com/office/drawing/2014/main" id="{6FAAD580-06C7-4A26-B6B3-3379FB47C0A3}"/>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6" name="Freeform 12">
                  <a:extLst>
                    <a:ext uri="{FF2B5EF4-FFF2-40B4-BE49-F238E27FC236}">
                      <a16:creationId xmlns:a16="http://schemas.microsoft.com/office/drawing/2014/main" id="{77797971-EF41-48B7-AD78-2244F81836B6}"/>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7" name="Rectangle 756">
                  <a:extLst>
                    <a:ext uri="{FF2B5EF4-FFF2-40B4-BE49-F238E27FC236}">
                      <a16:creationId xmlns:a16="http://schemas.microsoft.com/office/drawing/2014/main" id="{F463E278-5F4B-47C3-AD5D-D234A6EDC72F}"/>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8" name="Freeform 14">
                  <a:extLst>
                    <a:ext uri="{FF2B5EF4-FFF2-40B4-BE49-F238E27FC236}">
                      <a16:creationId xmlns:a16="http://schemas.microsoft.com/office/drawing/2014/main" id="{C1A399C5-962A-477F-9241-7CD832EC1B27}"/>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9" name="Rectangle 758">
                  <a:extLst>
                    <a:ext uri="{FF2B5EF4-FFF2-40B4-BE49-F238E27FC236}">
                      <a16:creationId xmlns:a16="http://schemas.microsoft.com/office/drawing/2014/main" id="{9D0F8911-5A7A-420C-88B1-FAB2A7D80C25}"/>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0" name="Freeform 16">
                  <a:extLst>
                    <a:ext uri="{FF2B5EF4-FFF2-40B4-BE49-F238E27FC236}">
                      <a16:creationId xmlns:a16="http://schemas.microsoft.com/office/drawing/2014/main" id="{14B701F3-E0E4-4649-A924-36B2D4836BD6}"/>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1" name="Freeform 17">
                  <a:extLst>
                    <a:ext uri="{FF2B5EF4-FFF2-40B4-BE49-F238E27FC236}">
                      <a16:creationId xmlns:a16="http://schemas.microsoft.com/office/drawing/2014/main" id="{F806AA98-CD01-4A89-B797-E09C5C4DFF9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2" name="Oval 761">
                  <a:extLst>
                    <a:ext uri="{FF2B5EF4-FFF2-40B4-BE49-F238E27FC236}">
                      <a16:creationId xmlns:a16="http://schemas.microsoft.com/office/drawing/2014/main" id="{8F6EC3C2-827B-4233-BC50-B3C82734B36C}"/>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3" name="Rectangle 762">
                  <a:extLst>
                    <a:ext uri="{FF2B5EF4-FFF2-40B4-BE49-F238E27FC236}">
                      <a16:creationId xmlns:a16="http://schemas.microsoft.com/office/drawing/2014/main" id="{9BED4E6F-713A-47DE-9084-9D3895D37671}"/>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4" name="Freeform 20">
                  <a:extLst>
                    <a:ext uri="{FF2B5EF4-FFF2-40B4-BE49-F238E27FC236}">
                      <a16:creationId xmlns:a16="http://schemas.microsoft.com/office/drawing/2014/main" id="{2D532B29-B7C4-4C43-B645-03EE62960853}"/>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5" name="Freeform 21">
                  <a:extLst>
                    <a:ext uri="{FF2B5EF4-FFF2-40B4-BE49-F238E27FC236}">
                      <a16:creationId xmlns:a16="http://schemas.microsoft.com/office/drawing/2014/main" id="{1677F23B-E890-4671-B1D4-51C3628E40BA}"/>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766" name="Group 765">
                  <a:extLst>
                    <a:ext uri="{FF2B5EF4-FFF2-40B4-BE49-F238E27FC236}">
                      <a16:creationId xmlns:a16="http://schemas.microsoft.com/office/drawing/2014/main" id="{674CD0CB-14FD-47DA-BF2B-3502221195C7}"/>
                    </a:ext>
                  </a:extLst>
                </p:cNvPr>
                <p:cNvGrpSpPr/>
                <p:nvPr/>
              </p:nvGrpSpPr>
              <p:grpSpPr>
                <a:xfrm>
                  <a:off x="3298176" y="4606481"/>
                  <a:ext cx="1260269" cy="2252753"/>
                  <a:chOff x="10352191" y="4087395"/>
                  <a:chExt cx="1336826" cy="2389605"/>
                </a:xfrm>
              </p:grpSpPr>
              <p:sp>
                <p:nvSpPr>
                  <p:cNvPr id="767" name="Rectangle 766">
                    <a:extLst>
                      <a:ext uri="{FF2B5EF4-FFF2-40B4-BE49-F238E27FC236}">
                        <a16:creationId xmlns:a16="http://schemas.microsoft.com/office/drawing/2014/main" id="{CB05F9E5-6359-4CFA-9FA9-6AF2B9279E7C}"/>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8" name="Round Same Side Corner Rectangle 52">
                    <a:extLst>
                      <a:ext uri="{FF2B5EF4-FFF2-40B4-BE49-F238E27FC236}">
                        <a16:creationId xmlns:a16="http://schemas.microsoft.com/office/drawing/2014/main" id="{CECD3A34-E0BB-4C34-A060-F54C961D77A9}"/>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769" name="Rectangle 768">
                    <a:extLst>
                      <a:ext uri="{FF2B5EF4-FFF2-40B4-BE49-F238E27FC236}">
                        <a16:creationId xmlns:a16="http://schemas.microsoft.com/office/drawing/2014/main" id="{78F73094-9C5E-4900-BAEA-0F1D286E6EC5}"/>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0" name="Freeform 54">
                    <a:extLst>
                      <a:ext uri="{FF2B5EF4-FFF2-40B4-BE49-F238E27FC236}">
                        <a16:creationId xmlns:a16="http://schemas.microsoft.com/office/drawing/2014/main" id="{8061F6E2-A506-4FEA-827E-7C4AD5807490}"/>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1" name="Freeform 55">
                    <a:extLst>
                      <a:ext uri="{FF2B5EF4-FFF2-40B4-BE49-F238E27FC236}">
                        <a16:creationId xmlns:a16="http://schemas.microsoft.com/office/drawing/2014/main" id="{056E21A1-BFAB-4F6E-945C-54351B4F19D8}"/>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2" name="Freeform 56">
                    <a:extLst>
                      <a:ext uri="{FF2B5EF4-FFF2-40B4-BE49-F238E27FC236}">
                        <a16:creationId xmlns:a16="http://schemas.microsoft.com/office/drawing/2014/main" id="{1A3816E5-9CC0-448D-91B4-7F8473445EFC}"/>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3" name="Freeform 57">
                    <a:extLst>
                      <a:ext uri="{FF2B5EF4-FFF2-40B4-BE49-F238E27FC236}">
                        <a16:creationId xmlns:a16="http://schemas.microsoft.com/office/drawing/2014/main" id="{2C18C500-5BCE-4D7F-B876-0DE86EFFAA8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4" name="Freeform 58">
                    <a:extLst>
                      <a:ext uri="{FF2B5EF4-FFF2-40B4-BE49-F238E27FC236}">
                        <a16:creationId xmlns:a16="http://schemas.microsoft.com/office/drawing/2014/main" id="{2F725314-4DAC-4F34-A9F3-8142C4277007}"/>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5" name="Freeform 59">
                    <a:extLst>
                      <a:ext uri="{FF2B5EF4-FFF2-40B4-BE49-F238E27FC236}">
                        <a16:creationId xmlns:a16="http://schemas.microsoft.com/office/drawing/2014/main" id="{485F56D9-5657-488E-86CB-1C63FD203A8A}"/>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6" name="Freeform 60">
                    <a:extLst>
                      <a:ext uri="{FF2B5EF4-FFF2-40B4-BE49-F238E27FC236}">
                        <a16:creationId xmlns:a16="http://schemas.microsoft.com/office/drawing/2014/main" id="{EC64DBF3-75DE-4526-B546-8CB1DD7A41C0}"/>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7" name="Freeform 61">
                    <a:extLst>
                      <a:ext uri="{FF2B5EF4-FFF2-40B4-BE49-F238E27FC236}">
                        <a16:creationId xmlns:a16="http://schemas.microsoft.com/office/drawing/2014/main" id="{11F0E2E5-585C-44EF-8C36-B7E5108B2750}"/>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8" name="Oval 777">
                    <a:extLst>
                      <a:ext uri="{FF2B5EF4-FFF2-40B4-BE49-F238E27FC236}">
                        <a16:creationId xmlns:a16="http://schemas.microsoft.com/office/drawing/2014/main" id="{97E47B5B-2154-4F1B-AB7C-02CA0EE7725B}"/>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9" name="Freeform 63">
                    <a:extLst>
                      <a:ext uri="{FF2B5EF4-FFF2-40B4-BE49-F238E27FC236}">
                        <a16:creationId xmlns:a16="http://schemas.microsoft.com/office/drawing/2014/main" id="{FE761CEE-DAD4-4345-8DC5-CF0FA9790034}"/>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0" name="Rectangle 779">
                    <a:extLst>
                      <a:ext uri="{FF2B5EF4-FFF2-40B4-BE49-F238E27FC236}">
                        <a16:creationId xmlns:a16="http://schemas.microsoft.com/office/drawing/2014/main" id="{3A49BA81-FFF0-4C6A-95C2-5EF930473B8D}"/>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1" name="Freeform 65">
                    <a:extLst>
                      <a:ext uri="{FF2B5EF4-FFF2-40B4-BE49-F238E27FC236}">
                        <a16:creationId xmlns:a16="http://schemas.microsoft.com/office/drawing/2014/main" id="{CBF8ECD7-54A8-4B97-B525-CA0C0EFB217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2" name="Freeform 66">
                    <a:extLst>
                      <a:ext uri="{FF2B5EF4-FFF2-40B4-BE49-F238E27FC236}">
                        <a16:creationId xmlns:a16="http://schemas.microsoft.com/office/drawing/2014/main" id="{76E68EF0-D9F0-4211-A17F-B3722F85EA14}"/>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3" name="Rectangle 782">
                    <a:extLst>
                      <a:ext uri="{FF2B5EF4-FFF2-40B4-BE49-F238E27FC236}">
                        <a16:creationId xmlns:a16="http://schemas.microsoft.com/office/drawing/2014/main" id="{BA205A02-8C61-4429-BB2C-8BE15199F54F}"/>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4" name="Freeform 68">
                    <a:extLst>
                      <a:ext uri="{FF2B5EF4-FFF2-40B4-BE49-F238E27FC236}">
                        <a16:creationId xmlns:a16="http://schemas.microsoft.com/office/drawing/2014/main" id="{E9A87C7B-79D3-4291-92AD-0CDF56827287}"/>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5" name="Freeform 69">
                    <a:extLst>
                      <a:ext uri="{FF2B5EF4-FFF2-40B4-BE49-F238E27FC236}">
                        <a16:creationId xmlns:a16="http://schemas.microsoft.com/office/drawing/2014/main" id="{CFAA092E-7948-4BAD-9BCC-9B5FD59A8CA1}"/>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6" name="Freeform 70">
                    <a:extLst>
                      <a:ext uri="{FF2B5EF4-FFF2-40B4-BE49-F238E27FC236}">
                        <a16:creationId xmlns:a16="http://schemas.microsoft.com/office/drawing/2014/main" id="{2431CEE6-C062-4657-B043-6D27BC0B17D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7" name="Freeform 71">
                    <a:extLst>
                      <a:ext uri="{FF2B5EF4-FFF2-40B4-BE49-F238E27FC236}">
                        <a16:creationId xmlns:a16="http://schemas.microsoft.com/office/drawing/2014/main" id="{B5EC571E-6272-4BE8-87FB-F376C6411DA9}"/>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8" name="Freeform 72">
                    <a:extLst>
                      <a:ext uri="{FF2B5EF4-FFF2-40B4-BE49-F238E27FC236}">
                        <a16:creationId xmlns:a16="http://schemas.microsoft.com/office/drawing/2014/main" id="{A02AF2F5-08A8-41E7-8B7F-6BDEADE67009}"/>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9" name="Freeform 73">
                    <a:extLst>
                      <a:ext uri="{FF2B5EF4-FFF2-40B4-BE49-F238E27FC236}">
                        <a16:creationId xmlns:a16="http://schemas.microsoft.com/office/drawing/2014/main" id="{89E99553-2406-4B8B-8776-4E3AB7FA1177}"/>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90" name="Freeform 74">
                    <a:extLst>
                      <a:ext uri="{FF2B5EF4-FFF2-40B4-BE49-F238E27FC236}">
                        <a16:creationId xmlns:a16="http://schemas.microsoft.com/office/drawing/2014/main" id="{94634A15-2F25-4D20-827E-BE7DD090CC6A}"/>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91" name="Rectangle 790">
                    <a:extLst>
                      <a:ext uri="{FF2B5EF4-FFF2-40B4-BE49-F238E27FC236}">
                        <a16:creationId xmlns:a16="http://schemas.microsoft.com/office/drawing/2014/main" id="{80C7DF9B-D39C-4CF9-8F32-EA8E163A52A9}"/>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92" name="Rectangle 791">
                    <a:extLst>
                      <a:ext uri="{FF2B5EF4-FFF2-40B4-BE49-F238E27FC236}">
                        <a16:creationId xmlns:a16="http://schemas.microsoft.com/office/drawing/2014/main" id="{C8D526B7-09EE-486D-A21D-0D672B592865}"/>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751" name="Rectangle 750">
                <a:extLst>
                  <a:ext uri="{FF2B5EF4-FFF2-40B4-BE49-F238E27FC236}">
                    <a16:creationId xmlns:a16="http://schemas.microsoft.com/office/drawing/2014/main" id="{5F56BF14-F5A9-4DBC-AD39-5E07C11579F4}"/>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11" name="TextBox 410">
            <a:extLst>
              <a:ext uri="{FF2B5EF4-FFF2-40B4-BE49-F238E27FC236}">
                <a16:creationId xmlns:a16="http://schemas.microsoft.com/office/drawing/2014/main" id="{6E626709-2B3C-4D5A-AB0C-0A2DE988FB3C}"/>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412" name="TextBox 411">
            <a:extLst>
              <a:ext uri="{FF2B5EF4-FFF2-40B4-BE49-F238E27FC236}">
                <a16:creationId xmlns:a16="http://schemas.microsoft.com/office/drawing/2014/main" id="{4C343AE5-0DCC-4A79-8170-7B637B8A299B}"/>
              </a:ext>
            </a:extLst>
          </p:cNvPr>
          <p:cNvSpPr txBox="1"/>
          <p:nvPr/>
        </p:nvSpPr>
        <p:spPr>
          <a:xfrm>
            <a:off x="651493" y="2413187"/>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466" name="TextBox 465">
            <a:extLst>
              <a:ext uri="{FF2B5EF4-FFF2-40B4-BE49-F238E27FC236}">
                <a16:creationId xmlns:a16="http://schemas.microsoft.com/office/drawing/2014/main" id="{87655645-17A4-4A11-8488-1CCA70893712}"/>
              </a:ext>
            </a:extLst>
          </p:cNvPr>
          <p:cNvSpPr txBox="1"/>
          <p:nvPr/>
        </p:nvSpPr>
        <p:spPr>
          <a:xfrm>
            <a:off x="8302299" y="2429311"/>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400" fontAlgn="auto">
              <a:spcBef>
                <a:spcPts val="1200"/>
              </a:spcBef>
              <a:spcAft>
                <a:spcPts val="600"/>
              </a:spcAft>
            </a:pPr>
            <a:r>
              <a:rPr lang="en-US" altLang="zh-CN" sz="1600" b="1" i="1" dirty="0">
                <a:solidFill>
                  <a:schemeClr val="tx2"/>
                </a:solidFill>
              </a:rPr>
              <a:t>Reduced exposure to attacks </a:t>
            </a:r>
          </a:p>
          <a:p>
            <a:pPr algn="ctr" defTabSz="914400" fontAlgn="auto">
              <a:spcBef>
                <a:spcPts val="1200"/>
              </a:spcBef>
              <a:spcAft>
                <a:spcPts val="600"/>
              </a:spcAft>
            </a:pPr>
            <a:r>
              <a:rPr lang="en-US" altLang="zh-CN" sz="1600" b="1" i="1" dirty="0">
                <a:solidFill>
                  <a:schemeClr val="tx2"/>
                </a:solidFill>
              </a:rPr>
              <a:t>Less time monitoring </a:t>
            </a:r>
            <a:br>
              <a:rPr lang="en-US" altLang="zh-CN" sz="1600" b="1" i="1" dirty="0">
                <a:solidFill>
                  <a:schemeClr val="tx2"/>
                </a:solidFill>
              </a:rPr>
            </a:br>
            <a:r>
              <a:rPr lang="en-US" altLang="zh-CN" sz="1600" b="1" i="1" dirty="0">
                <a:solidFill>
                  <a:schemeClr val="tx2"/>
                </a:solidFill>
              </a:rPr>
              <a:t>inbound ports</a:t>
            </a:r>
          </a:p>
          <a:p>
            <a:pPr algn="ctr" defTabSz="914400" fontAlgn="auto">
              <a:spcBef>
                <a:spcPts val="1200"/>
              </a:spcBef>
              <a:spcAft>
                <a:spcPts val="600"/>
              </a:spcAft>
            </a:pPr>
            <a:r>
              <a:rPr lang="en-US" altLang="zh-CN" sz="1600" b="1" i="1" dirty="0">
                <a:solidFill>
                  <a:schemeClr val="tx2"/>
                </a:solidFill>
              </a:rPr>
              <a:t>Focus alerts on access and identity-based attacks</a:t>
            </a:r>
          </a:p>
        </p:txBody>
      </p:sp>
      <p:sp>
        <p:nvSpPr>
          <p:cNvPr id="565" name="TextBox 564">
            <a:extLst>
              <a:ext uri="{FF2B5EF4-FFF2-40B4-BE49-F238E27FC236}">
                <a16:creationId xmlns:a16="http://schemas.microsoft.com/office/drawing/2014/main" id="{CC084AA7-DA4B-47B5-B665-6697145064CC}"/>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400" b="1" dirty="0">
                <a:solidFill>
                  <a:schemeClr val="bg1"/>
                </a:solidFill>
              </a:rPr>
              <a:t>Security Benefit</a:t>
            </a:r>
          </a:p>
        </p:txBody>
      </p:sp>
      <p:sp>
        <p:nvSpPr>
          <p:cNvPr id="566" name="TextBox 565">
            <a:extLst>
              <a:ext uri="{FF2B5EF4-FFF2-40B4-BE49-F238E27FC236}">
                <a16:creationId xmlns:a16="http://schemas.microsoft.com/office/drawing/2014/main" id="{6E922303-7FE3-4264-B59F-4E405BA1C167}"/>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1400" b="1" dirty="0">
                <a:solidFill>
                  <a:schemeClr val="bg1"/>
                </a:solidFill>
              </a:rPr>
              <a:t>On-prem Virtualization</a:t>
            </a:r>
          </a:p>
        </p:txBody>
      </p:sp>
      <p:sp>
        <p:nvSpPr>
          <p:cNvPr id="567" name="TextBox 566">
            <a:extLst>
              <a:ext uri="{FF2B5EF4-FFF2-40B4-BE49-F238E27FC236}">
                <a16:creationId xmlns:a16="http://schemas.microsoft.com/office/drawing/2014/main" id="{6F177558-2C03-4878-89D1-AA87D987AA84}"/>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400" b="1" dirty="0">
                <a:solidFill>
                  <a:schemeClr val="bg1"/>
                </a:solidFill>
              </a:rPr>
              <a:t>WVD</a:t>
            </a:r>
          </a:p>
        </p:txBody>
      </p:sp>
      <p:grpSp>
        <p:nvGrpSpPr>
          <p:cNvPr id="568" name="Group 567">
            <a:extLst>
              <a:ext uri="{FF2B5EF4-FFF2-40B4-BE49-F238E27FC236}">
                <a16:creationId xmlns:a16="http://schemas.microsoft.com/office/drawing/2014/main" id="{D0F33526-EB49-423E-9685-AC993226E411}"/>
              </a:ext>
            </a:extLst>
          </p:cNvPr>
          <p:cNvGrpSpPr/>
          <p:nvPr/>
        </p:nvGrpSpPr>
        <p:grpSpPr>
          <a:xfrm>
            <a:off x="4048759" y="2418080"/>
            <a:ext cx="401322" cy="3769360"/>
            <a:chOff x="4048759" y="2638004"/>
            <a:chExt cx="401322" cy="3769360"/>
          </a:xfrm>
        </p:grpSpPr>
        <p:cxnSp>
          <p:nvCxnSpPr>
            <p:cNvPr id="569" name="Straight Connector 568">
              <a:extLst>
                <a:ext uri="{FF2B5EF4-FFF2-40B4-BE49-F238E27FC236}">
                  <a16:creationId xmlns:a16="http://schemas.microsoft.com/office/drawing/2014/main" id="{E2584B31-0D8A-47C3-818C-CA726F06E35D}"/>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70" name="Group 569">
              <a:extLst>
                <a:ext uri="{FF2B5EF4-FFF2-40B4-BE49-F238E27FC236}">
                  <a16:creationId xmlns:a16="http://schemas.microsoft.com/office/drawing/2014/main" id="{3B1144F8-7C50-42E5-836C-5C6C5EF51E06}"/>
                </a:ext>
              </a:extLst>
            </p:cNvPr>
            <p:cNvGrpSpPr/>
            <p:nvPr/>
          </p:nvGrpSpPr>
          <p:grpSpPr>
            <a:xfrm>
              <a:off x="4048759" y="4322023"/>
              <a:ext cx="401322" cy="401322"/>
              <a:chOff x="4048759" y="4299946"/>
              <a:chExt cx="401322" cy="401322"/>
            </a:xfrm>
          </p:grpSpPr>
          <p:sp>
            <p:nvSpPr>
              <p:cNvPr id="571" name="Oval 570">
                <a:extLst>
                  <a:ext uri="{FF2B5EF4-FFF2-40B4-BE49-F238E27FC236}">
                    <a16:creationId xmlns:a16="http://schemas.microsoft.com/office/drawing/2014/main" id="{79F79223-226E-4A3E-B514-7816AC8D01B2}"/>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2" name="Isosceles Triangle 571">
                <a:extLst>
                  <a:ext uri="{FF2B5EF4-FFF2-40B4-BE49-F238E27FC236}">
                    <a16:creationId xmlns:a16="http://schemas.microsoft.com/office/drawing/2014/main" id="{E3930D57-74D8-45D6-8014-A72946D3A2B6}"/>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021" name="TextBox 1020">
            <a:extLst>
              <a:ext uri="{FF2B5EF4-FFF2-40B4-BE49-F238E27FC236}">
                <a16:creationId xmlns:a16="http://schemas.microsoft.com/office/drawing/2014/main" id="{FFBD447C-E7AE-4777-A92A-B1522F781660}"/>
              </a:ext>
            </a:extLst>
          </p:cNvPr>
          <p:cNvSpPr txBox="1"/>
          <p:nvPr/>
        </p:nvSpPr>
        <p:spPr>
          <a:xfrm>
            <a:off x="1689999" y="3281659"/>
            <a:ext cx="1170674" cy="369332"/>
          </a:xfrm>
          <a:prstGeom prst="rect">
            <a:avLst/>
          </a:prstGeom>
          <a:noFill/>
        </p:spPr>
        <p:txBody>
          <a:bodyPr wrap="square" lIns="0" tIns="0" rIns="0" bIns="0" rtlCol="0">
            <a:spAutoFit/>
          </a:bodyPr>
          <a:lstStyle/>
          <a:p>
            <a:r>
              <a:rPr lang="en-US" sz="1200" dirty="0"/>
              <a:t>Remote Desktop Services</a:t>
            </a:r>
          </a:p>
        </p:txBody>
      </p:sp>
      <p:sp>
        <p:nvSpPr>
          <p:cNvPr id="477" name="TextBox 476">
            <a:extLst>
              <a:ext uri="{FF2B5EF4-FFF2-40B4-BE49-F238E27FC236}">
                <a16:creationId xmlns:a16="http://schemas.microsoft.com/office/drawing/2014/main" id="{267ECEF0-3343-4940-9FA3-B03100EBE2BE}"/>
              </a:ext>
            </a:extLst>
          </p:cNvPr>
          <p:cNvSpPr txBox="1"/>
          <p:nvPr/>
        </p:nvSpPr>
        <p:spPr>
          <a:xfrm>
            <a:off x="1135008" y="4290202"/>
            <a:ext cx="1247720" cy="738664"/>
          </a:xfrm>
          <a:prstGeom prst="rect">
            <a:avLst/>
          </a:prstGeom>
          <a:solidFill>
            <a:srgbClr val="F2F2F2"/>
          </a:solidFill>
        </p:spPr>
        <p:txBody>
          <a:bodyPr wrap="square" lIns="0" tIns="0" rIns="0" bIns="0" rtlCol="0" anchor="ctr">
            <a:spAutoFit/>
          </a:bodyPr>
          <a:lstStyle/>
          <a:p>
            <a:r>
              <a:rPr lang="en-US" sz="1200" dirty="0"/>
              <a:t>RDS Gateway forward connects to remote VM resources</a:t>
            </a:r>
          </a:p>
        </p:txBody>
      </p:sp>
      <p:sp>
        <p:nvSpPr>
          <p:cNvPr id="644" name="Arc 643">
            <a:extLst>
              <a:ext uri="{FF2B5EF4-FFF2-40B4-BE49-F238E27FC236}">
                <a16:creationId xmlns:a16="http://schemas.microsoft.com/office/drawing/2014/main" id="{91E8457C-0F51-405D-B754-58C08B25B89F}"/>
              </a:ext>
            </a:extLst>
          </p:cNvPr>
          <p:cNvSpPr/>
          <p:nvPr/>
        </p:nvSpPr>
        <p:spPr bwMode="auto">
          <a:xfrm flipH="1" flipV="1">
            <a:off x="924084" y="3584413"/>
            <a:ext cx="2076540" cy="2076540"/>
          </a:xfrm>
          <a:prstGeom prst="arc">
            <a:avLst>
              <a:gd name="adj1" fmla="val 18039028"/>
              <a:gd name="adj2" fmla="val 2679699"/>
            </a:avLst>
          </a:prstGeom>
          <a:noFill/>
          <a:ln w="22225" cap="rnd">
            <a:solidFill>
              <a:schemeClr val="tx2"/>
            </a:solidFill>
            <a:prstDash val="solid"/>
            <a:headEnd type="triangl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1184" name="Freeform 3527">
            <a:extLst>
              <a:ext uri="{FF2B5EF4-FFF2-40B4-BE49-F238E27FC236}">
                <a16:creationId xmlns:a16="http://schemas.microsoft.com/office/drawing/2014/main" id="{94FF83A6-F4C9-4A5C-80F0-D4C3C5D5C4DA}"/>
              </a:ext>
            </a:extLst>
          </p:cNvPr>
          <p:cNvSpPr>
            <a:spLocks/>
          </p:cNvSpPr>
          <p:nvPr/>
        </p:nvSpPr>
        <p:spPr bwMode="auto">
          <a:xfrm>
            <a:off x="6191581" y="3052624"/>
            <a:ext cx="1214054" cy="704219"/>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1440" tIns="45720" rIns="91440" bIns="45720" numCol="1" anchor="b" anchorCtr="0" compatLnSpc="1">
            <a:prstTxWarp prst="textNoShape">
              <a:avLst/>
            </a:prstTxWarp>
          </a:bodyPr>
          <a:lstStyle/>
          <a:p>
            <a:pPr algn="ctr"/>
            <a:r>
              <a:rPr lang="en-US" sz="1400" b="1" dirty="0">
                <a:solidFill>
                  <a:schemeClr val="bg1"/>
                </a:solidFill>
                <a:latin typeface="+mj-lt"/>
              </a:rPr>
              <a:t>WVD Services</a:t>
            </a:r>
          </a:p>
        </p:txBody>
      </p:sp>
      <p:sp>
        <p:nvSpPr>
          <p:cNvPr id="1250" name="Arc 1249">
            <a:extLst>
              <a:ext uri="{FF2B5EF4-FFF2-40B4-BE49-F238E27FC236}">
                <a16:creationId xmlns:a16="http://schemas.microsoft.com/office/drawing/2014/main" id="{F8F78AA1-BE51-420B-B882-EE0B9C7060C7}"/>
              </a:ext>
            </a:extLst>
          </p:cNvPr>
          <p:cNvSpPr/>
          <p:nvPr/>
        </p:nvSpPr>
        <p:spPr bwMode="auto">
          <a:xfrm>
            <a:off x="5377354" y="3565908"/>
            <a:ext cx="2076540" cy="2076540"/>
          </a:xfrm>
          <a:prstGeom prst="arc">
            <a:avLst>
              <a:gd name="adj1" fmla="val 18535653"/>
              <a:gd name="adj2" fmla="val 2400580"/>
            </a:avLst>
          </a:prstGeom>
          <a:noFill/>
          <a:ln w="22225" cap="rnd">
            <a:solidFill>
              <a:schemeClr val="tx2"/>
            </a:solidFill>
            <a:prstDash val="solid"/>
            <a:headEnd type="triangl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1251" name="TextBox 1250">
            <a:extLst>
              <a:ext uri="{FF2B5EF4-FFF2-40B4-BE49-F238E27FC236}">
                <a16:creationId xmlns:a16="http://schemas.microsoft.com/office/drawing/2014/main" id="{110704D4-352C-4F07-8EB2-A92EA18B4691}"/>
              </a:ext>
            </a:extLst>
          </p:cNvPr>
          <p:cNvSpPr txBox="1"/>
          <p:nvPr/>
        </p:nvSpPr>
        <p:spPr>
          <a:xfrm>
            <a:off x="5936029" y="4197869"/>
            <a:ext cx="1360688" cy="738664"/>
          </a:xfrm>
          <a:prstGeom prst="rect">
            <a:avLst/>
          </a:prstGeom>
          <a:noFill/>
        </p:spPr>
        <p:txBody>
          <a:bodyPr wrap="square" lIns="0" tIns="0" rIns="0" bIns="0" rtlCol="0" anchor="ctr">
            <a:spAutoFit/>
          </a:bodyPr>
          <a:lstStyle/>
          <a:p>
            <a:pPr algn="r"/>
            <a:r>
              <a:rPr lang="en-US" sz="1200" dirty="0"/>
              <a:t>Remote VM resources reverse connect to WVD gateway services</a:t>
            </a:r>
          </a:p>
        </p:txBody>
      </p:sp>
      <p:grpSp>
        <p:nvGrpSpPr>
          <p:cNvPr id="328" name="Group 327">
            <a:extLst>
              <a:ext uri="{FF2B5EF4-FFF2-40B4-BE49-F238E27FC236}">
                <a16:creationId xmlns:a16="http://schemas.microsoft.com/office/drawing/2014/main" id="{1332D2E8-55A4-4FA1-865C-C229F6B205FD}"/>
              </a:ext>
            </a:extLst>
          </p:cNvPr>
          <p:cNvGrpSpPr/>
          <p:nvPr/>
        </p:nvGrpSpPr>
        <p:grpSpPr>
          <a:xfrm>
            <a:off x="936832" y="2965783"/>
            <a:ext cx="683349" cy="896159"/>
            <a:chOff x="6635306" y="3569013"/>
            <a:chExt cx="959737" cy="1918227"/>
          </a:xfrm>
        </p:grpSpPr>
        <p:sp>
          <p:nvSpPr>
            <p:cNvPr id="329" name="Rectangle 328">
              <a:extLst>
                <a:ext uri="{FF2B5EF4-FFF2-40B4-BE49-F238E27FC236}">
                  <a16:creationId xmlns:a16="http://schemas.microsoft.com/office/drawing/2014/main" id="{116ED3DF-E8C3-4BF0-AE77-30913DDDEC3A}"/>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0" name="Group 329">
              <a:extLst>
                <a:ext uri="{FF2B5EF4-FFF2-40B4-BE49-F238E27FC236}">
                  <a16:creationId xmlns:a16="http://schemas.microsoft.com/office/drawing/2014/main" id="{42C4C4BB-BE42-4D62-857D-EB67EB6A81EE}"/>
                </a:ext>
              </a:extLst>
            </p:cNvPr>
            <p:cNvGrpSpPr/>
            <p:nvPr/>
          </p:nvGrpSpPr>
          <p:grpSpPr>
            <a:xfrm>
              <a:off x="6680394" y="3606930"/>
              <a:ext cx="869560" cy="1842392"/>
              <a:chOff x="5094287" y="4557713"/>
              <a:chExt cx="460376" cy="971549"/>
            </a:xfrm>
          </p:grpSpPr>
          <p:sp>
            <p:nvSpPr>
              <p:cNvPr id="331" name="AutoShape 38">
                <a:extLst>
                  <a:ext uri="{FF2B5EF4-FFF2-40B4-BE49-F238E27FC236}">
                    <a16:creationId xmlns:a16="http://schemas.microsoft.com/office/drawing/2014/main" id="{18856A02-C976-4EFF-8B52-DAC8185C98E4}"/>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2" name="Freeform 40">
                <a:extLst>
                  <a:ext uri="{FF2B5EF4-FFF2-40B4-BE49-F238E27FC236}">
                    <a16:creationId xmlns:a16="http://schemas.microsoft.com/office/drawing/2014/main" id="{05BA197F-F2EF-42A8-8A11-A4FB9AAEC855}"/>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3" name="Rectangle 41">
                <a:extLst>
                  <a:ext uri="{FF2B5EF4-FFF2-40B4-BE49-F238E27FC236}">
                    <a16:creationId xmlns:a16="http://schemas.microsoft.com/office/drawing/2014/main" id="{6E5FE78C-D833-4A9D-B203-1D215B61C175}"/>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4" name="Rectangle 42">
                <a:extLst>
                  <a:ext uri="{FF2B5EF4-FFF2-40B4-BE49-F238E27FC236}">
                    <a16:creationId xmlns:a16="http://schemas.microsoft.com/office/drawing/2014/main" id="{776CCD81-4154-43E0-B049-C48C5A5EE9A5}"/>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5" name="Freeform 43">
                <a:extLst>
                  <a:ext uri="{FF2B5EF4-FFF2-40B4-BE49-F238E27FC236}">
                    <a16:creationId xmlns:a16="http://schemas.microsoft.com/office/drawing/2014/main" id="{B644D345-9C62-4F1D-A6CB-8B882E87F213}"/>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6" name="Rectangle 44">
                <a:extLst>
                  <a:ext uri="{FF2B5EF4-FFF2-40B4-BE49-F238E27FC236}">
                    <a16:creationId xmlns:a16="http://schemas.microsoft.com/office/drawing/2014/main" id="{AFE87329-4BB0-4435-B5DF-6219F7E4F9FF}"/>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7" name="Rectangle 45">
                <a:extLst>
                  <a:ext uri="{FF2B5EF4-FFF2-40B4-BE49-F238E27FC236}">
                    <a16:creationId xmlns:a16="http://schemas.microsoft.com/office/drawing/2014/main" id="{132BC9FC-9E6C-4EC5-977A-0917568EF147}"/>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8" name="Freeform 46">
                <a:extLst>
                  <a:ext uri="{FF2B5EF4-FFF2-40B4-BE49-F238E27FC236}">
                    <a16:creationId xmlns:a16="http://schemas.microsoft.com/office/drawing/2014/main" id="{AFC7C81D-C1F2-43C7-AC83-C64586C8489A}"/>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9" name="Rectangle 47">
                <a:extLst>
                  <a:ext uri="{FF2B5EF4-FFF2-40B4-BE49-F238E27FC236}">
                    <a16:creationId xmlns:a16="http://schemas.microsoft.com/office/drawing/2014/main" id="{CE3C8DF6-FB39-4969-9CAC-2AE25B034283}"/>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0" name="Rectangle 48">
                <a:extLst>
                  <a:ext uri="{FF2B5EF4-FFF2-40B4-BE49-F238E27FC236}">
                    <a16:creationId xmlns:a16="http://schemas.microsoft.com/office/drawing/2014/main" id="{3AD51E49-08B2-41A9-BD9F-29E8C6613B24}"/>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1" name="Freeform 49">
                <a:extLst>
                  <a:ext uri="{FF2B5EF4-FFF2-40B4-BE49-F238E27FC236}">
                    <a16:creationId xmlns:a16="http://schemas.microsoft.com/office/drawing/2014/main" id="{FE7D6B67-F1FF-4F7A-A1BA-AA467CCF9823}"/>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2" name="Rectangle 50">
                <a:extLst>
                  <a:ext uri="{FF2B5EF4-FFF2-40B4-BE49-F238E27FC236}">
                    <a16:creationId xmlns:a16="http://schemas.microsoft.com/office/drawing/2014/main" id="{A0F06849-0CB3-426A-80DB-EEA5F40B0B84}"/>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3" name="Rectangle 51">
                <a:extLst>
                  <a:ext uri="{FF2B5EF4-FFF2-40B4-BE49-F238E27FC236}">
                    <a16:creationId xmlns:a16="http://schemas.microsoft.com/office/drawing/2014/main" id="{2A1E47C6-523B-4C6B-908E-C58B8F17E2EC}"/>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4" name="Freeform 52">
                <a:extLst>
                  <a:ext uri="{FF2B5EF4-FFF2-40B4-BE49-F238E27FC236}">
                    <a16:creationId xmlns:a16="http://schemas.microsoft.com/office/drawing/2014/main" id="{5EF44105-14E6-49EE-9C6D-56F7F7ECFB1D}"/>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5" name="Rectangle 53">
                <a:extLst>
                  <a:ext uri="{FF2B5EF4-FFF2-40B4-BE49-F238E27FC236}">
                    <a16:creationId xmlns:a16="http://schemas.microsoft.com/office/drawing/2014/main" id="{017FB2FB-3C4F-4F22-9C50-DC30B0D25FB8}"/>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6" name="Rectangle 54">
                <a:extLst>
                  <a:ext uri="{FF2B5EF4-FFF2-40B4-BE49-F238E27FC236}">
                    <a16:creationId xmlns:a16="http://schemas.microsoft.com/office/drawing/2014/main" id="{D6022707-10F2-47C5-9209-064299BF1DA4}"/>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7" name="Freeform 55">
                <a:extLst>
                  <a:ext uri="{FF2B5EF4-FFF2-40B4-BE49-F238E27FC236}">
                    <a16:creationId xmlns:a16="http://schemas.microsoft.com/office/drawing/2014/main" id="{29DC09A5-9037-4AEF-BD9F-30A9C057E5F3}"/>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8" name="Rectangle 56">
                <a:extLst>
                  <a:ext uri="{FF2B5EF4-FFF2-40B4-BE49-F238E27FC236}">
                    <a16:creationId xmlns:a16="http://schemas.microsoft.com/office/drawing/2014/main" id="{FD33C657-39E0-449A-AFEA-1098F7E193B1}"/>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9" name="Rectangle 57">
                <a:extLst>
                  <a:ext uri="{FF2B5EF4-FFF2-40B4-BE49-F238E27FC236}">
                    <a16:creationId xmlns:a16="http://schemas.microsoft.com/office/drawing/2014/main" id="{D49E5670-5109-456F-94CC-68716D0C8E0B}"/>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0" name="Freeform 58">
                <a:extLst>
                  <a:ext uri="{FF2B5EF4-FFF2-40B4-BE49-F238E27FC236}">
                    <a16:creationId xmlns:a16="http://schemas.microsoft.com/office/drawing/2014/main" id="{66A4AE7A-2EBB-4AA6-BCA0-0A405B4F4FE7}"/>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1" name="Rectangle 59">
                <a:extLst>
                  <a:ext uri="{FF2B5EF4-FFF2-40B4-BE49-F238E27FC236}">
                    <a16:creationId xmlns:a16="http://schemas.microsoft.com/office/drawing/2014/main" id="{098EE1C1-DC6B-43B9-AE90-AD79FC549273}"/>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2" name="Rectangle 60">
                <a:extLst>
                  <a:ext uri="{FF2B5EF4-FFF2-40B4-BE49-F238E27FC236}">
                    <a16:creationId xmlns:a16="http://schemas.microsoft.com/office/drawing/2014/main" id="{81219477-DD59-490B-B2F2-9DA76D1F7A46}"/>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3" name="Freeform 61">
                <a:extLst>
                  <a:ext uri="{FF2B5EF4-FFF2-40B4-BE49-F238E27FC236}">
                    <a16:creationId xmlns:a16="http://schemas.microsoft.com/office/drawing/2014/main" id="{0908D193-1E56-4568-97CC-BD32017769DA}"/>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4" name="Rectangle 62">
                <a:extLst>
                  <a:ext uri="{FF2B5EF4-FFF2-40B4-BE49-F238E27FC236}">
                    <a16:creationId xmlns:a16="http://schemas.microsoft.com/office/drawing/2014/main" id="{7A86B565-82CD-4B56-8FBC-D47E63E24761}"/>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5" name="Rectangle 63">
                <a:extLst>
                  <a:ext uri="{FF2B5EF4-FFF2-40B4-BE49-F238E27FC236}">
                    <a16:creationId xmlns:a16="http://schemas.microsoft.com/office/drawing/2014/main" id="{61762CF7-239C-41A3-96E2-C13A7082D992}"/>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6" name="Freeform 64">
                <a:extLst>
                  <a:ext uri="{FF2B5EF4-FFF2-40B4-BE49-F238E27FC236}">
                    <a16:creationId xmlns:a16="http://schemas.microsoft.com/office/drawing/2014/main" id="{19141CF9-B5E4-475A-A08B-1D5755182B31}"/>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7" name="Rectangle 65">
                <a:extLst>
                  <a:ext uri="{FF2B5EF4-FFF2-40B4-BE49-F238E27FC236}">
                    <a16:creationId xmlns:a16="http://schemas.microsoft.com/office/drawing/2014/main" id="{FCABF70E-019D-41FD-8D21-1E49E9C4A953}"/>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8" name="Rectangle 66">
                <a:extLst>
                  <a:ext uri="{FF2B5EF4-FFF2-40B4-BE49-F238E27FC236}">
                    <a16:creationId xmlns:a16="http://schemas.microsoft.com/office/drawing/2014/main" id="{C87C6D57-8CD9-4AEE-925E-770DC9F308E8}"/>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9" name="Freeform 67">
                <a:extLst>
                  <a:ext uri="{FF2B5EF4-FFF2-40B4-BE49-F238E27FC236}">
                    <a16:creationId xmlns:a16="http://schemas.microsoft.com/office/drawing/2014/main" id="{C22726C2-E92A-4580-909A-7092D3407036}"/>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0" name="Freeform 68">
                <a:extLst>
                  <a:ext uri="{FF2B5EF4-FFF2-40B4-BE49-F238E27FC236}">
                    <a16:creationId xmlns:a16="http://schemas.microsoft.com/office/drawing/2014/main" id="{6C6EBE63-6887-4F97-BCD2-B658F5E727BC}"/>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1" name="Freeform 69">
                <a:extLst>
                  <a:ext uri="{FF2B5EF4-FFF2-40B4-BE49-F238E27FC236}">
                    <a16:creationId xmlns:a16="http://schemas.microsoft.com/office/drawing/2014/main" id="{49611E07-FEBB-45BB-94FB-331364B68459}"/>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2" name="Freeform 70">
                <a:extLst>
                  <a:ext uri="{FF2B5EF4-FFF2-40B4-BE49-F238E27FC236}">
                    <a16:creationId xmlns:a16="http://schemas.microsoft.com/office/drawing/2014/main" id="{46E12D33-1947-4E3A-BD20-AC0F3A0285B0}"/>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3" name="Freeform 71">
                <a:extLst>
                  <a:ext uri="{FF2B5EF4-FFF2-40B4-BE49-F238E27FC236}">
                    <a16:creationId xmlns:a16="http://schemas.microsoft.com/office/drawing/2014/main" id="{1E3E424F-7174-4AC0-933E-1074FE1B9225}"/>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4" name="Freeform 72">
                <a:extLst>
                  <a:ext uri="{FF2B5EF4-FFF2-40B4-BE49-F238E27FC236}">
                    <a16:creationId xmlns:a16="http://schemas.microsoft.com/office/drawing/2014/main" id="{7AD69169-CABB-43E1-BB05-5E8CE754724F}"/>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5" name="Freeform 73">
                <a:extLst>
                  <a:ext uri="{FF2B5EF4-FFF2-40B4-BE49-F238E27FC236}">
                    <a16:creationId xmlns:a16="http://schemas.microsoft.com/office/drawing/2014/main" id="{66C17D98-D563-4582-A234-D96EBA357B1F}"/>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6" name="Freeform 74">
                <a:extLst>
                  <a:ext uri="{FF2B5EF4-FFF2-40B4-BE49-F238E27FC236}">
                    <a16:creationId xmlns:a16="http://schemas.microsoft.com/office/drawing/2014/main" id="{91DCDD21-E8BB-4AD0-85AF-98A19A823C85}"/>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7" name="Freeform 75">
                <a:extLst>
                  <a:ext uri="{FF2B5EF4-FFF2-40B4-BE49-F238E27FC236}">
                    <a16:creationId xmlns:a16="http://schemas.microsoft.com/office/drawing/2014/main" id="{4FAB2A15-083B-45EC-AB75-2A7CCE66AF81}"/>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8" name="Freeform 76">
                <a:extLst>
                  <a:ext uri="{FF2B5EF4-FFF2-40B4-BE49-F238E27FC236}">
                    <a16:creationId xmlns:a16="http://schemas.microsoft.com/office/drawing/2014/main" id="{F2EDC6CE-429F-4F3C-8B44-B8D770E7F901}"/>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9" name="Rectangle 77">
                <a:extLst>
                  <a:ext uri="{FF2B5EF4-FFF2-40B4-BE49-F238E27FC236}">
                    <a16:creationId xmlns:a16="http://schemas.microsoft.com/office/drawing/2014/main" id="{CB9A8A5C-C955-4269-A4CD-72B9C1A36CF6}"/>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0" name="Freeform 78">
                <a:extLst>
                  <a:ext uri="{FF2B5EF4-FFF2-40B4-BE49-F238E27FC236}">
                    <a16:creationId xmlns:a16="http://schemas.microsoft.com/office/drawing/2014/main" id="{1539D505-D724-4949-8F75-D7BCA26C384A}"/>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1" name="Rectangle 79">
                <a:extLst>
                  <a:ext uri="{FF2B5EF4-FFF2-40B4-BE49-F238E27FC236}">
                    <a16:creationId xmlns:a16="http://schemas.microsoft.com/office/drawing/2014/main" id="{02B618CB-92B4-4703-A81C-5C3B6D26EADA}"/>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2" name="Freeform 80">
                <a:extLst>
                  <a:ext uri="{FF2B5EF4-FFF2-40B4-BE49-F238E27FC236}">
                    <a16:creationId xmlns:a16="http://schemas.microsoft.com/office/drawing/2014/main" id="{9102AA91-70F0-41A4-94EE-B5D4377D083C}"/>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3" name="Rectangle 81">
                <a:extLst>
                  <a:ext uri="{FF2B5EF4-FFF2-40B4-BE49-F238E27FC236}">
                    <a16:creationId xmlns:a16="http://schemas.microsoft.com/office/drawing/2014/main" id="{BF0767DA-BCB9-407C-A648-1A9A5A237D2A}"/>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4" name="Freeform 82">
                <a:extLst>
                  <a:ext uri="{FF2B5EF4-FFF2-40B4-BE49-F238E27FC236}">
                    <a16:creationId xmlns:a16="http://schemas.microsoft.com/office/drawing/2014/main" id="{74E43CD6-A2A4-4AE5-900F-F7B2CC5C7B52}"/>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 name="Rectangle 83">
                <a:extLst>
                  <a:ext uri="{FF2B5EF4-FFF2-40B4-BE49-F238E27FC236}">
                    <a16:creationId xmlns:a16="http://schemas.microsoft.com/office/drawing/2014/main" id="{CE3309AA-7E10-4B21-959B-06E455ED0585}"/>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6" name="Freeform 84">
                <a:extLst>
                  <a:ext uri="{FF2B5EF4-FFF2-40B4-BE49-F238E27FC236}">
                    <a16:creationId xmlns:a16="http://schemas.microsoft.com/office/drawing/2014/main" id="{5B0A49AD-257E-4095-9EC7-CBBF859A8ED5}"/>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6" name="Group 25">
            <a:extLst>
              <a:ext uri="{FF2B5EF4-FFF2-40B4-BE49-F238E27FC236}">
                <a16:creationId xmlns:a16="http://schemas.microsoft.com/office/drawing/2014/main" id="{986A8E33-FDF2-4D9E-8FD3-11B761C20C0D}"/>
              </a:ext>
            </a:extLst>
          </p:cNvPr>
          <p:cNvGrpSpPr/>
          <p:nvPr/>
        </p:nvGrpSpPr>
        <p:grpSpPr>
          <a:xfrm>
            <a:off x="1262005" y="5320950"/>
            <a:ext cx="1181704" cy="620652"/>
            <a:chOff x="2635335" y="5320950"/>
            <a:chExt cx="1181704" cy="620652"/>
          </a:xfrm>
        </p:grpSpPr>
        <p:sp>
          <p:nvSpPr>
            <p:cNvPr id="469" name="TextBox 468">
              <a:extLst>
                <a:ext uri="{FF2B5EF4-FFF2-40B4-BE49-F238E27FC236}">
                  <a16:creationId xmlns:a16="http://schemas.microsoft.com/office/drawing/2014/main" id="{B6267FAE-31D5-4941-9B52-BC62EE970A70}"/>
                </a:ext>
              </a:extLst>
            </p:cNvPr>
            <p:cNvSpPr txBox="1"/>
            <p:nvPr/>
          </p:nvSpPr>
          <p:spPr>
            <a:xfrm>
              <a:off x="2635335" y="5709282"/>
              <a:ext cx="1181704" cy="232320"/>
            </a:xfrm>
            <a:prstGeom prst="rect">
              <a:avLst/>
            </a:prstGeom>
            <a:solidFill>
              <a:srgbClr val="F2F2F2"/>
            </a:solidFill>
          </p:spPr>
          <p:txBody>
            <a:bodyPr wrap="square" lIns="0" tIns="0" rIns="0" bIns="0" rtlCol="0" anchor="ctr">
              <a:noAutofit/>
            </a:bodyPr>
            <a:lstStyle/>
            <a:p>
              <a:pPr algn="ctr"/>
              <a:r>
                <a:rPr lang="en-US" sz="1100" i="1" dirty="0">
                  <a:solidFill>
                    <a:schemeClr val="accent1"/>
                  </a:solidFill>
                </a:rPr>
                <a:t>Remote resource</a:t>
              </a:r>
            </a:p>
          </p:txBody>
        </p:sp>
        <p:sp>
          <p:nvSpPr>
            <p:cNvPr id="415" name="desktop" title="a desktop PC">
              <a:extLst>
                <a:ext uri="{FF2B5EF4-FFF2-40B4-BE49-F238E27FC236}">
                  <a16:creationId xmlns:a16="http://schemas.microsoft.com/office/drawing/2014/main" id="{F7E9EA2B-3499-4EFE-9776-CCD04FC734F0}"/>
                </a:ext>
              </a:extLst>
            </p:cNvPr>
            <p:cNvSpPr>
              <a:spLocks noChangeAspect="1" noEditPoints="1"/>
            </p:cNvSpPr>
            <p:nvPr/>
          </p:nvSpPr>
          <p:spPr bwMode="auto">
            <a:xfrm>
              <a:off x="2874982" y="5340276"/>
              <a:ext cx="293328" cy="28853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381" name="Freeform: Shape 380">
              <a:extLst>
                <a:ext uri="{FF2B5EF4-FFF2-40B4-BE49-F238E27FC236}">
                  <a16:creationId xmlns:a16="http://schemas.microsoft.com/office/drawing/2014/main" id="{405ABA53-83E9-45A5-97F2-8059623A09AC}"/>
                </a:ext>
              </a:extLst>
            </p:cNvPr>
            <p:cNvSpPr/>
            <p:nvPr/>
          </p:nvSpPr>
          <p:spPr>
            <a:xfrm>
              <a:off x="3252468" y="5320950"/>
              <a:ext cx="443366" cy="340004"/>
            </a:xfrm>
            <a:custGeom>
              <a:avLst/>
              <a:gdLst>
                <a:gd name="connsiteX0" fmla="*/ 2500122 w 5556123"/>
                <a:gd name="connsiteY0" fmla="*/ 3776091 h 4260818"/>
                <a:gd name="connsiteX1" fmla="*/ 2850166 w 5556123"/>
                <a:gd name="connsiteY1" fmla="*/ 3776091 h 4260818"/>
                <a:gd name="connsiteX2" fmla="*/ 2850166 w 5556123"/>
                <a:gd name="connsiteY2" fmla="*/ 3909441 h 4260818"/>
                <a:gd name="connsiteX3" fmla="*/ 2500122 w 5556123"/>
                <a:gd name="connsiteY3" fmla="*/ 3909441 h 4260818"/>
                <a:gd name="connsiteX4" fmla="*/ 2247615 w 5556123"/>
                <a:gd name="connsiteY4" fmla="*/ 2725674 h 4260818"/>
                <a:gd name="connsiteX5" fmla="*/ 2240471 w 5556123"/>
                <a:gd name="connsiteY5" fmla="*/ 2757678 h 4260818"/>
                <a:gd name="connsiteX6" fmla="*/ 2170462 w 5556123"/>
                <a:gd name="connsiteY6" fmla="*/ 2960846 h 4260818"/>
                <a:gd name="connsiteX7" fmla="*/ 2326482 w 5556123"/>
                <a:gd name="connsiteY7" fmla="*/ 2960846 h 4260818"/>
                <a:gd name="connsiteX8" fmla="*/ 2255806 w 5556123"/>
                <a:gd name="connsiteY8" fmla="*/ 2757678 h 4260818"/>
                <a:gd name="connsiteX9" fmla="*/ 2249043 w 5556123"/>
                <a:gd name="connsiteY9" fmla="*/ 2725674 h 4260818"/>
                <a:gd name="connsiteX10" fmla="*/ 3066859 w 5556123"/>
                <a:gd name="connsiteY10" fmla="*/ 2719673 h 4260818"/>
                <a:gd name="connsiteX11" fmla="*/ 3066859 w 5556123"/>
                <a:gd name="connsiteY11" fmla="*/ 2905792 h 4260818"/>
                <a:gd name="connsiteX12" fmla="*/ 3121533 w 5556123"/>
                <a:gd name="connsiteY12" fmla="*/ 2905792 h 4260818"/>
                <a:gd name="connsiteX13" fmla="*/ 3204305 w 5556123"/>
                <a:gd name="connsiteY13" fmla="*/ 2880550 h 4260818"/>
                <a:gd name="connsiteX14" fmla="*/ 3232785 w 5556123"/>
                <a:gd name="connsiteY14" fmla="*/ 2809589 h 4260818"/>
                <a:gd name="connsiteX15" fmla="*/ 3128295 w 5556123"/>
                <a:gd name="connsiteY15" fmla="*/ 2719673 h 4260818"/>
                <a:gd name="connsiteX16" fmla="*/ 2641568 w 5556123"/>
                <a:gd name="connsiteY16" fmla="*/ 2719673 h 4260818"/>
                <a:gd name="connsiteX17" fmla="*/ 2641568 w 5556123"/>
                <a:gd name="connsiteY17" fmla="*/ 2905792 h 4260818"/>
                <a:gd name="connsiteX18" fmla="*/ 2696242 w 5556123"/>
                <a:gd name="connsiteY18" fmla="*/ 2905792 h 4260818"/>
                <a:gd name="connsiteX19" fmla="*/ 2779014 w 5556123"/>
                <a:gd name="connsiteY19" fmla="*/ 2880550 h 4260818"/>
                <a:gd name="connsiteX20" fmla="*/ 2807494 w 5556123"/>
                <a:gd name="connsiteY20" fmla="*/ 2809589 h 4260818"/>
                <a:gd name="connsiteX21" fmla="*/ 2703004 w 5556123"/>
                <a:gd name="connsiteY21" fmla="*/ 2719673 h 4260818"/>
                <a:gd name="connsiteX22" fmla="*/ 2982563 w 5556123"/>
                <a:gd name="connsiteY22" fmla="*/ 2649950 h 4260818"/>
                <a:gd name="connsiteX23" fmla="*/ 3137059 w 5556123"/>
                <a:gd name="connsiteY23" fmla="*/ 2649950 h 4260818"/>
                <a:gd name="connsiteX24" fmla="*/ 3273171 w 5556123"/>
                <a:gd name="connsiteY24" fmla="*/ 2690812 h 4260818"/>
                <a:gd name="connsiteX25" fmla="*/ 3321462 w 5556123"/>
                <a:gd name="connsiteY25" fmla="*/ 2805874 h 4260818"/>
                <a:gd name="connsiteX26" fmla="*/ 3270980 w 5556123"/>
                <a:gd name="connsiteY26" fmla="*/ 2927413 h 4260818"/>
                <a:gd name="connsiteX27" fmla="*/ 3134582 w 5556123"/>
                <a:gd name="connsiteY27" fmla="*/ 2974657 h 4260818"/>
                <a:gd name="connsiteX28" fmla="*/ 3066764 w 5556123"/>
                <a:gd name="connsiteY28" fmla="*/ 2974657 h 4260818"/>
                <a:gd name="connsiteX29" fmla="*/ 3066764 w 5556123"/>
                <a:gd name="connsiteY29" fmla="*/ 3159442 h 4260818"/>
                <a:gd name="connsiteX30" fmla="*/ 2982563 w 5556123"/>
                <a:gd name="connsiteY30" fmla="*/ 3159442 h 4260818"/>
                <a:gd name="connsiteX31" fmla="*/ 2557367 w 5556123"/>
                <a:gd name="connsiteY31" fmla="*/ 2649950 h 4260818"/>
                <a:gd name="connsiteX32" fmla="*/ 2711863 w 5556123"/>
                <a:gd name="connsiteY32" fmla="*/ 2649950 h 4260818"/>
                <a:gd name="connsiteX33" fmla="*/ 2847975 w 5556123"/>
                <a:gd name="connsiteY33" fmla="*/ 2690812 h 4260818"/>
                <a:gd name="connsiteX34" fmla="*/ 2896267 w 5556123"/>
                <a:gd name="connsiteY34" fmla="*/ 2805874 h 4260818"/>
                <a:gd name="connsiteX35" fmla="*/ 2845784 w 5556123"/>
                <a:gd name="connsiteY35" fmla="*/ 2927413 h 4260818"/>
                <a:gd name="connsiteX36" fmla="*/ 2709386 w 5556123"/>
                <a:gd name="connsiteY36" fmla="*/ 2974657 h 4260818"/>
                <a:gd name="connsiteX37" fmla="*/ 2641568 w 5556123"/>
                <a:gd name="connsiteY37" fmla="*/ 2974657 h 4260818"/>
                <a:gd name="connsiteX38" fmla="*/ 2641568 w 5556123"/>
                <a:gd name="connsiteY38" fmla="*/ 3159442 h 4260818"/>
                <a:gd name="connsiteX39" fmla="*/ 2557367 w 5556123"/>
                <a:gd name="connsiteY39" fmla="*/ 3159442 h 4260818"/>
                <a:gd name="connsiteX40" fmla="*/ 2202752 w 5556123"/>
                <a:gd name="connsiteY40" fmla="*/ 2649950 h 4260818"/>
                <a:gd name="connsiteX41" fmla="*/ 2298002 w 5556123"/>
                <a:gd name="connsiteY41" fmla="*/ 2649950 h 4260818"/>
                <a:gd name="connsiteX42" fmla="*/ 2487359 w 5556123"/>
                <a:gd name="connsiteY42" fmla="*/ 3159442 h 4260818"/>
                <a:gd name="connsiteX43" fmla="*/ 2394681 w 5556123"/>
                <a:gd name="connsiteY43" fmla="*/ 3159442 h 4260818"/>
                <a:gd name="connsiteX44" fmla="*/ 2348865 w 5556123"/>
                <a:gd name="connsiteY44" fmla="*/ 3029807 h 4260818"/>
                <a:gd name="connsiteX45" fmla="*/ 2148459 w 5556123"/>
                <a:gd name="connsiteY45" fmla="*/ 3029807 h 4260818"/>
                <a:gd name="connsiteX46" fmla="*/ 2104358 w 5556123"/>
                <a:gd name="connsiteY46" fmla="*/ 3159442 h 4260818"/>
                <a:gd name="connsiteX47" fmla="*/ 2011966 w 5556123"/>
                <a:gd name="connsiteY47" fmla="*/ 3159442 h 4260818"/>
                <a:gd name="connsiteX48" fmla="*/ 1975009 w 5556123"/>
                <a:gd name="connsiteY48" fmla="*/ 1625251 h 4260818"/>
                <a:gd name="connsiteX49" fmla="*/ 1954149 w 5556123"/>
                <a:gd name="connsiteY49" fmla="*/ 1646397 h 4260818"/>
                <a:gd name="connsiteX50" fmla="*/ 1954149 w 5556123"/>
                <a:gd name="connsiteY50" fmla="*/ 4106323 h 4260818"/>
                <a:gd name="connsiteX51" fmla="*/ 1975009 w 5556123"/>
                <a:gd name="connsiteY51" fmla="*/ 4127468 h 4260818"/>
                <a:gd name="connsiteX52" fmla="*/ 3375374 w 5556123"/>
                <a:gd name="connsiteY52" fmla="*/ 4127468 h 4260818"/>
                <a:gd name="connsiteX53" fmla="*/ 3396234 w 5556123"/>
                <a:gd name="connsiteY53" fmla="*/ 4106323 h 4260818"/>
                <a:gd name="connsiteX54" fmla="*/ 3396139 w 5556123"/>
                <a:gd name="connsiteY54" fmla="*/ 4106323 h 4260818"/>
                <a:gd name="connsiteX55" fmla="*/ 3396139 w 5556123"/>
                <a:gd name="connsiteY55" fmla="*/ 1646397 h 4260818"/>
                <a:gd name="connsiteX56" fmla="*/ 3375279 w 5556123"/>
                <a:gd name="connsiteY56" fmla="*/ 1625251 h 4260818"/>
                <a:gd name="connsiteX57" fmla="*/ 1975009 w 5556123"/>
                <a:gd name="connsiteY57" fmla="*/ 1491901 h 4260818"/>
                <a:gd name="connsiteX58" fmla="*/ 3375374 w 5556123"/>
                <a:gd name="connsiteY58" fmla="*/ 1491901 h 4260818"/>
                <a:gd name="connsiteX59" fmla="*/ 3529489 w 5556123"/>
                <a:gd name="connsiteY59" fmla="*/ 1646397 h 4260818"/>
                <a:gd name="connsiteX60" fmla="*/ 3529489 w 5556123"/>
                <a:gd name="connsiteY60" fmla="*/ 4106323 h 4260818"/>
                <a:gd name="connsiteX61" fmla="*/ 3375279 w 5556123"/>
                <a:gd name="connsiteY61" fmla="*/ 4260818 h 4260818"/>
                <a:gd name="connsiteX62" fmla="*/ 1975009 w 5556123"/>
                <a:gd name="connsiteY62" fmla="*/ 4260818 h 4260818"/>
                <a:gd name="connsiteX63" fmla="*/ 1820799 w 5556123"/>
                <a:gd name="connsiteY63" fmla="*/ 4106323 h 4260818"/>
                <a:gd name="connsiteX64" fmla="*/ 1820799 w 5556123"/>
                <a:gd name="connsiteY64" fmla="*/ 1646397 h 4260818"/>
                <a:gd name="connsiteX65" fmla="*/ 1975009 w 5556123"/>
                <a:gd name="connsiteY65" fmla="*/ 1491901 h 4260818"/>
                <a:gd name="connsiteX66" fmla="*/ 2366296 w 5556123"/>
                <a:gd name="connsiteY66" fmla="*/ 0 h 4260818"/>
                <a:gd name="connsiteX67" fmla="*/ 3257645 w 5556123"/>
                <a:gd name="connsiteY67" fmla="*/ 327279 h 4260818"/>
                <a:gd name="connsiteX68" fmla="*/ 3735134 w 5556123"/>
                <a:gd name="connsiteY68" fmla="*/ 1033463 h 4260818"/>
                <a:gd name="connsiteX69" fmla="*/ 4448366 w 5556123"/>
                <a:gd name="connsiteY69" fmla="*/ 756476 h 4260818"/>
                <a:gd name="connsiteX70" fmla="*/ 5556123 w 5556123"/>
                <a:gd name="connsiteY70" fmla="*/ 1901476 h 4260818"/>
                <a:gd name="connsiteX71" fmla="*/ 5231987 w 5556123"/>
                <a:gd name="connsiteY71" fmla="*/ 2702719 h 4260818"/>
                <a:gd name="connsiteX72" fmla="*/ 4448366 w 5556123"/>
                <a:gd name="connsiteY72" fmla="*/ 3030379 h 4260818"/>
                <a:gd name="connsiteX73" fmla="*/ 3743325 w 5556123"/>
                <a:gd name="connsiteY73" fmla="*/ 3030379 h 4260818"/>
                <a:gd name="connsiteX74" fmla="*/ 3743325 w 5556123"/>
                <a:gd name="connsiteY74" fmla="*/ 2897029 h 4260818"/>
                <a:gd name="connsiteX75" fmla="*/ 4448366 w 5556123"/>
                <a:gd name="connsiteY75" fmla="*/ 2897029 h 4260818"/>
                <a:gd name="connsiteX76" fmla="*/ 5422773 w 5556123"/>
                <a:gd name="connsiteY76" fmla="*/ 1901476 h 4260818"/>
                <a:gd name="connsiteX77" fmla="*/ 4448366 w 5556123"/>
                <a:gd name="connsiteY77" fmla="*/ 889826 h 4260818"/>
                <a:gd name="connsiteX78" fmla="*/ 3752279 w 5556123"/>
                <a:gd name="connsiteY78" fmla="*/ 1205484 h 4260818"/>
                <a:gd name="connsiteX79" fmla="*/ 3668173 w 5556123"/>
                <a:gd name="connsiteY79" fmla="*/ 1299877 h 4260818"/>
                <a:gd name="connsiteX80" fmla="*/ 3637788 w 5556123"/>
                <a:gd name="connsiteY80" fmla="*/ 1177100 h 4260818"/>
                <a:gd name="connsiteX81" fmla="*/ 2366296 w 5556123"/>
                <a:gd name="connsiteY81" fmla="*/ 133350 h 4260818"/>
                <a:gd name="connsiteX82" fmla="*/ 1050036 w 5556123"/>
                <a:gd name="connsiteY82" fmla="*/ 1437513 h 4260818"/>
                <a:gd name="connsiteX83" fmla="*/ 1046321 w 5556123"/>
                <a:gd name="connsiteY83" fmla="*/ 1527048 h 4260818"/>
                <a:gd name="connsiteX84" fmla="*/ 961644 w 5556123"/>
                <a:gd name="connsiteY84" fmla="*/ 1497806 h 4260818"/>
                <a:gd name="connsiteX85" fmla="*/ 828008 w 5556123"/>
                <a:gd name="connsiteY85" fmla="*/ 1485329 h 4260818"/>
                <a:gd name="connsiteX86" fmla="*/ 133350 w 5556123"/>
                <a:gd name="connsiteY86" fmla="*/ 2191226 h 4260818"/>
                <a:gd name="connsiteX87" fmla="*/ 828008 w 5556123"/>
                <a:gd name="connsiteY87" fmla="*/ 2913221 h 4260818"/>
                <a:gd name="connsiteX88" fmla="*/ 1613630 w 5556123"/>
                <a:gd name="connsiteY88" fmla="*/ 2913221 h 4260818"/>
                <a:gd name="connsiteX89" fmla="*/ 1613630 w 5556123"/>
                <a:gd name="connsiteY89" fmla="*/ 3046571 h 4260818"/>
                <a:gd name="connsiteX90" fmla="*/ 828008 w 5556123"/>
                <a:gd name="connsiteY90" fmla="*/ 3046571 h 4260818"/>
                <a:gd name="connsiteX91" fmla="*/ 0 w 5556123"/>
                <a:gd name="connsiteY91" fmla="*/ 2191226 h 4260818"/>
                <a:gd name="connsiteX92" fmla="*/ 242697 w 5556123"/>
                <a:gd name="connsiteY92" fmla="*/ 1594961 h 4260818"/>
                <a:gd name="connsiteX93" fmla="*/ 828008 w 5556123"/>
                <a:gd name="connsiteY93" fmla="*/ 1351979 h 4260818"/>
                <a:gd name="connsiteX94" fmla="*/ 921830 w 5556123"/>
                <a:gd name="connsiteY94" fmla="*/ 1355122 h 4260818"/>
                <a:gd name="connsiteX95" fmla="*/ 1359789 w 5556123"/>
                <a:gd name="connsiteY95" fmla="*/ 419767 h 4260818"/>
                <a:gd name="connsiteX96" fmla="*/ 2366296 w 5556123"/>
                <a:gd name="connsiteY96" fmla="*/ 0 h 426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556123" h="4260818">
                  <a:moveTo>
                    <a:pt x="2500122" y="3776091"/>
                  </a:moveTo>
                  <a:lnTo>
                    <a:pt x="2850166" y="3776091"/>
                  </a:lnTo>
                  <a:lnTo>
                    <a:pt x="2850166" y="3909441"/>
                  </a:lnTo>
                  <a:lnTo>
                    <a:pt x="2500122" y="3909441"/>
                  </a:lnTo>
                  <a:close/>
                  <a:moveTo>
                    <a:pt x="2247615" y="2725674"/>
                  </a:moveTo>
                  <a:cubicBezTo>
                    <a:pt x="2245424" y="2739199"/>
                    <a:pt x="2243043" y="2749867"/>
                    <a:pt x="2240471" y="2757678"/>
                  </a:cubicBezTo>
                  <a:lnTo>
                    <a:pt x="2170462" y="2960846"/>
                  </a:lnTo>
                  <a:lnTo>
                    <a:pt x="2326482" y="2960846"/>
                  </a:lnTo>
                  <a:lnTo>
                    <a:pt x="2255806" y="2757678"/>
                  </a:lnTo>
                  <a:cubicBezTo>
                    <a:pt x="2253615" y="2751010"/>
                    <a:pt x="2251425" y="2740342"/>
                    <a:pt x="2249043" y="2725674"/>
                  </a:cubicBezTo>
                  <a:close/>
                  <a:moveTo>
                    <a:pt x="3066859" y="2719673"/>
                  </a:moveTo>
                  <a:lnTo>
                    <a:pt x="3066859" y="2905792"/>
                  </a:lnTo>
                  <a:lnTo>
                    <a:pt x="3121533" y="2905792"/>
                  </a:lnTo>
                  <a:cubicBezTo>
                    <a:pt x="3157728" y="2905792"/>
                    <a:pt x="3185350" y="2897410"/>
                    <a:pt x="3204305" y="2880550"/>
                  </a:cubicBezTo>
                  <a:cubicBezTo>
                    <a:pt x="3223260" y="2863786"/>
                    <a:pt x="3232690" y="2840069"/>
                    <a:pt x="3232785" y="2809589"/>
                  </a:cubicBezTo>
                  <a:cubicBezTo>
                    <a:pt x="3232785" y="2749677"/>
                    <a:pt x="3197923" y="2719673"/>
                    <a:pt x="3128295" y="2719673"/>
                  </a:cubicBezTo>
                  <a:close/>
                  <a:moveTo>
                    <a:pt x="2641568" y="2719673"/>
                  </a:moveTo>
                  <a:lnTo>
                    <a:pt x="2641568" y="2905792"/>
                  </a:lnTo>
                  <a:lnTo>
                    <a:pt x="2696242" y="2905792"/>
                  </a:lnTo>
                  <a:cubicBezTo>
                    <a:pt x="2732437" y="2905792"/>
                    <a:pt x="2760059" y="2897410"/>
                    <a:pt x="2779014" y="2880550"/>
                  </a:cubicBezTo>
                  <a:cubicBezTo>
                    <a:pt x="2797969" y="2863786"/>
                    <a:pt x="2807494" y="2840069"/>
                    <a:pt x="2807494" y="2809589"/>
                  </a:cubicBezTo>
                  <a:cubicBezTo>
                    <a:pt x="2807494" y="2749677"/>
                    <a:pt x="2772632" y="2719673"/>
                    <a:pt x="2703004" y="2719673"/>
                  </a:cubicBezTo>
                  <a:close/>
                  <a:moveTo>
                    <a:pt x="2982563" y="2649950"/>
                  </a:moveTo>
                  <a:lnTo>
                    <a:pt x="3137059" y="2649950"/>
                  </a:lnTo>
                  <a:cubicBezTo>
                    <a:pt x="3195637" y="2649950"/>
                    <a:pt x="3240976" y="2663571"/>
                    <a:pt x="3273171" y="2690812"/>
                  </a:cubicBezTo>
                  <a:cubicBezTo>
                    <a:pt x="3305460" y="2718054"/>
                    <a:pt x="3321558" y="2756440"/>
                    <a:pt x="3321462" y="2805874"/>
                  </a:cubicBezTo>
                  <a:cubicBezTo>
                    <a:pt x="3321462" y="2855404"/>
                    <a:pt x="3304603" y="2895886"/>
                    <a:pt x="3270980" y="2927413"/>
                  </a:cubicBezTo>
                  <a:cubicBezTo>
                    <a:pt x="3237357" y="2958941"/>
                    <a:pt x="3191922" y="2974657"/>
                    <a:pt x="3134582" y="2974657"/>
                  </a:cubicBezTo>
                  <a:lnTo>
                    <a:pt x="3066764" y="2974657"/>
                  </a:lnTo>
                  <a:lnTo>
                    <a:pt x="3066764" y="3159442"/>
                  </a:lnTo>
                  <a:lnTo>
                    <a:pt x="2982563" y="3159442"/>
                  </a:lnTo>
                  <a:close/>
                  <a:moveTo>
                    <a:pt x="2557367" y="2649950"/>
                  </a:moveTo>
                  <a:lnTo>
                    <a:pt x="2711863" y="2649950"/>
                  </a:lnTo>
                  <a:cubicBezTo>
                    <a:pt x="2770441" y="2649950"/>
                    <a:pt x="2815780" y="2663571"/>
                    <a:pt x="2847975" y="2690812"/>
                  </a:cubicBezTo>
                  <a:cubicBezTo>
                    <a:pt x="2880169" y="2718054"/>
                    <a:pt x="2896267" y="2756440"/>
                    <a:pt x="2896267" y="2805874"/>
                  </a:cubicBezTo>
                  <a:cubicBezTo>
                    <a:pt x="2896267" y="2855404"/>
                    <a:pt x="2879407" y="2895886"/>
                    <a:pt x="2845784" y="2927413"/>
                  </a:cubicBezTo>
                  <a:cubicBezTo>
                    <a:pt x="2812161" y="2958941"/>
                    <a:pt x="2766727" y="2974657"/>
                    <a:pt x="2709386" y="2974657"/>
                  </a:cubicBezTo>
                  <a:lnTo>
                    <a:pt x="2641568" y="2974657"/>
                  </a:lnTo>
                  <a:lnTo>
                    <a:pt x="2641568" y="3159442"/>
                  </a:lnTo>
                  <a:lnTo>
                    <a:pt x="2557367" y="3159442"/>
                  </a:lnTo>
                  <a:close/>
                  <a:moveTo>
                    <a:pt x="2202752" y="2649950"/>
                  </a:moveTo>
                  <a:lnTo>
                    <a:pt x="2298002" y="2649950"/>
                  </a:lnTo>
                  <a:lnTo>
                    <a:pt x="2487359" y="3159442"/>
                  </a:lnTo>
                  <a:lnTo>
                    <a:pt x="2394681" y="3159442"/>
                  </a:lnTo>
                  <a:lnTo>
                    <a:pt x="2348865" y="3029807"/>
                  </a:lnTo>
                  <a:lnTo>
                    <a:pt x="2148459" y="3029807"/>
                  </a:lnTo>
                  <a:lnTo>
                    <a:pt x="2104358" y="3159442"/>
                  </a:lnTo>
                  <a:lnTo>
                    <a:pt x="2011966" y="3159442"/>
                  </a:lnTo>
                  <a:close/>
                  <a:moveTo>
                    <a:pt x="1975009" y="1625251"/>
                  </a:moveTo>
                  <a:cubicBezTo>
                    <a:pt x="1963483" y="1625251"/>
                    <a:pt x="1954149" y="1634681"/>
                    <a:pt x="1954149" y="1646397"/>
                  </a:cubicBezTo>
                  <a:lnTo>
                    <a:pt x="1954149" y="4106323"/>
                  </a:lnTo>
                  <a:cubicBezTo>
                    <a:pt x="1954149" y="4117943"/>
                    <a:pt x="1963483" y="4127468"/>
                    <a:pt x="1975009" y="4127468"/>
                  </a:cubicBezTo>
                  <a:lnTo>
                    <a:pt x="3375374" y="4127468"/>
                  </a:lnTo>
                  <a:cubicBezTo>
                    <a:pt x="3386899" y="4127468"/>
                    <a:pt x="3396234" y="4118039"/>
                    <a:pt x="3396234" y="4106323"/>
                  </a:cubicBezTo>
                  <a:lnTo>
                    <a:pt x="3396139" y="4106323"/>
                  </a:lnTo>
                  <a:lnTo>
                    <a:pt x="3396139" y="1646397"/>
                  </a:lnTo>
                  <a:cubicBezTo>
                    <a:pt x="3396139" y="1634776"/>
                    <a:pt x="3386804" y="1625251"/>
                    <a:pt x="3375279" y="1625251"/>
                  </a:cubicBezTo>
                  <a:close/>
                  <a:moveTo>
                    <a:pt x="1975009" y="1491901"/>
                  </a:moveTo>
                  <a:lnTo>
                    <a:pt x="3375374" y="1491901"/>
                  </a:lnTo>
                  <a:cubicBezTo>
                    <a:pt x="3460337" y="1491901"/>
                    <a:pt x="3529584" y="1561243"/>
                    <a:pt x="3529489" y="1646397"/>
                  </a:cubicBezTo>
                  <a:lnTo>
                    <a:pt x="3529489" y="4106323"/>
                  </a:lnTo>
                  <a:cubicBezTo>
                    <a:pt x="3529489" y="4191476"/>
                    <a:pt x="3460337" y="4260818"/>
                    <a:pt x="3375279" y="4260818"/>
                  </a:cubicBezTo>
                  <a:lnTo>
                    <a:pt x="1975009" y="4260818"/>
                  </a:lnTo>
                  <a:cubicBezTo>
                    <a:pt x="1889950" y="4260818"/>
                    <a:pt x="1820799" y="4191572"/>
                    <a:pt x="1820799" y="4106323"/>
                  </a:cubicBezTo>
                  <a:lnTo>
                    <a:pt x="1820799" y="1646397"/>
                  </a:lnTo>
                  <a:cubicBezTo>
                    <a:pt x="1820799" y="1561243"/>
                    <a:pt x="1889950" y="1491901"/>
                    <a:pt x="1975009" y="1491901"/>
                  </a:cubicBezTo>
                  <a:close/>
                  <a:moveTo>
                    <a:pt x="2366296" y="0"/>
                  </a:moveTo>
                  <a:cubicBezTo>
                    <a:pt x="2687003" y="0"/>
                    <a:pt x="3003518" y="116205"/>
                    <a:pt x="3257645" y="327279"/>
                  </a:cubicBezTo>
                  <a:cubicBezTo>
                    <a:pt x="3477673" y="509969"/>
                    <a:pt x="3644456" y="757619"/>
                    <a:pt x="3735134" y="1033463"/>
                  </a:cubicBezTo>
                  <a:cubicBezTo>
                    <a:pt x="3931920" y="854012"/>
                    <a:pt x="4181189" y="756476"/>
                    <a:pt x="4448366" y="756476"/>
                  </a:cubicBezTo>
                  <a:cubicBezTo>
                    <a:pt x="5059109" y="756476"/>
                    <a:pt x="5556028" y="1270159"/>
                    <a:pt x="5556123" y="1901476"/>
                  </a:cubicBezTo>
                  <a:cubicBezTo>
                    <a:pt x="5556123" y="2206085"/>
                    <a:pt x="5440966" y="2490692"/>
                    <a:pt x="5231987" y="2702719"/>
                  </a:cubicBezTo>
                  <a:cubicBezTo>
                    <a:pt x="5023676" y="2913983"/>
                    <a:pt x="4745355" y="3030379"/>
                    <a:pt x="4448366" y="3030379"/>
                  </a:cubicBezTo>
                  <a:lnTo>
                    <a:pt x="3743325" y="3030379"/>
                  </a:lnTo>
                  <a:lnTo>
                    <a:pt x="3743325" y="2897029"/>
                  </a:lnTo>
                  <a:lnTo>
                    <a:pt x="4448366" y="2897029"/>
                  </a:lnTo>
                  <a:cubicBezTo>
                    <a:pt x="4994815" y="2897029"/>
                    <a:pt x="5422773" y="2459736"/>
                    <a:pt x="5422773" y="1901476"/>
                  </a:cubicBezTo>
                  <a:cubicBezTo>
                    <a:pt x="5422773" y="1343692"/>
                    <a:pt x="4985671" y="889826"/>
                    <a:pt x="4448366" y="889826"/>
                  </a:cubicBezTo>
                  <a:cubicBezTo>
                    <a:pt x="4180904" y="889826"/>
                    <a:pt x="3933635" y="1001935"/>
                    <a:pt x="3752279" y="1205484"/>
                  </a:cubicBezTo>
                  <a:lnTo>
                    <a:pt x="3668173" y="1299877"/>
                  </a:lnTo>
                  <a:lnTo>
                    <a:pt x="3637788" y="1177100"/>
                  </a:lnTo>
                  <a:cubicBezTo>
                    <a:pt x="3485674" y="562547"/>
                    <a:pt x="2962847" y="133350"/>
                    <a:pt x="2366296" y="133350"/>
                  </a:cubicBezTo>
                  <a:cubicBezTo>
                    <a:pt x="1658207" y="133350"/>
                    <a:pt x="1080040" y="706184"/>
                    <a:pt x="1050036" y="1437513"/>
                  </a:cubicBezTo>
                  <a:lnTo>
                    <a:pt x="1046321" y="1527048"/>
                  </a:lnTo>
                  <a:lnTo>
                    <a:pt x="961644" y="1497806"/>
                  </a:lnTo>
                  <a:cubicBezTo>
                    <a:pt x="925544" y="1485329"/>
                    <a:pt x="869156" y="1485329"/>
                    <a:pt x="828008" y="1485329"/>
                  </a:cubicBezTo>
                  <a:cubicBezTo>
                    <a:pt x="438531" y="1485329"/>
                    <a:pt x="133350" y="1795367"/>
                    <a:pt x="133350" y="2191226"/>
                  </a:cubicBezTo>
                  <a:cubicBezTo>
                    <a:pt x="133350" y="2589371"/>
                    <a:pt x="445008" y="2913221"/>
                    <a:pt x="828008" y="2913221"/>
                  </a:cubicBezTo>
                  <a:lnTo>
                    <a:pt x="1613630" y="2913221"/>
                  </a:lnTo>
                  <a:lnTo>
                    <a:pt x="1613630" y="3046571"/>
                  </a:lnTo>
                  <a:lnTo>
                    <a:pt x="828008" y="3046571"/>
                  </a:lnTo>
                  <a:cubicBezTo>
                    <a:pt x="371475" y="3046571"/>
                    <a:pt x="0" y="2662809"/>
                    <a:pt x="0" y="2191226"/>
                  </a:cubicBezTo>
                  <a:cubicBezTo>
                    <a:pt x="0" y="1964246"/>
                    <a:pt x="86201" y="1752505"/>
                    <a:pt x="242697" y="1594961"/>
                  </a:cubicBezTo>
                  <a:cubicBezTo>
                    <a:pt x="398336" y="1438275"/>
                    <a:pt x="606266" y="1351979"/>
                    <a:pt x="828008" y="1351979"/>
                  </a:cubicBezTo>
                  <a:cubicBezTo>
                    <a:pt x="855440" y="1351979"/>
                    <a:pt x="888302" y="1351979"/>
                    <a:pt x="921830" y="1355122"/>
                  </a:cubicBezTo>
                  <a:cubicBezTo>
                    <a:pt x="954215" y="1000125"/>
                    <a:pt x="1107948" y="670370"/>
                    <a:pt x="1359789" y="419767"/>
                  </a:cubicBezTo>
                  <a:cubicBezTo>
                    <a:pt x="1631728" y="149066"/>
                    <a:pt x="1989201" y="0"/>
                    <a:pt x="2366296" y="0"/>
                  </a:cubicBezTo>
                  <a:close/>
                </a:path>
              </a:pathLst>
            </a:custGeom>
            <a:solidFill>
              <a:schemeClr val="tx1"/>
            </a:solidFill>
            <a:ln w="9525" cap="flat">
              <a:noFill/>
              <a:prstDash val="solid"/>
              <a:miter/>
            </a:ln>
          </p:spPr>
          <p:txBody>
            <a:bodyPr rtlCol="0" anchor="ctr"/>
            <a:lstStyle/>
            <a:p>
              <a:endParaRPr lang="en-IN" dirty="0"/>
            </a:p>
          </p:txBody>
        </p:sp>
      </p:grpSp>
      <p:grpSp>
        <p:nvGrpSpPr>
          <p:cNvPr id="384" name="Group 383">
            <a:extLst>
              <a:ext uri="{FF2B5EF4-FFF2-40B4-BE49-F238E27FC236}">
                <a16:creationId xmlns:a16="http://schemas.microsoft.com/office/drawing/2014/main" id="{CF54656C-E8ED-43ED-8270-F61EC60F7605}"/>
              </a:ext>
            </a:extLst>
          </p:cNvPr>
          <p:cNvGrpSpPr/>
          <p:nvPr/>
        </p:nvGrpSpPr>
        <p:grpSpPr>
          <a:xfrm>
            <a:off x="6461210" y="5320950"/>
            <a:ext cx="1181704" cy="620652"/>
            <a:chOff x="2635335" y="5320950"/>
            <a:chExt cx="1181704" cy="620652"/>
          </a:xfrm>
        </p:grpSpPr>
        <p:sp>
          <p:nvSpPr>
            <p:cNvPr id="385" name="TextBox 384">
              <a:extLst>
                <a:ext uri="{FF2B5EF4-FFF2-40B4-BE49-F238E27FC236}">
                  <a16:creationId xmlns:a16="http://schemas.microsoft.com/office/drawing/2014/main" id="{8C85B5C7-794A-480C-A1AD-855243530ABA}"/>
                </a:ext>
              </a:extLst>
            </p:cNvPr>
            <p:cNvSpPr txBox="1"/>
            <p:nvPr/>
          </p:nvSpPr>
          <p:spPr>
            <a:xfrm>
              <a:off x="2635335" y="5709282"/>
              <a:ext cx="1181704" cy="232320"/>
            </a:xfrm>
            <a:prstGeom prst="rect">
              <a:avLst/>
            </a:prstGeom>
            <a:solidFill>
              <a:srgbClr val="F2F2F2"/>
            </a:solidFill>
          </p:spPr>
          <p:txBody>
            <a:bodyPr wrap="square" lIns="0" tIns="0" rIns="0" bIns="0" rtlCol="0" anchor="ctr">
              <a:noAutofit/>
            </a:bodyPr>
            <a:lstStyle/>
            <a:p>
              <a:pPr algn="ctr"/>
              <a:r>
                <a:rPr lang="en-US" sz="1100" i="1" dirty="0">
                  <a:solidFill>
                    <a:schemeClr val="accent1"/>
                  </a:solidFill>
                </a:rPr>
                <a:t>Remote resource</a:t>
              </a:r>
            </a:p>
          </p:txBody>
        </p:sp>
        <p:sp>
          <p:nvSpPr>
            <p:cNvPr id="386" name="desktop" title="a desktop PC">
              <a:extLst>
                <a:ext uri="{FF2B5EF4-FFF2-40B4-BE49-F238E27FC236}">
                  <a16:creationId xmlns:a16="http://schemas.microsoft.com/office/drawing/2014/main" id="{231C03EB-4BF5-4806-87C6-DC6CDE7CB27E}"/>
                </a:ext>
              </a:extLst>
            </p:cNvPr>
            <p:cNvSpPr>
              <a:spLocks noChangeAspect="1" noEditPoints="1"/>
            </p:cNvSpPr>
            <p:nvPr/>
          </p:nvSpPr>
          <p:spPr bwMode="auto">
            <a:xfrm>
              <a:off x="2874982" y="5340276"/>
              <a:ext cx="293328" cy="28853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387" name="Freeform: Shape 386">
              <a:extLst>
                <a:ext uri="{FF2B5EF4-FFF2-40B4-BE49-F238E27FC236}">
                  <a16:creationId xmlns:a16="http://schemas.microsoft.com/office/drawing/2014/main" id="{CB9E7DE3-992F-44C6-8745-75C1F1497BEB}"/>
                </a:ext>
              </a:extLst>
            </p:cNvPr>
            <p:cNvSpPr/>
            <p:nvPr/>
          </p:nvSpPr>
          <p:spPr>
            <a:xfrm>
              <a:off x="3252468" y="5320950"/>
              <a:ext cx="443366" cy="340004"/>
            </a:xfrm>
            <a:custGeom>
              <a:avLst/>
              <a:gdLst>
                <a:gd name="connsiteX0" fmla="*/ 2500122 w 5556123"/>
                <a:gd name="connsiteY0" fmla="*/ 3776091 h 4260818"/>
                <a:gd name="connsiteX1" fmla="*/ 2850166 w 5556123"/>
                <a:gd name="connsiteY1" fmla="*/ 3776091 h 4260818"/>
                <a:gd name="connsiteX2" fmla="*/ 2850166 w 5556123"/>
                <a:gd name="connsiteY2" fmla="*/ 3909441 h 4260818"/>
                <a:gd name="connsiteX3" fmla="*/ 2500122 w 5556123"/>
                <a:gd name="connsiteY3" fmla="*/ 3909441 h 4260818"/>
                <a:gd name="connsiteX4" fmla="*/ 2247615 w 5556123"/>
                <a:gd name="connsiteY4" fmla="*/ 2725674 h 4260818"/>
                <a:gd name="connsiteX5" fmla="*/ 2240471 w 5556123"/>
                <a:gd name="connsiteY5" fmla="*/ 2757678 h 4260818"/>
                <a:gd name="connsiteX6" fmla="*/ 2170462 w 5556123"/>
                <a:gd name="connsiteY6" fmla="*/ 2960846 h 4260818"/>
                <a:gd name="connsiteX7" fmla="*/ 2326482 w 5556123"/>
                <a:gd name="connsiteY7" fmla="*/ 2960846 h 4260818"/>
                <a:gd name="connsiteX8" fmla="*/ 2255806 w 5556123"/>
                <a:gd name="connsiteY8" fmla="*/ 2757678 h 4260818"/>
                <a:gd name="connsiteX9" fmla="*/ 2249043 w 5556123"/>
                <a:gd name="connsiteY9" fmla="*/ 2725674 h 4260818"/>
                <a:gd name="connsiteX10" fmla="*/ 3066859 w 5556123"/>
                <a:gd name="connsiteY10" fmla="*/ 2719673 h 4260818"/>
                <a:gd name="connsiteX11" fmla="*/ 3066859 w 5556123"/>
                <a:gd name="connsiteY11" fmla="*/ 2905792 h 4260818"/>
                <a:gd name="connsiteX12" fmla="*/ 3121533 w 5556123"/>
                <a:gd name="connsiteY12" fmla="*/ 2905792 h 4260818"/>
                <a:gd name="connsiteX13" fmla="*/ 3204305 w 5556123"/>
                <a:gd name="connsiteY13" fmla="*/ 2880550 h 4260818"/>
                <a:gd name="connsiteX14" fmla="*/ 3232785 w 5556123"/>
                <a:gd name="connsiteY14" fmla="*/ 2809589 h 4260818"/>
                <a:gd name="connsiteX15" fmla="*/ 3128295 w 5556123"/>
                <a:gd name="connsiteY15" fmla="*/ 2719673 h 4260818"/>
                <a:gd name="connsiteX16" fmla="*/ 2641568 w 5556123"/>
                <a:gd name="connsiteY16" fmla="*/ 2719673 h 4260818"/>
                <a:gd name="connsiteX17" fmla="*/ 2641568 w 5556123"/>
                <a:gd name="connsiteY17" fmla="*/ 2905792 h 4260818"/>
                <a:gd name="connsiteX18" fmla="*/ 2696242 w 5556123"/>
                <a:gd name="connsiteY18" fmla="*/ 2905792 h 4260818"/>
                <a:gd name="connsiteX19" fmla="*/ 2779014 w 5556123"/>
                <a:gd name="connsiteY19" fmla="*/ 2880550 h 4260818"/>
                <a:gd name="connsiteX20" fmla="*/ 2807494 w 5556123"/>
                <a:gd name="connsiteY20" fmla="*/ 2809589 h 4260818"/>
                <a:gd name="connsiteX21" fmla="*/ 2703004 w 5556123"/>
                <a:gd name="connsiteY21" fmla="*/ 2719673 h 4260818"/>
                <a:gd name="connsiteX22" fmla="*/ 2982563 w 5556123"/>
                <a:gd name="connsiteY22" fmla="*/ 2649950 h 4260818"/>
                <a:gd name="connsiteX23" fmla="*/ 3137059 w 5556123"/>
                <a:gd name="connsiteY23" fmla="*/ 2649950 h 4260818"/>
                <a:gd name="connsiteX24" fmla="*/ 3273171 w 5556123"/>
                <a:gd name="connsiteY24" fmla="*/ 2690812 h 4260818"/>
                <a:gd name="connsiteX25" fmla="*/ 3321462 w 5556123"/>
                <a:gd name="connsiteY25" fmla="*/ 2805874 h 4260818"/>
                <a:gd name="connsiteX26" fmla="*/ 3270980 w 5556123"/>
                <a:gd name="connsiteY26" fmla="*/ 2927413 h 4260818"/>
                <a:gd name="connsiteX27" fmla="*/ 3134582 w 5556123"/>
                <a:gd name="connsiteY27" fmla="*/ 2974657 h 4260818"/>
                <a:gd name="connsiteX28" fmla="*/ 3066764 w 5556123"/>
                <a:gd name="connsiteY28" fmla="*/ 2974657 h 4260818"/>
                <a:gd name="connsiteX29" fmla="*/ 3066764 w 5556123"/>
                <a:gd name="connsiteY29" fmla="*/ 3159442 h 4260818"/>
                <a:gd name="connsiteX30" fmla="*/ 2982563 w 5556123"/>
                <a:gd name="connsiteY30" fmla="*/ 3159442 h 4260818"/>
                <a:gd name="connsiteX31" fmla="*/ 2557367 w 5556123"/>
                <a:gd name="connsiteY31" fmla="*/ 2649950 h 4260818"/>
                <a:gd name="connsiteX32" fmla="*/ 2711863 w 5556123"/>
                <a:gd name="connsiteY32" fmla="*/ 2649950 h 4260818"/>
                <a:gd name="connsiteX33" fmla="*/ 2847975 w 5556123"/>
                <a:gd name="connsiteY33" fmla="*/ 2690812 h 4260818"/>
                <a:gd name="connsiteX34" fmla="*/ 2896267 w 5556123"/>
                <a:gd name="connsiteY34" fmla="*/ 2805874 h 4260818"/>
                <a:gd name="connsiteX35" fmla="*/ 2845784 w 5556123"/>
                <a:gd name="connsiteY35" fmla="*/ 2927413 h 4260818"/>
                <a:gd name="connsiteX36" fmla="*/ 2709386 w 5556123"/>
                <a:gd name="connsiteY36" fmla="*/ 2974657 h 4260818"/>
                <a:gd name="connsiteX37" fmla="*/ 2641568 w 5556123"/>
                <a:gd name="connsiteY37" fmla="*/ 2974657 h 4260818"/>
                <a:gd name="connsiteX38" fmla="*/ 2641568 w 5556123"/>
                <a:gd name="connsiteY38" fmla="*/ 3159442 h 4260818"/>
                <a:gd name="connsiteX39" fmla="*/ 2557367 w 5556123"/>
                <a:gd name="connsiteY39" fmla="*/ 3159442 h 4260818"/>
                <a:gd name="connsiteX40" fmla="*/ 2202752 w 5556123"/>
                <a:gd name="connsiteY40" fmla="*/ 2649950 h 4260818"/>
                <a:gd name="connsiteX41" fmla="*/ 2298002 w 5556123"/>
                <a:gd name="connsiteY41" fmla="*/ 2649950 h 4260818"/>
                <a:gd name="connsiteX42" fmla="*/ 2487359 w 5556123"/>
                <a:gd name="connsiteY42" fmla="*/ 3159442 h 4260818"/>
                <a:gd name="connsiteX43" fmla="*/ 2394681 w 5556123"/>
                <a:gd name="connsiteY43" fmla="*/ 3159442 h 4260818"/>
                <a:gd name="connsiteX44" fmla="*/ 2348865 w 5556123"/>
                <a:gd name="connsiteY44" fmla="*/ 3029807 h 4260818"/>
                <a:gd name="connsiteX45" fmla="*/ 2148459 w 5556123"/>
                <a:gd name="connsiteY45" fmla="*/ 3029807 h 4260818"/>
                <a:gd name="connsiteX46" fmla="*/ 2104358 w 5556123"/>
                <a:gd name="connsiteY46" fmla="*/ 3159442 h 4260818"/>
                <a:gd name="connsiteX47" fmla="*/ 2011966 w 5556123"/>
                <a:gd name="connsiteY47" fmla="*/ 3159442 h 4260818"/>
                <a:gd name="connsiteX48" fmla="*/ 1975009 w 5556123"/>
                <a:gd name="connsiteY48" fmla="*/ 1625251 h 4260818"/>
                <a:gd name="connsiteX49" fmla="*/ 1954149 w 5556123"/>
                <a:gd name="connsiteY49" fmla="*/ 1646397 h 4260818"/>
                <a:gd name="connsiteX50" fmla="*/ 1954149 w 5556123"/>
                <a:gd name="connsiteY50" fmla="*/ 4106323 h 4260818"/>
                <a:gd name="connsiteX51" fmla="*/ 1975009 w 5556123"/>
                <a:gd name="connsiteY51" fmla="*/ 4127468 h 4260818"/>
                <a:gd name="connsiteX52" fmla="*/ 3375374 w 5556123"/>
                <a:gd name="connsiteY52" fmla="*/ 4127468 h 4260818"/>
                <a:gd name="connsiteX53" fmla="*/ 3396234 w 5556123"/>
                <a:gd name="connsiteY53" fmla="*/ 4106323 h 4260818"/>
                <a:gd name="connsiteX54" fmla="*/ 3396139 w 5556123"/>
                <a:gd name="connsiteY54" fmla="*/ 4106323 h 4260818"/>
                <a:gd name="connsiteX55" fmla="*/ 3396139 w 5556123"/>
                <a:gd name="connsiteY55" fmla="*/ 1646397 h 4260818"/>
                <a:gd name="connsiteX56" fmla="*/ 3375279 w 5556123"/>
                <a:gd name="connsiteY56" fmla="*/ 1625251 h 4260818"/>
                <a:gd name="connsiteX57" fmla="*/ 1975009 w 5556123"/>
                <a:gd name="connsiteY57" fmla="*/ 1491901 h 4260818"/>
                <a:gd name="connsiteX58" fmla="*/ 3375374 w 5556123"/>
                <a:gd name="connsiteY58" fmla="*/ 1491901 h 4260818"/>
                <a:gd name="connsiteX59" fmla="*/ 3529489 w 5556123"/>
                <a:gd name="connsiteY59" fmla="*/ 1646397 h 4260818"/>
                <a:gd name="connsiteX60" fmla="*/ 3529489 w 5556123"/>
                <a:gd name="connsiteY60" fmla="*/ 4106323 h 4260818"/>
                <a:gd name="connsiteX61" fmla="*/ 3375279 w 5556123"/>
                <a:gd name="connsiteY61" fmla="*/ 4260818 h 4260818"/>
                <a:gd name="connsiteX62" fmla="*/ 1975009 w 5556123"/>
                <a:gd name="connsiteY62" fmla="*/ 4260818 h 4260818"/>
                <a:gd name="connsiteX63" fmla="*/ 1820799 w 5556123"/>
                <a:gd name="connsiteY63" fmla="*/ 4106323 h 4260818"/>
                <a:gd name="connsiteX64" fmla="*/ 1820799 w 5556123"/>
                <a:gd name="connsiteY64" fmla="*/ 1646397 h 4260818"/>
                <a:gd name="connsiteX65" fmla="*/ 1975009 w 5556123"/>
                <a:gd name="connsiteY65" fmla="*/ 1491901 h 4260818"/>
                <a:gd name="connsiteX66" fmla="*/ 2366296 w 5556123"/>
                <a:gd name="connsiteY66" fmla="*/ 0 h 4260818"/>
                <a:gd name="connsiteX67" fmla="*/ 3257645 w 5556123"/>
                <a:gd name="connsiteY67" fmla="*/ 327279 h 4260818"/>
                <a:gd name="connsiteX68" fmla="*/ 3735134 w 5556123"/>
                <a:gd name="connsiteY68" fmla="*/ 1033463 h 4260818"/>
                <a:gd name="connsiteX69" fmla="*/ 4448366 w 5556123"/>
                <a:gd name="connsiteY69" fmla="*/ 756476 h 4260818"/>
                <a:gd name="connsiteX70" fmla="*/ 5556123 w 5556123"/>
                <a:gd name="connsiteY70" fmla="*/ 1901476 h 4260818"/>
                <a:gd name="connsiteX71" fmla="*/ 5231987 w 5556123"/>
                <a:gd name="connsiteY71" fmla="*/ 2702719 h 4260818"/>
                <a:gd name="connsiteX72" fmla="*/ 4448366 w 5556123"/>
                <a:gd name="connsiteY72" fmla="*/ 3030379 h 4260818"/>
                <a:gd name="connsiteX73" fmla="*/ 3743325 w 5556123"/>
                <a:gd name="connsiteY73" fmla="*/ 3030379 h 4260818"/>
                <a:gd name="connsiteX74" fmla="*/ 3743325 w 5556123"/>
                <a:gd name="connsiteY74" fmla="*/ 2897029 h 4260818"/>
                <a:gd name="connsiteX75" fmla="*/ 4448366 w 5556123"/>
                <a:gd name="connsiteY75" fmla="*/ 2897029 h 4260818"/>
                <a:gd name="connsiteX76" fmla="*/ 5422773 w 5556123"/>
                <a:gd name="connsiteY76" fmla="*/ 1901476 h 4260818"/>
                <a:gd name="connsiteX77" fmla="*/ 4448366 w 5556123"/>
                <a:gd name="connsiteY77" fmla="*/ 889826 h 4260818"/>
                <a:gd name="connsiteX78" fmla="*/ 3752279 w 5556123"/>
                <a:gd name="connsiteY78" fmla="*/ 1205484 h 4260818"/>
                <a:gd name="connsiteX79" fmla="*/ 3668173 w 5556123"/>
                <a:gd name="connsiteY79" fmla="*/ 1299877 h 4260818"/>
                <a:gd name="connsiteX80" fmla="*/ 3637788 w 5556123"/>
                <a:gd name="connsiteY80" fmla="*/ 1177100 h 4260818"/>
                <a:gd name="connsiteX81" fmla="*/ 2366296 w 5556123"/>
                <a:gd name="connsiteY81" fmla="*/ 133350 h 4260818"/>
                <a:gd name="connsiteX82" fmla="*/ 1050036 w 5556123"/>
                <a:gd name="connsiteY82" fmla="*/ 1437513 h 4260818"/>
                <a:gd name="connsiteX83" fmla="*/ 1046321 w 5556123"/>
                <a:gd name="connsiteY83" fmla="*/ 1527048 h 4260818"/>
                <a:gd name="connsiteX84" fmla="*/ 961644 w 5556123"/>
                <a:gd name="connsiteY84" fmla="*/ 1497806 h 4260818"/>
                <a:gd name="connsiteX85" fmla="*/ 828008 w 5556123"/>
                <a:gd name="connsiteY85" fmla="*/ 1485329 h 4260818"/>
                <a:gd name="connsiteX86" fmla="*/ 133350 w 5556123"/>
                <a:gd name="connsiteY86" fmla="*/ 2191226 h 4260818"/>
                <a:gd name="connsiteX87" fmla="*/ 828008 w 5556123"/>
                <a:gd name="connsiteY87" fmla="*/ 2913221 h 4260818"/>
                <a:gd name="connsiteX88" fmla="*/ 1613630 w 5556123"/>
                <a:gd name="connsiteY88" fmla="*/ 2913221 h 4260818"/>
                <a:gd name="connsiteX89" fmla="*/ 1613630 w 5556123"/>
                <a:gd name="connsiteY89" fmla="*/ 3046571 h 4260818"/>
                <a:gd name="connsiteX90" fmla="*/ 828008 w 5556123"/>
                <a:gd name="connsiteY90" fmla="*/ 3046571 h 4260818"/>
                <a:gd name="connsiteX91" fmla="*/ 0 w 5556123"/>
                <a:gd name="connsiteY91" fmla="*/ 2191226 h 4260818"/>
                <a:gd name="connsiteX92" fmla="*/ 242697 w 5556123"/>
                <a:gd name="connsiteY92" fmla="*/ 1594961 h 4260818"/>
                <a:gd name="connsiteX93" fmla="*/ 828008 w 5556123"/>
                <a:gd name="connsiteY93" fmla="*/ 1351979 h 4260818"/>
                <a:gd name="connsiteX94" fmla="*/ 921830 w 5556123"/>
                <a:gd name="connsiteY94" fmla="*/ 1355122 h 4260818"/>
                <a:gd name="connsiteX95" fmla="*/ 1359789 w 5556123"/>
                <a:gd name="connsiteY95" fmla="*/ 419767 h 4260818"/>
                <a:gd name="connsiteX96" fmla="*/ 2366296 w 5556123"/>
                <a:gd name="connsiteY96" fmla="*/ 0 h 426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556123" h="4260818">
                  <a:moveTo>
                    <a:pt x="2500122" y="3776091"/>
                  </a:moveTo>
                  <a:lnTo>
                    <a:pt x="2850166" y="3776091"/>
                  </a:lnTo>
                  <a:lnTo>
                    <a:pt x="2850166" y="3909441"/>
                  </a:lnTo>
                  <a:lnTo>
                    <a:pt x="2500122" y="3909441"/>
                  </a:lnTo>
                  <a:close/>
                  <a:moveTo>
                    <a:pt x="2247615" y="2725674"/>
                  </a:moveTo>
                  <a:cubicBezTo>
                    <a:pt x="2245424" y="2739199"/>
                    <a:pt x="2243043" y="2749867"/>
                    <a:pt x="2240471" y="2757678"/>
                  </a:cubicBezTo>
                  <a:lnTo>
                    <a:pt x="2170462" y="2960846"/>
                  </a:lnTo>
                  <a:lnTo>
                    <a:pt x="2326482" y="2960846"/>
                  </a:lnTo>
                  <a:lnTo>
                    <a:pt x="2255806" y="2757678"/>
                  </a:lnTo>
                  <a:cubicBezTo>
                    <a:pt x="2253615" y="2751010"/>
                    <a:pt x="2251425" y="2740342"/>
                    <a:pt x="2249043" y="2725674"/>
                  </a:cubicBezTo>
                  <a:close/>
                  <a:moveTo>
                    <a:pt x="3066859" y="2719673"/>
                  </a:moveTo>
                  <a:lnTo>
                    <a:pt x="3066859" y="2905792"/>
                  </a:lnTo>
                  <a:lnTo>
                    <a:pt x="3121533" y="2905792"/>
                  </a:lnTo>
                  <a:cubicBezTo>
                    <a:pt x="3157728" y="2905792"/>
                    <a:pt x="3185350" y="2897410"/>
                    <a:pt x="3204305" y="2880550"/>
                  </a:cubicBezTo>
                  <a:cubicBezTo>
                    <a:pt x="3223260" y="2863786"/>
                    <a:pt x="3232690" y="2840069"/>
                    <a:pt x="3232785" y="2809589"/>
                  </a:cubicBezTo>
                  <a:cubicBezTo>
                    <a:pt x="3232785" y="2749677"/>
                    <a:pt x="3197923" y="2719673"/>
                    <a:pt x="3128295" y="2719673"/>
                  </a:cubicBezTo>
                  <a:close/>
                  <a:moveTo>
                    <a:pt x="2641568" y="2719673"/>
                  </a:moveTo>
                  <a:lnTo>
                    <a:pt x="2641568" y="2905792"/>
                  </a:lnTo>
                  <a:lnTo>
                    <a:pt x="2696242" y="2905792"/>
                  </a:lnTo>
                  <a:cubicBezTo>
                    <a:pt x="2732437" y="2905792"/>
                    <a:pt x="2760059" y="2897410"/>
                    <a:pt x="2779014" y="2880550"/>
                  </a:cubicBezTo>
                  <a:cubicBezTo>
                    <a:pt x="2797969" y="2863786"/>
                    <a:pt x="2807494" y="2840069"/>
                    <a:pt x="2807494" y="2809589"/>
                  </a:cubicBezTo>
                  <a:cubicBezTo>
                    <a:pt x="2807494" y="2749677"/>
                    <a:pt x="2772632" y="2719673"/>
                    <a:pt x="2703004" y="2719673"/>
                  </a:cubicBezTo>
                  <a:close/>
                  <a:moveTo>
                    <a:pt x="2982563" y="2649950"/>
                  </a:moveTo>
                  <a:lnTo>
                    <a:pt x="3137059" y="2649950"/>
                  </a:lnTo>
                  <a:cubicBezTo>
                    <a:pt x="3195637" y="2649950"/>
                    <a:pt x="3240976" y="2663571"/>
                    <a:pt x="3273171" y="2690812"/>
                  </a:cubicBezTo>
                  <a:cubicBezTo>
                    <a:pt x="3305460" y="2718054"/>
                    <a:pt x="3321558" y="2756440"/>
                    <a:pt x="3321462" y="2805874"/>
                  </a:cubicBezTo>
                  <a:cubicBezTo>
                    <a:pt x="3321462" y="2855404"/>
                    <a:pt x="3304603" y="2895886"/>
                    <a:pt x="3270980" y="2927413"/>
                  </a:cubicBezTo>
                  <a:cubicBezTo>
                    <a:pt x="3237357" y="2958941"/>
                    <a:pt x="3191922" y="2974657"/>
                    <a:pt x="3134582" y="2974657"/>
                  </a:cubicBezTo>
                  <a:lnTo>
                    <a:pt x="3066764" y="2974657"/>
                  </a:lnTo>
                  <a:lnTo>
                    <a:pt x="3066764" y="3159442"/>
                  </a:lnTo>
                  <a:lnTo>
                    <a:pt x="2982563" y="3159442"/>
                  </a:lnTo>
                  <a:close/>
                  <a:moveTo>
                    <a:pt x="2557367" y="2649950"/>
                  </a:moveTo>
                  <a:lnTo>
                    <a:pt x="2711863" y="2649950"/>
                  </a:lnTo>
                  <a:cubicBezTo>
                    <a:pt x="2770441" y="2649950"/>
                    <a:pt x="2815780" y="2663571"/>
                    <a:pt x="2847975" y="2690812"/>
                  </a:cubicBezTo>
                  <a:cubicBezTo>
                    <a:pt x="2880169" y="2718054"/>
                    <a:pt x="2896267" y="2756440"/>
                    <a:pt x="2896267" y="2805874"/>
                  </a:cubicBezTo>
                  <a:cubicBezTo>
                    <a:pt x="2896267" y="2855404"/>
                    <a:pt x="2879407" y="2895886"/>
                    <a:pt x="2845784" y="2927413"/>
                  </a:cubicBezTo>
                  <a:cubicBezTo>
                    <a:pt x="2812161" y="2958941"/>
                    <a:pt x="2766727" y="2974657"/>
                    <a:pt x="2709386" y="2974657"/>
                  </a:cubicBezTo>
                  <a:lnTo>
                    <a:pt x="2641568" y="2974657"/>
                  </a:lnTo>
                  <a:lnTo>
                    <a:pt x="2641568" y="3159442"/>
                  </a:lnTo>
                  <a:lnTo>
                    <a:pt x="2557367" y="3159442"/>
                  </a:lnTo>
                  <a:close/>
                  <a:moveTo>
                    <a:pt x="2202752" y="2649950"/>
                  </a:moveTo>
                  <a:lnTo>
                    <a:pt x="2298002" y="2649950"/>
                  </a:lnTo>
                  <a:lnTo>
                    <a:pt x="2487359" y="3159442"/>
                  </a:lnTo>
                  <a:lnTo>
                    <a:pt x="2394681" y="3159442"/>
                  </a:lnTo>
                  <a:lnTo>
                    <a:pt x="2348865" y="3029807"/>
                  </a:lnTo>
                  <a:lnTo>
                    <a:pt x="2148459" y="3029807"/>
                  </a:lnTo>
                  <a:lnTo>
                    <a:pt x="2104358" y="3159442"/>
                  </a:lnTo>
                  <a:lnTo>
                    <a:pt x="2011966" y="3159442"/>
                  </a:lnTo>
                  <a:close/>
                  <a:moveTo>
                    <a:pt x="1975009" y="1625251"/>
                  </a:moveTo>
                  <a:cubicBezTo>
                    <a:pt x="1963483" y="1625251"/>
                    <a:pt x="1954149" y="1634681"/>
                    <a:pt x="1954149" y="1646397"/>
                  </a:cubicBezTo>
                  <a:lnTo>
                    <a:pt x="1954149" y="4106323"/>
                  </a:lnTo>
                  <a:cubicBezTo>
                    <a:pt x="1954149" y="4117943"/>
                    <a:pt x="1963483" y="4127468"/>
                    <a:pt x="1975009" y="4127468"/>
                  </a:cubicBezTo>
                  <a:lnTo>
                    <a:pt x="3375374" y="4127468"/>
                  </a:lnTo>
                  <a:cubicBezTo>
                    <a:pt x="3386899" y="4127468"/>
                    <a:pt x="3396234" y="4118039"/>
                    <a:pt x="3396234" y="4106323"/>
                  </a:cubicBezTo>
                  <a:lnTo>
                    <a:pt x="3396139" y="4106323"/>
                  </a:lnTo>
                  <a:lnTo>
                    <a:pt x="3396139" y="1646397"/>
                  </a:lnTo>
                  <a:cubicBezTo>
                    <a:pt x="3396139" y="1634776"/>
                    <a:pt x="3386804" y="1625251"/>
                    <a:pt x="3375279" y="1625251"/>
                  </a:cubicBezTo>
                  <a:close/>
                  <a:moveTo>
                    <a:pt x="1975009" y="1491901"/>
                  </a:moveTo>
                  <a:lnTo>
                    <a:pt x="3375374" y="1491901"/>
                  </a:lnTo>
                  <a:cubicBezTo>
                    <a:pt x="3460337" y="1491901"/>
                    <a:pt x="3529584" y="1561243"/>
                    <a:pt x="3529489" y="1646397"/>
                  </a:cubicBezTo>
                  <a:lnTo>
                    <a:pt x="3529489" y="4106323"/>
                  </a:lnTo>
                  <a:cubicBezTo>
                    <a:pt x="3529489" y="4191476"/>
                    <a:pt x="3460337" y="4260818"/>
                    <a:pt x="3375279" y="4260818"/>
                  </a:cubicBezTo>
                  <a:lnTo>
                    <a:pt x="1975009" y="4260818"/>
                  </a:lnTo>
                  <a:cubicBezTo>
                    <a:pt x="1889950" y="4260818"/>
                    <a:pt x="1820799" y="4191572"/>
                    <a:pt x="1820799" y="4106323"/>
                  </a:cubicBezTo>
                  <a:lnTo>
                    <a:pt x="1820799" y="1646397"/>
                  </a:lnTo>
                  <a:cubicBezTo>
                    <a:pt x="1820799" y="1561243"/>
                    <a:pt x="1889950" y="1491901"/>
                    <a:pt x="1975009" y="1491901"/>
                  </a:cubicBezTo>
                  <a:close/>
                  <a:moveTo>
                    <a:pt x="2366296" y="0"/>
                  </a:moveTo>
                  <a:cubicBezTo>
                    <a:pt x="2687003" y="0"/>
                    <a:pt x="3003518" y="116205"/>
                    <a:pt x="3257645" y="327279"/>
                  </a:cubicBezTo>
                  <a:cubicBezTo>
                    <a:pt x="3477673" y="509969"/>
                    <a:pt x="3644456" y="757619"/>
                    <a:pt x="3735134" y="1033463"/>
                  </a:cubicBezTo>
                  <a:cubicBezTo>
                    <a:pt x="3931920" y="854012"/>
                    <a:pt x="4181189" y="756476"/>
                    <a:pt x="4448366" y="756476"/>
                  </a:cubicBezTo>
                  <a:cubicBezTo>
                    <a:pt x="5059109" y="756476"/>
                    <a:pt x="5556028" y="1270159"/>
                    <a:pt x="5556123" y="1901476"/>
                  </a:cubicBezTo>
                  <a:cubicBezTo>
                    <a:pt x="5556123" y="2206085"/>
                    <a:pt x="5440966" y="2490692"/>
                    <a:pt x="5231987" y="2702719"/>
                  </a:cubicBezTo>
                  <a:cubicBezTo>
                    <a:pt x="5023676" y="2913983"/>
                    <a:pt x="4745355" y="3030379"/>
                    <a:pt x="4448366" y="3030379"/>
                  </a:cubicBezTo>
                  <a:lnTo>
                    <a:pt x="3743325" y="3030379"/>
                  </a:lnTo>
                  <a:lnTo>
                    <a:pt x="3743325" y="2897029"/>
                  </a:lnTo>
                  <a:lnTo>
                    <a:pt x="4448366" y="2897029"/>
                  </a:lnTo>
                  <a:cubicBezTo>
                    <a:pt x="4994815" y="2897029"/>
                    <a:pt x="5422773" y="2459736"/>
                    <a:pt x="5422773" y="1901476"/>
                  </a:cubicBezTo>
                  <a:cubicBezTo>
                    <a:pt x="5422773" y="1343692"/>
                    <a:pt x="4985671" y="889826"/>
                    <a:pt x="4448366" y="889826"/>
                  </a:cubicBezTo>
                  <a:cubicBezTo>
                    <a:pt x="4180904" y="889826"/>
                    <a:pt x="3933635" y="1001935"/>
                    <a:pt x="3752279" y="1205484"/>
                  </a:cubicBezTo>
                  <a:lnTo>
                    <a:pt x="3668173" y="1299877"/>
                  </a:lnTo>
                  <a:lnTo>
                    <a:pt x="3637788" y="1177100"/>
                  </a:lnTo>
                  <a:cubicBezTo>
                    <a:pt x="3485674" y="562547"/>
                    <a:pt x="2962847" y="133350"/>
                    <a:pt x="2366296" y="133350"/>
                  </a:cubicBezTo>
                  <a:cubicBezTo>
                    <a:pt x="1658207" y="133350"/>
                    <a:pt x="1080040" y="706184"/>
                    <a:pt x="1050036" y="1437513"/>
                  </a:cubicBezTo>
                  <a:lnTo>
                    <a:pt x="1046321" y="1527048"/>
                  </a:lnTo>
                  <a:lnTo>
                    <a:pt x="961644" y="1497806"/>
                  </a:lnTo>
                  <a:cubicBezTo>
                    <a:pt x="925544" y="1485329"/>
                    <a:pt x="869156" y="1485329"/>
                    <a:pt x="828008" y="1485329"/>
                  </a:cubicBezTo>
                  <a:cubicBezTo>
                    <a:pt x="438531" y="1485329"/>
                    <a:pt x="133350" y="1795367"/>
                    <a:pt x="133350" y="2191226"/>
                  </a:cubicBezTo>
                  <a:cubicBezTo>
                    <a:pt x="133350" y="2589371"/>
                    <a:pt x="445008" y="2913221"/>
                    <a:pt x="828008" y="2913221"/>
                  </a:cubicBezTo>
                  <a:lnTo>
                    <a:pt x="1613630" y="2913221"/>
                  </a:lnTo>
                  <a:lnTo>
                    <a:pt x="1613630" y="3046571"/>
                  </a:lnTo>
                  <a:lnTo>
                    <a:pt x="828008" y="3046571"/>
                  </a:lnTo>
                  <a:cubicBezTo>
                    <a:pt x="371475" y="3046571"/>
                    <a:pt x="0" y="2662809"/>
                    <a:pt x="0" y="2191226"/>
                  </a:cubicBezTo>
                  <a:cubicBezTo>
                    <a:pt x="0" y="1964246"/>
                    <a:pt x="86201" y="1752505"/>
                    <a:pt x="242697" y="1594961"/>
                  </a:cubicBezTo>
                  <a:cubicBezTo>
                    <a:pt x="398336" y="1438275"/>
                    <a:pt x="606266" y="1351979"/>
                    <a:pt x="828008" y="1351979"/>
                  </a:cubicBezTo>
                  <a:cubicBezTo>
                    <a:pt x="855440" y="1351979"/>
                    <a:pt x="888302" y="1351979"/>
                    <a:pt x="921830" y="1355122"/>
                  </a:cubicBezTo>
                  <a:cubicBezTo>
                    <a:pt x="954215" y="1000125"/>
                    <a:pt x="1107948" y="670370"/>
                    <a:pt x="1359789" y="419767"/>
                  </a:cubicBezTo>
                  <a:cubicBezTo>
                    <a:pt x="1631728" y="149066"/>
                    <a:pt x="1989201" y="0"/>
                    <a:pt x="2366296" y="0"/>
                  </a:cubicBezTo>
                  <a:close/>
                </a:path>
              </a:pathLst>
            </a:custGeom>
            <a:solidFill>
              <a:schemeClr val="tx1"/>
            </a:solidFill>
            <a:ln w="9525" cap="flat">
              <a:noFill/>
              <a:prstDash val="solid"/>
              <a:miter/>
            </a:ln>
          </p:spPr>
          <p:txBody>
            <a:bodyPr rtlCol="0" anchor="ctr"/>
            <a:lstStyle/>
            <a:p>
              <a:endParaRPr lang="en-IN" dirty="0"/>
            </a:p>
          </p:txBody>
        </p:sp>
      </p:grpSp>
      <p:grpSp>
        <p:nvGrpSpPr>
          <p:cNvPr id="1051" name="Group 1050">
            <a:extLst>
              <a:ext uri="{FF2B5EF4-FFF2-40B4-BE49-F238E27FC236}">
                <a16:creationId xmlns:a16="http://schemas.microsoft.com/office/drawing/2014/main" id="{45FEEF49-153A-43F8-8DDD-BAE82115B0A6}"/>
              </a:ext>
            </a:extLst>
          </p:cNvPr>
          <p:cNvGrpSpPr/>
          <p:nvPr/>
        </p:nvGrpSpPr>
        <p:grpSpPr>
          <a:xfrm>
            <a:off x="4626619" y="4246735"/>
            <a:ext cx="1335542" cy="1351738"/>
            <a:chOff x="4626619" y="4093190"/>
            <a:chExt cx="1335542" cy="1351738"/>
          </a:xfrm>
        </p:grpSpPr>
        <p:sp>
          <p:nvSpPr>
            <p:cNvPr id="542" name="Freeform 3527">
              <a:extLst>
                <a:ext uri="{FF2B5EF4-FFF2-40B4-BE49-F238E27FC236}">
                  <a16:creationId xmlns:a16="http://schemas.microsoft.com/office/drawing/2014/main" id="{8CD20F56-3797-496F-98B5-E2EDA8666C95}"/>
                </a:ext>
              </a:extLst>
            </p:cNvPr>
            <p:cNvSpPr>
              <a:spLocks/>
            </p:cNvSpPr>
            <p:nvPr/>
          </p:nvSpPr>
          <p:spPr bwMode="auto">
            <a:xfrm>
              <a:off x="4655402" y="4140014"/>
              <a:ext cx="1289948" cy="748242"/>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bg1"/>
            </a:solidFill>
            <a:ln>
              <a:solidFill>
                <a:schemeClr val="tx1">
                  <a:lumMod val="50000"/>
                  <a:lumOff val="50000"/>
                </a:schemeClr>
              </a:solidFill>
            </a:ln>
          </p:spPr>
          <p:txBody>
            <a:bodyPr vert="horz" wrap="square" lIns="91440" tIns="45720" rIns="91440" bIns="45720" numCol="1" anchor="b" anchorCtr="0" compatLnSpc="1">
              <a:prstTxWarp prst="textNoShape">
                <a:avLst/>
              </a:prstTxWarp>
            </a:bodyPr>
            <a:lstStyle/>
            <a:p>
              <a:pPr algn="ctr"/>
              <a:endParaRPr lang="en-US" sz="1400" b="1" i="1" dirty="0">
                <a:solidFill>
                  <a:schemeClr val="tx2"/>
                </a:solidFill>
              </a:endParaRPr>
            </a:p>
          </p:txBody>
        </p:sp>
        <p:grpSp>
          <p:nvGrpSpPr>
            <p:cNvPr id="544" name="Group 543">
              <a:extLst>
                <a:ext uri="{FF2B5EF4-FFF2-40B4-BE49-F238E27FC236}">
                  <a16:creationId xmlns:a16="http://schemas.microsoft.com/office/drawing/2014/main" id="{A300BE05-8BA8-4575-8B62-31674F398196}"/>
                </a:ext>
              </a:extLst>
            </p:cNvPr>
            <p:cNvGrpSpPr/>
            <p:nvPr/>
          </p:nvGrpSpPr>
          <p:grpSpPr>
            <a:xfrm>
              <a:off x="4966400" y="4389316"/>
              <a:ext cx="653740" cy="392006"/>
              <a:chOff x="3691256" y="1601064"/>
              <a:chExt cx="3663950" cy="2197030"/>
            </a:xfrm>
          </p:grpSpPr>
          <p:sp>
            <p:nvSpPr>
              <p:cNvPr id="548" name="Rectangle 547">
                <a:extLst>
                  <a:ext uri="{FF2B5EF4-FFF2-40B4-BE49-F238E27FC236}">
                    <a16:creationId xmlns:a16="http://schemas.microsoft.com/office/drawing/2014/main" id="{A91E4BC4-C127-4885-AFC9-D4FD6AB1115A}"/>
                  </a:ext>
                </a:extLst>
              </p:cNvPr>
              <p:cNvSpPr/>
              <p:nvPr/>
            </p:nvSpPr>
            <p:spPr bwMode="auto">
              <a:xfrm>
                <a:off x="5135869" y="2210809"/>
                <a:ext cx="1183921" cy="652233"/>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50" name="Freeform: Shape 549">
                <a:extLst>
                  <a:ext uri="{FF2B5EF4-FFF2-40B4-BE49-F238E27FC236}">
                    <a16:creationId xmlns:a16="http://schemas.microsoft.com/office/drawing/2014/main" id="{A5B03784-DA35-4AB3-BAA1-565893C238F8}"/>
                  </a:ext>
                </a:extLst>
              </p:cNvPr>
              <p:cNvSpPr/>
              <p:nvPr/>
            </p:nvSpPr>
            <p:spPr bwMode="auto">
              <a:xfrm>
                <a:off x="3691256" y="1635015"/>
                <a:ext cx="3663950" cy="189974"/>
              </a:xfrm>
              <a:custGeom>
                <a:avLst/>
                <a:gdLst>
                  <a:gd name="connsiteX0" fmla="*/ 0 w 3702052"/>
                  <a:gd name="connsiteY0" fmla="*/ 0 h 172399"/>
                  <a:gd name="connsiteX1" fmla="*/ 3537711 w 3702052"/>
                  <a:gd name="connsiteY1" fmla="*/ 0 h 172399"/>
                  <a:gd name="connsiteX2" fmla="*/ 3702052 w 3702052"/>
                  <a:gd name="connsiteY2" fmla="*/ 171074 h 172399"/>
                  <a:gd name="connsiteX3" fmla="*/ 3702052 w 3702052"/>
                  <a:gd name="connsiteY3" fmla="*/ 172399 h 172399"/>
                  <a:gd name="connsiteX4" fmla="*/ 0 w 3702052"/>
                  <a:gd name="connsiteY4" fmla="*/ 172399 h 172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2052" h="172399">
                    <a:moveTo>
                      <a:pt x="0" y="0"/>
                    </a:moveTo>
                    <a:lnTo>
                      <a:pt x="3537711" y="0"/>
                    </a:lnTo>
                    <a:lnTo>
                      <a:pt x="3702052" y="171074"/>
                    </a:lnTo>
                    <a:lnTo>
                      <a:pt x="3702052" y="172399"/>
                    </a:lnTo>
                    <a:lnTo>
                      <a:pt x="0" y="172399"/>
                    </a:lnTo>
                    <a:close/>
                  </a:path>
                </a:pathLst>
              </a:cu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51" name="Freeform: Shape 550">
                <a:extLst>
                  <a:ext uri="{FF2B5EF4-FFF2-40B4-BE49-F238E27FC236}">
                    <a16:creationId xmlns:a16="http://schemas.microsoft.com/office/drawing/2014/main" id="{4D5F360E-B824-4BF2-9FC7-BFBF53414FCA}"/>
                  </a:ext>
                </a:extLst>
              </p:cNvPr>
              <p:cNvSpPr/>
              <p:nvPr/>
            </p:nvSpPr>
            <p:spPr bwMode="auto">
              <a:xfrm>
                <a:off x="3691256" y="1636440"/>
                <a:ext cx="92073" cy="2160228"/>
              </a:xfrm>
              <a:custGeom>
                <a:avLst/>
                <a:gdLst>
                  <a:gd name="connsiteX0" fmla="*/ 0 w 92073"/>
                  <a:gd name="connsiteY0" fmla="*/ 0 h 2160228"/>
                  <a:gd name="connsiteX1" fmla="*/ 92073 w 92073"/>
                  <a:gd name="connsiteY1" fmla="*/ 183096 h 2160228"/>
                  <a:gd name="connsiteX2" fmla="*/ 92073 w 92073"/>
                  <a:gd name="connsiteY2" fmla="*/ 2160228 h 2160228"/>
                  <a:gd name="connsiteX3" fmla="*/ 90949 w 92073"/>
                  <a:gd name="connsiteY3" fmla="*/ 2160228 h 2160228"/>
                  <a:gd name="connsiteX4" fmla="*/ 0 w 92073"/>
                  <a:gd name="connsiteY4" fmla="*/ 1979368 h 2160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73" h="2160228">
                    <a:moveTo>
                      <a:pt x="0" y="0"/>
                    </a:moveTo>
                    <a:lnTo>
                      <a:pt x="92073" y="183096"/>
                    </a:lnTo>
                    <a:lnTo>
                      <a:pt x="92073" y="2160228"/>
                    </a:lnTo>
                    <a:lnTo>
                      <a:pt x="90949" y="2160228"/>
                    </a:lnTo>
                    <a:lnTo>
                      <a:pt x="0" y="1979368"/>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52" name="Freeform: Shape 551">
                <a:extLst>
                  <a:ext uri="{FF2B5EF4-FFF2-40B4-BE49-F238E27FC236}">
                    <a16:creationId xmlns:a16="http://schemas.microsoft.com/office/drawing/2014/main" id="{DB2B428F-9E2E-4828-AB56-FA04BE157006}"/>
                  </a:ext>
                </a:extLst>
              </p:cNvPr>
              <p:cNvSpPr/>
              <p:nvPr/>
            </p:nvSpPr>
            <p:spPr bwMode="auto">
              <a:xfrm>
                <a:off x="3783330" y="1824990"/>
                <a:ext cx="3571875" cy="1971675"/>
              </a:xfrm>
              <a:custGeom>
                <a:avLst/>
                <a:gdLst>
                  <a:gd name="connsiteX0" fmla="*/ 1534068 w 3571875"/>
                  <a:gd name="connsiteY0" fmla="*/ 504703 h 1971675"/>
                  <a:gd name="connsiteX1" fmla="*/ 1534068 w 3571875"/>
                  <a:gd name="connsiteY1" fmla="*/ 981187 h 1971675"/>
                  <a:gd name="connsiteX2" fmla="*/ 2536508 w 3571875"/>
                  <a:gd name="connsiteY2" fmla="*/ 981187 h 1971675"/>
                  <a:gd name="connsiteX3" fmla="*/ 2536508 w 3571875"/>
                  <a:gd name="connsiteY3" fmla="*/ 504703 h 1971675"/>
                  <a:gd name="connsiteX4" fmla="*/ 0 w 3571875"/>
                  <a:gd name="connsiteY4" fmla="*/ 0 h 1971675"/>
                  <a:gd name="connsiteX5" fmla="*/ 3571875 w 3571875"/>
                  <a:gd name="connsiteY5" fmla="*/ 0 h 1971675"/>
                  <a:gd name="connsiteX6" fmla="*/ 3571875 w 3571875"/>
                  <a:gd name="connsiteY6" fmla="*/ 1971675 h 1971675"/>
                  <a:gd name="connsiteX7" fmla="*/ 0 w 3571875"/>
                  <a:gd name="connsiteY7" fmla="*/ 1971675 h 197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1875" h="1971675">
                    <a:moveTo>
                      <a:pt x="1534068" y="504703"/>
                    </a:moveTo>
                    <a:lnTo>
                      <a:pt x="1534068" y="981187"/>
                    </a:lnTo>
                    <a:lnTo>
                      <a:pt x="2536508" y="981187"/>
                    </a:lnTo>
                    <a:lnTo>
                      <a:pt x="2536508" y="504703"/>
                    </a:lnTo>
                    <a:close/>
                    <a:moveTo>
                      <a:pt x="0" y="0"/>
                    </a:moveTo>
                    <a:lnTo>
                      <a:pt x="3571875" y="0"/>
                    </a:lnTo>
                    <a:lnTo>
                      <a:pt x="3571875" y="1971675"/>
                    </a:lnTo>
                    <a:lnTo>
                      <a:pt x="0" y="1971675"/>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53" name="Group 552">
                <a:extLst>
                  <a:ext uri="{FF2B5EF4-FFF2-40B4-BE49-F238E27FC236}">
                    <a16:creationId xmlns:a16="http://schemas.microsoft.com/office/drawing/2014/main" id="{D7EC5E05-3C8C-47B6-807E-1FFA1E700B3B}"/>
                  </a:ext>
                </a:extLst>
              </p:cNvPr>
              <p:cNvGrpSpPr/>
              <p:nvPr/>
            </p:nvGrpSpPr>
            <p:grpSpPr>
              <a:xfrm>
                <a:off x="3783329" y="1824987"/>
                <a:ext cx="3571875" cy="1973107"/>
                <a:chOff x="3783329" y="1824987"/>
                <a:chExt cx="3646171" cy="1973107"/>
              </a:xfrm>
              <a:solidFill>
                <a:schemeClr val="accent3">
                  <a:lumMod val="40000"/>
                  <a:lumOff val="60000"/>
                </a:schemeClr>
              </a:solidFill>
            </p:grpSpPr>
            <p:sp>
              <p:nvSpPr>
                <p:cNvPr id="583" name="Rectangle 582">
                  <a:extLst>
                    <a:ext uri="{FF2B5EF4-FFF2-40B4-BE49-F238E27FC236}">
                      <a16:creationId xmlns:a16="http://schemas.microsoft.com/office/drawing/2014/main" id="{9FDC6B39-AC9A-4061-9014-DE49507FE2E4}"/>
                    </a:ext>
                  </a:extLst>
                </p:cNvPr>
                <p:cNvSpPr/>
                <p:nvPr/>
              </p:nvSpPr>
              <p:spPr bwMode="auto">
                <a:xfrm>
                  <a:off x="3783329" y="2306834"/>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84" name="Rectangle 583">
                  <a:extLst>
                    <a:ext uri="{FF2B5EF4-FFF2-40B4-BE49-F238E27FC236}">
                      <a16:creationId xmlns:a16="http://schemas.microsoft.com/office/drawing/2014/main" id="{49DC91E3-14A7-40D4-8D38-5287EC30EA76}"/>
                    </a:ext>
                  </a:extLst>
                </p:cNvPr>
                <p:cNvSpPr/>
                <p:nvPr/>
              </p:nvSpPr>
              <p:spPr bwMode="auto">
                <a:xfrm>
                  <a:off x="3783329" y="2788681"/>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85" name="Rectangle 584">
                  <a:extLst>
                    <a:ext uri="{FF2B5EF4-FFF2-40B4-BE49-F238E27FC236}">
                      <a16:creationId xmlns:a16="http://schemas.microsoft.com/office/drawing/2014/main" id="{F373EE4C-2680-47D9-B12E-3D77CD9A3DD6}"/>
                    </a:ext>
                  </a:extLst>
                </p:cNvPr>
                <p:cNvSpPr/>
                <p:nvPr/>
              </p:nvSpPr>
              <p:spPr bwMode="auto">
                <a:xfrm>
                  <a:off x="3783329" y="3270528"/>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86" name="Rectangle 585">
                  <a:extLst>
                    <a:ext uri="{FF2B5EF4-FFF2-40B4-BE49-F238E27FC236}">
                      <a16:creationId xmlns:a16="http://schemas.microsoft.com/office/drawing/2014/main" id="{8B993C9F-526C-4520-B056-DE0C24FDEA93}"/>
                    </a:ext>
                  </a:extLst>
                </p:cNvPr>
                <p:cNvSpPr/>
                <p:nvPr/>
              </p:nvSpPr>
              <p:spPr bwMode="auto">
                <a:xfrm>
                  <a:off x="3783329" y="1824987"/>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87" name="Rectangle 586">
                  <a:extLst>
                    <a:ext uri="{FF2B5EF4-FFF2-40B4-BE49-F238E27FC236}">
                      <a16:creationId xmlns:a16="http://schemas.microsoft.com/office/drawing/2014/main" id="{03EEAEB5-83EA-40F9-9970-6155C1840AA0}"/>
                    </a:ext>
                  </a:extLst>
                </p:cNvPr>
                <p:cNvSpPr/>
                <p:nvPr/>
              </p:nvSpPr>
              <p:spPr bwMode="auto">
                <a:xfrm>
                  <a:off x="3783329" y="3752375"/>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4" name="Group 553">
                <a:extLst>
                  <a:ext uri="{FF2B5EF4-FFF2-40B4-BE49-F238E27FC236}">
                    <a16:creationId xmlns:a16="http://schemas.microsoft.com/office/drawing/2014/main" id="{97EB3C23-868F-462F-8444-D8F3C8697A5C}"/>
                  </a:ext>
                </a:extLst>
              </p:cNvPr>
              <p:cNvGrpSpPr/>
              <p:nvPr/>
            </p:nvGrpSpPr>
            <p:grpSpPr>
              <a:xfrm>
                <a:off x="4790802" y="2807606"/>
                <a:ext cx="2060667" cy="461493"/>
                <a:chOff x="4790802" y="174246"/>
                <a:chExt cx="2060667" cy="3646171"/>
              </a:xfrm>
              <a:solidFill>
                <a:schemeClr val="accent3">
                  <a:lumMod val="40000"/>
                  <a:lumOff val="60000"/>
                </a:schemeClr>
              </a:solidFill>
            </p:grpSpPr>
            <p:sp>
              <p:nvSpPr>
                <p:cNvPr id="580" name="Rectangle 579">
                  <a:extLst>
                    <a:ext uri="{FF2B5EF4-FFF2-40B4-BE49-F238E27FC236}">
                      <a16:creationId xmlns:a16="http://schemas.microsoft.com/office/drawing/2014/main" id="{22B88905-4D63-41FA-BC1F-F445F09E9616}"/>
                    </a:ext>
                  </a:extLst>
                </p:cNvPr>
                <p:cNvSpPr/>
                <p:nvPr/>
              </p:nvSpPr>
              <p:spPr bwMode="auto">
                <a:xfrm rot="5400000">
                  <a:off x="2990576"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81" name="Rectangle 580">
                  <a:extLst>
                    <a:ext uri="{FF2B5EF4-FFF2-40B4-BE49-F238E27FC236}">
                      <a16:creationId xmlns:a16="http://schemas.microsoft.com/office/drawing/2014/main" id="{7A86563A-9592-4F44-BB70-439902DE8CEB}"/>
                    </a:ext>
                  </a:extLst>
                </p:cNvPr>
                <p:cNvSpPr/>
                <p:nvPr/>
              </p:nvSpPr>
              <p:spPr bwMode="auto">
                <a:xfrm rot="5400000">
                  <a:off x="3998050"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82" name="Rectangle 581">
                  <a:extLst>
                    <a:ext uri="{FF2B5EF4-FFF2-40B4-BE49-F238E27FC236}">
                      <a16:creationId xmlns:a16="http://schemas.microsoft.com/office/drawing/2014/main" id="{90E948C6-FEE5-4984-A2FC-195DA139FDE6}"/>
                    </a:ext>
                  </a:extLst>
                </p:cNvPr>
                <p:cNvSpPr/>
                <p:nvPr/>
              </p:nvSpPr>
              <p:spPr bwMode="auto">
                <a:xfrm rot="5400000">
                  <a:off x="5005524"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5" name="Group 554">
                <a:extLst>
                  <a:ext uri="{FF2B5EF4-FFF2-40B4-BE49-F238E27FC236}">
                    <a16:creationId xmlns:a16="http://schemas.microsoft.com/office/drawing/2014/main" id="{31E5F4E3-A3BD-4FD0-A6BA-1488C95A0CEA}"/>
                  </a:ext>
                </a:extLst>
              </p:cNvPr>
              <p:cNvGrpSpPr/>
              <p:nvPr/>
            </p:nvGrpSpPr>
            <p:grpSpPr>
              <a:xfrm>
                <a:off x="4287065" y="3270529"/>
                <a:ext cx="2060667" cy="480418"/>
                <a:chOff x="4287065" y="174246"/>
                <a:chExt cx="2060667" cy="3646171"/>
              </a:xfrm>
              <a:solidFill>
                <a:schemeClr val="accent3">
                  <a:lumMod val="40000"/>
                  <a:lumOff val="60000"/>
                </a:schemeClr>
              </a:solidFill>
            </p:grpSpPr>
            <p:sp>
              <p:nvSpPr>
                <p:cNvPr id="577" name="Rectangle 576">
                  <a:extLst>
                    <a:ext uri="{FF2B5EF4-FFF2-40B4-BE49-F238E27FC236}">
                      <a16:creationId xmlns:a16="http://schemas.microsoft.com/office/drawing/2014/main" id="{66465222-E3DA-434C-BB2D-6B999D51D372}"/>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8" name="Rectangle 577">
                  <a:extLst>
                    <a:ext uri="{FF2B5EF4-FFF2-40B4-BE49-F238E27FC236}">
                      <a16:creationId xmlns:a16="http://schemas.microsoft.com/office/drawing/2014/main" id="{147E8D47-246A-4E0A-A3FE-2C2C7057F71A}"/>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9" name="Rectangle 578">
                  <a:extLst>
                    <a:ext uri="{FF2B5EF4-FFF2-40B4-BE49-F238E27FC236}">
                      <a16:creationId xmlns:a16="http://schemas.microsoft.com/office/drawing/2014/main" id="{E2059A7F-A17E-451A-9DD0-03C9D87DFE6D}"/>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6" name="Group 555">
                <a:extLst>
                  <a:ext uri="{FF2B5EF4-FFF2-40B4-BE49-F238E27FC236}">
                    <a16:creationId xmlns:a16="http://schemas.microsoft.com/office/drawing/2014/main" id="{95616419-B77B-4069-BA75-25EAE46D19BC}"/>
                  </a:ext>
                </a:extLst>
              </p:cNvPr>
              <p:cNvGrpSpPr/>
              <p:nvPr/>
            </p:nvGrpSpPr>
            <p:grpSpPr>
              <a:xfrm>
                <a:off x="4287065" y="2306835"/>
                <a:ext cx="2060667" cy="512566"/>
                <a:chOff x="4287065" y="174246"/>
                <a:chExt cx="2060667" cy="3646171"/>
              </a:xfrm>
              <a:solidFill>
                <a:schemeClr val="accent3">
                  <a:lumMod val="40000"/>
                  <a:lumOff val="60000"/>
                </a:schemeClr>
              </a:solidFill>
            </p:grpSpPr>
            <p:sp>
              <p:nvSpPr>
                <p:cNvPr id="574" name="Rectangle 573">
                  <a:extLst>
                    <a:ext uri="{FF2B5EF4-FFF2-40B4-BE49-F238E27FC236}">
                      <a16:creationId xmlns:a16="http://schemas.microsoft.com/office/drawing/2014/main" id="{2A4174CE-1C8C-43E0-9C8C-4939A8ABDEED}"/>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5" name="Rectangle 574">
                  <a:extLst>
                    <a:ext uri="{FF2B5EF4-FFF2-40B4-BE49-F238E27FC236}">
                      <a16:creationId xmlns:a16="http://schemas.microsoft.com/office/drawing/2014/main" id="{8343B340-7718-4269-8792-64C8773DDF09}"/>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6" name="Rectangle 575">
                  <a:extLst>
                    <a:ext uri="{FF2B5EF4-FFF2-40B4-BE49-F238E27FC236}">
                      <a16:creationId xmlns:a16="http://schemas.microsoft.com/office/drawing/2014/main" id="{9DD22F2C-6ACE-4B77-BB56-EC4A395A3D29}"/>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57" name="Rectangle 556">
                <a:extLst>
                  <a:ext uri="{FF2B5EF4-FFF2-40B4-BE49-F238E27FC236}">
                    <a16:creationId xmlns:a16="http://schemas.microsoft.com/office/drawing/2014/main" id="{E9FD61A9-0C9A-41FB-8EA2-B013093C3DC9}"/>
                  </a:ext>
                </a:extLst>
              </p:cNvPr>
              <p:cNvSpPr/>
              <p:nvPr/>
            </p:nvSpPr>
            <p:spPr bwMode="auto">
              <a:xfrm rot="5400000">
                <a:off x="4582915"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58" name="Rectangle 557">
                <a:extLst>
                  <a:ext uri="{FF2B5EF4-FFF2-40B4-BE49-F238E27FC236}">
                    <a16:creationId xmlns:a16="http://schemas.microsoft.com/office/drawing/2014/main" id="{80EE5F38-8216-4FDB-9C77-0174583ED2E4}"/>
                  </a:ext>
                </a:extLst>
              </p:cNvPr>
              <p:cNvSpPr/>
              <p:nvPr/>
            </p:nvSpPr>
            <p:spPr bwMode="auto">
              <a:xfrm rot="5400000">
                <a:off x="5590389"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59" name="Rectangle 558">
                <a:extLst>
                  <a:ext uri="{FF2B5EF4-FFF2-40B4-BE49-F238E27FC236}">
                    <a16:creationId xmlns:a16="http://schemas.microsoft.com/office/drawing/2014/main" id="{FB00DC6D-5BBF-4D6C-8D8D-D83D58FB0DD8}"/>
                  </a:ext>
                </a:extLst>
              </p:cNvPr>
              <p:cNvSpPr/>
              <p:nvPr/>
            </p:nvSpPr>
            <p:spPr bwMode="auto">
              <a:xfrm rot="5400000">
                <a:off x="6597863"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60" name="Freeform: Shape 559">
                <a:extLst>
                  <a:ext uri="{FF2B5EF4-FFF2-40B4-BE49-F238E27FC236}">
                    <a16:creationId xmlns:a16="http://schemas.microsoft.com/office/drawing/2014/main" id="{8E646AEE-7D33-4D9E-86D7-22BA081D5E86}"/>
                  </a:ext>
                </a:extLst>
              </p:cNvPr>
              <p:cNvSpPr/>
              <p:nvPr/>
            </p:nvSpPr>
            <p:spPr bwMode="auto">
              <a:xfrm rot="3455028">
                <a:off x="4617420"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61" name="Freeform: Shape 560">
                <a:extLst>
                  <a:ext uri="{FF2B5EF4-FFF2-40B4-BE49-F238E27FC236}">
                    <a16:creationId xmlns:a16="http://schemas.microsoft.com/office/drawing/2014/main" id="{3F15F4E0-E6C4-4A79-970D-87A306D134FC}"/>
                  </a:ext>
                </a:extLst>
              </p:cNvPr>
              <p:cNvSpPr/>
              <p:nvPr/>
            </p:nvSpPr>
            <p:spPr bwMode="auto">
              <a:xfrm rot="3455028">
                <a:off x="5629699"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62" name="Freeform: Shape 561">
                <a:extLst>
                  <a:ext uri="{FF2B5EF4-FFF2-40B4-BE49-F238E27FC236}">
                    <a16:creationId xmlns:a16="http://schemas.microsoft.com/office/drawing/2014/main" id="{578A56E5-B4F6-4977-88A2-B440E6F0D6BB}"/>
                  </a:ext>
                </a:extLst>
              </p:cNvPr>
              <p:cNvSpPr/>
              <p:nvPr/>
            </p:nvSpPr>
            <p:spPr bwMode="auto">
              <a:xfrm rot="3455028">
                <a:off x="6632365"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63" name="Freeform: Shape 562">
                <a:extLst>
                  <a:ext uri="{FF2B5EF4-FFF2-40B4-BE49-F238E27FC236}">
                    <a16:creationId xmlns:a16="http://schemas.microsoft.com/office/drawing/2014/main" id="{1A5BC16F-6260-4CB6-ADDB-127FE9BC1C14}"/>
                  </a:ext>
                </a:extLst>
              </p:cNvPr>
              <p:cNvSpPr/>
              <p:nvPr/>
            </p:nvSpPr>
            <p:spPr bwMode="auto">
              <a:xfrm rot="3455028">
                <a:off x="3627741" y="2240386"/>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64" name="Freeform: Shape 563">
                <a:extLst>
                  <a:ext uri="{FF2B5EF4-FFF2-40B4-BE49-F238E27FC236}">
                    <a16:creationId xmlns:a16="http://schemas.microsoft.com/office/drawing/2014/main" id="{6D348B43-40B9-459E-A12A-B40A6D38C09B}"/>
                  </a:ext>
                </a:extLst>
              </p:cNvPr>
              <p:cNvSpPr/>
              <p:nvPr/>
            </p:nvSpPr>
            <p:spPr bwMode="auto">
              <a:xfrm rot="3455028">
                <a:off x="3627741" y="2724233"/>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3" name="Freeform: Shape 572">
                <a:extLst>
                  <a:ext uri="{FF2B5EF4-FFF2-40B4-BE49-F238E27FC236}">
                    <a16:creationId xmlns:a16="http://schemas.microsoft.com/office/drawing/2014/main" id="{4E445AB8-E739-469D-886A-AEBBA0D8367B}"/>
                  </a:ext>
                </a:extLst>
              </p:cNvPr>
              <p:cNvSpPr/>
              <p:nvPr/>
            </p:nvSpPr>
            <p:spPr bwMode="auto">
              <a:xfrm rot="3455028">
                <a:off x="3627741" y="3207700"/>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88" name="Rectangle 587">
              <a:extLst>
                <a:ext uri="{FF2B5EF4-FFF2-40B4-BE49-F238E27FC236}">
                  <a16:creationId xmlns:a16="http://schemas.microsoft.com/office/drawing/2014/main" id="{A91C469F-5ED1-4A01-A9C4-7B8D2F8FE876}"/>
                </a:ext>
              </a:extLst>
            </p:cNvPr>
            <p:cNvSpPr/>
            <p:nvPr/>
          </p:nvSpPr>
          <p:spPr>
            <a:xfrm>
              <a:off x="4626619" y="4983263"/>
              <a:ext cx="1335542" cy="461665"/>
            </a:xfrm>
            <a:prstGeom prst="rect">
              <a:avLst/>
            </a:prstGeom>
          </p:spPr>
          <p:txBody>
            <a:bodyPr wrap="square">
              <a:spAutoFit/>
            </a:bodyPr>
            <a:lstStyle/>
            <a:p>
              <a:pPr lvl="0" algn="ctr"/>
              <a:r>
                <a:rPr lang="en-US" sz="1200" b="1" i="1" dirty="0">
                  <a:solidFill>
                    <a:schemeClr val="accent4"/>
                  </a:solidFill>
                </a:rPr>
                <a:t>Inbound</a:t>
              </a:r>
              <a:br>
                <a:rPr lang="en-US" sz="1200" b="1" i="1" dirty="0">
                  <a:solidFill>
                    <a:schemeClr val="accent4"/>
                  </a:solidFill>
                </a:rPr>
              </a:br>
              <a:r>
                <a:rPr lang="en-US" sz="1200" b="1" i="1" dirty="0">
                  <a:solidFill>
                    <a:schemeClr val="accent4"/>
                  </a:solidFill>
                </a:rPr>
                <a:t>port closed</a:t>
              </a:r>
            </a:p>
          </p:txBody>
        </p:sp>
        <p:grpSp>
          <p:nvGrpSpPr>
            <p:cNvPr id="599" name="Group 598">
              <a:extLst>
                <a:ext uri="{FF2B5EF4-FFF2-40B4-BE49-F238E27FC236}">
                  <a16:creationId xmlns:a16="http://schemas.microsoft.com/office/drawing/2014/main" id="{1F6F213E-404F-471C-B4FD-3A0AF3E82F8A}"/>
                </a:ext>
              </a:extLst>
            </p:cNvPr>
            <p:cNvGrpSpPr/>
            <p:nvPr/>
          </p:nvGrpSpPr>
          <p:grpSpPr>
            <a:xfrm>
              <a:off x="5123748" y="4093190"/>
              <a:ext cx="326858" cy="326856"/>
              <a:chOff x="4212208" y="3043054"/>
              <a:chExt cx="372129" cy="372129"/>
            </a:xfrm>
          </p:grpSpPr>
          <p:sp>
            <p:nvSpPr>
              <p:cNvPr id="600" name="Oval 599">
                <a:extLst>
                  <a:ext uri="{FF2B5EF4-FFF2-40B4-BE49-F238E27FC236}">
                    <a16:creationId xmlns:a16="http://schemas.microsoft.com/office/drawing/2014/main" id="{70FC4BCF-A9E5-4403-9EB6-001E1D0C771A}"/>
                  </a:ext>
                </a:extLst>
              </p:cNvPr>
              <p:cNvSpPr/>
              <p:nvPr/>
            </p:nvSpPr>
            <p:spPr bwMode="auto">
              <a:xfrm>
                <a:off x="4212208" y="3043054"/>
                <a:ext cx="372129" cy="37212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01" name="Rectangle 492">
                <a:extLst>
                  <a:ext uri="{FF2B5EF4-FFF2-40B4-BE49-F238E27FC236}">
                    <a16:creationId xmlns:a16="http://schemas.microsoft.com/office/drawing/2014/main" id="{D64F9501-097A-4E09-83A9-E9C2662E29EE}"/>
                  </a:ext>
                </a:extLst>
              </p:cNvPr>
              <p:cNvSpPr>
                <a:spLocks noChangeArrowheads="1"/>
              </p:cNvSpPr>
              <p:nvPr/>
            </p:nvSpPr>
            <p:spPr bwMode="auto">
              <a:xfrm>
                <a:off x="4316287" y="3221038"/>
                <a:ext cx="172298" cy="11276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602" name="Group 601">
                <a:extLst>
                  <a:ext uri="{FF2B5EF4-FFF2-40B4-BE49-F238E27FC236}">
                    <a16:creationId xmlns:a16="http://schemas.microsoft.com/office/drawing/2014/main" id="{2697089D-A618-4944-8DC4-912905AD29EC}"/>
                  </a:ext>
                </a:extLst>
              </p:cNvPr>
              <p:cNvGrpSpPr/>
              <p:nvPr/>
            </p:nvGrpSpPr>
            <p:grpSpPr>
              <a:xfrm>
                <a:off x="4352708" y="3105472"/>
                <a:ext cx="102258" cy="115566"/>
                <a:chOff x="3442122" y="3889011"/>
                <a:chExt cx="231775" cy="261938"/>
              </a:xfrm>
              <a:solidFill>
                <a:schemeClr val="tx2"/>
              </a:solidFill>
            </p:grpSpPr>
            <p:sp>
              <p:nvSpPr>
                <p:cNvPr id="606" name="Freeform 488">
                  <a:extLst>
                    <a:ext uri="{FF2B5EF4-FFF2-40B4-BE49-F238E27FC236}">
                      <a16:creationId xmlns:a16="http://schemas.microsoft.com/office/drawing/2014/main" id="{F09E803B-C151-45A9-8336-589F36BB463A}"/>
                    </a:ext>
                  </a:extLst>
                </p:cNvPr>
                <p:cNvSpPr>
                  <a:spLocks/>
                </p:cNvSpPr>
                <p:nvPr/>
              </p:nvSpPr>
              <p:spPr bwMode="auto">
                <a:xfrm>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 name="Freeform 488">
                  <a:extLst>
                    <a:ext uri="{FF2B5EF4-FFF2-40B4-BE49-F238E27FC236}">
                      <a16:creationId xmlns:a16="http://schemas.microsoft.com/office/drawing/2014/main" id="{EEEF2C1B-3958-4CA0-8657-44516F6CCCEA}"/>
                    </a:ext>
                  </a:extLst>
                </p:cNvPr>
                <p:cNvSpPr>
                  <a:spLocks/>
                </p:cNvSpPr>
                <p:nvPr/>
              </p:nvSpPr>
              <p:spPr bwMode="auto">
                <a:xfrm flipH="1">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03" name="Rectangle 487">
                <a:extLst>
                  <a:ext uri="{FF2B5EF4-FFF2-40B4-BE49-F238E27FC236}">
                    <a16:creationId xmlns:a16="http://schemas.microsoft.com/office/drawing/2014/main" id="{CB0F98ED-E8B7-4940-B0D5-A70661859116}"/>
                  </a:ext>
                </a:extLst>
              </p:cNvPr>
              <p:cNvSpPr>
                <a:spLocks noChangeArrowheads="1"/>
              </p:cNvSpPr>
              <p:nvPr/>
            </p:nvSpPr>
            <p:spPr bwMode="auto">
              <a:xfrm>
                <a:off x="4329595" y="3231544"/>
                <a:ext cx="148484" cy="9175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 name="Oval 493">
                <a:extLst>
                  <a:ext uri="{FF2B5EF4-FFF2-40B4-BE49-F238E27FC236}">
                    <a16:creationId xmlns:a16="http://schemas.microsoft.com/office/drawing/2014/main" id="{278045BC-353E-4C2F-94ED-7DC8DFA4B39C}"/>
                  </a:ext>
                </a:extLst>
              </p:cNvPr>
              <p:cNvSpPr>
                <a:spLocks noChangeArrowheads="1"/>
              </p:cNvSpPr>
              <p:nvPr/>
            </p:nvSpPr>
            <p:spPr bwMode="auto">
              <a:xfrm>
                <a:off x="4388428" y="3257458"/>
                <a:ext cx="27316" cy="252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 name="Freeform 494">
                <a:extLst>
                  <a:ext uri="{FF2B5EF4-FFF2-40B4-BE49-F238E27FC236}">
                    <a16:creationId xmlns:a16="http://schemas.microsoft.com/office/drawing/2014/main" id="{691855E6-FDC2-412E-A72D-C41BCEB76AB6}"/>
                  </a:ext>
                </a:extLst>
              </p:cNvPr>
              <p:cNvSpPr>
                <a:spLocks/>
              </p:cNvSpPr>
              <p:nvPr/>
            </p:nvSpPr>
            <p:spPr bwMode="auto">
              <a:xfrm>
                <a:off x="4391930" y="3274268"/>
                <a:ext cx="21012" cy="28016"/>
              </a:xfrm>
              <a:custGeom>
                <a:avLst/>
                <a:gdLst>
                  <a:gd name="T0" fmla="*/ 30 w 30"/>
                  <a:gd name="T1" fmla="*/ 40 h 40"/>
                  <a:gd name="T2" fmla="*/ 0 w 30"/>
                  <a:gd name="T3" fmla="*/ 40 h 40"/>
                  <a:gd name="T4" fmla="*/ 6 w 30"/>
                  <a:gd name="T5" fmla="*/ 0 h 40"/>
                  <a:gd name="T6" fmla="*/ 24 w 30"/>
                  <a:gd name="T7" fmla="*/ 0 h 40"/>
                  <a:gd name="T8" fmla="*/ 30 w 30"/>
                  <a:gd name="T9" fmla="*/ 40 h 40"/>
                </a:gdLst>
                <a:ahLst/>
                <a:cxnLst>
                  <a:cxn ang="0">
                    <a:pos x="T0" y="T1"/>
                  </a:cxn>
                  <a:cxn ang="0">
                    <a:pos x="T2" y="T3"/>
                  </a:cxn>
                  <a:cxn ang="0">
                    <a:pos x="T4" y="T5"/>
                  </a:cxn>
                  <a:cxn ang="0">
                    <a:pos x="T6" y="T7"/>
                  </a:cxn>
                  <a:cxn ang="0">
                    <a:pos x="T8" y="T9"/>
                  </a:cxn>
                </a:cxnLst>
                <a:rect l="0" t="0" r="r" b="b"/>
                <a:pathLst>
                  <a:path w="30" h="40">
                    <a:moveTo>
                      <a:pt x="30" y="40"/>
                    </a:moveTo>
                    <a:lnTo>
                      <a:pt x="0" y="40"/>
                    </a:lnTo>
                    <a:lnTo>
                      <a:pt x="6" y="0"/>
                    </a:lnTo>
                    <a:lnTo>
                      <a:pt x="24" y="0"/>
                    </a:lnTo>
                    <a:lnTo>
                      <a:pt x="3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50" name="Group 1049">
            <a:extLst>
              <a:ext uri="{FF2B5EF4-FFF2-40B4-BE49-F238E27FC236}">
                <a16:creationId xmlns:a16="http://schemas.microsoft.com/office/drawing/2014/main" id="{29C85DBB-BB23-49A2-8D57-07A85B417354}"/>
              </a:ext>
            </a:extLst>
          </p:cNvPr>
          <p:cNvGrpSpPr/>
          <p:nvPr/>
        </p:nvGrpSpPr>
        <p:grpSpPr>
          <a:xfrm>
            <a:off x="2464137" y="3900610"/>
            <a:ext cx="1390313" cy="1697863"/>
            <a:chOff x="2464137" y="3747065"/>
            <a:chExt cx="1390313" cy="1697863"/>
          </a:xfrm>
        </p:grpSpPr>
        <p:grpSp>
          <p:nvGrpSpPr>
            <p:cNvPr id="22" name="Group 21">
              <a:extLst>
                <a:ext uri="{FF2B5EF4-FFF2-40B4-BE49-F238E27FC236}">
                  <a16:creationId xmlns:a16="http://schemas.microsoft.com/office/drawing/2014/main" id="{AB05CA4B-DB26-49DF-98A1-141488AEF55F}"/>
                </a:ext>
              </a:extLst>
            </p:cNvPr>
            <p:cNvGrpSpPr/>
            <p:nvPr/>
          </p:nvGrpSpPr>
          <p:grpSpPr>
            <a:xfrm>
              <a:off x="2464137" y="3747065"/>
              <a:ext cx="1390313" cy="1697863"/>
              <a:chOff x="2464137" y="3747065"/>
              <a:chExt cx="1390313" cy="1697863"/>
            </a:xfrm>
          </p:grpSpPr>
          <p:grpSp>
            <p:nvGrpSpPr>
              <p:cNvPr id="11" name="Group 10">
                <a:extLst>
                  <a:ext uri="{FF2B5EF4-FFF2-40B4-BE49-F238E27FC236}">
                    <a16:creationId xmlns:a16="http://schemas.microsoft.com/office/drawing/2014/main" id="{7700D0FD-E21F-482A-A694-2EDBF7F7D9DD}"/>
                  </a:ext>
                </a:extLst>
              </p:cNvPr>
              <p:cNvGrpSpPr/>
              <p:nvPr/>
            </p:nvGrpSpPr>
            <p:grpSpPr>
              <a:xfrm>
                <a:off x="2464137" y="3747065"/>
                <a:ext cx="1373502" cy="1141190"/>
                <a:chOff x="686526" y="4188396"/>
                <a:chExt cx="1740000" cy="1445699"/>
              </a:xfrm>
            </p:grpSpPr>
            <p:sp>
              <p:nvSpPr>
                <p:cNvPr id="406" name="Freeform 3527">
                  <a:extLst>
                    <a:ext uri="{FF2B5EF4-FFF2-40B4-BE49-F238E27FC236}">
                      <a16:creationId xmlns:a16="http://schemas.microsoft.com/office/drawing/2014/main" id="{B85DA860-AE0D-4F7E-9B80-46339054F27C}"/>
                    </a:ext>
                  </a:extLst>
                </p:cNvPr>
                <p:cNvSpPr>
                  <a:spLocks/>
                </p:cNvSpPr>
                <p:nvPr/>
              </p:nvSpPr>
              <p:spPr bwMode="auto">
                <a:xfrm>
                  <a:off x="792375" y="4686196"/>
                  <a:ext cx="1634151" cy="947899"/>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bg1"/>
                </a:solidFill>
                <a:ln>
                  <a:solidFill>
                    <a:schemeClr val="tx1">
                      <a:lumMod val="50000"/>
                      <a:lumOff val="50000"/>
                    </a:schemeClr>
                  </a:solidFill>
                </a:ln>
              </p:spPr>
              <p:txBody>
                <a:bodyPr vert="horz" wrap="square" lIns="91440" tIns="45720" rIns="91440" bIns="45720" numCol="1" anchor="b" anchorCtr="0" compatLnSpc="1">
                  <a:prstTxWarp prst="textNoShape">
                    <a:avLst/>
                  </a:prstTxWarp>
                </a:bodyPr>
                <a:lstStyle/>
                <a:p>
                  <a:pPr algn="ctr"/>
                  <a:endParaRPr lang="en-US" sz="1400" b="1" i="1" dirty="0">
                    <a:solidFill>
                      <a:schemeClr val="tx2"/>
                    </a:solidFill>
                  </a:endParaRPr>
                </a:p>
              </p:txBody>
            </p:sp>
            <p:cxnSp>
              <p:nvCxnSpPr>
                <p:cNvPr id="429" name="Straight Arrow Connector 428">
                  <a:extLst>
                    <a:ext uri="{FF2B5EF4-FFF2-40B4-BE49-F238E27FC236}">
                      <a16:creationId xmlns:a16="http://schemas.microsoft.com/office/drawing/2014/main" id="{21C56B15-2B32-417D-9F6E-C27BCDA02518}"/>
                    </a:ext>
                  </a:extLst>
                </p:cNvPr>
                <p:cNvCxnSpPr>
                  <a:cxnSpLocks/>
                </p:cNvCxnSpPr>
                <p:nvPr/>
              </p:nvCxnSpPr>
              <p:spPr>
                <a:xfrm>
                  <a:off x="686526" y="4722827"/>
                  <a:ext cx="289901" cy="224350"/>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90" name="Group 389">
                  <a:extLst>
                    <a:ext uri="{FF2B5EF4-FFF2-40B4-BE49-F238E27FC236}">
                      <a16:creationId xmlns:a16="http://schemas.microsoft.com/office/drawing/2014/main" id="{B9DB8D17-CDC1-46F7-B05F-9E00B11136EC}"/>
                    </a:ext>
                  </a:extLst>
                </p:cNvPr>
                <p:cNvGrpSpPr/>
                <p:nvPr/>
              </p:nvGrpSpPr>
              <p:grpSpPr>
                <a:xfrm>
                  <a:off x="1186358" y="5002021"/>
                  <a:ext cx="828180" cy="496606"/>
                  <a:chOff x="3691256" y="1601064"/>
                  <a:chExt cx="3663950" cy="2197030"/>
                </a:xfrm>
              </p:grpSpPr>
              <p:sp>
                <p:nvSpPr>
                  <p:cNvPr id="391" name="Freeform: Shape 390">
                    <a:extLst>
                      <a:ext uri="{FF2B5EF4-FFF2-40B4-BE49-F238E27FC236}">
                        <a16:creationId xmlns:a16="http://schemas.microsoft.com/office/drawing/2014/main" id="{AF50C431-BD07-47A1-9500-A3464D02DA71}"/>
                      </a:ext>
                    </a:extLst>
                  </p:cNvPr>
                  <p:cNvSpPr/>
                  <p:nvPr/>
                </p:nvSpPr>
                <p:spPr bwMode="auto">
                  <a:xfrm>
                    <a:off x="6159501" y="2210807"/>
                    <a:ext cx="160292" cy="652232"/>
                  </a:xfrm>
                  <a:custGeom>
                    <a:avLst/>
                    <a:gdLst>
                      <a:gd name="connsiteX0" fmla="*/ 0 w 285028"/>
                      <a:gd name="connsiteY0" fmla="*/ 0 h 2235997"/>
                      <a:gd name="connsiteX1" fmla="*/ 285028 w 285028"/>
                      <a:gd name="connsiteY1" fmla="*/ 258865 h 2235997"/>
                      <a:gd name="connsiteX2" fmla="*/ 285028 w 285028"/>
                      <a:gd name="connsiteY2" fmla="*/ 2235997 h 2235997"/>
                      <a:gd name="connsiteX3" fmla="*/ 282567 w 285028"/>
                      <a:gd name="connsiteY3" fmla="*/ 2235997 h 2235997"/>
                      <a:gd name="connsiteX4" fmla="*/ 0 w 285028"/>
                      <a:gd name="connsiteY4" fmla="*/ 1979368 h 2235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028" h="2235997">
                        <a:moveTo>
                          <a:pt x="0" y="0"/>
                        </a:moveTo>
                        <a:lnTo>
                          <a:pt x="285028" y="258865"/>
                        </a:lnTo>
                        <a:lnTo>
                          <a:pt x="285028" y="2235997"/>
                        </a:lnTo>
                        <a:lnTo>
                          <a:pt x="282567" y="2235997"/>
                        </a:lnTo>
                        <a:lnTo>
                          <a:pt x="0" y="1979368"/>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92" name="Freeform: Shape 391">
                    <a:extLst>
                      <a:ext uri="{FF2B5EF4-FFF2-40B4-BE49-F238E27FC236}">
                        <a16:creationId xmlns:a16="http://schemas.microsoft.com/office/drawing/2014/main" id="{8DDAEB32-6A37-43E2-8588-7F2DA08A29B5}"/>
                      </a:ext>
                    </a:extLst>
                  </p:cNvPr>
                  <p:cNvSpPr/>
                  <p:nvPr/>
                </p:nvSpPr>
                <p:spPr bwMode="auto">
                  <a:xfrm>
                    <a:off x="4204607" y="2676526"/>
                    <a:ext cx="2097406" cy="116916"/>
                  </a:xfrm>
                  <a:custGeom>
                    <a:avLst/>
                    <a:gdLst>
                      <a:gd name="connsiteX0" fmla="*/ 0 w 3857624"/>
                      <a:gd name="connsiteY0" fmla="*/ 0 h 238124"/>
                      <a:gd name="connsiteX1" fmla="*/ 3594366 w 3857624"/>
                      <a:gd name="connsiteY1" fmla="*/ 0 h 238124"/>
                      <a:gd name="connsiteX2" fmla="*/ 3857624 w 3857624"/>
                      <a:gd name="connsiteY2" fmla="*/ 236930 h 238124"/>
                      <a:gd name="connsiteX3" fmla="*/ 3857624 w 3857624"/>
                      <a:gd name="connsiteY3" fmla="*/ 238124 h 238124"/>
                      <a:gd name="connsiteX4" fmla="*/ 0 w 3857624"/>
                      <a:gd name="connsiteY4" fmla="*/ 238124 h 238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624" h="238124">
                        <a:moveTo>
                          <a:pt x="0" y="0"/>
                        </a:moveTo>
                        <a:lnTo>
                          <a:pt x="3594366" y="0"/>
                        </a:lnTo>
                        <a:lnTo>
                          <a:pt x="3857624" y="236930"/>
                        </a:lnTo>
                        <a:lnTo>
                          <a:pt x="3857624" y="238124"/>
                        </a:lnTo>
                        <a:lnTo>
                          <a:pt x="0" y="238124"/>
                        </a:lnTo>
                        <a:close/>
                      </a:path>
                    </a:pathLst>
                  </a:cu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93" name="Freeform: Shape 392">
                    <a:extLst>
                      <a:ext uri="{FF2B5EF4-FFF2-40B4-BE49-F238E27FC236}">
                        <a16:creationId xmlns:a16="http://schemas.microsoft.com/office/drawing/2014/main" id="{D05B1B4C-D0FC-4360-BD7C-C2EB44199579}"/>
                      </a:ext>
                    </a:extLst>
                  </p:cNvPr>
                  <p:cNvSpPr/>
                  <p:nvPr/>
                </p:nvSpPr>
                <p:spPr bwMode="auto">
                  <a:xfrm>
                    <a:off x="3691256" y="1635015"/>
                    <a:ext cx="3663950" cy="189974"/>
                  </a:xfrm>
                  <a:custGeom>
                    <a:avLst/>
                    <a:gdLst>
                      <a:gd name="connsiteX0" fmla="*/ 0 w 3702052"/>
                      <a:gd name="connsiteY0" fmla="*/ 0 h 172399"/>
                      <a:gd name="connsiteX1" fmla="*/ 3537711 w 3702052"/>
                      <a:gd name="connsiteY1" fmla="*/ 0 h 172399"/>
                      <a:gd name="connsiteX2" fmla="*/ 3702052 w 3702052"/>
                      <a:gd name="connsiteY2" fmla="*/ 171074 h 172399"/>
                      <a:gd name="connsiteX3" fmla="*/ 3702052 w 3702052"/>
                      <a:gd name="connsiteY3" fmla="*/ 172399 h 172399"/>
                      <a:gd name="connsiteX4" fmla="*/ 0 w 3702052"/>
                      <a:gd name="connsiteY4" fmla="*/ 172399 h 172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2052" h="172399">
                        <a:moveTo>
                          <a:pt x="0" y="0"/>
                        </a:moveTo>
                        <a:lnTo>
                          <a:pt x="3537711" y="0"/>
                        </a:lnTo>
                        <a:lnTo>
                          <a:pt x="3702052" y="171074"/>
                        </a:lnTo>
                        <a:lnTo>
                          <a:pt x="3702052" y="172399"/>
                        </a:lnTo>
                        <a:lnTo>
                          <a:pt x="0" y="172399"/>
                        </a:lnTo>
                        <a:close/>
                      </a:path>
                    </a:pathLst>
                  </a:cu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94" name="Freeform: Shape 393">
                    <a:extLst>
                      <a:ext uri="{FF2B5EF4-FFF2-40B4-BE49-F238E27FC236}">
                        <a16:creationId xmlns:a16="http://schemas.microsoft.com/office/drawing/2014/main" id="{24EC406F-A1C2-4017-97EA-727176444F7F}"/>
                      </a:ext>
                    </a:extLst>
                  </p:cNvPr>
                  <p:cNvSpPr/>
                  <p:nvPr/>
                </p:nvSpPr>
                <p:spPr bwMode="auto">
                  <a:xfrm>
                    <a:off x="3691256" y="1636440"/>
                    <a:ext cx="92073" cy="2160228"/>
                  </a:xfrm>
                  <a:custGeom>
                    <a:avLst/>
                    <a:gdLst>
                      <a:gd name="connsiteX0" fmla="*/ 0 w 92073"/>
                      <a:gd name="connsiteY0" fmla="*/ 0 h 2160228"/>
                      <a:gd name="connsiteX1" fmla="*/ 92073 w 92073"/>
                      <a:gd name="connsiteY1" fmla="*/ 183096 h 2160228"/>
                      <a:gd name="connsiteX2" fmla="*/ 92073 w 92073"/>
                      <a:gd name="connsiteY2" fmla="*/ 2160228 h 2160228"/>
                      <a:gd name="connsiteX3" fmla="*/ 90949 w 92073"/>
                      <a:gd name="connsiteY3" fmla="*/ 2160228 h 2160228"/>
                      <a:gd name="connsiteX4" fmla="*/ 0 w 92073"/>
                      <a:gd name="connsiteY4" fmla="*/ 1979368 h 2160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73" h="2160228">
                        <a:moveTo>
                          <a:pt x="0" y="0"/>
                        </a:moveTo>
                        <a:lnTo>
                          <a:pt x="92073" y="183096"/>
                        </a:lnTo>
                        <a:lnTo>
                          <a:pt x="92073" y="2160228"/>
                        </a:lnTo>
                        <a:lnTo>
                          <a:pt x="90949" y="2160228"/>
                        </a:lnTo>
                        <a:lnTo>
                          <a:pt x="0" y="1979368"/>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95" name="Freeform: Shape 394">
                    <a:extLst>
                      <a:ext uri="{FF2B5EF4-FFF2-40B4-BE49-F238E27FC236}">
                        <a16:creationId xmlns:a16="http://schemas.microsoft.com/office/drawing/2014/main" id="{97C66D20-A45E-4F48-813E-F9DACCC6FF4D}"/>
                      </a:ext>
                    </a:extLst>
                  </p:cNvPr>
                  <p:cNvSpPr/>
                  <p:nvPr/>
                </p:nvSpPr>
                <p:spPr bwMode="auto">
                  <a:xfrm>
                    <a:off x="3783330" y="1824990"/>
                    <a:ext cx="3571875" cy="1971675"/>
                  </a:xfrm>
                  <a:custGeom>
                    <a:avLst/>
                    <a:gdLst>
                      <a:gd name="connsiteX0" fmla="*/ 1534068 w 3571875"/>
                      <a:gd name="connsiteY0" fmla="*/ 504703 h 1971675"/>
                      <a:gd name="connsiteX1" fmla="*/ 1534068 w 3571875"/>
                      <a:gd name="connsiteY1" fmla="*/ 981187 h 1971675"/>
                      <a:gd name="connsiteX2" fmla="*/ 2536508 w 3571875"/>
                      <a:gd name="connsiteY2" fmla="*/ 981187 h 1971675"/>
                      <a:gd name="connsiteX3" fmla="*/ 2536508 w 3571875"/>
                      <a:gd name="connsiteY3" fmla="*/ 504703 h 1971675"/>
                      <a:gd name="connsiteX4" fmla="*/ 0 w 3571875"/>
                      <a:gd name="connsiteY4" fmla="*/ 0 h 1971675"/>
                      <a:gd name="connsiteX5" fmla="*/ 3571875 w 3571875"/>
                      <a:gd name="connsiteY5" fmla="*/ 0 h 1971675"/>
                      <a:gd name="connsiteX6" fmla="*/ 3571875 w 3571875"/>
                      <a:gd name="connsiteY6" fmla="*/ 1971675 h 1971675"/>
                      <a:gd name="connsiteX7" fmla="*/ 0 w 3571875"/>
                      <a:gd name="connsiteY7" fmla="*/ 1971675 h 197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1875" h="1971675">
                        <a:moveTo>
                          <a:pt x="1534068" y="504703"/>
                        </a:moveTo>
                        <a:lnTo>
                          <a:pt x="1534068" y="981187"/>
                        </a:lnTo>
                        <a:lnTo>
                          <a:pt x="2536508" y="981187"/>
                        </a:lnTo>
                        <a:lnTo>
                          <a:pt x="2536508" y="504703"/>
                        </a:lnTo>
                        <a:close/>
                        <a:moveTo>
                          <a:pt x="0" y="0"/>
                        </a:moveTo>
                        <a:lnTo>
                          <a:pt x="3571875" y="0"/>
                        </a:lnTo>
                        <a:lnTo>
                          <a:pt x="3571875" y="1971675"/>
                        </a:lnTo>
                        <a:lnTo>
                          <a:pt x="0" y="1971675"/>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96" name="Group 395">
                    <a:extLst>
                      <a:ext uri="{FF2B5EF4-FFF2-40B4-BE49-F238E27FC236}">
                        <a16:creationId xmlns:a16="http://schemas.microsoft.com/office/drawing/2014/main" id="{AB01C247-61D6-4CA6-9B29-93F1DC936987}"/>
                      </a:ext>
                    </a:extLst>
                  </p:cNvPr>
                  <p:cNvGrpSpPr/>
                  <p:nvPr/>
                </p:nvGrpSpPr>
                <p:grpSpPr>
                  <a:xfrm>
                    <a:off x="3783329" y="1824987"/>
                    <a:ext cx="3571875" cy="1973107"/>
                    <a:chOff x="3783329" y="1824987"/>
                    <a:chExt cx="3646171" cy="1973107"/>
                  </a:xfrm>
                  <a:solidFill>
                    <a:schemeClr val="accent3">
                      <a:lumMod val="40000"/>
                      <a:lumOff val="60000"/>
                    </a:schemeClr>
                  </a:solidFill>
                </p:grpSpPr>
                <p:sp>
                  <p:nvSpPr>
                    <p:cNvPr id="449" name="Rectangle 448">
                      <a:extLst>
                        <a:ext uri="{FF2B5EF4-FFF2-40B4-BE49-F238E27FC236}">
                          <a16:creationId xmlns:a16="http://schemas.microsoft.com/office/drawing/2014/main" id="{EEC2776B-72D4-4CA5-A260-86702AD1F791}"/>
                        </a:ext>
                      </a:extLst>
                    </p:cNvPr>
                    <p:cNvSpPr/>
                    <p:nvPr/>
                  </p:nvSpPr>
                  <p:spPr bwMode="auto">
                    <a:xfrm>
                      <a:off x="3783329" y="2306834"/>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50" name="Rectangle 449">
                      <a:extLst>
                        <a:ext uri="{FF2B5EF4-FFF2-40B4-BE49-F238E27FC236}">
                          <a16:creationId xmlns:a16="http://schemas.microsoft.com/office/drawing/2014/main" id="{C431C869-875D-40A6-AA49-E6830D3108E9}"/>
                        </a:ext>
                      </a:extLst>
                    </p:cNvPr>
                    <p:cNvSpPr/>
                    <p:nvPr/>
                  </p:nvSpPr>
                  <p:spPr bwMode="auto">
                    <a:xfrm>
                      <a:off x="3783329" y="2788681"/>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51" name="Rectangle 450">
                      <a:extLst>
                        <a:ext uri="{FF2B5EF4-FFF2-40B4-BE49-F238E27FC236}">
                          <a16:creationId xmlns:a16="http://schemas.microsoft.com/office/drawing/2014/main" id="{78D3AB52-C528-4476-9A54-97FACF25C70C}"/>
                        </a:ext>
                      </a:extLst>
                    </p:cNvPr>
                    <p:cNvSpPr/>
                    <p:nvPr/>
                  </p:nvSpPr>
                  <p:spPr bwMode="auto">
                    <a:xfrm>
                      <a:off x="3783329" y="3270528"/>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52" name="Rectangle 451">
                      <a:extLst>
                        <a:ext uri="{FF2B5EF4-FFF2-40B4-BE49-F238E27FC236}">
                          <a16:creationId xmlns:a16="http://schemas.microsoft.com/office/drawing/2014/main" id="{A0BBD6F0-9139-4A42-BF3E-F7E782404C91}"/>
                        </a:ext>
                      </a:extLst>
                    </p:cNvPr>
                    <p:cNvSpPr/>
                    <p:nvPr/>
                  </p:nvSpPr>
                  <p:spPr bwMode="auto">
                    <a:xfrm>
                      <a:off x="3783329" y="1824987"/>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53" name="Rectangle 452">
                      <a:extLst>
                        <a:ext uri="{FF2B5EF4-FFF2-40B4-BE49-F238E27FC236}">
                          <a16:creationId xmlns:a16="http://schemas.microsoft.com/office/drawing/2014/main" id="{88DF2A28-024C-4773-885C-D02BC4681EE5}"/>
                        </a:ext>
                      </a:extLst>
                    </p:cNvPr>
                    <p:cNvSpPr/>
                    <p:nvPr/>
                  </p:nvSpPr>
                  <p:spPr bwMode="auto">
                    <a:xfrm>
                      <a:off x="3783329" y="3752375"/>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7" name="Group 396">
                    <a:extLst>
                      <a:ext uri="{FF2B5EF4-FFF2-40B4-BE49-F238E27FC236}">
                        <a16:creationId xmlns:a16="http://schemas.microsoft.com/office/drawing/2014/main" id="{FD6D5AEF-234A-44DC-A267-F7EA7D6D2B3A}"/>
                      </a:ext>
                    </a:extLst>
                  </p:cNvPr>
                  <p:cNvGrpSpPr/>
                  <p:nvPr/>
                </p:nvGrpSpPr>
                <p:grpSpPr>
                  <a:xfrm>
                    <a:off x="4790802" y="2807606"/>
                    <a:ext cx="2060667" cy="461493"/>
                    <a:chOff x="4790802" y="174246"/>
                    <a:chExt cx="2060667" cy="3646171"/>
                  </a:xfrm>
                  <a:solidFill>
                    <a:schemeClr val="accent3">
                      <a:lumMod val="40000"/>
                      <a:lumOff val="60000"/>
                    </a:schemeClr>
                  </a:solidFill>
                </p:grpSpPr>
                <p:sp>
                  <p:nvSpPr>
                    <p:cNvPr id="446" name="Rectangle 445">
                      <a:extLst>
                        <a:ext uri="{FF2B5EF4-FFF2-40B4-BE49-F238E27FC236}">
                          <a16:creationId xmlns:a16="http://schemas.microsoft.com/office/drawing/2014/main" id="{C966CC05-B64D-4492-B254-FB3183F69710}"/>
                        </a:ext>
                      </a:extLst>
                    </p:cNvPr>
                    <p:cNvSpPr/>
                    <p:nvPr/>
                  </p:nvSpPr>
                  <p:spPr bwMode="auto">
                    <a:xfrm rot="5400000">
                      <a:off x="2990576"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47" name="Rectangle 446">
                      <a:extLst>
                        <a:ext uri="{FF2B5EF4-FFF2-40B4-BE49-F238E27FC236}">
                          <a16:creationId xmlns:a16="http://schemas.microsoft.com/office/drawing/2014/main" id="{557A7106-387E-48B6-A64D-2F8E3320A5E3}"/>
                        </a:ext>
                      </a:extLst>
                    </p:cNvPr>
                    <p:cNvSpPr/>
                    <p:nvPr/>
                  </p:nvSpPr>
                  <p:spPr bwMode="auto">
                    <a:xfrm rot="5400000">
                      <a:off x="3998050"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48" name="Rectangle 447">
                      <a:extLst>
                        <a:ext uri="{FF2B5EF4-FFF2-40B4-BE49-F238E27FC236}">
                          <a16:creationId xmlns:a16="http://schemas.microsoft.com/office/drawing/2014/main" id="{7958B98A-9FAF-4713-B92F-16AB4B9E53B4}"/>
                        </a:ext>
                      </a:extLst>
                    </p:cNvPr>
                    <p:cNvSpPr/>
                    <p:nvPr/>
                  </p:nvSpPr>
                  <p:spPr bwMode="auto">
                    <a:xfrm rot="5400000">
                      <a:off x="5005524"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8" name="Group 397">
                    <a:extLst>
                      <a:ext uri="{FF2B5EF4-FFF2-40B4-BE49-F238E27FC236}">
                        <a16:creationId xmlns:a16="http://schemas.microsoft.com/office/drawing/2014/main" id="{5F92DB85-6358-491B-8965-B457553630E6}"/>
                      </a:ext>
                    </a:extLst>
                  </p:cNvPr>
                  <p:cNvGrpSpPr/>
                  <p:nvPr/>
                </p:nvGrpSpPr>
                <p:grpSpPr>
                  <a:xfrm>
                    <a:off x="4287065" y="3270529"/>
                    <a:ext cx="2060667" cy="480418"/>
                    <a:chOff x="4287065" y="174246"/>
                    <a:chExt cx="2060667" cy="3646171"/>
                  </a:xfrm>
                  <a:solidFill>
                    <a:schemeClr val="accent3">
                      <a:lumMod val="40000"/>
                      <a:lumOff val="60000"/>
                    </a:schemeClr>
                  </a:solidFill>
                </p:grpSpPr>
                <p:sp>
                  <p:nvSpPr>
                    <p:cNvPr id="428" name="Rectangle 427">
                      <a:extLst>
                        <a:ext uri="{FF2B5EF4-FFF2-40B4-BE49-F238E27FC236}">
                          <a16:creationId xmlns:a16="http://schemas.microsoft.com/office/drawing/2014/main" id="{1FB60834-E8C1-447D-9E69-B5AE3B7D3917}"/>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30" name="Rectangle 429">
                      <a:extLst>
                        <a:ext uri="{FF2B5EF4-FFF2-40B4-BE49-F238E27FC236}">
                          <a16:creationId xmlns:a16="http://schemas.microsoft.com/office/drawing/2014/main" id="{63697417-3399-4EC9-8F04-01B8B7C4A22C}"/>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45" name="Rectangle 444">
                      <a:extLst>
                        <a:ext uri="{FF2B5EF4-FFF2-40B4-BE49-F238E27FC236}">
                          <a16:creationId xmlns:a16="http://schemas.microsoft.com/office/drawing/2014/main" id="{8BA305CF-A284-491F-86DC-83C5677BD891}"/>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9" name="Group 398">
                    <a:extLst>
                      <a:ext uri="{FF2B5EF4-FFF2-40B4-BE49-F238E27FC236}">
                        <a16:creationId xmlns:a16="http://schemas.microsoft.com/office/drawing/2014/main" id="{642D6B93-741B-4EB3-B9FC-940EDC1FD82C}"/>
                      </a:ext>
                    </a:extLst>
                  </p:cNvPr>
                  <p:cNvGrpSpPr/>
                  <p:nvPr/>
                </p:nvGrpSpPr>
                <p:grpSpPr>
                  <a:xfrm>
                    <a:off x="4287065" y="2306835"/>
                    <a:ext cx="2060667" cy="512566"/>
                    <a:chOff x="4287065" y="174246"/>
                    <a:chExt cx="2060667" cy="3646171"/>
                  </a:xfrm>
                  <a:solidFill>
                    <a:schemeClr val="accent3">
                      <a:lumMod val="40000"/>
                      <a:lumOff val="60000"/>
                    </a:schemeClr>
                  </a:solidFill>
                </p:grpSpPr>
                <p:sp>
                  <p:nvSpPr>
                    <p:cNvPr id="413" name="Rectangle 412">
                      <a:extLst>
                        <a:ext uri="{FF2B5EF4-FFF2-40B4-BE49-F238E27FC236}">
                          <a16:creationId xmlns:a16="http://schemas.microsoft.com/office/drawing/2014/main" id="{DE4EAE48-38A5-4681-8960-EE292E5D6A39}"/>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a:extLst>
                        <a:ext uri="{FF2B5EF4-FFF2-40B4-BE49-F238E27FC236}">
                          <a16:creationId xmlns:a16="http://schemas.microsoft.com/office/drawing/2014/main" id="{93403E01-2963-46DD-B106-A9248D3FAFCE}"/>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a:extLst>
                        <a:ext uri="{FF2B5EF4-FFF2-40B4-BE49-F238E27FC236}">
                          <a16:creationId xmlns:a16="http://schemas.microsoft.com/office/drawing/2014/main" id="{5EF7039C-C1C8-455A-9CA9-E6E668D1FC7F}"/>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00" name="Rectangle 399">
                    <a:extLst>
                      <a:ext uri="{FF2B5EF4-FFF2-40B4-BE49-F238E27FC236}">
                        <a16:creationId xmlns:a16="http://schemas.microsoft.com/office/drawing/2014/main" id="{33C115C9-16D4-4682-BA08-5BA424B8D5C3}"/>
                      </a:ext>
                    </a:extLst>
                  </p:cNvPr>
                  <p:cNvSpPr/>
                  <p:nvPr/>
                </p:nvSpPr>
                <p:spPr bwMode="auto">
                  <a:xfrm rot="5400000">
                    <a:off x="4582915"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1" name="Rectangle 400">
                    <a:extLst>
                      <a:ext uri="{FF2B5EF4-FFF2-40B4-BE49-F238E27FC236}">
                        <a16:creationId xmlns:a16="http://schemas.microsoft.com/office/drawing/2014/main" id="{9E8F7215-E36E-499B-95B6-714ECDC26165}"/>
                      </a:ext>
                    </a:extLst>
                  </p:cNvPr>
                  <p:cNvSpPr/>
                  <p:nvPr/>
                </p:nvSpPr>
                <p:spPr bwMode="auto">
                  <a:xfrm rot="5400000">
                    <a:off x="5590389"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2" name="Rectangle 401">
                    <a:extLst>
                      <a:ext uri="{FF2B5EF4-FFF2-40B4-BE49-F238E27FC236}">
                        <a16:creationId xmlns:a16="http://schemas.microsoft.com/office/drawing/2014/main" id="{3D36BABA-757F-4862-AE49-391F1F3ADE00}"/>
                      </a:ext>
                    </a:extLst>
                  </p:cNvPr>
                  <p:cNvSpPr/>
                  <p:nvPr/>
                </p:nvSpPr>
                <p:spPr bwMode="auto">
                  <a:xfrm rot="5400000">
                    <a:off x="6597863"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3" name="Freeform: Shape 402">
                    <a:extLst>
                      <a:ext uri="{FF2B5EF4-FFF2-40B4-BE49-F238E27FC236}">
                        <a16:creationId xmlns:a16="http://schemas.microsoft.com/office/drawing/2014/main" id="{04B8FDE6-93AB-4125-87E3-6D0DCEE1337E}"/>
                      </a:ext>
                    </a:extLst>
                  </p:cNvPr>
                  <p:cNvSpPr/>
                  <p:nvPr/>
                </p:nvSpPr>
                <p:spPr bwMode="auto">
                  <a:xfrm rot="3455028">
                    <a:off x="4617420"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4" name="Freeform: Shape 403">
                    <a:extLst>
                      <a:ext uri="{FF2B5EF4-FFF2-40B4-BE49-F238E27FC236}">
                        <a16:creationId xmlns:a16="http://schemas.microsoft.com/office/drawing/2014/main" id="{EF3A1FFA-23FB-416F-8F8F-F2C31540DE06}"/>
                      </a:ext>
                    </a:extLst>
                  </p:cNvPr>
                  <p:cNvSpPr/>
                  <p:nvPr/>
                </p:nvSpPr>
                <p:spPr bwMode="auto">
                  <a:xfrm rot="3455028">
                    <a:off x="5629699"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5" name="Freeform: Shape 404">
                    <a:extLst>
                      <a:ext uri="{FF2B5EF4-FFF2-40B4-BE49-F238E27FC236}">
                        <a16:creationId xmlns:a16="http://schemas.microsoft.com/office/drawing/2014/main" id="{514EA9AB-232F-4227-84A6-DC7A9A410120}"/>
                      </a:ext>
                    </a:extLst>
                  </p:cNvPr>
                  <p:cNvSpPr/>
                  <p:nvPr/>
                </p:nvSpPr>
                <p:spPr bwMode="auto">
                  <a:xfrm rot="3455028">
                    <a:off x="6632365"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7" name="Freeform: Shape 406">
                    <a:extLst>
                      <a:ext uri="{FF2B5EF4-FFF2-40B4-BE49-F238E27FC236}">
                        <a16:creationId xmlns:a16="http://schemas.microsoft.com/office/drawing/2014/main" id="{D71AB06C-8A27-493A-A2BB-F820E3EA9056}"/>
                      </a:ext>
                    </a:extLst>
                  </p:cNvPr>
                  <p:cNvSpPr/>
                  <p:nvPr/>
                </p:nvSpPr>
                <p:spPr bwMode="auto">
                  <a:xfrm rot="3455028">
                    <a:off x="3627741" y="2240386"/>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8" name="Freeform: Shape 407">
                    <a:extLst>
                      <a:ext uri="{FF2B5EF4-FFF2-40B4-BE49-F238E27FC236}">
                        <a16:creationId xmlns:a16="http://schemas.microsoft.com/office/drawing/2014/main" id="{8AB8E282-C8AB-4BAA-B76B-E7BEC28B2916}"/>
                      </a:ext>
                    </a:extLst>
                  </p:cNvPr>
                  <p:cNvSpPr/>
                  <p:nvPr/>
                </p:nvSpPr>
                <p:spPr bwMode="auto">
                  <a:xfrm rot="3455028">
                    <a:off x="3627741" y="2724233"/>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9" name="Freeform: Shape 408">
                    <a:extLst>
                      <a:ext uri="{FF2B5EF4-FFF2-40B4-BE49-F238E27FC236}">
                        <a16:creationId xmlns:a16="http://schemas.microsoft.com/office/drawing/2014/main" id="{03DE3C49-4FA1-4E6C-A3C7-40A2D7CAF123}"/>
                      </a:ext>
                    </a:extLst>
                  </p:cNvPr>
                  <p:cNvSpPr/>
                  <p:nvPr/>
                </p:nvSpPr>
                <p:spPr bwMode="auto">
                  <a:xfrm rot="3455028">
                    <a:off x="3627741" y="3207700"/>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454" name="Straight Arrow Connector 453">
                  <a:extLst>
                    <a:ext uri="{FF2B5EF4-FFF2-40B4-BE49-F238E27FC236}">
                      <a16:creationId xmlns:a16="http://schemas.microsoft.com/office/drawing/2014/main" id="{FC2B2C2F-8462-452D-B854-052C1AD77BD4}"/>
                    </a:ext>
                  </a:extLst>
                </p:cNvPr>
                <p:cNvCxnSpPr>
                  <a:cxnSpLocks/>
                </p:cNvCxnSpPr>
                <p:nvPr/>
              </p:nvCxnSpPr>
              <p:spPr>
                <a:xfrm>
                  <a:off x="1061676" y="4247413"/>
                  <a:ext cx="295751" cy="575038"/>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5" name="Straight Arrow Connector 454">
                  <a:extLst>
                    <a:ext uri="{FF2B5EF4-FFF2-40B4-BE49-F238E27FC236}">
                      <a16:creationId xmlns:a16="http://schemas.microsoft.com/office/drawing/2014/main" id="{28B3C06B-4508-4C1E-AB03-2E5F9F1C0ACE}"/>
                    </a:ext>
                  </a:extLst>
                </p:cNvPr>
                <p:cNvCxnSpPr>
                  <a:cxnSpLocks/>
                </p:cNvCxnSpPr>
                <p:nvPr/>
              </p:nvCxnSpPr>
              <p:spPr>
                <a:xfrm flipH="1">
                  <a:off x="1786956" y="4188396"/>
                  <a:ext cx="145632" cy="479273"/>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6" name="Straight Arrow Connector 455">
                  <a:extLst>
                    <a:ext uri="{FF2B5EF4-FFF2-40B4-BE49-F238E27FC236}">
                      <a16:creationId xmlns:a16="http://schemas.microsoft.com/office/drawing/2014/main" id="{BD970DEA-A8AC-44A8-8621-59916F772A35}"/>
                    </a:ext>
                  </a:extLst>
                </p:cNvPr>
                <p:cNvCxnSpPr>
                  <a:cxnSpLocks/>
                </p:cNvCxnSpPr>
                <p:nvPr/>
              </p:nvCxnSpPr>
              <p:spPr>
                <a:xfrm flipH="1">
                  <a:off x="2112606" y="4506638"/>
                  <a:ext cx="287285" cy="350050"/>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86255D64-A7B9-45E2-8719-5562BDD5F6DE}"/>
                  </a:ext>
                </a:extLst>
              </p:cNvPr>
              <p:cNvSpPr/>
              <p:nvPr/>
            </p:nvSpPr>
            <p:spPr>
              <a:xfrm>
                <a:off x="2518908" y="4983263"/>
                <a:ext cx="1335542" cy="461665"/>
              </a:xfrm>
              <a:prstGeom prst="rect">
                <a:avLst/>
              </a:prstGeom>
            </p:spPr>
            <p:txBody>
              <a:bodyPr wrap="square">
                <a:spAutoFit/>
              </a:bodyPr>
              <a:lstStyle/>
              <a:p>
                <a:pPr lvl="0" algn="ctr"/>
                <a:r>
                  <a:rPr lang="en-US" sz="1200" b="1" i="1" dirty="0">
                    <a:solidFill>
                      <a:schemeClr val="accent3"/>
                    </a:solidFill>
                  </a:rPr>
                  <a:t>Inbound</a:t>
                </a:r>
                <a:br>
                  <a:rPr lang="en-US" sz="1200" b="1" i="1" dirty="0">
                    <a:solidFill>
                      <a:schemeClr val="accent3"/>
                    </a:solidFill>
                  </a:rPr>
                </a:br>
                <a:r>
                  <a:rPr lang="en-US" sz="1200" b="1" i="1" dirty="0">
                    <a:solidFill>
                      <a:schemeClr val="accent3"/>
                    </a:solidFill>
                  </a:rPr>
                  <a:t>port opened</a:t>
                </a:r>
              </a:p>
            </p:txBody>
          </p:sp>
          <p:grpSp>
            <p:nvGrpSpPr>
              <p:cNvPr id="16" name="Group 15">
                <a:extLst>
                  <a:ext uri="{FF2B5EF4-FFF2-40B4-BE49-F238E27FC236}">
                    <a16:creationId xmlns:a16="http://schemas.microsoft.com/office/drawing/2014/main" id="{F6DF8D21-7A9F-4312-8FAB-91D26213D1C2}"/>
                  </a:ext>
                </a:extLst>
              </p:cNvPr>
              <p:cNvGrpSpPr/>
              <p:nvPr/>
            </p:nvGrpSpPr>
            <p:grpSpPr>
              <a:xfrm rot="1479287">
                <a:off x="2679740" y="4308370"/>
                <a:ext cx="606470" cy="870238"/>
                <a:chOff x="-56429" y="3602271"/>
                <a:chExt cx="312215" cy="448007"/>
              </a:xfrm>
            </p:grpSpPr>
            <p:sp>
              <p:nvSpPr>
                <p:cNvPr id="462" name="Oval 461">
                  <a:extLst>
                    <a:ext uri="{FF2B5EF4-FFF2-40B4-BE49-F238E27FC236}">
                      <a16:creationId xmlns:a16="http://schemas.microsoft.com/office/drawing/2014/main" id="{035AAD25-8A4A-4F0D-A490-0905FA974BEA}"/>
                    </a:ext>
                  </a:extLst>
                </p:cNvPr>
                <p:cNvSpPr>
                  <a:spLocks noChangeArrowheads="1"/>
                </p:cNvSpPr>
                <p:nvPr/>
              </p:nvSpPr>
              <p:spPr bwMode="auto">
                <a:xfrm>
                  <a:off x="109895" y="3615037"/>
                  <a:ext cx="133125" cy="134948"/>
                </a:xfrm>
                <a:prstGeom prst="ellipse">
                  <a:avLst/>
                </a:prstGeom>
                <a:solidFill>
                  <a:srgbClr val="FFFFFF">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63" name="Freeform 83">
                  <a:extLst>
                    <a:ext uri="{FF2B5EF4-FFF2-40B4-BE49-F238E27FC236}">
                      <a16:creationId xmlns:a16="http://schemas.microsoft.com/office/drawing/2014/main" id="{DF9BAB2A-DB10-40FF-B426-3021FBFA6DB1}"/>
                    </a:ext>
                  </a:extLst>
                </p:cNvPr>
                <p:cNvSpPr>
                  <a:spLocks/>
                </p:cNvSpPr>
                <p:nvPr/>
              </p:nvSpPr>
              <p:spPr bwMode="auto">
                <a:xfrm>
                  <a:off x="186488" y="3770045"/>
                  <a:ext cx="60180" cy="133125"/>
                </a:xfrm>
                <a:custGeom>
                  <a:avLst/>
                  <a:gdLst>
                    <a:gd name="T0" fmla="*/ 17 w 24"/>
                    <a:gd name="T1" fmla="*/ 53 h 54"/>
                    <a:gd name="T2" fmla="*/ 19 w 24"/>
                    <a:gd name="T3" fmla="*/ 52 h 54"/>
                    <a:gd name="T4" fmla="*/ 23 w 24"/>
                    <a:gd name="T5" fmla="*/ 46 h 54"/>
                    <a:gd name="T6" fmla="*/ 13 w 24"/>
                    <a:gd name="T7" fmla="*/ 5 h 54"/>
                    <a:gd name="T8" fmla="*/ 7 w 24"/>
                    <a:gd name="T9" fmla="*/ 1 h 54"/>
                    <a:gd name="T10" fmla="*/ 4 w 24"/>
                    <a:gd name="T11" fmla="*/ 2 h 54"/>
                    <a:gd name="T12" fmla="*/ 0 w 24"/>
                    <a:gd name="T13" fmla="*/ 8 h 54"/>
                    <a:gd name="T14" fmla="*/ 11 w 24"/>
                    <a:gd name="T15" fmla="*/ 49 h 54"/>
                    <a:gd name="T16" fmla="*/ 17 w 24"/>
                    <a:gd name="T17" fmla="*/ 5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54">
                      <a:moveTo>
                        <a:pt x="17" y="53"/>
                      </a:moveTo>
                      <a:cubicBezTo>
                        <a:pt x="19" y="52"/>
                        <a:pt x="19" y="52"/>
                        <a:pt x="19" y="52"/>
                      </a:cubicBezTo>
                      <a:cubicBezTo>
                        <a:pt x="22" y="52"/>
                        <a:pt x="24" y="49"/>
                        <a:pt x="23" y="46"/>
                      </a:cubicBezTo>
                      <a:cubicBezTo>
                        <a:pt x="13" y="5"/>
                        <a:pt x="13" y="5"/>
                        <a:pt x="13" y="5"/>
                      </a:cubicBezTo>
                      <a:cubicBezTo>
                        <a:pt x="12" y="2"/>
                        <a:pt x="9" y="0"/>
                        <a:pt x="7" y="1"/>
                      </a:cubicBezTo>
                      <a:cubicBezTo>
                        <a:pt x="4" y="2"/>
                        <a:pt x="4" y="2"/>
                        <a:pt x="4" y="2"/>
                      </a:cubicBezTo>
                      <a:cubicBezTo>
                        <a:pt x="1" y="2"/>
                        <a:pt x="0" y="5"/>
                        <a:pt x="0" y="8"/>
                      </a:cubicBezTo>
                      <a:cubicBezTo>
                        <a:pt x="11" y="49"/>
                        <a:pt x="11" y="49"/>
                        <a:pt x="11" y="49"/>
                      </a:cubicBezTo>
                      <a:cubicBezTo>
                        <a:pt x="11" y="52"/>
                        <a:pt x="14" y="54"/>
                        <a:pt x="17" y="5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64" name="Freeform 84">
                  <a:extLst>
                    <a:ext uri="{FF2B5EF4-FFF2-40B4-BE49-F238E27FC236}">
                      <a16:creationId xmlns:a16="http://schemas.microsoft.com/office/drawing/2014/main" id="{810819D7-37AE-4662-889D-DBF204C4C9F0}"/>
                    </a:ext>
                  </a:extLst>
                </p:cNvPr>
                <p:cNvSpPr>
                  <a:spLocks/>
                </p:cNvSpPr>
                <p:nvPr/>
              </p:nvSpPr>
              <p:spPr bwMode="auto">
                <a:xfrm>
                  <a:off x="38774" y="3759103"/>
                  <a:ext cx="217012" cy="202423"/>
                </a:xfrm>
                <a:custGeom>
                  <a:avLst/>
                  <a:gdLst>
                    <a:gd name="T0" fmla="*/ 83 w 88"/>
                    <a:gd name="T1" fmla="*/ 28 h 81"/>
                    <a:gd name="T2" fmla="*/ 82 w 88"/>
                    <a:gd name="T3" fmla="*/ 28 h 81"/>
                    <a:gd name="T4" fmla="*/ 86 w 88"/>
                    <a:gd name="T5" fmla="*/ 27 h 81"/>
                    <a:gd name="T6" fmla="*/ 88 w 88"/>
                    <a:gd name="T7" fmla="*/ 23 h 81"/>
                    <a:gd name="T8" fmla="*/ 84 w 88"/>
                    <a:gd name="T9" fmla="*/ 20 h 81"/>
                    <a:gd name="T10" fmla="*/ 80 w 88"/>
                    <a:gd name="T11" fmla="*/ 21 h 81"/>
                    <a:gd name="T12" fmla="*/ 84 w 88"/>
                    <a:gd name="T13" fmla="*/ 19 h 81"/>
                    <a:gd name="T14" fmla="*/ 88 w 88"/>
                    <a:gd name="T15" fmla="*/ 14 h 81"/>
                    <a:gd name="T16" fmla="*/ 82 w 88"/>
                    <a:gd name="T17" fmla="*/ 9 h 81"/>
                    <a:gd name="T18" fmla="*/ 77 w 88"/>
                    <a:gd name="T19" fmla="*/ 10 h 81"/>
                    <a:gd name="T20" fmla="*/ 74 w 88"/>
                    <a:gd name="T21" fmla="*/ 5 h 81"/>
                    <a:gd name="T22" fmla="*/ 64 w 88"/>
                    <a:gd name="T23" fmla="*/ 2 h 81"/>
                    <a:gd name="T24" fmla="*/ 41 w 88"/>
                    <a:gd name="T25" fmla="*/ 13 h 81"/>
                    <a:gd name="T26" fmla="*/ 32 w 88"/>
                    <a:gd name="T27" fmla="*/ 24 h 81"/>
                    <a:gd name="T28" fmla="*/ 27 w 88"/>
                    <a:gd name="T29" fmla="*/ 44 h 81"/>
                    <a:gd name="T30" fmla="*/ 0 w 88"/>
                    <a:gd name="T31" fmla="*/ 58 h 81"/>
                    <a:gd name="T32" fmla="*/ 25 w 88"/>
                    <a:gd name="T33" fmla="*/ 81 h 81"/>
                    <a:gd name="T34" fmla="*/ 42 w 88"/>
                    <a:gd name="T35" fmla="*/ 67 h 81"/>
                    <a:gd name="T36" fmla="*/ 46 w 88"/>
                    <a:gd name="T37" fmla="*/ 66 h 81"/>
                    <a:gd name="T38" fmla="*/ 60 w 88"/>
                    <a:gd name="T39" fmla="*/ 61 h 81"/>
                    <a:gd name="T40" fmla="*/ 60 w 88"/>
                    <a:gd name="T41" fmla="*/ 61 h 81"/>
                    <a:gd name="T42" fmla="*/ 78 w 88"/>
                    <a:gd name="T43" fmla="*/ 52 h 81"/>
                    <a:gd name="T44" fmla="*/ 82 w 88"/>
                    <a:gd name="T45" fmla="*/ 46 h 81"/>
                    <a:gd name="T46" fmla="*/ 82 w 88"/>
                    <a:gd name="T47" fmla="*/ 44 h 81"/>
                    <a:gd name="T48" fmla="*/ 85 w 88"/>
                    <a:gd name="T49" fmla="*/ 37 h 81"/>
                    <a:gd name="T50" fmla="*/ 84 w 88"/>
                    <a:gd name="T51" fmla="*/ 36 h 81"/>
                    <a:gd name="T52" fmla="*/ 84 w 88"/>
                    <a:gd name="T53" fmla="*/ 36 h 81"/>
                    <a:gd name="T54" fmla="*/ 87 w 88"/>
                    <a:gd name="T55" fmla="*/ 32 h 81"/>
                    <a:gd name="T56" fmla="*/ 83 w 88"/>
                    <a:gd name="T57" fmla="*/ 2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8" h="81">
                      <a:moveTo>
                        <a:pt x="83" y="28"/>
                      </a:moveTo>
                      <a:cubicBezTo>
                        <a:pt x="82" y="28"/>
                        <a:pt x="82" y="28"/>
                        <a:pt x="82" y="28"/>
                      </a:cubicBezTo>
                      <a:cubicBezTo>
                        <a:pt x="86" y="27"/>
                        <a:pt x="86" y="27"/>
                        <a:pt x="86" y="27"/>
                      </a:cubicBezTo>
                      <a:cubicBezTo>
                        <a:pt x="87" y="27"/>
                        <a:pt x="88" y="25"/>
                        <a:pt x="88" y="23"/>
                      </a:cubicBezTo>
                      <a:cubicBezTo>
                        <a:pt x="87" y="21"/>
                        <a:pt x="86" y="20"/>
                        <a:pt x="84" y="20"/>
                      </a:cubicBezTo>
                      <a:cubicBezTo>
                        <a:pt x="80" y="21"/>
                        <a:pt x="80" y="21"/>
                        <a:pt x="80" y="21"/>
                      </a:cubicBezTo>
                      <a:cubicBezTo>
                        <a:pt x="84" y="19"/>
                        <a:pt x="84" y="19"/>
                        <a:pt x="84" y="19"/>
                      </a:cubicBezTo>
                      <a:cubicBezTo>
                        <a:pt x="87" y="18"/>
                        <a:pt x="88" y="16"/>
                        <a:pt x="88" y="14"/>
                      </a:cubicBezTo>
                      <a:cubicBezTo>
                        <a:pt x="87" y="11"/>
                        <a:pt x="85" y="9"/>
                        <a:pt x="82" y="9"/>
                      </a:cubicBezTo>
                      <a:cubicBezTo>
                        <a:pt x="77" y="10"/>
                        <a:pt x="77" y="10"/>
                        <a:pt x="77" y="10"/>
                      </a:cubicBezTo>
                      <a:cubicBezTo>
                        <a:pt x="74" y="5"/>
                        <a:pt x="74" y="5"/>
                        <a:pt x="74" y="5"/>
                      </a:cubicBezTo>
                      <a:cubicBezTo>
                        <a:pt x="72" y="1"/>
                        <a:pt x="68" y="0"/>
                        <a:pt x="64" y="2"/>
                      </a:cubicBezTo>
                      <a:cubicBezTo>
                        <a:pt x="41" y="13"/>
                        <a:pt x="41" y="13"/>
                        <a:pt x="41" y="13"/>
                      </a:cubicBezTo>
                      <a:cubicBezTo>
                        <a:pt x="37" y="15"/>
                        <a:pt x="34" y="19"/>
                        <a:pt x="32" y="24"/>
                      </a:cubicBezTo>
                      <a:cubicBezTo>
                        <a:pt x="27" y="44"/>
                        <a:pt x="27" y="44"/>
                        <a:pt x="27" y="44"/>
                      </a:cubicBezTo>
                      <a:cubicBezTo>
                        <a:pt x="0" y="58"/>
                        <a:pt x="0" y="58"/>
                        <a:pt x="0" y="58"/>
                      </a:cubicBezTo>
                      <a:cubicBezTo>
                        <a:pt x="25" y="81"/>
                        <a:pt x="25" y="81"/>
                        <a:pt x="25" y="81"/>
                      </a:cubicBezTo>
                      <a:cubicBezTo>
                        <a:pt x="42" y="67"/>
                        <a:pt x="42" y="67"/>
                        <a:pt x="42" y="67"/>
                      </a:cubicBezTo>
                      <a:cubicBezTo>
                        <a:pt x="46" y="66"/>
                        <a:pt x="46" y="66"/>
                        <a:pt x="46" y="66"/>
                      </a:cubicBezTo>
                      <a:cubicBezTo>
                        <a:pt x="51" y="65"/>
                        <a:pt x="55" y="63"/>
                        <a:pt x="60" y="61"/>
                      </a:cubicBezTo>
                      <a:cubicBezTo>
                        <a:pt x="60" y="61"/>
                        <a:pt x="60" y="61"/>
                        <a:pt x="60" y="61"/>
                      </a:cubicBezTo>
                      <a:cubicBezTo>
                        <a:pt x="78" y="52"/>
                        <a:pt x="78" y="52"/>
                        <a:pt x="78" y="52"/>
                      </a:cubicBezTo>
                      <a:cubicBezTo>
                        <a:pt x="80" y="51"/>
                        <a:pt x="82" y="49"/>
                        <a:pt x="82" y="46"/>
                      </a:cubicBezTo>
                      <a:cubicBezTo>
                        <a:pt x="82" y="44"/>
                        <a:pt x="82" y="44"/>
                        <a:pt x="82" y="44"/>
                      </a:cubicBezTo>
                      <a:cubicBezTo>
                        <a:pt x="85" y="43"/>
                        <a:pt x="86" y="40"/>
                        <a:pt x="85" y="37"/>
                      </a:cubicBezTo>
                      <a:cubicBezTo>
                        <a:pt x="84" y="36"/>
                        <a:pt x="84" y="36"/>
                        <a:pt x="84" y="36"/>
                      </a:cubicBezTo>
                      <a:cubicBezTo>
                        <a:pt x="84" y="36"/>
                        <a:pt x="84" y="36"/>
                        <a:pt x="84" y="36"/>
                      </a:cubicBezTo>
                      <a:cubicBezTo>
                        <a:pt x="86" y="36"/>
                        <a:pt x="87" y="34"/>
                        <a:pt x="87" y="32"/>
                      </a:cubicBezTo>
                      <a:cubicBezTo>
                        <a:pt x="87" y="30"/>
                        <a:pt x="85" y="28"/>
                        <a:pt x="83" y="28"/>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65" name="Freeform 85">
                  <a:extLst>
                    <a:ext uri="{FF2B5EF4-FFF2-40B4-BE49-F238E27FC236}">
                      <a16:creationId xmlns:a16="http://schemas.microsoft.com/office/drawing/2014/main" id="{B5D69488-E3EC-41BB-9285-01F699A1700A}"/>
                    </a:ext>
                  </a:extLst>
                </p:cNvPr>
                <p:cNvSpPr>
                  <a:spLocks/>
                </p:cNvSpPr>
                <p:nvPr/>
              </p:nvSpPr>
              <p:spPr bwMode="auto">
                <a:xfrm>
                  <a:off x="190135" y="3766398"/>
                  <a:ext cx="38297" cy="23708"/>
                </a:xfrm>
                <a:custGeom>
                  <a:avLst/>
                  <a:gdLst>
                    <a:gd name="T0" fmla="*/ 16 w 16"/>
                    <a:gd name="T1" fmla="*/ 7 h 9"/>
                    <a:gd name="T2" fmla="*/ 0 w 16"/>
                    <a:gd name="T3" fmla="*/ 9 h 9"/>
                    <a:gd name="T4" fmla="*/ 3 w 16"/>
                    <a:gd name="T5" fmla="*/ 4 h 9"/>
                    <a:gd name="T6" fmla="*/ 11 w 16"/>
                    <a:gd name="T7" fmla="*/ 1 h 9"/>
                    <a:gd name="T8" fmla="*/ 13 w 16"/>
                    <a:gd name="T9" fmla="*/ 1 h 9"/>
                    <a:gd name="T10" fmla="*/ 16 w 16"/>
                    <a:gd name="T11" fmla="*/ 7 h 9"/>
                  </a:gdLst>
                  <a:ahLst/>
                  <a:cxnLst>
                    <a:cxn ang="0">
                      <a:pos x="T0" y="T1"/>
                    </a:cxn>
                    <a:cxn ang="0">
                      <a:pos x="T2" y="T3"/>
                    </a:cxn>
                    <a:cxn ang="0">
                      <a:pos x="T4" y="T5"/>
                    </a:cxn>
                    <a:cxn ang="0">
                      <a:pos x="T6" y="T7"/>
                    </a:cxn>
                    <a:cxn ang="0">
                      <a:pos x="T8" y="T9"/>
                    </a:cxn>
                    <a:cxn ang="0">
                      <a:pos x="T10" y="T11"/>
                    </a:cxn>
                  </a:cxnLst>
                  <a:rect l="0" t="0" r="r" b="b"/>
                  <a:pathLst>
                    <a:path w="16" h="9">
                      <a:moveTo>
                        <a:pt x="16" y="7"/>
                      </a:moveTo>
                      <a:cubicBezTo>
                        <a:pt x="0" y="9"/>
                        <a:pt x="0" y="9"/>
                        <a:pt x="0" y="9"/>
                      </a:cubicBezTo>
                      <a:cubicBezTo>
                        <a:pt x="3" y="4"/>
                        <a:pt x="3" y="4"/>
                        <a:pt x="3" y="4"/>
                      </a:cubicBezTo>
                      <a:cubicBezTo>
                        <a:pt x="5" y="1"/>
                        <a:pt x="8" y="0"/>
                        <a:pt x="11" y="1"/>
                      </a:cubicBezTo>
                      <a:cubicBezTo>
                        <a:pt x="13" y="1"/>
                        <a:pt x="13" y="1"/>
                        <a:pt x="13" y="1"/>
                      </a:cubicBezTo>
                      <a:lnTo>
                        <a:pt x="16" y="7"/>
                      </a:lnTo>
                      <a:close/>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67" name="Freeform 86">
                  <a:extLst>
                    <a:ext uri="{FF2B5EF4-FFF2-40B4-BE49-F238E27FC236}">
                      <a16:creationId xmlns:a16="http://schemas.microsoft.com/office/drawing/2014/main" id="{161FFC4F-04A4-4315-A197-EDB4CF9E3260}"/>
                    </a:ext>
                  </a:extLst>
                </p:cNvPr>
                <p:cNvSpPr>
                  <a:spLocks/>
                </p:cNvSpPr>
                <p:nvPr/>
              </p:nvSpPr>
              <p:spPr bwMode="auto">
                <a:xfrm>
                  <a:off x="111719" y="3868521"/>
                  <a:ext cx="129478" cy="74769"/>
                </a:xfrm>
                <a:custGeom>
                  <a:avLst/>
                  <a:gdLst>
                    <a:gd name="T0" fmla="*/ 52 w 52"/>
                    <a:gd name="T1" fmla="*/ 0 h 30"/>
                    <a:gd name="T2" fmla="*/ 24 w 52"/>
                    <a:gd name="T3" fmla="*/ 4 h 30"/>
                    <a:gd name="T4" fmla="*/ 7 w 52"/>
                    <a:gd name="T5" fmla="*/ 13 h 30"/>
                    <a:gd name="T6" fmla="*/ 0 w 52"/>
                    <a:gd name="T7" fmla="*/ 20 h 30"/>
                    <a:gd name="T8" fmla="*/ 3 w 52"/>
                    <a:gd name="T9" fmla="*/ 30 h 30"/>
                    <a:gd name="T10" fmla="*/ 12 w 52"/>
                    <a:gd name="T11" fmla="*/ 23 h 30"/>
                    <a:gd name="T12" fmla="*/ 16 w 52"/>
                    <a:gd name="T13" fmla="*/ 22 h 30"/>
                    <a:gd name="T14" fmla="*/ 30 w 52"/>
                    <a:gd name="T15" fmla="*/ 17 h 30"/>
                    <a:gd name="T16" fmla="*/ 30 w 52"/>
                    <a:gd name="T17" fmla="*/ 17 h 30"/>
                    <a:gd name="T18" fmla="*/ 48 w 52"/>
                    <a:gd name="T19" fmla="*/ 8 h 30"/>
                    <a:gd name="T20" fmla="*/ 52 w 52"/>
                    <a:gd name="T21" fmla="*/ 2 h 30"/>
                    <a:gd name="T22" fmla="*/ 52 w 5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30">
                      <a:moveTo>
                        <a:pt x="52" y="0"/>
                      </a:moveTo>
                      <a:cubicBezTo>
                        <a:pt x="24" y="4"/>
                        <a:pt x="24" y="4"/>
                        <a:pt x="24" y="4"/>
                      </a:cubicBezTo>
                      <a:cubicBezTo>
                        <a:pt x="18" y="5"/>
                        <a:pt x="11" y="8"/>
                        <a:pt x="7" y="13"/>
                      </a:cubicBezTo>
                      <a:cubicBezTo>
                        <a:pt x="0" y="20"/>
                        <a:pt x="0" y="20"/>
                        <a:pt x="0" y="20"/>
                      </a:cubicBezTo>
                      <a:cubicBezTo>
                        <a:pt x="3" y="30"/>
                        <a:pt x="3" y="30"/>
                        <a:pt x="3" y="30"/>
                      </a:cubicBezTo>
                      <a:cubicBezTo>
                        <a:pt x="12" y="23"/>
                        <a:pt x="12" y="23"/>
                        <a:pt x="12" y="23"/>
                      </a:cubicBezTo>
                      <a:cubicBezTo>
                        <a:pt x="16" y="22"/>
                        <a:pt x="16" y="22"/>
                        <a:pt x="16" y="22"/>
                      </a:cubicBezTo>
                      <a:cubicBezTo>
                        <a:pt x="21" y="21"/>
                        <a:pt x="25" y="19"/>
                        <a:pt x="30" y="17"/>
                      </a:cubicBezTo>
                      <a:cubicBezTo>
                        <a:pt x="30" y="17"/>
                        <a:pt x="30" y="17"/>
                        <a:pt x="30" y="17"/>
                      </a:cubicBezTo>
                      <a:cubicBezTo>
                        <a:pt x="48" y="8"/>
                        <a:pt x="48" y="8"/>
                        <a:pt x="48" y="8"/>
                      </a:cubicBezTo>
                      <a:cubicBezTo>
                        <a:pt x="50" y="7"/>
                        <a:pt x="52" y="5"/>
                        <a:pt x="52" y="2"/>
                      </a:cubicBezTo>
                      <a:lnTo>
                        <a:pt x="52" y="0"/>
                      </a:lnTo>
                      <a:close/>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476" name="Freeform 94">
                  <a:extLst>
                    <a:ext uri="{FF2B5EF4-FFF2-40B4-BE49-F238E27FC236}">
                      <a16:creationId xmlns:a16="http://schemas.microsoft.com/office/drawing/2014/main" id="{FADDF6C4-1DD7-44EB-A0EA-A99C9AC8A478}"/>
                    </a:ext>
                  </a:extLst>
                </p:cNvPr>
                <p:cNvSpPr>
                  <a:spLocks/>
                </p:cNvSpPr>
                <p:nvPr/>
              </p:nvSpPr>
              <p:spPr bwMode="auto">
                <a:xfrm>
                  <a:off x="67952" y="3863050"/>
                  <a:ext cx="71122" cy="89358"/>
                </a:xfrm>
                <a:custGeom>
                  <a:avLst/>
                  <a:gdLst>
                    <a:gd name="T0" fmla="*/ 15 w 39"/>
                    <a:gd name="T1" fmla="*/ 0 h 49"/>
                    <a:gd name="T2" fmla="*/ 39 w 39"/>
                    <a:gd name="T3" fmla="*/ 37 h 49"/>
                    <a:gd name="T4" fmla="*/ 23 w 39"/>
                    <a:gd name="T5" fmla="*/ 49 h 49"/>
                    <a:gd name="T6" fmla="*/ 0 w 39"/>
                    <a:gd name="T7" fmla="*/ 13 h 49"/>
                    <a:gd name="T8" fmla="*/ 15 w 39"/>
                    <a:gd name="T9" fmla="*/ 0 h 49"/>
                  </a:gdLst>
                  <a:ahLst/>
                  <a:cxnLst>
                    <a:cxn ang="0">
                      <a:pos x="T0" y="T1"/>
                    </a:cxn>
                    <a:cxn ang="0">
                      <a:pos x="T2" y="T3"/>
                    </a:cxn>
                    <a:cxn ang="0">
                      <a:pos x="T4" y="T5"/>
                    </a:cxn>
                    <a:cxn ang="0">
                      <a:pos x="T6" y="T7"/>
                    </a:cxn>
                    <a:cxn ang="0">
                      <a:pos x="T8" y="T9"/>
                    </a:cxn>
                  </a:cxnLst>
                  <a:rect l="0" t="0" r="r" b="b"/>
                  <a:pathLst>
                    <a:path w="39" h="49">
                      <a:moveTo>
                        <a:pt x="15" y="0"/>
                      </a:moveTo>
                      <a:lnTo>
                        <a:pt x="39" y="37"/>
                      </a:lnTo>
                      <a:lnTo>
                        <a:pt x="23" y="49"/>
                      </a:lnTo>
                      <a:lnTo>
                        <a:pt x="0" y="13"/>
                      </a:lnTo>
                      <a:lnTo>
                        <a:pt x="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539" name="Freeform: Shape 538">
                  <a:extLst>
                    <a:ext uri="{FF2B5EF4-FFF2-40B4-BE49-F238E27FC236}">
                      <a16:creationId xmlns:a16="http://schemas.microsoft.com/office/drawing/2014/main" id="{7915631C-BD18-468C-BB8D-39288A37DF9B}"/>
                    </a:ext>
                  </a:extLst>
                </p:cNvPr>
                <p:cNvSpPr>
                  <a:spLocks/>
                </p:cNvSpPr>
                <p:nvPr/>
              </p:nvSpPr>
              <p:spPr bwMode="auto">
                <a:xfrm>
                  <a:off x="-56429" y="3879463"/>
                  <a:ext cx="179091" cy="170815"/>
                </a:xfrm>
                <a:custGeom>
                  <a:avLst/>
                  <a:gdLst>
                    <a:gd name="connsiteX0" fmla="*/ 131677 w 179091"/>
                    <a:gd name="connsiteY0" fmla="*/ 0 h 170815"/>
                    <a:gd name="connsiteX1" fmla="*/ 179091 w 179091"/>
                    <a:gd name="connsiteY1" fmla="*/ 71122 h 170815"/>
                    <a:gd name="connsiteX2" fmla="*/ 62514 w 179091"/>
                    <a:gd name="connsiteY2" fmla="*/ 170815 h 170815"/>
                    <a:gd name="connsiteX3" fmla="*/ 0 w 179091"/>
                    <a:gd name="connsiteY3" fmla="*/ 78790 h 170815"/>
                  </a:gdLst>
                  <a:ahLst/>
                  <a:cxnLst>
                    <a:cxn ang="0">
                      <a:pos x="connsiteX0" y="connsiteY0"/>
                    </a:cxn>
                    <a:cxn ang="0">
                      <a:pos x="connsiteX1" y="connsiteY1"/>
                    </a:cxn>
                    <a:cxn ang="0">
                      <a:pos x="connsiteX2" y="connsiteY2"/>
                    </a:cxn>
                    <a:cxn ang="0">
                      <a:pos x="connsiteX3" y="connsiteY3"/>
                    </a:cxn>
                  </a:cxnLst>
                  <a:rect l="l" t="t" r="r" b="b"/>
                  <a:pathLst>
                    <a:path w="179091" h="170815">
                      <a:moveTo>
                        <a:pt x="131677" y="0"/>
                      </a:moveTo>
                      <a:lnTo>
                        <a:pt x="179091" y="71122"/>
                      </a:lnTo>
                      <a:lnTo>
                        <a:pt x="62514" y="170815"/>
                      </a:lnTo>
                      <a:lnTo>
                        <a:pt x="0" y="7879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540" name="Freeform: Shape 539">
                  <a:extLst>
                    <a:ext uri="{FF2B5EF4-FFF2-40B4-BE49-F238E27FC236}">
                      <a16:creationId xmlns:a16="http://schemas.microsoft.com/office/drawing/2014/main" id="{9EBDB374-C0B7-4D3F-84D0-9A43A6B9AC8D}"/>
                    </a:ext>
                  </a:extLst>
                </p:cNvPr>
                <p:cNvSpPr>
                  <a:spLocks/>
                </p:cNvSpPr>
                <p:nvPr/>
              </p:nvSpPr>
              <p:spPr bwMode="auto">
                <a:xfrm>
                  <a:off x="-14699" y="3928701"/>
                  <a:ext cx="137360" cy="121542"/>
                </a:xfrm>
                <a:custGeom>
                  <a:avLst/>
                  <a:gdLst>
                    <a:gd name="connsiteX0" fmla="*/ 122771 w 137360"/>
                    <a:gd name="connsiteY0" fmla="*/ 0 h 121542"/>
                    <a:gd name="connsiteX1" fmla="*/ 137360 w 137360"/>
                    <a:gd name="connsiteY1" fmla="*/ 21884 h 121542"/>
                    <a:gd name="connsiteX2" fmla="*/ 20760 w 137360"/>
                    <a:gd name="connsiteY2" fmla="*/ 121542 h 121542"/>
                    <a:gd name="connsiteX3" fmla="*/ 0 w 137360"/>
                    <a:gd name="connsiteY3" fmla="*/ 90982 h 121542"/>
                  </a:gdLst>
                  <a:ahLst/>
                  <a:cxnLst>
                    <a:cxn ang="0">
                      <a:pos x="connsiteX0" y="connsiteY0"/>
                    </a:cxn>
                    <a:cxn ang="0">
                      <a:pos x="connsiteX1" y="connsiteY1"/>
                    </a:cxn>
                    <a:cxn ang="0">
                      <a:pos x="connsiteX2" y="connsiteY2"/>
                    </a:cxn>
                    <a:cxn ang="0">
                      <a:pos x="connsiteX3" y="connsiteY3"/>
                    </a:cxn>
                  </a:cxnLst>
                  <a:rect l="l" t="t" r="r" b="b"/>
                  <a:pathLst>
                    <a:path w="137360" h="121542">
                      <a:moveTo>
                        <a:pt x="122771" y="0"/>
                      </a:moveTo>
                      <a:lnTo>
                        <a:pt x="137360" y="21884"/>
                      </a:lnTo>
                      <a:lnTo>
                        <a:pt x="20760" y="121542"/>
                      </a:lnTo>
                      <a:lnTo>
                        <a:pt x="0" y="90982"/>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sp>
              <p:nvSpPr>
                <p:cNvPr id="509" name="Freeform 126">
                  <a:extLst>
                    <a:ext uri="{FF2B5EF4-FFF2-40B4-BE49-F238E27FC236}">
                      <a16:creationId xmlns:a16="http://schemas.microsoft.com/office/drawing/2014/main" id="{E4BFE4E9-FAB9-4ADA-A2F1-ADF944BC91E1}"/>
                    </a:ext>
                  </a:extLst>
                </p:cNvPr>
                <p:cNvSpPr>
                  <a:spLocks noEditPoints="1"/>
                </p:cNvSpPr>
                <p:nvPr/>
              </p:nvSpPr>
              <p:spPr bwMode="auto">
                <a:xfrm>
                  <a:off x="97130" y="3602271"/>
                  <a:ext cx="158656" cy="187834"/>
                </a:xfrm>
                <a:custGeom>
                  <a:avLst/>
                  <a:gdLst>
                    <a:gd name="T0" fmla="*/ 61 w 64"/>
                    <a:gd name="T1" fmla="*/ 25 h 75"/>
                    <a:gd name="T2" fmla="*/ 25 w 64"/>
                    <a:gd name="T3" fmla="*/ 4 h 75"/>
                    <a:gd name="T4" fmla="*/ 4 w 64"/>
                    <a:gd name="T5" fmla="*/ 39 h 75"/>
                    <a:gd name="T6" fmla="*/ 36 w 64"/>
                    <a:gd name="T7" fmla="*/ 61 h 75"/>
                    <a:gd name="T8" fmla="*/ 39 w 64"/>
                    <a:gd name="T9" fmla="*/ 74 h 75"/>
                    <a:gd name="T10" fmla="*/ 40 w 64"/>
                    <a:gd name="T11" fmla="*/ 75 h 75"/>
                    <a:gd name="T12" fmla="*/ 46 w 64"/>
                    <a:gd name="T13" fmla="*/ 74 h 75"/>
                    <a:gd name="T14" fmla="*/ 42 w 64"/>
                    <a:gd name="T15" fmla="*/ 59 h 75"/>
                    <a:gd name="T16" fmla="*/ 61 w 64"/>
                    <a:gd name="T17" fmla="*/ 25 h 75"/>
                    <a:gd name="T18" fmla="*/ 38 w 64"/>
                    <a:gd name="T19" fmla="*/ 54 h 75"/>
                    <a:gd name="T20" fmla="*/ 10 w 64"/>
                    <a:gd name="T21" fmla="*/ 38 h 75"/>
                    <a:gd name="T22" fmla="*/ 27 w 64"/>
                    <a:gd name="T23" fmla="*/ 10 h 75"/>
                    <a:gd name="T24" fmla="*/ 55 w 64"/>
                    <a:gd name="T25" fmla="*/ 26 h 75"/>
                    <a:gd name="T26" fmla="*/ 38 w 64"/>
                    <a:gd name="T27" fmla="*/ 5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75">
                      <a:moveTo>
                        <a:pt x="61" y="25"/>
                      </a:moveTo>
                      <a:cubicBezTo>
                        <a:pt x="57" y="9"/>
                        <a:pt x="41" y="0"/>
                        <a:pt x="25" y="4"/>
                      </a:cubicBezTo>
                      <a:cubicBezTo>
                        <a:pt x="10" y="8"/>
                        <a:pt x="0" y="23"/>
                        <a:pt x="4" y="39"/>
                      </a:cubicBezTo>
                      <a:cubicBezTo>
                        <a:pt x="8" y="54"/>
                        <a:pt x="21" y="63"/>
                        <a:pt x="36" y="61"/>
                      </a:cubicBezTo>
                      <a:cubicBezTo>
                        <a:pt x="39" y="74"/>
                        <a:pt x="39" y="74"/>
                        <a:pt x="39" y="74"/>
                      </a:cubicBezTo>
                      <a:cubicBezTo>
                        <a:pt x="40" y="75"/>
                        <a:pt x="40" y="75"/>
                        <a:pt x="40" y="75"/>
                      </a:cubicBezTo>
                      <a:cubicBezTo>
                        <a:pt x="46" y="74"/>
                        <a:pt x="46" y="74"/>
                        <a:pt x="46" y="74"/>
                      </a:cubicBezTo>
                      <a:cubicBezTo>
                        <a:pt x="42" y="59"/>
                        <a:pt x="42" y="59"/>
                        <a:pt x="42" y="59"/>
                      </a:cubicBezTo>
                      <a:cubicBezTo>
                        <a:pt x="56" y="54"/>
                        <a:pt x="64" y="40"/>
                        <a:pt x="61" y="25"/>
                      </a:cubicBezTo>
                      <a:moveTo>
                        <a:pt x="38" y="54"/>
                      </a:moveTo>
                      <a:cubicBezTo>
                        <a:pt x="25" y="58"/>
                        <a:pt x="13" y="50"/>
                        <a:pt x="10" y="38"/>
                      </a:cubicBezTo>
                      <a:cubicBezTo>
                        <a:pt x="7" y="25"/>
                        <a:pt x="14" y="13"/>
                        <a:pt x="27" y="10"/>
                      </a:cubicBezTo>
                      <a:cubicBezTo>
                        <a:pt x="39" y="7"/>
                        <a:pt x="52" y="14"/>
                        <a:pt x="55" y="26"/>
                      </a:cubicBezTo>
                      <a:cubicBezTo>
                        <a:pt x="58" y="39"/>
                        <a:pt x="50" y="51"/>
                        <a:pt x="38" y="54"/>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dirty="0"/>
                </a:p>
              </p:txBody>
            </p:sp>
          </p:grpSp>
        </p:grpSp>
        <p:grpSp>
          <p:nvGrpSpPr>
            <p:cNvPr id="1049" name="Group 1048">
              <a:extLst>
                <a:ext uri="{FF2B5EF4-FFF2-40B4-BE49-F238E27FC236}">
                  <a16:creationId xmlns:a16="http://schemas.microsoft.com/office/drawing/2014/main" id="{91D75FC9-569F-4D69-95AA-8C86638D33BB}"/>
                </a:ext>
              </a:extLst>
            </p:cNvPr>
            <p:cNvGrpSpPr/>
            <p:nvPr/>
          </p:nvGrpSpPr>
          <p:grpSpPr>
            <a:xfrm>
              <a:off x="3310283" y="3777525"/>
              <a:ext cx="195178" cy="195178"/>
              <a:chOff x="3295873" y="3793539"/>
              <a:chExt cx="195178" cy="195178"/>
            </a:xfrm>
          </p:grpSpPr>
          <p:sp>
            <p:nvSpPr>
              <p:cNvPr id="29" name="Oval 28">
                <a:extLst>
                  <a:ext uri="{FF2B5EF4-FFF2-40B4-BE49-F238E27FC236}">
                    <a16:creationId xmlns:a16="http://schemas.microsoft.com/office/drawing/2014/main" id="{075E9CBB-EDF0-4958-B20F-8ABFC16E59DF}"/>
                  </a:ext>
                </a:extLst>
              </p:cNvPr>
              <p:cNvSpPr/>
              <p:nvPr/>
            </p:nvSpPr>
            <p:spPr bwMode="auto">
              <a:xfrm>
                <a:off x="3295873" y="3793539"/>
                <a:ext cx="195178" cy="195178"/>
              </a:xfrm>
              <a:prstGeom prst="ellipse">
                <a:avLst/>
              </a:prstGeom>
              <a:solidFill>
                <a:schemeClr val="bg1"/>
              </a:solidFill>
              <a:ln>
                <a:noFill/>
                <a:headEnd type="none" w="med" len="med"/>
                <a:tailEnd type="none" w="med" len="med"/>
              </a:ln>
              <a:effectLst>
                <a:outerShdw blurRad="254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0" name="Graphic 22">
                <a:extLst>
                  <a:ext uri="{FF2B5EF4-FFF2-40B4-BE49-F238E27FC236}">
                    <a16:creationId xmlns:a16="http://schemas.microsoft.com/office/drawing/2014/main" id="{6368B344-F1DA-48F7-9B64-1D8643667032}"/>
                  </a:ext>
                </a:extLst>
              </p:cNvPr>
              <p:cNvGrpSpPr/>
              <p:nvPr/>
            </p:nvGrpSpPr>
            <p:grpSpPr>
              <a:xfrm rot="11700000">
                <a:off x="3331005" y="3827668"/>
                <a:ext cx="133540" cy="117897"/>
                <a:chOff x="3331005" y="3827668"/>
                <a:chExt cx="133540" cy="117897"/>
              </a:xfrm>
              <a:solidFill>
                <a:schemeClr val="accent1"/>
              </a:solidFill>
            </p:grpSpPr>
            <p:sp>
              <p:nvSpPr>
                <p:cNvPr id="31" name="Freeform: Shape 30">
                  <a:extLst>
                    <a:ext uri="{FF2B5EF4-FFF2-40B4-BE49-F238E27FC236}">
                      <a16:creationId xmlns:a16="http://schemas.microsoft.com/office/drawing/2014/main" id="{6840272A-69BA-4EA2-82A3-0C7F88D19898}"/>
                    </a:ext>
                  </a:extLst>
                </p:cNvPr>
                <p:cNvSpPr/>
                <p:nvPr/>
              </p:nvSpPr>
              <p:spPr>
                <a:xfrm>
                  <a:off x="3331005" y="3881714"/>
                  <a:ext cx="133540" cy="9539"/>
                </a:xfrm>
                <a:custGeom>
                  <a:avLst/>
                  <a:gdLst>
                    <a:gd name="connsiteX0" fmla="*/ 128580 w 133540"/>
                    <a:gd name="connsiteY0" fmla="*/ 10244 h 9538"/>
                    <a:gd name="connsiteX1" fmla="*/ 5113 w 133540"/>
                    <a:gd name="connsiteY1" fmla="*/ 10244 h 9538"/>
                    <a:gd name="connsiteX2" fmla="*/ 0 w 133540"/>
                    <a:gd name="connsiteY2" fmla="*/ 5113 h 9538"/>
                    <a:gd name="connsiteX3" fmla="*/ 5113 w 133540"/>
                    <a:gd name="connsiteY3" fmla="*/ 0 h 9538"/>
                    <a:gd name="connsiteX4" fmla="*/ 128580 w 133540"/>
                    <a:gd name="connsiteY4" fmla="*/ 0 h 9538"/>
                    <a:gd name="connsiteX5" fmla="*/ 133693 w 133540"/>
                    <a:gd name="connsiteY5" fmla="*/ 5113 h 9538"/>
                    <a:gd name="connsiteX6" fmla="*/ 128580 w 133540"/>
                    <a:gd name="connsiteY6" fmla="*/ 10244 h 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540" h="9538">
                      <a:moveTo>
                        <a:pt x="128580" y="10244"/>
                      </a:moveTo>
                      <a:lnTo>
                        <a:pt x="5113" y="10244"/>
                      </a:lnTo>
                      <a:cubicBezTo>
                        <a:pt x="2289" y="10244"/>
                        <a:pt x="0" y="7936"/>
                        <a:pt x="0" y="5113"/>
                      </a:cubicBezTo>
                      <a:cubicBezTo>
                        <a:pt x="0" y="2289"/>
                        <a:pt x="2289" y="0"/>
                        <a:pt x="5113" y="0"/>
                      </a:cubicBezTo>
                      <a:lnTo>
                        <a:pt x="128580" y="0"/>
                      </a:lnTo>
                      <a:cubicBezTo>
                        <a:pt x="131403" y="0"/>
                        <a:pt x="133693" y="2289"/>
                        <a:pt x="133693" y="5113"/>
                      </a:cubicBezTo>
                      <a:cubicBezTo>
                        <a:pt x="133712" y="7936"/>
                        <a:pt x="131422" y="10244"/>
                        <a:pt x="128580" y="10244"/>
                      </a:cubicBezTo>
                      <a:close/>
                    </a:path>
                  </a:pathLst>
                </a:custGeom>
                <a:solidFill>
                  <a:srgbClr val="565656"/>
                </a:solidFill>
                <a:ln w="1905" cap="flat">
                  <a:noFill/>
                  <a:prstDash val="solid"/>
                  <a:miter/>
                </a:ln>
              </p:spPr>
              <p:txBody>
                <a:bodyPr rtlCol="0" anchor="ctr"/>
                <a:lstStyle/>
                <a:p>
                  <a:endParaRPr lang="en-US" dirty="0"/>
                </a:p>
              </p:txBody>
            </p:sp>
            <p:sp>
              <p:nvSpPr>
                <p:cNvPr id="1039" name="Freeform: Shape 1038">
                  <a:extLst>
                    <a:ext uri="{FF2B5EF4-FFF2-40B4-BE49-F238E27FC236}">
                      <a16:creationId xmlns:a16="http://schemas.microsoft.com/office/drawing/2014/main" id="{4D9F4D86-871B-4688-8E2C-306D2262384C}"/>
                    </a:ext>
                  </a:extLst>
                </p:cNvPr>
                <p:cNvSpPr/>
                <p:nvPr/>
              </p:nvSpPr>
              <p:spPr>
                <a:xfrm>
                  <a:off x="3349109" y="3827668"/>
                  <a:ext cx="97293" cy="53416"/>
                </a:xfrm>
                <a:custGeom>
                  <a:avLst/>
                  <a:gdLst>
                    <a:gd name="connsiteX0" fmla="*/ 48742 w 97293"/>
                    <a:gd name="connsiteY0" fmla="*/ 53855 h 53416"/>
                    <a:gd name="connsiteX1" fmla="*/ 0 w 97293"/>
                    <a:gd name="connsiteY1" fmla="*/ 5113 h 53416"/>
                    <a:gd name="connsiteX2" fmla="*/ 5113 w 97293"/>
                    <a:gd name="connsiteY2" fmla="*/ 0 h 53416"/>
                    <a:gd name="connsiteX3" fmla="*/ 10225 w 97293"/>
                    <a:gd name="connsiteY3" fmla="*/ 5113 h 53416"/>
                    <a:gd name="connsiteX4" fmla="*/ 48723 w 97293"/>
                    <a:gd name="connsiteY4" fmla="*/ 43610 h 53416"/>
                    <a:gd name="connsiteX5" fmla="*/ 87221 w 97293"/>
                    <a:gd name="connsiteY5" fmla="*/ 5113 h 53416"/>
                    <a:gd name="connsiteX6" fmla="*/ 92352 w 97293"/>
                    <a:gd name="connsiteY6" fmla="*/ 0 h 53416"/>
                    <a:gd name="connsiteX7" fmla="*/ 97484 w 97293"/>
                    <a:gd name="connsiteY7" fmla="*/ 5113 h 53416"/>
                    <a:gd name="connsiteX8" fmla="*/ 4874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48742" y="53855"/>
                      </a:moveTo>
                      <a:cubicBezTo>
                        <a:pt x="21862" y="53855"/>
                        <a:pt x="0" y="31992"/>
                        <a:pt x="0" y="5113"/>
                      </a:cubicBezTo>
                      <a:cubicBezTo>
                        <a:pt x="0" y="2289"/>
                        <a:pt x="2289" y="0"/>
                        <a:pt x="5113" y="0"/>
                      </a:cubicBezTo>
                      <a:cubicBezTo>
                        <a:pt x="7936" y="0"/>
                        <a:pt x="10225" y="2289"/>
                        <a:pt x="10225" y="5113"/>
                      </a:cubicBezTo>
                      <a:cubicBezTo>
                        <a:pt x="10225" y="26346"/>
                        <a:pt x="27490" y="43610"/>
                        <a:pt x="48723" y="43610"/>
                      </a:cubicBezTo>
                      <a:cubicBezTo>
                        <a:pt x="69956" y="43610"/>
                        <a:pt x="87221" y="26346"/>
                        <a:pt x="87221" y="5113"/>
                      </a:cubicBezTo>
                      <a:cubicBezTo>
                        <a:pt x="87221" y="2289"/>
                        <a:pt x="89510" y="0"/>
                        <a:pt x="92352" y="0"/>
                      </a:cubicBezTo>
                      <a:cubicBezTo>
                        <a:pt x="95176" y="0"/>
                        <a:pt x="97484" y="2289"/>
                        <a:pt x="97484" y="5113"/>
                      </a:cubicBezTo>
                      <a:cubicBezTo>
                        <a:pt x="97503" y="31973"/>
                        <a:pt x="75622" y="53855"/>
                        <a:pt x="48742" y="53855"/>
                      </a:cubicBezTo>
                      <a:close/>
                    </a:path>
                  </a:pathLst>
                </a:custGeom>
                <a:solidFill>
                  <a:srgbClr val="565656"/>
                </a:solidFill>
                <a:ln w="1905" cap="flat">
                  <a:noFill/>
                  <a:prstDash val="solid"/>
                  <a:miter/>
                </a:ln>
              </p:spPr>
              <p:txBody>
                <a:bodyPr rtlCol="0" anchor="ctr"/>
                <a:lstStyle/>
                <a:p>
                  <a:endParaRPr lang="en-US" dirty="0"/>
                </a:p>
              </p:txBody>
            </p:sp>
            <p:sp>
              <p:nvSpPr>
                <p:cNvPr id="1040" name="Freeform: Shape 1039">
                  <a:extLst>
                    <a:ext uri="{FF2B5EF4-FFF2-40B4-BE49-F238E27FC236}">
                      <a16:creationId xmlns:a16="http://schemas.microsoft.com/office/drawing/2014/main" id="{7117127F-18B8-408A-9659-1F698504DC60}"/>
                    </a:ext>
                  </a:extLst>
                </p:cNvPr>
                <p:cNvSpPr/>
                <p:nvPr/>
              </p:nvSpPr>
              <p:spPr>
                <a:xfrm>
                  <a:off x="3349128" y="3892149"/>
                  <a:ext cx="97293" cy="53416"/>
                </a:xfrm>
                <a:custGeom>
                  <a:avLst/>
                  <a:gdLst>
                    <a:gd name="connsiteX0" fmla="*/ 92352 w 97293"/>
                    <a:gd name="connsiteY0" fmla="*/ 53855 h 53416"/>
                    <a:gd name="connsiteX1" fmla="*/ 87221 w 97293"/>
                    <a:gd name="connsiteY1" fmla="*/ 48742 h 53416"/>
                    <a:gd name="connsiteX2" fmla="*/ 48723 w 97293"/>
                    <a:gd name="connsiteY2" fmla="*/ 10244 h 53416"/>
                    <a:gd name="connsiteX3" fmla="*/ 10225 w 97293"/>
                    <a:gd name="connsiteY3" fmla="*/ 48742 h 53416"/>
                    <a:gd name="connsiteX4" fmla="*/ 5113 w 97293"/>
                    <a:gd name="connsiteY4" fmla="*/ 53855 h 53416"/>
                    <a:gd name="connsiteX5" fmla="*/ 0 w 97293"/>
                    <a:gd name="connsiteY5" fmla="*/ 48742 h 53416"/>
                    <a:gd name="connsiteX6" fmla="*/ 48742 w 97293"/>
                    <a:gd name="connsiteY6" fmla="*/ 0 h 53416"/>
                    <a:gd name="connsiteX7" fmla="*/ 97484 w 97293"/>
                    <a:gd name="connsiteY7" fmla="*/ 48742 h 53416"/>
                    <a:gd name="connsiteX8" fmla="*/ 9235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92352" y="53855"/>
                      </a:moveTo>
                      <a:cubicBezTo>
                        <a:pt x="89529" y="53855"/>
                        <a:pt x="87221" y="51566"/>
                        <a:pt x="87221" y="48742"/>
                      </a:cubicBezTo>
                      <a:cubicBezTo>
                        <a:pt x="87221" y="27509"/>
                        <a:pt x="69956" y="10244"/>
                        <a:pt x="48723" y="10244"/>
                      </a:cubicBezTo>
                      <a:cubicBezTo>
                        <a:pt x="27490" y="10244"/>
                        <a:pt x="10225" y="27509"/>
                        <a:pt x="10225" y="48742"/>
                      </a:cubicBezTo>
                      <a:cubicBezTo>
                        <a:pt x="10225" y="51566"/>
                        <a:pt x="7936" y="53855"/>
                        <a:pt x="5113" y="53855"/>
                      </a:cubicBezTo>
                      <a:cubicBezTo>
                        <a:pt x="2289" y="53855"/>
                        <a:pt x="0" y="51566"/>
                        <a:pt x="0" y="48742"/>
                      </a:cubicBezTo>
                      <a:cubicBezTo>
                        <a:pt x="0" y="21862"/>
                        <a:pt x="21862" y="0"/>
                        <a:pt x="48742" y="0"/>
                      </a:cubicBezTo>
                      <a:cubicBezTo>
                        <a:pt x="75622" y="0"/>
                        <a:pt x="97484" y="21862"/>
                        <a:pt x="97484" y="48742"/>
                      </a:cubicBezTo>
                      <a:cubicBezTo>
                        <a:pt x="97484" y="51566"/>
                        <a:pt x="95176" y="53855"/>
                        <a:pt x="92352" y="53855"/>
                      </a:cubicBezTo>
                      <a:close/>
                    </a:path>
                  </a:pathLst>
                </a:custGeom>
                <a:solidFill>
                  <a:srgbClr val="565656"/>
                </a:solidFill>
                <a:ln w="1905" cap="flat">
                  <a:noFill/>
                  <a:prstDash val="solid"/>
                  <a:miter/>
                </a:ln>
              </p:spPr>
              <p:txBody>
                <a:bodyPr rtlCol="0" anchor="ctr"/>
                <a:lstStyle/>
                <a:p>
                  <a:endParaRPr lang="en-US" dirty="0"/>
                </a:p>
              </p:txBody>
            </p:sp>
            <p:sp>
              <p:nvSpPr>
                <p:cNvPr id="1041" name="Freeform: Shape 1040">
                  <a:extLst>
                    <a:ext uri="{FF2B5EF4-FFF2-40B4-BE49-F238E27FC236}">
                      <a16:creationId xmlns:a16="http://schemas.microsoft.com/office/drawing/2014/main" id="{25839FAF-7EAE-4E14-8E2B-B1C71FF7190D}"/>
                    </a:ext>
                  </a:extLst>
                </p:cNvPr>
                <p:cNvSpPr/>
                <p:nvPr/>
              </p:nvSpPr>
              <p:spPr>
                <a:xfrm>
                  <a:off x="3394398" y="3857314"/>
                  <a:ext cx="5723" cy="68678"/>
                </a:xfrm>
                <a:custGeom>
                  <a:avLst/>
                  <a:gdLst>
                    <a:gd name="connsiteX0" fmla="*/ 0 w 5723"/>
                    <a:gd name="connsiteY0" fmla="*/ 0 h 68677"/>
                    <a:gd name="connsiteX1" fmla="*/ 0 w 5723"/>
                    <a:gd name="connsiteY1" fmla="*/ 69765 h 68677"/>
                    <a:gd name="connsiteX2" fmla="*/ 3453 w 5723"/>
                    <a:gd name="connsiteY2" fmla="*/ 69975 h 68677"/>
                    <a:gd name="connsiteX3" fmla="*/ 6906 w 5723"/>
                    <a:gd name="connsiteY3" fmla="*/ 69765 h 68677"/>
                    <a:gd name="connsiteX4" fmla="*/ 6906 w 5723"/>
                    <a:gd name="connsiteY4" fmla="*/ 0 h 68677"/>
                    <a:gd name="connsiteX5" fmla="*/ 0 w 5723"/>
                    <a:gd name="connsiteY5" fmla="*/ 0 h 6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3" h="68677">
                      <a:moveTo>
                        <a:pt x="0" y="0"/>
                      </a:moveTo>
                      <a:lnTo>
                        <a:pt x="0" y="69765"/>
                      </a:lnTo>
                      <a:cubicBezTo>
                        <a:pt x="1145" y="69899"/>
                        <a:pt x="2289" y="69975"/>
                        <a:pt x="3453" y="69975"/>
                      </a:cubicBezTo>
                      <a:cubicBezTo>
                        <a:pt x="4617" y="69975"/>
                        <a:pt x="5761" y="69899"/>
                        <a:pt x="6906" y="69765"/>
                      </a:cubicBezTo>
                      <a:lnTo>
                        <a:pt x="6906" y="0"/>
                      </a:lnTo>
                      <a:lnTo>
                        <a:pt x="0" y="0"/>
                      </a:lnTo>
                      <a:close/>
                    </a:path>
                  </a:pathLst>
                </a:custGeom>
                <a:solidFill>
                  <a:srgbClr val="565656"/>
                </a:solidFill>
                <a:ln w="1905" cap="flat">
                  <a:noFill/>
                  <a:prstDash val="solid"/>
                  <a:miter/>
                </a:ln>
              </p:spPr>
              <p:txBody>
                <a:bodyPr rtlCol="0" anchor="ctr"/>
                <a:lstStyle/>
                <a:p>
                  <a:endParaRPr lang="en-US" dirty="0"/>
                </a:p>
              </p:txBody>
            </p:sp>
            <p:grpSp>
              <p:nvGrpSpPr>
                <p:cNvPr id="1042" name="Graphic 22">
                  <a:extLst>
                    <a:ext uri="{FF2B5EF4-FFF2-40B4-BE49-F238E27FC236}">
                      <a16:creationId xmlns:a16="http://schemas.microsoft.com/office/drawing/2014/main" id="{6368B344-F1DA-48F7-9B64-1D8643667032}"/>
                    </a:ext>
                  </a:extLst>
                </p:cNvPr>
                <p:cNvGrpSpPr/>
                <p:nvPr/>
              </p:nvGrpSpPr>
              <p:grpSpPr>
                <a:xfrm>
                  <a:off x="3360575" y="3857314"/>
                  <a:ext cx="74401" cy="68678"/>
                  <a:chOff x="3360575" y="3857314"/>
                  <a:chExt cx="74401" cy="68678"/>
                </a:xfrm>
                <a:solidFill>
                  <a:schemeClr val="accent1"/>
                </a:solidFill>
              </p:grpSpPr>
              <p:sp>
                <p:nvSpPr>
                  <p:cNvPr id="1043" name="Freeform: Shape 1042">
                    <a:extLst>
                      <a:ext uri="{FF2B5EF4-FFF2-40B4-BE49-F238E27FC236}">
                        <a16:creationId xmlns:a16="http://schemas.microsoft.com/office/drawing/2014/main" id="{72E4390F-15ED-4187-8089-877CC15D03C6}"/>
                      </a:ext>
                    </a:extLst>
                  </p:cNvPr>
                  <p:cNvSpPr/>
                  <p:nvPr/>
                </p:nvSpPr>
                <p:spPr>
                  <a:xfrm>
                    <a:off x="3360575" y="3862465"/>
                    <a:ext cx="32431" cy="62955"/>
                  </a:xfrm>
                  <a:custGeom>
                    <a:avLst/>
                    <a:gdLst>
                      <a:gd name="connsiteX0" fmla="*/ 3110 w 32431"/>
                      <a:gd name="connsiteY0" fmla="*/ 0 h 62954"/>
                      <a:gd name="connsiteX1" fmla="*/ 2766 w 32431"/>
                      <a:gd name="connsiteY1" fmla="*/ 878 h 62954"/>
                      <a:gd name="connsiteX2" fmla="*/ 0 w 32431"/>
                      <a:gd name="connsiteY2" fmla="*/ 18429 h 62954"/>
                      <a:gd name="connsiteX3" fmla="*/ 33824 w 32431"/>
                      <a:gd name="connsiteY3" fmla="*/ 64614 h 62954"/>
                      <a:gd name="connsiteX4" fmla="*/ 33824 w 32431"/>
                      <a:gd name="connsiteY4" fmla="*/ 32565 h 62954"/>
                      <a:gd name="connsiteX5" fmla="*/ 3110 w 32431"/>
                      <a:gd name="connsiteY5" fmla="*/ 0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10" y="0"/>
                        </a:moveTo>
                        <a:cubicBezTo>
                          <a:pt x="2995" y="286"/>
                          <a:pt x="2862" y="572"/>
                          <a:pt x="2766" y="878"/>
                        </a:cubicBezTo>
                        <a:cubicBezTo>
                          <a:pt x="1011" y="6295"/>
                          <a:pt x="0" y="12209"/>
                          <a:pt x="0" y="18429"/>
                        </a:cubicBezTo>
                        <a:cubicBezTo>
                          <a:pt x="0" y="42599"/>
                          <a:pt x="14861" y="62440"/>
                          <a:pt x="33824" y="64614"/>
                        </a:cubicBezTo>
                        <a:lnTo>
                          <a:pt x="33824" y="32565"/>
                        </a:lnTo>
                        <a:cubicBezTo>
                          <a:pt x="19039" y="30752"/>
                          <a:pt x="6925" y="17532"/>
                          <a:pt x="3110" y="0"/>
                        </a:cubicBezTo>
                        <a:close/>
                      </a:path>
                    </a:pathLst>
                  </a:custGeom>
                  <a:solidFill>
                    <a:srgbClr val="F20530"/>
                  </a:solidFill>
                  <a:ln w="1905" cap="flat">
                    <a:noFill/>
                    <a:prstDash val="solid"/>
                    <a:miter/>
                  </a:ln>
                </p:spPr>
                <p:txBody>
                  <a:bodyPr rtlCol="0" anchor="ctr"/>
                  <a:lstStyle/>
                  <a:p>
                    <a:endParaRPr lang="en-US" dirty="0"/>
                  </a:p>
                </p:txBody>
              </p:sp>
              <p:sp>
                <p:nvSpPr>
                  <p:cNvPr id="1044" name="Freeform: Shape 1043">
                    <a:extLst>
                      <a:ext uri="{FF2B5EF4-FFF2-40B4-BE49-F238E27FC236}">
                        <a16:creationId xmlns:a16="http://schemas.microsoft.com/office/drawing/2014/main" id="{10BB984C-DE9F-4D32-BCBF-84D82F714B72}"/>
                      </a:ext>
                    </a:extLst>
                  </p:cNvPr>
                  <p:cNvSpPr/>
                  <p:nvPr/>
                </p:nvSpPr>
                <p:spPr>
                  <a:xfrm>
                    <a:off x="3401304" y="3862598"/>
                    <a:ext cx="32431" cy="62955"/>
                  </a:xfrm>
                  <a:custGeom>
                    <a:avLst/>
                    <a:gdLst>
                      <a:gd name="connsiteX0" fmla="*/ 31096 w 32431"/>
                      <a:gd name="connsiteY0" fmla="*/ 801 h 62954"/>
                      <a:gd name="connsiteX1" fmla="*/ 30695 w 32431"/>
                      <a:gd name="connsiteY1" fmla="*/ 0 h 62954"/>
                      <a:gd name="connsiteX2" fmla="*/ 0 w 32431"/>
                      <a:gd name="connsiteY2" fmla="*/ 32431 h 62954"/>
                      <a:gd name="connsiteX3" fmla="*/ 0 w 32431"/>
                      <a:gd name="connsiteY3" fmla="*/ 64481 h 62954"/>
                      <a:gd name="connsiteX4" fmla="*/ 33824 w 32431"/>
                      <a:gd name="connsiteY4" fmla="*/ 18295 h 62954"/>
                      <a:gd name="connsiteX5" fmla="*/ 31096 w 32431"/>
                      <a:gd name="connsiteY5" fmla="*/ 801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096" y="801"/>
                        </a:moveTo>
                        <a:cubicBezTo>
                          <a:pt x="30962" y="515"/>
                          <a:pt x="30829" y="248"/>
                          <a:pt x="30695" y="0"/>
                        </a:cubicBezTo>
                        <a:cubicBezTo>
                          <a:pt x="26842" y="17475"/>
                          <a:pt x="14747" y="30638"/>
                          <a:pt x="0" y="32431"/>
                        </a:cubicBezTo>
                        <a:lnTo>
                          <a:pt x="0" y="64481"/>
                        </a:lnTo>
                        <a:cubicBezTo>
                          <a:pt x="18982" y="62306"/>
                          <a:pt x="33824" y="42466"/>
                          <a:pt x="33824" y="18295"/>
                        </a:cubicBezTo>
                        <a:cubicBezTo>
                          <a:pt x="33843" y="12114"/>
                          <a:pt x="33309" y="6047"/>
                          <a:pt x="31096" y="801"/>
                        </a:cubicBezTo>
                        <a:close/>
                      </a:path>
                    </a:pathLst>
                  </a:custGeom>
                  <a:solidFill>
                    <a:srgbClr val="B60424"/>
                  </a:solidFill>
                  <a:ln w="1905" cap="flat">
                    <a:noFill/>
                    <a:prstDash val="solid"/>
                    <a:miter/>
                  </a:ln>
                </p:spPr>
                <p:txBody>
                  <a:bodyPr rtlCol="0" anchor="ctr"/>
                  <a:lstStyle/>
                  <a:p>
                    <a:endParaRPr lang="en-US" dirty="0"/>
                  </a:p>
                </p:txBody>
              </p:sp>
              <p:sp>
                <p:nvSpPr>
                  <p:cNvPr id="1045" name="Freeform: Shape 1044">
                    <a:extLst>
                      <a:ext uri="{FF2B5EF4-FFF2-40B4-BE49-F238E27FC236}">
                        <a16:creationId xmlns:a16="http://schemas.microsoft.com/office/drawing/2014/main" id="{747DE166-5639-4216-9FA3-EADE567B21EF}"/>
                      </a:ext>
                    </a:extLst>
                  </p:cNvPr>
                  <p:cNvSpPr/>
                  <p:nvPr/>
                </p:nvSpPr>
                <p:spPr>
                  <a:xfrm>
                    <a:off x="3363684" y="3857314"/>
                    <a:ext cx="30523" cy="36247"/>
                  </a:xfrm>
                  <a:custGeom>
                    <a:avLst/>
                    <a:gdLst>
                      <a:gd name="connsiteX0" fmla="*/ 7841 w 30523"/>
                      <a:gd name="connsiteY0" fmla="*/ 0 h 36246"/>
                      <a:gd name="connsiteX1" fmla="*/ 0 w 30523"/>
                      <a:gd name="connsiteY1" fmla="*/ 5151 h 36246"/>
                      <a:gd name="connsiteX2" fmla="*/ 30714 w 30523"/>
                      <a:gd name="connsiteY2" fmla="*/ 37716 h 36246"/>
                      <a:gd name="connsiteX3" fmla="*/ 30714 w 30523"/>
                      <a:gd name="connsiteY3" fmla="*/ 0 h 36246"/>
                      <a:gd name="connsiteX4" fmla="*/ 7841 w 30523"/>
                      <a:gd name="connsiteY4" fmla="*/ 0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7841" y="0"/>
                        </a:moveTo>
                        <a:cubicBezTo>
                          <a:pt x="7841" y="0"/>
                          <a:pt x="2232" y="0"/>
                          <a:pt x="0" y="5151"/>
                        </a:cubicBezTo>
                        <a:cubicBezTo>
                          <a:pt x="3815" y="22683"/>
                          <a:pt x="15929" y="35903"/>
                          <a:pt x="30714" y="37716"/>
                        </a:cubicBezTo>
                        <a:lnTo>
                          <a:pt x="30714" y="0"/>
                        </a:lnTo>
                        <a:lnTo>
                          <a:pt x="7841" y="0"/>
                        </a:lnTo>
                        <a:close/>
                      </a:path>
                    </a:pathLst>
                  </a:custGeom>
                  <a:solidFill>
                    <a:srgbClr val="F53759"/>
                  </a:solidFill>
                  <a:ln w="1905" cap="flat">
                    <a:noFill/>
                    <a:prstDash val="solid"/>
                    <a:miter/>
                  </a:ln>
                </p:spPr>
                <p:txBody>
                  <a:bodyPr rtlCol="0" anchor="ctr"/>
                  <a:lstStyle/>
                  <a:p>
                    <a:endParaRPr lang="en-US" dirty="0"/>
                  </a:p>
                </p:txBody>
              </p:sp>
              <p:sp>
                <p:nvSpPr>
                  <p:cNvPr id="1046" name="Freeform: Shape 1045">
                    <a:extLst>
                      <a:ext uri="{FF2B5EF4-FFF2-40B4-BE49-F238E27FC236}">
                        <a16:creationId xmlns:a16="http://schemas.microsoft.com/office/drawing/2014/main" id="{A047D652-F8D8-4B45-BDF7-DB087035B551}"/>
                      </a:ext>
                    </a:extLst>
                  </p:cNvPr>
                  <p:cNvSpPr/>
                  <p:nvPr/>
                </p:nvSpPr>
                <p:spPr>
                  <a:xfrm>
                    <a:off x="3401323" y="3857314"/>
                    <a:ext cx="30523" cy="36247"/>
                  </a:xfrm>
                  <a:custGeom>
                    <a:avLst/>
                    <a:gdLst>
                      <a:gd name="connsiteX0" fmla="*/ 30695 w 30523"/>
                      <a:gd name="connsiteY0" fmla="*/ 5284 h 36246"/>
                      <a:gd name="connsiteX1" fmla="*/ 22873 w 30523"/>
                      <a:gd name="connsiteY1" fmla="*/ 0 h 36246"/>
                      <a:gd name="connsiteX2" fmla="*/ 0 w 30523"/>
                      <a:gd name="connsiteY2" fmla="*/ 0 h 36246"/>
                      <a:gd name="connsiteX3" fmla="*/ 0 w 30523"/>
                      <a:gd name="connsiteY3" fmla="*/ 37716 h 36246"/>
                      <a:gd name="connsiteX4" fmla="*/ 30695 w 30523"/>
                      <a:gd name="connsiteY4" fmla="*/ 5284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30695" y="5284"/>
                        </a:moveTo>
                        <a:cubicBezTo>
                          <a:pt x="27986" y="19"/>
                          <a:pt x="22873" y="0"/>
                          <a:pt x="22873" y="0"/>
                        </a:cubicBezTo>
                        <a:lnTo>
                          <a:pt x="0" y="0"/>
                        </a:lnTo>
                        <a:lnTo>
                          <a:pt x="0" y="37716"/>
                        </a:lnTo>
                        <a:cubicBezTo>
                          <a:pt x="14747" y="35922"/>
                          <a:pt x="26842" y="22759"/>
                          <a:pt x="30695" y="5284"/>
                        </a:cubicBezTo>
                        <a:close/>
                      </a:path>
                    </a:pathLst>
                  </a:custGeom>
                  <a:solidFill>
                    <a:srgbClr val="F20530"/>
                  </a:solidFill>
                  <a:ln w="1905" cap="flat">
                    <a:noFill/>
                    <a:prstDash val="solid"/>
                    <a:miter/>
                  </a:ln>
                </p:spPr>
                <p:txBody>
                  <a:bodyPr rtlCol="0" anchor="ctr"/>
                  <a:lstStyle/>
                  <a:p>
                    <a:endParaRPr lang="en-US" dirty="0"/>
                  </a:p>
                </p:txBody>
              </p:sp>
            </p:grpSp>
            <p:sp>
              <p:nvSpPr>
                <p:cNvPr id="1047" name="Freeform: Shape 1046">
                  <a:extLst>
                    <a:ext uri="{FF2B5EF4-FFF2-40B4-BE49-F238E27FC236}">
                      <a16:creationId xmlns:a16="http://schemas.microsoft.com/office/drawing/2014/main" id="{129A06A9-7C49-4FA4-B849-84A358805961}"/>
                    </a:ext>
                  </a:extLst>
                </p:cNvPr>
                <p:cNvSpPr/>
                <p:nvPr/>
              </p:nvSpPr>
              <p:spPr>
                <a:xfrm>
                  <a:off x="3397870" y="3810584"/>
                  <a:ext cx="28616" cy="45785"/>
                </a:xfrm>
                <a:custGeom>
                  <a:avLst/>
                  <a:gdLst>
                    <a:gd name="connsiteX0" fmla="*/ 15891 w 28615"/>
                    <a:gd name="connsiteY0" fmla="*/ 33586 h 45785"/>
                    <a:gd name="connsiteX1" fmla="*/ 18161 w 28615"/>
                    <a:gd name="connsiteY1" fmla="*/ 27386 h 45785"/>
                    <a:gd name="connsiteX2" fmla="*/ 19363 w 28615"/>
                    <a:gd name="connsiteY2" fmla="*/ 26642 h 45785"/>
                    <a:gd name="connsiteX3" fmla="*/ 23503 w 28615"/>
                    <a:gd name="connsiteY3" fmla="*/ 24086 h 45785"/>
                    <a:gd name="connsiteX4" fmla="*/ 23618 w 28615"/>
                    <a:gd name="connsiteY4" fmla="*/ 24010 h 45785"/>
                    <a:gd name="connsiteX5" fmla="*/ 23732 w 28615"/>
                    <a:gd name="connsiteY5" fmla="*/ 23933 h 45785"/>
                    <a:gd name="connsiteX6" fmla="*/ 27719 w 28615"/>
                    <a:gd name="connsiteY6" fmla="*/ 6096 h 45785"/>
                    <a:gd name="connsiteX7" fmla="*/ 25067 w 28615"/>
                    <a:gd name="connsiteY7" fmla="*/ 1823 h 45785"/>
                    <a:gd name="connsiteX8" fmla="*/ 19783 w 28615"/>
                    <a:gd name="connsiteY8" fmla="*/ 583 h 45785"/>
                    <a:gd name="connsiteX9" fmla="*/ 18543 w 28615"/>
                    <a:gd name="connsiteY9" fmla="*/ 5867 h 45785"/>
                    <a:gd name="connsiteX10" fmla="*/ 21195 w 28615"/>
                    <a:gd name="connsiteY10" fmla="*/ 10141 h 45785"/>
                    <a:gd name="connsiteX11" fmla="*/ 19459 w 28615"/>
                    <a:gd name="connsiteY11" fmla="*/ 17542 h 45785"/>
                    <a:gd name="connsiteX12" fmla="*/ 15319 w 28615"/>
                    <a:gd name="connsiteY12" fmla="*/ 20099 h 45785"/>
                    <a:gd name="connsiteX13" fmla="*/ 14117 w 28615"/>
                    <a:gd name="connsiteY13" fmla="*/ 20843 h 45785"/>
                    <a:gd name="connsiteX14" fmla="*/ 8203 w 28615"/>
                    <a:gd name="connsiteY14" fmla="*/ 29408 h 45785"/>
                    <a:gd name="connsiteX15" fmla="*/ 0 w 28615"/>
                    <a:gd name="connsiteY15" fmla="*/ 28016 h 45785"/>
                    <a:gd name="connsiteX16" fmla="*/ 0 w 28615"/>
                    <a:gd name="connsiteY16" fmla="*/ 46731 h 45785"/>
                    <a:gd name="connsiteX17" fmla="*/ 26346 w 28615"/>
                    <a:gd name="connsiteY17" fmla="*/ 46731 h 45785"/>
                    <a:gd name="connsiteX18" fmla="*/ 15891 w 28615"/>
                    <a:gd name="connsiteY18" fmla="*/ 33586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15891" y="33586"/>
                      </a:moveTo>
                      <a:cubicBezTo>
                        <a:pt x="15166" y="31297"/>
                        <a:pt x="16025" y="28722"/>
                        <a:pt x="18161" y="27386"/>
                      </a:cubicBezTo>
                      <a:lnTo>
                        <a:pt x="19363" y="26642"/>
                      </a:lnTo>
                      <a:lnTo>
                        <a:pt x="23503" y="24086"/>
                      </a:lnTo>
                      <a:lnTo>
                        <a:pt x="23618" y="24010"/>
                      </a:lnTo>
                      <a:cubicBezTo>
                        <a:pt x="23656" y="23991"/>
                        <a:pt x="23694" y="23952"/>
                        <a:pt x="23732" y="23933"/>
                      </a:cubicBezTo>
                      <a:cubicBezTo>
                        <a:pt x="29665" y="20080"/>
                        <a:pt x="31477" y="12144"/>
                        <a:pt x="27719" y="6096"/>
                      </a:cubicBezTo>
                      <a:lnTo>
                        <a:pt x="25067" y="1823"/>
                      </a:lnTo>
                      <a:cubicBezTo>
                        <a:pt x="23942" y="11"/>
                        <a:pt x="21576" y="-543"/>
                        <a:pt x="19783" y="583"/>
                      </a:cubicBezTo>
                      <a:cubicBezTo>
                        <a:pt x="17971" y="1708"/>
                        <a:pt x="17417" y="4074"/>
                        <a:pt x="18543" y="5867"/>
                      </a:cubicBezTo>
                      <a:lnTo>
                        <a:pt x="21195" y="10141"/>
                      </a:lnTo>
                      <a:cubicBezTo>
                        <a:pt x="22759" y="12659"/>
                        <a:pt x="21977" y="15978"/>
                        <a:pt x="19459" y="17542"/>
                      </a:cubicBezTo>
                      <a:lnTo>
                        <a:pt x="15319" y="20099"/>
                      </a:lnTo>
                      <a:lnTo>
                        <a:pt x="14117" y="20843"/>
                      </a:lnTo>
                      <a:cubicBezTo>
                        <a:pt x="10912" y="22827"/>
                        <a:pt x="8890" y="25975"/>
                        <a:pt x="8203" y="29408"/>
                      </a:cubicBezTo>
                      <a:cubicBezTo>
                        <a:pt x="5590" y="28512"/>
                        <a:pt x="2842" y="28016"/>
                        <a:pt x="0" y="28016"/>
                      </a:cubicBezTo>
                      <a:lnTo>
                        <a:pt x="0" y="46731"/>
                      </a:lnTo>
                      <a:lnTo>
                        <a:pt x="26346" y="46731"/>
                      </a:lnTo>
                      <a:cubicBezTo>
                        <a:pt x="23770" y="41351"/>
                        <a:pt x="20165" y="36830"/>
                        <a:pt x="15891" y="33586"/>
                      </a:cubicBezTo>
                      <a:close/>
                    </a:path>
                  </a:pathLst>
                </a:custGeom>
                <a:solidFill>
                  <a:srgbClr val="414141"/>
                </a:solidFill>
                <a:ln w="1905" cap="flat">
                  <a:noFill/>
                  <a:prstDash val="solid"/>
                  <a:miter/>
                </a:ln>
              </p:spPr>
              <p:txBody>
                <a:bodyPr rtlCol="0" anchor="ctr"/>
                <a:lstStyle/>
                <a:p>
                  <a:endParaRPr lang="en-US" dirty="0"/>
                </a:p>
              </p:txBody>
            </p:sp>
            <p:sp>
              <p:nvSpPr>
                <p:cNvPr id="1048" name="Freeform: Shape 1047">
                  <a:extLst>
                    <a:ext uri="{FF2B5EF4-FFF2-40B4-BE49-F238E27FC236}">
                      <a16:creationId xmlns:a16="http://schemas.microsoft.com/office/drawing/2014/main" id="{5BCFEAB0-CA94-4398-841A-C1FFDA03FEBC}"/>
                    </a:ext>
                  </a:extLst>
                </p:cNvPr>
                <p:cNvSpPr/>
                <p:nvPr/>
              </p:nvSpPr>
              <p:spPr>
                <a:xfrm>
                  <a:off x="3368160" y="3810584"/>
                  <a:ext cx="28616" cy="45785"/>
                </a:xfrm>
                <a:custGeom>
                  <a:avLst/>
                  <a:gdLst>
                    <a:gd name="connsiteX0" fmla="*/ 21488 w 28615"/>
                    <a:gd name="connsiteY0" fmla="*/ 29428 h 45785"/>
                    <a:gd name="connsiteX1" fmla="*/ 15574 w 28615"/>
                    <a:gd name="connsiteY1" fmla="*/ 20862 h 45785"/>
                    <a:gd name="connsiteX2" fmla="*/ 14372 w 28615"/>
                    <a:gd name="connsiteY2" fmla="*/ 20118 h 45785"/>
                    <a:gd name="connsiteX3" fmla="*/ 10232 w 28615"/>
                    <a:gd name="connsiteY3" fmla="*/ 17542 h 45785"/>
                    <a:gd name="connsiteX4" fmla="*/ 8496 w 28615"/>
                    <a:gd name="connsiteY4" fmla="*/ 10141 h 45785"/>
                    <a:gd name="connsiteX5" fmla="*/ 11148 w 28615"/>
                    <a:gd name="connsiteY5" fmla="*/ 5867 h 45785"/>
                    <a:gd name="connsiteX6" fmla="*/ 9908 w 28615"/>
                    <a:gd name="connsiteY6" fmla="*/ 583 h 45785"/>
                    <a:gd name="connsiteX7" fmla="*/ 4624 w 28615"/>
                    <a:gd name="connsiteY7" fmla="*/ 1823 h 45785"/>
                    <a:gd name="connsiteX8" fmla="*/ 1953 w 28615"/>
                    <a:gd name="connsiteY8" fmla="*/ 6077 h 45785"/>
                    <a:gd name="connsiteX9" fmla="*/ 5940 w 28615"/>
                    <a:gd name="connsiteY9" fmla="*/ 23914 h 45785"/>
                    <a:gd name="connsiteX10" fmla="*/ 6054 w 28615"/>
                    <a:gd name="connsiteY10" fmla="*/ 23991 h 45785"/>
                    <a:gd name="connsiteX11" fmla="*/ 6169 w 28615"/>
                    <a:gd name="connsiteY11" fmla="*/ 24067 h 45785"/>
                    <a:gd name="connsiteX12" fmla="*/ 10309 w 28615"/>
                    <a:gd name="connsiteY12" fmla="*/ 26623 h 45785"/>
                    <a:gd name="connsiteX13" fmla="*/ 11510 w 28615"/>
                    <a:gd name="connsiteY13" fmla="*/ 27367 h 45785"/>
                    <a:gd name="connsiteX14" fmla="*/ 13781 w 28615"/>
                    <a:gd name="connsiteY14" fmla="*/ 33586 h 45785"/>
                    <a:gd name="connsiteX15" fmla="*/ 3345 w 28615"/>
                    <a:gd name="connsiteY15" fmla="*/ 46731 h 45785"/>
                    <a:gd name="connsiteX16" fmla="*/ 29691 w 28615"/>
                    <a:gd name="connsiteY16" fmla="*/ 46731 h 45785"/>
                    <a:gd name="connsiteX17" fmla="*/ 29691 w 28615"/>
                    <a:gd name="connsiteY17" fmla="*/ 28016 h 45785"/>
                    <a:gd name="connsiteX18" fmla="*/ 21488 w 28615"/>
                    <a:gd name="connsiteY18" fmla="*/ 29428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21488" y="29428"/>
                      </a:moveTo>
                      <a:cubicBezTo>
                        <a:pt x="20801" y="25994"/>
                        <a:pt x="18779" y="22846"/>
                        <a:pt x="15574" y="20862"/>
                      </a:cubicBezTo>
                      <a:lnTo>
                        <a:pt x="14372" y="20118"/>
                      </a:lnTo>
                      <a:lnTo>
                        <a:pt x="10232" y="17542"/>
                      </a:lnTo>
                      <a:cubicBezTo>
                        <a:pt x="7714" y="15978"/>
                        <a:pt x="6932" y="12659"/>
                        <a:pt x="8496" y="10141"/>
                      </a:cubicBezTo>
                      <a:lnTo>
                        <a:pt x="11148" y="5867"/>
                      </a:lnTo>
                      <a:cubicBezTo>
                        <a:pt x="12274" y="4055"/>
                        <a:pt x="11720" y="1689"/>
                        <a:pt x="9908" y="583"/>
                      </a:cubicBezTo>
                      <a:cubicBezTo>
                        <a:pt x="8096" y="-543"/>
                        <a:pt x="5730" y="11"/>
                        <a:pt x="4624" y="1823"/>
                      </a:cubicBezTo>
                      <a:lnTo>
                        <a:pt x="1953" y="6077"/>
                      </a:lnTo>
                      <a:cubicBezTo>
                        <a:pt x="-1786" y="12125"/>
                        <a:pt x="7" y="20061"/>
                        <a:pt x="5940" y="23914"/>
                      </a:cubicBezTo>
                      <a:cubicBezTo>
                        <a:pt x="5978" y="23933"/>
                        <a:pt x="6016" y="23971"/>
                        <a:pt x="6054" y="23991"/>
                      </a:cubicBezTo>
                      <a:lnTo>
                        <a:pt x="6169" y="24067"/>
                      </a:lnTo>
                      <a:lnTo>
                        <a:pt x="10309" y="26623"/>
                      </a:lnTo>
                      <a:lnTo>
                        <a:pt x="11510" y="27367"/>
                      </a:lnTo>
                      <a:cubicBezTo>
                        <a:pt x="13647" y="28684"/>
                        <a:pt x="14525" y="31278"/>
                        <a:pt x="13781" y="33586"/>
                      </a:cubicBezTo>
                      <a:cubicBezTo>
                        <a:pt x="9507" y="36849"/>
                        <a:pt x="5902" y="41351"/>
                        <a:pt x="3345" y="46731"/>
                      </a:cubicBezTo>
                      <a:lnTo>
                        <a:pt x="29691" y="46731"/>
                      </a:lnTo>
                      <a:lnTo>
                        <a:pt x="29691" y="28016"/>
                      </a:lnTo>
                      <a:cubicBezTo>
                        <a:pt x="26849" y="28016"/>
                        <a:pt x="24101" y="28512"/>
                        <a:pt x="21488" y="29428"/>
                      </a:cubicBezTo>
                      <a:close/>
                    </a:path>
                  </a:pathLst>
                </a:custGeom>
                <a:solidFill>
                  <a:srgbClr val="565656"/>
                </a:solidFill>
                <a:ln w="1905" cap="flat">
                  <a:noFill/>
                  <a:prstDash val="solid"/>
                  <a:miter/>
                </a:ln>
              </p:spPr>
              <p:txBody>
                <a:bodyPr rtlCol="0" anchor="ctr"/>
                <a:lstStyle/>
                <a:p>
                  <a:endParaRPr lang="en-US" dirty="0"/>
                </a:p>
              </p:txBody>
            </p:sp>
          </p:grpSp>
        </p:grpSp>
        <p:grpSp>
          <p:nvGrpSpPr>
            <p:cNvPr id="622" name="Group 621">
              <a:extLst>
                <a:ext uri="{FF2B5EF4-FFF2-40B4-BE49-F238E27FC236}">
                  <a16:creationId xmlns:a16="http://schemas.microsoft.com/office/drawing/2014/main" id="{35EEF205-7C29-4EED-A024-EBCAFD2F26A1}"/>
                </a:ext>
              </a:extLst>
            </p:cNvPr>
            <p:cNvGrpSpPr/>
            <p:nvPr/>
          </p:nvGrpSpPr>
          <p:grpSpPr>
            <a:xfrm rot="19279561">
              <a:off x="2752725" y="3869243"/>
              <a:ext cx="195178" cy="195178"/>
              <a:chOff x="3295873" y="3793539"/>
              <a:chExt cx="195178" cy="195178"/>
            </a:xfrm>
          </p:grpSpPr>
          <p:sp>
            <p:nvSpPr>
              <p:cNvPr id="623" name="Oval 622">
                <a:extLst>
                  <a:ext uri="{FF2B5EF4-FFF2-40B4-BE49-F238E27FC236}">
                    <a16:creationId xmlns:a16="http://schemas.microsoft.com/office/drawing/2014/main" id="{84DE6773-98AC-488B-AC8A-04D113293ED2}"/>
                  </a:ext>
                </a:extLst>
              </p:cNvPr>
              <p:cNvSpPr/>
              <p:nvPr/>
            </p:nvSpPr>
            <p:spPr bwMode="auto">
              <a:xfrm>
                <a:off x="3295873" y="3793539"/>
                <a:ext cx="195178" cy="195178"/>
              </a:xfrm>
              <a:prstGeom prst="ellipse">
                <a:avLst/>
              </a:prstGeom>
              <a:solidFill>
                <a:schemeClr val="bg1"/>
              </a:solidFill>
              <a:ln>
                <a:noFill/>
                <a:headEnd type="none" w="med" len="med"/>
                <a:tailEnd type="none" w="med" len="med"/>
              </a:ln>
              <a:effectLst>
                <a:outerShdw blurRad="254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24" name="Graphic 22">
                <a:extLst>
                  <a:ext uri="{FF2B5EF4-FFF2-40B4-BE49-F238E27FC236}">
                    <a16:creationId xmlns:a16="http://schemas.microsoft.com/office/drawing/2014/main" id="{15146FCE-7AF3-4900-9F3D-4DA94698BE08}"/>
                  </a:ext>
                </a:extLst>
              </p:cNvPr>
              <p:cNvGrpSpPr/>
              <p:nvPr/>
            </p:nvGrpSpPr>
            <p:grpSpPr>
              <a:xfrm rot="11700000">
                <a:off x="3331005" y="3827668"/>
                <a:ext cx="133540" cy="117897"/>
                <a:chOff x="3331005" y="3827668"/>
                <a:chExt cx="133540" cy="117897"/>
              </a:xfrm>
              <a:solidFill>
                <a:schemeClr val="accent1"/>
              </a:solidFill>
            </p:grpSpPr>
            <p:sp>
              <p:nvSpPr>
                <p:cNvPr id="625" name="Freeform: Shape 624">
                  <a:extLst>
                    <a:ext uri="{FF2B5EF4-FFF2-40B4-BE49-F238E27FC236}">
                      <a16:creationId xmlns:a16="http://schemas.microsoft.com/office/drawing/2014/main" id="{A5C70D2D-5C2E-4F1F-A2AE-038638AD3D6F}"/>
                    </a:ext>
                  </a:extLst>
                </p:cNvPr>
                <p:cNvSpPr/>
                <p:nvPr/>
              </p:nvSpPr>
              <p:spPr>
                <a:xfrm>
                  <a:off x="3331005" y="3881714"/>
                  <a:ext cx="133540" cy="9539"/>
                </a:xfrm>
                <a:custGeom>
                  <a:avLst/>
                  <a:gdLst>
                    <a:gd name="connsiteX0" fmla="*/ 128580 w 133540"/>
                    <a:gd name="connsiteY0" fmla="*/ 10244 h 9538"/>
                    <a:gd name="connsiteX1" fmla="*/ 5113 w 133540"/>
                    <a:gd name="connsiteY1" fmla="*/ 10244 h 9538"/>
                    <a:gd name="connsiteX2" fmla="*/ 0 w 133540"/>
                    <a:gd name="connsiteY2" fmla="*/ 5113 h 9538"/>
                    <a:gd name="connsiteX3" fmla="*/ 5113 w 133540"/>
                    <a:gd name="connsiteY3" fmla="*/ 0 h 9538"/>
                    <a:gd name="connsiteX4" fmla="*/ 128580 w 133540"/>
                    <a:gd name="connsiteY4" fmla="*/ 0 h 9538"/>
                    <a:gd name="connsiteX5" fmla="*/ 133693 w 133540"/>
                    <a:gd name="connsiteY5" fmla="*/ 5113 h 9538"/>
                    <a:gd name="connsiteX6" fmla="*/ 128580 w 133540"/>
                    <a:gd name="connsiteY6" fmla="*/ 10244 h 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540" h="9538">
                      <a:moveTo>
                        <a:pt x="128580" y="10244"/>
                      </a:moveTo>
                      <a:lnTo>
                        <a:pt x="5113" y="10244"/>
                      </a:lnTo>
                      <a:cubicBezTo>
                        <a:pt x="2289" y="10244"/>
                        <a:pt x="0" y="7936"/>
                        <a:pt x="0" y="5113"/>
                      </a:cubicBezTo>
                      <a:cubicBezTo>
                        <a:pt x="0" y="2289"/>
                        <a:pt x="2289" y="0"/>
                        <a:pt x="5113" y="0"/>
                      </a:cubicBezTo>
                      <a:lnTo>
                        <a:pt x="128580" y="0"/>
                      </a:lnTo>
                      <a:cubicBezTo>
                        <a:pt x="131403" y="0"/>
                        <a:pt x="133693" y="2289"/>
                        <a:pt x="133693" y="5113"/>
                      </a:cubicBezTo>
                      <a:cubicBezTo>
                        <a:pt x="133712" y="7936"/>
                        <a:pt x="131422" y="10244"/>
                        <a:pt x="128580" y="10244"/>
                      </a:cubicBezTo>
                      <a:close/>
                    </a:path>
                  </a:pathLst>
                </a:custGeom>
                <a:solidFill>
                  <a:srgbClr val="565656"/>
                </a:solidFill>
                <a:ln w="1905" cap="flat">
                  <a:noFill/>
                  <a:prstDash val="solid"/>
                  <a:miter/>
                </a:ln>
              </p:spPr>
              <p:txBody>
                <a:bodyPr rtlCol="0" anchor="ctr"/>
                <a:lstStyle/>
                <a:p>
                  <a:endParaRPr lang="en-US" dirty="0"/>
                </a:p>
              </p:txBody>
            </p:sp>
            <p:sp>
              <p:nvSpPr>
                <p:cNvPr id="626" name="Freeform: Shape 625">
                  <a:extLst>
                    <a:ext uri="{FF2B5EF4-FFF2-40B4-BE49-F238E27FC236}">
                      <a16:creationId xmlns:a16="http://schemas.microsoft.com/office/drawing/2014/main" id="{8664CD9A-B9B7-4167-9B90-BAB67B47AE14}"/>
                    </a:ext>
                  </a:extLst>
                </p:cNvPr>
                <p:cNvSpPr/>
                <p:nvPr/>
              </p:nvSpPr>
              <p:spPr>
                <a:xfrm>
                  <a:off x="3349109" y="3827668"/>
                  <a:ext cx="97293" cy="53416"/>
                </a:xfrm>
                <a:custGeom>
                  <a:avLst/>
                  <a:gdLst>
                    <a:gd name="connsiteX0" fmla="*/ 48742 w 97293"/>
                    <a:gd name="connsiteY0" fmla="*/ 53855 h 53416"/>
                    <a:gd name="connsiteX1" fmla="*/ 0 w 97293"/>
                    <a:gd name="connsiteY1" fmla="*/ 5113 h 53416"/>
                    <a:gd name="connsiteX2" fmla="*/ 5113 w 97293"/>
                    <a:gd name="connsiteY2" fmla="*/ 0 h 53416"/>
                    <a:gd name="connsiteX3" fmla="*/ 10225 w 97293"/>
                    <a:gd name="connsiteY3" fmla="*/ 5113 h 53416"/>
                    <a:gd name="connsiteX4" fmla="*/ 48723 w 97293"/>
                    <a:gd name="connsiteY4" fmla="*/ 43610 h 53416"/>
                    <a:gd name="connsiteX5" fmla="*/ 87221 w 97293"/>
                    <a:gd name="connsiteY5" fmla="*/ 5113 h 53416"/>
                    <a:gd name="connsiteX6" fmla="*/ 92352 w 97293"/>
                    <a:gd name="connsiteY6" fmla="*/ 0 h 53416"/>
                    <a:gd name="connsiteX7" fmla="*/ 97484 w 97293"/>
                    <a:gd name="connsiteY7" fmla="*/ 5113 h 53416"/>
                    <a:gd name="connsiteX8" fmla="*/ 4874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48742" y="53855"/>
                      </a:moveTo>
                      <a:cubicBezTo>
                        <a:pt x="21862" y="53855"/>
                        <a:pt x="0" y="31992"/>
                        <a:pt x="0" y="5113"/>
                      </a:cubicBezTo>
                      <a:cubicBezTo>
                        <a:pt x="0" y="2289"/>
                        <a:pt x="2289" y="0"/>
                        <a:pt x="5113" y="0"/>
                      </a:cubicBezTo>
                      <a:cubicBezTo>
                        <a:pt x="7936" y="0"/>
                        <a:pt x="10225" y="2289"/>
                        <a:pt x="10225" y="5113"/>
                      </a:cubicBezTo>
                      <a:cubicBezTo>
                        <a:pt x="10225" y="26346"/>
                        <a:pt x="27490" y="43610"/>
                        <a:pt x="48723" y="43610"/>
                      </a:cubicBezTo>
                      <a:cubicBezTo>
                        <a:pt x="69956" y="43610"/>
                        <a:pt x="87221" y="26346"/>
                        <a:pt x="87221" y="5113"/>
                      </a:cubicBezTo>
                      <a:cubicBezTo>
                        <a:pt x="87221" y="2289"/>
                        <a:pt x="89510" y="0"/>
                        <a:pt x="92352" y="0"/>
                      </a:cubicBezTo>
                      <a:cubicBezTo>
                        <a:pt x="95176" y="0"/>
                        <a:pt x="97484" y="2289"/>
                        <a:pt x="97484" y="5113"/>
                      </a:cubicBezTo>
                      <a:cubicBezTo>
                        <a:pt x="97503" y="31973"/>
                        <a:pt x="75622" y="53855"/>
                        <a:pt x="48742" y="53855"/>
                      </a:cubicBezTo>
                      <a:close/>
                    </a:path>
                  </a:pathLst>
                </a:custGeom>
                <a:solidFill>
                  <a:srgbClr val="565656"/>
                </a:solidFill>
                <a:ln w="1905" cap="flat">
                  <a:noFill/>
                  <a:prstDash val="solid"/>
                  <a:miter/>
                </a:ln>
              </p:spPr>
              <p:txBody>
                <a:bodyPr rtlCol="0" anchor="ctr"/>
                <a:lstStyle/>
                <a:p>
                  <a:endParaRPr lang="en-US" dirty="0"/>
                </a:p>
              </p:txBody>
            </p:sp>
            <p:sp>
              <p:nvSpPr>
                <p:cNvPr id="627" name="Freeform: Shape 626">
                  <a:extLst>
                    <a:ext uri="{FF2B5EF4-FFF2-40B4-BE49-F238E27FC236}">
                      <a16:creationId xmlns:a16="http://schemas.microsoft.com/office/drawing/2014/main" id="{B80C831B-194E-4E31-A382-E766303ED9BF}"/>
                    </a:ext>
                  </a:extLst>
                </p:cNvPr>
                <p:cNvSpPr/>
                <p:nvPr/>
              </p:nvSpPr>
              <p:spPr>
                <a:xfrm>
                  <a:off x="3349128" y="3892149"/>
                  <a:ext cx="97293" cy="53416"/>
                </a:xfrm>
                <a:custGeom>
                  <a:avLst/>
                  <a:gdLst>
                    <a:gd name="connsiteX0" fmla="*/ 92352 w 97293"/>
                    <a:gd name="connsiteY0" fmla="*/ 53855 h 53416"/>
                    <a:gd name="connsiteX1" fmla="*/ 87221 w 97293"/>
                    <a:gd name="connsiteY1" fmla="*/ 48742 h 53416"/>
                    <a:gd name="connsiteX2" fmla="*/ 48723 w 97293"/>
                    <a:gd name="connsiteY2" fmla="*/ 10244 h 53416"/>
                    <a:gd name="connsiteX3" fmla="*/ 10225 w 97293"/>
                    <a:gd name="connsiteY3" fmla="*/ 48742 h 53416"/>
                    <a:gd name="connsiteX4" fmla="*/ 5113 w 97293"/>
                    <a:gd name="connsiteY4" fmla="*/ 53855 h 53416"/>
                    <a:gd name="connsiteX5" fmla="*/ 0 w 97293"/>
                    <a:gd name="connsiteY5" fmla="*/ 48742 h 53416"/>
                    <a:gd name="connsiteX6" fmla="*/ 48742 w 97293"/>
                    <a:gd name="connsiteY6" fmla="*/ 0 h 53416"/>
                    <a:gd name="connsiteX7" fmla="*/ 97484 w 97293"/>
                    <a:gd name="connsiteY7" fmla="*/ 48742 h 53416"/>
                    <a:gd name="connsiteX8" fmla="*/ 9235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92352" y="53855"/>
                      </a:moveTo>
                      <a:cubicBezTo>
                        <a:pt x="89529" y="53855"/>
                        <a:pt x="87221" y="51566"/>
                        <a:pt x="87221" y="48742"/>
                      </a:cubicBezTo>
                      <a:cubicBezTo>
                        <a:pt x="87221" y="27509"/>
                        <a:pt x="69956" y="10244"/>
                        <a:pt x="48723" y="10244"/>
                      </a:cubicBezTo>
                      <a:cubicBezTo>
                        <a:pt x="27490" y="10244"/>
                        <a:pt x="10225" y="27509"/>
                        <a:pt x="10225" y="48742"/>
                      </a:cubicBezTo>
                      <a:cubicBezTo>
                        <a:pt x="10225" y="51566"/>
                        <a:pt x="7936" y="53855"/>
                        <a:pt x="5113" y="53855"/>
                      </a:cubicBezTo>
                      <a:cubicBezTo>
                        <a:pt x="2289" y="53855"/>
                        <a:pt x="0" y="51566"/>
                        <a:pt x="0" y="48742"/>
                      </a:cubicBezTo>
                      <a:cubicBezTo>
                        <a:pt x="0" y="21862"/>
                        <a:pt x="21862" y="0"/>
                        <a:pt x="48742" y="0"/>
                      </a:cubicBezTo>
                      <a:cubicBezTo>
                        <a:pt x="75622" y="0"/>
                        <a:pt x="97484" y="21862"/>
                        <a:pt x="97484" y="48742"/>
                      </a:cubicBezTo>
                      <a:cubicBezTo>
                        <a:pt x="97484" y="51566"/>
                        <a:pt x="95176" y="53855"/>
                        <a:pt x="92352" y="53855"/>
                      </a:cubicBezTo>
                      <a:close/>
                    </a:path>
                  </a:pathLst>
                </a:custGeom>
                <a:solidFill>
                  <a:srgbClr val="565656"/>
                </a:solidFill>
                <a:ln w="1905" cap="flat">
                  <a:noFill/>
                  <a:prstDash val="solid"/>
                  <a:miter/>
                </a:ln>
              </p:spPr>
              <p:txBody>
                <a:bodyPr rtlCol="0" anchor="ctr"/>
                <a:lstStyle/>
                <a:p>
                  <a:endParaRPr lang="en-US" dirty="0"/>
                </a:p>
              </p:txBody>
            </p:sp>
            <p:sp>
              <p:nvSpPr>
                <p:cNvPr id="628" name="Freeform: Shape 627">
                  <a:extLst>
                    <a:ext uri="{FF2B5EF4-FFF2-40B4-BE49-F238E27FC236}">
                      <a16:creationId xmlns:a16="http://schemas.microsoft.com/office/drawing/2014/main" id="{F442E333-46C7-4818-9273-CBABDC72AF6B}"/>
                    </a:ext>
                  </a:extLst>
                </p:cNvPr>
                <p:cNvSpPr/>
                <p:nvPr/>
              </p:nvSpPr>
              <p:spPr>
                <a:xfrm>
                  <a:off x="3394398" y="3857314"/>
                  <a:ext cx="5723" cy="68678"/>
                </a:xfrm>
                <a:custGeom>
                  <a:avLst/>
                  <a:gdLst>
                    <a:gd name="connsiteX0" fmla="*/ 0 w 5723"/>
                    <a:gd name="connsiteY0" fmla="*/ 0 h 68677"/>
                    <a:gd name="connsiteX1" fmla="*/ 0 w 5723"/>
                    <a:gd name="connsiteY1" fmla="*/ 69765 h 68677"/>
                    <a:gd name="connsiteX2" fmla="*/ 3453 w 5723"/>
                    <a:gd name="connsiteY2" fmla="*/ 69975 h 68677"/>
                    <a:gd name="connsiteX3" fmla="*/ 6906 w 5723"/>
                    <a:gd name="connsiteY3" fmla="*/ 69765 h 68677"/>
                    <a:gd name="connsiteX4" fmla="*/ 6906 w 5723"/>
                    <a:gd name="connsiteY4" fmla="*/ 0 h 68677"/>
                    <a:gd name="connsiteX5" fmla="*/ 0 w 5723"/>
                    <a:gd name="connsiteY5" fmla="*/ 0 h 6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3" h="68677">
                      <a:moveTo>
                        <a:pt x="0" y="0"/>
                      </a:moveTo>
                      <a:lnTo>
                        <a:pt x="0" y="69765"/>
                      </a:lnTo>
                      <a:cubicBezTo>
                        <a:pt x="1145" y="69899"/>
                        <a:pt x="2289" y="69975"/>
                        <a:pt x="3453" y="69975"/>
                      </a:cubicBezTo>
                      <a:cubicBezTo>
                        <a:pt x="4617" y="69975"/>
                        <a:pt x="5761" y="69899"/>
                        <a:pt x="6906" y="69765"/>
                      </a:cubicBezTo>
                      <a:lnTo>
                        <a:pt x="6906" y="0"/>
                      </a:lnTo>
                      <a:lnTo>
                        <a:pt x="0" y="0"/>
                      </a:lnTo>
                      <a:close/>
                    </a:path>
                  </a:pathLst>
                </a:custGeom>
                <a:solidFill>
                  <a:srgbClr val="565656"/>
                </a:solidFill>
                <a:ln w="1905" cap="flat">
                  <a:noFill/>
                  <a:prstDash val="solid"/>
                  <a:miter/>
                </a:ln>
              </p:spPr>
              <p:txBody>
                <a:bodyPr rtlCol="0" anchor="ctr"/>
                <a:lstStyle/>
                <a:p>
                  <a:endParaRPr lang="en-US" dirty="0"/>
                </a:p>
              </p:txBody>
            </p:sp>
            <p:grpSp>
              <p:nvGrpSpPr>
                <p:cNvPr id="629" name="Graphic 22">
                  <a:extLst>
                    <a:ext uri="{FF2B5EF4-FFF2-40B4-BE49-F238E27FC236}">
                      <a16:creationId xmlns:a16="http://schemas.microsoft.com/office/drawing/2014/main" id="{19DB2762-E6D4-4D39-BF8A-0F149887BF32}"/>
                    </a:ext>
                  </a:extLst>
                </p:cNvPr>
                <p:cNvGrpSpPr/>
                <p:nvPr/>
              </p:nvGrpSpPr>
              <p:grpSpPr>
                <a:xfrm>
                  <a:off x="3360575" y="3857314"/>
                  <a:ext cx="74401" cy="68678"/>
                  <a:chOff x="3360575" y="3857314"/>
                  <a:chExt cx="74401" cy="68678"/>
                </a:xfrm>
                <a:solidFill>
                  <a:schemeClr val="accent1"/>
                </a:solidFill>
              </p:grpSpPr>
              <p:sp>
                <p:nvSpPr>
                  <p:cNvPr id="632" name="Freeform: Shape 631">
                    <a:extLst>
                      <a:ext uri="{FF2B5EF4-FFF2-40B4-BE49-F238E27FC236}">
                        <a16:creationId xmlns:a16="http://schemas.microsoft.com/office/drawing/2014/main" id="{60A70BBD-268F-484B-9A05-966FCAD7B1DF}"/>
                      </a:ext>
                    </a:extLst>
                  </p:cNvPr>
                  <p:cNvSpPr/>
                  <p:nvPr/>
                </p:nvSpPr>
                <p:spPr>
                  <a:xfrm>
                    <a:off x="3360575" y="3862465"/>
                    <a:ext cx="32431" cy="62955"/>
                  </a:xfrm>
                  <a:custGeom>
                    <a:avLst/>
                    <a:gdLst>
                      <a:gd name="connsiteX0" fmla="*/ 3110 w 32431"/>
                      <a:gd name="connsiteY0" fmla="*/ 0 h 62954"/>
                      <a:gd name="connsiteX1" fmla="*/ 2766 w 32431"/>
                      <a:gd name="connsiteY1" fmla="*/ 878 h 62954"/>
                      <a:gd name="connsiteX2" fmla="*/ 0 w 32431"/>
                      <a:gd name="connsiteY2" fmla="*/ 18429 h 62954"/>
                      <a:gd name="connsiteX3" fmla="*/ 33824 w 32431"/>
                      <a:gd name="connsiteY3" fmla="*/ 64614 h 62954"/>
                      <a:gd name="connsiteX4" fmla="*/ 33824 w 32431"/>
                      <a:gd name="connsiteY4" fmla="*/ 32565 h 62954"/>
                      <a:gd name="connsiteX5" fmla="*/ 3110 w 32431"/>
                      <a:gd name="connsiteY5" fmla="*/ 0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10" y="0"/>
                        </a:moveTo>
                        <a:cubicBezTo>
                          <a:pt x="2995" y="286"/>
                          <a:pt x="2862" y="572"/>
                          <a:pt x="2766" y="878"/>
                        </a:cubicBezTo>
                        <a:cubicBezTo>
                          <a:pt x="1011" y="6295"/>
                          <a:pt x="0" y="12209"/>
                          <a:pt x="0" y="18429"/>
                        </a:cubicBezTo>
                        <a:cubicBezTo>
                          <a:pt x="0" y="42599"/>
                          <a:pt x="14861" y="62440"/>
                          <a:pt x="33824" y="64614"/>
                        </a:cubicBezTo>
                        <a:lnTo>
                          <a:pt x="33824" y="32565"/>
                        </a:lnTo>
                        <a:cubicBezTo>
                          <a:pt x="19039" y="30752"/>
                          <a:pt x="6925" y="17532"/>
                          <a:pt x="3110" y="0"/>
                        </a:cubicBezTo>
                        <a:close/>
                      </a:path>
                    </a:pathLst>
                  </a:custGeom>
                  <a:solidFill>
                    <a:srgbClr val="F20530"/>
                  </a:solidFill>
                  <a:ln w="1905" cap="flat">
                    <a:noFill/>
                    <a:prstDash val="solid"/>
                    <a:miter/>
                  </a:ln>
                </p:spPr>
                <p:txBody>
                  <a:bodyPr rtlCol="0" anchor="ctr"/>
                  <a:lstStyle/>
                  <a:p>
                    <a:endParaRPr lang="en-US" dirty="0"/>
                  </a:p>
                </p:txBody>
              </p:sp>
              <p:sp>
                <p:nvSpPr>
                  <p:cNvPr id="633" name="Freeform: Shape 632">
                    <a:extLst>
                      <a:ext uri="{FF2B5EF4-FFF2-40B4-BE49-F238E27FC236}">
                        <a16:creationId xmlns:a16="http://schemas.microsoft.com/office/drawing/2014/main" id="{0889D77C-A84F-4DAC-9F8B-FDFB619823F5}"/>
                      </a:ext>
                    </a:extLst>
                  </p:cNvPr>
                  <p:cNvSpPr/>
                  <p:nvPr/>
                </p:nvSpPr>
                <p:spPr>
                  <a:xfrm>
                    <a:off x="3401304" y="3862598"/>
                    <a:ext cx="32431" cy="62955"/>
                  </a:xfrm>
                  <a:custGeom>
                    <a:avLst/>
                    <a:gdLst>
                      <a:gd name="connsiteX0" fmla="*/ 31096 w 32431"/>
                      <a:gd name="connsiteY0" fmla="*/ 801 h 62954"/>
                      <a:gd name="connsiteX1" fmla="*/ 30695 w 32431"/>
                      <a:gd name="connsiteY1" fmla="*/ 0 h 62954"/>
                      <a:gd name="connsiteX2" fmla="*/ 0 w 32431"/>
                      <a:gd name="connsiteY2" fmla="*/ 32431 h 62954"/>
                      <a:gd name="connsiteX3" fmla="*/ 0 w 32431"/>
                      <a:gd name="connsiteY3" fmla="*/ 64481 h 62954"/>
                      <a:gd name="connsiteX4" fmla="*/ 33824 w 32431"/>
                      <a:gd name="connsiteY4" fmla="*/ 18295 h 62954"/>
                      <a:gd name="connsiteX5" fmla="*/ 31096 w 32431"/>
                      <a:gd name="connsiteY5" fmla="*/ 801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096" y="801"/>
                        </a:moveTo>
                        <a:cubicBezTo>
                          <a:pt x="30962" y="515"/>
                          <a:pt x="30829" y="248"/>
                          <a:pt x="30695" y="0"/>
                        </a:cubicBezTo>
                        <a:cubicBezTo>
                          <a:pt x="26842" y="17475"/>
                          <a:pt x="14747" y="30638"/>
                          <a:pt x="0" y="32431"/>
                        </a:cubicBezTo>
                        <a:lnTo>
                          <a:pt x="0" y="64481"/>
                        </a:lnTo>
                        <a:cubicBezTo>
                          <a:pt x="18982" y="62306"/>
                          <a:pt x="33824" y="42466"/>
                          <a:pt x="33824" y="18295"/>
                        </a:cubicBezTo>
                        <a:cubicBezTo>
                          <a:pt x="33843" y="12114"/>
                          <a:pt x="33309" y="6047"/>
                          <a:pt x="31096" y="801"/>
                        </a:cubicBezTo>
                        <a:close/>
                      </a:path>
                    </a:pathLst>
                  </a:custGeom>
                  <a:solidFill>
                    <a:srgbClr val="B60424"/>
                  </a:solidFill>
                  <a:ln w="1905" cap="flat">
                    <a:noFill/>
                    <a:prstDash val="solid"/>
                    <a:miter/>
                  </a:ln>
                </p:spPr>
                <p:txBody>
                  <a:bodyPr rtlCol="0" anchor="ctr"/>
                  <a:lstStyle/>
                  <a:p>
                    <a:endParaRPr lang="en-US" dirty="0"/>
                  </a:p>
                </p:txBody>
              </p:sp>
              <p:sp>
                <p:nvSpPr>
                  <p:cNvPr id="634" name="Freeform: Shape 633">
                    <a:extLst>
                      <a:ext uri="{FF2B5EF4-FFF2-40B4-BE49-F238E27FC236}">
                        <a16:creationId xmlns:a16="http://schemas.microsoft.com/office/drawing/2014/main" id="{EE428740-A253-4C62-BA5B-F27F30707189}"/>
                      </a:ext>
                    </a:extLst>
                  </p:cNvPr>
                  <p:cNvSpPr/>
                  <p:nvPr/>
                </p:nvSpPr>
                <p:spPr>
                  <a:xfrm>
                    <a:off x="3363684" y="3857314"/>
                    <a:ext cx="30523" cy="36247"/>
                  </a:xfrm>
                  <a:custGeom>
                    <a:avLst/>
                    <a:gdLst>
                      <a:gd name="connsiteX0" fmla="*/ 7841 w 30523"/>
                      <a:gd name="connsiteY0" fmla="*/ 0 h 36246"/>
                      <a:gd name="connsiteX1" fmla="*/ 0 w 30523"/>
                      <a:gd name="connsiteY1" fmla="*/ 5151 h 36246"/>
                      <a:gd name="connsiteX2" fmla="*/ 30714 w 30523"/>
                      <a:gd name="connsiteY2" fmla="*/ 37716 h 36246"/>
                      <a:gd name="connsiteX3" fmla="*/ 30714 w 30523"/>
                      <a:gd name="connsiteY3" fmla="*/ 0 h 36246"/>
                      <a:gd name="connsiteX4" fmla="*/ 7841 w 30523"/>
                      <a:gd name="connsiteY4" fmla="*/ 0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7841" y="0"/>
                        </a:moveTo>
                        <a:cubicBezTo>
                          <a:pt x="7841" y="0"/>
                          <a:pt x="2232" y="0"/>
                          <a:pt x="0" y="5151"/>
                        </a:cubicBezTo>
                        <a:cubicBezTo>
                          <a:pt x="3815" y="22683"/>
                          <a:pt x="15929" y="35903"/>
                          <a:pt x="30714" y="37716"/>
                        </a:cubicBezTo>
                        <a:lnTo>
                          <a:pt x="30714" y="0"/>
                        </a:lnTo>
                        <a:lnTo>
                          <a:pt x="7841" y="0"/>
                        </a:lnTo>
                        <a:close/>
                      </a:path>
                    </a:pathLst>
                  </a:custGeom>
                  <a:solidFill>
                    <a:srgbClr val="F53759"/>
                  </a:solidFill>
                  <a:ln w="1905" cap="flat">
                    <a:noFill/>
                    <a:prstDash val="solid"/>
                    <a:miter/>
                  </a:ln>
                </p:spPr>
                <p:txBody>
                  <a:bodyPr rtlCol="0" anchor="ctr"/>
                  <a:lstStyle/>
                  <a:p>
                    <a:endParaRPr lang="en-US" dirty="0"/>
                  </a:p>
                </p:txBody>
              </p:sp>
              <p:sp>
                <p:nvSpPr>
                  <p:cNvPr id="635" name="Freeform: Shape 634">
                    <a:extLst>
                      <a:ext uri="{FF2B5EF4-FFF2-40B4-BE49-F238E27FC236}">
                        <a16:creationId xmlns:a16="http://schemas.microsoft.com/office/drawing/2014/main" id="{3DE8B99B-69FF-49BF-A925-0F7976873F99}"/>
                      </a:ext>
                    </a:extLst>
                  </p:cNvPr>
                  <p:cNvSpPr/>
                  <p:nvPr/>
                </p:nvSpPr>
                <p:spPr>
                  <a:xfrm>
                    <a:off x="3401323" y="3857314"/>
                    <a:ext cx="30523" cy="36247"/>
                  </a:xfrm>
                  <a:custGeom>
                    <a:avLst/>
                    <a:gdLst>
                      <a:gd name="connsiteX0" fmla="*/ 30695 w 30523"/>
                      <a:gd name="connsiteY0" fmla="*/ 5284 h 36246"/>
                      <a:gd name="connsiteX1" fmla="*/ 22873 w 30523"/>
                      <a:gd name="connsiteY1" fmla="*/ 0 h 36246"/>
                      <a:gd name="connsiteX2" fmla="*/ 0 w 30523"/>
                      <a:gd name="connsiteY2" fmla="*/ 0 h 36246"/>
                      <a:gd name="connsiteX3" fmla="*/ 0 w 30523"/>
                      <a:gd name="connsiteY3" fmla="*/ 37716 h 36246"/>
                      <a:gd name="connsiteX4" fmla="*/ 30695 w 30523"/>
                      <a:gd name="connsiteY4" fmla="*/ 5284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30695" y="5284"/>
                        </a:moveTo>
                        <a:cubicBezTo>
                          <a:pt x="27986" y="19"/>
                          <a:pt x="22873" y="0"/>
                          <a:pt x="22873" y="0"/>
                        </a:cubicBezTo>
                        <a:lnTo>
                          <a:pt x="0" y="0"/>
                        </a:lnTo>
                        <a:lnTo>
                          <a:pt x="0" y="37716"/>
                        </a:lnTo>
                        <a:cubicBezTo>
                          <a:pt x="14747" y="35922"/>
                          <a:pt x="26842" y="22759"/>
                          <a:pt x="30695" y="5284"/>
                        </a:cubicBezTo>
                        <a:close/>
                      </a:path>
                    </a:pathLst>
                  </a:custGeom>
                  <a:solidFill>
                    <a:srgbClr val="F20530"/>
                  </a:solidFill>
                  <a:ln w="1905" cap="flat">
                    <a:noFill/>
                    <a:prstDash val="solid"/>
                    <a:miter/>
                  </a:ln>
                </p:spPr>
                <p:txBody>
                  <a:bodyPr rtlCol="0" anchor="ctr"/>
                  <a:lstStyle/>
                  <a:p>
                    <a:endParaRPr lang="en-US" dirty="0"/>
                  </a:p>
                </p:txBody>
              </p:sp>
            </p:grpSp>
            <p:sp>
              <p:nvSpPr>
                <p:cNvPr id="630" name="Freeform: Shape 629">
                  <a:extLst>
                    <a:ext uri="{FF2B5EF4-FFF2-40B4-BE49-F238E27FC236}">
                      <a16:creationId xmlns:a16="http://schemas.microsoft.com/office/drawing/2014/main" id="{D306314E-CC22-4C72-9BAC-979A7D86B139}"/>
                    </a:ext>
                  </a:extLst>
                </p:cNvPr>
                <p:cNvSpPr/>
                <p:nvPr/>
              </p:nvSpPr>
              <p:spPr>
                <a:xfrm>
                  <a:off x="3397870" y="3810584"/>
                  <a:ext cx="28616" cy="45785"/>
                </a:xfrm>
                <a:custGeom>
                  <a:avLst/>
                  <a:gdLst>
                    <a:gd name="connsiteX0" fmla="*/ 15891 w 28615"/>
                    <a:gd name="connsiteY0" fmla="*/ 33586 h 45785"/>
                    <a:gd name="connsiteX1" fmla="*/ 18161 w 28615"/>
                    <a:gd name="connsiteY1" fmla="*/ 27386 h 45785"/>
                    <a:gd name="connsiteX2" fmla="*/ 19363 w 28615"/>
                    <a:gd name="connsiteY2" fmla="*/ 26642 h 45785"/>
                    <a:gd name="connsiteX3" fmla="*/ 23503 w 28615"/>
                    <a:gd name="connsiteY3" fmla="*/ 24086 h 45785"/>
                    <a:gd name="connsiteX4" fmla="*/ 23618 w 28615"/>
                    <a:gd name="connsiteY4" fmla="*/ 24010 h 45785"/>
                    <a:gd name="connsiteX5" fmla="*/ 23732 w 28615"/>
                    <a:gd name="connsiteY5" fmla="*/ 23933 h 45785"/>
                    <a:gd name="connsiteX6" fmla="*/ 27719 w 28615"/>
                    <a:gd name="connsiteY6" fmla="*/ 6096 h 45785"/>
                    <a:gd name="connsiteX7" fmla="*/ 25067 w 28615"/>
                    <a:gd name="connsiteY7" fmla="*/ 1823 h 45785"/>
                    <a:gd name="connsiteX8" fmla="*/ 19783 w 28615"/>
                    <a:gd name="connsiteY8" fmla="*/ 583 h 45785"/>
                    <a:gd name="connsiteX9" fmla="*/ 18543 w 28615"/>
                    <a:gd name="connsiteY9" fmla="*/ 5867 h 45785"/>
                    <a:gd name="connsiteX10" fmla="*/ 21195 w 28615"/>
                    <a:gd name="connsiteY10" fmla="*/ 10141 h 45785"/>
                    <a:gd name="connsiteX11" fmla="*/ 19459 w 28615"/>
                    <a:gd name="connsiteY11" fmla="*/ 17542 h 45785"/>
                    <a:gd name="connsiteX12" fmla="*/ 15319 w 28615"/>
                    <a:gd name="connsiteY12" fmla="*/ 20099 h 45785"/>
                    <a:gd name="connsiteX13" fmla="*/ 14117 w 28615"/>
                    <a:gd name="connsiteY13" fmla="*/ 20843 h 45785"/>
                    <a:gd name="connsiteX14" fmla="*/ 8203 w 28615"/>
                    <a:gd name="connsiteY14" fmla="*/ 29408 h 45785"/>
                    <a:gd name="connsiteX15" fmla="*/ 0 w 28615"/>
                    <a:gd name="connsiteY15" fmla="*/ 28016 h 45785"/>
                    <a:gd name="connsiteX16" fmla="*/ 0 w 28615"/>
                    <a:gd name="connsiteY16" fmla="*/ 46731 h 45785"/>
                    <a:gd name="connsiteX17" fmla="*/ 26346 w 28615"/>
                    <a:gd name="connsiteY17" fmla="*/ 46731 h 45785"/>
                    <a:gd name="connsiteX18" fmla="*/ 15891 w 28615"/>
                    <a:gd name="connsiteY18" fmla="*/ 33586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15891" y="33586"/>
                      </a:moveTo>
                      <a:cubicBezTo>
                        <a:pt x="15166" y="31297"/>
                        <a:pt x="16025" y="28722"/>
                        <a:pt x="18161" y="27386"/>
                      </a:cubicBezTo>
                      <a:lnTo>
                        <a:pt x="19363" y="26642"/>
                      </a:lnTo>
                      <a:lnTo>
                        <a:pt x="23503" y="24086"/>
                      </a:lnTo>
                      <a:lnTo>
                        <a:pt x="23618" y="24010"/>
                      </a:lnTo>
                      <a:cubicBezTo>
                        <a:pt x="23656" y="23991"/>
                        <a:pt x="23694" y="23952"/>
                        <a:pt x="23732" y="23933"/>
                      </a:cubicBezTo>
                      <a:cubicBezTo>
                        <a:pt x="29665" y="20080"/>
                        <a:pt x="31477" y="12144"/>
                        <a:pt x="27719" y="6096"/>
                      </a:cubicBezTo>
                      <a:lnTo>
                        <a:pt x="25067" y="1823"/>
                      </a:lnTo>
                      <a:cubicBezTo>
                        <a:pt x="23942" y="11"/>
                        <a:pt x="21576" y="-543"/>
                        <a:pt x="19783" y="583"/>
                      </a:cubicBezTo>
                      <a:cubicBezTo>
                        <a:pt x="17971" y="1708"/>
                        <a:pt x="17417" y="4074"/>
                        <a:pt x="18543" y="5867"/>
                      </a:cubicBezTo>
                      <a:lnTo>
                        <a:pt x="21195" y="10141"/>
                      </a:lnTo>
                      <a:cubicBezTo>
                        <a:pt x="22759" y="12659"/>
                        <a:pt x="21977" y="15978"/>
                        <a:pt x="19459" y="17542"/>
                      </a:cubicBezTo>
                      <a:lnTo>
                        <a:pt x="15319" y="20099"/>
                      </a:lnTo>
                      <a:lnTo>
                        <a:pt x="14117" y="20843"/>
                      </a:lnTo>
                      <a:cubicBezTo>
                        <a:pt x="10912" y="22827"/>
                        <a:pt x="8890" y="25975"/>
                        <a:pt x="8203" y="29408"/>
                      </a:cubicBezTo>
                      <a:cubicBezTo>
                        <a:pt x="5590" y="28512"/>
                        <a:pt x="2842" y="28016"/>
                        <a:pt x="0" y="28016"/>
                      </a:cubicBezTo>
                      <a:lnTo>
                        <a:pt x="0" y="46731"/>
                      </a:lnTo>
                      <a:lnTo>
                        <a:pt x="26346" y="46731"/>
                      </a:lnTo>
                      <a:cubicBezTo>
                        <a:pt x="23770" y="41351"/>
                        <a:pt x="20165" y="36830"/>
                        <a:pt x="15891" y="33586"/>
                      </a:cubicBezTo>
                      <a:close/>
                    </a:path>
                  </a:pathLst>
                </a:custGeom>
                <a:solidFill>
                  <a:srgbClr val="414141"/>
                </a:solidFill>
                <a:ln w="1905" cap="flat">
                  <a:noFill/>
                  <a:prstDash val="solid"/>
                  <a:miter/>
                </a:ln>
              </p:spPr>
              <p:txBody>
                <a:bodyPr rtlCol="0" anchor="ctr"/>
                <a:lstStyle/>
                <a:p>
                  <a:endParaRPr lang="en-US" dirty="0"/>
                </a:p>
              </p:txBody>
            </p:sp>
            <p:sp>
              <p:nvSpPr>
                <p:cNvPr id="631" name="Freeform: Shape 630">
                  <a:extLst>
                    <a:ext uri="{FF2B5EF4-FFF2-40B4-BE49-F238E27FC236}">
                      <a16:creationId xmlns:a16="http://schemas.microsoft.com/office/drawing/2014/main" id="{79DFD8AE-BBA6-4E1D-A4BE-953D0274F2BE}"/>
                    </a:ext>
                  </a:extLst>
                </p:cNvPr>
                <p:cNvSpPr/>
                <p:nvPr/>
              </p:nvSpPr>
              <p:spPr>
                <a:xfrm>
                  <a:off x="3368160" y="3810584"/>
                  <a:ext cx="28616" cy="45785"/>
                </a:xfrm>
                <a:custGeom>
                  <a:avLst/>
                  <a:gdLst>
                    <a:gd name="connsiteX0" fmla="*/ 21488 w 28615"/>
                    <a:gd name="connsiteY0" fmla="*/ 29428 h 45785"/>
                    <a:gd name="connsiteX1" fmla="*/ 15574 w 28615"/>
                    <a:gd name="connsiteY1" fmla="*/ 20862 h 45785"/>
                    <a:gd name="connsiteX2" fmla="*/ 14372 w 28615"/>
                    <a:gd name="connsiteY2" fmla="*/ 20118 h 45785"/>
                    <a:gd name="connsiteX3" fmla="*/ 10232 w 28615"/>
                    <a:gd name="connsiteY3" fmla="*/ 17542 h 45785"/>
                    <a:gd name="connsiteX4" fmla="*/ 8496 w 28615"/>
                    <a:gd name="connsiteY4" fmla="*/ 10141 h 45785"/>
                    <a:gd name="connsiteX5" fmla="*/ 11148 w 28615"/>
                    <a:gd name="connsiteY5" fmla="*/ 5867 h 45785"/>
                    <a:gd name="connsiteX6" fmla="*/ 9908 w 28615"/>
                    <a:gd name="connsiteY6" fmla="*/ 583 h 45785"/>
                    <a:gd name="connsiteX7" fmla="*/ 4624 w 28615"/>
                    <a:gd name="connsiteY7" fmla="*/ 1823 h 45785"/>
                    <a:gd name="connsiteX8" fmla="*/ 1953 w 28615"/>
                    <a:gd name="connsiteY8" fmla="*/ 6077 h 45785"/>
                    <a:gd name="connsiteX9" fmla="*/ 5940 w 28615"/>
                    <a:gd name="connsiteY9" fmla="*/ 23914 h 45785"/>
                    <a:gd name="connsiteX10" fmla="*/ 6054 w 28615"/>
                    <a:gd name="connsiteY10" fmla="*/ 23991 h 45785"/>
                    <a:gd name="connsiteX11" fmla="*/ 6169 w 28615"/>
                    <a:gd name="connsiteY11" fmla="*/ 24067 h 45785"/>
                    <a:gd name="connsiteX12" fmla="*/ 10309 w 28615"/>
                    <a:gd name="connsiteY12" fmla="*/ 26623 h 45785"/>
                    <a:gd name="connsiteX13" fmla="*/ 11510 w 28615"/>
                    <a:gd name="connsiteY13" fmla="*/ 27367 h 45785"/>
                    <a:gd name="connsiteX14" fmla="*/ 13781 w 28615"/>
                    <a:gd name="connsiteY14" fmla="*/ 33586 h 45785"/>
                    <a:gd name="connsiteX15" fmla="*/ 3345 w 28615"/>
                    <a:gd name="connsiteY15" fmla="*/ 46731 h 45785"/>
                    <a:gd name="connsiteX16" fmla="*/ 29691 w 28615"/>
                    <a:gd name="connsiteY16" fmla="*/ 46731 h 45785"/>
                    <a:gd name="connsiteX17" fmla="*/ 29691 w 28615"/>
                    <a:gd name="connsiteY17" fmla="*/ 28016 h 45785"/>
                    <a:gd name="connsiteX18" fmla="*/ 21488 w 28615"/>
                    <a:gd name="connsiteY18" fmla="*/ 29428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21488" y="29428"/>
                      </a:moveTo>
                      <a:cubicBezTo>
                        <a:pt x="20801" y="25994"/>
                        <a:pt x="18779" y="22846"/>
                        <a:pt x="15574" y="20862"/>
                      </a:cubicBezTo>
                      <a:lnTo>
                        <a:pt x="14372" y="20118"/>
                      </a:lnTo>
                      <a:lnTo>
                        <a:pt x="10232" y="17542"/>
                      </a:lnTo>
                      <a:cubicBezTo>
                        <a:pt x="7714" y="15978"/>
                        <a:pt x="6932" y="12659"/>
                        <a:pt x="8496" y="10141"/>
                      </a:cubicBezTo>
                      <a:lnTo>
                        <a:pt x="11148" y="5867"/>
                      </a:lnTo>
                      <a:cubicBezTo>
                        <a:pt x="12274" y="4055"/>
                        <a:pt x="11720" y="1689"/>
                        <a:pt x="9908" y="583"/>
                      </a:cubicBezTo>
                      <a:cubicBezTo>
                        <a:pt x="8096" y="-543"/>
                        <a:pt x="5730" y="11"/>
                        <a:pt x="4624" y="1823"/>
                      </a:cubicBezTo>
                      <a:lnTo>
                        <a:pt x="1953" y="6077"/>
                      </a:lnTo>
                      <a:cubicBezTo>
                        <a:pt x="-1786" y="12125"/>
                        <a:pt x="7" y="20061"/>
                        <a:pt x="5940" y="23914"/>
                      </a:cubicBezTo>
                      <a:cubicBezTo>
                        <a:pt x="5978" y="23933"/>
                        <a:pt x="6016" y="23971"/>
                        <a:pt x="6054" y="23991"/>
                      </a:cubicBezTo>
                      <a:lnTo>
                        <a:pt x="6169" y="24067"/>
                      </a:lnTo>
                      <a:lnTo>
                        <a:pt x="10309" y="26623"/>
                      </a:lnTo>
                      <a:lnTo>
                        <a:pt x="11510" y="27367"/>
                      </a:lnTo>
                      <a:cubicBezTo>
                        <a:pt x="13647" y="28684"/>
                        <a:pt x="14525" y="31278"/>
                        <a:pt x="13781" y="33586"/>
                      </a:cubicBezTo>
                      <a:cubicBezTo>
                        <a:pt x="9507" y="36849"/>
                        <a:pt x="5902" y="41351"/>
                        <a:pt x="3345" y="46731"/>
                      </a:cubicBezTo>
                      <a:lnTo>
                        <a:pt x="29691" y="46731"/>
                      </a:lnTo>
                      <a:lnTo>
                        <a:pt x="29691" y="28016"/>
                      </a:lnTo>
                      <a:cubicBezTo>
                        <a:pt x="26849" y="28016"/>
                        <a:pt x="24101" y="28512"/>
                        <a:pt x="21488" y="29428"/>
                      </a:cubicBezTo>
                      <a:close/>
                    </a:path>
                  </a:pathLst>
                </a:custGeom>
                <a:solidFill>
                  <a:srgbClr val="565656"/>
                </a:solidFill>
                <a:ln w="1905" cap="flat">
                  <a:noFill/>
                  <a:prstDash val="solid"/>
                  <a:miter/>
                </a:ln>
              </p:spPr>
              <p:txBody>
                <a:bodyPr rtlCol="0" anchor="ctr"/>
                <a:lstStyle/>
                <a:p>
                  <a:endParaRPr lang="en-US" dirty="0"/>
                </a:p>
              </p:txBody>
            </p:sp>
          </p:grpSp>
        </p:grpSp>
      </p:grpSp>
      <p:grpSp>
        <p:nvGrpSpPr>
          <p:cNvPr id="380" name="Group 379">
            <a:extLst>
              <a:ext uri="{FF2B5EF4-FFF2-40B4-BE49-F238E27FC236}">
                <a16:creationId xmlns:a16="http://schemas.microsoft.com/office/drawing/2014/main" id="{9FD50963-6E68-4232-8A54-AD502B915634}"/>
              </a:ext>
            </a:extLst>
          </p:cNvPr>
          <p:cNvGrpSpPr/>
          <p:nvPr/>
        </p:nvGrpSpPr>
        <p:grpSpPr>
          <a:xfrm>
            <a:off x="10052458" y="146014"/>
            <a:ext cx="2033626" cy="1015650"/>
            <a:chOff x="10052458" y="146014"/>
            <a:chExt cx="2033626" cy="1015650"/>
          </a:xfrm>
        </p:grpSpPr>
        <p:pic>
          <p:nvPicPr>
            <p:cNvPr id="382" name="Picture 381">
              <a:extLst>
                <a:ext uri="{FF2B5EF4-FFF2-40B4-BE49-F238E27FC236}">
                  <a16:creationId xmlns:a16="http://schemas.microsoft.com/office/drawing/2014/main" id="{33E1BC28-D3D2-4C88-B79B-491B04F86C90}"/>
                </a:ext>
              </a:extLst>
            </p:cNvPr>
            <p:cNvPicPr>
              <a:picLocks noChangeAspect="1"/>
            </p:cNvPicPr>
            <p:nvPr/>
          </p:nvPicPr>
          <p:blipFill>
            <a:blip r:embed="rId7"/>
            <a:stretch>
              <a:fillRect/>
            </a:stretch>
          </p:blipFill>
          <p:spPr>
            <a:xfrm>
              <a:off x="10052458" y="146014"/>
              <a:ext cx="2033626" cy="1015650"/>
            </a:xfrm>
            <a:prstGeom prst="rect">
              <a:avLst/>
            </a:prstGeom>
          </p:spPr>
        </p:pic>
        <p:sp>
          <p:nvSpPr>
            <p:cNvPr id="383" name="Rectangle 382">
              <a:extLst>
                <a:ext uri="{FF2B5EF4-FFF2-40B4-BE49-F238E27FC236}">
                  <a16:creationId xmlns:a16="http://schemas.microsoft.com/office/drawing/2014/main" id="{1E88EB3F-816F-4E70-8628-6D80E654882F}"/>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Enhanced Security</a:t>
              </a:r>
            </a:p>
          </p:txBody>
        </p:sp>
      </p:grpSp>
    </p:spTree>
    <p:extLst>
      <p:ext uri="{BB962C8B-B14F-4D97-AF65-F5344CB8AC3E}">
        <p14:creationId xmlns:p14="http://schemas.microsoft.com/office/powerpoint/2010/main" val="183206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2191734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altLang="zh-CN" dirty="0"/>
              <a:t>Granular</a:t>
            </a:r>
            <a:r>
              <a:rPr lang="en-US" dirty="0"/>
              <a:t> access control enables role-based administration</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5486374" cy="369332"/>
          </a:xfrm>
          <a:prstGeom prst="rect">
            <a:avLst/>
          </a:prstGeom>
        </p:spPr>
        <p:txBody>
          <a:bodyPr wrap="none">
            <a:spAutoFit/>
          </a:bodyPr>
          <a:lstStyle/>
          <a:p>
            <a:r>
              <a:rPr lang="en-US" b="1" i="1" dirty="0"/>
              <a:t>Enhanced Security with Simplified Configuration</a:t>
            </a:r>
          </a:p>
        </p:txBody>
      </p:sp>
      <p:sp>
        <p:nvSpPr>
          <p:cNvPr id="718" name="Freeform: Shape 717">
            <a:extLst>
              <a:ext uri="{FF2B5EF4-FFF2-40B4-BE49-F238E27FC236}">
                <a16:creationId xmlns:a16="http://schemas.microsoft.com/office/drawing/2014/main" id="{8E35F288-8A83-47B7-8D07-B02A74CAFC62}"/>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lvl="0" defTabSz="932472" fontAlgn="base">
              <a:spcBef>
                <a:spcPts val="200"/>
              </a:spcBef>
              <a:spcAft>
                <a:spcPct val="0"/>
              </a:spcAft>
            </a:pPr>
            <a:r>
              <a:rPr lang="en-US" sz="1600" b="1" dirty="0">
                <a:solidFill>
                  <a:srgbClr val="243A5E"/>
                </a:solidFill>
                <a:cs typeface="Segoe UI" pitchFamily="34" charset="0"/>
              </a:rPr>
              <a:t>Customer Scenario – Moving from on-prem virtualization to WVD</a:t>
            </a:r>
          </a:p>
          <a:p>
            <a:pPr marL="344488" lvl="0" indent="-176213" defTabSz="932472" fontAlgn="base">
              <a:spcBef>
                <a:spcPts val="200"/>
              </a:spcBef>
              <a:spcAft>
                <a:spcPct val="0"/>
              </a:spcAft>
              <a:buFont typeface="Arial" panose="020B0604020202020204" pitchFamily="34" charset="0"/>
              <a:buChar char="•"/>
            </a:pPr>
            <a:r>
              <a:rPr lang="en-US" sz="1400" dirty="0">
                <a:solidFill>
                  <a:srgbClr val="000000"/>
                </a:solidFill>
                <a:cs typeface="Segoe UI" pitchFamily="34" charset="0"/>
              </a:rPr>
              <a:t>WVD role-based access control enables delegation of admin rights at granular level</a:t>
            </a:r>
          </a:p>
        </p:txBody>
      </p:sp>
      <p:grpSp>
        <p:nvGrpSpPr>
          <p:cNvPr id="719" name="Group 718">
            <a:extLst>
              <a:ext uri="{FF2B5EF4-FFF2-40B4-BE49-F238E27FC236}">
                <a16:creationId xmlns:a16="http://schemas.microsoft.com/office/drawing/2014/main" id="{5E4F87FC-282D-4DED-8059-C0188C6E06FE}"/>
              </a:ext>
            </a:extLst>
          </p:cNvPr>
          <p:cNvGrpSpPr>
            <a:grpSpLocks noChangeAspect="1"/>
          </p:cNvGrpSpPr>
          <p:nvPr/>
        </p:nvGrpSpPr>
        <p:grpSpPr>
          <a:xfrm>
            <a:off x="10777886" y="1372927"/>
            <a:ext cx="806355" cy="914400"/>
            <a:chOff x="797126" y="3893732"/>
            <a:chExt cx="1125722" cy="1276864"/>
          </a:xfrm>
        </p:grpSpPr>
        <p:sp>
          <p:nvSpPr>
            <p:cNvPr id="720" name="Freeform 403">
              <a:extLst>
                <a:ext uri="{FF2B5EF4-FFF2-40B4-BE49-F238E27FC236}">
                  <a16:creationId xmlns:a16="http://schemas.microsoft.com/office/drawing/2014/main" id="{D0CDC942-66A8-4EAB-9A39-C8421B712786}"/>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721" name="Freeform: Shape 720">
              <a:extLst>
                <a:ext uri="{FF2B5EF4-FFF2-40B4-BE49-F238E27FC236}">
                  <a16:creationId xmlns:a16="http://schemas.microsoft.com/office/drawing/2014/main" id="{AC8BF099-2687-45DE-8BC9-35B7B2805AC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722" name="Group 721">
              <a:extLst>
                <a:ext uri="{FF2B5EF4-FFF2-40B4-BE49-F238E27FC236}">
                  <a16:creationId xmlns:a16="http://schemas.microsoft.com/office/drawing/2014/main" id="{E062B4C5-0A07-4DC3-81CA-45A2E2A7C4FC}"/>
                </a:ext>
              </a:extLst>
            </p:cNvPr>
            <p:cNvGrpSpPr/>
            <p:nvPr/>
          </p:nvGrpSpPr>
          <p:grpSpPr>
            <a:xfrm>
              <a:off x="971699" y="4043345"/>
              <a:ext cx="773592" cy="920012"/>
              <a:chOff x="993458" y="3447450"/>
              <a:chExt cx="682781" cy="812014"/>
            </a:xfrm>
          </p:grpSpPr>
          <p:grpSp>
            <p:nvGrpSpPr>
              <p:cNvPr id="723" name="Group 722">
                <a:extLst>
                  <a:ext uri="{FF2B5EF4-FFF2-40B4-BE49-F238E27FC236}">
                    <a16:creationId xmlns:a16="http://schemas.microsoft.com/office/drawing/2014/main" id="{1E90DB93-B9F4-446B-B8AE-00CC153B5AFF}"/>
                  </a:ext>
                </a:extLst>
              </p:cNvPr>
              <p:cNvGrpSpPr/>
              <p:nvPr/>
            </p:nvGrpSpPr>
            <p:grpSpPr>
              <a:xfrm>
                <a:off x="993458" y="3447450"/>
                <a:ext cx="576652" cy="812014"/>
                <a:chOff x="499414" y="1517311"/>
                <a:chExt cx="3686809" cy="5340604"/>
              </a:xfrm>
            </p:grpSpPr>
            <p:sp>
              <p:nvSpPr>
                <p:cNvPr id="823" name="Rectangle 822">
                  <a:extLst>
                    <a:ext uri="{FF2B5EF4-FFF2-40B4-BE49-F238E27FC236}">
                      <a16:creationId xmlns:a16="http://schemas.microsoft.com/office/drawing/2014/main" id="{1EFA0681-5631-4FE5-9EF2-0915A695C75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824" name="Group 823">
                  <a:extLst>
                    <a:ext uri="{FF2B5EF4-FFF2-40B4-BE49-F238E27FC236}">
                      <a16:creationId xmlns:a16="http://schemas.microsoft.com/office/drawing/2014/main" id="{391A0203-0A51-4FEA-843C-F6661CD1761C}"/>
                    </a:ext>
                  </a:extLst>
                </p:cNvPr>
                <p:cNvGrpSpPr/>
                <p:nvPr/>
              </p:nvGrpSpPr>
              <p:grpSpPr>
                <a:xfrm rot="20371446">
                  <a:off x="2524661" y="2299216"/>
                  <a:ext cx="859576" cy="554927"/>
                  <a:chOff x="4775201" y="792163"/>
                  <a:chExt cx="2024063" cy="1306513"/>
                </a:xfrm>
              </p:grpSpPr>
              <p:sp>
                <p:nvSpPr>
                  <p:cNvPr id="984" name="Freeform 354">
                    <a:extLst>
                      <a:ext uri="{FF2B5EF4-FFF2-40B4-BE49-F238E27FC236}">
                        <a16:creationId xmlns:a16="http://schemas.microsoft.com/office/drawing/2014/main" id="{54DF5C70-9832-41C9-ABDC-E154895678B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85" name="Rectangle 984">
                    <a:extLst>
                      <a:ext uri="{FF2B5EF4-FFF2-40B4-BE49-F238E27FC236}">
                        <a16:creationId xmlns:a16="http://schemas.microsoft.com/office/drawing/2014/main" id="{F086167A-D218-414A-B80D-D04BFFC5F24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86" name="Freeform 356">
                    <a:extLst>
                      <a:ext uri="{FF2B5EF4-FFF2-40B4-BE49-F238E27FC236}">
                        <a16:creationId xmlns:a16="http://schemas.microsoft.com/office/drawing/2014/main" id="{56B6647C-D15F-49A0-B32C-07EAF469140B}"/>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87" name="Freeform 357">
                    <a:extLst>
                      <a:ext uri="{FF2B5EF4-FFF2-40B4-BE49-F238E27FC236}">
                        <a16:creationId xmlns:a16="http://schemas.microsoft.com/office/drawing/2014/main" id="{C4C9264A-42D7-4C5C-A58E-814DB01DD2D7}"/>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88" name="Freeform 358">
                    <a:extLst>
                      <a:ext uri="{FF2B5EF4-FFF2-40B4-BE49-F238E27FC236}">
                        <a16:creationId xmlns:a16="http://schemas.microsoft.com/office/drawing/2014/main" id="{45A70FAB-FF5A-4F24-850F-10B63ADEAA9A}"/>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89" name="Rectangle 988">
                    <a:extLst>
                      <a:ext uri="{FF2B5EF4-FFF2-40B4-BE49-F238E27FC236}">
                        <a16:creationId xmlns:a16="http://schemas.microsoft.com/office/drawing/2014/main" id="{B0B56862-7DDE-4FA2-8EA7-8FEF4B61BD2A}"/>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90" name="Freeform 360">
                    <a:extLst>
                      <a:ext uri="{FF2B5EF4-FFF2-40B4-BE49-F238E27FC236}">
                        <a16:creationId xmlns:a16="http://schemas.microsoft.com/office/drawing/2014/main" id="{2F88528A-190E-4775-9ABD-859B01D37B9E}"/>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91" name="Rectangle 990">
                    <a:extLst>
                      <a:ext uri="{FF2B5EF4-FFF2-40B4-BE49-F238E27FC236}">
                        <a16:creationId xmlns:a16="http://schemas.microsoft.com/office/drawing/2014/main" id="{A5A928E6-E8EC-4DAA-857E-9F22DD542F2E}"/>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92" name="Rectangle 991">
                    <a:extLst>
                      <a:ext uri="{FF2B5EF4-FFF2-40B4-BE49-F238E27FC236}">
                        <a16:creationId xmlns:a16="http://schemas.microsoft.com/office/drawing/2014/main" id="{F88229CE-B78A-421A-A810-0071B5E6E867}"/>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93" name="Rectangle 992">
                    <a:extLst>
                      <a:ext uri="{FF2B5EF4-FFF2-40B4-BE49-F238E27FC236}">
                        <a16:creationId xmlns:a16="http://schemas.microsoft.com/office/drawing/2014/main" id="{9371AEA1-8B54-453E-92F9-A73DA13DAA9E}"/>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94" name="Rectangle 993">
                    <a:extLst>
                      <a:ext uri="{FF2B5EF4-FFF2-40B4-BE49-F238E27FC236}">
                        <a16:creationId xmlns:a16="http://schemas.microsoft.com/office/drawing/2014/main" id="{2E8A8A8A-A7CE-4608-A140-08EBBEEB55BA}"/>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95" name="Rectangle 994">
                    <a:extLst>
                      <a:ext uri="{FF2B5EF4-FFF2-40B4-BE49-F238E27FC236}">
                        <a16:creationId xmlns:a16="http://schemas.microsoft.com/office/drawing/2014/main" id="{B366713F-FA89-4E82-A708-204C7A978DD6}"/>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825" name="Group 824">
                  <a:extLst>
                    <a:ext uri="{FF2B5EF4-FFF2-40B4-BE49-F238E27FC236}">
                      <a16:creationId xmlns:a16="http://schemas.microsoft.com/office/drawing/2014/main" id="{A604B8A7-F2AB-43D8-B647-B222269E9FD1}"/>
                    </a:ext>
                  </a:extLst>
                </p:cNvPr>
                <p:cNvGrpSpPr/>
                <p:nvPr/>
              </p:nvGrpSpPr>
              <p:grpSpPr>
                <a:xfrm>
                  <a:off x="1190120" y="2235988"/>
                  <a:ext cx="983059" cy="983198"/>
                  <a:chOff x="5413781" y="5749281"/>
                  <a:chExt cx="652036" cy="652036"/>
                </a:xfrm>
              </p:grpSpPr>
              <p:sp>
                <p:nvSpPr>
                  <p:cNvPr id="981" name="Oval 980">
                    <a:extLst>
                      <a:ext uri="{FF2B5EF4-FFF2-40B4-BE49-F238E27FC236}">
                        <a16:creationId xmlns:a16="http://schemas.microsoft.com/office/drawing/2014/main" id="{61A9555B-C09C-4E43-9EA7-23FD49D1BEF6}"/>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983" name="Freeform 353">
                    <a:extLst>
                      <a:ext uri="{FF2B5EF4-FFF2-40B4-BE49-F238E27FC236}">
                        <a16:creationId xmlns:a16="http://schemas.microsoft.com/office/drawing/2014/main" id="{F41BCCB8-6B6B-4855-B0B9-C4D91F6D3E36}"/>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26" name="Group 825">
                  <a:extLst>
                    <a:ext uri="{FF2B5EF4-FFF2-40B4-BE49-F238E27FC236}">
                      <a16:creationId xmlns:a16="http://schemas.microsoft.com/office/drawing/2014/main" id="{AB5ACBF0-BC66-4048-8109-FBAC82448E2D}"/>
                    </a:ext>
                  </a:extLst>
                </p:cNvPr>
                <p:cNvGrpSpPr>
                  <a:grpSpLocks noChangeAspect="1"/>
                </p:cNvGrpSpPr>
                <p:nvPr/>
              </p:nvGrpSpPr>
              <p:grpSpPr bwMode="auto">
                <a:xfrm rot="1800000">
                  <a:off x="3563928" y="2295726"/>
                  <a:ext cx="622295" cy="847393"/>
                  <a:chOff x="6652" y="1661"/>
                  <a:chExt cx="260" cy="354"/>
                </a:xfrm>
              </p:grpSpPr>
              <p:sp>
                <p:nvSpPr>
                  <p:cNvPr id="977" name="AutoShape 138">
                    <a:extLst>
                      <a:ext uri="{FF2B5EF4-FFF2-40B4-BE49-F238E27FC236}">
                        <a16:creationId xmlns:a16="http://schemas.microsoft.com/office/drawing/2014/main" id="{368CB0A6-BA8D-465F-8F64-B8870BE96574}"/>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978" name="Freeform 349">
                    <a:extLst>
                      <a:ext uri="{FF2B5EF4-FFF2-40B4-BE49-F238E27FC236}">
                        <a16:creationId xmlns:a16="http://schemas.microsoft.com/office/drawing/2014/main" id="{45AFF23E-D930-4DB0-B4A5-D7081B9B5436}"/>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979" name="Rectangle 978">
                    <a:extLst>
                      <a:ext uri="{FF2B5EF4-FFF2-40B4-BE49-F238E27FC236}">
                        <a16:creationId xmlns:a16="http://schemas.microsoft.com/office/drawing/2014/main" id="{FB87D6D8-D5E7-4207-8308-464AA3A7F2A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980" name="Freeform 351">
                    <a:extLst>
                      <a:ext uri="{FF2B5EF4-FFF2-40B4-BE49-F238E27FC236}">
                        <a16:creationId xmlns:a16="http://schemas.microsoft.com/office/drawing/2014/main" id="{D5BCCC7F-7C7F-4F57-B42E-84B8AE0D3E39}"/>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827" name="Group 826">
                  <a:extLst>
                    <a:ext uri="{FF2B5EF4-FFF2-40B4-BE49-F238E27FC236}">
                      <a16:creationId xmlns:a16="http://schemas.microsoft.com/office/drawing/2014/main" id="{D4362D62-07DB-4A5E-B5BA-517695E42C21}"/>
                    </a:ext>
                  </a:extLst>
                </p:cNvPr>
                <p:cNvGrpSpPr/>
                <p:nvPr/>
              </p:nvGrpSpPr>
              <p:grpSpPr>
                <a:xfrm flipH="1">
                  <a:off x="499414" y="3565526"/>
                  <a:ext cx="1323206" cy="3292389"/>
                  <a:chOff x="8371759" y="2973033"/>
                  <a:chExt cx="1482609" cy="3688507"/>
                </a:xfrm>
              </p:grpSpPr>
              <p:sp>
                <p:nvSpPr>
                  <p:cNvPr id="838" name="Freeform 314">
                    <a:extLst>
                      <a:ext uri="{FF2B5EF4-FFF2-40B4-BE49-F238E27FC236}">
                        <a16:creationId xmlns:a16="http://schemas.microsoft.com/office/drawing/2014/main" id="{CF606DDE-05D4-429F-A16D-A5629C94B233}"/>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39" name="Freeform 315">
                    <a:extLst>
                      <a:ext uri="{FF2B5EF4-FFF2-40B4-BE49-F238E27FC236}">
                        <a16:creationId xmlns:a16="http://schemas.microsoft.com/office/drawing/2014/main" id="{B806E164-28BB-4377-88A0-5A75CD49B5E3}"/>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40" name="Freeform 316">
                    <a:extLst>
                      <a:ext uri="{FF2B5EF4-FFF2-40B4-BE49-F238E27FC236}">
                        <a16:creationId xmlns:a16="http://schemas.microsoft.com/office/drawing/2014/main" id="{70C89A35-F0FD-4401-B993-5CE5AFB9BD1F}"/>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41" name="Rectangle 840">
                    <a:extLst>
                      <a:ext uri="{FF2B5EF4-FFF2-40B4-BE49-F238E27FC236}">
                        <a16:creationId xmlns:a16="http://schemas.microsoft.com/office/drawing/2014/main" id="{ED68BA25-22FD-4F13-BE48-F588B949445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42" name="Rectangle 841">
                    <a:extLst>
                      <a:ext uri="{FF2B5EF4-FFF2-40B4-BE49-F238E27FC236}">
                        <a16:creationId xmlns:a16="http://schemas.microsoft.com/office/drawing/2014/main" id="{88C8EBB4-C05F-4FF3-A60C-5944A0B9BE7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43" name="Rectangle 842">
                    <a:extLst>
                      <a:ext uri="{FF2B5EF4-FFF2-40B4-BE49-F238E27FC236}">
                        <a16:creationId xmlns:a16="http://schemas.microsoft.com/office/drawing/2014/main" id="{95DE9190-FE44-469D-9EA9-F46B4FD9280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44" name="Rectangle 843">
                    <a:extLst>
                      <a:ext uri="{FF2B5EF4-FFF2-40B4-BE49-F238E27FC236}">
                        <a16:creationId xmlns:a16="http://schemas.microsoft.com/office/drawing/2014/main" id="{0795D9E2-6B23-42A1-81D3-A99A61917BF7}"/>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45" name="Freeform 321">
                    <a:extLst>
                      <a:ext uri="{FF2B5EF4-FFF2-40B4-BE49-F238E27FC236}">
                        <a16:creationId xmlns:a16="http://schemas.microsoft.com/office/drawing/2014/main" id="{5C0EE5DA-B170-4489-838F-E43F4D9EF208}"/>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46" name="Rectangle 845">
                    <a:extLst>
                      <a:ext uri="{FF2B5EF4-FFF2-40B4-BE49-F238E27FC236}">
                        <a16:creationId xmlns:a16="http://schemas.microsoft.com/office/drawing/2014/main" id="{7D692572-B5B6-4FDA-A6BB-64243ADFC060}"/>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47" name="Rectangle 846">
                    <a:extLst>
                      <a:ext uri="{FF2B5EF4-FFF2-40B4-BE49-F238E27FC236}">
                        <a16:creationId xmlns:a16="http://schemas.microsoft.com/office/drawing/2014/main" id="{C2E9624F-8A25-497B-857C-E16665F2E9AC}"/>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48" name="Freeform 324">
                    <a:extLst>
                      <a:ext uri="{FF2B5EF4-FFF2-40B4-BE49-F238E27FC236}">
                        <a16:creationId xmlns:a16="http://schemas.microsoft.com/office/drawing/2014/main" id="{CC3C57D2-620C-466B-9186-C0FCCA55A6CB}"/>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49" name="Freeform 325">
                    <a:extLst>
                      <a:ext uri="{FF2B5EF4-FFF2-40B4-BE49-F238E27FC236}">
                        <a16:creationId xmlns:a16="http://schemas.microsoft.com/office/drawing/2014/main" id="{E05092FE-49AB-446C-9D3E-42AB71564E61}"/>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50" name="Freeform 326">
                    <a:extLst>
                      <a:ext uri="{FF2B5EF4-FFF2-40B4-BE49-F238E27FC236}">
                        <a16:creationId xmlns:a16="http://schemas.microsoft.com/office/drawing/2014/main" id="{2E2C3DE6-FEC9-4241-B933-A4B5121C73C6}"/>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51" name="Freeform 327">
                    <a:extLst>
                      <a:ext uri="{FF2B5EF4-FFF2-40B4-BE49-F238E27FC236}">
                        <a16:creationId xmlns:a16="http://schemas.microsoft.com/office/drawing/2014/main" id="{9FAF0487-F698-4765-BB19-1BD25C5145B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52" name="Freeform 328">
                    <a:extLst>
                      <a:ext uri="{FF2B5EF4-FFF2-40B4-BE49-F238E27FC236}">
                        <a16:creationId xmlns:a16="http://schemas.microsoft.com/office/drawing/2014/main" id="{20CEB07C-7488-448C-B57C-27F1CBC860D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53" name="Freeform 329">
                    <a:extLst>
                      <a:ext uri="{FF2B5EF4-FFF2-40B4-BE49-F238E27FC236}">
                        <a16:creationId xmlns:a16="http://schemas.microsoft.com/office/drawing/2014/main" id="{C8ACD903-3BD7-4619-B353-6C5A6A09711D}"/>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54" name="Freeform 330">
                    <a:extLst>
                      <a:ext uri="{FF2B5EF4-FFF2-40B4-BE49-F238E27FC236}">
                        <a16:creationId xmlns:a16="http://schemas.microsoft.com/office/drawing/2014/main" id="{9D2AEDAD-E1FC-4D6E-A421-7A35B06995C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55" name="Freeform 331">
                    <a:extLst>
                      <a:ext uri="{FF2B5EF4-FFF2-40B4-BE49-F238E27FC236}">
                        <a16:creationId xmlns:a16="http://schemas.microsoft.com/office/drawing/2014/main" id="{ED05DD44-5CF9-4BE3-A6CB-59C0EAA8F4F4}"/>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56" name="Freeform 332">
                    <a:extLst>
                      <a:ext uri="{FF2B5EF4-FFF2-40B4-BE49-F238E27FC236}">
                        <a16:creationId xmlns:a16="http://schemas.microsoft.com/office/drawing/2014/main" id="{FB871E8D-4433-40EB-8C96-66B994C507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57" name="Freeform 333">
                    <a:extLst>
                      <a:ext uri="{FF2B5EF4-FFF2-40B4-BE49-F238E27FC236}">
                        <a16:creationId xmlns:a16="http://schemas.microsoft.com/office/drawing/2014/main" id="{2CB2EA41-F808-4AEC-AD40-802F499CEC31}"/>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58" name="Freeform 334">
                    <a:extLst>
                      <a:ext uri="{FF2B5EF4-FFF2-40B4-BE49-F238E27FC236}">
                        <a16:creationId xmlns:a16="http://schemas.microsoft.com/office/drawing/2014/main" id="{8A16FEDE-B90C-4A29-8F99-AE81ADBAB8B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59" name="Freeform 335">
                    <a:extLst>
                      <a:ext uri="{FF2B5EF4-FFF2-40B4-BE49-F238E27FC236}">
                        <a16:creationId xmlns:a16="http://schemas.microsoft.com/office/drawing/2014/main" id="{286241C9-8135-4BEA-B0F0-5BC979CF5659}"/>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0" name="Freeform 336">
                    <a:extLst>
                      <a:ext uri="{FF2B5EF4-FFF2-40B4-BE49-F238E27FC236}">
                        <a16:creationId xmlns:a16="http://schemas.microsoft.com/office/drawing/2014/main" id="{B9EBA78D-A739-489B-87E1-74ADBEF18B06}"/>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1" name="Freeform 337">
                    <a:extLst>
                      <a:ext uri="{FF2B5EF4-FFF2-40B4-BE49-F238E27FC236}">
                        <a16:creationId xmlns:a16="http://schemas.microsoft.com/office/drawing/2014/main" id="{BB4551E2-D0ED-4865-9912-1A18715920DD}"/>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2" name="Freeform 338">
                    <a:extLst>
                      <a:ext uri="{FF2B5EF4-FFF2-40B4-BE49-F238E27FC236}">
                        <a16:creationId xmlns:a16="http://schemas.microsoft.com/office/drawing/2014/main" id="{4A449DFB-BDCE-4929-A61C-52450AFB7F0B}"/>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3" name="Freeform 339">
                    <a:extLst>
                      <a:ext uri="{FF2B5EF4-FFF2-40B4-BE49-F238E27FC236}">
                        <a16:creationId xmlns:a16="http://schemas.microsoft.com/office/drawing/2014/main" id="{974AC33A-B66B-4FCA-9AE7-C0F19EFC4F0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4" name="Freeform 340">
                    <a:extLst>
                      <a:ext uri="{FF2B5EF4-FFF2-40B4-BE49-F238E27FC236}">
                        <a16:creationId xmlns:a16="http://schemas.microsoft.com/office/drawing/2014/main" id="{4F34F315-C8B5-421F-B4AE-DE84AB6B1A03}"/>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5" name="Freeform 341">
                    <a:extLst>
                      <a:ext uri="{FF2B5EF4-FFF2-40B4-BE49-F238E27FC236}">
                        <a16:creationId xmlns:a16="http://schemas.microsoft.com/office/drawing/2014/main" id="{91961F08-E56E-4E83-A8A9-2C2DBADA1AA1}"/>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6" name="Freeform 342">
                    <a:extLst>
                      <a:ext uri="{FF2B5EF4-FFF2-40B4-BE49-F238E27FC236}">
                        <a16:creationId xmlns:a16="http://schemas.microsoft.com/office/drawing/2014/main" id="{C845099D-F630-4235-B791-46402BC2B429}"/>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7" name="Freeform 343">
                    <a:extLst>
                      <a:ext uri="{FF2B5EF4-FFF2-40B4-BE49-F238E27FC236}">
                        <a16:creationId xmlns:a16="http://schemas.microsoft.com/office/drawing/2014/main" id="{9E5CCBB1-3853-47F8-82DC-51DC2A2ADE8B}"/>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8" name="Freeform 344">
                    <a:extLst>
                      <a:ext uri="{FF2B5EF4-FFF2-40B4-BE49-F238E27FC236}">
                        <a16:creationId xmlns:a16="http://schemas.microsoft.com/office/drawing/2014/main" id="{EEF5E3FE-30AD-4172-BEA9-23BBE0887926}"/>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1" name="Freeform 345">
                    <a:extLst>
                      <a:ext uri="{FF2B5EF4-FFF2-40B4-BE49-F238E27FC236}">
                        <a16:creationId xmlns:a16="http://schemas.microsoft.com/office/drawing/2014/main" id="{8113153A-3ED0-4074-AED1-C85C399E50D7}"/>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94" name="Freeform 346">
                    <a:extLst>
                      <a:ext uri="{FF2B5EF4-FFF2-40B4-BE49-F238E27FC236}">
                        <a16:creationId xmlns:a16="http://schemas.microsoft.com/office/drawing/2014/main" id="{0EE1CC05-EC88-443E-B819-FFDDD6BDF805}"/>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976" name="Freeform 347">
                    <a:extLst>
                      <a:ext uri="{FF2B5EF4-FFF2-40B4-BE49-F238E27FC236}">
                        <a16:creationId xmlns:a16="http://schemas.microsoft.com/office/drawing/2014/main" id="{01832BF3-3F64-427B-B219-38EB9427085A}"/>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828" name="Straight Connector 827">
                  <a:extLst>
                    <a:ext uri="{FF2B5EF4-FFF2-40B4-BE49-F238E27FC236}">
                      <a16:creationId xmlns:a16="http://schemas.microsoft.com/office/drawing/2014/main" id="{2DDF28AD-A154-4B18-B4C5-BFC46F966B97}"/>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829" name="Straight Connector 828">
                  <a:extLst>
                    <a:ext uri="{FF2B5EF4-FFF2-40B4-BE49-F238E27FC236}">
                      <a16:creationId xmlns:a16="http://schemas.microsoft.com/office/drawing/2014/main" id="{A7A1ED1B-A474-4DCE-AF6C-D5D197D70282}"/>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830" name="Straight Connector 829">
                  <a:extLst>
                    <a:ext uri="{FF2B5EF4-FFF2-40B4-BE49-F238E27FC236}">
                      <a16:creationId xmlns:a16="http://schemas.microsoft.com/office/drawing/2014/main" id="{E5D4553C-AE3E-4083-96E2-9630AE7F7D7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831" name="Straight Connector 830">
                  <a:extLst>
                    <a:ext uri="{FF2B5EF4-FFF2-40B4-BE49-F238E27FC236}">
                      <a16:creationId xmlns:a16="http://schemas.microsoft.com/office/drawing/2014/main" id="{73E5420C-41CA-4928-A53B-904C5E3D3642}"/>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832" name="Group 831">
                  <a:extLst>
                    <a:ext uri="{FF2B5EF4-FFF2-40B4-BE49-F238E27FC236}">
                      <a16:creationId xmlns:a16="http://schemas.microsoft.com/office/drawing/2014/main" id="{38B53F14-5F8E-430C-BE31-59BCF078D947}"/>
                    </a:ext>
                  </a:extLst>
                </p:cNvPr>
                <p:cNvGrpSpPr/>
                <p:nvPr/>
              </p:nvGrpSpPr>
              <p:grpSpPr>
                <a:xfrm>
                  <a:off x="2022695" y="1566515"/>
                  <a:ext cx="766903" cy="767014"/>
                  <a:chOff x="9123445" y="2463609"/>
                  <a:chExt cx="652033" cy="652035"/>
                </a:xfrm>
              </p:grpSpPr>
              <p:sp>
                <p:nvSpPr>
                  <p:cNvPr id="836" name="Oval 835">
                    <a:extLst>
                      <a:ext uri="{FF2B5EF4-FFF2-40B4-BE49-F238E27FC236}">
                        <a16:creationId xmlns:a16="http://schemas.microsoft.com/office/drawing/2014/main" id="{E8802B0A-AA94-4C4E-B353-925722EF9ED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37" name="Freeform 313">
                    <a:extLst>
                      <a:ext uri="{FF2B5EF4-FFF2-40B4-BE49-F238E27FC236}">
                        <a16:creationId xmlns:a16="http://schemas.microsoft.com/office/drawing/2014/main" id="{44691392-9786-4300-AAD2-A4FF9C808F19}"/>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833" name="Group 832">
                  <a:extLst>
                    <a:ext uri="{FF2B5EF4-FFF2-40B4-BE49-F238E27FC236}">
                      <a16:creationId xmlns:a16="http://schemas.microsoft.com/office/drawing/2014/main" id="{FD611E57-9F40-4F20-AD42-D1181A819AA7}"/>
                    </a:ext>
                  </a:extLst>
                </p:cNvPr>
                <p:cNvGrpSpPr/>
                <p:nvPr/>
              </p:nvGrpSpPr>
              <p:grpSpPr>
                <a:xfrm>
                  <a:off x="1973388" y="1517311"/>
                  <a:ext cx="853073" cy="853194"/>
                  <a:chOff x="9123452" y="2463609"/>
                  <a:chExt cx="652035" cy="652035"/>
                </a:xfrm>
              </p:grpSpPr>
              <p:sp>
                <p:nvSpPr>
                  <p:cNvPr id="834" name="Oval 833">
                    <a:extLst>
                      <a:ext uri="{FF2B5EF4-FFF2-40B4-BE49-F238E27FC236}">
                        <a16:creationId xmlns:a16="http://schemas.microsoft.com/office/drawing/2014/main" id="{3B97EDE3-5684-4E0C-B5BF-93DE5FCB966F}"/>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35" name="Freeform 311">
                    <a:extLst>
                      <a:ext uri="{FF2B5EF4-FFF2-40B4-BE49-F238E27FC236}">
                        <a16:creationId xmlns:a16="http://schemas.microsoft.com/office/drawing/2014/main" id="{CD74B61F-BC70-48F1-B82F-7A4C31BCAF71}"/>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724" name="Group 723">
                <a:extLst>
                  <a:ext uri="{FF2B5EF4-FFF2-40B4-BE49-F238E27FC236}">
                    <a16:creationId xmlns:a16="http://schemas.microsoft.com/office/drawing/2014/main" id="{0C586818-66AB-4047-807E-2C011C1558C7}"/>
                  </a:ext>
                </a:extLst>
              </p:cNvPr>
              <p:cNvGrpSpPr/>
              <p:nvPr/>
            </p:nvGrpSpPr>
            <p:grpSpPr>
              <a:xfrm>
                <a:off x="1226671" y="3909844"/>
                <a:ext cx="304563" cy="307388"/>
                <a:chOff x="4471988" y="3821062"/>
                <a:chExt cx="2035176" cy="2113013"/>
              </a:xfrm>
            </p:grpSpPr>
            <p:sp>
              <p:nvSpPr>
                <p:cNvPr id="768" name="Rectangle 6">
                  <a:extLst>
                    <a:ext uri="{FF2B5EF4-FFF2-40B4-BE49-F238E27FC236}">
                      <a16:creationId xmlns:a16="http://schemas.microsoft.com/office/drawing/2014/main" id="{567CAED1-522F-4B29-9471-F396B647672E}"/>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69" name="Freeform 7">
                  <a:extLst>
                    <a:ext uri="{FF2B5EF4-FFF2-40B4-BE49-F238E27FC236}">
                      <a16:creationId xmlns:a16="http://schemas.microsoft.com/office/drawing/2014/main" id="{FF8D09F7-5CDB-4B11-8BD7-FEA796FE21AE}"/>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70" name="Freeform 10">
                  <a:extLst>
                    <a:ext uri="{FF2B5EF4-FFF2-40B4-BE49-F238E27FC236}">
                      <a16:creationId xmlns:a16="http://schemas.microsoft.com/office/drawing/2014/main" id="{18DC23D8-202C-45DE-A3C8-5AE980C29AF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71" name="Freeform 11">
                  <a:extLst>
                    <a:ext uri="{FF2B5EF4-FFF2-40B4-BE49-F238E27FC236}">
                      <a16:creationId xmlns:a16="http://schemas.microsoft.com/office/drawing/2014/main" id="{5DDF53D8-C320-45F5-A1E2-DDB29D2A3FB4}"/>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72" name="Oval 12">
                  <a:extLst>
                    <a:ext uri="{FF2B5EF4-FFF2-40B4-BE49-F238E27FC236}">
                      <a16:creationId xmlns:a16="http://schemas.microsoft.com/office/drawing/2014/main" id="{AE18300F-0470-4487-A0CC-F3F95131E5F0}"/>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73" name="Oval 13">
                  <a:extLst>
                    <a:ext uri="{FF2B5EF4-FFF2-40B4-BE49-F238E27FC236}">
                      <a16:creationId xmlns:a16="http://schemas.microsoft.com/office/drawing/2014/main" id="{8F6DA1D4-98B5-4C76-B967-2B98E787D2ED}"/>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74" name="Freeform 14">
                  <a:extLst>
                    <a:ext uri="{FF2B5EF4-FFF2-40B4-BE49-F238E27FC236}">
                      <a16:creationId xmlns:a16="http://schemas.microsoft.com/office/drawing/2014/main" id="{10F3EF4F-D05C-47A2-A7DE-44ABB5C79791}"/>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75" name="Rectangle 15">
                  <a:extLst>
                    <a:ext uri="{FF2B5EF4-FFF2-40B4-BE49-F238E27FC236}">
                      <a16:creationId xmlns:a16="http://schemas.microsoft.com/office/drawing/2014/main" id="{BBE3F8C4-10B4-47F0-B658-078F126A85C0}"/>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76" name="Rectangle 16">
                  <a:extLst>
                    <a:ext uri="{FF2B5EF4-FFF2-40B4-BE49-F238E27FC236}">
                      <a16:creationId xmlns:a16="http://schemas.microsoft.com/office/drawing/2014/main" id="{9558A27E-89CF-4A6C-8368-11D0D2AAA2ED}"/>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77" name="Freeform 17">
                  <a:extLst>
                    <a:ext uri="{FF2B5EF4-FFF2-40B4-BE49-F238E27FC236}">
                      <a16:creationId xmlns:a16="http://schemas.microsoft.com/office/drawing/2014/main" id="{E6B7411B-CB9C-4D92-B522-486E17606DC7}"/>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78" name="Freeform 18">
                  <a:extLst>
                    <a:ext uri="{FF2B5EF4-FFF2-40B4-BE49-F238E27FC236}">
                      <a16:creationId xmlns:a16="http://schemas.microsoft.com/office/drawing/2014/main" id="{56BBE7F9-A13A-42C0-B919-7B8B5A890650}"/>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79" name="Rectangle 19">
                  <a:extLst>
                    <a:ext uri="{FF2B5EF4-FFF2-40B4-BE49-F238E27FC236}">
                      <a16:creationId xmlns:a16="http://schemas.microsoft.com/office/drawing/2014/main" id="{71353236-A2E1-4EEE-BE55-6B4626FDCC4C}"/>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80" name="Freeform 20">
                  <a:extLst>
                    <a:ext uri="{FF2B5EF4-FFF2-40B4-BE49-F238E27FC236}">
                      <a16:creationId xmlns:a16="http://schemas.microsoft.com/office/drawing/2014/main" id="{8A7BBDED-9EDD-4492-8946-A35D3DDF114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81" name="Freeform 21">
                  <a:extLst>
                    <a:ext uri="{FF2B5EF4-FFF2-40B4-BE49-F238E27FC236}">
                      <a16:creationId xmlns:a16="http://schemas.microsoft.com/office/drawing/2014/main" id="{6FF68033-EADD-4B42-A307-70F872E14E15}"/>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82" name="Freeform 22">
                  <a:extLst>
                    <a:ext uri="{FF2B5EF4-FFF2-40B4-BE49-F238E27FC236}">
                      <a16:creationId xmlns:a16="http://schemas.microsoft.com/office/drawing/2014/main" id="{36A99D91-710B-408B-B74E-89A8C558A2C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83" name="Freeform 23">
                  <a:extLst>
                    <a:ext uri="{FF2B5EF4-FFF2-40B4-BE49-F238E27FC236}">
                      <a16:creationId xmlns:a16="http://schemas.microsoft.com/office/drawing/2014/main" id="{F130D795-0C52-428E-955D-FE52FCDB897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84" name="Freeform 24">
                  <a:extLst>
                    <a:ext uri="{FF2B5EF4-FFF2-40B4-BE49-F238E27FC236}">
                      <a16:creationId xmlns:a16="http://schemas.microsoft.com/office/drawing/2014/main" id="{66947FBA-A7A4-45E6-9003-456A5062CCA6}"/>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85" name="Rectangle 25">
                  <a:extLst>
                    <a:ext uri="{FF2B5EF4-FFF2-40B4-BE49-F238E27FC236}">
                      <a16:creationId xmlns:a16="http://schemas.microsoft.com/office/drawing/2014/main" id="{C8790D0E-7723-4A96-A56A-8E5167F6A9D8}"/>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86" name="Freeform 26">
                  <a:extLst>
                    <a:ext uri="{FF2B5EF4-FFF2-40B4-BE49-F238E27FC236}">
                      <a16:creationId xmlns:a16="http://schemas.microsoft.com/office/drawing/2014/main" id="{2EF44EC5-6D8D-4F61-83E6-0F60230E6CCF}"/>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87" name="Freeform 27">
                  <a:extLst>
                    <a:ext uri="{FF2B5EF4-FFF2-40B4-BE49-F238E27FC236}">
                      <a16:creationId xmlns:a16="http://schemas.microsoft.com/office/drawing/2014/main" id="{03689EBD-59F7-45E5-998B-C7B5284F55B7}"/>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88" name="Freeform 28">
                  <a:extLst>
                    <a:ext uri="{FF2B5EF4-FFF2-40B4-BE49-F238E27FC236}">
                      <a16:creationId xmlns:a16="http://schemas.microsoft.com/office/drawing/2014/main" id="{AB582D70-B794-402C-BF34-9CB2BCD42272}"/>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89" name="Freeform 29">
                  <a:extLst>
                    <a:ext uri="{FF2B5EF4-FFF2-40B4-BE49-F238E27FC236}">
                      <a16:creationId xmlns:a16="http://schemas.microsoft.com/office/drawing/2014/main" id="{DE329AD9-B96C-4D58-BDEF-CBCBF7BD84B9}"/>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0" name="Freeform 30">
                  <a:extLst>
                    <a:ext uri="{FF2B5EF4-FFF2-40B4-BE49-F238E27FC236}">
                      <a16:creationId xmlns:a16="http://schemas.microsoft.com/office/drawing/2014/main" id="{F7D50128-BC22-4670-B222-6A53A247DC4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1" name="Freeform 31">
                  <a:extLst>
                    <a:ext uri="{FF2B5EF4-FFF2-40B4-BE49-F238E27FC236}">
                      <a16:creationId xmlns:a16="http://schemas.microsoft.com/office/drawing/2014/main" id="{E301A0D4-1BA4-4C45-850F-50D7FA001435}"/>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2" name="Freeform 32">
                  <a:extLst>
                    <a:ext uri="{FF2B5EF4-FFF2-40B4-BE49-F238E27FC236}">
                      <a16:creationId xmlns:a16="http://schemas.microsoft.com/office/drawing/2014/main" id="{FC25A1C8-9018-4179-958C-953B4FFFF534}"/>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3" name="Freeform 102">
                  <a:extLst>
                    <a:ext uri="{FF2B5EF4-FFF2-40B4-BE49-F238E27FC236}">
                      <a16:creationId xmlns:a16="http://schemas.microsoft.com/office/drawing/2014/main" id="{BFDEE813-EFCA-4B1F-8F01-3DA3538CA0A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4" name="Freeform 103">
                  <a:extLst>
                    <a:ext uri="{FF2B5EF4-FFF2-40B4-BE49-F238E27FC236}">
                      <a16:creationId xmlns:a16="http://schemas.microsoft.com/office/drawing/2014/main" id="{9CF8DE6C-159A-44C1-ABC6-CC060C281315}"/>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5" name="Freeform 104">
                  <a:extLst>
                    <a:ext uri="{FF2B5EF4-FFF2-40B4-BE49-F238E27FC236}">
                      <a16:creationId xmlns:a16="http://schemas.microsoft.com/office/drawing/2014/main" id="{500DB2CF-C10B-4EC4-AC64-9DCD36521FC9}"/>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6" name="Freeform 105">
                  <a:extLst>
                    <a:ext uri="{FF2B5EF4-FFF2-40B4-BE49-F238E27FC236}">
                      <a16:creationId xmlns:a16="http://schemas.microsoft.com/office/drawing/2014/main" id="{05BBB12B-BC75-4D99-A029-50D4A59DC26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7" name="Freeform 106">
                  <a:extLst>
                    <a:ext uri="{FF2B5EF4-FFF2-40B4-BE49-F238E27FC236}">
                      <a16:creationId xmlns:a16="http://schemas.microsoft.com/office/drawing/2014/main" id="{204EA163-55B2-46EC-B32D-D7D13CB6A504}"/>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8" name="Freeform 107">
                  <a:extLst>
                    <a:ext uri="{FF2B5EF4-FFF2-40B4-BE49-F238E27FC236}">
                      <a16:creationId xmlns:a16="http://schemas.microsoft.com/office/drawing/2014/main" id="{E4187DDB-4A30-4D70-B86B-135C5A7222B5}"/>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9" name="Freeform 108">
                  <a:extLst>
                    <a:ext uri="{FF2B5EF4-FFF2-40B4-BE49-F238E27FC236}">
                      <a16:creationId xmlns:a16="http://schemas.microsoft.com/office/drawing/2014/main" id="{1100F4C6-2F83-4DC1-80DC-E4818243D6C6}"/>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0" name="Rectangle 799">
                  <a:extLst>
                    <a:ext uri="{FF2B5EF4-FFF2-40B4-BE49-F238E27FC236}">
                      <a16:creationId xmlns:a16="http://schemas.microsoft.com/office/drawing/2014/main" id="{9B986917-884C-4CA7-AC54-5D1217474EF3}"/>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1" name="Freeform 110">
                  <a:extLst>
                    <a:ext uri="{FF2B5EF4-FFF2-40B4-BE49-F238E27FC236}">
                      <a16:creationId xmlns:a16="http://schemas.microsoft.com/office/drawing/2014/main" id="{7D30608D-0DD0-4704-98A1-BB2B7E9CE7B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2" name="Freeform 111">
                  <a:extLst>
                    <a:ext uri="{FF2B5EF4-FFF2-40B4-BE49-F238E27FC236}">
                      <a16:creationId xmlns:a16="http://schemas.microsoft.com/office/drawing/2014/main" id="{0786092B-077A-4119-ACC4-8066BA7C1483}"/>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3" name="Freeform 112">
                  <a:extLst>
                    <a:ext uri="{FF2B5EF4-FFF2-40B4-BE49-F238E27FC236}">
                      <a16:creationId xmlns:a16="http://schemas.microsoft.com/office/drawing/2014/main" id="{AE0840AA-9374-4F86-8592-E53ED40078C3}"/>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4" name="Freeform 113">
                  <a:extLst>
                    <a:ext uri="{FF2B5EF4-FFF2-40B4-BE49-F238E27FC236}">
                      <a16:creationId xmlns:a16="http://schemas.microsoft.com/office/drawing/2014/main" id="{443C0BE6-AEDC-43BF-B3FE-51E44E0D2466}"/>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5" name="Rectangle 804">
                  <a:extLst>
                    <a:ext uri="{FF2B5EF4-FFF2-40B4-BE49-F238E27FC236}">
                      <a16:creationId xmlns:a16="http://schemas.microsoft.com/office/drawing/2014/main" id="{1E27FFFB-0DE6-44CB-8FD4-7311FCAAE174}"/>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6" name="Freeform 115">
                  <a:extLst>
                    <a:ext uri="{FF2B5EF4-FFF2-40B4-BE49-F238E27FC236}">
                      <a16:creationId xmlns:a16="http://schemas.microsoft.com/office/drawing/2014/main" id="{75D317DC-43F7-4058-86D8-0B566C8B11CB}"/>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7" name="Freeform 116">
                  <a:extLst>
                    <a:ext uri="{FF2B5EF4-FFF2-40B4-BE49-F238E27FC236}">
                      <a16:creationId xmlns:a16="http://schemas.microsoft.com/office/drawing/2014/main" id="{71F333C2-79A9-435E-8F52-B74BFDD34161}"/>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8" name="Freeform 117">
                  <a:extLst>
                    <a:ext uri="{FF2B5EF4-FFF2-40B4-BE49-F238E27FC236}">
                      <a16:creationId xmlns:a16="http://schemas.microsoft.com/office/drawing/2014/main" id="{153FCC5E-FE1A-4543-B8A3-7B1F6CC7B31E}"/>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9" name="Freeform 118">
                  <a:extLst>
                    <a:ext uri="{FF2B5EF4-FFF2-40B4-BE49-F238E27FC236}">
                      <a16:creationId xmlns:a16="http://schemas.microsoft.com/office/drawing/2014/main" id="{61951FC8-C8BC-484D-8D21-79FBBAB5EBB6}"/>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0" name="Oval 809">
                  <a:extLst>
                    <a:ext uri="{FF2B5EF4-FFF2-40B4-BE49-F238E27FC236}">
                      <a16:creationId xmlns:a16="http://schemas.microsoft.com/office/drawing/2014/main" id="{D928E528-FB45-4BB8-B015-CD4BDCBD0BAA}"/>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1" name="Freeform 120">
                  <a:extLst>
                    <a:ext uri="{FF2B5EF4-FFF2-40B4-BE49-F238E27FC236}">
                      <a16:creationId xmlns:a16="http://schemas.microsoft.com/office/drawing/2014/main" id="{F664A6A1-877D-4C96-BE39-C29A41117C81}"/>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2" name="Freeform 121">
                  <a:extLst>
                    <a:ext uri="{FF2B5EF4-FFF2-40B4-BE49-F238E27FC236}">
                      <a16:creationId xmlns:a16="http://schemas.microsoft.com/office/drawing/2014/main" id="{68FEB64F-DF02-49B4-A0EA-8F1526237122}"/>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3" name="Freeform 122">
                  <a:extLst>
                    <a:ext uri="{FF2B5EF4-FFF2-40B4-BE49-F238E27FC236}">
                      <a16:creationId xmlns:a16="http://schemas.microsoft.com/office/drawing/2014/main" id="{B3B020CA-6752-488C-8D53-37D0C778367F}"/>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5" name="Freeform 123">
                  <a:extLst>
                    <a:ext uri="{FF2B5EF4-FFF2-40B4-BE49-F238E27FC236}">
                      <a16:creationId xmlns:a16="http://schemas.microsoft.com/office/drawing/2014/main" id="{DF8D102C-85EF-44B6-8255-15D7A7771060}"/>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6" name="Freeform 124">
                  <a:extLst>
                    <a:ext uri="{FF2B5EF4-FFF2-40B4-BE49-F238E27FC236}">
                      <a16:creationId xmlns:a16="http://schemas.microsoft.com/office/drawing/2014/main" id="{AFE5836A-A461-4C98-8026-BC95A759AC8C}"/>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7" name="Freeform 63">
                  <a:extLst>
                    <a:ext uri="{FF2B5EF4-FFF2-40B4-BE49-F238E27FC236}">
                      <a16:creationId xmlns:a16="http://schemas.microsoft.com/office/drawing/2014/main" id="{387D02EC-24B9-46C0-A8E5-9DC40E003B92}"/>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8" name="Freeform 65">
                  <a:extLst>
                    <a:ext uri="{FF2B5EF4-FFF2-40B4-BE49-F238E27FC236}">
                      <a16:creationId xmlns:a16="http://schemas.microsoft.com/office/drawing/2014/main" id="{47F8B95D-79CC-4954-8EE8-3406FB584B5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9" name="Freeform 66">
                  <a:extLst>
                    <a:ext uri="{FF2B5EF4-FFF2-40B4-BE49-F238E27FC236}">
                      <a16:creationId xmlns:a16="http://schemas.microsoft.com/office/drawing/2014/main" id="{676852BD-5F34-4FDC-BF21-92E29B02F08D}"/>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0" name="Freeform 67">
                  <a:extLst>
                    <a:ext uri="{FF2B5EF4-FFF2-40B4-BE49-F238E27FC236}">
                      <a16:creationId xmlns:a16="http://schemas.microsoft.com/office/drawing/2014/main" id="{070BCC0E-0E96-434F-A2A6-013DC9C63D98}"/>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1" name="Oval 68">
                  <a:extLst>
                    <a:ext uri="{FF2B5EF4-FFF2-40B4-BE49-F238E27FC236}">
                      <a16:creationId xmlns:a16="http://schemas.microsoft.com/office/drawing/2014/main" id="{5AD1373E-9D23-4AFC-933F-246CE46346D9}"/>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2" name="Oval 69">
                  <a:extLst>
                    <a:ext uri="{FF2B5EF4-FFF2-40B4-BE49-F238E27FC236}">
                      <a16:creationId xmlns:a16="http://schemas.microsoft.com/office/drawing/2014/main" id="{AD654B09-0CFB-4E37-BAB1-D7FC116B6694}"/>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725" name="Group 724">
                <a:extLst>
                  <a:ext uri="{FF2B5EF4-FFF2-40B4-BE49-F238E27FC236}">
                    <a16:creationId xmlns:a16="http://schemas.microsoft.com/office/drawing/2014/main" id="{A3A90961-3F7C-49E8-9374-E9ED0AB26894}"/>
                  </a:ext>
                </a:extLst>
              </p:cNvPr>
              <p:cNvGrpSpPr/>
              <p:nvPr/>
            </p:nvGrpSpPr>
            <p:grpSpPr>
              <a:xfrm>
                <a:off x="1206839" y="3914891"/>
                <a:ext cx="469400" cy="342521"/>
                <a:chOff x="1557350" y="4606481"/>
                <a:chExt cx="3001095" cy="2252753"/>
              </a:xfrm>
            </p:grpSpPr>
            <p:sp>
              <p:nvSpPr>
                <p:cNvPr id="727" name="Rectangle 726">
                  <a:extLst>
                    <a:ext uri="{FF2B5EF4-FFF2-40B4-BE49-F238E27FC236}">
                      <a16:creationId xmlns:a16="http://schemas.microsoft.com/office/drawing/2014/main" id="{BDB9211E-F23F-465B-B039-DE70CF66CD80}"/>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28" name="Rectangle 727">
                  <a:extLst>
                    <a:ext uri="{FF2B5EF4-FFF2-40B4-BE49-F238E27FC236}">
                      <a16:creationId xmlns:a16="http://schemas.microsoft.com/office/drawing/2014/main" id="{D99EFAAC-22BE-45F7-854D-42C34B7BAF25}"/>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29" name="Rectangle 728">
                  <a:extLst>
                    <a:ext uri="{FF2B5EF4-FFF2-40B4-BE49-F238E27FC236}">
                      <a16:creationId xmlns:a16="http://schemas.microsoft.com/office/drawing/2014/main" id="{6295EB66-E2F1-48F4-A595-B55160814311}"/>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30" name="Rectangle 729">
                  <a:extLst>
                    <a:ext uri="{FF2B5EF4-FFF2-40B4-BE49-F238E27FC236}">
                      <a16:creationId xmlns:a16="http://schemas.microsoft.com/office/drawing/2014/main" id="{DE96D54C-6F58-4F11-B2B5-935472E38133}"/>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31" name="Freeform 12">
                  <a:extLst>
                    <a:ext uri="{FF2B5EF4-FFF2-40B4-BE49-F238E27FC236}">
                      <a16:creationId xmlns:a16="http://schemas.microsoft.com/office/drawing/2014/main" id="{B0F32313-5533-4E18-BAB6-48CED940F03A}"/>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32" name="Rectangle 731">
                  <a:extLst>
                    <a:ext uri="{FF2B5EF4-FFF2-40B4-BE49-F238E27FC236}">
                      <a16:creationId xmlns:a16="http://schemas.microsoft.com/office/drawing/2014/main" id="{D90D9B3E-C3D0-431C-BA35-6C52DF71D7A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33" name="Freeform 14">
                  <a:extLst>
                    <a:ext uri="{FF2B5EF4-FFF2-40B4-BE49-F238E27FC236}">
                      <a16:creationId xmlns:a16="http://schemas.microsoft.com/office/drawing/2014/main" id="{D47C51A9-27D7-461B-B149-A4555EEE58A2}"/>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34" name="Rectangle 733">
                  <a:extLst>
                    <a:ext uri="{FF2B5EF4-FFF2-40B4-BE49-F238E27FC236}">
                      <a16:creationId xmlns:a16="http://schemas.microsoft.com/office/drawing/2014/main" id="{EE4FA527-0A39-4D6A-9D70-08BF1BAB136A}"/>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35" name="Freeform 16">
                  <a:extLst>
                    <a:ext uri="{FF2B5EF4-FFF2-40B4-BE49-F238E27FC236}">
                      <a16:creationId xmlns:a16="http://schemas.microsoft.com/office/drawing/2014/main" id="{7C13AD90-98C5-4D7B-B5CD-709FFB2AA27A}"/>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36" name="Freeform 17">
                  <a:extLst>
                    <a:ext uri="{FF2B5EF4-FFF2-40B4-BE49-F238E27FC236}">
                      <a16:creationId xmlns:a16="http://schemas.microsoft.com/office/drawing/2014/main" id="{B25515A2-97E5-4EED-B14E-20BA643C3B5E}"/>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37" name="Oval 736">
                  <a:extLst>
                    <a:ext uri="{FF2B5EF4-FFF2-40B4-BE49-F238E27FC236}">
                      <a16:creationId xmlns:a16="http://schemas.microsoft.com/office/drawing/2014/main" id="{B90FC3F7-501E-4CB4-87AC-3FF34829C8B1}"/>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38" name="Rectangle 737">
                  <a:extLst>
                    <a:ext uri="{FF2B5EF4-FFF2-40B4-BE49-F238E27FC236}">
                      <a16:creationId xmlns:a16="http://schemas.microsoft.com/office/drawing/2014/main" id="{FE79CB91-1A7C-45F1-A0F9-D859B74452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39" name="Freeform 20">
                  <a:extLst>
                    <a:ext uri="{FF2B5EF4-FFF2-40B4-BE49-F238E27FC236}">
                      <a16:creationId xmlns:a16="http://schemas.microsoft.com/office/drawing/2014/main" id="{11FD7033-92AA-4B8C-A5AE-B085D8C68AF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40" name="Freeform 21">
                  <a:extLst>
                    <a:ext uri="{FF2B5EF4-FFF2-40B4-BE49-F238E27FC236}">
                      <a16:creationId xmlns:a16="http://schemas.microsoft.com/office/drawing/2014/main" id="{B8342D43-460A-4DE2-A2B2-042264974681}"/>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741" name="Group 740">
                  <a:extLst>
                    <a:ext uri="{FF2B5EF4-FFF2-40B4-BE49-F238E27FC236}">
                      <a16:creationId xmlns:a16="http://schemas.microsoft.com/office/drawing/2014/main" id="{C55586BF-A057-4265-95AE-1EB447FFCE3D}"/>
                    </a:ext>
                  </a:extLst>
                </p:cNvPr>
                <p:cNvGrpSpPr/>
                <p:nvPr/>
              </p:nvGrpSpPr>
              <p:grpSpPr>
                <a:xfrm>
                  <a:off x="3298176" y="4606481"/>
                  <a:ext cx="1260269" cy="2252753"/>
                  <a:chOff x="10352191" y="4087395"/>
                  <a:chExt cx="1336826" cy="2389605"/>
                </a:xfrm>
              </p:grpSpPr>
              <p:sp>
                <p:nvSpPr>
                  <p:cNvPr id="742" name="Rectangle 741">
                    <a:extLst>
                      <a:ext uri="{FF2B5EF4-FFF2-40B4-BE49-F238E27FC236}">
                        <a16:creationId xmlns:a16="http://schemas.microsoft.com/office/drawing/2014/main" id="{427366D9-B6B4-4F47-98C3-BD9C4136557F}"/>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43" name="Round Same Side Corner Rectangle 52">
                    <a:extLst>
                      <a:ext uri="{FF2B5EF4-FFF2-40B4-BE49-F238E27FC236}">
                        <a16:creationId xmlns:a16="http://schemas.microsoft.com/office/drawing/2014/main" id="{594B8F00-DD13-4CA0-A241-F4AB5A709147}"/>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744" name="Rectangle 743">
                    <a:extLst>
                      <a:ext uri="{FF2B5EF4-FFF2-40B4-BE49-F238E27FC236}">
                        <a16:creationId xmlns:a16="http://schemas.microsoft.com/office/drawing/2014/main" id="{CA272B6B-28F9-407A-8FC9-44E4BA6A238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45" name="Freeform 54">
                    <a:extLst>
                      <a:ext uri="{FF2B5EF4-FFF2-40B4-BE49-F238E27FC236}">
                        <a16:creationId xmlns:a16="http://schemas.microsoft.com/office/drawing/2014/main" id="{514F7EEA-2F1C-4D97-88E9-015E611924B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46" name="Freeform 55">
                    <a:extLst>
                      <a:ext uri="{FF2B5EF4-FFF2-40B4-BE49-F238E27FC236}">
                        <a16:creationId xmlns:a16="http://schemas.microsoft.com/office/drawing/2014/main" id="{E5EC46BB-4330-4C4A-8FD1-F27F1ED45C33}"/>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47" name="Freeform 56">
                    <a:extLst>
                      <a:ext uri="{FF2B5EF4-FFF2-40B4-BE49-F238E27FC236}">
                        <a16:creationId xmlns:a16="http://schemas.microsoft.com/office/drawing/2014/main" id="{07193662-D775-4BAB-934C-1CB0BE15041A}"/>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48" name="Freeform 57">
                    <a:extLst>
                      <a:ext uri="{FF2B5EF4-FFF2-40B4-BE49-F238E27FC236}">
                        <a16:creationId xmlns:a16="http://schemas.microsoft.com/office/drawing/2014/main" id="{185FB7BF-74F5-44A1-98F7-DC27A1C14BAB}"/>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49" name="Freeform 58">
                    <a:extLst>
                      <a:ext uri="{FF2B5EF4-FFF2-40B4-BE49-F238E27FC236}">
                        <a16:creationId xmlns:a16="http://schemas.microsoft.com/office/drawing/2014/main" id="{14FDD400-4CD3-4210-B7D2-7994F763B227}"/>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0" name="Freeform 59">
                    <a:extLst>
                      <a:ext uri="{FF2B5EF4-FFF2-40B4-BE49-F238E27FC236}">
                        <a16:creationId xmlns:a16="http://schemas.microsoft.com/office/drawing/2014/main" id="{A6E013DA-8B26-4348-9E7F-F41D51D3B6A5}"/>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1" name="Freeform 60">
                    <a:extLst>
                      <a:ext uri="{FF2B5EF4-FFF2-40B4-BE49-F238E27FC236}">
                        <a16:creationId xmlns:a16="http://schemas.microsoft.com/office/drawing/2014/main" id="{43DF3BE6-18CF-4E2C-A787-69EAA61772ED}"/>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2" name="Freeform 61">
                    <a:extLst>
                      <a:ext uri="{FF2B5EF4-FFF2-40B4-BE49-F238E27FC236}">
                        <a16:creationId xmlns:a16="http://schemas.microsoft.com/office/drawing/2014/main" id="{14E2119B-D411-473F-B124-E95F2825C42E}"/>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3" name="Oval 752">
                    <a:extLst>
                      <a:ext uri="{FF2B5EF4-FFF2-40B4-BE49-F238E27FC236}">
                        <a16:creationId xmlns:a16="http://schemas.microsoft.com/office/drawing/2014/main" id="{2A157101-9BB2-4F2F-8DE7-C5B0756DF3B0}"/>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4" name="Freeform 63">
                    <a:extLst>
                      <a:ext uri="{FF2B5EF4-FFF2-40B4-BE49-F238E27FC236}">
                        <a16:creationId xmlns:a16="http://schemas.microsoft.com/office/drawing/2014/main" id="{6D441EFE-4038-49E9-85F1-F7D2583BD944}"/>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5" name="Rectangle 754">
                    <a:extLst>
                      <a:ext uri="{FF2B5EF4-FFF2-40B4-BE49-F238E27FC236}">
                        <a16:creationId xmlns:a16="http://schemas.microsoft.com/office/drawing/2014/main" id="{2AF5161B-E0A8-492C-9570-CA7E669B4C4F}"/>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6" name="Freeform 65">
                    <a:extLst>
                      <a:ext uri="{FF2B5EF4-FFF2-40B4-BE49-F238E27FC236}">
                        <a16:creationId xmlns:a16="http://schemas.microsoft.com/office/drawing/2014/main" id="{B5620791-CA7C-48A2-93D4-01D3537E1B24}"/>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7" name="Freeform 66">
                    <a:extLst>
                      <a:ext uri="{FF2B5EF4-FFF2-40B4-BE49-F238E27FC236}">
                        <a16:creationId xmlns:a16="http://schemas.microsoft.com/office/drawing/2014/main" id="{C11BED56-B063-406C-B3D3-37BE62BAD64B}"/>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8" name="Rectangle 757">
                    <a:extLst>
                      <a:ext uri="{FF2B5EF4-FFF2-40B4-BE49-F238E27FC236}">
                        <a16:creationId xmlns:a16="http://schemas.microsoft.com/office/drawing/2014/main" id="{3FAC7BD3-6C32-41A7-8FDE-C18E69666E53}"/>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9" name="Freeform 68">
                    <a:extLst>
                      <a:ext uri="{FF2B5EF4-FFF2-40B4-BE49-F238E27FC236}">
                        <a16:creationId xmlns:a16="http://schemas.microsoft.com/office/drawing/2014/main" id="{617CFFE5-524A-48B7-89EE-9355BA0C771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0" name="Freeform 69">
                    <a:extLst>
                      <a:ext uri="{FF2B5EF4-FFF2-40B4-BE49-F238E27FC236}">
                        <a16:creationId xmlns:a16="http://schemas.microsoft.com/office/drawing/2014/main" id="{E182E8E1-ACE4-4415-8286-E1D01149901E}"/>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1" name="Freeform 70">
                    <a:extLst>
                      <a:ext uri="{FF2B5EF4-FFF2-40B4-BE49-F238E27FC236}">
                        <a16:creationId xmlns:a16="http://schemas.microsoft.com/office/drawing/2014/main" id="{B575CB74-72D3-479C-99C8-5A448F34B196}"/>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2" name="Freeform 71">
                    <a:extLst>
                      <a:ext uri="{FF2B5EF4-FFF2-40B4-BE49-F238E27FC236}">
                        <a16:creationId xmlns:a16="http://schemas.microsoft.com/office/drawing/2014/main" id="{E3D831A5-8165-4037-8BF2-71EC5D150EE2}"/>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3" name="Freeform 72">
                    <a:extLst>
                      <a:ext uri="{FF2B5EF4-FFF2-40B4-BE49-F238E27FC236}">
                        <a16:creationId xmlns:a16="http://schemas.microsoft.com/office/drawing/2014/main" id="{B5AD106B-1824-4389-A3AE-6C9BEA28257B}"/>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4" name="Freeform 73">
                    <a:extLst>
                      <a:ext uri="{FF2B5EF4-FFF2-40B4-BE49-F238E27FC236}">
                        <a16:creationId xmlns:a16="http://schemas.microsoft.com/office/drawing/2014/main" id="{AE0DC384-8BFE-41D3-A2B9-12ED25AC1A5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5" name="Freeform 74">
                    <a:extLst>
                      <a:ext uri="{FF2B5EF4-FFF2-40B4-BE49-F238E27FC236}">
                        <a16:creationId xmlns:a16="http://schemas.microsoft.com/office/drawing/2014/main" id="{1978E76F-186F-413A-BF73-B0211157082F}"/>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6" name="Rectangle 765">
                    <a:extLst>
                      <a:ext uri="{FF2B5EF4-FFF2-40B4-BE49-F238E27FC236}">
                        <a16:creationId xmlns:a16="http://schemas.microsoft.com/office/drawing/2014/main" id="{032694AF-0A17-4634-A7FB-7BECD043A748}"/>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7" name="Rectangle 766">
                    <a:extLst>
                      <a:ext uri="{FF2B5EF4-FFF2-40B4-BE49-F238E27FC236}">
                        <a16:creationId xmlns:a16="http://schemas.microsoft.com/office/drawing/2014/main" id="{E7672901-4195-45C5-8B07-82C892514E05}"/>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726" name="Rectangle 725">
                <a:extLst>
                  <a:ext uri="{FF2B5EF4-FFF2-40B4-BE49-F238E27FC236}">
                    <a16:creationId xmlns:a16="http://schemas.microsoft.com/office/drawing/2014/main" id="{F75A117E-07E7-40EE-872A-25CDDE125A39}"/>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23" name="Rectangle 422">
            <a:extLst>
              <a:ext uri="{FF2B5EF4-FFF2-40B4-BE49-F238E27FC236}">
                <a16:creationId xmlns:a16="http://schemas.microsoft.com/office/drawing/2014/main" id="{49E761E2-C7A8-43C5-AF6A-BEA0791FA8DB}"/>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424" name="TextBox 423">
            <a:extLst>
              <a:ext uri="{FF2B5EF4-FFF2-40B4-BE49-F238E27FC236}">
                <a16:creationId xmlns:a16="http://schemas.microsoft.com/office/drawing/2014/main" id="{7A73BB9E-CE35-42DE-9E60-A905221C222A}"/>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425" name="TextBox 424">
            <a:extLst>
              <a:ext uri="{FF2B5EF4-FFF2-40B4-BE49-F238E27FC236}">
                <a16:creationId xmlns:a16="http://schemas.microsoft.com/office/drawing/2014/main" id="{DFD8C717-D604-46DE-A1BD-993FB78B78C4}"/>
              </a:ext>
            </a:extLst>
          </p:cNvPr>
          <p:cNvSpPr txBox="1"/>
          <p:nvPr/>
        </p:nvSpPr>
        <p:spPr>
          <a:xfrm>
            <a:off x="651493" y="2413187"/>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solidFill>
                <a:schemeClr val="tx1"/>
              </a:solidFill>
            </a:endParaRPr>
          </a:p>
        </p:txBody>
      </p:sp>
      <p:sp>
        <p:nvSpPr>
          <p:cNvPr id="426" name="TextBox 425">
            <a:extLst>
              <a:ext uri="{FF2B5EF4-FFF2-40B4-BE49-F238E27FC236}">
                <a16:creationId xmlns:a16="http://schemas.microsoft.com/office/drawing/2014/main" id="{C390E12C-BB09-4CD8-B4AA-89AAC618AD2A}"/>
              </a:ext>
            </a:extLst>
          </p:cNvPr>
          <p:cNvSpPr txBox="1"/>
          <p:nvPr/>
        </p:nvSpPr>
        <p:spPr>
          <a:xfrm>
            <a:off x="8302300" y="2429311"/>
            <a:ext cx="3304484"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400" fontAlgn="auto">
              <a:spcBef>
                <a:spcPts val="1200"/>
              </a:spcBef>
              <a:spcAft>
                <a:spcPts val="600"/>
              </a:spcAft>
            </a:pPr>
            <a:r>
              <a:rPr lang="en-US" altLang="zh-CN" sz="1600" b="1" i="1" dirty="0">
                <a:solidFill>
                  <a:schemeClr val="tx2"/>
                </a:solidFill>
              </a:rPr>
              <a:t>Granular, role-based access control allows the admin to apply the “principle of least privilege”</a:t>
            </a:r>
          </a:p>
        </p:txBody>
      </p:sp>
      <p:sp>
        <p:nvSpPr>
          <p:cNvPr id="427" name="TextBox 426">
            <a:extLst>
              <a:ext uri="{FF2B5EF4-FFF2-40B4-BE49-F238E27FC236}">
                <a16:creationId xmlns:a16="http://schemas.microsoft.com/office/drawing/2014/main" id="{76FD8814-848C-41A2-A655-760B6139A5D8}"/>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400" b="1" dirty="0">
                <a:solidFill>
                  <a:schemeClr val="bg1"/>
                </a:solidFill>
              </a:rPr>
              <a:t>Security Benefit</a:t>
            </a:r>
          </a:p>
        </p:txBody>
      </p:sp>
      <p:sp>
        <p:nvSpPr>
          <p:cNvPr id="428" name="TextBox 427">
            <a:extLst>
              <a:ext uri="{FF2B5EF4-FFF2-40B4-BE49-F238E27FC236}">
                <a16:creationId xmlns:a16="http://schemas.microsoft.com/office/drawing/2014/main" id="{0C8BC7D4-9CC1-4373-8D6C-4E39613BD5B4}"/>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1400" b="1" dirty="0">
                <a:solidFill>
                  <a:schemeClr val="bg1"/>
                </a:solidFill>
              </a:rPr>
              <a:t>On-prem Virtualization</a:t>
            </a:r>
          </a:p>
        </p:txBody>
      </p:sp>
      <p:sp>
        <p:nvSpPr>
          <p:cNvPr id="429" name="TextBox 428">
            <a:extLst>
              <a:ext uri="{FF2B5EF4-FFF2-40B4-BE49-F238E27FC236}">
                <a16:creationId xmlns:a16="http://schemas.microsoft.com/office/drawing/2014/main" id="{B05205F5-48DE-42DF-9BF2-AC13B39D2D9F}"/>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400" b="1" dirty="0">
                <a:solidFill>
                  <a:schemeClr val="bg1"/>
                </a:solidFill>
              </a:rPr>
              <a:t>WVD</a:t>
            </a:r>
          </a:p>
        </p:txBody>
      </p:sp>
      <p:grpSp>
        <p:nvGrpSpPr>
          <p:cNvPr id="430" name="Group 429">
            <a:extLst>
              <a:ext uri="{FF2B5EF4-FFF2-40B4-BE49-F238E27FC236}">
                <a16:creationId xmlns:a16="http://schemas.microsoft.com/office/drawing/2014/main" id="{C0253AC2-0763-49D1-AA24-444FBB655167}"/>
              </a:ext>
            </a:extLst>
          </p:cNvPr>
          <p:cNvGrpSpPr/>
          <p:nvPr/>
        </p:nvGrpSpPr>
        <p:grpSpPr>
          <a:xfrm>
            <a:off x="4048759" y="2418080"/>
            <a:ext cx="401322" cy="3769360"/>
            <a:chOff x="4048759" y="2638004"/>
            <a:chExt cx="401322" cy="3769360"/>
          </a:xfrm>
        </p:grpSpPr>
        <p:cxnSp>
          <p:nvCxnSpPr>
            <p:cNvPr id="431" name="Straight Connector 430">
              <a:extLst>
                <a:ext uri="{FF2B5EF4-FFF2-40B4-BE49-F238E27FC236}">
                  <a16:creationId xmlns:a16="http://schemas.microsoft.com/office/drawing/2014/main" id="{3822C94F-5796-49CC-9D17-06CC4D6DC3FA}"/>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32" name="Group 431">
              <a:extLst>
                <a:ext uri="{FF2B5EF4-FFF2-40B4-BE49-F238E27FC236}">
                  <a16:creationId xmlns:a16="http://schemas.microsoft.com/office/drawing/2014/main" id="{851BADDD-89D8-46C9-B89F-A2DABB1CB26B}"/>
                </a:ext>
              </a:extLst>
            </p:cNvPr>
            <p:cNvGrpSpPr/>
            <p:nvPr/>
          </p:nvGrpSpPr>
          <p:grpSpPr>
            <a:xfrm>
              <a:off x="4048759" y="4322023"/>
              <a:ext cx="401322" cy="401322"/>
              <a:chOff x="4048759" y="4299946"/>
              <a:chExt cx="401322" cy="401322"/>
            </a:xfrm>
          </p:grpSpPr>
          <p:sp>
            <p:nvSpPr>
              <p:cNvPr id="433" name="Oval 432">
                <a:extLst>
                  <a:ext uri="{FF2B5EF4-FFF2-40B4-BE49-F238E27FC236}">
                    <a16:creationId xmlns:a16="http://schemas.microsoft.com/office/drawing/2014/main" id="{483DD705-FD4A-45BA-BA70-19DE1AAC39E5}"/>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34" name="Isosceles Triangle 433">
                <a:extLst>
                  <a:ext uri="{FF2B5EF4-FFF2-40B4-BE49-F238E27FC236}">
                    <a16:creationId xmlns:a16="http://schemas.microsoft.com/office/drawing/2014/main" id="{F3EB241E-CC96-4EE7-BD13-9F4EFA2C6879}"/>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408" name="Rectangle: Rounded Corners 48">
            <a:extLst>
              <a:ext uri="{FF2B5EF4-FFF2-40B4-BE49-F238E27FC236}">
                <a16:creationId xmlns:a16="http://schemas.microsoft.com/office/drawing/2014/main" id="{6E3E5DFE-675C-4997-8F2B-5B1063E9A339}"/>
              </a:ext>
            </a:extLst>
          </p:cNvPr>
          <p:cNvSpPr/>
          <p:nvPr/>
        </p:nvSpPr>
        <p:spPr bwMode="auto">
          <a:xfrm rot="5400000">
            <a:off x="2084421" y="3643527"/>
            <a:ext cx="440712" cy="2163834"/>
          </a:xfrm>
          <a:prstGeom prst="leftBracket">
            <a:avLst>
              <a:gd name="adj" fmla="val 55450"/>
            </a:avLst>
          </a:prstGeom>
          <a:ln w="9525">
            <a:solidFill>
              <a:schemeClr val="tx1">
                <a:lumMod val="75000"/>
                <a:lumOff val="25000"/>
              </a:schemeClr>
            </a:solidFill>
            <a:prstDash val="dash"/>
            <a:headEnd type="triangle" w="med" len="med"/>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A81DF03D-C530-4810-A1E7-D708580CAA29}"/>
              </a:ext>
            </a:extLst>
          </p:cNvPr>
          <p:cNvSpPr txBox="1"/>
          <p:nvPr/>
        </p:nvSpPr>
        <p:spPr>
          <a:xfrm>
            <a:off x="935097" y="5880221"/>
            <a:ext cx="2747449" cy="184666"/>
          </a:xfrm>
          <a:prstGeom prst="rect">
            <a:avLst/>
          </a:prstGeom>
          <a:noFill/>
        </p:spPr>
        <p:txBody>
          <a:bodyPr wrap="square" lIns="0" tIns="0" rIns="0" bIns="0" rtlCol="0">
            <a:spAutoFit/>
          </a:bodyPr>
          <a:lstStyle/>
          <a:p>
            <a:pPr algn="l"/>
            <a:r>
              <a:rPr lang="en-US" sz="1200" dirty="0"/>
              <a:t>Each admin must have full admin rights</a:t>
            </a:r>
          </a:p>
        </p:txBody>
      </p:sp>
      <p:sp>
        <p:nvSpPr>
          <p:cNvPr id="681" name="TextBox 680">
            <a:extLst>
              <a:ext uri="{FF2B5EF4-FFF2-40B4-BE49-F238E27FC236}">
                <a16:creationId xmlns:a16="http://schemas.microsoft.com/office/drawing/2014/main" id="{5E210432-A6AB-44BD-83B8-89C750E6F187}"/>
              </a:ext>
            </a:extLst>
          </p:cNvPr>
          <p:cNvSpPr txBox="1"/>
          <p:nvPr/>
        </p:nvSpPr>
        <p:spPr>
          <a:xfrm>
            <a:off x="4610502" y="5880221"/>
            <a:ext cx="3212297" cy="184666"/>
          </a:xfrm>
          <a:prstGeom prst="rect">
            <a:avLst/>
          </a:prstGeom>
          <a:noFill/>
        </p:spPr>
        <p:txBody>
          <a:bodyPr wrap="square" lIns="0" tIns="0" rIns="0" bIns="0" rtlCol="0">
            <a:spAutoFit/>
          </a:bodyPr>
          <a:lstStyle/>
          <a:p>
            <a:pPr algn="ctr"/>
            <a:r>
              <a:rPr lang="en-US" sz="1200" dirty="0"/>
              <a:t>Each admin can have role-based admin rights</a:t>
            </a:r>
          </a:p>
        </p:txBody>
      </p:sp>
      <p:sp>
        <p:nvSpPr>
          <p:cNvPr id="678" name="TextBox 677">
            <a:extLst>
              <a:ext uri="{FF2B5EF4-FFF2-40B4-BE49-F238E27FC236}">
                <a16:creationId xmlns:a16="http://schemas.microsoft.com/office/drawing/2014/main" id="{9FDF0AF9-C706-4CFB-9963-141CB929AA21}"/>
              </a:ext>
            </a:extLst>
          </p:cNvPr>
          <p:cNvSpPr txBox="1"/>
          <p:nvPr/>
        </p:nvSpPr>
        <p:spPr>
          <a:xfrm>
            <a:off x="705647" y="2945858"/>
            <a:ext cx="3197836" cy="1047022"/>
          </a:xfrm>
          <a:prstGeom prst="rect">
            <a:avLst/>
          </a:prstGeom>
          <a:solidFill>
            <a:schemeClr val="bg1">
              <a:lumMod val="85000"/>
            </a:schemeClr>
          </a:solidFill>
          <a:ln w="6350">
            <a:solidFill>
              <a:schemeClr val="bg1">
                <a:lumMod val="85000"/>
              </a:schemeClr>
            </a:solidFill>
          </a:ln>
        </p:spPr>
        <p:txBody>
          <a:bodyPr wrap="square" lIns="0" tIns="91440" rIns="0" bIns="0" rtlCol="0" anchor="t">
            <a:noAutofit/>
          </a:bodyPr>
          <a:lstStyle>
            <a:defPPr>
              <a:defRPr lang="en-US"/>
            </a:defPPr>
            <a:lvl1pPr algn="ctr">
              <a:defRPr sz="1200"/>
            </a:lvl1pPr>
          </a:lstStyle>
          <a:p>
            <a:pPr>
              <a:lnSpc>
                <a:spcPct val="90000"/>
              </a:lnSpc>
            </a:pPr>
            <a:r>
              <a:rPr lang="en-US" sz="1400" dirty="0"/>
              <a:t>Security Admin</a:t>
            </a:r>
          </a:p>
        </p:txBody>
      </p:sp>
      <p:grpSp>
        <p:nvGrpSpPr>
          <p:cNvPr id="572" name="Group 595">
            <a:extLst>
              <a:ext uri="{FF2B5EF4-FFF2-40B4-BE49-F238E27FC236}">
                <a16:creationId xmlns:a16="http://schemas.microsoft.com/office/drawing/2014/main" id="{CC0A2EE1-8BB7-4DE4-A9ED-A622BB78690F}"/>
              </a:ext>
            </a:extLst>
          </p:cNvPr>
          <p:cNvGrpSpPr>
            <a:grpSpLocks noChangeAspect="1"/>
          </p:cNvGrpSpPr>
          <p:nvPr/>
        </p:nvGrpSpPr>
        <p:grpSpPr bwMode="auto">
          <a:xfrm>
            <a:off x="2050209" y="3395364"/>
            <a:ext cx="509496" cy="509136"/>
            <a:chOff x="2499" y="790"/>
            <a:chExt cx="2832" cy="2830"/>
          </a:xfrm>
        </p:grpSpPr>
        <p:sp>
          <p:nvSpPr>
            <p:cNvPr id="573" name="Oval 596">
              <a:extLst>
                <a:ext uri="{FF2B5EF4-FFF2-40B4-BE49-F238E27FC236}">
                  <a16:creationId xmlns:a16="http://schemas.microsoft.com/office/drawing/2014/main" id="{5AB13160-C0C4-4107-B528-05C4D158E6D4}"/>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4" name="Freeform 597">
              <a:extLst>
                <a:ext uri="{FF2B5EF4-FFF2-40B4-BE49-F238E27FC236}">
                  <a16:creationId xmlns:a16="http://schemas.microsoft.com/office/drawing/2014/main" id="{BF1B85FF-CA9B-4999-B387-B8483BC95E26}"/>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5" name="Freeform 598">
              <a:extLst>
                <a:ext uri="{FF2B5EF4-FFF2-40B4-BE49-F238E27FC236}">
                  <a16:creationId xmlns:a16="http://schemas.microsoft.com/office/drawing/2014/main" id="{25C62BB1-F630-4D3A-9AB6-A2E3C8BE9359}"/>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6" name="Freeform 599">
              <a:extLst>
                <a:ext uri="{FF2B5EF4-FFF2-40B4-BE49-F238E27FC236}">
                  <a16:creationId xmlns:a16="http://schemas.microsoft.com/office/drawing/2014/main" id="{E78E7E34-D06B-4018-9252-7FAD2017692A}"/>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7" name="Freeform 600">
              <a:extLst>
                <a:ext uri="{FF2B5EF4-FFF2-40B4-BE49-F238E27FC236}">
                  <a16:creationId xmlns:a16="http://schemas.microsoft.com/office/drawing/2014/main" id="{0900A326-E8F4-48FB-97F8-CC92A272B159}"/>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8" name="Freeform 601">
              <a:extLst>
                <a:ext uri="{FF2B5EF4-FFF2-40B4-BE49-F238E27FC236}">
                  <a16:creationId xmlns:a16="http://schemas.microsoft.com/office/drawing/2014/main" id="{A1D2F270-165F-4D70-B73A-3D918CA0546F}"/>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9" name="Freeform 602">
              <a:extLst>
                <a:ext uri="{FF2B5EF4-FFF2-40B4-BE49-F238E27FC236}">
                  <a16:creationId xmlns:a16="http://schemas.microsoft.com/office/drawing/2014/main" id="{7F2779D9-7AEE-473C-8111-4D5881F5B625}"/>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0" name="Freeform 603">
              <a:extLst>
                <a:ext uri="{FF2B5EF4-FFF2-40B4-BE49-F238E27FC236}">
                  <a16:creationId xmlns:a16="http://schemas.microsoft.com/office/drawing/2014/main" id="{78213C2F-4F60-4211-8166-EB77F912BF51}"/>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1" name="Freeform 604">
              <a:extLst>
                <a:ext uri="{FF2B5EF4-FFF2-40B4-BE49-F238E27FC236}">
                  <a16:creationId xmlns:a16="http://schemas.microsoft.com/office/drawing/2014/main" id="{37335A11-3D07-42A4-AB2F-6D5A1BF66969}"/>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2" name="Freeform 605">
              <a:extLst>
                <a:ext uri="{FF2B5EF4-FFF2-40B4-BE49-F238E27FC236}">
                  <a16:creationId xmlns:a16="http://schemas.microsoft.com/office/drawing/2014/main" id="{51466D1E-AE4D-4237-9A95-385E9F7D07F5}"/>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3" name="Freeform 606">
              <a:extLst>
                <a:ext uri="{FF2B5EF4-FFF2-40B4-BE49-F238E27FC236}">
                  <a16:creationId xmlns:a16="http://schemas.microsoft.com/office/drawing/2014/main" id="{73D3552F-7DD2-42E5-9887-A00C6A0CFD03}"/>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4" name="Freeform 607">
              <a:extLst>
                <a:ext uri="{FF2B5EF4-FFF2-40B4-BE49-F238E27FC236}">
                  <a16:creationId xmlns:a16="http://schemas.microsoft.com/office/drawing/2014/main" id="{8C8291CD-26E8-420D-AAAD-8225C2B32559}"/>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5" name="Oval 608">
              <a:extLst>
                <a:ext uri="{FF2B5EF4-FFF2-40B4-BE49-F238E27FC236}">
                  <a16:creationId xmlns:a16="http://schemas.microsoft.com/office/drawing/2014/main" id="{D8E65995-240D-466E-94BC-F1F741042AA5}"/>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6" name="Freeform 609">
              <a:extLst>
                <a:ext uri="{FF2B5EF4-FFF2-40B4-BE49-F238E27FC236}">
                  <a16:creationId xmlns:a16="http://schemas.microsoft.com/office/drawing/2014/main" id="{3B319A81-DD02-4888-8A43-FD95AE2B9DA4}"/>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7" name="Freeform 610">
              <a:extLst>
                <a:ext uri="{FF2B5EF4-FFF2-40B4-BE49-F238E27FC236}">
                  <a16:creationId xmlns:a16="http://schemas.microsoft.com/office/drawing/2014/main" id="{AB94BB93-C816-4249-9575-669C4D3CA5CB}"/>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8" name="Freeform 611">
              <a:extLst>
                <a:ext uri="{FF2B5EF4-FFF2-40B4-BE49-F238E27FC236}">
                  <a16:creationId xmlns:a16="http://schemas.microsoft.com/office/drawing/2014/main" id="{DCABB95F-BC29-4E0B-94B6-FB61D5C624CA}"/>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9" name="Freeform 612">
              <a:extLst>
                <a:ext uri="{FF2B5EF4-FFF2-40B4-BE49-F238E27FC236}">
                  <a16:creationId xmlns:a16="http://schemas.microsoft.com/office/drawing/2014/main" id="{78C99AAC-27B5-4A52-B86D-FD0636CF4C8B}"/>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0" name="Freeform 613">
              <a:extLst>
                <a:ext uri="{FF2B5EF4-FFF2-40B4-BE49-F238E27FC236}">
                  <a16:creationId xmlns:a16="http://schemas.microsoft.com/office/drawing/2014/main" id="{B3C64B69-27C4-43AE-A58B-7B9175A93098}"/>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1" name="Freeform 614">
              <a:extLst>
                <a:ext uri="{FF2B5EF4-FFF2-40B4-BE49-F238E27FC236}">
                  <a16:creationId xmlns:a16="http://schemas.microsoft.com/office/drawing/2014/main" id="{B9767439-8C98-41B3-A31B-300AA7A1A527}"/>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41" name="Group 940">
            <a:extLst>
              <a:ext uri="{FF2B5EF4-FFF2-40B4-BE49-F238E27FC236}">
                <a16:creationId xmlns:a16="http://schemas.microsoft.com/office/drawing/2014/main" id="{0A3F334C-2CE0-4E7F-90DB-D607BFCB5E5E}"/>
              </a:ext>
            </a:extLst>
          </p:cNvPr>
          <p:cNvGrpSpPr/>
          <p:nvPr/>
        </p:nvGrpSpPr>
        <p:grpSpPr>
          <a:xfrm>
            <a:off x="5973177" y="4947480"/>
            <a:ext cx="441250" cy="440712"/>
            <a:chOff x="5291445" y="3546475"/>
            <a:chExt cx="1303338" cy="1301750"/>
          </a:xfrm>
        </p:grpSpPr>
        <p:sp>
          <p:nvSpPr>
            <p:cNvPr id="942" name="Oval 941">
              <a:extLst>
                <a:ext uri="{FF2B5EF4-FFF2-40B4-BE49-F238E27FC236}">
                  <a16:creationId xmlns:a16="http://schemas.microsoft.com/office/drawing/2014/main" id="{7A156504-A9F8-4622-B4CA-3B89BD27215F}"/>
                </a:ext>
              </a:extLst>
            </p:cNvPr>
            <p:cNvSpPr>
              <a:spLocks noChangeArrowheads="1"/>
            </p:cNvSpPr>
            <p:nvPr/>
          </p:nvSpPr>
          <p:spPr bwMode="auto">
            <a:xfrm>
              <a:off x="5291445"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943" name="Group 942">
              <a:extLst>
                <a:ext uri="{FF2B5EF4-FFF2-40B4-BE49-F238E27FC236}">
                  <a16:creationId xmlns:a16="http://schemas.microsoft.com/office/drawing/2014/main" id="{7219A4EF-C7FA-44FE-86BF-E019CF801206}"/>
                </a:ext>
              </a:extLst>
            </p:cNvPr>
            <p:cNvGrpSpPr/>
            <p:nvPr/>
          </p:nvGrpSpPr>
          <p:grpSpPr>
            <a:xfrm>
              <a:off x="5539413" y="3798888"/>
              <a:ext cx="807401" cy="701675"/>
              <a:chOff x="5664200" y="1119188"/>
              <a:chExt cx="3103563" cy="2697162"/>
            </a:xfrm>
          </p:grpSpPr>
          <p:sp>
            <p:nvSpPr>
              <p:cNvPr id="944" name="Freeform 13">
                <a:extLst>
                  <a:ext uri="{FF2B5EF4-FFF2-40B4-BE49-F238E27FC236}">
                    <a16:creationId xmlns:a16="http://schemas.microsoft.com/office/drawing/2014/main" id="{8F3EC6C3-1AA8-45E4-A1E7-F3B1669A42E3}"/>
                  </a:ext>
                </a:extLst>
              </p:cNvPr>
              <p:cNvSpPr>
                <a:spLocks/>
              </p:cNvSpPr>
              <p:nvPr/>
            </p:nvSpPr>
            <p:spPr bwMode="auto">
              <a:xfrm>
                <a:off x="5664200" y="1119188"/>
                <a:ext cx="2058988" cy="2670175"/>
              </a:xfrm>
              <a:custGeom>
                <a:avLst/>
                <a:gdLst>
                  <a:gd name="T0" fmla="*/ 1297 w 1297"/>
                  <a:gd name="T1" fmla="*/ 1682 h 1682"/>
                  <a:gd name="T2" fmla="*/ 0 w 1297"/>
                  <a:gd name="T3" fmla="*/ 1682 h 1682"/>
                  <a:gd name="T4" fmla="*/ 0 w 1297"/>
                  <a:gd name="T5" fmla="*/ 384 h 1682"/>
                  <a:gd name="T6" fmla="*/ 410 w 1297"/>
                  <a:gd name="T7" fmla="*/ 0 h 1682"/>
                  <a:gd name="T8" fmla="*/ 1297 w 1297"/>
                  <a:gd name="T9" fmla="*/ 0 h 1682"/>
                  <a:gd name="T10" fmla="*/ 1297 w 1297"/>
                  <a:gd name="T11" fmla="*/ 1682 h 1682"/>
                </a:gdLst>
                <a:ahLst/>
                <a:cxnLst>
                  <a:cxn ang="0">
                    <a:pos x="T0" y="T1"/>
                  </a:cxn>
                  <a:cxn ang="0">
                    <a:pos x="T2" y="T3"/>
                  </a:cxn>
                  <a:cxn ang="0">
                    <a:pos x="T4" y="T5"/>
                  </a:cxn>
                  <a:cxn ang="0">
                    <a:pos x="T6" y="T7"/>
                  </a:cxn>
                  <a:cxn ang="0">
                    <a:pos x="T8" y="T9"/>
                  </a:cxn>
                  <a:cxn ang="0">
                    <a:pos x="T10" y="T11"/>
                  </a:cxn>
                </a:cxnLst>
                <a:rect l="0" t="0" r="r" b="b"/>
                <a:pathLst>
                  <a:path w="1297" h="1682">
                    <a:moveTo>
                      <a:pt x="1297" y="1682"/>
                    </a:moveTo>
                    <a:lnTo>
                      <a:pt x="0" y="1682"/>
                    </a:lnTo>
                    <a:lnTo>
                      <a:pt x="0" y="384"/>
                    </a:lnTo>
                    <a:lnTo>
                      <a:pt x="410" y="0"/>
                    </a:lnTo>
                    <a:lnTo>
                      <a:pt x="1297" y="0"/>
                    </a:lnTo>
                    <a:lnTo>
                      <a:pt x="1297" y="16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5" name="Freeform 14">
                <a:extLst>
                  <a:ext uri="{FF2B5EF4-FFF2-40B4-BE49-F238E27FC236}">
                    <a16:creationId xmlns:a16="http://schemas.microsoft.com/office/drawing/2014/main" id="{266E050B-8C3F-4901-93C2-811EEC2B542F}"/>
                  </a:ext>
                </a:extLst>
              </p:cNvPr>
              <p:cNvSpPr>
                <a:spLocks/>
              </p:cNvSpPr>
              <p:nvPr/>
            </p:nvSpPr>
            <p:spPr bwMode="auto">
              <a:xfrm>
                <a:off x="5664200" y="1119188"/>
                <a:ext cx="650875" cy="609600"/>
              </a:xfrm>
              <a:custGeom>
                <a:avLst/>
                <a:gdLst>
                  <a:gd name="T0" fmla="*/ 410 w 410"/>
                  <a:gd name="T1" fmla="*/ 384 h 384"/>
                  <a:gd name="T2" fmla="*/ 0 w 410"/>
                  <a:gd name="T3" fmla="*/ 384 h 384"/>
                  <a:gd name="T4" fmla="*/ 410 w 410"/>
                  <a:gd name="T5" fmla="*/ 0 h 384"/>
                  <a:gd name="T6" fmla="*/ 410 w 410"/>
                  <a:gd name="T7" fmla="*/ 384 h 384"/>
                </a:gdLst>
                <a:ahLst/>
                <a:cxnLst>
                  <a:cxn ang="0">
                    <a:pos x="T0" y="T1"/>
                  </a:cxn>
                  <a:cxn ang="0">
                    <a:pos x="T2" y="T3"/>
                  </a:cxn>
                  <a:cxn ang="0">
                    <a:pos x="T4" y="T5"/>
                  </a:cxn>
                  <a:cxn ang="0">
                    <a:pos x="T6" y="T7"/>
                  </a:cxn>
                </a:cxnLst>
                <a:rect l="0" t="0" r="r" b="b"/>
                <a:pathLst>
                  <a:path w="410" h="384">
                    <a:moveTo>
                      <a:pt x="410" y="384"/>
                    </a:moveTo>
                    <a:lnTo>
                      <a:pt x="0" y="384"/>
                    </a:lnTo>
                    <a:lnTo>
                      <a:pt x="410" y="0"/>
                    </a:lnTo>
                    <a:lnTo>
                      <a:pt x="410" y="38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6" name="Rectangle 15">
                <a:extLst>
                  <a:ext uri="{FF2B5EF4-FFF2-40B4-BE49-F238E27FC236}">
                    <a16:creationId xmlns:a16="http://schemas.microsoft.com/office/drawing/2014/main" id="{1C370DA4-E782-44A9-B45C-D73B301C626A}"/>
                  </a:ext>
                </a:extLst>
              </p:cNvPr>
              <p:cNvSpPr>
                <a:spLocks noChangeArrowheads="1"/>
              </p:cNvSpPr>
              <p:nvPr/>
            </p:nvSpPr>
            <p:spPr bwMode="auto">
              <a:xfrm>
                <a:off x="5948363" y="1987550"/>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7" name="Rectangle 16">
                <a:extLst>
                  <a:ext uri="{FF2B5EF4-FFF2-40B4-BE49-F238E27FC236}">
                    <a16:creationId xmlns:a16="http://schemas.microsoft.com/office/drawing/2014/main" id="{2C03FE32-64BD-412A-8F80-44B9E9AA2954}"/>
                  </a:ext>
                </a:extLst>
              </p:cNvPr>
              <p:cNvSpPr>
                <a:spLocks noChangeArrowheads="1"/>
              </p:cNvSpPr>
              <p:nvPr/>
            </p:nvSpPr>
            <p:spPr bwMode="auto">
              <a:xfrm>
                <a:off x="5948363" y="2244725"/>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8" name="Rectangle 17">
                <a:extLst>
                  <a:ext uri="{FF2B5EF4-FFF2-40B4-BE49-F238E27FC236}">
                    <a16:creationId xmlns:a16="http://schemas.microsoft.com/office/drawing/2014/main" id="{701720E2-5F48-4AF7-8DCA-9B413B57DFC6}"/>
                  </a:ext>
                </a:extLst>
              </p:cNvPr>
              <p:cNvSpPr>
                <a:spLocks noChangeArrowheads="1"/>
              </p:cNvSpPr>
              <p:nvPr/>
            </p:nvSpPr>
            <p:spPr bwMode="auto">
              <a:xfrm>
                <a:off x="5948363" y="2516188"/>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9" name="Rectangle 18">
                <a:extLst>
                  <a:ext uri="{FF2B5EF4-FFF2-40B4-BE49-F238E27FC236}">
                    <a16:creationId xmlns:a16="http://schemas.microsoft.com/office/drawing/2014/main" id="{CE263B4D-914B-4D5B-B1C9-FA30A78A2DC3}"/>
                  </a:ext>
                </a:extLst>
              </p:cNvPr>
              <p:cNvSpPr>
                <a:spLocks noChangeArrowheads="1"/>
              </p:cNvSpPr>
              <p:nvPr/>
            </p:nvSpPr>
            <p:spPr bwMode="auto">
              <a:xfrm>
                <a:off x="5948363" y="2773363"/>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0" name="Rectangle 19">
                <a:extLst>
                  <a:ext uri="{FF2B5EF4-FFF2-40B4-BE49-F238E27FC236}">
                    <a16:creationId xmlns:a16="http://schemas.microsoft.com/office/drawing/2014/main" id="{A615EF7B-A1D4-4550-B48C-E43ECA35CCD7}"/>
                  </a:ext>
                </a:extLst>
              </p:cNvPr>
              <p:cNvSpPr>
                <a:spLocks noChangeArrowheads="1"/>
              </p:cNvSpPr>
              <p:nvPr/>
            </p:nvSpPr>
            <p:spPr bwMode="auto">
              <a:xfrm>
                <a:off x="5948363" y="3030538"/>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1" name="Freeform 20">
                <a:extLst>
                  <a:ext uri="{FF2B5EF4-FFF2-40B4-BE49-F238E27FC236}">
                    <a16:creationId xmlns:a16="http://schemas.microsoft.com/office/drawing/2014/main" id="{629B4FE2-2209-4D90-961B-A4E9BB7311B1}"/>
                  </a:ext>
                </a:extLst>
              </p:cNvPr>
              <p:cNvSpPr>
                <a:spLocks/>
              </p:cNvSpPr>
              <p:nvPr/>
            </p:nvSpPr>
            <p:spPr bwMode="auto">
              <a:xfrm>
                <a:off x="6572250" y="1620838"/>
                <a:ext cx="1449388" cy="1450975"/>
              </a:xfrm>
              <a:custGeom>
                <a:avLst/>
                <a:gdLst>
                  <a:gd name="T0" fmla="*/ 19 w 107"/>
                  <a:gd name="T1" fmla="*/ 88 h 107"/>
                  <a:gd name="T2" fmla="*/ 88 w 107"/>
                  <a:gd name="T3" fmla="*/ 88 h 107"/>
                  <a:gd name="T4" fmla="*/ 88 w 107"/>
                  <a:gd name="T5" fmla="*/ 19 h 107"/>
                  <a:gd name="T6" fmla="*/ 19 w 107"/>
                  <a:gd name="T7" fmla="*/ 19 h 107"/>
                  <a:gd name="T8" fmla="*/ 19 w 107"/>
                  <a:gd name="T9" fmla="*/ 88 h 107"/>
                </a:gdLst>
                <a:ahLst/>
                <a:cxnLst>
                  <a:cxn ang="0">
                    <a:pos x="T0" y="T1"/>
                  </a:cxn>
                  <a:cxn ang="0">
                    <a:pos x="T2" y="T3"/>
                  </a:cxn>
                  <a:cxn ang="0">
                    <a:pos x="T4" y="T5"/>
                  </a:cxn>
                  <a:cxn ang="0">
                    <a:pos x="T6" y="T7"/>
                  </a:cxn>
                  <a:cxn ang="0">
                    <a:pos x="T8" y="T9"/>
                  </a:cxn>
                </a:cxnLst>
                <a:rect l="0" t="0" r="r" b="b"/>
                <a:pathLst>
                  <a:path w="107" h="107">
                    <a:moveTo>
                      <a:pt x="19" y="88"/>
                    </a:moveTo>
                    <a:cubicBezTo>
                      <a:pt x="38" y="107"/>
                      <a:pt x="69" y="107"/>
                      <a:pt x="88" y="88"/>
                    </a:cubicBezTo>
                    <a:cubicBezTo>
                      <a:pt x="107" y="69"/>
                      <a:pt x="107" y="38"/>
                      <a:pt x="88" y="19"/>
                    </a:cubicBezTo>
                    <a:cubicBezTo>
                      <a:pt x="69" y="0"/>
                      <a:pt x="38" y="0"/>
                      <a:pt x="19" y="19"/>
                    </a:cubicBezTo>
                    <a:cubicBezTo>
                      <a:pt x="0" y="38"/>
                      <a:pt x="0" y="69"/>
                      <a:pt x="19" y="8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2" name="Freeform 21">
                <a:extLst>
                  <a:ext uri="{FF2B5EF4-FFF2-40B4-BE49-F238E27FC236}">
                    <a16:creationId xmlns:a16="http://schemas.microsoft.com/office/drawing/2014/main" id="{D6C0A593-6F29-4974-BD7E-000E4AE80D50}"/>
                  </a:ext>
                </a:extLst>
              </p:cNvPr>
              <p:cNvSpPr>
                <a:spLocks/>
              </p:cNvSpPr>
              <p:nvPr/>
            </p:nvSpPr>
            <p:spPr bwMode="auto">
              <a:xfrm>
                <a:off x="6694488" y="2624138"/>
                <a:ext cx="1084263" cy="203200"/>
              </a:xfrm>
              <a:custGeom>
                <a:avLst/>
                <a:gdLst>
                  <a:gd name="T0" fmla="*/ 80 w 80"/>
                  <a:gd name="T1" fmla="*/ 0 h 15"/>
                  <a:gd name="T2" fmla="*/ 0 w 80"/>
                  <a:gd name="T3" fmla="*/ 0 h 15"/>
                  <a:gd name="T4" fmla="*/ 10 w 80"/>
                  <a:gd name="T5" fmla="*/ 14 h 15"/>
                  <a:gd name="T6" fmla="*/ 11 w 80"/>
                  <a:gd name="T7" fmla="*/ 15 h 15"/>
                  <a:gd name="T8" fmla="*/ 79 w 80"/>
                  <a:gd name="T9" fmla="*/ 15 h 15"/>
                  <a:gd name="T10" fmla="*/ 79 w 80"/>
                  <a:gd name="T11" fmla="*/ 14 h 15"/>
                  <a:gd name="T12" fmla="*/ 80 w 80"/>
                  <a:gd name="T13" fmla="*/ 13 h 15"/>
                  <a:gd name="T14" fmla="*/ 80 w 80"/>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0"/>
                    </a:moveTo>
                    <a:cubicBezTo>
                      <a:pt x="0" y="0"/>
                      <a:pt x="0" y="0"/>
                      <a:pt x="0" y="0"/>
                    </a:cubicBezTo>
                    <a:cubicBezTo>
                      <a:pt x="3" y="5"/>
                      <a:pt x="6" y="10"/>
                      <a:pt x="10" y="14"/>
                    </a:cubicBezTo>
                    <a:cubicBezTo>
                      <a:pt x="10" y="14"/>
                      <a:pt x="11" y="14"/>
                      <a:pt x="11" y="15"/>
                    </a:cubicBezTo>
                    <a:cubicBezTo>
                      <a:pt x="79" y="15"/>
                      <a:pt x="79" y="15"/>
                      <a:pt x="79" y="15"/>
                    </a:cubicBezTo>
                    <a:cubicBezTo>
                      <a:pt x="79" y="14"/>
                      <a:pt x="79" y="14"/>
                      <a:pt x="79" y="14"/>
                    </a:cubicBezTo>
                    <a:cubicBezTo>
                      <a:pt x="79" y="14"/>
                      <a:pt x="80" y="14"/>
                      <a:pt x="80" y="13"/>
                    </a:cubicBezTo>
                    <a:lnTo>
                      <a:pt x="8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3" name="Freeform 22">
                <a:extLst>
                  <a:ext uri="{FF2B5EF4-FFF2-40B4-BE49-F238E27FC236}">
                    <a16:creationId xmlns:a16="http://schemas.microsoft.com/office/drawing/2014/main" id="{6124D7CC-DB71-412C-B0D5-A24D0C328328}"/>
                  </a:ext>
                </a:extLst>
              </p:cNvPr>
              <p:cNvSpPr>
                <a:spLocks/>
              </p:cNvSpPr>
              <p:nvPr/>
            </p:nvSpPr>
            <p:spPr bwMode="auto">
              <a:xfrm>
                <a:off x="6694488" y="1878013"/>
                <a:ext cx="1084263" cy="203200"/>
              </a:xfrm>
              <a:custGeom>
                <a:avLst/>
                <a:gdLst>
                  <a:gd name="T0" fmla="*/ 80 w 80"/>
                  <a:gd name="T1" fmla="*/ 15 h 15"/>
                  <a:gd name="T2" fmla="*/ 80 w 80"/>
                  <a:gd name="T3" fmla="*/ 1 h 15"/>
                  <a:gd name="T4" fmla="*/ 79 w 80"/>
                  <a:gd name="T5" fmla="*/ 0 h 15"/>
                  <a:gd name="T6" fmla="*/ 79 w 80"/>
                  <a:gd name="T7" fmla="*/ 0 h 15"/>
                  <a:gd name="T8" fmla="*/ 11 w 80"/>
                  <a:gd name="T9" fmla="*/ 0 h 15"/>
                  <a:gd name="T10" fmla="*/ 10 w 80"/>
                  <a:gd name="T11" fmla="*/ 0 h 15"/>
                  <a:gd name="T12" fmla="*/ 0 w 80"/>
                  <a:gd name="T13" fmla="*/ 15 h 15"/>
                  <a:gd name="T14" fmla="*/ 80 w 80"/>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15"/>
                    </a:moveTo>
                    <a:cubicBezTo>
                      <a:pt x="80" y="1"/>
                      <a:pt x="80" y="1"/>
                      <a:pt x="80" y="1"/>
                    </a:cubicBezTo>
                    <a:cubicBezTo>
                      <a:pt x="80" y="1"/>
                      <a:pt x="79" y="1"/>
                      <a:pt x="79" y="0"/>
                    </a:cubicBezTo>
                    <a:cubicBezTo>
                      <a:pt x="79" y="0"/>
                      <a:pt x="79" y="0"/>
                      <a:pt x="79" y="0"/>
                    </a:cubicBezTo>
                    <a:cubicBezTo>
                      <a:pt x="11" y="0"/>
                      <a:pt x="11" y="0"/>
                      <a:pt x="11" y="0"/>
                    </a:cubicBezTo>
                    <a:cubicBezTo>
                      <a:pt x="11" y="0"/>
                      <a:pt x="10" y="0"/>
                      <a:pt x="10" y="0"/>
                    </a:cubicBezTo>
                    <a:cubicBezTo>
                      <a:pt x="6" y="5"/>
                      <a:pt x="3" y="10"/>
                      <a:pt x="0" y="15"/>
                    </a:cubicBezTo>
                    <a:lnTo>
                      <a:pt x="80"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4" name="Freeform 23">
                <a:extLst>
                  <a:ext uri="{FF2B5EF4-FFF2-40B4-BE49-F238E27FC236}">
                    <a16:creationId xmlns:a16="http://schemas.microsoft.com/office/drawing/2014/main" id="{089929E6-A113-4A90-8B63-E931F2B75CFF}"/>
                  </a:ext>
                </a:extLst>
              </p:cNvPr>
              <p:cNvSpPr>
                <a:spLocks/>
              </p:cNvSpPr>
              <p:nvPr/>
            </p:nvSpPr>
            <p:spPr bwMode="auto">
              <a:xfrm>
                <a:off x="6640513" y="2257425"/>
                <a:ext cx="1138238" cy="204787"/>
              </a:xfrm>
              <a:custGeom>
                <a:avLst/>
                <a:gdLst>
                  <a:gd name="T0" fmla="*/ 84 w 84"/>
                  <a:gd name="T1" fmla="*/ 0 h 15"/>
                  <a:gd name="T2" fmla="*/ 1 w 84"/>
                  <a:gd name="T3" fmla="*/ 0 h 15"/>
                  <a:gd name="T4" fmla="*/ 1 w 84"/>
                  <a:gd name="T5" fmla="*/ 15 h 15"/>
                  <a:gd name="T6" fmla="*/ 84 w 84"/>
                  <a:gd name="T7" fmla="*/ 15 h 15"/>
                  <a:gd name="T8" fmla="*/ 84 w 84"/>
                  <a:gd name="T9" fmla="*/ 0 h 15"/>
                </a:gdLst>
                <a:ahLst/>
                <a:cxnLst>
                  <a:cxn ang="0">
                    <a:pos x="T0" y="T1"/>
                  </a:cxn>
                  <a:cxn ang="0">
                    <a:pos x="T2" y="T3"/>
                  </a:cxn>
                  <a:cxn ang="0">
                    <a:pos x="T4" y="T5"/>
                  </a:cxn>
                  <a:cxn ang="0">
                    <a:pos x="T6" y="T7"/>
                  </a:cxn>
                  <a:cxn ang="0">
                    <a:pos x="T8" y="T9"/>
                  </a:cxn>
                </a:cxnLst>
                <a:rect l="0" t="0" r="r" b="b"/>
                <a:pathLst>
                  <a:path w="84" h="15">
                    <a:moveTo>
                      <a:pt x="84" y="0"/>
                    </a:moveTo>
                    <a:cubicBezTo>
                      <a:pt x="1" y="0"/>
                      <a:pt x="1" y="0"/>
                      <a:pt x="1" y="0"/>
                    </a:cubicBezTo>
                    <a:cubicBezTo>
                      <a:pt x="0" y="5"/>
                      <a:pt x="0" y="10"/>
                      <a:pt x="1" y="15"/>
                    </a:cubicBezTo>
                    <a:cubicBezTo>
                      <a:pt x="84" y="15"/>
                      <a:pt x="84" y="15"/>
                      <a:pt x="84" y="15"/>
                    </a:cubicBezTo>
                    <a:lnTo>
                      <a:pt x="8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5" name="Freeform 24">
                <a:extLst>
                  <a:ext uri="{FF2B5EF4-FFF2-40B4-BE49-F238E27FC236}">
                    <a16:creationId xmlns:a16="http://schemas.microsoft.com/office/drawing/2014/main" id="{F767ABFA-715D-47AA-9672-2664CACC8FBE}"/>
                  </a:ext>
                </a:extLst>
              </p:cNvPr>
              <p:cNvSpPr>
                <a:spLocks noEditPoints="1"/>
              </p:cNvSpPr>
              <p:nvPr/>
            </p:nvSpPr>
            <p:spPr bwMode="auto">
              <a:xfrm>
                <a:off x="6477000" y="1525588"/>
                <a:ext cx="1666875" cy="1668462"/>
              </a:xfrm>
              <a:custGeom>
                <a:avLst/>
                <a:gdLst>
                  <a:gd name="T0" fmla="*/ 123 w 123"/>
                  <a:gd name="T1" fmla="*/ 114 h 123"/>
                  <a:gd name="T2" fmla="*/ 104 w 123"/>
                  <a:gd name="T3" fmla="*/ 95 h 123"/>
                  <a:gd name="T4" fmla="*/ 100 w 123"/>
                  <a:gd name="T5" fmla="*/ 22 h 123"/>
                  <a:gd name="T6" fmla="*/ 22 w 123"/>
                  <a:gd name="T7" fmla="*/ 22 h 123"/>
                  <a:gd name="T8" fmla="*/ 22 w 123"/>
                  <a:gd name="T9" fmla="*/ 100 h 123"/>
                  <a:gd name="T10" fmla="*/ 95 w 123"/>
                  <a:gd name="T11" fmla="*/ 104 h 123"/>
                  <a:gd name="T12" fmla="*/ 114 w 123"/>
                  <a:gd name="T13" fmla="*/ 123 h 123"/>
                  <a:gd name="T14" fmla="*/ 123 w 123"/>
                  <a:gd name="T15" fmla="*/ 114 h 123"/>
                  <a:gd name="T16" fmla="*/ 30 w 123"/>
                  <a:gd name="T17" fmla="*/ 92 h 123"/>
                  <a:gd name="T18" fmla="*/ 30 w 123"/>
                  <a:gd name="T19" fmla="*/ 30 h 123"/>
                  <a:gd name="T20" fmla="*/ 92 w 123"/>
                  <a:gd name="T21" fmla="*/ 30 h 123"/>
                  <a:gd name="T22" fmla="*/ 92 w 123"/>
                  <a:gd name="T23" fmla="*/ 92 h 123"/>
                  <a:gd name="T24" fmla="*/ 30 w 123"/>
                  <a:gd name="T25" fmla="*/ 9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3">
                    <a:moveTo>
                      <a:pt x="123" y="114"/>
                    </a:moveTo>
                    <a:cubicBezTo>
                      <a:pt x="104" y="95"/>
                      <a:pt x="104" y="95"/>
                      <a:pt x="104" y="95"/>
                    </a:cubicBezTo>
                    <a:cubicBezTo>
                      <a:pt x="121" y="74"/>
                      <a:pt x="120" y="42"/>
                      <a:pt x="100" y="22"/>
                    </a:cubicBezTo>
                    <a:cubicBezTo>
                      <a:pt x="78" y="0"/>
                      <a:pt x="43" y="0"/>
                      <a:pt x="22" y="22"/>
                    </a:cubicBezTo>
                    <a:cubicBezTo>
                      <a:pt x="0" y="43"/>
                      <a:pt x="0" y="78"/>
                      <a:pt x="22" y="100"/>
                    </a:cubicBezTo>
                    <a:cubicBezTo>
                      <a:pt x="42" y="120"/>
                      <a:pt x="73" y="122"/>
                      <a:pt x="95" y="104"/>
                    </a:cubicBezTo>
                    <a:cubicBezTo>
                      <a:pt x="114" y="123"/>
                      <a:pt x="114" y="123"/>
                      <a:pt x="114" y="123"/>
                    </a:cubicBezTo>
                    <a:lnTo>
                      <a:pt x="123" y="114"/>
                    </a:lnTo>
                    <a:close/>
                    <a:moveTo>
                      <a:pt x="30" y="92"/>
                    </a:moveTo>
                    <a:cubicBezTo>
                      <a:pt x="13" y="75"/>
                      <a:pt x="13" y="47"/>
                      <a:pt x="30" y="30"/>
                    </a:cubicBezTo>
                    <a:cubicBezTo>
                      <a:pt x="47" y="13"/>
                      <a:pt x="75" y="13"/>
                      <a:pt x="92" y="30"/>
                    </a:cubicBezTo>
                    <a:cubicBezTo>
                      <a:pt x="109" y="47"/>
                      <a:pt x="109" y="75"/>
                      <a:pt x="92" y="92"/>
                    </a:cubicBezTo>
                    <a:cubicBezTo>
                      <a:pt x="75" y="109"/>
                      <a:pt x="47" y="109"/>
                      <a:pt x="30" y="9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6" name="Freeform 25">
                <a:extLst>
                  <a:ext uri="{FF2B5EF4-FFF2-40B4-BE49-F238E27FC236}">
                    <a16:creationId xmlns:a16="http://schemas.microsoft.com/office/drawing/2014/main" id="{15413650-8385-4B3D-A1AC-CEFD4C0BE889}"/>
                  </a:ext>
                </a:extLst>
              </p:cNvPr>
              <p:cNvSpPr>
                <a:spLocks/>
              </p:cNvSpPr>
              <p:nvPr/>
            </p:nvSpPr>
            <p:spPr bwMode="auto">
              <a:xfrm>
                <a:off x="7872413" y="2922588"/>
                <a:ext cx="895350" cy="893762"/>
              </a:xfrm>
              <a:custGeom>
                <a:avLst/>
                <a:gdLst>
                  <a:gd name="T0" fmla="*/ 52 w 66"/>
                  <a:gd name="T1" fmla="*/ 65 h 66"/>
                  <a:gd name="T2" fmla="*/ 65 w 66"/>
                  <a:gd name="T3" fmla="*/ 52 h 66"/>
                  <a:gd name="T4" fmla="*/ 65 w 66"/>
                  <a:gd name="T5" fmla="*/ 48 h 66"/>
                  <a:gd name="T6" fmla="*/ 18 w 66"/>
                  <a:gd name="T7" fmla="*/ 1 h 66"/>
                  <a:gd name="T8" fmla="*/ 14 w 66"/>
                  <a:gd name="T9" fmla="*/ 1 h 66"/>
                  <a:gd name="T10" fmla="*/ 1 w 66"/>
                  <a:gd name="T11" fmla="*/ 14 h 66"/>
                  <a:gd name="T12" fmla="*/ 1 w 66"/>
                  <a:gd name="T13" fmla="*/ 18 h 66"/>
                  <a:gd name="T14" fmla="*/ 48 w 66"/>
                  <a:gd name="T15" fmla="*/ 65 h 66"/>
                  <a:gd name="T16" fmla="*/ 52 w 66"/>
                  <a:gd name="T17"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6">
                    <a:moveTo>
                      <a:pt x="52" y="65"/>
                    </a:moveTo>
                    <a:cubicBezTo>
                      <a:pt x="65" y="52"/>
                      <a:pt x="65" y="52"/>
                      <a:pt x="65" y="52"/>
                    </a:cubicBezTo>
                    <a:cubicBezTo>
                      <a:pt x="66" y="51"/>
                      <a:pt x="66" y="49"/>
                      <a:pt x="65" y="48"/>
                    </a:cubicBezTo>
                    <a:cubicBezTo>
                      <a:pt x="18" y="1"/>
                      <a:pt x="18" y="1"/>
                      <a:pt x="18" y="1"/>
                    </a:cubicBezTo>
                    <a:cubicBezTo>
                      <a:pt x="17" y="0"/>
                      <a:pt x="15" y="0"/>
                      <a:pt x="14" y="1"/>
                    </a:cubicBezTo>
                    <a:cubicBezTo>
                      <a:pt x="1" y="14"/>
                      <a:pt x="1" y="14"/>
                      <a:pt x="1" y="14"/>
                    </a:cubicBezTo>
                    <a:cubicBezTo>
                      <a:pt x="0" y="16"/>
                      <a:pt x="0" y="17"/>
                      <a:pt x="1" y="18"/>
                    </a:cubicBezTo>
                    <a:cubicBezTo>
                      <a:pt x="48" y="65"/>
                      <a:pt x="48" y="65"/>
                      <a:pt x="48" y="65"/>
                    </a:cubicBezTo>
                    <a:cubicBezTo>
                      <a:pt x="49" y="66"/>
                      <a:pt x="51" y="66"/>
                      <a:pt x="52" y="65"/>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7" name="Freeform 26">
                <a:extLst>
                  <a:ext uri="{FF2B5EF4-FFF2-40B4-BE49-F238E27FC236}">
                    <a16:creationId xmlns:a16="http://schemas.microsoft.com/office/drawing/2014/main" id="{665DD38E-33DF-429D-B0F9-08B52566C218}"/>
                  </a:ext>
                </a:extLst>
              </p:cNvPr>
              <p:cNvSpPr>
                <a:spLocks/>
              </p:cNvSpPr>
              <p:nvPr/>
            </p:nvSpPr>
            <p:spPr bwMode="auto">
              <a:xfrm>
                <a:off x="6937375" y="1905000"/>
                <a:ext cx="339725" cy="339725"/>
              </a:xfrm>
              <a:custGeom>
                <a:avLst/>
                <a:gdLst>
                  <a:gd name="T0" fmla="*/ 4 w 25"/>
                  <a:gd name="T1" fmla="*/ 20 h 25"/>
                  <a:gd name="T2" fmla="*/ 21 w 25"/>
                  <a:gd name="T3" fmla="*/ 20 h 25"/>
                  <a:gd name="T4" fmla="*/ 21 w 25"/>
                  <a:gd name="T5" fmla="*/ 4 h 25"/>
                  <a:gd name="T6" fmla="*/ 4 w 25"/>
                  <a:gd name="T7" fmla="*/ 4 h 25"/>
                  <a:gd name="T8" fmla="*/ 4 w 25"/>
                  <a:gd name="T9" fmla="*/ 20 h 25"/>
                </a:gdLst>
                <a:ahLst/>
                <a:cxnLst>
                  <a:cxn ang="0">
                    <a:pos x="T0" y="T1"/>
                  </a:cxn>
                  <a:cxn ang="0">
                    <a:pos x="T2" y="T3"/>
                  </a:cxn>
                  <a:cxn ang="0">
                    <a:pos x="T4" y="T5"/>
                  </a:cxn>
                  <a:cxn ang="0">
                    <a:pos x="T6" y="T7"/>
                  </a:cxn>
                  <a:cxn ang="0">
                    <a:pos x="T8" y="T9"/>
                  </a:cxn>
                </a:cxnLst>
                <a:rect l="0" t="0" r="r" b="b"/>
                <a:pathLst>
                  <a:path w="25" h="25">
                    <a:moveTo>
                      <a:pt x="4" y="20"/>
                    </a:moveTo>
                    <a:cubicBezTo>
                      <a:pt x="9" y="25"/>
                      <a:pt x="16" y="25"/>
                      <a:pt x="21" y="20"/>
                    </a:cubicBezTo>
                    <a:cubicBezTo>
                      <a:pt x="25" y="16"/>
                      <a:pt x="25" y="9"/>
                      <a:pt x="21" y="4"/>
                    </a:cubicBezTo>
                    <a:cubicBezTo>
                      <a:pt x="16" y="0"/>
                      <a:pt x="9" y="0"/>
                      <a:pt x="4" y="4"/>
                    </a:cubicBezTo>
                    <a:cubicBezTo>
                      <a:pt x="0" y="9"/>
                      <a:pt x="0" y="16"/>
                      <a:pt x="4" y="2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8" name="Freeform 27">
                <a:extLst>
                  <a:ext uri="{FF2B5EF4-FFF2-40B4-BE49-F238E27FC236}">
                    <a16:creationId xmlns:a16="http://schemas.microsoft.com/office/drawing/2014/main" id="{98A5F28B-120E-4744-8CFA-B1C71ADF06E2}"/>
                  </a:ext>
                </a:extLst>
              </p:cNvPr>
              <p:cNvSpPr>
                <a:spLocks/>
              </p:cNvSpPr>
              <p:nvPr/>
            </p:nvSpPr>
            <p:spPr bwMode="auto">
              <a:xfrm>
                <a:off x="7872413" y="3030538"/>
                <a:ext cx="895350" cy="785812"/>
              </a:xfrm>
              <a:custGeom>
                <a:avLst/>
                <a:gdLst>
                  <a:gd name="T0" fmla="*/ 1 w 66"/>
                  <a:gd name="T1" fmla="*/ 6 h 58"/>
                  <a:gd name="T2" fmla="*/ 8 w 66"/>
                  <a:gd name="T3" fmla="*/ 0 h 58"/>
                  <a:gd name="T4" fmla="*/ 53 w 66"/>
                  <a:gd name="T5" fmla="*/ 45 h 58"/>
                  <a:gd name="T6" fmla="*/ 55 w 66"/>
                  <a:gd name="T7" fmla="*/ 45 h 58"/>
                  <a:gd name="T8" fmla="*/ 63 w 66"/>
                  <a:gd name="T9" fmla="*/ 38 h 58"/>
                  <a:gd name="T10" fmla="*/ 65 w 66"/>
                  <a:gd name="T11" fmla="*/ 40 h 58"/>
                  <a:gd name="T12" fmla="*/ 65 w 66"/>
                  <a:gd name="T13" fmla="*/ 44 h 58"/>
                  <a:gd name="T14" fmla="*/ 52 w 66"/>
                  <a:gd name="T15" fmla="*/ 57 h 58"/>
                  <a:gd name="T16" fmla="*/ 48 w 66"/>
                  <a:gd name="T17" fmla="*/ 57 h 58"/>
                  <a:gd name="T18" fmla="*/ 1 w 66"/>
                  <a:gd name="T19" fmla="*/ 10 h 58"/>
                  <a:gd name="T20" fmla="*/ 1 w 66"/>
                  <a:gd name="T21"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58">
                    <a:moveTo>
                      <a:pt x="1" y="6"/>
                    </a:moveTo>
                    <a:cubicBezTo>
                      <a:pt x="8" y="0"/>
                      <a:pt x="8" y="0"/>
                      <a:pt x="8" y="0"/>
                    </a:cubicBezTo>
                    <a:cubicBezTo>
                      <a:pt x="53" y="45"/>
                      <a:pt x="53" y="45"/>
                      <a:pt x="53" y="45"/>
                    </a:cubicBezTo>
                    <a:cubicBezTo>
                      <a:pt x="54" y="46"/>
                      <a:pt x="55" y="46"/>
                      <a:pt x="55" y="45"/>
                    </a:cubicBezTo>
                    <a:cubicBezTo>
                      <a:pt x="63" y="38"/>
                      <a:pt x="63" y="38"/>
                      <a:pt x="63" y="38"/>
                    </a:cubicBezTo>
                    <a:cubicBezTo>
                      <a:pt x="65" y="40"/>
                      <a:pt x="65" y="40"/>
                      <a:pt x="65" y="40"/>
                    </a:cubicBezTo>
                    <a:cubicBezTo>
                      <a:pt x="66" y="41"/>
                      <a:pt x="66" y="43"/>
                      <a:pt x="65" y="44"/>
                    </a:cubicBezTo>
                    <a:cubicBezTo>
                      <a:pt x="52" y="57"/>
                      <a:pt x="52" y="57"/>
                      <a:pt x="52" y="57"/>
                    </a:cubicBezTo>
                    <a:cubicBezTo>
                      <a:pt x="51" y="58"/>
                      <a:pt x="49" y="58"/>
                      <a:pt x="48" y="57"/>
                    </a:cubicBezTo>
                    <a:cubicBezTo>
                      <a:pt x="1" y="10"/>
                      <a:pt x="1" y="10"/>
                      <a:pt x="1" y="10"/>
                    </a:cubicBezTo>
                    <a:cubicBezTo>
                      <a:pt x="0" y="9"/>
                      <a:pt x="0" y="8"/>
                      <a:pt x="1" y="6"/>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59" name="Group 958">
            <a:extLst>
              <a:ext uri="{FF2B5EF4-FFF2-40B4-BE49-F238E27FC236}">
                <a16:creationId xmlns:a16="http://schemas.microsoft.com/office/drawing/2014/main" id="{D281E0DF-7C74-43A1-B56D-E17AE14BB3E7}"/>
              </a:ext>
            </a:extLst>
          </p:cNvPr>
          <p:cNvGrpSpPr/>
          <p:nvPr/>
        </p:nvGrpSpPr>
        <p:grpSpPr>
          <a:xfrm>
            <a:off x="4889658" y="4947480"/>
            <a:ext cx="441250" cy="440712"/>
            <a:chOff x="3446463" y="3546475"/>
            <a:chExt cx="1303338" cy="1301750"/>
          </a:xfrm>
        </p:grpSpPr>
        <p:sp>
          <p:nvSpPr>
            <p:cNvPr id="960" name="Oval 5">
              <a:extLst>
                <a:ext uri="{FF2B5EF4-FFF2-40B4-BE49-F238E27FC236}">
                  <a16:creationId xmlns:a16="http://schemas.microsoft.com/office/drawing/2014/main" id="{4DF7613A-1C64-472F-A29C-30BFED57442C}"/>
                </a:ext>
              </a:extLst>
            </p:cNvPr>
            <p:cNvSpPr>
              <a:spLocks noChangeArrowheads="1"/>
            </p:cNvSpPr>
            <p:nvPr/>
          </p:nvSpPr>
          <p:spPr bwMode="auto">
            <a:xfrm>
              <a:off x="3446463"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961" name="Group 960">
              <a:extLst>
                <a:ext uri="{FF2B5EF4-FFF2-40B4-BE49-F238E27FC236}">
                  <a16:creationId xmlns:a16="http://schemas.microsoft.com/office/drawing/2014/main" id="{0894A7A9-B222-48AB-AFDA-25024AEED245}"/>
                </a:ext>
              </a:extLst>
            </p:cNvPr>
            <p:cNvGrpSpPr/>
            <p:nvPr/>
          </p:nvGrpSpPr>
          <p:grpSpPr>
            <a:xfrm>
              <a:off x="3800475" y="3770313"/>
              <a:ext cx="595313" cy="742950"/>
              <a:chOff x="3800475" y="3770313"/>
              <a:chExt cx="595313" cy="742950"/>
            </a:xfrm>
          </p:grpSpPr>
          <p:sp>
            <p:nvSpPr>
              <p:cNvPr id="965" name="Freeform 6">
                <a:extLst>
                  <a:ext uri="{FF2B5EF4-FFF2-40B4-BE49-F238E27FC236}">
                    <a16:creationId xmlns:a16="http://schemas.microsoft.com/office/drawing/2014/main" id="{AD1D645A-8D37-4CD5-B1B7-F9A1A7B122C9}"/>
                  </a:ext>
                </a:extLst>
              </p:cNvPr>
              <p:cNvSpPr>
                <a:spLocks noEditPoints="1"/>
              </p:cNvSpPr>
              <p:nvPr/>
            </p:nvSpPr>
            <p:spPr bwMode="auto">
              <a:xfrm>
                <a:off x="3800475" y="3770313"/>
                <a:ext cx="595313" cy="742950"/>
              </a:xfrm>
              <a:custGeom>
                <a:avLst/>
                <a:gdLst>
                  <a:gd name="T0" fmla="*/ 26 w 32"/>
                  <a:gd name="T1" fmla="*/ 18 h 40"/>
                  <a:gd name="T2" fmla="*/ 26 w 32"/>
                  <a:gd name="T3" fmla="*/ 10 h 40"/>
                  <a:gd name="T4" fmla="*/ 16 w 32"/>
                  <a:gd name="T5" fmla="*/ 0 h 40"/>
                  <a:gd name="T6" fmla="*/ 6 w 32"/>
                  <a:gd name="T7" fmla="*/ 10 h 40"/>
                  <a:gd name="T8" fmla="*/ 6 w 32"/>
                  <a:gd name="T9" fmla="*/ 18 h 40"/>
                  <a:gd name="T10" fmla="*/ 0 w 32"/>
                  <a:gd name="T11" fmla="*/ 18 h 40"/>
                  <a:gd name="T12" fmla="*/ 0 w 32"/>
                  <a:gd name="T13" fmla="*/ 40 h 40"/>
                  <a:gd name="T14" fmla="*/ 32 w 32"/>
                  <a:gd name="T15" fmla="*/ 40 h 40"/>
                  <a:gd name="T16" fmla="*/ 32 w 32"/>
                  <a:gd name="T17" fmla="*/ 18 h 40"/>
                  <a:gd name="T18" fmla="*/ 26 w 32"/>
                  <a:gd name="T19" fmla="*/ 18 h 40"/>
                  <a:gd name="T20" fmla="*/ 10 w 32"/>
                  <a:gd name="T21" fmla="*/ 10 h 40"/>
                  <a:gd name="T22" fmla="*/ 16 w 32"/>
                  <a:gd name="T23" fmla="*/ 3 h 40"/>
                  <a:gd name="T24" fmla="*/ 23 w 32"/>
                  <a:gd name="T25" fmla="*/ 10 h 40"/>
                  <a:gd name="T26" fmla="*/ 23 w 32"/>
                  <a:gd name="T27" fmla="*/ 18 h 40"/>
                  <a:gd name="T28" fmla="*/ 10 w 32"/>
                  <a:gd name="T29" fmla="*/ 18 h 40"/>
                  <a:gd name="T30" fmla="*/ 10 w 32"/>
                  <a:gd name="T31"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40">
                    <a:moveTo>
                      <a:pt x="26" y="18"/>
                    </a:moveTo>
                    <a:cubicBezTo>
                      <a:pt x="26" y="10"/>
                      <a:pt x="26" y="10"/>
                      <a:pt x="26" y="10"/>
                    </a:cubicBezTo>
                    <a:cubicBezTo>
                      <a:pt x="26" y="4"/>
                      <a:pt x="22" y="0"/>
                      <a:pt x="16" y="0"/>
                    </a:cubicBezTo>
                    <a:cubicBezTo>
                      <a:pt x="11" y="0"/>
                      <a:pt x="6" y="4"/>
                      <a:pt x="6" y="10"/>
                    </a:cubicBezTo>
                    <a:cubicBezTo>
                      <a:pt x="6" y="18"/>
                      <a:pt x="6" y="18"/>
                      <a:pt x="6" y="18"/>
                    </a:cubicBezTo>
                    <a:cubicBezTo>
                      <a:pt x="0" y="18"/>
                      <a:pt x="0" y="18"/>
                      <a:pt x="0" y="18"/>
                    </a:cubicBezTo>
                    <a:cubicBezTo>
                      <a:pt x="0" y="40"/>
                      <a:pt x="0" y="40"/>
                      <a:pt x="0" y="40"/>
                    </a:cubicBezTo>
                    <a:cubicBezTo>
                      <a:pt x="32" y="40"/>
                      <a:pt x="32" y="40"/>
                      <a:pt x="32" y="40"/>
                    </a:cubicBezTo>
                    <a:cubicBezTo>
                      <a:pt x="32" y="18"/>
                      <a:pt x="32" y="18"/>
                      <a:pt x="32" y="18"/>
                    </a:cubicBezTo>
                    <a:lnTo>
                      <a:pt x="26" y="18"/>
                    </a:lnTo>
                    <a:close/>
                    <a:moveTo>
                      <a:pt x="10" y="10"/>
                    </a:moveTo>
                    <a:cubicBezTo>
                      <a:pt x="10" y="6"/>
                      <a:pt x="13" y="3"/>
                      <a:pt x="16" y="3"/>
                    </a:cubicBezTo>
                    <a:cubicBezTo>
                      <a:pt x="20" y="3"/>
                      <a:pt x="23" y="6"/>
                      <a:pt x="23" y="10"/>
                    </a:cubicBezTo>
                    <a:cubicBezTo>
                      <a:pt x="23" y="18"/>
                      <a:pt x="23" y="18"/>
                      <a:pt x="23" y="18"/>
                    </a:cubicBezTo>
                    <a:cubicBezTo>
                      <a:pt x="10" y="18"/>
                      <a:pt x="10" y="18"/>
                      <a:pt x="10" y="18"/>
                    </a:cubicBezTo>
                    <a:lnTo>
                      <a:pt x="10" y="1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6" name="Rectangle 7">
                <a:extLst>
                  <a:ext uri="{FF2B5EF4-FFF2-40B4-BE49-F238E27FC236}">
                    <a16:creationId xmlns:a16="http://schemas.microsoft.com/office/drawing/2014/main" id="{9B7ECEEC-2244-4423-AFEA-09CFA6C24522}"/>
                  </a:ext>
                </a:extLst>
              </p:cNvPr>
              <p:cNvSpPr>
                <a:spLocks noChangeArrowheads="1"/>
              </p:cNvSpPr>
              <p:nvPr/>
            </p:nvSpPr>
            <p:spPr bwMode="auto">
              <a:xfrm>
                <a:off x="3800475" y="4179888"/>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7" name="Rectangle 8">
                <a:extLst>
                  <a:ext uri="{FF2B5EF4-FFF2-40B4-BE49-F238E27FC236}">
                    <a16:creationId xmlns:a16="http://schemas.microsoft.com/office/drawing/2014/main" id="{46A6E637-E367-4CA9-B08A-5AB8CFE22CA3}"/>
                  </a:ext>
                </a:extLst>
              </p:cNvPr>
              <p:cNvSpPr>
                <a:spLocks noChangeArrowheads="1"/>
              </p:cNvSpPr>
              <p:nvPr/>
            </p:nvSpPr>
            <p:spPr bwMode="auto">
              <a:xfrm>
                <a:off x="3800475" y="4291013"/>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8" name="Rectangle 9">
                <a:extLst>
                  <a:ext uri="{FF2B5EF4-FFF2-40B4-BE49-F238E27FC236}">
                    <a16:creationId xmlns:a16="http://schemas.microsoft.com/office/drawing/2014/main" id="{62AE9FD6-7150-412F-82B8-EB166C863299}"/>
                  </a:ext>
                </a:extLst>
              </p:cNvPr>
              <p:cNvSpPr>
                <a:spLocks noChangeArrowheads="1"/>
              </p:cNvSpPr>
              <p:nvPr/>
            </p:nvSpPr>
            <p:spPr bwMode="auto">
              <a:xfrm>
                <a:off x="3800475" y="4402138"/>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62" name="Group 961">
              <a:extLst>
                <a:ext uri="{FF2B5EF4-FFF2-40B4-BE49-F238E27FC236}">
                  <a16:creationId xmlns:a16="http://schemas.microsoft.com/office/drawing/2014/main" id="{428E562E-02C8-4654-B3F3-4776A7ECF1EA}"/>
                </a:ext>
              </a:extLst>
            </p:cNvPr>
            <p:cNvGrpSpPr/>
            <p:nvPr/>
          </p:nvGrpSpPr>
          <p:grpSpPr>
            <a:xfrm>
              <a:off x="4187605" y="4315542"/>
              <a:ext cx="302195" cy="301217"/>
              <a:chOff x="4123605" y="4230688"/>
              <a:chExt cx="399347" cy="398054"/>
            </a:xfrm>
          </p:grpSpPr>
          <p:sp>
            <p:nvSpPr>
              <p:cNvPr id="963" name="Freeform 31">
                <a:extLst>
                  <a:ext uri="{FF2B5EF4-FFF2-40B4-BE49-F238E27FC236}">
                    <a16:creationId xmlns:a16="http://schemas.microsoft.com/office/drawing/2014/main" id="{AC6A3AC8-50D0-4B28-AFF3-53FB7BFB713A}"/>
                  </a:ext>
                </a:extLst>
              </p:cNvPr>
              <p:cNvSpPr>
                <a:spLocks noEditPoints="1"/>
              </p:cNvSpPr>
              <p:nvPr/>
            </p:nvSpPr>
            <p:spPr bwMode="auto">
              <a:xfrm>
                <a:off x="4215293" y="4322079"/>
                <a:ext cx="215971" cy="21527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4" name="Freeform 31">
                <a:extLst>
                  <a:ext uri="{FF2B5EF4-FFF2-40B4-BE49-F238E27FC236}">
                    <a16:creationId xmlns:a16="http://schemas.microsoft.com/office/drawing/2014/main" id="{BA15CC45-5CC2-4FC0-8597-58C8869A9175}"/>
                  </a:ext>
                </a:extLst>
              </p:cNvPr>
              <p:cNvSpPr>
                <a:spLocks noEditPoints="1"/>
              </p:cNvSpPr>
              <p:nvPr/>
            </p:nvSpPr>
            <p:spPr bwMode="auto">
              <a:xfrm>
                <a:off x="4123605" y="4230688"/>
                <a:ext cx="399347" cy="398054"/>
              </a:xfrm>
              <a:custGeom>
                <a:avLst/>
                <a:gdLst>
                  <a:gd name="T0" fmla="*/ 37 w 39"/>
                  <a:gd name="T1" fmla="*/ 29 h 39"/>
                  <a:gd name="T2" fmla="*/ 39 w 39"/>
                  <a:gd name="T3" fmla="*/ 24 h 39"/>
                  <a:gd name="T4" fmla="*/ 34 w 39"/>
                  <a:gd name="T5" fmla="*/ 21 h 39"/>
                  <a:gd name="T6" fmla="*/ 34 w 39"/>
                  <a:gd name="T7" fmla="*/ 17 h 39"/>
                  <a:gd name="T8" fmla="*/ 39 w 39"/>
                  <a:gd name="T9" fmla="*/ 14 h 39"/>
                  <a:gd name="T10" fmla="*/ 37 w 39"/>
                  <a:gd name="T11" fmla="*/ 9 h 39"/>
                  <a:gd name="T12" fmla="*/ 31 w 39"/>
                  <a:gd name="T13" fmla="*/ 10 h 39"/>
                  <a:gd name="T14" fmla="*/ 29 w 39"/>
                  <a:gd name="T15" fmla="*/ 8 h 39"/>
                  <a:gd name="T16" fmla="*/ 30 w 39"/>
                  <a:gd name="T17" fmla="*/ 2 h 39"/>
                  <a:gd name="T18" fmla="*/ 25 w 39"/>
                  <a:gd name="T19" fmla="*/ 0 h 39"/>
                  <a:gd name="T20" fmla="*/ 22 w 39"/>
                  <a:gd name="T21" fmla="*/ 5 h 39"/>
                  <a:gd name="T22" fmla="*/ 18 w 39"/>
                  <a:gd name="T23" fmla="*/ 5 h 39"/>
                  <a:gd name="T24" fmla="*/ 15 w 39"/>
                  <a:gd name="T25" fmla="*/ 0 h 39"/>
                  <a:gd name="T26" fmla="*/ 10 w 39"/>
                  <a:gd name="T27" fmla="*/ 2 h 39"/>
                  <a:gd name="T28" fmla="*/ 11 w 39"/>
                  <a:gd name="T29" fmla="*/ 8 h 39"/>
                  <a:gd name="T30" fmla="*/ 8 w 39"/>
                  <a:gd name="T31" fmla="*/ 10 h 39"/>
                  <a:gd name="T32" fmla="*/ 2 w 39"/>
                  <a:gd name="T33" fmla="*/ 9 h 39"/>
                  <a:gd name="T34" fmla="*/ 0 w 39"/>
                  <a:gd name="T35" fmla="*/ 14 h 39"/>
                  <a:gd name="T36" fmla="*/ 5 w 39"/>
                  <a:gd name="T37" fmla="*/ 17 h 39"/>
                  <a:gd name="T38" fmla="*/ 5 w 39"/>
                  <a:gd name="T39" fmla="*/ 21 h 39"/>
                  <a:gd name="T40" fmla="*/ 0 w 39"/>
                  <a:gd name="T41" fmla="*/ 24 h 39"/>
                  <a:gd name="T42" fmla="*/ 2 w 39"/>
                  <a:gd name="T43" fmla="*/ 29 h 39"/>
                  <a:gd name="T44" fmla="*/ 8 w 39"/>
                  <a:gd name="T45" fmla="*/ 28 h 39"/>
                  <a:gd name="T46" fmla="*/ 11 w 39"/>
                  <a:gd name="T47" fmla="*/ 31 h 39"/>
                  <a:gd name="T48" fmla="*/ 10 w 39"/>
                  <a:gd name="T49" fmla="*/ 37 h 39"/>
                  <a:gd name="T50" fmla="*/ 15 w 39"/>
                  <a:gd name="T51" fmla="*/ 39 h 39"/>
                  <a:gd name="T52" fmla="*/ 18 w 39"/>
                  <a:gd name="T53" fmla="*/ 34 h 39"/>
                  <a:gd name="T54" fmla="*/ 22 w 39"/>
                  <a:gd name="T55" fmla="*/ 34 h 39"/>
                  <a:gd name="T56" fmla="*/ 25 w 39"/>
                  <a:gd name="T57" fmla="*/ 39 h 39"/>
                  <a:gd name="T58" fmla="*/ 30 w 39"/>
                  <a:gd name="T59" fmla="*/ 37 h 39"/>
                  <a:gd name="T60" fmla="*/ 29 w 39"/>
                  <a:gd name="T61" fmla="*/ 31 h 39"/>
                  <a:gd name="T62" fmla="*/ 31 w 39"/>
                  <a:gd name="T63" fmla="*/ 28 h 39"/>
                  <a:gd name="T64" fmla="*/ 37 w 39"/>
                  <a:gd name="T65" fmla="*/ 29 h 39"/>
                  <a:gd name="T66" fmla="*/ 17 w 39"/>
                  <a:gd name="T67" fmla="*/ 27 h 39"/>
                  <a:gd name="T68" fmla="*/ 13 w 39"/>
                  <a:gd name="T69" fmla="*/ 16 h 39"/>
                  <a:gd name="T70" fmla="*/ 23 w 39"/>
                  <a:gd name="T71" fmla="*/ 12 h 39"/>
                  <a:gd name="T72" fmla="*/ 27 w 39"/>
                  <a:gd name="T73" fmla="*/ 22 h 39"/>
                  <a:gd name="T74" fmla="*/ 17 w 39"/>
                  <a:gd name="T75"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39">
                    <a:moveTo>
                      <a:pt x="37" y="29"/>
                    </a:moveTo>
                    <a:cubicBezTo>
                      <a:pt x="39" y="24"/>
                      <a:pt x="39" y="24"/>
                      <a:pt x="39" y="24"/>
                    </a:cubicBezTo>
                    <a:cubicBezTo>
                      <a:pt x="34" y="21"/>
                      <a:pt x="34" y="21"/>
                      <a:pt x="34" y="21"/>
                    </a:cubicBezTo>
                    <a:cubicBezTo>
                      <a:pt x="34" y="20"/>
                      <a:pt x="34" y="19"/>
                      <a:pt x="34" y="17"/>
                    </a:cubicBezTo>
                    <a:cubicBezTo>
                      <a:pt x="39" y="14"/>
                      <a:pt x="39" y="14"/>
                      <a:pt x="39" y="14"/>
                    </a:cubicBezTo>
                    <a:cubicBezTo>
                      <a:pt x="37" y="9"/>
                      <a:pt x="37" y="9"/>
                      <a:pt x="37" y="9"/>
                    </a:cubicBezTo>
                    <a:cubicBezTo>
                      <a:pt x="31" y="10"/>
                      <a:pt x="31" y="10"/>
                      <a:pt x="31" y="10"/>
                    </a:cubicBezTo>
                    <a:cubicBezTo>
                      <a:pt x="30" y="9"/>
                      <a:pt x="30" y="9"/>
                      <a:pt x="29" y="8"/>
                    </a:cubicBezTo>
                    <a:cubicBezTo>
                      <a:pt x="30" y="2"/>
                      <a:pt x="30" y="2"/>
                      <a:pt x="30" y="2"/>
                    </a:cubicBezTo>
                    <a:cubicBezTo>
                      <a:pt x="25" y="0"/>
                      <a:pt x="25" y="0"/>
                      <a:pt x="25" y="0"/>
                    </a:cubicBezTo>
                    <a:cubicBezTo>
                      <a:pt x="22" y="5"/>
                      <a:pt x="22" y="5"/>
                      <a:pt x="22" y="5"/>
                    </a:cubicBezTo>
                    <a:cubicBezTo>
                      <a:pt x="20" y="5"/>
                      <a:pt x="19" y="5"/>
                      <a:pt x="18" y="5"/>
                    </a:cubicBezTo>
                    <a:cubicBezTo>
                      <a:pt x="15" y="0"/>
                      <a:pt x="15" y="0"/>
                      <a:pt x="15" y="0"/>
                    </a:cubicBezTo>
                    <a:cubicBezTo>
                      <a:pt x="10" y="2"/>
                      <a:pt x="10" y="2"/>
                      <a:pt x="10" y="2"/>
                    </a:cubicBezTo>
                    <a:cubicBezTo>
                      <a:pt x="11" y="8"/>
                      <a:pt x="11" y="8"/>
                      <a:pt x="11" y="8"/>
                    </a:cubicBezTo>
                    <a:cubicBezTo>
                      <a:pt x="10" y="8"/>
                      <a:pt x="9" y="9"/>
                      <a:pt x="8" y="10"/>
                    </a:cubicBezTo>
                    <a:cubicBezTo>
                      <a:pt x="2" y="9"/>
                      <a:pt x="2" y="9"/>
                      <a:pt x="2" y="9"/>
                    </a:cubicBezTo>
                    <a:cubicBezTo>
                      <a:pt x="0" y="14"/>
                      <a:pt x="0" y="14"/>
                      <a:pt x="0" y="14"/>
                    </a:cubicBezTo>
                    <a:cubicBezTo>
                      <a:pt x="5" y="17"/>
                      <a:pt x="5" y="17"/>
                      <a:pt x="5" y="17"/>
                    </a:cubicBezTo>
                    <a:cubicBezTo>
                      <a:pt x="5" y="19"/>
                      <a:pt x="5" y="20"/>
                      <a:pt x="5" y="21"/>
                    </a:cubicBezTo>
                    <a:cubicBezTo>
                      <a:pt x="0" y="24"/>
                      <a:pt x="0" y="24"/>
                      <a:pt x="0" y="24"/>
                    </a:cubicBezTo>
                    <a:cubicBezTo>
                      <a:pt x="2" y="29"/>
                      <a:pt x="2" y="29"/>
                      <a:pt x="2" y="29"/>
                    </a:cubicBezTo>
                    <a:cubicBezTo>
                      <a:pt x="8" y="28"/>
                      <a:pt x="8" y="28"/>
                      <a:pt x="8" y="28"/>
                    </a:cubicBezTo>
                    <a:cubicBezTo>
                      <a:pt x="9" y="29"/>
                      <a:pt x="10" y="30"/>
                      <a:pt x="11" y="31"/>
                    </a:cubicBezTo>
                    <a:cubicBezTo>
                      <a:pt x="10" y="37"/>
                      <a:pt x="10" y="37"/>
                      <a:pt x="10" y="37"/>
                    </a:cubicBezTo>
                    <a:cubicBezTo>
                      <a:pt x="15" y="39"/>
                      <a:pt x="15" y="39"/>
                      <a:pt x="15" y="39"/>
                    </a:cubicBezTo>
                    <a:cubicBezTo>
                      <a:pt x="18" y="34"/>
                      <a:pt x="18" y="34"/>
                      <a:pt x="18" y="34"/>
                    </a:cubicBezTo>
                    <a:cubicBezTo>
                      <a:pt x="19" y="34"/>
                      <a:pt x="21" y="34"/>
                      <a:pt x="22" y="34"/>
                    </a:cubicBezTo>
                    <a:cubicBezTo>
                      <a:pt x="25" y="39"/>
                      <a:pt x="25" y="39"/>
                      <a:pt x="25" y="39"/>
                    </a:cubicBezTo>
                    <a:cubicBezTo>
                      <a:pt x="30" y="37"/>
                      <a:pt x="30" y="37"/>
                      <a:pt x="30" y="37"/>
                    </a:cubicBezTo>
                    <a:cubicBezTo>
                      <a:pt x="29" y="31"/>
                      <a:pt x="29" y="31"/>
                      <a:pt x="29" y="31"/>
                    </a:cubicBezTo>
                    <a:cubicBezTo>
                      <a:pt x="30" y="30"/>
                      <a:pt x="31" y="29"/>
                      <a:pt x="31" y="28"/>
                    </a:cubicBezTo>
                    <a:lnTo>
                      <a:pt x="37" y="29"/>
                    </a:lnTo>
                    <a:close/>
                    <a:moveTo>
                      <a:pt x="17" y="27"/>
                    </a:moveTo>
                    <a:cubicBezTo>
                      <a:pt x="13" y="25"/>
                      <a:pt x="11" y="20"/>
                      <a:pt x="13" y="16"/>
                    </a:cubicBezTo>
                    <a:cubicBezTo>
                      <a:pt x="14" y="12"/>
                      <a:pt x="19" y="11"/>
                      <a:pt x="23" y="12"/>
                    </a:cubicBezTo>
                    <a:cubicBezTo>
                      <a:pt x="27" y="14"/>
                      <a:pt x="29" y="18"/>
                      <a:pt x="27" y="22"/>
                    </a:cubicBezTo>
                    <a:cubicBezTo>
                      <a:pt x="25" y="26"/>
                      <a:pt x="21" y="28"/>
                      <a:pt x="17" y="27"/>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69" name="Group 968">
            <a:extLst>
              <a:ext uri="{FF2B5EF4-FFF2-40B4-BE49-F238E27FC236}">
                <a16:creationId xmlns:a16="http://schemas.microsoft.com/office/drawing/2014/main" id="{4D082AAA-1CAB-4A68-9A48-7C24A9576712}"/>
              </a:ext>
            </a:extLst>
          </p:cNvPr>
          <p:cNvGrpSpPr/>
          <p:nvPr/>
        </p:nvGrpSpPr>
        <p:grpSpPr>
          <a:xfrm>
            <a:off x="7056695" y="4947480"/>
            <a:ext cx="441250" cy="440712"/>
            <a:chOff x="7136427" y="3546475"/>
            <a:chExt cx="1303338" cy="1301750"/>
          </a:xfrm>
        </p:grpSpPr>
        <p:sp>
          <p:nvSpPr>
            <p:cNvPr id="970" name="Oval 5">
              <a:extLst>
                <a:ext uri="{FF2B5EF4-FFF2-40B4-BE49-F238E27FC236}">
                  <a16:creationId xmlns:a16="http://schemas.microsoft.com/office/drawing/2014/main" id="{CC77CB02-097D-4F1E-9958-8EC674EAAE7C}"/>
                </a:ext>
              </a:extLst>
            </p:cNvPr>
            <p:cNvSpPr>
              <a:spLocks noChangeArrowheads="1"/>
            </p:cNvSpPr>
            <p:nvPr/>
          </p:nvSpPr>
          <p:spPr bwMode="auto">
            <a:xfrm>
              <a:off x="7136427"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971" name="Group 970">
              <a:extLst>
                <a:ext uri="{FF2B5EF4-FFF2-40B4-BE49-F238E27FC236}">
                  <a16:creationId xmlns:a16="http://schemas.microsoft.com/office/drawing/2014/main" id="{72F9CDA6-D839-41F9-830D-F6FADB1D6E62}"/>
                </a:ext>
              </a:extLst>
            </p:cNvPr>
            <p:cNvGrpSpPr/>
            <p:nvPr/>
          </p:nvGrpSpPr>
          <p:grpSpPr>
            <a:xfrm>
              <a:off x="7375167" y="3762415"/>
              <a:ext cx="825858" cy="869870"/>
              <a:chOff x="7598632" y="3948588"/>
              <a:chExt cx="461366" cy="485954"/>
            </a:xfrm>
          </p:grpSpPr>
          <p:sp>
            <p:nvSpPr>
              <p:cNvPr id="972" name="Freeform 67">
                <a:extLst>
                  <a:ext uri="{FF2B5EF4-FFF2-40B4-BE49-F238E27FC236}">
                    <a16:creationId xmlns:a16="http://schemas.microsoft.com/office/drawing/2014/main" id="{23A72D56-0C39-4A66-B975-3F992512ABD0}"/>
                  </a:ext>
                </a:extLst>
              </p:cNvPr>
              <p:cNvSpPr>
                <a:spLocks noEditPoints="1"/>
              </p:cNvSpPr>
              <p:nvPr/>
            </p:nvSpPr>
            <p:spPr bwMode="auto">
              <a:xfrm>
                <a:off x="7729521" y="4044296"/>
                <a:ext cx="199588" cy="255994"/>
              </a:xfrm>
              <a:custGeom>
                <a:avLst/>
                <a:gdLst>
                  <a:gd name="T0" fmla="*/ 4 w 58"/>
                  <a:gd name="T1" fmla="*/ 74 h 74"/>
                  <a:gd name="T2" fmla="*/ 54 w 58"/>
                  <a:gd name="T3" fmla="*/ 74 h 74"/>
                  <a:gd name="T4" fmla="*/ 58 w 58"/>
                  <a:gd name="T5" fmla="*/ 70 h 74"/>
                  <a:gd name="T6" fmla="*/ 58 w 58"/>
                  <a:gd name="T7" fmla="*/ 29 h 74"/>
                  <a:gd name="T8" fmla="*/ 54 w 58"/>
                  <a:gd name="T9" fmla="*/ 25 h 74"/>
                  <a:gd name="T10" fmla="*/ 16 w 58"/>
                  <a:gd name="T11" fmla="*/ 25 h 74"/>
                  <a:gd name="T12" fmla="*/ 16 w 58"/>
                  <a:gd name="T13" fmla="*/ 21 h 74"/>
                  <a:gd name="T14" fmla="*/ 29 w 58"/>
                  <a:gd name="T15" fmla="*/ 9 h 74"/>
                  <a:gd name="T16" fmla="*/ 41 w 58"/>
                  <a:gd name="T17" fmla="*/ 17 h 74"/>
                  <a:gd name="T18" fmla="*/ 43 w 58"/>
                  <a:gd name="T19" fmla="*/ 19 h 74"/>
                  <a:gd name="T20" fmla="*/ 46 w 58"/>
                  <a:gd name="T21" fmla="*/ 19 h 74"/>
                  <a:gd name="T22" fmla="*/ 47 w 58"/>
                  <a:gd name="T23" fmla="*/ 18 h 74"/>
                  <a:gd name="T24" fmla="*/ 49 w 58"/>
                  <a:gd name="T25" fmla="*/ 14 h 74"/>
                  <a:gd name="T26" fmla="*/ 29 w 58"/>
                  <a:gd name="T27" fmla="*/ 0 h 74"/>
                  <a:gd name="T28" fmla="*/ 8 w 58"/>
                  <a:gd name="T29" fmla="*/ 21 h 74"/>
                  <a:gd name="T30" fmla="*/ 8 w 58"/>
                  <a:gd name="T31" fmla="*/ 25 h 74"/>
                  <a:gd name="T32" fmla="*/ 4 w 58"/>
                  <a:gd name="T33" fmla="*/ 25 h 74"/>
                  <a:gd name="T34" fmla="*/ 0 w 58"/>
                  <a:gd name="T35" fmla="*/ 29 h 74"/>
                  <a:gd name="T36" fmla="*/ 0 w 58"/>
                  <a:gd name="T37" fmla="*/ 70 h 74"/>
                  <a:gd name="T38" fmla="*/ 4 w 58"/>
                  <a:gd name="T39" fmla="*/ 74 h 74"/>
                  <a:gd name="T40" fmla="*/ 25 w 58"/>
                  <a:gd name="T41" fmla="*/ 43 h 74"/>
                  <a:gd name="T42" fmla="*/ 29 w 58"/>
                  <a:gd name="T43" fmla="*/ 39 h 74"/>
                  <a:gd name="T44" fmla="*/ 33 w 58"/>
                  <a:gd name="T45" fmla="*/ 43 h 74"/>
                  <a:gd name="T46" fmla="*/ 33 w 58"/>
                  <a:gd name="T47" fmla="*/ 56 h 74"/>
                  <a:gd name="T48" fmla="*/ 29 w 58"/>
                  <a:gd name="T49" fmla="*/ 60 h 74"/>
                  <a:gd name="T50" fmla="*/ 25 w 58"/>
                  <a:gd name="T51" fmla="*/ 56 h 74"/>
                  <a:gd name="T52" fmla="*/ 25 w 58"/>
                  <a:gd name="T53" fmla="*/ 4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74">
                    <a:moveTo>
                      <a:pt x="4" y="74"/>
                    </a:moveTo>
                    <a:cubicBezTo>
                      <a:pt x="54" y="74"/>
                      <a:pt x="54" y="74"/>
                      <a:pt x="54" y="74"/>
                    </a:cubicBezTo>
                    <a:cubicBezTo>
                      <a:pt x="57" y="74"/>
                      <a:pt x="58" y="72"/>
                      <a:pt x="58" y="70"/>
                    </a:cubicBezTo>
                    <a:cubicBezTo>
                      <a:pt x="58" y="29"/>
                      <a:pt x="58" y="29"/>
                      <a:pt x="58" y="29"/>
                    </a:cubicBezTo>
                    <a:cubicBezTo>
                      <a:pt x="58" y="27"/>
                      <a:pt x="57" y="25"/>
                      <a:pt x="54" y="25"/>
                    </a:cubicBezTo>
                    <a:cubicBezTo>
                      <a:pt x="16" y="25"/>
                      <a:pt x="16" y="25"/>
                      <a:pt x="16" y="25"/>
                    </a:cubicBezTo>
                    <a:cubicBezTo>
                      <a:pt x="16" y="21"/>
                      <a:pt x="16" y="21"/>
                      <a:pt x="16" y="21"/>
                    </a:cubicBezTo>
                    <a:cubicBezTo>
                      <a:pt x="16" y="14"/>
                      <a:pt x="22" y="9"/>
                      <a:pt x="29" y="9"/>
                    </a:cubicBezTo>
                    <a:cubicBezTo>
                      <a:pt x="34" y="9"/>
                      <a:pt x="39" y="12"/>
                      <a:pt x="41" y="17"/>
                    </a:cubicBezTo>
                    <a:cubicBezTo>
                      <a:pt x="41" y="18"/>
                      <a:pt x="42" y="19"/>
                      <a:pt x="43" y="19"/>
                    </a:cubicBezTo>
                    <a:cubicBezTo>
                      <a:pt x="44" y="20"/>
                      <a:pt x="45" y="20"/>
                      <a:pt x="46" y="19"/>
                    </a:cubicBezTo>
                    <a:cubicBezTo>
                      <a:pt x="47" y="18"/>
                      <a:pt x="47" y="18"/>
                      <a:pt x="47" y="18"/>
                    </a:cubicBezTo>
                    <a:cubicBezTo>
                      <a:pt x="49" y="17"/>
                      <a:pt x="49" y="16"/>
                      <a:pt x="49" y="14"/>
                    </a:cubicBezTo>
                    <a:cubicBezTo>
                      <a:pt x="46" y="6"/>
                      <a:pt x="38" y="0"/>
                      <a:pt x="29" y="0"/>
                    </a:cubicBezTo>
                    <a:cubicBezTo>
                      <a:pt x="17" y="0"/>
                      <a:pt x="8" y="10"/>
                      <a:pt x="8" y="21"/>
                    </a:cubicBezTo>
                    <a:cubicBezTo>
                      <a:pt x="8" y="25"/>
                      <a:pt x="8" y="25"/>
                      <a:pt x="8" y="25"/>
                    </a:cubicBezTo>
                    <a:cubicBezTo>
                      <a:pt x="4" y="25"/>
                      <a:pt x="4" y="25"/>
                      <a:pt x="4" y="25"/>
                    </a:cubicBezTo>
                    <a:cubicBezTo>
                      <a:pt x="2" y="25"/>
                      <a:pt x="0" y="27"/>
                      <a:pt x="0" y="29"/>
                    </a:cubicBezTo>
                    <a:cubicBezTo>
                      <a:pt x="0" y="70"/>
                      <a:pt x="0" y="70"/>
                      <a:pt x="0" y="70"/>
                    </a:cubicBezTo>
                    <a:cubicBezTo>
                      <a:pt x="0" y="72"/>
                      <a:pt x="2" y="74"/>
                      <a:pt x="4" y="74"/>
                    </a:cubicBezTo>
                    <a:close/>
                    <a:moveTo>
                      <a:pt x="25" y="43"/>
                    </a:moveTo>
                    <a:cubicBezTo>
                      <a:pt x="25" y="41"/>
                      <a:pt x="27" y="39"/>
                      <a:pt x="29" y="39"/>
                    </a:cubicBezTo>
                    <a:cubicBezTo>
                      <a:pt x="31" y="39"/>
                      <a:pt x="33" y="41"/>
                      <a:pt x="33" y="43"/>
                    </a:cubicBezTo>
                    <a:cubicBezTo>
                      <a:pt x="33" y="56"/>
                      <a:pt x="33" y="56"/>
                      <a:pt x="33" y="56"/>
                    </a:cubicBezTo>
                    <a:cubicBezTo>
                      <a:pt x="33" y="58"/>
                      <a:pt x="31" y="60"/>
                      <a:pt x="29" y="60"/>
                    </a:cubicBezTo>
                    <a:cubicBezTo>
                      <a:pt x="27" y="60"/>
                      <a:pt x="25" y="58"/>
                      <a:pt x="25" y="56"/>
                    </a:cubicBezTo>
                    <a:lnTo>
                      <a:pt x="25" y="4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3" name="Freeform 68">
                <a:extLst>
                  <a:ext uri="{FF2B5EF4-FFF2-40B4-BE49-F238E27FC236}">
                    <a16:creationId xmlns:a16="http://schemas.microsoft.com/office/drawing/2014/main" id="{75444C25-F2DE-47A9-8813-9D10C2B2F2E3}"/>
                  </a:ext>
                </a:extLst>
              </p:cNvPr>
              <p:cNvSpPr>
                <a:spLocks noEditPoints="1"/>
              </p:cNvSpPr>
              <p:nvPr/>
            </p:nvSpPr>
            <p:spPr bwMode="auto">
              <a:xfrm>
                <a:off x="7598632" y="3948588"/>
                <a:ext cx="461366" cy="485954"/>
              </a:xfrm>
              <a:custGeom>
                <a:avLst/>
                <a:gdLst>
                  <a:gd name="T0" fmla="*/ 67 w 134"/>
                  <a:gd name="T1" fmla="*/ 141 h 141"/>
                  <a:gd name="T2" fmla="*/ 66 w 134"/>
                  <a:gd name="T3" fmla="*/ 141 h 141"/>
                  <a:gd name="T4" fmla="*/ 13 w 134"/>
                  <a:gd name="T5" fmla="*/ 23 h 141"/>
                  <a:gd name="T6" fmla="*/ 13 w 134"/>
                  <a:gd name="T7" fmla="*/ 22 h 141"/>
                  <a:gd name="T8" fmla="*/ 15 w 134"/>
                  <a:gd name="T9" fmla="*/ 22 h 141"/>
                  <a:gd name="T10" fmla="*/ 66 w 134"/>
                  <a:gd name="T11" fmla="*/ 0 h 141"/>
                  <a:gd name="T12" fmla="*/ 67 w 134"/>
                  <a:gd name="T13" fmla="*/ 0 h 141"/>
                  <a:gd name="T14" fmla="*/ 68 w 134"/>
                  <a:gd name="T15" fmla="*/ 0 h 141"/>
                  <a:gd name="T16" fmla="*/ 119 w 134"/>
                  <a:gd name="T17" fmla="*/ 22 h 141"/>
                  <a:gd name="T18" fmla="*/ 121 w 134"/>
                  <a:gd name="T19" fmla="*/ 22 h 141"/>
                  <a:gd name="T20" fmla="*/ 121 w 134"/>
                  <a:gd name="T21" fmla="*/ 23 h 141"/>
                  <a:gd name="T22" fmla="*/ 68 w 134"/>
                  <a:gd name="T23" fmla="*/ 141 h 141"/>
                  <a:gd name="T24" fmla="*/ 67 w 134"/>
                  <a:gd name="T25" fmla="*/ 141 h 141"/>
                  <a:gd name="T26" fmla="*/ 17 w 134"/>
                  <a:gd name="T27" fmla="*/ 26 h 141"/>
                  <a:gd name="T28" fmla="*/ 67 w 134"/>
                  <a:gd name="T29" fmla="*/ 136 h 141"/>
                  <a:gd name="T30" fmla="*/ 117 w 134"/>
                  <a:gd name="T31" fmla="*/ 26 h 141"/>
                  <a:gd name="T32" fmla="*/ 67 w 134"/>
                  <a:gd name="T33" fmla="*/ 5 h 141"/>
                  <a:gd name="T34" fmla="*/ 17 w 134"/>
                  <a:gd name="T35" fmla="*/ 2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41">
                    <a:moveTo>
                      <a:pt x="67" y="141"/>
                    </a:moveTo>
                    <a:cubicBezTo>
                      <a:pt x="66" y="141"/>
                      <a:pt x="66" y="141"/>
                      <a:pt x="66" y="141"/>
                    </a:cubicBezTo>
                    <a:cubicBezTo>
                      <a:pt x="14" y="121"/>
                      <a:pt x="0" y="67"/>
                      <a:pt x="13" y="23"/>
                    </a:cubicBezTo>
                    <a:cubicBezTo>
                      <a:pt x="13" y="22"/>
                      <a:pt x="13" y="22"/>
                      <a:pt x="13" y="22"/>
                    </a:cubicBezTo>
                    <a:cubicBezTo>
                      <a:pt x="15" y="22"/>
                      <a:pt x="15" y="22"/>
                      <a:pt x="15" y="22"/>
                    </a:cubicBezTo>
                    <a:cubicBezTo>
                      <a:pt x="33" y="17"/>
                      <a:pt x="50" y="10"/>
                      <a:pt x="66" y="0"/>
                    </a:cubicBezTo>
                    <a:cubicBezTo>
                      <a:pt x="67" y="0"/>
                      <a:pt x="67" y="0"/>
                      <a:pt x="67" y="0"/>
                    </a:cubicBezTo>
                    <a:cubicBezTo>
                      <a:pt x="68" y="0"/>
                      <a:pt x="68" y="0"/>
                      <a:pt x="68" y="0"/>
                    </a:cubicBezTo>
                    <a:cubicBezTo>
                      <a:pt x="84" y="10"/>
                      <a:pt x="101" y="17"/>
                      <a:pt x="119" y="22"/>
                    </a:cubicBezTo>
                    <a:cubicBezTo>
                      <a:pt x="121" y="22"/>
                      <a:pt x="121" y="22"/>
                      <a:pt x="121" y="22"/>
                    </a:cubicBezTo>
                    <a:cubicBezTo>
                      <a:pt x="121" y="23"/>
                      <a:pt x="121" y="23"/>
                      <a:pt x="121" y="23"/>
                    </a:cubicBezTo>
                    <a:cubicBezTo>
                      <a:pt x="134" y="67"/>
                      <a:pt x="120" y="121"/>
                      <a:pt x="68" y="141"/>
                    </a:cubicBezTo>
                    <a:lnTo>
                      <a:pt x="67" y="141"/>
                    </a:lnTo>
                    <a:close/>
                    <a:moveTo>
                      <a:pt x="17" y="26"/>
                    </a:moveTo>
                    <a:cubicBezTo>
                      <a:pt x="6" y="67"/>
                      <a:pt x="19" y="117"/>
                      <a:pt x="67" y="136"/>
                    </a:cubicBezTo>
                    <a:cubicBezTo>
                      <a:pt x="115" y="117"/>
                      <a:pt x="129" y="67"/>
                      <a:pt x="117" y="26"/>
                    </a:cubicBezTo>
                    <a:cubicBezTo>
                      <a:pt x="99" y="22"/>
                      <a:pt x="82" y="15"/>
                      <a:pt x="67" y="5"/>
                    </a:cubicBezTo>
                    <a:cubicBezTo>
                      <a:pt x="52" y="15"/>
                      <a:pt x="35" y="22"/>
                      <a:pt x="17" y="26"/>
                    </a:cubicBezTo>
                    <a:close/>
                  </a:path>
                </a:pathLst>
              </a:cu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cxnSp>
        <p:nvCxnSpPr>
          <p:cNvPr id="974" name="Straight Connector 973">
            <a:extLst>
              <a:ext uri="{FF2B5EF4-FFF2-40B4-BE49-F238E27FC236}">
                <a16:creationId xmlns:a16="http://schemas.microsoft.com/office/drawing/2014/main" id="{17C87AD5-9700-41E9-961B-60FF2217EAA9}"/>
              </a:ext>
            </a:extLst>
          </p:cNvPr>
          <p:cNvCxnSpPr>
            <a:cxnSpLocks/>
          </p:cNvCxnSpPr>
          <p:nvPr/>
        </p:nvCxnSpPr>
        <p:spPr>
          <a:xfrm>
            <a:off x="6193802" y="3939539"/>
            <a:ext cx="0" cy="1007940"/>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75" name="Straight Connector 974">
            <a:extLst>
              <a:ext uri="{FF2B5EF4-FFF2-40B4-BE49-F238E27FC236}">
                <a16:creationId xmlns:a16="http://schemas.microsoft.com/office/drawing/2014/main" id="{12C26EC0-F211-4370-8E56-493ECAFEBDA1}"/>
              </a:ext>
            </a:extLst>
          </p:cNvPr>
          <p:cNvCxnSpPr>
            <a:cxnSpLocks/>
          </p:cNvCxnSpPr>
          <p:nvPr/>
        </p:nvCxnSpPr>
        <p:spPr>
          <a:xfrm>
            <a:off x="5110283" y="3939539"/>
            <a:ext cx="0" cy="1007940"/>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82" name="Straight Connector 981">
            <a:extLst>
              <a:ext uri="{FF2B5EF4-FFF2-40B4-BE49-F238E27FC236}">
                <a16:creationId xmlns:a16="http://schemas.microsoft.com/office/drawing/2014/main" id="{9CFB2A56-0132-434D-8F0D-34699B143912}"/>
              </a:ext>
            </a:extLst>
          </p:cNvPr>
          <p:cNvCxnSpPr>
            <a:cxnSpLocks/>
          </p:cNvCxnSpPr>
          <p:nvPr/>
        </p:nvCxnSpPr>
        <p:spPr>
          <a:xfrm>
            <a:off x="7277320" y="3939539"/>
            <a:ext cx="0" cy="1007940"/>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82" name="TextBox 681">
            <a:extLst>
              <a:ext uri="{FF2B5EF4-FFF2-40B4-BE49-F238E27FC236}">
                <a16:creationId xmlns:a16="http://schemas.microsoft.com/office/drawing/2014/main" id="{543F1673-60C9-45AD-8F25-0655DC016015}"/>
              </a:ext>
            </a:extLst>
          </p:cNvPr>
          <p:cNvSpPr txBox="1"/>
          <p:nvPr/>
        </p:nvSpPr>
        <p:spPr>
          <a:xfrm>
            <a:off x="4594884" y="2945858"/>
            <a:ext cx="1030799" cy="1047022"/>
          </a:xfrm>
          <a:prstGeom prst="rect">
            <a:avLst/>
          </a:prstGeom>
          <a:solidFill>
            <a:schemeClr val="bg1">
              <a:lumMod val="85000"/>
            </a:schemeClr>
          </a:solidFill>
          <a:ln w="6350">
            <a:solidFill>
              <a:schemeClr val="bg1">
                <a:lumMod val="85000"/>
              </a:schemeClr>
            </a:solidFill>
          </a:ln>
        </p:spPr>
        <p:txBody>
          <a:bodyPr wrap="square" lIns="0" tIns="91440" rIns="0" bIns="0" rtlCol="0" anchor="t">
            <a:noAutofit/>
          </a:bodyPr>
          <a:lstStyle>
            <a:defPPr>
              <a:defRPr lang="en-US"/>
            </a:defPPr>
            <a:lvl1pPr algn="ctr">
              <a:defRPr sz="1200"/>
            </a:lvl1pPr>
          </a:lstStyle>
          <a:p>
            <a:pPr>
              <a:lnSpc>
                <a:spcPct val="90000"/>
              </a:lnSpc>
            </a:pPr>
            <a:r>
              <a:rPr lang="en-US" sz="1400" dirty="0"/>
              <a:t>Owner </a:t>
            </a:r>
          </a:p>
        </p:txBody>
      </p:sp>
      <p:sp>
        <p:nvSpPr>
          <p:cNvPr id="683" name="TextBox 682">
            <a:extLst>
              <a:ext uri="{FF2B5EF4-FFF2-40B4-BE49-F238E27FC236}">
                <a16:creationId xmlns:a16="http://schemas.microsoft.com/office/drawing/2014/main" id="{4EE59EE3-0B7D-41BB-9D68-549CE5783ED4}"/>
              </a:ext>
            </a:extLst>
          </p:cNvPr>
          <p:cNvSpPr txBox="1"/>
          <p:nvPr/>
        </p:nvSpPr>
        <p:spPr>
          <a:xfrm>
            <a:off x="5678403" y="2945858"/>
            <a:ext cx="1030799" cy="1047022"/>
          </a:xfrm>
          <a:prstGeom prst="rect">
            <a:avLst/>
          </a:prstGeom>
          <a:solidFill>
            <a:schemeClr val="bg1">
              <a:lumMod val="85000"/>
            </a:schemeClr>
          </a:solidFill>
          <a:ln w="6350">
            <a:solidFill>
              <a:schemeClr val="bg1">
                <a:lumMod val="85000"/>
              </a:schemeClr>
            </a:solidFill>
          </a:ln>
        </p:spPr>
        <p:txBody>
          <a:bodyPr wrap="square" lIns="0" tIns="91440" rIns="0" bIns="0" rtlCol="0" anchor="t">
            <a:noAutofit/>
          </a:bodyPr>
          <a:lstStyle>
            <a:defPPr>
              <a:defRPr lang="en-US"/>
            </a:defPPr>
            <a:lvl1pPr algn="ctr">
              <a:defRPr sz="1200"/>
            </a:lvl1pPr>
          </a:lstStyle>
          <a:p>
            <a:pPr>
              <a:lnSpc>
                <a:spcPct val="90000"/>
              </a:lnSpc>
            </a:pPr>
            <a:r>
              <a:rPr lang="en-US" sz="1400" dirty="0"/>
              <a:t>Operator</a:t>
            </a:r>
          </a:p>
        </p:txBody>
      </p:sp>
      <p:sp>
        <p:nvSpPr>
          <p:cNvPr id="684" name="TextBox 683">
            <a:extLst>
              <a:ext uri="{FF2B5EF4-FFF2-40B4-BE49-F238E27FC236}">
                <a16:creationId xmlns:a16="http://schemas.microsoft.com/office/drawing/2014/main" id="{B7458A52-60C6-46D2-B3D4-231A36259680}"/>
              </a:ext>
            </a:extLst>
          </p:cNvPr>
          <p:cNvSpPr txBox="1"/>
          <p:nvPr/>
        </p:nvSpPr>
        <p:spPr>
          <a:xfrm>
            <a:off x="6761921" y="2945858"/>
            <a:ext cx="1030799" cy="1047022"/>
          </a:xfrm>
          <a:prstGeom prst="rect">
            <a:avLst/>
          </a:prstGeom>
          <a:solidFill>
            <a:schemeClr val="bg1">
              <a:lumMod val="85000"/>
            </a:schemeClr>
          </a:solidFill>
          <a:ln w="6350">
            <a:solidFill>
              <a:schemeClr val="bg1">
                <a:lumMod val="85000"/>
              </a:schemeClr>
            </a:solidFill>
          </a:ln>
        </p:spPr>
        <p:txBody>
          <a:bodyPr wrap="square" lIns="0" tIns="91440" rIns="0" bIns="0" rtlCol="0" anchor="t">
            <a:noAutofit/>
          </a:bodyPr>
          <a:lstStyle>
            <a:defPPr>
              <a:defRPr lang="en-US"/>
            </a:defPPr>
            <a:lvl1pPr algn="ctr">
              <a:defRPr sz="1200"/>
            </a:lvl1pPr>
          </a:lstStyle>
          <a:p>
            <a:pPr>
              <a:lnSpc>
                <a:spcPct val="90000"/>
              </a:lnSpc>
            </a:pPr>
            <a:r>
              <a:rPr lang="en-US" sz="1400" dirty="0"/>
              <a:t>Contributor</a:t>
            </a:r>
          </a:p>
        </p:txBody>
      </p:sp>
      <p:grpSp>
        <p:nvGrpSpPr>
          <p:cNvPr id="704" name="Group 925">
            <a:extLst>
              <a:ext uri="{FF2B5EF4-FFF2-40B4-BE49-F238E27FC236}">
                <a16:creationId xmlns:a16="http://schemas.microsoft.com/office/drawing/2014/main" id="{693F4E13-D908-4A6A-867F-E95B4CB3A283}"/>
              </a:ext>
            </a:extLst>
          </p:cNvPr>
          <p:cNvGrpSpPr>
            <a:grpSpLocks noChangeAspect="1"/>
          </p:cNvGrpSpPr>
          <p:nvPr/>
        </p:nvGrpSpPr>
        <p:grpSpPr bwMode="auto">
          <a:xfrm>
            <a:off x="7023144" y="3395364"/>
            <a:ext cx="508352" cy="509136"/>
            <a:chOff x="2619" y="903"/>
            <a:chExt cx="2592" cy="2596"/>
          </a:xfrm>
        </p:grpSpPr>
        <p:sp>
          <p:nvSpPr>
            <p:cNvPr id="705" name="Oval 926">
              <a:extLst>
                <a:ext uri="{FF2B5EF4-FFF2-40B4-BE49-F238E27FC236}">
                  <a16:creationId xmlns:a16="http://schemas.microsoft.com/office/drawing/2014/main" id="{3A49AEB6-4255-48BA-A213-719D4745240C}"/>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6" name="Freeform 927">
              <a:extLst>
                <a:ext uri="{FF2B5EF4-FFF2-40B4-BE49-F238E27FC236}">
                  <a16:creationId xmlns:a16="http://schemas.microsoft.com/office/drawing/2014/main" id="{497319A5-F0C8-4C4D-9DAA-5162CFB1FC04}"/>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7" name="Freeform 928">
              <a:extLst>
                <a:ext uri="{FF2B5EF4-FFF2-40B4-BE49-F238E27FC236}">
                  <a16:creationId xmlns:a16="http://schemas.microsoft.com/office/drawing/2014/main" id="{4953DD6B-2B95-42D2-8F6B-401225603B65}"/>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8" name="Freeform 929">
              <a:extLst>
                <a:ext uri="{FF2B5EF4-FFF2-40B4-BE49-F238E27FC236}">
                  <a16:creationId xmlns:a16="http://schemas.microsoft.com/office/drawing/2014/main" id="{85574620-739A-4C60-A76B-4284560B7923}"/>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9" name="Freeform 930">
              <a:extLst>
                <a:ext uri="{FF2B5EF4-FFF2-40B4-BE49-F238E27FC236}">
                  <a16:creationId xmlns:a16="http://schemas.microsoft.com/office/drawing/2014/main" id="{E9F94ACF-138A-4B02-B769-2B804765D6A8}"/>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0" name="Freeform 931">
              <a:extLst>
                <a:ext uri="{FF2B5EF4-FFF2-40B4-BE49-F238E27FC236}">
                  <a16:creationId xmlns:a16="http://schemas.microsoft.com/office/drawing/2014/main" id="{0C351F21-3695-43E5-81F9-D1DCCE398DBB}"/>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1" name="Freeform 932">
              <a:extLst>
                <a:ext uri="{FF2B5EF4-FFF2-40B4-BE49-F238E27FC236}">
                  <a16:creationId xmlns:a16="http://schemas.microsoft.com/office/drawing/2014/main" id="{99B3530E-D6F4-4828-BDC5-131C7843DC36}"/>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2" name="Freeform 933">
              <a:extLst>
                <a:ext uri="{FF2B5EF4-FFF2-40B4-BE49-F238E27FC236}">
                  <a16:creationId xmlns:a16="http://schemas.microsoft.com/office/drawing/2014/main" id="{413F7EEF-3271-4C66-A432-DDD01816FCA0}"/>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4" name="Freeform 934">
              <a:extLst>
                <a:ext uri="{FF2B5EF4-FFF2-40B4-BE49-F238E27FC236}">
                  <a16:creationId xmlns:a16="http://schemas.microsoft.com/office/drawing/2014/main" id="{D28DDB9E-B47C-4E6F-B1B7-38337E5163CE}"/>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9" name="Freeform 935">
              <a:extLst>
                <a:ext uri="{FF2B5EF4-FFF2-40B4-BE49-F238E27FC236}">
                  <a16:creationId xmlns:a16="http://schemas.microsoft.com/office/drawing/2014/main" id="{D4ADA3DB-0079-4261-984F-5A401CF8DC5B}"/>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0" name="Freeform 936">
              <a:extLst>
                <a:ext uri="{FF2B5EF4-FFF2-40B4-BE49-F238E27FC236}">
                  <a16:creationId xmlns:a16="http://schemas.microsoft.com/office/drawing/2014/main" id="{A969476A-59D9-4C1C-8482-694189C336A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2" name="Freeform 937">
              <a:extLst>
                <a:ext uri="{FF2B5EF4-FFF2-40B4-BE49-F238E27FC236}">
                  <a16:creationId xmlns:a16="http://schemas.microsoft.com/office/drawing/2014/main" id="{FF15A7EA-C9BE-4DAE-B77B-DCB0A10F951A}"/>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3" name="Freeform 938">
              <a:extLst>
                <a:ext uri="{FF2B5EF4-FFF2-40B4-BE49-F238E27FC236}">
                  <a16:creationId xmlns:a16="http://schemas.microsoft.com/office/drawing/2014/main" id="{1487A46A-C876-4598-8B68-D8E34330F12F}"/>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4" name="Oval 939">
              <a:extLst>
                <a:ext uri="{FF2B5EF4-FFF2-40B4-BE49-F238E27FC236}">
                  <a16:creationId xmlns:a16="http://schemas.microsoft.com/office/drawing/2014/main" id="{3F907996-079C-46B2-B268-66C71F481CF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5" name="Oval 940">
              <a:extLst>
                <a:ext uri="{FF2B5EF4-FFF2-40B4-BE49-F238E27FC236}">
                  <a16:creationId xmlns:a16="http://schemas.microsoft.com/office/drawing/2014/main" id="{AEDE3FA0-BFC5-4294-BCA1-3CD2DEFFC8D4}"/>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6" name="Freeform 941">
              <a:extLst>
                <a:ext uri="{FF2B5EF4-FFF2-40B4-BE49-F238E27FC236}">
                  <a16:creationId xmlns:a16="http://schemas.microsoft.com/office/drawing/2014/main" id="{1C1EF5DD-CD15-4E83-9FC7-E5046317B504}"/>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7" name="Freeform 942">
              <a:extLst>
                <a:ext uri="{FF2B5EF4-FFF2-40B4-BE49-F238E27FC236}">
                  <a16:creationId xmlns:a16="http://schemas.microsoft.com/office/drawing/2014/main" id="{69A73AD5-06DB-42C1-ADC1-B1AC67CCAA2F}"/>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8" name="Freeform 943">
              <a:extLst>
                <a:ext uri="{FF2B5EF4-FFF2-40B4-BE49-F238E27FC236}">
                  <a16:creationId xmlns:a16="http://schemas.microsoft.com/office/drawing/2014/main" id="{A91FE03C-8BD2-4E1B-8FA8-8031AE2339F4}"/>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99" name="Group 595">
            <a:extLst>
              <a:ext uri="{FF2B5EF4-FFF2-40B4-BE49-F238E27FC236}">
                <a16:creationId xmlns:a16="http://schemas.microsoft.com/office/drawing/2014/main" id="{19A37204-5CC8-4701-9096-B0CB4472E632}"/>
              </a:ext>
            </a:extLst>
          </p:cNvPr>
          <p:cNvGrpSpPr>
            <a:grpSpLocks noChangeAspect="1"/>
          </p:cNvGrpSpPr>
          <p:nvPr/>
        </p:nvGrpSpPr>
        <p:grpSpPr bwMode="auto">
          <a:xfrm>
            <a:off x="5939054" y="3395364"/>
            <a:ext cx="509496" cy="509136"/>
            <a:chOff x="2499" y="790"/>
            <a:chExt cx="2832" cy="2830"/>
          </a:xfrm>
        </p:grpSpPr>
        <p:sp>
          <p:nvSpPr>
            <p:cNvPr id="900" name="Oval 596">
              <a:extLst>
                <a:ext uri="{FF2B5EF4-FFF2-40B4-BE49-F238E27FC236}">
                  <a16:creationId xmlns:a16="http://schemas.microsoft.com/office/drawing/2014/main" id="{98F2B91C-5BA0-4D33-925F-BF03B14E946A}"/>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1" name="Freeform 597">
              <a:extLst>
                <a:ext uri="{FF2B5EF4-FFF2-40B4-BE49-F238E27FC236}">
                  <a16:creationId xmlns:a16="http://schemas.microsoft.com/office/drawing/2014/main" id="{41813E03-E33E-474B-9BB9-4E484B2AEC9B}"/>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2" name="Freeform 598">
              <a:extLst>
                <a:ext uri="{FF2B5EF4-FFF2-40B4-BE49-F238E27FC236}">
                  <a16:creationId xmlns:a16="http://schemas.microsoft.com/office/drawing/2014/main" id="{2635BEF3-7ECB-4F8F-A212-C04EF7CAF0E7}"/>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3" name="Freeform 599">
              <a:extLst>
                <a:ext uri="{FF2B5EF4-FFF2-40B4-BE49-F238E27FC236}">
                  <a16:creationId xmlns:a16="http://schemas.microsoft.com/office/drawing/2014/main" id="{ACF570A2-8EDD-47D2-9C12-D404F0B37811}"/>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4" name="Freeform 600">
              <a:extLst>
                <a:ext uri="{FF2B5EF4-FFF2-40B4-BE49-F238E27FC236}">
                  <a16:creationId xmlns:a16="http://schemas.microsoft.com/office/drawing/2014/main" id="{17EF1B63-994D-4137-8227-85C322291A0C}"/>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5" name="Freeform 601">
              <a:extLst>
                <a:ext uri="{FF2B5EF4-FFF2-40B4-BE49-F238E27FC236}">
                  <a16:creationId xmlns:a16="http://schemas.microsoft.com/office/drawing/2014/main" id="{46105B80-1713-4FEC-BA36-C7B317D6DA75}"/>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6" name="Freeform 602">
              <a:extLst>
                <a:ext uri="{FF2B5EF4-FFF2-40B4-BE49-F238E27FC236}">
                  <a16:creationId xmlns:a16="http://schemas.microsoft.com/office/drawing/2014/main" id="{54955969-D6A4-4FD8-A904-DF209C84E65F}"/>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7" name="Freeform 603">
              <a:extLst>
                <a:ext uri="{FF2B5EF4-FFF2-40B4-BE49-F238E27FC236}">
                  <a16:creationId xmlns:a16="http://schemas.microsoft.com/office/drawing/2014/main" id="{7F936E7E-C5F7-488F-AF10-705AFA9EF410}"/>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8" name="Freeform 604">
              <a:extLst>
                <a:ext uri="{FF2B5EF4-FFF2-40B4-BE49-F238E27FC236}">
                  <a16:creationId xmlns:a16="http://schemas.microsoft.com/office/drawing/2014/main" id="{A4B8DED1-5810-4833-B36B-130F3AF86908}"/>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9" name="Freeform 605">
              <a:extLst>
                <a:ext uri="{FF2B5EF4-FFF2-40B4-BE49-F238E27FC236}">
                  <a16:creationId xmlns:a16="http://schemas.microsoft.com/office/drawing/2014/main" id="{35152A24-87C8-4AEF-BF15-07B79C2133E6}"/>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0" name="Freeform 606">
              <a:extLst>
                <a:ext uri="{FF2B5EF4-FFF2-40B4-BE49-F238E27FC236}">
                  <a16:creationId xmlns:a16="http://schemas.microsoft.com/office/drawing/2014/main" id="{739A1C6C-39E7-4F0F-BEC9-1CFA1736A8B4}"/>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1" name="Freeform 607">
              <a:extLst>
                <a:ext uri="{FF2B5EF4-FFF2-40B4-BE49-F238E27FC236}">
                  <a16:creationId xmlns:a16="http://schemas.microsoft.com/office/drawing/2014/main" id="{AC930588-33D6-47D9-AC10-EB907A1BB107}"/>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2" name="Oval 608">
              <a:extLst>
                <a:ext uri="{FF2B5EF4-FFF2-40B4-BE49-F238E27FC236}">
                  <a16:creationId xmlns:a16="http://schemas.microsoft.com/office/drawing/2014/main" id="{6A6ACF13-4901-46B6-9F29-C3B0CE0E3093}"/>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3" name="Freeform 609">
              <a:extLst>
                <a:ext uri="{FF2B5EF4-FFF2-40B4-BE49-F238E27FC236}">
                  <a16:creationId xmlns:a16="http://schemas.microsoft.com/office/drawing/2014/main" id="{82A7BD92-F624-4ADA-A2AC-037BBDF5E8C5}"/>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4" name="Freeform 610">
              <a:extLst>
                <a:ext uri="{FF2B5EF4-FFF2-40B4-BE49-F238E27FC236}">
                  <a16:creationId xmlns:a16="http://schemas.microsoft.com/office/drawing/2014/main" id="{F734CA78-6AE6-4966-AA8E-A08A6AEEA3A5}"/>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5" name="Freeform 611">
              <a:extLst>
                <a:ext uri="{FF2B5EF4-FFF2-40B4-BE49-F238E27FC236}">
                  <a16:creationId xmlns:a16="http://schemas.microsoft.com/office/drawing/2014/main" id="{DFC8134C-0877-4941-A84D-ED7EFC182579}"/>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6" name="Freeform 612">
              <a:extLst>
                <a:ext uri="{FF2B5EF4-FFF2-40B4-BE49-F238E27FC236}">
                  <a16:creationId xmlns:a16="http://schemas.microsoft.com/office/drawing/2014/main" id="{D4C80BDF-9F56-4F79-A8CD-5C8E98ADB66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7" name="Freeform 613">
              <a:extLst>
                <a:ext uri="{FF2B5EF4-FFF2-40B4-BE49-F238E27FC236}">
                  <a16:creationId xmlns:a16="http://schemas.microsoft.com/office/drawing/2014/main" id="{4B40D844-0781-4ABC-879D-29BF9E0B1C35}"/>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8" name="Freeform 614">
              <a:extLst>
                <a:ext uri="{FF2B5EF4-FFF2-40B4-BE49-F238E27FC236}">
                  <a16:creationId xmlns:a16="http://schemas.microsoft.com/office/drawing/2014/main" id="{ADED6736-F9E1-4547-A52A-4313C1993858}"/>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19" name="Group 153">
            <a:extLst>
              <a:ext uri="{FF2B5EF4-FFF2-40B4-BE49-F238E27FC236}">
                <a16:creationId xmlns:a16="http://schemas.microsoft.com/office/drawing/2014/main" id="{CD569D5E-C052-48E6-8513-AEABDDC451A6}"/>
              </a:ext>
            </a:extLst>
          </p:cNvPr>
          <p:cNvGrpSpPr>
            <a:grpSpLocks noChangeAspect="1"/>
          </p:cNvGrpSpPr>
          <p:nvPr/>
        </p:nvGrpSpPr>
        <p:grpSpPr bwMode="auto">
          <a:xfrm>
            <a:off x="4855715" y="3395724"/>
            <a:ext cx="509136" cy="508776"/>
            <a:chOff x="2501" y="790"/>
            <a:chExt cx="2832" cy="2830"/>
          </a:xfrm>
        </p:grpSpPr>
        <p:sp>
          <p:nvSpPr>
            <p:cNvPr id="920" name="Oval 154">
              <a:extLst>
                <a:ext uri="{FF2B5EF4-FFF2-40B4-BE49-F238E27FC236}">
                  <a16:creationId xmlns:a16="http://schemas.microsoft.com/office/drawing/2014/main" id="{FC0FBE66-162E-49F3-BCA8-774D44DDE5CD}"/>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1" name="Freeform 155">
              <a:extLst>
                <a:ext uri="{FF2B5EF4-FFF2-40B4-BE49-F238E27FC236}">
                  <a16:creationId xmlns:a16="http://schemas.microsoft.com/office/drawing/2014/main" id="{31CDD52B-A34A-4DB3-944D-0E20C08671FC}"/>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2" name="Freeform 156">
              <a:extLst>
                <a:ext uri="{FF2B5EF4-FFF2-40B4-BE49-F238E27FC236}">
                  <a16:creationId xmlns:a16="http://schemas.microsoft.com/office/drawing/2014/main" id="{80AF8AAE-B39D-4C40-94A5-72564C502FD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3" name="Freeform 157">
              <a:extLst>
                <a:ext uri="{FF2B5EF4-FFF2-40B4-BE49-F238E27FC236}">
                  <a16:creationId xmlns:a16="http://schemas.microsoft.com/office/drawing/2014/main" id="{57CCC12E-A192-4219-9BFB-7115E61FEB20}"/>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4" name="Freeform 158">
              <a:extLst>
                <a:ext uri="{FF2B5EF4-FFF2-40B4-BE49-F238E27FC236}">
                  <a16:creationId xmlns:a16="http://schemas.microsoft.com/office/drawing/2014/main" id="{F790683A-F584-4138-9842-A0173D46A283}"/>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5" name="Freeform 159">
              <a:extLst>
                <a:ext uri="{FF2B5EF4-FFF2-40B4-BE49-F238E27FC236}">
                  <a16:creationId xmlns:a16="http://schemas.microsoft.com/office/drawing/2014/main" id="{6D543481-6AA4-4BA3-94A6-03C304C5A2D3}"/>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6" name="Freeform 160">
              <a:extLst>
                <a:ext uri="{FF2B5EF4-FFF2-40B4-BE49-F238E27FC236}">
                  <a16:creationId xmlns:a16="http://schemas.microsoft.com/office/drawing/2014/main" id="{DDF477A3-5968-4058-9AA2-DCE9B43215E0}"/>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7" name="Freeform 161">
              <a:extLst>
                <a:ext uri="{FF2B5EF4-FFF2-40B4-BE49-F238E27FC236}">
                  <a16:creationId xmlns:a16="http://schemas.microsoft.com/office/drawing/2014/main" id="{52AB1599-60E6-4FC8-91B2-0874D87EE049}"/>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8" name="Freeform 162">
              <a:extLst>
                <a:ext uri="{FF2B5EF4-FFF2-40B4-BE49-F238E27FC236}">
                  <a16:creationId xmlns:a16="http://schemas.microsoft.com/office/drawing/2014/main" id="{C98BCD31-7103-40AF-A480-F24C17ACE9D3}"/>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9" name="Freeform 163">
              <a:extLst>
                <a:ext uri="{FF2B5EF4-FFF2-40B4-BE49-F238E27FC236}">
                  <a16:creationId xmlns:a16="http://schemas.microsoft.com/office/drawing/2014/main" id="{B174D897-3E80-42D1-9B23-4087F50C452E}"/>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0" name="Freeform 164">
              <a:extLst>
                <a:ext uri="{FF2B5EF4-FFF2-40B4-BE49-F238E27FC236}">
                  <a16:creationId xmlns:a16="http://schemas.microsoft.com/office/drawing/2014/main" id="{9D429CE4-E5FE-4B51-A72C-236E215F8C60}"/>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1" name="Oval 165">
              <a:extLst>
                <a:ext uri="{FF2B5EF4-FFF2-40B4-BE49-F238E27FC236}">
                  <a16:creationId xmlns:a16="http://schemas.microsoft.com/office/drawing/2014/main" id="{D0695EF0-965C-4D8E-9FDB-42407A64C54F}"/>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2" name="Oval 166">
              <a:extLst>
                <a:ext uri="{FF2B5EF4-FFF2-40B4-BE49-F238E27FC236}">
                  <a16:creationId xmlns:a16="http://schemas.microsoft.com/office/drawing/2014/main" id="{391FABE5-F934-456F-996C-F69A86FC2E26}"/>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3" name="Freeform 167">
              <a:extLst>
                <a:ext uri="{FF2B5EF4-FFF2-40B4-BE49-F238E27FC236}">
                  <a16:creationId xmlns:a16="http://schemas.microsoft.com/office/drawing/2014/main" id="{2FEDB664-702E-4A6A-9278-C9E09FC3FCA7}"/>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4" name="Freeform 168">
              <a:extLst>
                <a:ext uri="{FF2B5EF4-FFF2-40B4-BE49-F238E27FC236}">
                  <a16:creationId xmlns:a16="http://schemas.microsoft.com/office/drawing/2014/main" id="{1DDEAD55-9EB7-4181-9E4F-24A87D0E6B30}"/>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5" name="Freeform 169">
              <a:extLst>
                <a:ext uri="{FF2B5EF4-FFF2-40B4-BE49-F238E27FC236}">
                  <a16:creationId xmlns:a16="http://schemas.microsoft.com/office/drawing/2014/main" id="{6A17BFB7-56D0-478E-90F4-9135A4A3BC5B}"/>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6" name="Freeform 170">
              <a:extLst>
                <a:ext uri="{FF2B5EF4-FFF2-40B4-BE49-F238E27FC236}">
                  <a16:creationId xmlns:a16="http://schemas.microsoft.com/office/drawing/2014/main" id="{A73D70F1-A4F9-4D11-86F3-0AD8A57CB7D8}"/>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7" name="Freeform 171">
              <a:extLst>
                <a:ext uri="{FF2B5EF4-FFF2-40B4-BE49-F238E27FC236}">
                  <a16:creationId xmlns:a16="http://schemas.microsoft.com/office/drawing/2014/main" id="{43B8A841-D28F-473D-BD68-C4BB5360B808}"/>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8" name="Freeform 172">
              <a:extLst>
                <a:ext uri="{FF2B5EF4-FFF2-40B4-BE49-F238E27FC236}">
                  <a16:creationId xmlns:a16="http://schemas.microsoft.com/office/drawing/2014/main" id="{C74246B9-3C48-4DEC-A64A-6232886F0BE1}"/>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9" name="Freeform 173">
              <a:extLst>
                <a:ext uri="{FF2B5EF4-FFF2-40B4-BE49-F238E27FC236}">
                  <a16:creationId xmlns:a16="http://schemas.microsoft.com/office/drawing/2014/main" id="{6E4A6D17-1AE5-4C7F-B3EA-E8D9FD9FA242}"/>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0" name="Freeform 174">
              <a:extLst>
                <a:ext uri="{FF2B5EF4-FFF2-40B4-BE49-F238E27FC236}">
                  <a16:creationId xmlns:a16="http://schemas.microsoft.com/office/drawing/2014/main" id="{D8C70B9A-278D-407E-8822-4A3764DF1062}"/>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96" name="Rectangle 995">
            <a:extLst>
              <a:ext uri="{FF2B5EF4-FFF2-40B4-BE49-F238E27FC236}">
                <a16:creationId xmlns:a16="http://schemas.microsoft.com/office/drawing/2014/main" id="{18F85C2C-101C-45F8-A96B-282303634E9F}"/>
              </a:ext>
            </a:extLst>
          </p:cNvPr>
          <p:cNvSpPr/>
          <p:nvPr/>
        </p:nvSpPr>
        <p:spPr>
          <a:xfrm>
            <a:off x="4635048" y="5468659"/>
            <a:ext cx="950470" cy="307777"/>
          </a:xfrm>
          <a:prstGeom prst="rect">
            <a:avLst/>
          </a:prstGeom>
          <a:noFill/>
        </p:spPr>
        <p:txBody>
          <a:bodyPr wrap="square" lIns="0" tIns="0" rIns="0" bIns="0" rtlCol="0" anchor="ctr">
            <a:spAutoFit/>
          </a:bodyPr>
          <a:lstStyle/>
          <a:p>
            <a:pPr algn="ctr"/>
            <a:r>
              <a:rPr lang="en-US" sz="1000" i="1" dirty="0"/>
              <a:t>Manage whole deployment</a:t>
            </a:r>
          </a:p>
        </p:txBody>
      </p:sp>
      <p:sp>
        <p:nvSpPr>
          <p:cNvPr id="997" name="Rectangle 996">
            <a:extLst>
              <a:ext uri="{FF2B5EF4-FFF2-40B4-BE49-F238E27FC236}">
                <a16:creationId xmlns:a16="http://schemas.microsoft.com/office/drawing/2014/main" id="{A2B92956-E5AA-439A-AEED-4ABC0C189C3B}"/>
              </a:ext>
            </a:extLst>
          </p:cNvPr>
          <p:cNvSpPr/>
          <p:nvPr/>
        </p:nvSpPr>
        <p:spPr>
          <a:xfrm>
            <a:off x="5718567" y="5545603"/>
            <a:ext cx="950470" cy="153888"/>
          </a:xfrm>
          <a:prstGeom prst="rect">
            <a:avLst/>
          </a:prstGeom>
          <a:noFill/>
        </p:spPr>
        <p:txBody>
          <a:bodyPr wrap="square" lIns="0" tIns="0" rIns="0" bIns="0" rtlCol="0" anchor="ctr">
            <a:spAutoFit/>
          </a:bodyPr>
          <a:lstStyle/>
          <a:p>
            <a:pPr algn="ctr"/>
            <a:r>
              <a:rPr lang="en-US" sz="1000" i="1" dirty="0"/>
              <a:t>Troubleshooting</a:t>
            </a:r>
          </a:p>
        </p:txBody>
      </p:sp>
      <p:sp>
        <p:nvSpPr>
          <p:cNvPr id="998" name="Rectangle 997">
            <a:extLst>
              <a:ext uri="{FF2B5EF4-FFF2-40B4-BE49-F238E27FC236}">
                <a16:creationId xmlns:a16="http://schemas.microsoft.com/office/drawing/2014/main" id="{9F21638A-E86F-4979-A543-7087D1151225}"/>
              </a:ext>
            </a:extLst>
          </p:cNvPr>
          <p:cNvSpPr/>
          <p:nvPr/>
        </p:nvSpPr>
        <p:spPr>
          <a:xfrm>
            <a:off x="6802085" y="5468659"/>
            <a:ext cx="950470" cy="307777"/>
          </a:xfrm>
          <a:prstGeom prst="rect">
            <a:avLst/>
          </a:prstGeom>
          <a:noFill/>
        </p:spPr>
        <p:txBody>
          <a:bodyPr wrap="square" lIns="0" tIns="0" rIns="0" bIns="0" rtlCol="0" anchor="ctr">
            <a:spAutoFit/>
          </a:bodyPr>
          <a:lstStyle/>
          <a:p>
            <a:pPr algn="ctr"/>
            <a:r>
              <a:rPr lang="en-US" sz="1000" i="1" dirty="0"/>
              <a:t>Manage</a:t>
            </a:r>
            <a:br>
              <a:rPr lang="en-US" sz="1000" i="1" dirty="0"/>
            </a:br>
            <a:r>
              <a:rPr lang="en-US" sz="1000" i="1" dirty="0"/>
              <a:t>Apps</a:t>
            </a:r>
          </a:p>
        </p:txBody>
      </p:sp>
      <p:grpSp>
        <p:nvGrpSpPr>
          <p:cNvPr id="999" name="Group 998">
            <a:extLst>
              <a:ext uri="{FF2B5EF4-FFF2-40B4-BE49-F238E27FC236}">
                <a16:creationId xmlns:a16="http://schemas.microsoft.com/office/drawing/2014/main" id="{9CBF7610-340F-460B-A152-445C018D0FCA}"/>
              </a:ext>
            </a:extLst>
          </p:cNvPr>
          <p:cNvGrpSpPr/>
          <p:nvPr/>
        </p:nvGrpSpPr>
        <p:grpSpPr>
          <a:xfrm>
            <a:off x="2084413" y="4947480"/>
            <a:ext cx="441250" cy="440712"/>
            <a:chOff x="5291445" y="3546475"/>
            <a:chExt cx="1303338" cy="1301750"/>
          </a:xfrm>
        </p:grpSpPr>
        <p:sp>
          <p:nvSpPr>
            <p:cNvPr id="1000" name="Oval 999">
              <a:extLst>
                <a:ext uri="{FF2B5EF4-FFF2-40B4-BE49-F238E27FC236}">
                  <a16:creationId xmlns:a16="http://schemas.microsoft.com/office/drawing/2014/main" id="{265F550C-148C-46FB-A688-30A161535BD4}"/>
                </a:ext>
              </a:extLst>
            </p:cNvPr>
            <p:cNvSpPr>
              <a:spLocks noChangeArrowheads="1"/>
            </p:cNvSpPr>
            <p:nvPr/>
          </p:nvSpPr>
          <p:spPr bwMode="auto">
            <a:xfrm>
              <a:off x="5291445"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001" name="Group 1000">
              <a:extLst>
                <a:ext uri="{FF2B5EF4-FFF2-40B4-BE49-F238E27FC236}">
                  <a16:creationId xmlns:a16="http://schemas.microsoft.com/office/drawing/2014/main" id="{965614E0-275A-4247-B946-4F55EDDBFF2D}"/>
                </a:ext>
              </a:extLst>
            </p:cNvPr>
            <p:cNvGrpSpPr/>
            <p:nvPr/>
          </p:nvGrpSpPr>
          <p:grpSpPr>
            <a:xfrm>
              <a:off x="5539413" y="3798888"/>
              <a:ext cx="807401" cy="701675"/>
              <a:chOff x="5664200" y="1119188"/>
              <a:chExt cx="3103563" cy="2697162"/>
            </a:xfrm>
          </p:grpSpPr>
          <p:sp>
            <p:nvSpPr>
              <p:cNvPr id="1002" name="Freeform 13">
                <a:extLst>
                  <a:ext uri="{FF2B5EF4-FFF2-40B4-BE49-F238E27FC236}">
                    <a16:creationId xmlns:a16="http://schemas.microsoft.com/office/drawing/2014/main" id="{EAF09460-5FB4-4A39-A0D9-AEDFB0420C04}"/>
                  </a:ext>
                </a:extLst>
              </p:cNvPr>
              <p:cNvSpPr>
                <a:spLocks/>
              </p:cNvSpPr>
              <p:nvPr/>
            </p:nvSpPr>
            <p:spPr bwMode="auto">
              <a:xfrm>
                <a:off x="5664200" y="1119188"/>
                <a:ext cx="2058988" cy="2670175"/>
              </a:xfrm>
              <a:custGeom>
                <a:avLst/>
                <a:gdLst>
                  <a:gd name="T0" fmla="*/ 1297 w 1297"/>
                  <a:gd name="T1" fmla="*/ 1682 h 1682"/>
                  <a:gd name="T2" fmla="*/ 0 w 1297"/>
                  <a:gd name="T3" fmla="*/ 1682 h 1682"/>
                  <a:gd name="T4" fmla="*/ 0 w 1297"/>
                  <a:gd name="T5" fmla="*/ 384 h 1682"/>
                  <a:gd name="T6" fmla="*/ 410 w 1297"/>
                  <a:gd name="T7" fmla="*/ 0 h 1682"/>
                  <a:gd name="T8" fmla="*/ 1297 w 1297"/>
                  <a:gd name="T9" fmla="*/ 0 h 1682"/>
                  <a:gd name="T10" fmla="*/ 1297 w 1297"/>
                  <a:gd name="T11" fmla="*/ 1682 h 1682"/>
                </a:gdLst>
                <a:ahLst/>
                <a:cxnLst>
                  <a:cxn ang="0">
                    <a:pos x="T0" y="T1"/>
                  </a:cxn>
                  <a:cxn ang="0">
                    <a:pos x="T2" y="T3"/>
                  </a:cxn>
                  <a:cxn ang="0">
                    <a:pos x="T4" y="T5"/>
                  </a:cxn>
                  <a:cxn ang="0">
                    <a:pos x="T6" y="T7"/>
                  </a:cxn>
                  <a:cxn ang="0">
                    <a:pos x="T8" y="T9"/>
                  </a:cxn>
                  <a:cxn ang="0">
                    <a:pos x="T10" y="T11"/>
                  </a:cxn>
                </a:cxnLst>
                <a:rect l="0" t="0" r="r" b="b"/>
                <a:pathLst>
                  <a:path w="1297" h="1682">
                    <a:moveTo>
                      <a:pt x="1297" y="1682"/>
                    </a:moveTo>
                    <a:lnTo>
                      <a:pt x="0" y="1682"/>
                    </a:lnTo>
                    <a:lnTo>
                      <a:pt x="0" y="384"/>
                    </a:lnTo>
                    <a:lnTo>
                      <a:pt x="410" y="0"/>
                    </a:lnTo>
                    <a:lnTo>
                      <a:pt x="1297" y="0"/>
                    </a:lnTo>
                    <a:lnTo>
                      <a:pt x="1297" y="16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3" name="Freeform 14">
                <a:extLst>
                  <a:ext uri="{FF2B5EF4-FFF2-40B4-BE49-F238E27FC236}">
                    <a16:creationId xmlns:a16="http://schemas.microsoft.com/office/drawing/2014/main" id="{CFC04214-126E-4156-8E0D-225475015FD8}"/>
                  </a:ext>
                </a:extLst>
              </p:cNvPr>
              <p:cNvSpPr>
                <a:spLocks/>
              </p:cNvSpPr>
              <p:nvPr/>
            </p:nvSpPr>
            <p:spPr bwMode="auto">
              <a:xfrm>
                <a:off x="5664200" y="1119188"/>
                <a:ext cx="650875" cy="609600"/>
              </a:xfrm>
              <a:custGeom>
                <a:avLst/>
                <a:gdLst>
                  <a:gd name="T0" fmla="*/ 410 w 410"/>
                  <a:gd name="T1" fmla="*/ 384 h 384"/>
                  <a:gd name="T2" fmla="*/ 0 w 410"/>
                  <a:gd name="T3" fmla="*/ 384 h 384"/>
                  <a:gd name="T4" fmla="*/ 410 w 410"/>
                  <a:gd name="T5" fmla="*/ 0 h 384"/>
                  <a:gd name="T6" fmla="*/ 410 w 410"/>
                  <a:gd name="T7" fmla="*/ 384 h 384"/>
                </a:gdLst>
                <a:ahLst/>
                <a:cxnLst>
                  <a:cxn ang="0">
                    <a:pos x="T0" y="T1"/>
                  </a:cxn>
                  <a:cxn ang="0">
                    <a:pos x="T2" y="T3"/>
                  </a:cxn>
                  <a:cxn ang="0">
                    <a:pos x="T4" y="T5"/>
                  </a:cxn>
                  <a:cxn ang="0">
                    <a:pos x="T6" y="T7"/>
                  </a:cxn>
                </a:cxnLst>
                <a:rect l="0" t="0" r="r" b="b"/>
                <a:pathLst>
                  <a:path w="410" h="384">
                    <a:moveTo>
                      <a:pt x="410" y="384"/>
                    </a:moveTo>
                    <a:lnTo>
                      <a:pt x="0" y="384"/>
                    </a:lnTo>
                    <a:lnTo>
                      <a:pt x="410" y="0"/>
                    </a:lnTo>
                    <a:lnTo>
                      <a:pt x="410" y="38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4" name="Rectangle 15">
                <a:extLst>
                  <a:ext uri="{FF2B5EF4-FFF2-40B4-BE49-F238E27FC236}">
                    <a16:creationId xmlns:a16="http://schemas.microsoft.com/office/drawing/2014/main" id="{63FE7EF3-C51C-4314-BE20-2EE750FCFF89}"/>
                  </a:ext>
                </a:extLst>
              </p:cNvPr>
              <p:cNvSpPr>
                <a:spLocks noChangeArrowheads="1"/>
              </p:cNvSpPr>
              <p:nvPr/>
            </p:nvSpPr>
            <p:spPr bwMode="auto">
              <a:xfrm>
                <a:off x="5948363" y="1987550"/>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5" name="Rectangle 16">
                <a:extLst>
                  <a:ext uri="{FF2B5EF4-FFF2-40B4-BE49-F238E27FC236}">
                    <a16:creationId xmlns:a16="http://schemas.microsoft.com/office/drawing/2014/main" id="{2F170E54-3A88-48AD-BF59-61894FAD05D8}"/>
                  </a:ext>
                </a:extLst>
              </p:cNvPr>
              <p:cNvSpPr>
                <a:spLocks noChangeArrowheads="1"/>
              </p:cNvSpPr>
              <p:nvPr/>
            </p:nvSpPr>
            <p:spPr bwMode="auto">
              <a:xfrm>
                <a:off x="5948363" y="2244725"/>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6" name="Rectangle 17">
                <a:extLst>
                  <a:ext uri="{FF2B5EF4-FFF2-40B4-BE49-F238E27FC236}">
                    <a16:creationId xmlns:a16="http://schemas.microsoft.com/office/drawing/2014/main" id="{29CDCE7C-2CE9-4980-AE5A-54282F933FBA}"/>
                  </a:ext>
                </a:extLst>
              </p:cNvPr>
              <p:cNvSpPr>
                <a:spLocks noChangeArrowheads="1"/>
              </p:cNvSpPr>
              <p:nvPr/>
            </p:nvSpPr>
            <p:spPr bwMode="auto">
              <a:xfrm>
                <a:off x="5948363" y="2516188"/>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7" name="Rectangle 18">
                <a:extLst>
                  <a:ext uri="{FF2B5EF4-FFF2-40B4-BE49-F238E27FC236}">
                    <a16:creationId xmlns:a16="http://schemas.microsoft.com/office/drawing/2014/main" id="{C561BA41-E428-4480-9680-D5C405847F6C}"/>
                  </a:ext>
                </a:extLst>
              </p:cNvPr>
              <p:cNvSpPr>
                <a:spLocks noChangeArrowheads="1"/>
              </p:cNvSpPr>
              <p:nvPr/>
            </p:nvSpPr>
            <p:spPr bwMode="auto">
              <a:xfrm>
                <a:off x="5948363" y="2773363"/>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8" name="Rectangle 19">
                <a:extLst>
                  <a:ext uri="{FF2B5EF4-FFF2-40B4-BE49-F238E27FC236}">
                    <a16:creationId xmlns:a16="http://schemas.microsoft.com/office/drawing/2014/main" id="{C1D08F9F-E0AA-4748-B2BA-24570C53A416}"/>
                  </a:ext>
                </a:extLst>
              </p:cNvPr>
              <p:cNvSpPr>
                <a:spLocks noChangeArrowheads="1"/>
              </p:cNvSpPr>
              <p:nvPr/>
            </p:nvSpPr>
            <p:spPr bwMode="auto">
              <a:xfrm>
                <a:off x="5948363" y="3030538"/>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9" name="Freeform 20">
                <a:extLst>
                  <a:ext uri="{FF2B5EF4-FFF2-40B4-BE49-F238E27FC236}">
                    <a16:creationId xmlns:a16="http://schemas.microsoft.com/office/drawing/2014/main" id="{39FE8B99-691C-40E7-AA6B-F5C6C1757FAB}"/>
                  </a:ext>
                </a:extLst>
              </p:cNvPr>
              <p:cNvSpPr>
                <a:spLocks/>
              </p:cNvSpPr>
              <p:nvPr/>
            </p:nvSpPr>
            <p:spPr bwMode="auto">
              <a:xfrm>
                <a:off x="6572250" y="1620838"/>
                <a:ext cx="1449388" cy="1450975"/>
              </a:xfrm>
              <a:custGeom>
                <a:avLst/>
                <a:gdLst>
                  <a:gd name="T0" fmla="*/ 19 w 107"/>
                  <a:gd name="T1" fmla="*/ 88 h 107"/>
                  <a:gd name="T2" fmla="*/ 88 w 107"/>
                  <a:gd name="T3" fmla="*/ 88 h 107"/>
                  <a:gd name="T4" fmla="*/ 88 w 107"/>
                  <a:gd name="T5" fmla="*/ 19 h 107"/>
                  <a:gd name="T6" fmla="*/ 19 w 107"/>
                  <a:gd name="T7" fmla="*/ 19 h 107"/>
                  <a:gd name="T8" fmla="*/ 19 w 107"/>
                  <a:gd name="T9" fmla="*/ 88 h 107"/>
                </a:gdLst>
                <a:ahLst/>
                <a:cxnLst>
                  <a:cxn ang="0">
                    <a:pos x="T0" y="T1"/>
                  </a:cxn>
                  <a:cxn ang="0">
                    <a:pos x="T2" y="T3"/>
                  </a:cxn>
                  <a:cxn ang="0">
                    <a:pos x="T4" y="T5"/>
                  </a:cxn>
                  <a:cxn ang="0">
                    <a:pos x="T6" y="T7"/>
                  </a:cxn>
                  <a:cxn ang="0">
                    <a:pos x="T8" y="T9"/>
                  </a:cxn>
                </a:cxnLst>
                <a:rect l="0" t="0" r="r" b="b"/>
                <a:pathLst>
                  <a:path w="107" h="107">
                    <a:moveTo>
                      <a:pt x="19" y="88"/>
                    </a:moveTo>
                    <a:cubicBezTo>
                      <a:pt x="38" y="107"/>
                      <a:pt x="69" y="107"/>
                      <a:pt x="88" y="88"/>
                    </a:cubicBezTo>
                    <a:cubicBezTo>
                      <a:pt x="107" y="69"/>
                      <a:pt x="107" y="38"/>
                      <a:pt x="88" y="19"/>
                    </a:cubicBezTo>
                    <a:cubicBezTo>
                      <a:pt x="69" y="0"/>
                      <a:pt x="38" y="0"/>
                      <a:pt x="19" y="19"/>
                    </a:cubicBezTo>
                    <a:cubicBezTo>
                      <a:pt x="0" y="38"/>
                      <a:pt x="0" y="69"/>
                      <a:pt x="19" y="8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0" name="Freeform 21">
                <a:extLst>
                  <a:ext uri="{FF2B5EF4-FFF2-40B4-BE49-F238E27FC236}">
                    <a16:creationId xmlns:a16="http://schemas.microsoft.com/office/drawing/2014/main" id="{1D6D6155-B676-4A74-94CC-2C41D31535AB}"/>
                  </a:ext>
                </a:extLst>
              </p:cNvPr>
              <p:cNvSpPr>
                <a:spLocks/>
              </p:cNvSpPr>
              <p:nvPr/>
            </p:nvSpPr>
            <p:spPr bwMode="auto">
              <a:xfrm>
                <a:off x="6694488" y="2624138"/>
                <a:ext cx="1084263" cy="203200"/>
              </a:xfrm>
              <a:custGeom>
                <a:avLst/>
                <a:gdLst>
                  <a:gd name="T0" fmla="*/ 80 w 80"/>
                  <a:gd name="T1" fmla="*/ 0 h 15"/>
                  <a:gd name="T2" fmla="*/ 0 w 80"/>
                  <a:gd name="T3" fmla="*/ 0 h 15"/>
                  <a:gd name="T4" fmla="*/ 10 w 80"/>
                  <a:gd name="T5" fmla="*/ 14 h 15"/>
                  <a:gd name="T6" fmla="*/ 11 w 80"/>
                  <a:gd name="T7" fmla="*/ 15 h 15"/>
                  <a:gd name="T8" fmla="*/ 79 w 80"/>
                  <a:gd name="T9" fmla="*/ 15 h 15"/>
                  <a:gd name="T10" fmla="*/ 79 w 80"/>
                  <a:gd name="T11" fmla="*/ 14 h 15"/>
                  <a:gd name="T12" fmla="*/ 80 w 80"/>
                  <a:gd name="T13" fmla="*/ 13 h 15"/>
                  <a:gd name="T14" fmla="*/ 80 w 80"/>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0"/>
                    </a:moveTo>
                    <a:cubicBezTo>
                      <a:pt x="0" y="0"/>
                      <a:pt x="0" y="0"/>
                      <a:pt x="0" y="0"/>
                    </a:cubicBezTo>
                    <a:cubicBezTo>
                      <a:pt x="3" y="5"/>
                      <a:pt x="6" y="10"/>
                      <a:pt x="10" y="14"/>
                    </a:cubicBezTo>
                    <a:cubicBezTo>
                      <a:pt x="10" y="14"/>
                      <a:pt x="11" y="14"/>
                      <a:pt x="11" y="15"/>
                    </a:cubicBezTo>
                    <a:cubicBezTo>
                      <a:pt x="79" y="15"/>
                      <a:pt x="79" y="15"/>
                      <a:pt x="79" y="15"/>
                    </a:cubicBezTo>
                    <a:cubicBezTo>
                      <a:pt x="79" y="14"/>
                      <a:pt x="79" y="14"/>
                      <a:pt x="79" y="14"/>
                    </a:cubicBezTo>
                    <a:cubicBezTo>
                      <a:pt x="79" y="14"/>
                      <a:pt x="80" y="14"/>
                      <a:pt x="80" y="13"/>
                    </a:cubicBezTo>
                    <a:lnTo>
                      <a:pt x="8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1" name="Freeform 22">
                <a:extLst>
                  <a:ext uri="{FF2B5EF4-FFF2-40B4-BE49-F238E27FC236}">
                    <a16:creationId xmlns:a16="http://schemas.microsoft.com/office/drawing/2014/main" id="{997AB407-6A47-4B26-B75C-04F9270A046D}"/>
                  </a:ext>
                </a:extLst>
              </p:cNvPr>
              <p:cNvSpPr>
                <a:spLocks/>
              </p:cNvSpPr>
              <p:nvPr/>
            </p:nvSpPr>
            <p:spPr bwMode="auto">
              <a:xfrm>
                <a:off x="6694488" y="1878013"/>
                <a:ext cx="1084263" cy="203200"/>
              </a:xfrm>
              <a:custGeom>
                <a:avLst/>
                <a:gdLst>
                  <a:gd name="T0" fmla="*/ 80 w 80"/>
                  <a:gd name="T1" fmla="*/ 15 h 15"/>
                  <a:gd name="T2" fmla="*/ 80 w 80"/>
                  <a:gd name="T3" fmla="*/ 1 h 15"/>
                  <a:gd name="T4" fmla="*/ 79 w 80"/>
                  <a:gd name="T5" fmla="*/ 0 h 15"/>
                  <a:gd name="T6" fmla="*/ 79 w 80"/>
                  <a:gd name="T7" fmla="*/ 0 h 15"/>
                  <a:gd name="T8" fmla="*/ 11 w 80"/>
                  <a:gd name="T9" fmla="*/ 0 h 15"/>
                  <a:gd name="T10" fmla="*/ 10 w 80"/>
                  <a:gd name="T11" fmla="*/ 0 h 15"/>
                  <a:gd name="T12" fmla="*/ 0 w 80"/>
                  <a:gd name="T13" fmla="*/ 15 h 15"/>
                  <a:gd name="T14" fmla="*/ 80 w 80"/>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15"/>
                    </a:moveTo>
                    <a:cubicBezTo>
                      <a:pt x="80" y="1"/>
                      <a:pt x="80" y="1"/>
                      <a:pt x="80" y="1"/>
                    </a:cubicBezTo>
                    <a:cubicBezTo>
                      <a:pt x="80" y="1"/>
                      <a:pt x="79" y="1"/>
                      <a:pt x="79" y="0"/>
                    </a:cubicBezTo>
                    <a:cubicBezTo>
                      <a:pt x="79" y="0"/>
                      <a:pt x="79" y="0"/>
                      <a:pt x="79" y="0"/>
                    </a:cubicBezTo>
                    <a:cubicBezTo>
                      <a:pt x="11" y="0"/>
                      <a:pt x="11" y="0"/>
                      <a:pt x="11" y="0"/>
                    </a:cubicBezTo>
                    <a:cubicBezTo>
                      <a:pt x="11" y="0"/>
                      <a:pt x="10" y="0"/>
                      <a:pt x="10" y="0"/>
                    </a:cubicBezTo>
                    <a:cubicBezTo>
                      <a:pt x="6" y="5"/>
                      <a:pt x="3" y="10"/>
                      <a:pt x="0" y="15"/>
                    </a:cubicBezTo>
                    <a:lnTo>
                      <a:pt x="80"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2" name="Freeform 23">
                <a:extLst>
                  <a:ext uri="{FF2B5EF4-FFF2-40B4-BE49-F238E27FC236}">
                    <a16:creationId xmlns:a16="http://schemas.microsoft.com/office/drawing/2014/main" id="{AFCA3391-96D5-4186-9E63-1F7EA3BDDB7B}"/>
                  </a:ext>
                </a:extLst>
              </p:cNvPr>
              <p:cNvSpPr>
                <a:spLocks/>
              </p:cNvSpPr>
              <p:nvPr/>
            </p:nvSpPr>
            <p:spPr bwMode="auto">
              <a:xfrm>
                <a:off x="6640513" y="2257425"/>
                <a:ext cx="1138238" cy="204787"/>
              </a:xfrm>
              <a:custGeom>
                <a:avLst/>
                <a:gdLst>
                  <a:gd name="T0" fmla="*/ 84 w 84"/>
                  <a:gd name="T1" fmla="*/ 0 h 15"/>
                  <a:gd name="T2" fmla="*/ 1 w 84"/>
                  <a:gd name="T3" fmla="*/ 0 h 15"/>
                  <a:gd name="T4" fmla="*/ 1 w 84"/>
                  <a:gd name="T5" fmla="*/ 15 h 15"/>
                  <a:gd name="T6" fmla="*/ 84 w 84"/>
                  <a:gd name="T7" fmla="*/ 15 h 15"/>
                  <a:gd name="T8" fmla="*/ 84 w 84"/>
                  <a:gd name="T9" fmla="*/ 0 h 15"/>
                </a:gdLst>
                <a:ahLst/>
                <a:cxnLst>
                  <a:cxn ang="0">
                    <a:pos x="T0" y="T1"/>
                  </a:cxn>
                  <a:cxn ang="0">
                    <a:pos x="T2" y="T3"/>
                  </a:cxn>
                  <a:cxn ang="0">
                    <a:pos x="T4" y="T5"/>
                  </a:cxn>
                  <a:cxn ang="0">
                    <a:pos x="T6" y="T7"/>
                  </a:cxn>
                  <a:cxn ang="0">
                    <a:pos x="T8" y="T9"/>
                  </a:cxn>
                </a:cxnLst>
                <a:rect l="0" t="0" r="r" b="b"/>
                <a:pathLst>
                  <a:path w="84" h="15">
                    <a:moveTo>
                      <a:pt x="84" y="0"/>
                    </a:moveTo>
                    <a:cubicBezTo>
                      <a:pt x="1" y="0"/>
                      <a:pt x="1" y="0"/>
                      <a:pt x="1" y="0"/>
                    </a:cubicBezTo>
                    <a:cubicBezTo>
                      <a:pt x="0" y="5"/>
                      <a:pt x="0" y="10"/>
                      <a:pt x="1" y="15"/>
                    </a:cubicBezTo>
                    <a:cubicBezTo>
                      <a:pt x="84" y="15"/>
                      <a:pt x="84" y="15"/>
                      <a:pt x="84" y="15"/>
                    </a:cubicBezTo>
                    <a:lnTo>
                      <a:pt x="8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3" name="Freeform 24">
                <a:extLst>
                  <a:ext uri="{FF2B5EF4-FFF2-40B4-BE49-F238E27FC236}">
                    <a16:creationId xmlns:a16="http://schemas.microsoft.com/office/drawing/2014/main" id="{20B27ADB-E283-4227-AA83-A11568FE9E7C}"/>
                  </a:ext>
                </a:extLst>
              </p:cNvPr>
              <p:cNvSpPr>
                <a:spLocks noEditPoints="1"/>
              </p:cNvSpPr>
              <p:nvPr/>
            </p:nvSpPr>
            <p:spPr bwMode="auto">
              <a:xfrm>
                <a:off x="6477000" y="1525588"/>
                <a:ext cx="1666875" cy="1668462"/>
              </a:xfrm>
              <a:custGeom>
                <a:avLst/>
                <a:gdLst>
                  <a:gd name="T0" fmla="*/ 123 w 123"/>
                  <a:gd name="T1" fmla="*/ 114 h 123"/>
                  <a:gd name="T2" fmla="*/ 104 w 123"/>
                  <a:gd name="T3" fmla="*/ 95 h 123"/>
                  <a:gd name="T4" fmla="*/ 100 w 123"/>
                  <a:gd name="T5" fmla="*/ 22 h 123"/>
                  <a:gd name="T6" fmla="*/ 22 w 123"/>
                  <a:gd name="T7" fmla="*/ 22 h 123"/>
                  <a:gd name="T8" fmla="*/ 22 w 123"/>
                  <a:gd name="T9" fmla="*/ 100 h 123"/>
                  <a:gd name="T10" fmla="*/ 95 w 123"/>
                  <a:gd name="T11" fmla="*/ 104 h 123"/>
                  <a:gd name="T12" fmla="*/ 114 w 123"/>
                  <a:gd name="T13" fmla="*/ 123 h 123"/>
                  <a:gd name="T14" fmla="*/ 123 w 123"/>
                  <a:gd name="T15" fmla="*/ 114 h 123"/>
                  <a:gd name="T16" fmla="*/ 30 w 123"/>
                  <a:gd name="T17" fmla="*/ 92 h 123"/>
                  <a:gd name="T18" fmla="*/ 30 w 123"/>
                  <a:gd name="T19" fmla="*/ 30 h 123"/>
                  <a:gd name="T20" fmla="*/ 92 w 123"/>
                  <a:gd name="T21" fmla="*/ 30 h 123"/>
                  <a:gd name="T22" fmla="*/ 92 w 123"/>
                  <a:gd name="T23" fmla="*/ 92 h 123"/>
                  <a:gd name="T24" fmla="*/ 30 w 123"/>
                  <a:gd name="T25" fmla="*/ 9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3">
                    <a:moveTo>
                      <a:pt x="123" y="114"/>
                    </a:moveTo>
                    <a:cubicBezTo>
                      <a:pt x="104" y="95"/>
                      <a:pt x="104" y="95"/>
                      <a:pt x="104" y="95"/>
                    </a:cubicBezTo>
                    <a:cubicBezTo>
                      <a:pt x="121" y="74"/>
                      <a:pt x="120" y="42"/>
                      <a:pt x="100" y="22"/>
                    </a:cubicBezTo>
                    <a:cubicBezTo>
                      <a:pt x="78" y="0"/>
                      <a:pt x="43" y="0"/>
                      <a:pt x="22" y="22"/>
                    </a:cubicBezTo>
                    <a:cubicBezTo>
                      <a:pt x="0" y="43"/>
                      <a:pt x="0" y="78"/>
                      <a:pt x="22" y="100"/>
                    </a:cubicBezTo>
                    <a:cubicBezTo>
                      <a:pt x="42" y="120"/>
                      <a:pt x="73" y="122"/>
                      <a:pt x="95" y="104"/>
                    </a:cubicBezTo>
                    <a:cubicBezTo>
                      <a:pt x="114" y="123"/>
                      <a:pt x="114" y="123"/>
                      <a:pt x="114" y="123"/>
                    </a:cubicBezTo>
                    <a:lnTo>
                      <a:pt x="123" y="114"/>
                    </a:lnTo>
                    <a:close/>
                    <a:moveTo>
                      <a:pt x="30" y="92"/>
                    </a:moveTo>
                    <a:cubicBezTo>
                      <a:pt x="13" y="75"/>
                      <a:pt x="13" y="47"/>
                      <a:pt x="30" y="30"/>
                    </a:cubicBezTo>
                    <a:cubicBezTo>
                      <a:pt x="47" y="13"/>
                      <a:pt x="75" y="13"/>
                      <a:pt x="92" y="30"/>
                    </a:cubicBezTo>
                    <a:cubicBezTo>
                      <a:pt x="109" y="47"/>
                      <a:pt x="109" y="75"/>
                      <a:pt x="92" y="92"/>
                    </a:cubicBezTo>
                    <a:cubicBezTo>
                      <a:pt x="75" y="109"/>
                      <a:pt x="47" y="109"/>
                      <a:pt x="30" y="9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4" name="Freeform 25">
                <a:extLst>
                  <a:ext uri="{FF2B5EF4-FFF2-40B4-BE49-F238E27FC236}">
                    <a16:creationId xmlns:a16="http://schemas.microsoft.com/office/drawing/2014/main" id="{462AD94C-585B-41AE-8ADE-2D1AEC3AF24F}"/>
                  </a:ext>
                </a:extLst>
              </p:cNvPr>
              <p:cNvSpPr>
                <a:spLocks/>
              </p:cNvSpPr>
              <p:nvPr/>
            </p:nvSpPr>
            <p:spPr bwMode="auto">
              <a:xfrm>
                <a:off x="7872413" y="2922588"/>
                <a:ext cx="895350" cy="893762"/>
              </a:xfrm>
              <a:custGeom>
                <a:avLst/>
                <a:gdLst>
                  <a:gd name="T0" fmla="*/ 52 w 66"/>
                  <a:gd name="T1" fmla="*/ 65 h 66"/>
                  <a:gd name="T2" fmla="*/ 65 w 66"/>
                  <a:gd name="T3" fmla="*/ 52 h 66"/>
                  <a:gd name="T4" fmla="*/ 65 w 66"/>
                  <a:gd name="T5" fmla="*/ 48 h 66"/>
                  <a:gd name="T6" fmla="*/ 18 w 66"/>
                  <a:gd name="T7" fmla="*/ 1 h 66"/>
                  <a:gd name="T8" fmla="*/ 14 w 66"/>
                  <a:gd name="T9" fmla="*/ 1 h 66"/>
                  <a:gd name="T10" fmla="*/ 1 w 66"/>
                  <a:gd name="T11" fmla="*/ 14 h 66"/>
                  <a:gd name="T12" fmla="*/ 1 w 66"/>
                  <a:gd name="T13" fmla="*/ 18 h 66"/>
                  <a:gd name="T14" fmla="*/ 48 w 66"/>
                  <a:gd name="T15" fmla="*/ 65 h 66"/>
                  <a:gd name="T16" fmla="*/ 52 w 66"/>
                  <a:gd name="T17"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6">
                    <a:moveTo>
                      <a:pt x="52" y="65"/>
                    </a:moveTo>
                    <a:cubicBezTo>
                      <a:pt x="65" y="52"/>
                      <a:pt x="65" y="52"/>
                      <a:pt x="65" y="52"/>
                    </a:cubicBezTo>
                    <a:cubicBezTo>
                      <a:pt x="66" y="51"/>
                      <a:pt x="66" y="49"/>
                      <a:pt x="65" y="48"/>
                    </a:cubicBezTo>
                    <a:cubicBezTo>
                      <a:pt x="18" y="1"/>
                      <a:pt x="18" y="1"/>
                      <a:pt x="18" y="1"/>
                    </a:cubicBezTo>
                    <a:cubicBezTo>
                      <a:pt x="17" y="0"/>
                      <a:pt x="15" y="0"/>
                      <a:pt x="14" y="1"/>
                    </a:cubicBezTo>
                    <a:cubicBezTo>
                      <a:pt x="1" y="14"/>
                      <a:pt x="1" y="14"/>
                      <a:pt x="1" y="14"/>
                    </a:cubicBezTo>
                    <a:cubicBezTo>
                      <a:pt x="0" y="16"/>
                      <a:pt x="0" y="17"/>
                      <a:pt x="1" y="18"/>
                    </a:cubicBezTo>
                    <a:cubicBezTo>
                      <a:pt x="48" y="65"/>
                      <a:pt x="48" y="65"/>
                      <a:pt x="48" y="65"/>
                    </a:cubicBezTo>
                    <a:cubicBezTo>
                      <a:pt x="49" y="66"/>
                      <a:pt x="51" y="66"/>
                      <a:pt x="52" y="65"/>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5" name="Freeform 26">
                <a:extLst>
                  <a:ext uri="{FF2B5EF4-FFF2-40B4-BE49-F238E27FC236}">
                    <a16:creationId xmlns:a16="http://schemas.microsoft.com/office/drawing/2014/main" id="{C51F0B24-FF8C-47CC-AF11-F7DD491D14D7}"/>
                  </a:ext>
                </a:extLst>
              </p:cNvPr>
              <p:cNvSpPr>
                <a:spLocks/>
              </p:cNvSpPr>
              <p:nvPr/>
            </p:nvSpPr>
            <p:spPr bwMode="auto">
              <a:xfrm>
                <a:off x="6937375" y="1905000"/>
                <a:ext cx="339725" cy="339725"/>
              </a:xfrm>
              <a:custGeom>
                <a:avLst/>
                <a:gdLst>
                  <a:gd name="T0" fmla="*/ 4 w 25"/>
                  <a:gd name="T1" fmla="*/ 20 h 25"/>
                  <a:gd name="T2" fmla="*/ 21 w 25"/>
                  <a:gd name="T3" fmla="*/ 20 h 25"/>
                  <a:gd name="T4" fmla="*/ 21 w 25"/>
                  <a:gd name="T5" fmla="*/ 4 h 25"/>
                  <a:gd name="T6" fmla="*/ 4 w 25"/>
                  <a:gd name="T7" fmla="*/ 4 h 25"/>
                  <a:gd name="T8" fmla="*/ 4 w 25"/>
                  <a:gd name="T9" fmla="*/ 20 h 25"/>
                </a:gdLst>
                <a:ahLst/>
                <a:cxnLst>
                  <a:cxn ang="0">
                    <a:pos x="T0" y="T1"/>
                  </a:cxn>
                  <a:cxn ang="0">
                    <a:pos x="T2" y="T3"/>
                  </a:cxn>
                  <a:cxn ang="0">
                    <a:pos x="T4" y="T5"/>
                  </a:cxn>
                  <a:cxn ang="0">
                    <a:pos x="T6" y="T7"/>
                  </a:cxn>
                  <a:cxn ang="0">
                    <a:pos x="T8" y="T9"/>
                  </a:cxn>
                </a:cxnLst>
                <a:rect l="0" t="0" r="r" b="b"/>
                <a:pathLst>
                  <a:path w="25" h="25">
                    <a:moveTo>
                      <a:pt x="4" y="20"/>
                    </a:moveTo>
                    <a:cubicBezTo>
                      <a:pt x="9" y="25"/>
                      <a:pt x="16" y="25"/>
                      <a:pt x="21" y="20"/>
                    </a:cubicBezTo>
                    <a:cubicBezTo>
                      <a:pt x="25" y="16"/>
                      <a:pt x="25" y="9"/>
                      <a:pt x="21" y="4"/>
                    </a:cubicBezTo>
                    <a:cubicBezTo>
                      <a:pt x="16" y="0"/>
                      <a:pt x="9" y="0"/>
                      <a:pt x="4" y="4"/>
                    </a:cubicBezTo>
                    <a:cubicBezTo>
                      <a:pt x="0" y="9"/>
                      <a:pt x="0" y="16"/>
                      <a:pt x="4" y="2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6" name="Freeform 27">
                <a:extLst>
                  <a:ext uri="{FF2B5EF4-FFF2-40B4-BE49-F238E27FC236}">
                    <a16:creationId xmlns:a16="http://schemas.microsoft.com/office/drawing/2014/main" id="{C559ECA5-810D-48C6-9B94-496C6F542F5B}"/>
                  </a:ext>
                </a:extLst>
              </p:cNvPr>
              <p:cNvSpPr>
                <a:spLocks/>
              </p:cNvSpPr>
              <p:nvPr/>
            </p:nvSpPr>
            <p:spPr bwMode="auto">
              <a:xfrm>
                <a:off x="7872413" y="3030538"/>
                <a:ext cx="895350" cy="785812"/>
              </a:xfrm>
              <a:custGeom>
                <a:avLst/>
                <a:gdLst>
                  <a:gd name="T0" fmla="*/ 1 w 66"/>
                  <a:gd name="T1" fmla="*/ 6 h 58"/>
                  <a:gd name="T2" fmla="*/ 8 w 66"/>
                  <a:gd name="T3" fmla="*/ 0 h 58"/>
                  <a:gd name="T4" fmla="*/ 53 w 66"/>
                  <a:gd name="T5" fmla="*/ 45 h 58"/>
                  <a:gd name="T6" fmla="*/ 55 w 66"/>
                  <a:gd name="T7" fmla="*/ 45 h 58"/>
                  <a:gd name="T8" fmla="*/ 63 w 66"/>
                  <a:gd name="T9" fmla="*/ 38 h 58"/>
                  <a:gd name="T10" fmla="*/ 65 w 66"/>
                  <a:gd name="T11" fmla="*/ 40 h 58"/>
                  <a:gd name="T12" fmla="*/ 65 w 66"/>
                  <a:gd name="T13" fmla="*/ 44 h 58"/>
                  <a:gd name="T14" fmla="*/ 52 w 66"/>
                  <a:gd name="T15" fmla="*/ 57 h 58"/>
                  <a:gd name="T16" fmla="*/ 48 w 66"/>
                  <a:gd name="T17" fmla="*/ 57 h 58"/>
                  <a:gd name="T18" fmla="*/ 1 w 66"/>
                  <a:gd name="T19" fmla="*/ 10 h 58"/>
                  <a:gd name="T20" fmla="*/ 1 w 66"/>
                  <a:gd name="T21"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58">
                    <a:moveTo>
                      <a:pt x="1" y="6"/>
                    </a:moveTo>
                    <a:cubicBezTo>
                      <a:pt x="8" y="0"/>
                      <a:pt x="8" y="0"/>
                      <a:pt x="8" y="0"/>
                    </a:cubicBezTo>
                    <a:cubicBezTo>
                      <a:pt x="53" y="45"/>
                      <a:pt x="53" y="45"/>
                      <a:pt x="53" y="45"/>
                    </a:cubicBezTo>
                    <a:cubicBezTo>
                      <a:pt x="54" y="46"/>
                      <a:pt x="55" y="46"/>
                      <a:pt x="55" y="45"/>
                    </a:cubicBezTo>
                    <a:cubicBezTo>
                      <a:pt x="63" y="38"/>
                      <a:pt x="63" y="38"/>
                      <a:pt x="63" y="38"/>
                    </a:cubicBezTo>
                    <a:cubicBezTo>
                      <a:pt x="65" y="40"/>
                      <a:pt x="65" y="40"/>
                      <a:pt x="65" y="40"/>
                    </a:cubicBezTo>
                    <a:cubicBezTo>
                      <a:pt x="66" y="41"/>
                      <a:pt x="66" y="43"/>
                      <a:pt x="65" y="44"/>
                    </a:cubicBezTo>
                    <a:cubicBezTo>
                      <a:pt x="52" y="57"/>
                      <a:pt x="52" y="57"/>
                      <a:pt x="52" y="57"/>
                    </a:cubicBezTo>
                    <a:cubicBezTo>
                      <a:pt x="51" y="58"/>
                      <a:pt x="49" y="58"/>
                      <a:pt x="48" y="57"/>
                    </a:cubicBezTo>
                    <a:cubicBezTo>
                      <a:pt x="1" y="10"/>
                      <a:pt x="1" y="10"/>
                      <a:pt x="1" y="10"/>
                    </a:cubicBezTo>
                    <a:cubicBezTo>
                      <a:pt x="0" y="9"/>
                      <a:pt x="0" y="8"/>
                      <a:pt x="1" y="6"/>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17" name="Group 1016">
            <a:extLst>
              <a:ext uri="{FF2B5EF4-FFF2-40B4-BE49-F238E27FC236}">
                <a16:creationId xmlns:a16="http://schemas.microsoft.com/office/drawing/2014/main" id="{5B86181D-2E56-429E-B96F-290919AE9592}"/>
              </a:ext>
            </a:extLst>
          </p:cNvPr>
          <p:cNvGrpSpPr/>
          <p:nvPr/>
        </p:nvGrpSpPr>
        <p:grpSpPr>
          <a:xfrm>
            <a:off x="1000894" y="4947480"/>
            <a:ext cx="441250" cy="440712"/>
            <a:chOff x="3446463" y="3546475"/>
            <a:chExt cx="1303338" cy="1301750"/>
          </a:xfrm>
        </p:grpSpPr>
        <p:sp>
          <p:nvSpPr>
            <p:cNvPr id="1018" name="Oval 5">
              <a:extLst>
                <a:ext uri="{FF2B5EF4-FFF2-40B4-BE49-F238E27FC236}">
                  <a16:creationId xmlns:a16="http://schemas.microsoft.com/office/drawing/2014/main" id="{6FA2C5DD-276E-4955-9D8F-084628213716}"/>
                </a:ext>
              </a:extLst>
            </p:cNvPr>
            <p:cNvSpPr>
              <a:spLocks noChangeArrowheads="1"/>
            </p:cNvSpPr>
            <p:nvPr/>
          </p:nvSpPr>
          <p:spPr bwMode="auto">
            <a:xfrm>
              <a:off x="3446463"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019" name="Group 1018">
              <a:extLst>
                <a:ext uri="{FF2B5EF4-FFF2-40B4-BE49-F238E27FC236}">
                  <a16:creationId xmlns:a16="http://schemas.microsoft.com/office/drawing/2014/main" id="{092FD7C5-6146-4222-B169-0849B408CFB1}"/>
                </a:ext>
              </a:extLst>
            </p:cNvPr>
            <p:cNvGrpSpPr/>
            <p:nvPr/>
          </p:nvGrpSpPr>
          <p:grpSpPr>
            <a:xfrm>
              <a:off x="3800475" y="3770313"/>
              <a:ext cx="595313" cy="742950"/>
              <a:chOff x="3800475" y="3770313"/>
              <a:chExt cx="595313" cy="742950"/>
            </a:xfrm>
          </p:grpSpPr>
          <p:sp>
            <p:nvSpPr>
              <p:cNvPr id="1023" name="Freeform 6">
                <a:extLst>
                  <a:ext uri="{FF2B5EF4-FFF2-40B4-BE49-F238E27FC236}">
                    <a16:creationId xmlns:a16="http://schemas.microsoft.com/office/drawing/2014/main" id="{F55F2C20-547B-46F2-95A8-FB1819DCCA1D}"/>
                  </a:ext>
                </a:extLst>
              </p:cNvPr>
              <p:cNvSpPr>
                <a:spLocks noEditPoints="1"/>
              </p:cNvSpPr>
              <p:nvPr/>
            </p:nvSpPr>
            <p:spPr bwMode="auto">
              <a:xfrm>
                <a:off x="3800475" y="3770313"/>
                <a:ext cx="595313" cy="742950"/>
              </a:xfrm>
              <a:custGeom>
                <a:avLst/>
                <a:gdLst>
                  <a:gd name="T0" fmla="*/ 26 w 32"/>
                  <a:gd name="T1" fmla="*/ 18 h 40"/>
                  <a:gd name="T2" fmla="*/ 26 w 32"/>
                  <a:gd name="T3" fmla="*/ 10 h 40"/>
                  <a:gd name="T4" fmla="*/ 16 w 32"/>
                  <a:gd name="T5" fmla="*/ 0 h 40"/>
                  <a:gd name="T6" fmla="*/ 6 w 32"/>
                  <a:gd name="T7" fmla="*/ 10 h 40"/>
                  <a:gd name="T8" fmla="*/ 6 w 32"/>
                  <a:gd name="T9" fmla="*/ 18 h 40"/>
                  <a:gd name="T10" fmla="*/ 0 w 32"/>
                  <a:gd name="T11" fmla="*/ 18 h 40"/>
                  <a:gd name="T12" fmla="*/ 0 w 32"/>
                  <a:gd name="T13" fmla="*/ 40 h 40"/>
                  <a:gd name="T14" fmla="*/ 32 w 32"/>
                  <a:gd name="T15" fmla="*/ 40 h 40"/>
                  <a:gd name="T16" fmla="*/ 32 w 32"/>
                  <a:gd name="T17" fmla="*/ 18 h 40"/>
                  <a:gd name="T18" fmla="*/ 26 w 32"/>
                  <a:gd name="T19" fmla="*/ 18 h 40"/>
                  <a:gd name="T20" fmla="*/ 10 w 32"/>
                  <a:gd name="T21" fmla="*/ 10 h 40"/>
                  <a:gd name="T22" fmla="*/ 16 w 32"/>
                  <a:gd name="T23" fmla="*/ 3 h 40"/>
                  <a:gd name="T24" fmla="*/ 23 w 32"/>
                  <a:gd name="T25" fmla="*/ 10 h 40"/>
                  <a:gd name="T26" fmla="*/ 23 w 32"/>
                  <a:gd name="T27" fmla="*/ 18 h 40"/>
                  <a:gd name="T28" fmla="*/ 10 w 32"/>
                  <a:gd name="T29" fmla="*/ 18 h 40"/>
                  <a:gd name="T30" fmla="*/ 10 w 32"/>
                  <a:gd name="T31"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40">
                    <a:moveTo>
                      <a:pt x="26" y="18"/>
                    </a:moveTo>
                    <a:cubicBezTo>
                      <a:pt x="26" y="10"/>
                      <a:pt x="26" y="10"/>
                      <a:pt x="26" y="10"/>
                    </a:cubicBezTo>
                    <a:cubicBezTo>
                      <a:pt x="26" y="4"/>
                      <a:pt x="22" y="0"/>
                      <a:pt x="16" y="0"/>
                    </a:cubicBezTo>
                    <a:cubicBezTo>
                      <a:pt x="11" y="0"/>
                      <a:pt x="6" y="4"/>
                      <a:pt x="6" y="10"/>
                    </a:cubicBezTo>
                    <a:cubicBezTo>
                      <a:pt x="6" y="18"/>
                      <a:pt x="6" y="18"/>
                      <a:pt x="6" y="18"/>
                    </a:cubicBezTo>
                    <a:cubicBezTo>
                      <a:pt x="0" y="18"/>
                      <a:pt x="0" y="18"/>
                      <a:pt x="0" y="18"/>
                    </a:cubicBezTo>
                    <a:cubicBezTo>
                      <a:pt x="0" y="40"/>
                      <a:pt x="0" y="40"/>
                      <a:pt x="0" y="40"/>
                    </a:cubicBezTo>
                    <a:cubicBezTo>
                      <a:pt x="32" y="40"/>
                      <a:pt x="32" y="40"/>
                      <a:pt x="32" y="40"/>
                    </a:cubicBezTo>
                    <a:cubicBezTo>
                      <a:pt x="32" y="18"/>
                      <a:pt x="32" y="18"/>
                      <a:pt x="32" y="18"/>
                    </a:cubicBezTo>
                    <a:lnTo>
                      <a:pt x="26" y="18"/>
                    </a:lnTo>
                    <a:close/>
                    <a:moveTo>
                      <a:pt x="10" y="10"/>
                    </a:moveTo>
                    <a:cubicBezTo>
                      <a:pt x="10" y="6"/>
                      <a:pt x="13" y="3"/>
                      <a:pt x="16" y="3"/>
                    </a:cubicBezTo>
                    <a:cubicBezTo>
                      <a:pt x="20" y="3"/>
                      <a:pt x="23" y="6"/>
                      <a:pt x="23" y="10"/>
                    </a:cubicBezTo>
                    <a:cubicBezTo>
                      <a:pt x="23" y="18"/>
                      <a:pt x="23" y="18"/>
                      <a:pt x="23" y="18"/>
                    </a:cubicBezTo>
                    <a:cubicBezTo>
                      <a:pt x="10" y="18"/>
                      <a:pt x="10" y="18"/>
                      <a:pt x="10" y="18"/>
                    </a:cubicBezTo>
                    <a:lnTo>
                      <a:pt x="10" y="1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4" name="Rectangle 7">
                <a:extLst>
                  <a:ext uri="{FF2B5EF4-FFF2-40B4-BE49-F238E27FC236}">
                    <a16:creationId xmlns:a16="http://schemas.microsoft.com/office/drawing/2014/main" id="{42BBC739-8B51-4159-B58C-4797E1E42612}"/>
                  </a:ext>
                </a:extLst>
              </p:cNvPr>
              <p:cNvSpPr>
                <a:spLocks noChangeArrowheads="1"/>
              </p:cNvSpPr>
              <p:nvPr/>
            </p:nvSpPr>
            <p:spPr bwMode="auto">
              <a:xfrm>
                <a:off x="3800475" y="4179888"/>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5" name="Rectangle 8">
                <a:extLst>
                  <a:ext uri="{FF2B5EF4-FFF2-40B4-BE49-F238E27FC236}">
                    <a16:creationId xmlns:a16="http://schemas.microsoft.com/office/drawing/2014/main" id="{545A51AE-F0AE-4309-8E90-AD29710ECA5E}"/>
                  </a:ext>
                </a:extLst>
              </p:cNvPr>
              <p:cNvSpPr>
                <a:spLocks noChangeArrowheads="1"/>
              </p:cNvSpPr>
              <p:nvPr/>
            </p:nvSpPr>
            <p:spPr bwMode="auto">
              <a:xfrm>
                <a:off x="3800475" y="4291013"/>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7" name="Rectangle 9">
                <a:extLst>
                  <a:ext uri="{FF2B5EF4-FFF2-40B4-BE49-F238E27FC236}">
                    <a16:creationId xmlns:a16="http://schemas.microsoft.com/office/drawing/2014/main" id="{0F21CFDE-2B8A-477C-8379-E17805297467}"/>
                  </a:ext>
                </a:extLst>
              </p:cNvPr>
              <p:cNvSpPr>
                <a:spLocks noChangeArrowheads="1"/>
              </p:cNvSpPr>
              <p:nvPr/>
            </p:nvSpPr>
            <p:spPr bwMode="auto">
              <a:xfrm>
                <a:off x="3800475" y="4402138"/>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20" name="Group 1019">
              <a:extLst>
                <a:ext uri="{FF2B5EF4-FFF2-40B4-BE49-F238E27FC236}">
                  <a16:creationId xmlns:a16="http://schemas.microsoft.com/office/drawing/2014/main" id="{24A2F5D0-0EF4-4F33-8B2C-1D38663646DD}"/>
                </a:ext>
              </a:extLst>
            </p:cNvPr>
            <p:cNvGrpSpPr/>
            <p:nvPr/>
          </p:nvGrpSpPr>
          <p:grpSpPr>
            <a:xfrm>
              <a:off x="4187605" y="4315542"/>
              <a:ext cx="302195" cy="301217"/>
              <a:chOff x="4123605" y="4230688"/>
              <a:chExt cx="399347" cy="398054"/>
            </a:xfrm>
          </p:grpSpPr>
          <p:sp>
            <p:nvSpPr>
              <p:cNvPr id="1021" name="Freeform 31">
                <a:extLst>
                  <a:ext uri="{FF2B5EF4-FFF2-40B4-BE49-F238E27FC236}">
                    <a16:creationId xmlns:a16="http://schemas.microsoft.com/office/drawing/2014/main" id="{484CDCBC-619E-447D-B263-379BC6BF55A7}"/>
                  </a:ext>
                </a:extLst>
              </p:cNvPr>
              <p:cNvSpPr>
                <a:spLocks noEditPoints="1"/>
              </p:cNvSpPr>
              <p:nvPr/>
            </p:nvSpPr>
            <p:spPr bwMode="auto">
              <a:xfrm>
                <a:off x="4215293" y="4322079"/>
                <a:ext cx="215971" cy="21527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2" name="Freeform 31">
                <a:extLst>
                  <a:ext uri="{FF2B5EF4-FFF2-40B4-BE49-F238E27FC236}">
                    <a16:creationId xmlns:a16="http://schemas.microsoft.com/office/drawing/2014/main" id="{2ACD2787-6C4B-4FEA-A950-8796211A81F2}"/>
                  </a:ext>
                </a:extLst>
              </p:cNvPr>
              <p:cNvSpPr>
                <a:spLocks noEditPoints="1"/>
              </p:cNvSpPr>
              <p:nvPr/>
            </p:nvSpPr>
            <p:spPr bwMode="auto">
              <a:xfrm>
                <a:off x="4123605" y="4230688"/>
                <a:ext cx="399347" cy="398054"/>
              </a:xfrm>
              <a:custGeom>
                <a:avLst/>
                <a:gdLst>
                  <a:gd name="T0" fmla="*/ 37 w 39"/>
                  <a:gd name="T1" fmla="*/ 29 h 39"/>
                  <a:gd name="T2" fmla="*/ 39 w 39"/>
                  <a:gd name="T3" fmla="*/ 24 h 39"/>
                  <a:gd name="T4" fmla="*/ 34 w 39"/>
                  <a:gd name="T5" fmla="*/ 21 h 39"/>
                  <a:gd name="T6" fmla="*/ 34 w 39"/>
                  <a:gd name="T7" fmla="*/ 17 h 39"/>
                  <a:gd name="T8" fmla="*/ 39 w 39"/>
                  <a:gd name="T9" fmla="*/ 14 h 39"/>
                  <a:gd name="T10" fmla="*/ 37 w 39"/>
                  <a:gd name="T11" fmla="*/ 9 h 39"/>
                  <a:gd name="T12" fmla="*/ 31 w 39"/>
                  <a:gd name="T13" fmla="*/ 10 h 39"/>
                  <a:gd name="T14" fmla="*/ 29 w 39"/>
                  <a:gd name="T15" fmla="*/ 8 h 39"/>
                  <a:gd name="T16" fmla="*/ 30 w 39"/>
                  <a:gd name="T17" fmla="*/ 2 h 39"/>
                  <a:gd name="T18" fmla="*/ 25 w 39"/>
                  <a:gd name="T19" fmla="*/ 0 h 39"/>
                  <a:gd name="T20" fmla="*/ 22 w 39"/>
                  <a:gd name="T21" fmla="*/ 5 h 39"/>
                  <a:gd name="T22" fmla="*/ 18 w 39"/>
                  <a:gd name="T23" fmla="*/ 5 h 39"/>
                  <a:gd name="T24" fmla="*/ 15 w 39"/>
                  <a:gd name="T25" fmla="*/ 0 h 39"/>
                  <a:gd name="T26" fmla="*/ 10 w 39"/>
                  <a:gd name="T27" fmla="*/ 2 h 39"/>
                  <a:gd name="T28" fmla="*/ 11 w 39"/>
                  <a:gd name="T29" fmla="*/ 8 h 39"/>
                  <a:gd name="T30" fmla="*/ 8 w 39"/>
                  <a:gd name="T31" fmla="*/ 10 h 39"/>
                  <a:gd name="T32" fmla="*/ 2 w 39"/>
                  <a:gd name="T33" fmla="*/ 9 h 39"/>
                  <a:gd name="T34" fmla="*/ 0 w 39"/>
                  <a:gd name="T35" fmla="*/ 14 h 39"/>
                  <a:gd name="T36" fmla="*/ 5 w 39"/>
                  <a:gd name="T37" fmla="*/ 17 h 39"/>
                  <a:gd name="T38" fmla="*/ 5 w 39"/>
                  <a:gd name="T39" fmla="*/ 21 h 39"/>
                  <a:gd name="T40" fmla="*/ 0 w 39"/>
                  <a:gd name="T41" fmla="*/ 24 h 39"/>
                  <a:gd name="T42" fmla="*/ 2 w 39"/>
                  <a:gd name="T43" fmla="*/ 29 h 39"/>
                  <a:gd name="T44" fmla="*/ 8 w 39"/>
                  <a:gd name="T45" fmla="*/ 28 h 39"/>
                  <a:gd name="T46" fmla="*/ 11 w 39"/>
                  <a:gd name="T47" fmla="*/ 31 h 39"/>
                  <a:gd name="T48" fmla="*/ 10 w 39"/>
                  <a:gd name="T49" fmla="*/ 37 h 39"/>
                  <a:gd name="T50" fmla="*/ 15 w 39"/>
                  <a:gd name="T51" fmla="*/ 39 h 39"/>
                  <a:gd name="T52" fmla="*/ 18 w 39"/>
                  <a:gd name="T53" fmla="*/ 34 h 39"/>
                  <a:gd name="T54" fmla="*/ 22 w 39"/>
                  <a:gd name="T55" fmla="*/ 34 h 39"/>
                  <a:gd name="T56" fmla="*/ 25 w 39"/>
                  <a:gd name="T57" fmla="*/ 39 h 39"/>
                  <a:gd name="T58" fmla="*/ 30 w 39"/>
                  <a:gd name="T59" fmla="*/ 37 h 39"/>
                  <a:gd name="T60" fmla="*/ 29 w 39"/>
                  <a:gd name="T61" fmla="*/ 31 h 39"/>
                  <a:gd name="T62" fmla="*/ 31 w 39"/>
                  <a:gd name="T63" fmla="*/ 28 h 39"/>
                  <a:gd name="T64" fmla="*/ 37 w 39"/>
                  <a:gd name="T65" fmla="*/ 29 h 39"/>
                  <a:gd name="T66" fmla="*/ 17 w 39"/>
                  <a:gd name="T67" fmla="*/ 27 h 39"/>
                  <a:gd name="T68" fmla="*/ 13 w 39"/>
                  <a:gd name="T69" fmla="*/ 16 h 39"/>
                  <a:gd name="T70" fmla="*/ 23 w 39"/>
                  <a:gd name="T71" fmla="*/ 12 h 39"/>
                  <a:gd name="T72" fmla="*/ 27 w 39"/>
                  <a:gd name="T73" fmla="*/ 22 h 39"/>
                  <a:gd name="T74" fmla="*/ 17 w 39"/>
                  <a:gd name="T75"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39">
                    <a:moveTo>
                      <a:pt x="37" y="29"/>
                    </a:moveTo>
                    <a:cubicBezTo>
                      <a:pt x="39" y="24"/>
                      <a:pt x="39" y="24"/>
                      <a:pt x="39" y="24"/>
                    </a:cubicBezTo>
                    <a:cubicBezTo>
                      <a:pt x="34" y="21"/>
                      <a:pt x="34" y="21"/>
                      <a:pt x="34" y="21"/>
                    </a:cubicBezTo>
                    <a:cubicBezTo>
                      <a:pt x="34" y="20"/>
                      <a:pt x="34" y="19"/>
                      <a:pt x="34" y="17"/>
                    </a:cubicBezTo>
                    <a:cubicBezTo>
                      <a:pt x="39" y="14"/>
                      <a:pt x="39" y="14"/>
                      <a:pt x="39" y="14"/>
                    </a:cubicBezTo>
                    <a:cubicBezTo>
                      <a:pt x="37" y="9"/>
                      <a:pt x="37" y="9"/>
                      <a:pt x="37" y="9"/>
                    </a:cubicBezTo>
                    <a:cubicBezTo>
                      <a:pt x="31" y="10"/>
                      <a:pt x="31" y="10"/>
                      <a:pt x="31" y="10"/>
                    </a:cubicBezTo>
                    <a:cubicBezTo>
                      <a:pt x="30" y="9"/>
                      <a:pt x="30" y="9"/>
                      <a:pt x="29" y="8"/>
                    </a:cubicBezTo>
                    <a:cubicBezTo>
                      <a:pt x="30" y="2"/>
                      <a:pt x="30" y="2"/>
                      <a:pt x="30" y="2"/>
                    </a:cubicBezTo>
                    <a:cubicBezTo>
                      <a:pt x="25" y="0"/>
                      <a:pt x="25" y="0"/>
                      <a:pt x="25" y="0"/>
                    </a:cubicBezTo>
                    <a:cubicBezTo>
                      <a:pt x="22" y="5"/>
                      <a:pt x="22" y="5"/>
                      <a:pt x="22" y="5"/>
                    </a:cubicBezTo>
                    <a:cubicBezTo>
                      <a:pt x="20" y="5"/>
                      <a:pt x="19" y="5"/>
                      <a:pt x="18" y="5"/>
                    </a:cubicBezTo>
                    <a:cubicBezTo>
                      <a:pt x="15" y="0"/>
                      <a:pt x="15" y="0"/>
                      <a:pt x="15" y="0"/>
                    </a:cubicBezTo>
                    <a:cubicBezTo>
                      <a:pt x="10" y="2"/>
                      <a:pt x="10" y="2"/>
                      <a:pt x="10" y="2"/>
                    </a:cubicBezTo>
                    <a:cubicBezTo>
                      <a:pt x="11" y="8"/>
                      <a:pt x="11" y="8"/>
                      <a:pt x="11" y="8"/>
                    </a:cubicBezTo>
                    <a:cubicBezTo>
                      <a:pt x="10" y="8"/>
                      <a:pt x="9" y="9"/>
                      <a:pt x="8" y="10"/>
                    </a:cubicBezTo>
                    <a:cubicBezTo>
                      <a:pt x="2" y="9"/>
                      <a:pt x="2" y="9"/>
                      <a:pt x="2" y="9"/>
                    </a:cubicBezTo>
                    <a:cubicBezTo>
                      <a:pt x="0" y="14"/>
                      <a:pt x="0" y="14"/>
                      <a:pt x="0" y="14"/>
                    </a:cubicBezTo>
                    <a:cubicBezTo>
                      <a:pt x="5" y="17"/>
                      <a:pt x="5" y="17"/>
                      <a:pt x="5" y="17"/>
                    </a:cubicBezTo>
                    <a:cubicBezTo>
                      <a:pt x="5" y="19"/>
                      <a:pt x="5" y="20"/>
                      <a:pt x="5" y="21"/>
                    </a:cubicBezTo>
                    <a:cubicBezTo>
                      <a:pt x="0" y="24"/>
                      <a:pt x="0" y="24"/>
                      <a:pt x="0" y="24"/>
                    </a:cubicBezTo>
                    <a:cubicBezTo>
                      <a:pt x="2" y="29"/>
                      <a:pt x="2" y="29"/>
                      <a:pt x="2" y="29"/>
                    </a:cubicBezTo>
                    <a:cubicBezTo>
                      <a:pt x="8" y="28"/>
                      <a:pt x="8" y="28"/>
                      <a:pt x="8" y="28"/>
                    </a:cubicBezTo>
                    <a:cubicBezTo>
                      <a:pt x="9" y="29"/>
                      <a:pt x="10" y="30"/>
                      <a:pt x="11" y="31"/>
                    </a:cubicBezTo>
                    <a:cubicBezTo>
                      <a:pt x="10" y="37"/>
                      <a:pt x="10" y="37"/>
                      <a:pt x="10" y="37"/>
                    </a:cubicBezTo>
                    <a:cubicBezTo>
                      <a:pt x="15" y="39"/>
                      <a:pt x="15" y="39"/>
                      <a:pt x="15" y="39"/>
                    </a:cubicBezTo>
                    <a:cubicBezTo>
                      <a:pt x="18" y="34"/>
                      <a:pt x="18" y="34"/>
                      <a:pt x="18" y="34"/>
                    </a:cubicBezTo>
                    <a:cubicBezTo>
                      <a:pt x="19" y="34"/>
                      <a:pt x="21" y="34"/>
                      <a:pt x="22" y="34"/>
                    </a:cubicBezTo>
                    <a:cubicBezTo>
                      <a:pt x="25" y="39"/>
                      <a:pt x="25" y="39"/>
                      <a:pt x="25" y="39"/>
                    </a:cubicBezTo>
                    <a:cubicBezTo>
                      <a:pt x="30" y="37"/>
                      <a:pt x="30" y="37"/>
                      <a:pt x="30" y="37"/>
                    </a:cubicBezTo>
                    <a:cubicBezTo>
                      <a:pt x="29" y="31"/>
                      <a:pt x="29" y="31"/>
                      <a:pt x="29" y="31"/>
                    </a:cubicBezTo>
                    <a:cubicBezTo>
                      <a:pt x="30" y="30"/>
                      <a:pt x="31" y="29"/>
                      <a:pt x="31" y="28"/>
                    </a:cubicBezTo>
                    <a:lnTo>
                      <a:pt x="37" y="29"/>
                    </a:lnTo>
                    <a:close/>
                    <a:moveTo>
                      <a:pt x="17" y="27"/>
                    </a:moveTo>
                    <a:cubicBezTo>
                      <a:pt x="13" y="25"/>
                      <a:pt x="11" y="20"/>
                      <a:pt x="13" y="16"/>
                    </a:cubicBezTo>
                    <a:cubicBezTo>
                      <a:pt x="14" y="12"/>
                      <a:pt x="19" y="11"/>
                      <a:pt x="23" y="12"/>
                    </a:cubicBezTo>
                    <a:cubicBezTo>
                      <a:pt x="27" y="14"/>
                      <a:pt x="29" y="18"/>
                      <a:pt x="27" y="22"/>
                    </a:cubicBezTo>
                    <a:cubicBezTo>
                      <a:pt x="25" y="26"/>
                      <a:pt x="21" y="28"/>
                      <a:pt x="17" y="27"/>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28" name="Group 1027">
            <a:extLst>
              <a:ext uri="{FF2B5EF4-FFF2-40B4-BE49-F238E27FC236}">
                <a16:creationId xmlns:a16="http://schemas.microsoft.com/office/drawing/2014/main" id="{A57F172F-432D-4862-9366-DED4521DB707}"/>
              </a:ext>
            </a:extLst>
          </p:cNvPr>
          <p:cNvGrpSpPr/>
          <p:nvPr/>
        </p:nvGrpSpPr>
        <p:grpSpPr>
          <a:xfrm>
            <a:off x="3167931" y="4947480"/>
            <a:ext cx="441250" cy="440712"/>
            <a:chOff x="7136427" y="3546475"/>
            <a:chExt cx="1303338" cy="1301750"/>
          </a:xfrm>
        </p:grpSpPr>
        <p:sp>
          <p:nvSpPr>
            <p:cNvPr id="1029" name="Oval 5">
              <a:extLst>
                <a:ext uri="{FF2B5EF4-FFF2-40B4-BE49-F238E27FC236}">
                  <a16:creationId xmlns:a16="http://schemas.microsoft.com/office/drawing/2014/main" id="{69CE85DE-3D65-472F-B0F6-12D8F6CDD682}"/>
                </a:ext>
              </a:extLst>
            </p:cNvPr>
            <p:cNvSpPr>
              <a:spLocks noChangeArrowheads="1"/>
            </p:cNvSpPr>
            <p:nvPr/>
          </p:nvSpPr>
          <p:spPr bwMode="auto">
            <a:xfrm>
              <a:off x="7136427"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030" name="Group 1029">
              <a:extLst>
                <a:ext uri="{FF2B5EF4-FFF2-40B4-BE49-F238E27FC236}">
                  <a16:creationId xmlns:a16="http://schemas.microsoft.com/office/drawing/2014/main" id="{78AD8C30-BF54-4BE9-94E3-5C6299DA22AC}"/>
                </a:ext>
              </a:extLst>
            </p:cNvPr>
            <p:cNvGrpSpPr/>
            <p:nvPr/>
          </p:nvGrpSpPr>
          <p:grpSpPr>
            <a:xfrm>
              <a:off x="7375167" y="3762415"/>
              <a:ext cx="825858" cy="869870"/>
              <a:chOff x="7598632" y="3948588"/>
              <a:chExt cx="461366" cy="485954"/>
            </a:xfrm>
          </p:grpSpPr>
          <p:sp>
            <p:nvSpPr>
              <p:cNvPr id="1031" name="Freeform 67">
                <a:extLst>
                  <a:ext uri="{FF2B5EF4-FFF2-40B4-BE49-F238E27FC236}">
                    <a16:creationId xmlns:a16="http://schemas.microsoft.com/office/drawing/2014/main" id="{E5A27E5D-EFFC-4A67-A2BA-879DC3CBF19C}"/>
                  </a:ext>
                </a:extLst>
              </p:cNvPr>
              <p:cNvSpPr>
                <a:spLocks noEditPoints="1"/>
              </p:cNvSpPr>
              <p:nvPr/>
            </p:nvSpPr>
            <p:spPr bwMode="auto">
              <a:xfrm>
                <a:off x="7729521" y="4044296"/>
                <a:ext cx="199588" cy="255994"/>
              </a:xfrm>
              <a:custGeom>
                <a:avLst/>
                <a:gdLst>
                  <a:gd name="T0" fmla="*/ 4 w 58"/>
                  <a:gd name="T1" fmla="*/ 74 h 74"/>
                  <a:gd name="T2" fmla="*/ 54 w 58"/>
                  <a:gd name="T3" fmla="*/ 74 h 74"/>
                  <a:gd name="T4" fmla="*/ 58 w 58"/>
                  <a:gd name="T5" fmla="*/ 70 h 74"/>
                  <a:gd name="T6" fmla="*/ 58 w 58"/>
                  <a:gd name="T7" fmla="*/ 29 h 74"/>
                  <a:gd name="T8" fmla="*/ 54 w 58"/>
                  <a:gd name="T9" fmla="*/ 25 h 74"/>
                  <a:gd name="T10" fmla="*/ 16 w 58"/>
                  <a:gd name="T11" fmla="*/ 25 h 74"/>
                  <a:gd name="T12" fmla="*/ 16 w 58"/>
                  <a:gd name="T13" fmla="*/ 21 h 74"/>
                  <a:gd name="T14" fmla="*/ 29 w 58"/>
                  <a:gd name="T15" fmla="*/ 9 h 74"/>
                  <a:gd name="T16" fmla="*/ 41 w 58"/>
                  <a:gd name="T17" fmla="*/ 17 h 74"/>
                  <a:gd name="T18" fmla="*/ 43 w 58"/>
                  <a:gd name="T19" fmla="*/ 19 h 74"/>
                  <a:gd name="T20" fmla="*/ 46 w 58"/>
                  <a:gd name="T21" fmla="*/ 19 h 74"/>
                  <a:gd name="T22" fmla="*/ 47 w 58"/>
                  <a:gd name="T23" fmla="*/ 18 h 74"/>
                  <a:gd name="T24" fmla="*/ 49 w 58"/>
                  <a:gd name="T25" fmla="*/ 14 h 74"/>
                  <a:gd name="T26" fmla="*/ 29 w 58"/>
                  <a:gd name="T27" fmla="*/ 0 h 74"/>
                  <a:gd name="T28" fmla="*/ 8 w 58"/>
                  <a:gd name="T29" fmla="*/ 21 h 74"/>
                  <a:gd name="T30" fmla="*/ 8 w 58"/>
                  <a:gd name="T31" fmla="*/ 25 h 74"/>
                  <a:gd name="T32" fmla="*/ 4 w 58"/>
                  <a:gd name="T33" fmla="*/ 25 h 74"/>
                  <a:gd name="T34" fmla="*/ 0 w 58"/>
                  <a:gd name="T35" fmla="*/ 29 h 74"/>
                  <a:gd name="T36" fmla="*/ 0 w 58"/>
                  <a:gd name="T37" fmla="*/ 70 h 74"/>
                  <a:gd name="T38" fmla="*/ 4 w 58"/>
                  <a:gd name="T39" fmla="*/ 74 h 74"/>
                  <a:gd name="T40" fmla="*/ 25 w 58"/>
                  <a:gd name="T41" fmla="*/ 43 h 74"/>
                  <a:gd name="T42" fmla="*/ 29 w 58"/>
                  <a:gd name="T43" fmla="*/ 39 h 74"/>
                  <a:gd name="T44" fmla="*/ 33 w 58"/>
                  <a:gd name="T45" fmla="*/ 43 h 74"/>
                  <a:gd name="T46" fmla="*/ 33 w 58"/>
                  <a:gd name="T47" fmla="*/ 56 h 74"/>
                  <a:gd name="T48" fmla="*/ 29 w 58"/>
                  <a:gd name="T49" fmla="*/ 60 h 74"/>
                  <a:gd name="T50" fmla="*/ 25 w 58"/>
                  <a:gd name="T51" fmla="*/ 56 h 74"/>
                  <a:gd name="T52" fmla="*/ 25 w 58"/>
                  <a:gd name="T53" fmla="*/ 4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74">
                    <a:moveTo>
                      <a:pt x="4" y="74"/>
                    </a:moveTo>
                    <a:cubicBezTo>
                      <a:pt x="54" y="74"/>
                      <a:pt x="54" y="74"/>
                      <a:pt x="54" y="74"/>
                    </a:cubicBezTo>
                    <a:cubicBezTo>
                      <a:pt x="57" y="74"/>
                      <a:pt x="58" y="72"/>
                      <a:pt x="58" y="70"/>
                    </a:cubicBezTo>
                    <a:cubicBezTo>
                      <a:pt x="58" y="29"/>
                      <a:pt x="58" y="29"/>
                      <a:pt x="58" y="29"/>
                    </a:cubicBezTo>
                    <a:cubicBezTo>
                      <a:pt x="58" y="27"/>
                      <a:pt x="57" y="25"/>
                      <a:pt x="54" y="25"/>
                    </a:cubicBezTo>
                    <a:cubicBezTo>
                      <a:pt x="16" y="25"/>
                      <a:pt x="16" y="25"/>
                      <a:pt x="16" y="25"/>
                    </a:cubicBezTo>
                    <a:cubicBezTo>
                      <a:pt x="16" y="21"/>
                      <a:pt x="16" y="21"/>
                      <a:pt x="16" y="21"/>
                    </a:cubicBezTo>
                    <a:cubicBezTo>
                      <a:pt x="16" y="14"/>
                      <a:pt x="22" y="9"/>
                      <a:pt x="29" y="9"/>
                    </a:cubicBezTo>
                    <a:cubicBezTo>
                      <a:pt x="34" y="9"/>
                      <a:pt x="39" y="12"/>
                      <a:pt x="41" y="17"/>
                    </a:cubicBezTo>
                    <a:cubicBezTo>
                      <a:pt x="41" y="18"/>
                      <a:pt x="42" y="19"/>
                      <a:pt x="43" y="19"/>
                    </a:cubicBezTo>
                    <a:cubicBezTo>
                      <a:pt x="44" y="20"/>
                      <a:pt x="45" y="20"/>
                      <a:pt x="46" y="19"/>
                    </a:cubicBezTo>
                    <a:cubicBezTo>
                      <a:pt x="47" y="18"/>
                      <a:pt x="47" y="18"/>
                      <a:pt x="47" y="18"/>
                    </a:cubicBezTo>
                    <a:cubicBezTo>
                      <a:pt x="49" y="17"/>
                      <a:pt x="49" y="16"/>
                      <a:pt x="49" y="14"/>
                    </a:cubicBezTo>
                    <a:cubicBezTo>
                      <a:pt x="46" y="6"/>
                      <a:pt x="38" y="0"/>
                      <a:pt x="29" y="0"/>
                    </a:cubicBezTo>
                    <a:cubicBezTo>
                      <a:pt x="17" y="0"/>
                      <a:pt x="8" y="10"/>
                      <a:pt x="8" y="21"/>
                    </a:cubicBezTo>
                    <a:cubicBezTo>
                      <a:pt x="8" y="25"/>
                      <a:pt x="8" y="25"/>
                      <a:pt x="8" y="25"/>
                    </a:cubicBezTo>
                    <a:cubicBezTo>
                      <a:pt x="4" y="25"/>
                      <a:pt x="4" y="25"/>
                      <a:pt x="4" y="25"/>
                    </a:cubicBezTo>
                    <a:cubicBezTo>
                      <a:pt x="2" y="25"/>
                      <a:pt x="0" y="27"/>
                      <a:pt x="0" y="29"/>
                    </a:cubicBezTo>
                    <a:cubicBezTo>
                      <a:pt x="0" y="70"/>
                      <a:pt x="0" y="70"/>
                      <a:pt x="0" y="70"/>
                    </a:cubicBezTo>
                    <a:cubicBezTo>
                      <a:pt x="0" y="72"/>
                      <a:pt x="2" y="74"/>
                      <a:pt x="4" y="74"/>
                    </a:cubicBezTo>
                    <a:close/>
                    <a:moveTo>
                      <a:pt x="25" y="43"/>
                    </a:moveTo>
                    <a:cubicBezTo>
                      <a:pt x="25" y="41"/>
                      <a:pt x="27" y="39"/>
                      <a:pt x="29" y="39"/>
                    </a:cubicBezTo>
                    <a:cubicBezTo>
                      <a:pt x="31" y="39"/>
                      <a:pt x="33" y="41"/>
                      <a:pt x="33" y="43"/>
                    </a:cubicBezTo>
                    <a:cubicBezTo>
                      <a:pt x="33" y="56"/>
                      <a:pt x="33" y="56"/>
                      <a:pt x="33" y="56"/>
                    </a:cubicBezTo>
                    <a:cubicBezTo>
                      <a:pt x="33" y="58"/>
                      <a:pt x="31" y="60"/>
                      <a:pt x="29" y="60"/>
                    </a:cubicBezTo>
                    <a:cubicBezTo>
                      <a:pt x="27" y="60"/>
                      <a:pt x="25" y="58"/>
                      <a:pt x="25" y="56"/>
                    </a:cubicBezTo>
                    <a:lnTo>
                      <a:pt x="25" y="4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2" name="Freeform 68">
                <a:extLst>
                  <a:ext uri="{FF2B5EF4-FFF2-40B4-BE49-F238E27FC236}">
                    <a16:creationId xmlns:a16="http://schemas.microsoft.com/office/drawing/2014/main" id="{033EC528-77E0-4926-9952-BDCF501B9C5D}"/>
                  </a:ext>
                </a:extLst>
              </p:cNvPr>
              <p:cNvSpPr>
                <a:spLocks noEditPoints="1"/>
              </p:cNvSpPr>
              <p:nvPr/>
            </p:nvSpPr>
            <p:spPr bwMode="auto">
              <a:xfrm>
                <a:off x="7598632" y="3948588"/>
                <a:ext cx="461366" cy="485954"/>
              </a:xfrm>
              <a:custGeom>
                <a:avLst/>
                <a:gdLst>
                  <a:gd name="T0" fmla="*/ 67 w 134"/>
                  <a:gd name="T1" fmla="*/ 141 h 141"/>
                  <a:gd name="T2" fmla="*/ 66 w 134"/>
                  <a:gd name="T3" fmla="*/ 141 h 141"/>
                  <a:gd name="T4" fmla="*/ 13 w 134"/>
                  <a:gd name="T5" fmla="*/ 23 h 141"/>
                  <a:gd name="T6" fmla="*/ 13 w 134"/>
                  <a:gd name="T7" fmla="*/ 22 h 141"/>
                  <a:gd name="T8" fmla="*/ 15 w 134"/>
                  <a:gd name="T9" fmla="*/ 22 h 141"/>
                  <a:gd name="T10" fmla="*/ 66 w 134"/>
                  <a:gd name="T11" fmla="*/ 0 h 141"/>
                  <a:gd name="T12" fmla="*/ 67 w 134"/>
                  <a:gd name="T13" fmla="*/ 0 h 141"/>
                  <a:gd name="T14" fmla="*/ 68 w 134"/>
                  <a:gd name="T15" fmla="*/ 0 h 141"/>
                  <a:gd name="T16" fmla="*/ 119 w 134"/>
                  <a:gd name="T17" fmla="*/ 22 h 141"/>
                  <a:gd name="T18" fmla="*/ 121 w 134"/>
                  <a:gd name="T19" fmla="*/ 22 h 141"/>
                  <a:gd name="T20" fmla="*/ 121 w 134"/>
                  <a:gd name="T21" fmla="*/ 23 h 141"/>
                  <a:gd name="T22" fmla="*/ 68 w 134"/>
                  <a:gd name="T23" fmla="*/ 141 h 141"/>
                  <a:gd name="T24" fmla="*/ 67 w 134"/>
                  <a:gd name="T25" fmla="*/ 141 h 141"/>
                  <a:gd name="T26" fmla="*/ 17 w 134"/>
                  <a:gd name="T27" fmla="*/ 26 h 141"/>
                  <a:gd name="T28" fmla="*/ 67 w 134"/>
                  <a:gd name="T29" fmla="*/ 136 h 141"/>
                  <a:gd name="T30" fmla="*/ 117 w 134"/>
                  <a:gd name="T31" fmla="*/ 26 h 141"/>
                  <a:gd name="T32" fmla="*/ 67 w 134"/>
                  <a:gd name="T33" fmla="*/ 5 h 141"/>
                  <a:gd name="T34" fmla="*/ 17 w 134"/>
                  <a:gd name="T35" fmla="*/ 2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41">
                    <a:moveTo>
                      <a:pt x="67" y="141"/>
                    </a:moveTo>
                    <a:cubicBezTo>
                      <a:pt x="66" y="141"/>
                      <a:pt x="66" y="141"/>
                      <a:pt x="66" y="141"/>
                    </a:cubicBezTo>
                    <a:cubicBezTo>
                      <a:pt x="14" y="121"/>
                      <a:pt x="0" y="67"/>
                      <a:pt x="13" y="23"/>
                    </a:cubicBezTo>
                    <a:cubicBezTo>
                      <a:pt x="13" y="22"/>
                      <a:pt x="13" y="22"/>
                      <a:pt x="13" y="22"/>
                    </a:cubicBezTo>
                    <a:cubicBezTo>
                      <a:pt x="15" y="22"/>
                      <a:pt x="15" y="22"/>
                      <a:pt x="15" y="22"/>
                    </a:cubicBezTo>
                    <a:cubicBezTo>
                      <a:pt x="33" y="17"/>
                      <a:pt x="50" y="10"/>
                      <a:pt x="66" y="0"/>
                    </a:cubicBezTo>
                    <a:cubicBezTo>
                      <a:pt x="67" y="0"/>
                      <a:pt x="67" y="0"/>
                      <a:pt x="67" y="0"/>
                    </a:cubicBezTo>
                    <a:cubicBezTo>
                      <a:pt x="68" y="0"/>
                      <a:pt x="68" y="0"/>
                      <a:pt x="68" y="0"/>
                    </a:cubicBezTo>
                    <a:cubicBezTo>
                      <a:pt x="84" y="10"/>
                      <a:pt x="101" y="17"/>
                      <a:pt x="119" y="22"/>
                    </a:cubicBezTo>
                    <a:cubicBezTo>
                      <a:pt x="121" y="22"/>
                      <a:pt x="121" y="22"/>
                      <a:pt x="121" y="22"/>
                    </a:cubicBezTo>
                    <a:cubicBezTo>
                      <a:pt x="121" y="23"/>
                      <a:pt x="121" y="23"/>
                      <a:pt x="121" y="23"/>
                    </a:cubicBezTo>
                    <a:cubicBezTo>
                      <a:pt x="134" y="67"/>
                      <a:pt x="120" y="121"/>
                      <a:pt x="68" y="141"/>
                    </a:cubicBezTo>
                    <a:lnTo>
                      <a:pt x="67" y="141"/>
                    </a:lnTo>
                    <a:close/>
                    <a:moveTo>
                      <a:pt x="17" y="26"/>
                    </a:moveTo>
                    <a:cubicBezTo>
                      <a:pt x="6" y="67"/>
                      <a:pt x="19" y="117"/>
                      <a:pt x="67" y="136"/>
                    </a:cubicBezTo>
                    <a:cubicBezTo>
                      <a:pt x="115" y="117"/>
                      <a:pt x="129" y="67"/>
                      <a:pt x="117" y="26"/>
                    </a:cubicBezTo>
                    <a:cubicBezTo>
                      <a:pt x="99" y="22"/>
                      <a:pt x="82" y="15"/>
                      <a:pt x="67" y="5"/>
                    </a:cubicBezTo>
                    <a:cubicBezTo>
                      <a:pt x="52" y="15"/>
                      <a:pt x="35" y="22"/>
                      <a:pt x="17" y="26"/>
                    </a:cubicBezTo>
                    <a:close/>
                  </a:path>
                </a:pathLst>
              </a:cu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033" name="Rectangle 1032">
            <a:extLst>
              <a:ext uri="{FF2B5EF4-FFF2-40B4-BE49-F238E27FC236}">
                <a16:creationId xmlns:a16="http://schemas.microsoft.com/office/drawing/2014/main" id="{6A2349D6-FF7B-42F4-810C-A172AED3942B}"/>
              </a:ext>
            </a:extLst>
          </p:cNvPr>
          <p:cNvSpPr/>
          <p:nvPr/>
        </p:nvSpPr>
        <p:spPr>
          <a:xfrm>
            <a:off x="746284" y="5468659"/>
            <a:ext cx="950470" cy="307777"/>
          </a:xfrm>
          <a:prstGeom prst="rect">
            <a:avLst/>
          </a:prstGeom>
          <a:noFill/>
        </p:spPr>
        <p:txBody>
          <a:bodyPr wrap="square" lIns="0" tIns="0" rIns="0" bIns="0" rtlCol="0" anchor="ctr">
            <a:spAutoFit/>
          </a:bodyPr>
          <a:lstStyle/>
          <a:p>
            <a:pPr algn="ctr"/>
            <a:r>
              <a:rPr lang="en-US" sz="1000" i="1" dirty="0"/>
              <a:t>Manage whole deployment</a:t>
            </a:r>
          </a:p>
        </p:txBody>
      </p:sp>
      <p:sp>
        <p:nvSpPr>
          <p:cNvPr id="1034" name="Rectangle 1033">
            <a:extLst>
              <a:ext uri="{FF2B5EF4-FFF2-40B4-BE49-F238E27FC236}">
                <a16:creationId xmlns:a16="http://schemas.microsoft.com/office/drawing/2014/main" id="{12393DA6-C165-42AC-80D6-358D249BA99B}"/>
              </a:ext>
            </a:extLst>
          </p:cNvPr>
          <p:cNvSpPr/>
          <p:nvPr/>
        </p:nvSpPr>
        <p:spPr>
          <a:xfrm>
            <a:off x="1829803" y="5545603"/>
            <a:ext cx="950470" cy="153888"/>
          </a:xfrm>
          <a:prstGeom prst="rect">
            <a:avLst/>
          </a:prstGeom>
          <a:noFill/>
        </p:spPr>
        <p:txBody>
          <a:bodyPr wrap="square" lIns="0" tIns="0" rIns="0" bIns="0" rtlCol="0" anchor="ctr">
            <a:spAutoFit/>
          </a:bodyPr>
          <a:lstStyle/>
          <a:p>
            <a:pPr algn="ctr"/>
            <a:r>
              <a:rPr lang="en-US" sz="1000" i="1" dirty="0"/>
              <a:t>Troubleshooting</a:t>
            </a:r>
          </a:p>
        </p:txBody>
      </p:sp>
      <p:sp>
        <p:nvSpPr>
          <p:cNvPr id="1035" name="Rectangle 1034">
            <a:extLst>
              <a:ext uri="{FF2B5EF4-FFF2-40B4-BE49-F238E27FC236}">
                <a16:creationId xmlns:a16="http://schemas.microsoft.com/office/drawing/2014/main" id="{7113C91F-CB21-462B-AF69-2EE3F7C8D7D9}"/>
              </a:ext>
            </a:extLst>
          </p:cNvPr>
          <p:cNvSpPr/>
          <p:nvPr/>
        </p:nvSpPr>
        <p:spPr>
          <a:xfrm>
            <a:off x="2913321" y="5468659"/>
            <a:ext cx="950470" cy="307777"/>
          </a:xfrm>
          <a:prstGeom prst="rect">
            <a:avLst/>
          </a:prstGeom>
          <a:noFill/>
        </p:spPr>
        <p:txBody>
          <a:bodyPr wrap="square" lIns="0" tIns="0" rIns="0" bIns="0" rtlCol="0" anchor="ctr">
            <a:spAutoFit/>
          </a:bodyPr>
          <a:lstStyle/>
          <a:p>
            <a:pPr algn="ctr"/>
            <a:r>
              <a:rPr lang="en-US" sz="1000" i="1" dirty="0"/>
              <a:t>Manage</a:t>
            </a:r>
            <a:br>
              <a:rPr lang="en-US" sz="1000" i="1" dirty="0"/>
            </a:br>
            <a:r>
              <a:rPr lang="en-US" sz="1000" i="1" dirty="0"/>
              <a:t>Apps</a:t>
            </a:r>
          </a:p>
        </p:txBody>
      </p:sp>
      <p:sp>
        <p:nvSpPr>
          <p:cNvPr id="422" name="Rectangle 421">
            <a:extLst>
              <a:ext uri="{FF2B5EF4-FFF2-40B4-BE49-F238E27FC236}">
                <a16:creationId xmlns:a16="http://schemas.microsoft.com/office/drawing/2014/main" id="{56A7837D-65C3-4A79-8940-F1A53CB1354E}"/>
              </a:ext>
            </a:extLst>
          </p:cNvPr>
          <p:cNvSpPr/>
          <p:nvPr/>
        </p:nvSpPr>
        <p:spPr>
          <a:xfrm>
            <a:off x="1783994" y="4292129"/>
            <a:ext cx="1159253" cy="153888"/>
          </a:xfrm>
          <a:prstGeom prst="rect">
            <a:avLst/>
          </a:prstGeom>
          <a:noFill/>
        </p:spPr>
        <p:txBody>
          <a:bodyPr wrap="square" lIns="0" tIns="0" rIns="0" bIns="0" rtlCol="0" anchor="ctr">
            <a:spAutoFit/>
          </a:bodyPr>
          <a:lstStyle/>
          <a:p>
            <a:pPr algn="ctr"/>
            <a:r>
              <a:rPr lang="en-US" sz="1000" i="1" dirty="0"/>
              <a:t>Full Admin Rights</a:t>
            </a:r>
          </a:p>
        </p:txBody>
      </p:sp>
      <p:sp>
        <p:nvSpPr>
          <p:cNvPr id="435" name="Rectangle: Rounded Corners 48">
            <a:extLst>
              <a:ext uri="{FF2B5EF4-FFF2-40B4-BE49-F238E27FC236}">
                <a16:creationId xmlns:a16="http://schemas.microsoft.com/office/drawing/2014/main" id="{0865B6A0-9FFA-4ED8-BBAC-14512E91B8A1}"/>
              </a:ext>
            </a:extLst>
          </p:cNvPr>
          <p:cNvSpPr/>
          <p:nvPr/>
        </p:nvSpPr>
        <p:spPr bwMode="auto">
          <a:xfrm rot="5400000" flipH="1">
            <a:off x="2163114" y="2928647"/>
            <a:ext cx="322255" cy="2273958"/>
          </a:xfrm>
          <a:prstGeom prst="leftBracket">
            <a:avLst>
              <a:gd name="adj" fmla="val 55450"/>
            </a:avLst>
          </a:prstGeom>
          <a:ln w="9525">
            <a:solidFill>
              <a:schemeClr val="tx1">
                <a:lumMod val="75000"/>
                <a:lumOff val="25000"/>
              </a:schemeClr>
            </a:solidFill>
            <a:prstDash val="dash"/>
            <a:headEnd type="none" w="med" len="me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50" name="Group 153">
            <a:extLst>
              <a:ext uri="{FF2B5EF4-FFF2-40B4-BE49-F238E27FC236}">
                <a16:creationId xmlns:a16="http://schemas.microsoft.com/office/drawing/2014/main" id="{0BB44A9B-988B-4864-8DF1-17D89854949E}"/>
              </a:ext>
            </a:extLst>
          </p:cNvPr>
          <p:cNvGrpSpPr>
            <a:grpSpLocks noChangeAspect="1"/>
          </p:cNvGrpSpPr>
          <p:nvPr/>
        </p:nvGrpSpPr>
        <p:grpSpPr bwMode="auto">
          <a:xfrm>
            <a:off x="923347" y="3395724"/>
            <a:ext cx="509136" cy="508776"/>
            <a:chOff x="2501" y="790"/>
            <a:chExt cx="2832" cy="2830"/>
          </a:xfrm>
        </p:grpSpPr>
        <p:sp>
          <p:nvSpPr>
            <p:cNvPr id="551" name="Oval 154">
              <a:extLst>
                <a:ext uri="{FF2B5EF4-FFF2-40B4-BE49-F238E27FC236}">
                  <a16:creationId xmlns:a16="http://schemas.microsoft.com/office/drawing/2014/main" id="{16B91A24-6C0B-4025-BDC0-25316504B5CC}"/>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2" name="Freeform 155">
              <a:extLst>
                <a:ext uri="{FF2B5EF4-FFF2-40B4-BE49-F238E27FC236}">
                  <a16:creationId xmlns:a16="http://schemas.microsoft.com/office/drawing/2014/main" id="{0D487DD8-E87D-432D-85B7-2C5C0708348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3" name="Freeform 156">
              <a:extLst>
                <a:ext uri="{FF2B5EF4-FFF2-40B4-BE49-F238E27FC236}">
                  <a16:creationId xmlns:a16="http://schemas.microsoft.com/office/drawing/2014/main" id="{34B04117-CD87-4955-AF7F-E55D39007785}"/>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4" name="Freeform 157">
              <a:extLst>
                <a:ext uri="{FF2B5EF4-FFF2-40B4-BE49-F238E27FC236}">
                  <a16:creationId xmlns:a16="http://schemas.microsoft.com/office/drawing/2014/main" id="{816CB584-AC93-4C31-92C8-E23DAB45C110}"/>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5" name="Freeform 158">
              <a:extLst>
                <a:ext uri="{FF2B5EF4-FFF2-40B4-BE49-F238E27FC236}">
                  <a16:creationId xmlns:a16="http://schemas.microsoft.com/office/drawing/2014/main" id="{61F5C80F-3DC9-497F-90A5-4FCFE534351E}"/>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6" name="Freeform 159">
              <a:extLst>
                <a:ext uri="{FF2B5EF4-FFF2-40B4-BE49-F238E27FC236}">
                  <a16:creationId xmlns:a16="http://schemas.microsoft.com/office/drawing/2014/main" id="{9118D678-981D-4A45-827E-A4F8C5A9D943}"/>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7" name="Freeform 160">
              <a:extLst>
                <a:ext uri="{FF2B5EF4-FFF2-40B4-BE49-F238E27FC236}">
                  <a16:creationId xmlns:a16="http://schemas.microsoft.com/office/drawing/2014/main" id="{98A97DCF-0B68-4796-B5F3-B022284B941D}"/>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8" name="Freeform 161">
              <a:extLst>
                <a:ext uri="{FF2B5EF4-FFF2-40B4-BE49-F238E27FC236}">
                  <a16:creationId xmlns:a16="http://schemas.microsoft.com/office/drawing/2014/main" id="{EFFA4995-0B27-4EFA-B2E2-D5C16463C2A6}"/>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9" name="Freeform 162">
              <a:extLst>
                <a:ext uri="{FF2B5EF4-FFF2-40B4-BE49-F238E27FC236}">
                  <a16:creationId xmlns:a16="http://schemas.microsoft.com/office/drawing/2014/main" id="{19576384-271C-4E56-86D1-CD61E69B2245}"/>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0" name="Freeform 163">
              <a:extLst>
                <a:ext uri="{FF2B5EF4-FFF2-40B4-BE49-F238E27FC236}">
                  <a16:creationId xmlns:a16="http://schemas.microsoft.com/office/drawing/2014/main" id="{E085218A-1575-42E0-9F95-19A1991403FA}"/>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1" name="Freeform 164">
              <a:extLst>
                <a:ext uri="{FF2B5EF4-FFF2-40B4-BE49-F238E27FC236}">
                  <a16:creationId xmlns:a16="http://schemas.microsoft.com/office/drawing/2014/main" id="{531CD392-E8F2-4B1D-810D-9460E9533D6C}"/>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Oval 165">
              <a:extLst>
                <a:ext uri="{FF2B5EF4-FFF2-40B4-BE49-F238E27FC236}">
                  <a16:creationId xmlns:a16="http://schemas.microsoft.com/office/drawing/2014/main" id="{5ECBB5CC-5D14-4731-AE73-5699764F951F}"/>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Oval 166">
              <a:extLst>
                <a:ext uri="{FF2B5EF4-FFF2-40B4-BE49-F238E27FC236}">
                  <a16:creationId xmlns:a16="http://schemas.microsoft.com/office/drawing/2014/main" id="{BAF20B01-2A12-4983-982F-432E1B5959CA}"/>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Freeform 167">
              <a:extLst>
                <a:ext uri="{FF2B5EF4-FFF2-40B4-BE49-F238E27FC236}">
                  <a16:creationId xmlns:a16="http://schemas.microsoft.com/office/drawing/2014/main" id="{B98ACB8E-1C41-49F7-9309-80DD56D11760}"/>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Freeform 168">
              <a:extLst>
                <a:ext uri="{FF2B5EF4-FFF2-40B4-BE49-F238E27FC236}">
                  <a16:creationId xmlns:a16="http://schemas.microsoft.com/office/drawing/2014/main" id="{FBFD1E08-0672-403A-822C-BED928E77EF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6" name="Freeform 169">
              <a:extLst>
                <a:ext uri="{FF2B5EF4-FFF2-40B4-BE49-F238E27FC236}">
                  <a16:creationId xmlns:a16="http://schemas.microsoft.com/office/drawing/2014/main" id="{2813BF19-321B-4DA7-AB3E-E2C9E536F7C8}"/>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7" name="Freeform 170">
              <a:extLst>
                <a:ext uri="{FF2B5EF4-FFF2-40B4-BE49-F238E27FC236}">
                  <a16:creationId xmlns:a16="http://schemas.microsoft.com/office/drawing/2014/main" id="{4F8BA5E7-6ED5-41BE-9BCE-6C1D318647E7}"/>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8" name="Freeform 171">
              <a:extLst>
                <a:ext uri="{FF2B5EF4-FFF2-40B4-BE49-F238E27FC236}">
                  <a16:creationId xmlns:a16="http://schemas.microsoft.com/office/drawing/2014/main" id="{0A2BDBD1-F229-4A7C-99AE-2F0AF027B209}"/>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9" name="Freeform 172">
              <a:extLst>
                <a:ext uri="{FF2B5EF4-FFF2-40B4-BE49-F238E27FC236}">
                  <a16:creationId xmlns:a16="http://schemas.microsoft.com/office/drawing/2014/main" id="{C3458CD5-9634-4E54-A3A2-B2B4EEA6936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0" name="Freeform 173">
              <a:extLst>
                <a:ext uri="{FF2B5EF4-FFF2-40B4-BE49-F238E27FC236}">
                  <a16:creationId xmlns:a16="http://schemas.microsoft.com/office/drawing/2014/main" id="{1A56C944-7F39-446F-A9D7-C2449AF485CA}"/>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1" name="Freeform 174">
              <a:extLst>
                <a:ext uri="{FF2B5EF4-FFF2-40B4-BE49-F238E27FC236}">
                  <a16:creationId xmlns:a16="http://schemas.microsoft.com/office/drawing/2014/main" id="{339DB8ED-9637-47F8-9B85-335FB3334275}"/>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92" name="Group 925">
            <a:extLst>
              <a:ext uri="{FF2B5EF4-FFF2-40B4-BE49-F238E27FC236}">
                <a16:creationId xmlns:a16="http://schemas.microsoft.com/office/drawing/2014/main" id="{15DDB3E7-A237-4D61-91D3-CAD75B64CDB4}"/>
              </a:ext>
            </a:extLst>
          </p:cNvPr>
          <p:cNvGrpSpPr>
            <a:grpSpLocks noChangeAspect="1"/>
          </p:cNvGrpSpPr>
          <p:nvPr/>
        </p:nvGrpSpPr>
        <p:grpSpPr bwMode="auto">
          <a:xfrm>
            <a:off x="3177431" y="3395364"/>
            <a:ext cx="508352" cy="509136"/>
            <a:chOff x="2619" y="903"/>
            <a:chExt cx="2592" cy="2596"/>
          </a:xfrm>
        </p:grpSpPr>
        <p:sp>
          <p:nvSpPr>
            <p:cNvPr id="593" name="Oval 926">
              <a:extLst>
                <a:ext uri="{FF2B5EF4-FFF2-40B4-BE49-F238E27FC236}">
                  <a16:creationId xmlns:a16="http://schemas.microsoft.com/office/drawing/2014/main" id="{1DC4B3B9-84BE-427F-86F0-395BC80AA075}"/>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4" name="Freeform 927">
              <a:extLst>
                <a:ext uri="{FF2B5EF4-FFF2-40B4-BE49-F238E27FC236}">
                  <a16:creationId xmlns:a16="http://schemas.microsoft.com/office/drawing/2014/main" id="{D4C042CF-4064-462C-8D4C-A587F229D4D2}"/>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5" name="Freeform 928">
              <a:extLst>
                <a:ext uri="{FF2B5EF4-FFF2-40B4-BE49-F238E27FC236}">
                  <a16:creationId xmlns:a16="http://schemas.microsoft.com/office/drawing/2014/main" id="{96A59561-F0FE-463B-869A-512B4798ACE2}"/>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6" name="Freeform 929">
              <a:extLst>
                <a:ext uri="{FF2B5EF4-FFF2-40B4-BE49-F238E27FC236}">
                  <a16:creationId xmlns:a16="http://schemas.microsoft.com/office/drawing/2014/main" id="{70596004-4607-47C7-806E-63F1DBF72BF0}"/>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7" name="Freeform 930">
              <a:extLst>
                <a:ext uri="{FF2B5EF4-FFF2-40B4-BE49-F238E27FC236}">
                  <a16:creationId xmlns:a16="http://schemas.microsoft.com/office/drawing/2014/main" id="{CEFF06C2-8F7B-4791-89FA-E51986168F50}"/>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8" name="Freeform 931">
              <a:extLst>
                <a:ext uri="{FF2B5EF4-FFF2-40B4-BE49-F238E27FC236}">
                  <a16:creationId xmlns:a16="http://schemas.microsoft.com/office/drawing/2014/main" id="{0A01E912-62CA-46A7-B05E-C6550FC0F482}"/>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9" name="Freeform 932">
              <a:extLst>
                <a:ext uri="{FF2B5EF4-FFF2-40B4-BE49-F238E27FC236}">
                  <a16:creationId xmlns:a16="http://schemas.microsoft.com/office/drawing/2014/main" id="{83150119-FD41-4EBB-AFF2-C1444D072CFE}"/>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0" name="Freeform 933">
              <a:extLst>
                <a:ext uri="{FF2B5EF4-FFF2-40B4-BE49-F238E27FC236}">
                  <a16:creationId xmlns:a16="http://schemas.microsoft.com/office/drawing/2014/main" id="{BB60561F-C331-49FF-93D4-3DD29AE09C13}"/>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1" name="Freeform 934">
              <a:extLst>
                <a:ext uri="{FF2B5EF4-FFF2-40B4-BE49-F238E27FC236}">
                  <a16:creationId xmlns:a16="http://schemas.microsoft.com/office/drawing/2014/main" id="{87E281C9-0267-4C71-861E-545314193420}"/>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 name="Freeform 935">
              <a:extLst>
                <a:ext uri="{FF2B5EF4-FFF2-40B4-BE49-F238E27FC236}">
                  <a16:creationId xmlns:a16="http://schemas.microsoft.com/office/drawing/2014/main" id="{E425C178-1485-4F19-A30A-33F7DAA53070}"/>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 name="Freeform 936">
              <a:extLst>
                <a:ext uri="{FF2B5EF4-FFF2-40B4-BE49-F238E27FC236}">
                  <a16:creationId xmlns:a16="http://schemas.microsoft.com/office/drawing/2014/main" id="{68015914-5F5B-41D6-B8E0-99A01A111819}"/>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 name="Freeform 937">
              <a:extLst>
                <a:ext uri="{FF2B5EF4-FFF2-40B4-BE49-F238E27FC236}">
                  <a16:creationId xmlns:a16="http://schemas.microsoft.com/office/drawing/2014/main" id="{975A5F4A-8F66-4ED5-8C12-2D539C96D8AC}"/>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 name="Freeform 938">
              <a:extLst>
                <a:ext uri="{FF2B5EF4-FFF2-40B4-BE49-F238E27FC236}">
                  <a16:creationId xmlns:a16="http://schemas.microsoft.com/office/drawing/2014/main" id="{923F4317-8B2A-4AA2-A60D-266C6AC28A0E}"/>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 name="Oval 939">
              <a:extLst>
                <a:ext uri="{FF2B5EF4-FFF2-40B4-BE49-F238E27FC236}">
                  <a16:creationId xmlns:a16="http://schemas.microsoft.com/office/drawing/2014/main" id="{A215C668-44C6-493E-8126-ADA798CED56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 name="Oval 940">
              <a:extLst>
                <a:ext uri="{FF2B5EF4-FFF2-40B4-BE49-F238E27FC236}">
                  <a16:creationId xmlns:a16="http://schemas.microsoft.com/office/drawing/2014/main" id="{63A7D7F3-2E69-424B-AE75-8762F6E167A1}"/>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 name="Freeform 941">
              <a:extLst>
                <a:ext uri="{FF2B5EF4-FFF2-40B4-BE49-F238E27FC236}">
                  <a16:creationId xmlns:a16="http://schemas.microsoft.com/office/drawing/2014/main" id="{3547BECA-1CF2-4BCF-AAFE-5E94FF4EA0A9}"/>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 name="Freeform 942">
              <a:extLst>
                <a:ext uri="{FF2B5EF4-FFF2-40B4-BE49-F238E27FC236}">
                  <a16:creationId xmlns:a16="http://schemas.microsoft.com/office/drawing/2014/main" id="{E525EF53-9B9E-4F2D-97B2-52E747DE2D32}"/>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 name="Freeform 943">
              <a:extLst>
                <a:ext uri="{FF2B5EF4-FFF2-40B4-BE49-F238E27FC236}">
                  <a16:creationId xmlns:a16="http://schemas.microsoft.com/office/drawing/2014/main" id="{810CBF48-DEC3-4F45-A9A9-34BF749C8579}"/>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680" name="Straight Connector 679">
            <a:extLst>
              <a:ext uri="{FF2B5EF4-FFF2-40B4-BE49-F238E27FC236}">
                <a16:creationId xmlns:a16="http://schemas.microsoft.com/office/drawing/2014/main" id="{58622C82-FB5F-4CB5-A2E9-E9294F9BDCA9}"/>
              </a:ext>
            </a:extLst>
          </p:cNvPr>
          <p:cNvCxnSpPr>
            <a:cxnSpLocks/>
            <a:stCxn id="581" idx="5"/>
          </p:cNvCxnSpPr>
          <p:nvPr/>
        </p:nvCxnSpPr>
        <p:spPr>
          <a:xfrm>
            <a:off x="2311655" y="3837522"/>
            <a:ext cx="0" cy="1109957"/>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00" name="Group 399">
            <a:extLst>
              <a:ext uri="{FF2B5EF4-FFF2-40B4-BE49-F238E27FC236}">
                <a16:creationId xmlns:a16="http://schemas.microsoft.com/office/drawing/2014/main" id="{97C56B92-0D5C-4BA6-AAD8-0A994446AE61}"/>
              </a:ext>
            </a:extLst>
          </p:cNvPr>
          <p:cNvGrpSpPr/>
          <p:nvPr/>
        </p:nvGrpSpPr>
        <p:grpSpPr>
          <a:xfrm>
            <a:off x="10052458" y="146014"/>
            <a:ext cx="2033626" cy="1015650"/>
            <a:chOff x="10052458" y="146014"/>
            <a:chExt cx="2033626" cy="1015650"/>
          </a:xfrm>
        </p:grpSpPr>
        <p:pic>
          <p:nvPicPr>
            <p:cNvPr id="401" name="Picture 400">
              <a:extLst>
                <a:ext uri="{FF2B5EF4-FFF2-40B4-BE49-F238E27FC236}">
                  <a16:creationId xmlns:a16="http://schemas.microsoft.com/office/drawing/2014/main" id="{D4979BD9-6090-4AC6-BD5E-887383B47D2B}"/>
                </a:ext>
              </a:extLst>
            </p:cNvPr>
            <p:cNvPicPr>
              <a:picLocks noChangeAspect="1"/>
            </p:cNvPicPr>
            <p:nvPr/>
          </p:nvPicPr>
          <p:blipFill>
            <a:blip r:embed="rId7"/>
            <a:stretch>
              <a:fillRect/>
            </a:stretch>
          </p:blipFill>
          <p:spPr>
            <a:xfrm>
              <a:off x="10052458" y="146014"/>
              <a:ext cx="2033626" cy="1015650"/>
            </a:xfrm>
            <a:prstGeom prst="rect">
              <a:avLst/>
            </a:prstGeom>
          </p:spPr>
        </p:pic>
        <p:sp>
          <p:nvSpPr>
            <p:cNvPr id="402" name="Rectangle 401">
              <a:extLst>
                <a:ext uri="{FF2B5EF4-FFF2-40B4-BE49-F238E27FC236}">
                  <a16:creationId xmlns:a16="http://schemas.microsoft.com/office/drawing/2014/main" id="{792968DB-1018-4C4F-8DD8-CCEA645FA157}"/>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Enhanced Security</a:t>
              </a:r>
            </a:p>
          </p:txBody>
        </p:sp>
      </p:grpSp>
    </p:spTree>
    <p:extLst>
      <p:ext uri="{BB962C8B-B14F-4D97-AF65-F5344CB8AC3E}">
        <p14:creationId xmlns:p14="http://schemas.microsoft.com/office/powerpoint/2010/main" val="609864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152212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025" name="Freeform: Shape 1024">
            <a:extLst>
              <a:ext uri="{FF2B5EF4-FFF2-40B4-BE49-F238E27FC236}">
                <a16:creationId xmlns:a16="http://schemas.microsoft.com/office/drawing/2014/main" id="{A3419D6E-17C0-4595-BEEE-7860978BB52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lvl="0" defTabSz="932472" fontAlgn="base">
              <a:spcBef>
                <a:spcPts val="200"/>
              </a:spcBef>
              <a:spcAft>
                <a:spcPct val="0"/>
              </a:spcAft>
            </a:pPr>
            <a:r>
              <a:rPr lang="en-US" sz="1600" b="1" dirty="0">
                <a:solidFill>
                  <a:srgbClr val="243A5E"/>
                </a:solidFill>
                <a:cs typeface="Segoe UI" pitchFamily="34" charset="0"/>
              </a:rPr>
              <a:t>Customer Scenario – Deploys both Windows 10 Enterprise single-session and multi-session in WVD</a:t>
            </a:r>
          </a:p>
          <a:p>
            <a:pPr marL="344488" lvl="0" indent="-176213" defTabSz="932472" fontAlgn="base">
              <a:spcBef>
                <a:spcPts val="200"/>
              </a:spcBef>
              <a:spcAft>
                <a:spcPct val="0"/>
              </a:spcAft>
              <a:buFont typeface="Arial" panose="020B0604020202020204" pitchFamily="34" charset="0"/>
              <a:buChar char="•"/>
            </a:pPr>
            <a:r>
              <a:rPr lang="en-US" sz="1400" dirty="0">
                <a:solidFill>
                  <a:srgbClr val="000000"/>
                </a:solidFill>
                <a:cs typeface="Segoe UI" pitchFamily="34" charset="0"/>
              </a:rPr>
              <a:t>WVD ensures user isolation in both single and multi-session environment</a:t>
            </a:r>
          </a:p>
        </p:txBody>
      </p:sp>
      <p:grpSp>
        <p:nvGrpSpPr>
          <p:cNvPr id="1027" name="Group 1026">
            <a:extLst>
              <a:ext uri="{FF2B5EF4-FFF2-40B4-BE49-F238E27FC236}">
                <a16:creationId xmlns:a16="http://schemas.microsoft.com/office/drawing/2014/main" id="{DAC6B8DF-A996-47F0-9FA5-2525D87C82CA}"/>
              </a:ext>
            </a:extLst>
          </p:cNvPr>
          <p:cNvGrpSpPr>
            <a:grpSpLocks noChangeAspect="1"/>
          </p:cNvGrpSpPr>
          <p:nvPr/>
        </p:nvGrpSpPr>
        <p:grpSpPr>
          <a:xfrm>
            <a:off x="10777886" y="1372927"/>
            <a:ext cx="806355" cy="914400"/>
            <a:chOff x="797126" y="3893732"/>
            <a:chExt cx="1125722" cy="1276864"/>
          </a:xfrm>
        </p:grpSpPr>
        <p:sp>
          <p:nvSpPr>
            <p:cNvPr id="1028" name="Freeform 403">
              <a:extLst>
                <a:ext uri="{FF2B5EF4-FFF2-40B4-BE49-F238E27FC236}">
                  <a16:creationId xmlns:a16="http://schemas.microsoft.com/office/drawing/2014/main" id="{F911015A-1016-47B9-8162-115806CF404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1029" name="Freeform: Shape 1028">
              <a:extLst>
                <a:ext uri="{FF2B5EF4-FFF2-40B4-BE49-F238E27FC236}">
                  <a16:creationId xmlns:a16="http://schemas.microsoft.com/office/drawing/2014/main" id="{DDEDEC01-E110-4404-B1DB-DFF1EE6D210B}"/>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1032" name="Group 1031">
              <a:extLst>
                <a:ext uri="{FF2B5EF4-FFF2-40B4-BE49-F238E27FC236}">
                  <a16:creationId xmlns:a16="http://schemas.microsoft.com/office/drawing/2014/main" id="{9F0BECF2-0116-4674-9BD8-AF8B2FF78124}"/>
                </a:ext>
              </a:extLst>
            </p:cNvPr>
            <p:cNvGrpSpPr/>
            <p:nvPr/>
          </p:nvGrpSpPr>
          <p:grpSpPr>
            <a:xfrm>
              <a:off x="971699" y="4043345"/>
              <a:ext cx="773592" cy="920012"/>
              <a:chOff x="993458" y="3447450"/>
              <a:chExt cx="682781" cy="812014"/>
            </a:xfrm>
          </p:grpSpPr>
          <p:grpSp>
            <p:nvGrpSpPr>
              <p:cNvPr id="1035" name="Group 1034">
                <a:extLst>
                  <a:ext uri="{FF2B5EF4-FFF2-40B4-BE49-F238E27FC236}">
                    <a16:creationId xmlns:a16="http://schemas.microsoft.com/office/drawing/2014/main" id="{2815AC74-9894-4897-80C4-2C09BFF5C52B}"/>
                  </a:ext>
                </a:extLst>
              </p:cNvPr>
              <p:cNvGrpSpPr/>
              <p:nvPr/>
            </p:nvGrpSpPr>
            <p:grpSpPr>
              <a:xfrm>
                <a:off x="993458" y="3447450"/>
                <a:ext cx="576652" cy="812014"/>
                <a:chOff x="499414" y="1517311"/>
                <a:chExt cx="3686809" cy="5340604"/>
              </a:xfrm>
            </p:grpSpPr>
            <p:sp>
              <p:nvSpPr>
                <p:cNvPr id="1198" name="Rectangle 1197">
                  <a:extLst>
                    <a:ext uri="{FF2B5EF4-FFF2-40B4-BE49-F238E27FC236}">
                      <a16:creationId xmlns:a16="http://schemas.microsoft.com/office/drawing/2014/main" id="{438B5AA9-7C11-400F-912F-B5B30EA430A7}"/>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1199" name="Group 1198">
                  <a:extLst>
                    <a:ext uri="{FF2B5EF4-FFF2-40B4-BE49-F238E27FC236}">
                      <a16:creationId xmlns:a16="http://schemas.microsoft.com/office/drawing/2014/main" id="{9969B6C5-004B-4B6D-9139-72F165C45F44}"/>
                    </a:ext>
                  </a:extLst>
                </p:cNvPr>
                <p:cNvGrpSpPr/>
                <p:nvPr/>
              </p:nvGrpSpPr>
              <p:grpSpPr>
                <a:xfrm rot="20371446">
                  <a:off x="2524661" y="2299216"/>
                  <a:ext cx="859576" cy="554927"/>
                  <a:chOff x="4775201" y="792163"/>
                  <a:chExt cx="2024063" cy="1306513"/>
                </a:xfrm>
              </p:grpSpPr>
              <p:sp>
                <p:nvSpPr>
                  <p:cNvPr id="1303" name="Freeform 354">
                    <a:extLst>
                      <a:ext uri="{FF2B5EF4-FFF2-40B4-BE49-F238E27FC236}">
                        <a16:creationId xmlns:a16="http://schemas.microsoft.com/office/drawing/2014/main" id="{7B067445-0BFA-417B-A8F1-CCCF6638B9C1}"/>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04" name="Rectangle 1303">
                    <a:extLst>
                      <a:ext uri="{FF2B5EF4-FFF2-40B4-BE49-F238E27FC236}">
                        <a16:creationId xmlns:a16="http://schemas.microsoft.com/office/drawing/2014/main" id="{B4385D10-AC90-4E80-847F-18DC417528C6}"/>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05" name="Freeform 356">
                    <a:extLst>
                      <a:ext uri="{FF2B5EF4-FFF2-40B4-BE49-F238E27FC236}">
                        <a16:creationId xmlns:a16="http://schemas.microsoft.com/office/drawing/2014/main" id="{19450BCB-3C13-4397-BA8E-9C01FF3E64B8}"/>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06" name="Freeform 357">
                    <a:extLst>
                      <a:ext uri="{FF2B5EF4-FFF2-40B4-BE49-F238E27FC236}">
                        <a16:creationId xmlns:a16="http://schemas.microsoft.com/office/drawing/2014/main" id="{F23CEDDC-9BD9-4BE4-9955-395695534521}"/>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07" name="Freeform 358">
                    <a:extLst>
                      <a:ext uri="{FF2B5EF4-FFF2-40B4-BE49-F238E27FC236}">
                        <a16:creationId xmlns:a16="http://schemas.microsoft.com/office/drawing/2014/main" id="{A609B2FC-4ACE-4B5B-9107-DBC36A593A68}"/>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08" name="Rectangle 1307">
                    <a:extLst>
                      <a:ext uri="{FF2B5EF4-FFF2-40B4-BE49-F238E27FC236}">
                        <a16:creationId xmlns:a16="http://schemas.microsoft.com/office/drawing/2014/main" id="{CF2222C2-665C-444C-8F73-689205197E1A}"/>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09" name="Freeform 360">
                    <a:extLst>
                      <a:ext uri="{FF2B5EF4-FFF2-40B4-BE49-F238E27FC236}">
                        <a16:creationId xmlns:a16="http://schemas.microsoft.com/office/drawing/2014/main" id="{1CC390D3-030B-4A4C-8906-F7693DF7983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10" name="Rectangle 1309">
                    <a:extLst>
                      <a:ext uri="{FF2B5EF4-FFF2-40B4-BE49-F238E27FC236}">
                        <a16:creationId xmlns:a16="http://schemas.microsoft.com/office/drawing/2014/main" id="{F126FF6E-AA74-4651-8F22-87D026D96BB2}"/>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11" name="Rectangle 1310">
                    <a:extLst>
                      <a:ext uri="{FF2B5EF4-FFF2-40B4-BE49-F238E27FC236}">
                        <a16:creationId xmlns:a16="http://schemas.microsoft.com/office/drawing/2014/main" id="{73485321-ED3D-4E45-A15B-1DE7CA45C1ED}"/>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12" name="Rectangle 1311">
                    <a:extLst>
                      <a:ext uri="{FF2B5EF4-FFF2-40B4-BE49-F238E27FC236}">
                        <a16:creationId xmlns:a16="http://schemas.microsoft.com/office/drawing/2014/main" id="{388A0F7F-BD59-47B4-BFC9-727053DB4B46}"/>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13" name="Rectangle 1312">
                    <a:extLst>
                      <a:ext uri="{FF2B5EF4-FFF2-40B4-BE49-F238E27FC236}">
                        <a16:creationId xmlns:a16="http://schemas.microsoft.com/office/drawing/2014/main" id="{9EACDD46-356F-4B30-87CC-E88CE3B301E5}"/>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14" name="Rectangle 1313">
                    <a:extLst>
                      <a:ext uri="{FF2B5EF4-FFF2-40B4-BE49-F238E27FC236}">
                        <a16:creationId xmlns:a16="http://schemas.microsoft.com/office/drawing/2014/main" id="{B1CC93F8-D8E9-4274-8055-8920FA674B45}"/>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1200" name="Group 1199">
                  <a:extLst>
                    <a:ext uri="{FF2B5EF4-FFF2-40B4-BE49-F238E27FC236}">
                      <a16:creationId xmlns:a16="http://schemas.microsoft.com/office/drawing/2014/main" id="{E0041A3B-0FD0-43D6-82F9-F1A027567523}"/>
                    </a:ext>
                  </a:extLst>
                </p:cNvPr>
                <p:cNvGrpSpPr/>
                <p:nvPr/>
              </p:nvGrpSpPr>
              <p:grpSpPr>
                <a:xfrm>
                  <a:off x="1190120" y="2235988"/>
                  <a:ext cx="983059" cy="983198"/>
                  <a:chOff x="5413781" y="5749281"/>
                  <a:chExt cx="652036" cy="652036"/>
                </a:xfrm>
              </p:grpSpPr>
              <p:sp>
                <p:nvSpPr>
                  <p:cNvPr id="1301" name="Oval 1300">
                    <a:extLst>
                      <a:ext uri="{FF2B5EF4-FFF2-40B4-BE49-F238E27FC236}">
                        <a16:creationId xmlns:a16="http://schemas.microsoft.com/office/drawing/2014/main" id="{2331677F-2092-4D07-A840-D96DCC36DF10}"/>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302" name="Freeform 353">
                    <a:extLst>
                      <a:ext uri="{FF2B5EF4-FFF2-40B4-BE49-F238E27FC236}">
                        <a16:creationId xmlns:a16="http://schemas.microsoft.com/office/drawing/2014/main" id="{03ECECFF-8D8E-4717-AAA1-A843568C0524}"/>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201" name="Group 1200">
                  <a:extLst>
                    <a:ext uri="{FF2B5EF4-FFF2-40B4-BE49-F238E27FC236}">
                      <a16:creationId xmlns:a16="http://schemas.microsoft.com/office/drawing/2014/main" id="{DF7AB871-76CF-4359-80A1-E441D394D05E}"/>
                    </a:ext>
                  </a:extLst>
                </p:cNvPr>
                <p:cNvGrpSpPr>
                  <a:grpSpLocks noChangeAspect="1"/>
                </p:cNvGrpSpPr>
                <p:nvPr/>
              </p:nvGrpSpPr>
              <p:grpSpPr bwMode="auto">
                <a:xfrm rot="1800000">
                  <a:off x="3563928" y="2295726"/>
                  <a:ext cx="622295" cy="847393"/>
                  <a:chOff x="6652" y="1661"/>
                  <a:chExt cx="260" cy="354"/>
                </a:xfrm>
              </p:grpSpPr>
              <p:sp>
                <p:nvSpPr>
                  <p:cNvPr id="1297" name="AutoShape 138">
                    <a:extLst>
                      <a:ext uri="{FF2B5EF4-FFF2-40B4-BE49-F238E27FC236}">
                        <a16:creationId xmlns:a16="http://schemas.microsoft.com/office/drawing/2014/main" id="{260BB538-BD53-49EE-B7D3-C39B4A185057}"/>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298" name="Freeform 349">
                    <a:extLst>
                      <a:ext uri="{FF2B5EF4-FFF2-40B4-BE49-F238E27FC236}">
                        <a16:creationId xmlns:a16="http://schemas.microsoft.com/office/drawing/2014/main" id="{E8B32047-28EE-485D-B662-D87FEC4FE59F}"/>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299" name="Rectangle 1298">
                    <a:extLst>
                      <a:ext uri="{FF2B5EF4-FFF2-40B4-BE49-F238E27FC236}">
                        <a16:creationId xmlns:a16="http://schemas.microsoft.com/office/drawing/2014/main" id="{B09D56B4-53FA-4093-B937-F459B28EE5A9}"/>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300" name="Freeform 351">
                    <a:extLst>
                      <a:ext uri="{FF2B5EF4-FFF2-40B4-BE49-F238E27FC236}">
                        <a16:creationId xmlns:a16="http://schemas.microsoft.com/office/drawing/2014/main" id="{2B93D158-67F6-4F7C-9F52-DFD956FBB15D}"/>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1202" name="Group 1201">
                  <a:extLst>
                    <a:ext uri="{FF2B5EF4-FFF2-40B4-BE49-F238E27FC236}">
                      <a16:creationId xmlns:a16="http://schemas.microsoft.com/office/drawing/2014/main" id="{D5AE5D69-6450-41FE-B795-8B3EA9E1DBB7}"/>
                    </a:ext>
                  </a:extLst>
                </p:cNvPr>
                <p:cNvGrpSpPr/>
                <p:nvPr/>
              </p:nvGrpSpPr>
              <p:grpSpPr>
                <a:xfrm flipH="1">
                  <a:off x="499414" y="3565526"/>
                  <a:ext cx="1323206" cy="3292389"/>
                  <a:chOff x="8371759" y="2973033"/>
                  <a:chExt cx="1482609" cy="3688507"/>
                </a:xfrm>
              </p:grpSpPr>
              <p:sp>
                <p:nvSpPr>
                  <p:cNvPr id="1213" name="Freeform 314">
                    <a:extLst>
                      <a:ext uri="{FF2B5EF4-FFF2-40B4-BE49-F238E27FC236}">
                        <a16:creationId xmlns:a16="http://schemas.microsoft.com/office/drawing/2014/main" id="{8FA5CEE5-2A39-497F-8C98-37AC4300D291}"/>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14" name="Freeform 315">
                    <a:extLst>
                      <a:ext uri="{FF2B5EF4-FFF2-40B4-BE49-F238E27FC236}">
                        <a16:creationId xmlns:a16="http://schemas.microsoft.com/office/drawing/2014/main" id="{F0C8B7A7-D5D9-4ABA-899A-8F2230C356D4}"/>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15" name="Freeform 316">
                    <a:extLst>
                      <a:ext uri="{FF2B5EF4-FFF2-40B4-BE49-F238E27FC236}">
                        <a16:creationId xmlns:a16="http://schemas.microsoft.com/office/drawing/2014/main" id="{1A44627F-729E-41EA-89AD-D98C97078994}"/>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16" name="Rectangle 1215">
                    <a:extLst>
                      <a:ext uri="{FF2B5EF4-FFF2-40B4-BE49-F238E27FC236}">
                        <a16:creationId xmlns:a16="http://schemas.microsoft.com/office/drawing/2014/main" id="{A86D9FFF-0A93-4556-99F9-441C2A92CBCA}"/>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17" name="Rectangle 1216">
                    <a:extLst>
                      <a:ext uri="{FF2B5EF4-FFF2-40B4-BE49-F238E27FC236}">
                        <a16:creationId xmlns:a16="http://schemas.microsoft.com/office/drawing/2014/main" id="{0F399E0F-1DE0-4E70-BF7B-B57B8DD29F72}"/>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18" name="Rectangle 1217">
                    <a:extLst>
                      <a:ext uri="{FF2B5EF4-FFF2-40B4-BE49-F238E27FC236}">
                        <a16:creationId xmlns:a16="http://schemas.microsoft.com/office/drawing/2014/main" id="{5254AEBA-1EA2-4CCA-85EB-1ABD86C13D5B}"/>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19" name="Rectangle 1218">
                    <a:extLst>
                      <a:ext uri="{FF2B5EF4-FFF2-40B4-BE49-F238E27FC236}">
                        <a16:creationId xmlns:a16="http://schemas.microsoft.com/office/drawing/2014/main" id="{3EF7A27C-F52B-4E1E-B58A-97962B22C9DD}"/>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20" name="Freeform 321">
                    <a:extLst>
                      <a:ext uri="{FF2B5EF4-FFF2-40B4-BE49-F238E27FC236}">
                        <a16:creationId xmlns:a16="http://schemas.microsoft.com/office/drawing/2014/main" id="{01A59A0F-B188-43C9-9206-5E55F2B58E9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21" name="Rectangle 1220">
                    <a:extLst>
                      <a:ext uri="{FF2B5EF4-FFF2-40B4-BE49-F238E27FC236}">
                        <a16:creationId xmlns:a16="http://schemas.microsoft.com/office/drawing/2014/main" id="{2ACB7B4E-B79A-44C6-8D46-78AA61D106A6}"/>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22" name="Rectangle 1221">
                    <a:extLst>
                      <a:ext uri="{FF2B5EF4-FFF2-40B4-BE49-F238E27FC236}">
                        <a16:creationId xmlns:a16="http://schemas.microsoft.com/office/drawing/2014/main" id="{3056F608-AECE-4408-997F-FDE2AD4528A5}"/>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23" name="Freeform 324">
                    <a:extLst>
                      <a:ext uri="{FF2B5EF4-FFF2-40B4-BE49-F238E27FC236}">
                        <a16:creationId xmlns:a16="http://schemas.microsoft.com/office/drawing/2014/main" id="{6AA4C0F6-97BE-40A3-8D99-5E457F25895E}"/>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24" name="Freeform 325">
                    <a:extLst>
                      <a:ext uri="{FF2B5EF4-FFF2-40B4-BE49-F238E27FC236}">
                        <a16:creationId xmlns:a16="http://schemas.microsoft.com/office/drawing/2014/main" id="{35956886-9188-4DDC-A6BD-97C603B8077B}"/>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25" name="Freeform 326">
                    <a:extLst>
                      <a:ext uri="{FF2B5EF4-FFF2-40B4-BE49-F238E27FC236}">
                        <a16:creationId xmlns:a16="http://schemas.microsoft.com/office/drawing/2014/main" id="{ECD6C162-6526-4288-9B7E-8B6F8345CAE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76" name="Freeform 327">
                    <a:extLst>
                      <a:ext uri="{FF2B5EF4-FFF2-40B4-BE49-F238E27FC236}">
                        <a16:creationId xmlns:a16="http://schemas.microsoft.com/office/drawing/2014/main" id="{E943E7BD-BD13-459F-B2A9-3AFE96A22D0D}"/>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77" name="Freeform 328">
                    <a:extLst>
                      <a:ext uri="{FF2B5EF4-FFF2-40B4-BE49-F238E27FC236}">
                        <a16:creationId xmlns:a16="http://schemas.microsoft.com/office/drawing/2014/main" id="{89DFE40B-1B18-44B7-B4C3-3D3BCC6DAE9C}"/>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78" name="Freeform 329">
                    <a:extLst>
                      <a:ext uri="{FF2B5EF4-FFF2-40B4-BE49-F238E27FC236}">
                        <a16:creationId xmlns:a16="http://schemas.microsoft.com/office/drawing/2014/main" id="{3B432BDF-660C-4A2F-9E46-EF372B1CA82A}"/>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79" name="Freeform 330">
                    <a:extLst>
                      <a:ext uri="{FF2B5EF4-FFF2-40B4-BE49-F238E27FC236}">
                        <a16:creationId xmlns:a16="http://schemas.microsoft.com/office/drawing/2014/main" id="{9B00C653-B2E1-4346-899C-FAC6B39F0878}"/>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80" name="Freeform 331">
                    <a:extLst>
                      <a:ext uri="{FF2B5EF4-FFF2-40B4-BE49-F238E27FC236}">
                        <a16:creationId xmlns:a16="http://schemas.microsoft.com/office/drawing/2014/main" id="{A8DE13C3-A829-44BF-968C-7549215D47E9}"/>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81" name="Freeform 332">
                    <a:extLst>
                      <a:ext uri="{FF2B5EF4-FFF2-40B4-BE49-F238E27FC236}">
                        <a16:creationId xmlns:a16="http://schemas.microsoft.com/office/drawing/2014/main" id="{3D1B9AF6-CFC2-4D6B-8951-C23F2645BFF0}"/>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82" name="Freeform 333">
                    <a:extLst>
                      <a:ext uri="{FF2B5EF4-FFF2-40B4-BE49-F238E27FC236}">
                        <a16:creationId xmlns:a16="http://schemas.microsoft.com/office/drawing/2014/main" id="{0EF9E288-8225-4CAD-8907-51E8FB74EF4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83" name="Freeform 334">
                    <a:extLst>
                      <a:ext uri="{FF2B5EF4-FFF2-40B4-BE49-F238E27FC236}">
                        <a16:creationId xmlns:a16="http://schemas.microsoft.com/office/drawing/2014/main" id="{2E94FA78-E967-4299-9377-199A1120DB8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84" name="Freeform 335">
                    <a:extLst>
                      <a:ext uri="{FF2B5EF4-FFF2-40B4-BE49-F238E27FC236}">
                        <a16:creationId xmlns:a16="http://schemas.microsoft.com/office/drawing/2014/main" id="{BEF96C5A-216D-4152-9E65-2EBA02511C6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85" name="Freeform 336">
                    <a:extLst>
                      <a:ext uri="{FF2B5EF4-FFF2-40B4-BE49-F238E27FC236}">
                        <a16:creationId xmlns:a16="http://schemas.microsoft.com/office/drawing/2014/main" id="{1E1AC7E0-92EA-4852-8AFC-8AB1E62056BE}"/>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86" name="Freeform 337">
                    <a:extLst>
                      <a:ext uri="{FF2B5EF4-FFF2-40B4-BE49-F238E27FC236}">
                        <a16:creationId xmlns:a16="http://schemas.microsoft.com/office/drawing/2014/main" id="{A94BEEDA-9A55-4805-90AE-ED88B86C3C6D}"/>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87" name="Freeform 338">
                    <a:extLst>
                      <a:ext uri="{FF2B5EF4-FFF2-40B4-BE49-F238E27FC236}">
                        <a16:creationId xmlns:a16="http://schemas.microsoft.com/office/drawing/2014/main" id="{7B0027A7-4434-44E7-B5C0-58C37DF0E61C}"/>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88" name="Freeform 339">
                    <a:extLst>
                      <a:ext uri="{FF2B5EF4-FFF2-40B4-BE49-F238E27FC236}">
                        <a16:creationId xmlns:a16="http://schemas.microsoft.com/office/drawing/2014/main" id="{9B2D4382-5E6A-4041-BE2D-E09DFEE984E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89" name="Freeform 340">
                    <a:extLst>
                      <a:ext uri="{FF2B5EF4-FFF2-40B4-BE49-F238E27FC236}">
                        <a16:creationId xmlns:a16="http://schemas.microsoft.com/office/drawing/2014/main" id="{9CC82DD1-1052-4EA4-ADDB-AC4C83AE4F76}"/>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90" name="Freeform 341">
                    <a:extLst>
                      <a:ext uri="{FF2B5EF4-FFF2-40B4-BE49-F238E27FC236}">
                        <a16:creationId xmlns:a16="http://schemas.microsoft.com/office/drawing/2014/main" id="{C860D611-DE24-4B3F-BF35-34411659BE1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91" name="Freeform 342">
                    <a:extLst>
                      <a:ext uri="{FF2B5EF4-FFF2-40B4-BE49-F238E27FC236}">
                        <a16:creationId xmlns:a16="http://schemas.microsoft.com/office/drawing/2014/main" id="{0CA8D89F-F2F2-446E-A2B6-FA2BDA4164D2}"/>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92" name="Freeform 343">
                    <a:extLst>
                      <a:ext uri="{FF2B5EF4-FFF2-40B4-BE49-F238E27FC236}">
                        <a16:creationId xmlns:a16="http://schemas.microsoft.com/office/drawing/2014/main" id="{EC4BD788-CCAD-4B30-B1DD-FA1CE305986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93" name="Freeform 344">
                    <a:extLst>
                      <a:ext uri="{FF2B5EF4-FFF2-40B4-BE49-F238E27FC236}">
                        <a16:creationId xmlns:a16="http://schemas.microsoft.com/office/drawing/2014/main" id="{DF241B15-B453-492F-8F6A-3BC9CF3EBF4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94" name="Freeform 345">
                    <a:extLst>
                      <a:ext uri="{FF2B5EF4-FFF2-40B4-BE49-F238E27FC236}">
                        <a16:creationId xmlns:a16="http://schemas.microsoft.com/office/drawing/2014/main" id="{06CCB199-66D1-42C2-AC91-5DF15C9C361C}"/>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95" name="Freeform 346">
                    <a:extLst>
                      <a:ext uri="{FF2B5EF4-FFF2-40B4-BE49-F238E27FC236}">
                        <a16:creationId xmlns:a16="http://schemas.microsoft.com/office/drawing/2014/main" id="{63773F48-34D2-4F99-A2A5-31CB249B7771}"/>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296" name="Freeform 347">
                    <a:extLst>
                      <a:ext uri="{FF2B5EF4-FFF2-40B4-BE49-F238E27FC236}">
                        <a16:creationId xmlns:a16="http://schemas.microsoft.com/office/drawing/2014/main" id="{45C28A47-64CC-4FDB-8DE0-CE6A0753F879}"/>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1203" name="Straight Connector 1202">
                  <a:extLst>
                    <a:ext uri="{FF2B5EF4-FFF2-40B4-BE49-F238E27FC236}">
                      <a16:creationId xmlns:a16="http://schemas.microsoft.com/office/drawing/2014/main" id="{2CAC7FE0-4AAE-4642-A3BB-6CE12F9B7277}"/>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204" name="Straight Connector 1203">
                  <a:extLst>
                    <a:ext uri="{FF2B5EF4-FFF2-40B4-BE49-F238E27FC236}">
                      <a16:creationId xmlns:a16="http://schemas.microsoft.com/office/drawing/2014/main" id="{D6BACE9E-4F57-4C36-8D69-A5E8BE68444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205" name="Straight Connector 1204">
                  <a:extLst>
                    <a:ext uri="{FF2B5EF4-FFF2-40B4-BE49-F238E27FC236}">
                      <a16:creationId xmlns:a16="http://schemas.microsoft.com/office/drawing/2014/main" id="{49B91873-0ADD-4271-AA97-8C2869A3F23D}"/>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206" name="Straight Connector 1205">
                  <a:extLst>
                    <a:ext uri="{FF2B5EF4-FFF2-40B4-BE49-F238E27FC236}">
                      <a16:creationId xmlns:a16="http://schemas.microsoft.com/office/drawing/2014/main" id="{416D522E-70B8-404B-8ADD-1957EB7DA2C5}"/>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207" name="Group 1206">
                  <a:extLst>
                    <a:ext uri="{FF2B5EF4-FFF2-40B4-BE49-F238E27FC236}">
                      <a16:creationId xmlns:a16="http://schemas.microsoft.com/office/drawing/2014/main" id="{C0CAADD9-30B1-4972-8728-63EA055260C7}"/>
                    </a:ext>
                  </a:extLst>
                </p:cNvPr>
                <p:cNvGrpSpPr/>
                <p:nvPr/>
              </p:nvGrpSpPr>
              <p:grpSpPr>
                <a:xfrm>
                  <a:off x="2022695" y="1566515"/>
                  <a:ext cx="766903" cy="767014"/>
                  <a:chOff x="9123445" y="2463609"/>
                  <a:chExt cx="652033" cy="652035"/>
                </a:xfrm>
              </p:grpSpPr>
              <p:sp>
                <p:nvSpPr>
                  <p:cNvPr id="1211" name="Oval 1210">
                    <a:extLst>
                      <a:ext uri="{FF2B5EF4-FFF2-40B4-BE49-F238E27FC236}">
                        <a16:creationId xmlns:a16="http://schemas.microsoft.com/office/drawing/2014/main" id="{D01EE088-490E-47C8-B2CA-CEC4247B87C7}"/>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212" name="Freeform 313">
                    <a:extLst>
                      <a:ext uri="{FF2B5EF4-FFF2-40B4-BE49-F238E27FC236}">
                        <a16:creationId xmlns:a16="http://schemas.microsoft.com/office/drawing/2014/main" id="{29E3FCE6-03CC-4FDC-B9C9-AA441CF29F91}"/>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1208" name="Group 1207">
                  <a:extLst>
                    <a:ext uri="{FF2B5EF4-FFF2-40B4-BE49-F238E27FC236}">
                      <a16:creationId xmlns:a16="http://schemas.microsoft.com/office/drawing/2014/main" id="{D8DCD3D7-7786-4DB8-953A-C5BC09BE526E}"/>
                    </a:ext>
                  </a:extLst>
                </p:cNvPr>
                <p:cNvGrpSpPr/>
                <p:nvPr/>
              </p:nvGrpSpPr>
              <p:grpSpPr>
                <a:xfrm>
                  <a:off x="1973388" y="1517311"/>
                  <a:ext cx="853073" cy="853194"/>
                  <a:chOff x="9123452" y="2463609"/>
                  <a:chExt cx="652035" cy="652035"/>
                </a:xfrm>
              </p:grpSpPr>
              <p:sp>
                <p:nvSpPr>
                  <p:cNvPr id="1209" name="Oval 1208">
                    <a:extLst>
                      <a:ext uri="{FF2B5EF4-FFF2-40B4-BE49-F238E27FC236}">
                        <a16:creationId xmlns:a16="http://schemas.microsoft.com/office/drawing/2014/main" id="{7D57D883-0D3F-4343-B357-509561E2F833}"/>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210" name="Freeform 311">
                    <a:extLst>
                      <a:ext uri="{FF2B5EF4-FFF2-40B4-BE49-F238E27FC236}">
                        <a16:creationId xmlns:a16="http://schemas.microsoft.com/office/drawing/2014/main" id="{5F23DEA0-2EC4-450D-8B11-612008B98128}"/>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1036" name="Group 1035">
                <a:extLst>
                  <a:ext uri="{FF2B5EF4-FFF2-40B4-BE49-F238E27FC236}">
                    <a16:creationId xmlns:a16="http://schemas.microsoft.com/office/drawing/2014/main" id="{B4B2DB65-AD85-4331-BCD1-3A76D8958F93}"/>
                  </a:ext>
                </a:extLst>
              </p:cNvPr>
              <p:cNvGrpSpPr/>
              <p:nvPr/>
            </p:nvGrpSpPr>
            <p:grpSpPr>
              <a:xfrm>
                <a:off x="1226671" y="3909844"/>
                <a:ext cx="304563" cy="307388"/>
                <a:chOff x="4471988" y="3821062"/>
                <a:chExt cx="2035176" cy="2113013"/>
              </a:xfrm>
            </p:grpSpPr>
            <p:sp>
              <p:nvSpPr>
                <p:cNvPr id="1144" name="Rectangle 6">
                  <a:extLst>
                    <a:ext uri="{FF2B5EF4-FFF2-40B4-BE49-F238E27FC236}">
                      <a16:creationId xmlns:a16="http://schemas.microsoft.com/office/drawing/2014/main" id="{06C262CD-B900-4DD7-B9BB-437EE66F9255}"/>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45" name="Freeform 7">
                  <a:extLst>
                    <a:ext uri="{FF2B5EF4-FFF2-40B4-BE49-F238E27FC236}">
                      <a16:creationId xmlns:a16="http://schemas.microsoft.com/office/drawing/2014/main" id="{30EA9D72-DD61-4598-9457-E63825D768CC}"/>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46" name="Freeform 10">
                  <a:extLst>
                    <a:ext uri="{FF2B5EF4-FFF2-40B4-BE49-F238E27FC236}">
                      <a16:creationId xmlns:a16="http://schemas.microsoft.com/office/drawing/2014/main" id="{6F569C44-5BED-4C20-8366-D5891E639514}"/>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47" name="Freeform 11">
                  <a:extLst>
                    <a:ext uri="{FF2B5EF4-FFF2-40B4-BE49-F238E27FC236}">
                      <a16:creationId xmlns:a16="http://schemas.microsoft.com/office/drawing/2014/main" id="{43FBB47A-9886-48C0-833C-9C0A4D65578C}"/>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48" name="Oval 12">
                  <a:extLst>
                    <a:ext uri="{FF2B5EF4-FFF2-40B4-BE49-F238E27FC236}">
                      <a16:creationId xmlns:a16="http://schemas.microsoft.com/office/drawing/2014/main" id="{EA96D9E7-1F0F-4684-B14E-5C896164C87B}"/>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49" name="Oval 13">
                  <a:extLst>
                    <a:ext uri="{FF2B5EF4-FFF2-40B4-BE49-F238E27FC236}">
                      <a16:creationId xmlns:a16="http://schemas.microsoft.com/office/drawing/2014/main" id="{9EAAEF76-AFD4-412D-B7F3-E1C0173F3BE9}"/>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50" name="Freeform 14">
                  <a:extLst>
                    <a:ext uri="{FF2B5EF4-FFF2-40B4-BE49-F238E27FC236}">
                      <a16:creationId xmlns:a16="http://schemas.microsoft.com/office/drawing/2014/main" id="{702713C3-353F-4BB2-8B56-013F8004C11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51" name="Rectangle 15">
                  <a:extLst>
                    <a:ext uri="{FF2B5EF4-FFF2-40B4-BE49-F238E27FC236}">
                      <a16:creationId xmlns:a16="http://schemas.microsoft.com/office/drawing/2014/main" id="{906D0316-B559-4D0B-B96B-FBB069586F84}"/>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52" name="Rectangle 16">
                  <a:extLst>
                    <a:ext uri="{FF2B5EF4-FFF2-40B4-BE49-F238E27FC236}">
                      <a16:creationId xmlns:a16="http://schemas.microsoft.com/office/drawing/2014/main" id="{1F700410-71B2-46B6-992A-F3FDBC78C5CA}"/>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53" name="Freeform 17">
                  <a:extLst>
                    <a:ext uri="{FF2B5EF4-FFF2-40B4-BE49-F238E27FC236}">
                      <a16:creationId xmlns:a16="http://schemas.microsoft.com/office/drawing/2014/main" id="{7282A6DE-97F6-4E49-8001-B30DC85FF836}"/>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54" name="Freeform 18">
                  <a:extLst>
                    <a:ext uri="{FF2B5EF4-FFF2-40B4-BE49-F238E27FC236}">
                      <a16:creationId xmlns:a16="http://schemas.microsoft.com/office/drawing/2014/main" id="{F760EF2B-9312-4143-91FC-CEC3D02F08D1}"/>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55" name="Rectangle 19">
                  <a:extLst>
                    <a:ext uri="{FF2B5EF4-FFF2-40B4-BE49-F238E27FC236}">
                      <a16:creationId xmlns:a16="http://schemas.microsoft.com/office/drawing/2014/main" id="{E0439A7E-14BA-41E3-ADC2-8F618EBB5432}"/>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56" name="Freeform 20">
                  <a:extLst>
                    <a:ext uri="{FF2B5EF4-FFF2-40B4-BE49-F238E27FC236}">
                      <a16:creationId xmlns:a16="http://schemas.microsoft.com/office/drawing/2014/main" id="{1BF5FC71-7367-4872-A9B0-9F7A5794D711}"/>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57" name="Freeform 21">
                  <a:extLst>
                    <a:ext uri="{FF2B5EF4-FFF2-40B4-BE49-F238E27FC236}">
                      <a16:creationId xmlns:a16="http://schemas.microsoft.com/office/drawing/2014/main" id="{23AFC683-5B05-4EA7-9957-AAFBA4CD41B3}"/>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58" name="Freeform 22">
                  <a:extLst>
                    <a:ext uri="{FF2B5EF4-FFF2-40B4-BE49-F238E27FC236}">
                      <a16:creationId xmlns:a16="http://schemas.microsoft.com/office/drawing/2014/main" id="{F7CCFCE9-136D-471D-800B-F915508993E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59" name="Freeform 23">
                  <a:extLst>
                    <a:ext uri="{FF2B5EF4-FFF2-40B4-BE49-F238E27FC236}">
                      <a16:creationId xmlns:a16="http://schemas.microsoft.com/office/drawing/2014/main" id="{866C1E7E-85E3-4C0C-8358-5E82BB0E6BFD}"/>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60" name="Freeform 24">
                  <a:extLst>
                    <a:ext uri="{FF2B5EF4-FFF2-40B4-BE49-F238E27FC236}">
                      <a16:creationId xmlns:a16="http://schemas.microsoft.com/office/drawing/2014/main" id="{8F3E816E-7714-4A80-8CDC-E3A95F5A609E}"/>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61" name="Rectangle 25">
                  <a:extLst>
                    <a:ext uri="{FF2B5EF4-FFF2-40B4-BE49-F238E27FC236}">
                      <a16:creationId xmlns:a16="http://schemas.microsoft.com/office/drawing/2014/main" id="{5D0FF1AC-B24F-4FC3-A197-64A9BEC6C2B0}"/>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62" name="Freeform 26">
                  <a:extLst>
                    <a:ext uri="{FF2B5EF4-FFF2-40B4-BE49-F238E27FC236}">
                      <a16:creationId xmlns:a16="http://schemas.microsoft.com/office/drawing/2014/main" id="{889EF3B3-97BB-4DFA-A50B-4F239E6A9B72}"/>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63" name="Freeform 27">
                  <a:extLst>
                    <a:ext uri="{FF2B5EF4-FFF2-40B4-BE49-F238E27FC236}">
                      <a16:creationId xmlns:a16="http://schemas.microsoft.com/office/drawing/2014/main" id="{C6595CE3-0E70-4A20-B7A1-4D0848BC80B0}"/>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64" name="Freeform 28">
                  <a:extLst>
                    <a:ext uri="{FF2B5EF4-FFF2-40B4-BE49-F238E27FC236}">
                      <a16:creationId xmlns:a16="http://schemas.microsoft.com/office/drawing/2014/main" id="{577A51B8-5659-4611-91DD-2A30A3451CB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65" name="Freeform 29">
                  <a:extLst>
                    <a:ext uri="{FF2B5EF4-FFF2-40B4-BE49-F238E27FC236}">
                      <a16:creationId xmlns:a16="http://schemas.microsoft.com/office/drawing/2014/main" id="{E696A1E3-E08E-44D3-8005-92851F7F7728}"/>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66" name="Freeform 30">
                  <a:extLst>
                    <a:ext uri="{FF2B5EF4-FFF2-40B4-BE49-F238E27FC236}">
                      <a16:creationId xmlns:a16="http://schemas.microsoft.com/office/drawing/2014/main" id="{A1223BC8-BC72-4D67-B160-64506521AC0A}"/>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67" name="Freeform 31">
                  <a:extLst>
                    <a:ext uri="{FF2B5EF4-FFF2-40B4-BE49-F238E27FC236}">
                      <a16:creationId xmlns:a16="http://schemas.microsoft.com/office/drawing/2014/main" id="{088430F9-47E2-404E-A434-051FA9CBEFA0}"/>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68" name="Freeform 32">
                  <a:extLst>
                    <a:ext uri="{FF2B5EF4-FFF2-40B4-BE49-F238E27FC236}">
                      <a16:creationId xmlns:a16="http://schemas.microsoft.com/office/drawing/2014/main" id="{FA331DAE-DD74-4747-B9BE-CC07DA2D1D64}"/>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69" name="Freeform 102">
                  <a:extLst>
                    <a:ext uri="{FF2B5EF4-FFF2-40B4-BE49-F238E27FC236}">
                      <a16:creationId xmlns:a16="http://schemas.microsoft.com/office/drawing/2014/main" id="{B6478C86-F9A0-4827-B48A-9674118CA569}"/>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70" name="Freeform 103">
                  <a:extLst>
                    <a:ext uri="{FF2B5EF4-FFF2-40B4-BE49-F238E27FC236}">
                      <a16:creationId xmlns:a16="http://schemas.microsoft.com/office/drawing/2014/main" id="{E4F791A3-5C48-44C3-8842-FFBCD5E973ED}"/>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71" name="Freeform 104">
                  <a:extLst>
                    <a:ext uri="{FF2B5EF4-FFF2-40B4-BE49-F238E27FC236}">
                      <a16:creationId xmlns:a16="http://schemas.microsoft.com/office/drawing/2014/main" id="{E2CF788E-21D2-4CCA-BCC0-FF1FE8888144}"/>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72" name="Freeform 105">
                  <a:extLst>
                    <a:ext uri="{FF2B5EF4-FFF2-40B4-BE49-F238E27FC236}">
                      <a16:creationId xmlns:a16="http://schemas.microsoft.com/office/drawing/2014/main" id="{55FAA7D2-D893-4BCA-829B-083544DD8D84}"/>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73" name="Freeform 106">
                  <a:extLst>
                    <a:ext uri="{FF2B5EF4-FFF2-40B4-BE49-F238E27FC236}">
                      <a16:creationId xmlns:a16="http://schemas.microsoft.com/office/drawing/2014/main" id="{AE0AADE5-4A86-4D2C-8202-ED8BE3BAF728}"/>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74" name="Freeform 107">
                  <a:extLst>
                    <a:ext uri="{FF2B5EF4-FFF2-40B4-BE49-F238E27FC236}">
                      <a16:creationId xmlns:a16="http://schemas.microsoft.com/office/drawing/2014/main" id="{DC4FC171-79E8-4A62-B2DA-3C74C1A70B9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75" name="Freeform 108">
                  <a:extLst>
                    <a:ext uri="{FF2B5EF4-FFF2-40B4-BE49-F238E27FC236}">
                      <a16:creationId xmlns:a16="http://schemas.microsoft.com/office/drawing/2014/main" id="{84850CB5-9009-4DF0-BA35-0BF8FFACC596}"/>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76" name="Rectangle 1175">
                  <a:extLst>
                    <a:ext uri="{FF2B5EF4-FFF2-40B4-BE49-F238E27FC236}">
                      <a16:creationId xmlns:a16="http://schemas.microsoft.com/office/drawing/2014/main" id="{9281AC42-45EC-48CE-848A-44DE88057F61}"/>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77" name="Freeform 110">
                  <a:extLst>
                    <a:ext uri="{FF2B5EF4-FFF2-40B4-BE49-F238E27FC236}">
                      <a16:creationId xmlns:a16="http://schemas.microsoft.com/office/drawing/2014/main" id="{F2EBFA23-E329-4515-B02E-D3F5CC4F4301}"/>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78" name="Freeform 111">
                  <a:extLst>
                    <a:ext uri="{FF2B5EF4-FFF2-40B4-BE49-F238E27FC236}">
                      <a16:creationId xmlns:a16="http://schemas.microsoft.com/office/drawing/2014/main" id="{CA910695-4D22-4EEE-8A6F-B3E0126ADF00}"/>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79" name="Freeform 112">
                  <a:extLst>
                    <a:ext uri="{FF2B5EF4-FFF2-40B4-BE49-F238E27FC236}">
                      <a16:creationId xmlns:a16="http://schemas.microsoft.com/office/drawing/2014/main" id="{FA89BF62-A8A0-4ED5-87A1-BABCEE28210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80" name="Freeform 113">
                  <a:extLst>
                    <a:ext uri="{FF2B5EF4-FFF2-40B4-BE49-F238E27FC236}">
                      <a16:creationId xmlns:a16="http://schemas.microsoft.com/office/drawing/2014/main" id="{0ED9F6D4-93DB-46C7-8986-36C8DC885AFF}"/>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81" name="Rectangle 1180">
                  <a:extLst>
                    <a:ext uri="{FF2B5EF4-FFF2-40B4-BE49-F238E27FC236}">
                      <a16:creationId xmlns:a16="http://schemas.microsoft.com/office/drawing/2014/main" id="{BC2054AB-88F1-43EF-A054-597AE899A745}"/>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82" name="Freeform 115">
                  <a:extLst>
                    <a:ext uri="{FF2B5EF4-FFF2-40B4-BE49-F238E27FC236}">
                      <a16:creationId xmlns:a16="http://schemas.microsoft.com/office/drawing/2014/main" id="{7B6A4007-901A-48C2-8EB5-F4027A2B939F}"/>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83" name="Freeform 116">
                  <a:extLst>
                    <a:ext uri="{FF2B5EF4-FFF2-40B4-BE49-F238E27FC236}">
                      <a16:creationId xmlns:a16="http://schemas.microsoft.com/office/drawing/2014/main" id="{DB9A9DB9-C89C-4B62-ABA4-387F06CB4E8C}"/>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84" name="Freeform 117">
                  <a:extLst>
                    <a:ext uri="{FF2B5EF4-FFF2-40B4-BE49-F238E27FC236}">
                      <a16:creationId xmlns:a16="http://schemas.microsoft.com/office/drawing/2014/main" id="{22904957-226C-4B0F-8BA6-ECBABAE7F30D}"/>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85" name="Freeform 118">
                  <a:extLst>
                    <a:ext uri="{FF2B5EF4-FFF2-40B4-BE49-F238E27FC236}">
                      <a16:creationId xmlns:a16="http://schemas.microsoft.com/office/drawing/2014/main" id="{E7CEA750-B6E5-4E53-BEE7-18BF0FC3884A}"/>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86" name="Oval 1185">
                  <a:extLst>
                    <a:ext uri="{FF2B5EF4-FFF2-40B4-BE49-F238E27FC236}">
                      <a16:creationId xmlns:a16="http://schemas.microsoft.com/office/drawing/2014/main" id="{BB2DC1E1-E277-42A5-9FF0-818BB1C996C6}"/>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87" name="Freeform 120">
                  <a:extLst>
                    <a:ext uri="{FF2B5EF4-FFF2-40B4-BE49-F238E27FC236}">
                      <a16:creationId xmlns:a16="http://schemas.microsoft.com/office/drawing/2014/main" id="{3CF22BF4-6086-479E-A844-F0D83800CF1F}"/>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88" name="Freeform 121">
                  <a:extLst>
                    <a:ext uri="{FF2B5EF4-FFF2-40B4-BE49-F238E27FC236}">
                      <a16:creationId xmlns:a16="http://schemas.microsoft.com/office/drawing/2014/main" id="{0F05AC61-C5F8-47E7-9CE3-868285129BF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89" name="Freeform 122">
                  <a:extLst>
                    <a:ext uri="{FF2B5EF4-FFF2-40B4-BE49-F238E27FC236}">
                      <a16:creationId xmlns:a16="http://schemas.microsoft.com/office/drawing/2014/main" id="{34D90442-E524-4450-A09D-3B351B3B63B5}"/>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90" name="Freeform 123">
                  <a:extLst>
                    <a:ext uri="{FF2B5EF4-FFF2-40B4-BE49-F238E27FC236}">
                      <a16:creationId xmlns:a16="http://schemas.microsoft.com/office/drawing/2014/main" id="{C28565F2-1383-4691-A45E-3C26A99CBD87}"/>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91" name="Freeform 124">
                  <a:extLst>
                    <a:ext uri="{FF2B5EF4-FFF2-40B4-BE49-F238E27FC236}">
                      <a16:creationId xmlns:a16="http://schemas.microsoft.com/office/drawing/2014/main" id="{4C10CD0F-02F8-45DD-A37D-9A6A45BCD8CF}"/>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92" name="Freeform 63">
                  <a:extLst>
                    <a:ext uri="{FF2B5EF4-FFF2-40B4-BE49-F238E27FC236}">
                      <a16:creationId xmlns:a16="http://schemas.microsoft.com/office/drawing/2014/main" id="{3F65AF41-687E-46AF-826D-C9223BBDF5C4}"/>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93" name="Freeform 65">
                  <a:extLst>
                    <a:ext uri="{FF2B5EF4-FFF2-40B4-BE49-F238E27FC236}">
                      <a16:creationId xmlns:a16="http://schemas.microsoft.com/office/drawing/2014/main" id="{56DC4253-0D02-457D-9F6C-67844FD7441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94" name="Freeform 66">
                  <a:extLst>
                    <a:ext uri="{FF2B5EF4-FFF2-40B4-BE49-F238E27FC236}">
                      <a16:creationId xmlns:a16="http://schemas.microsoft.com/office/drawing/2014/main" id="{ACC1676E-29B3-4AED-8941-742B2A92DDB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95" name="Freeform 67">
                  <a:extLst>
                    <a:ext uri="{FF2B5EF4-FFF2-40B4-BE49-F238E27FC236}">
                      <a16:creationId xmlns:a16="http://schemas.microsoft.com/office/drawing/2014/main" id="{983336C1-6094-4D6C-B3BA-C7D2A190E09E}"/>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96" name="Oval 68">
                  <a:extLst>
                    <a:ext uri="{FF2B5EF4-FFF2-40B4-BE49-F238E27FC236}">
                      <a16:creationId xmlns:a16="http://schemas.microsoft.com/office/drawing/2014/main" id="{A61988E6-B0E7-4BF5-8884-282FCD3143E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197" name="Oval 69">
                  <a:extLst>
                    <a:ext uri="{FF2B5EF4-FFF2-40B4-BE49-F238E27FC236}">
                      <a16:creationId xmlns:a16="http://schemas.microsoft.com/office/drawing/2014/main" id="{B1931925-F754-46BA-81A2-0E9ECF1AEBD5}"/>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1037" name="Group 1036">
                <a:extLst>
                  <a:ext uri="{FF2B5EF4-FFF2-40B4-BE49-F238E27FC236}">
                    <a16:creationId xmlns:a16="http://schemas.microsoft.com/office/drawing/2014/main" id="{487AEAA8-FAE9-46F6-A15E-51B8EDD3AF3E}"/>
                  </a:ext>
                </a:extLst>
              </p:cNvPr>
              <p:cNvGrpSpPr/>
              <p:nvPr/>
            </p:nvGrpSpPr>
            <p:grpSpPr>
              <a:xfrm>
                <a:off x="1206839" y="3914891"/>
                <a:ext cx="469400" cy="342521"/>
                <a:chOff x="1557350" y="4606481"/>
                <a:chExt cx="3001095" cy="2252753"/>
              </a:xfrm>
            </p:grpSpPr>
            <p:sp>
              <p:nvSpPr>
                <p:cNvPr id="1082" name="Rectangle 1081">
                  <a:extLst>
                    <a:ext uri="{FF2B5EF4-FFF2-40B4-BE49-F238E27FC236}">
                      <a16:creationId xmlns:a16="http://schemas.microsoft.com/office/drawing/2014/main" id="{5A2CA1F6-CA0E-4FBC-958A-B24927C2D261}"/>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083" name="Rectangle 1082">
                  <a:extLst>
                    <a:ext uri="{FF2B5EF4-FFF2-40B4-BE49-F238E27FC236}">
                      <a16:creationId xmlns:a16="http://schemas.microsoft.com/office/drawing/2014/main" id="{3BC2C353-0DC0-45C5-AF5B-B6D27C2775EA}"/>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086" name="Rectangle 1085">
                  <a:extLst>
                    <a:ext uri="{FF2B5EF4-FFF2-40B4-BE49-F238E27FC236}">
                      <a16:creationId xmlns:a16="http://schemas.microsoft.com/office/drawing/2014/main" id="{4F88B9C6-D468-4139-BA66-287F84ED71F1}"/>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092" name="Rectangle 1091">
                  <a:extLst>
                    <a:ext uri="{FF2B5EF4-FFF2-40B4-BE49-F238E27FC236}">
                      <a16:creationId xmlns:a16="http://schemas.microsoft.com/office/drawing/2014/main" id="{09456341-AF94-4B36-9686-37F97597338A}"/>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093" name="Freeform 12">
                  <a:extLst>
                    <a:ext uri="{FF2B5EF4-FFF2-40B4-BE49-F238E27FC236}">
                      <a16:creationId xmlns:a16="http://schemas.microsoft.com/office/drawing/2014/main" id="{BF6818C5-3000-4257-8F42-54C66F29D51C}"/>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094" name="Rectangle 1093">
                  <a:extLst>
                    <a:ext uri="{FF2B5EF4-FFF2-40B4-BE49-F238E27FC236}">
                      <a16:creationId xmlns:a16="http://schemas.microsoft.com/office/drawing/2014/main" id="{BB081194-44B4-4B46-84AB-E77A33F28809}"/>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09" name="Freeform 14">
                  <a:extLst>
                    <a:ext uri="{FF2B5EF4-FFF2-40B4-BE49-F238E27FC236}">
                      <a16:creationId xmlns:a16="http://schemas.microsoft.com/office/drawing/2014/main" id="{77233835-EF37-46E1-9EE6-DDAC139F0C42}"/>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10" name="Rectangle 1109">
                  <a:extLst>
                    <a:ext uri="{FF2B5EF4-FFF2-40B4-BE49-F238E27FC236}">
                      <a16:creationId xmlns:a16="http://schemas.microsoft.com/office/drawing/2014/main" id="{7A3BEDC8-E672-4B4D-B892-D7EEDB85F55B}"/>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11" name="Freeform 16">
                  <a:extLst>
                    <a:ext uri="{FF2B5EF4-FFF2-40B4-BE49-F238E27FC236}">
                      <a16:creationId xmlns:a16="http://schemas.microsoft.com/office/drawing/2014/main" id="{A541B539-1C44-4806-B145-5C5814DE603F}"/>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12" name="Freeform 17">
                  <a:extLst>
                    <a:ext uri="{FF2B5EF4-FFF2-40B4-BE49-F238E27FC236}">
                      <a16:creationId xmlns:a16="http://schemas.microsoft.com/office/drawing/2014/main" id="{510F4E60-637E-4770-B992-B276E51191C7}"/>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13" name="Oval 1112">
                  <a:extLst>
                    <a:ext uri="{FF2B5EF4-FFF2-40B4-BE49-F238E27FC236}">
                      <a16:creationId xmlns:a16="http://schemas.microsoft.com/office/drawing/2014/main" id="{BB415FCD-C71B-4B4F-B1F3-42E41A7C2F97}"/>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14" name="Rectangle 1113">
                  <a:extLst>
                    <a:ext uri="{FF2B5EF4-FFF2-40B4-BE49-F238E27FC236}">
                      <a16:creationId xmlns:a16="http://schemas.microsoft.com/office/drawing/2014/main" id="{5914DA55-B552-46B2-AB8D-0B94FCFD428A}"/>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15" name="Freeform 20">
                  <a:extLst>
                    <a:ext uri="{FF2B5EF4-FFF2-40B4-BE49-F238E27FC236}">
                      <a16:creationId xmlns:a16="http://schemas.microsoft.com/office/drawing/2014/main" id="{D7108C33-7458-405A-946F-BBB04202D37E}"/>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16" name="Freeform 21">
                  <a:extLst>
                    <a:ext uri="{FF2B5EF4-FFF2-40B4-BE49-F238E27FC236}">
                      <a16:creationId xmlns:a16="http://schemas.microsoft.com/office/drawing/2014/main" id="{88D5E08C-E558-4DDF-8AC3-FBFC8351BEF8}"/>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1117" name="Group 1116">
                  <a:extLst>
                    <a:ext uri="{FF2B5EF4-FFF2-40B4-BE49-F238E27FC236}">
                      <a16:creationId xmlns:a16="http://schemas.microsoft.com/office/drawing/2014/main" id="{DC44F33B-1EB5-4B29-8CD2-552CBD8F108A}"/>
                    </a:ext>
                  </a:extLst>
                </p:cNvPr>
                <p:cNvGrpSpPr/>
                <p:nvPr/>
              </p:nvGrpSpPr>
              <p:grpSpPr>
                <a:xfrm>
                  <a:off x="3298176" y="4606481"/>
                  <a:ext cx="1260269" cy="2252753"/>
                  <a:chOff x="10352191" y="4087395"/>
                  <a:chExt cx="1336826" cy="2389605"/>
                </a:xfrm>
              </p:grpSpPr>
              <p:sp>
                <p:nvSpPr>
                  <p:cNvPr id="1118" name="Rectangle 1117">
                    <a:extLst>
                      <a:ext uri="{FF2B5EF4-FFF2-40B4-BE49-F238E27FC236}">
                        <a16:creationId xmlns:a16="http://schemas.microsoft.com/office/drawing/2014/main" id="{A291C83A-14CF-45CD-A783-BE52EFFF2C7E}"/>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19" name="Round Same Side Corner Rectangle 52">
                    <a:extLst>
                      <a:ext uri="{FF2B5EF4-FFF2-40B4-BE49-F238E27FC236}">
                        <a16:creationId xmlns:a16="http://schemas.microsoft.com/office/drawing/2014/main" id="{D7B6F573-B95A-429E-9376-46526B35569D}"/>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1120" name="Rectangle 1119">
                    <a:extLst>
                      <a:ext uri="{FF2B5EF4-FFF2-40B4-BE49-F238E27FC236}">
                        <a16:creationId xmlns:a16="http://schemas.microsoft.com/office/drawing/2014/main" id="{AF257FBC-AE9E-46D3-BEA2-645D5B2FEDB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21" name="Freeform 54">
                    <a:extLst>
                      <a:ext uri="{FF2B5EF4-FFF2-40B4-BE49-F238E27FC236}">
                        <a16:creationId xmlns:a16="http://schemas.microsoft.com/office/drawing/2014/main" id="{99CAC012-A2C7-4E40-ADC5-58DE03664FEB}"/>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22" name="Freeform 55">
                    <a:extLst>
                      <a:ext uri="{FF2B5EF4-FFF2-40B4-BE49-F238E27FC236}">
                        <a16:creationId xmlns:a16="http://schemas.microsoft.com/office/drawing/2014/main" id="{34B350BD-4FBF-4794-904F-7D9CB5E96B71}"/>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23" name="Freeform 56">
                    <a:extLst>
                      <a:ext uri="{FF2B5EF4-FFF2-40B4-BE49-F238E27FC236}">
                        <a16:creationId xmlns:a16="http://schemas.microsoft.com/office/drawing/2014/main" id="{6C92736D-E59C-4CAB-881E-0DABB966012D}"/>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24" name="Freeform 57">
                    <a:extLst>
                      <a:ext uri="{FF2B5EF4-FFF2-40B4-BE49-F238E27FC236}">
                        <a16:creationId xmlns:a16="http://schemas.microsoft.com/office/drawing/2014/main" id="{D88FE1C1-E395-44D7-A34F-D66AD337A366}"/>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25" name="Freeform 58">
                    <a:extLst>
                      <a:ext uri="{FF2B5EF4-FFF2-40B4-BE49-F238E27FC236}">
                        <a16:creationId xmlns:a16="http://schemas.microsoft.com/office/drawing/2014/main" id="{BE537204-CDE3-49D5-AB3E-05B3D1DDFF4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26" name="Freeform 59">
                    <a:extLst>
                      <a:ext uri="{FF2B5EF4-FFF2-40B4-BE49-F238E27FC236}">
                        <a16:creationId xmlns:a16="http://schemas.microsoft.com/office/drawing/2014/main" id="{F61CB9C3-3FF5-483B-B640-E4C77848641B}"/>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27" name="Freeform 60">
                    <a:extLst>
                      <a:ext uri="{FF2B5EF4-FFF2-40B4-BE49-F238E27FC236}">
                        <a16:creationId xmlns:a16="http://schemas.microsoft.com/office/drawing/2014/main" id="{C5D9BAF1-200B-4038-879C-C4DE329D2767}"/>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28" name="Freeform 61">
                    <a:extLst>
                      <a:ext uri="{FF2B5EF4-FFF2-40B4-BE49-F238E27FC236}">
                        <a16:creationId xmlns:a16="http://schemas.microsoft.com/office/drawing/2014/main" id="{278D2CEA-9D93-42E3-BC06-38685BF006D0}"/>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29" name="Oval 1128">
                    <a:extLst>
                      <a:ext uri="{FF2B5EF4-FFF2-40B4-BE49-F238E27FC236}">
                        <a16:creationId xmlns:a16="http://schemas.microsoft.com/office/drawing/2014/main" id="{35B2B7D4-4B3D-4281-A51F-9992351CFC63}"/>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30" name="Freeform 63">
                    <a:extLst>
                      <a:ext uri="{FF2B5EF4-FFF2-40B4-BE49-F238E27FC236}">
                        <a16:creationId xmlns:a16="http://schemas.microsoft.com/office/drawing/2014/main" id="{463B87E8-B9EB-4566-B871-B227CB43C8CB}"/>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31" name="Rectangle 1130">
                    <a:extLst>
                      <a:ext uri="{FF2B5EF4-FFF2-40B4-BE49-F238E27FC236}">
                        <a16:creationId xmlns:a16="http://schemas.microsoft.com/office/drawing/2014/main" id="{F8E9DB3E-1F15-4C8E-B5B0-7A1642DCE6A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32" name="Freeform 65">
                    <a:extLst>
                      <a:ext uri="{FF2B5EF4-FFF2-40B4-BE49-F238E27FC236}">
                        <a16:creationId xmlns:a16="http://schemas.microsoft.com/office/drawing/2014/main" id="{B462D8A8-215A-4210-8D01-0FB707544071}"/>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33" name="Freeform 66">
                    <a:extLst>
                      <a:ext uri="{FF2B5EF4-FFF2-40B4-BE49-F238E27FC236}">
                        <a16:creationId xmlns:a16="http://schemas.microsoft.com/office/drawing/2014/main" id="{AC5A08BE-E95A-4F8E-ACFB-ADE66C3AFDC1}"/>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34" name="Rectangle 1133">
                    <a:extLst>
                      <a:ext uri="{FF2B5EF4-FFF2-40B4-BE49-F238E27FC236}">
                        <a16:creationId xmlns:a16="http://schemas.microsoft.com/office/drawing/2014/main" id="{AB294E66-7B29-47CC-BADE-24755792EDAF}"/>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35" name="Freeform 68">
                    <a:extLst>
                      <a:ext uri="{FF2B5EF4-FFF2-40B4-BE49-F238E27FC236}">
                        <a16:creationId xmlns:a16="http://schemas.microsoft.com/office/drawing/2014/main" id="{DB3A4F91-675D-4C1D-99AB-52567B3B4092}"/>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36" name="Freeform 69">
                    <a:extLst>
                      <a:ext uri="{FF2B5EF4-FFF2-40B4-BE49-F238E27FC236}">
                        <a16:creationId xmlns:a16="http://schemas.microsoft.com/office/drawing/2014/main" id="{C1319681-708E-40EA-80C8-6BFABB89090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37" name="Freeform 70">
                    <a:extLst>
                      <a:ext uri="{FF2B5EF4-FFF2-40B4-BE49-F238E27FC236}">
                        <a16:creationId xmlns:a16="http://schemas.microsoft.com/office/drawing/2014/main" id="{8532D199-A87D-4B56-B245-994F5D7932E8}"/>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38" name="Freeform 71">
                    <a:extLst>
                      <a:ext uri="{FF2B5EF4-FFF2-40B4-BE49-F238E27FC236}">
                        <a16:creationId xmlns:a16="http://schemas.microsoft.com/office/drawing/2014/main" id="{6EDA2DEC-21D2-4FC9-9E7D-DB2DD3048E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39" name="Freeform 72">
                    <a:extLst>
                      <a:ext uri="{FF2B5EF4-FFF2-40B4-BE49-F238E27FC236}">
                        <a16:creationId xmlns:a16="http://schemas.microsoft.com/office/drawing/2014/main" id="{8738ECFD-2A15-4DD9-AEE6-ABC15559E56C}"/>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40" name="Freeform 73">
                    <a:extLst>
                      <a:ext uri="{FF2B5EF4-FFF2-40B4-BE49-F238E27FC236}">
                        <a16:creationId xmlns:a16="http://schemas.microsoft.com/office/drawing/2014/main" id="{F78B800F-8E60-4060-A97F-9BEA1290655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41" name="Freeform 74">
                    <a:extLst>
                      <a:ext uri="{FF2B5EF4-FFF2-40B4-BE49-F238E27FC236}">
                        <a16:creationId xmlns:a16="http://schemas.microsoft.com/office/drawing/2014/main" id="{CFA1B4FC-DF7C-4A85-8816-DC085D443A19}"/>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42" name="Rectangle 1141">
                    <a:extLst>
                      <a:ext uri="{FF2B5EF4-FFF2-40B4-BE49-F238E27FC236}">
                        <a16:creationId xmlns:a16="http://schemas.microsoft.com/office/drawing/2014/main" id="{812E04D5-EE9D-42A2-8F1E-DBDAA6535A3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143" name="Rectangle 1142">
                    <a:extLst>
                      <a:ext uri="{FF2B5EF4-FFF2-40B4-BE49-F238E27FC236}">
                        <a16:creationId xmlns:a16="http://schemas.microsoft.com/office/drawing/2014/main" id="{DC5023DE-1749-4B02-B355-47F35E0FD1A5}"/>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1038" name="Rectangle 1037">
                <a:extLst>
                  <a:ext uri="{FF2B5EF4-FFF2-40B4-BE49-F238E27FC236}">
                    <a16:creationId xmlns:a16="http://schemas.microsoft.com/office/drawing/2014/main" id="{79F49B81-2E87-48D6-AA56-AEFDF7146F47}"/>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altLang="zh-CN" dirty="0"/>
              <a:t>User sessions are isolated</a:t>
            </a:r>
            <a:endParaRPr lang="en-US" dirty="0"/>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5486374" cy="369332"/>
          </a:xfrm>
          <a:prstGeom prst="rect">
            <a:avLst/>
          </a:prstGeom>
        </p:spPr>
        <p:txBody>
          <a:bodyPr wrap="none">
            <a:spAutoFit/>
          </a:bodyPr>
          <a:lstStyle/>
          <a:p>
            <a:r>
              <a:rPr lang="en-US" b="1" i="1" dirty="0"/>
              <a:t>Enhanced Security with Simplified Configuration</a:t>
            </a:r>
          </a:p>
        </p:txBody>
      </p:sp>
      <p:sp>
        <p:nvSpPr>
          <p:cNvPr id="666" name="Rectangle 665">
            <a:extLst>
              <a:ext uri="{FF2B5EF4-FFF2-40B4-BE49-F238E27FC236}">
                <a16:creationId xmlns:a16="http://schemas.microsoft.com/office/drawing/2014/main" id="{7A6B87AE-E933-4E72-8B55-8B2BB234FA5B}"/>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667" name="TextBox 666">
            <a:extLst>
              <a:ext uri="{FF2B5EF4-FFF2-40B4-BE49-F238E27FC236}">
                <a16:creationId xmlns:a16="http://schemas.microsoft.com/office/drawing/2014/main" id="{9C80CE37-2D64-4ACD-9FD7-0D33D0E6ED1C}"/>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668" name="TextBox 667">
            <a:extLst>
              <a:ext uri="{FF2B5EF4-FFF2-40B4-BE49-F238E27FC236}">
                <a16:creationId xmlns:a16="http://schemas.microsoft.com/office/drawing/2014/main" id="{BCAF3E44-0DB7-45E0-9F2A-B232CA766EFA}"/>
              </a:ext>
            </a:extLst>
          </p:cNvPr>
          <p:cNvSpPr txBox="1"/>
          <p:nvPr/>
        </p:nvSpPr>
        <p:spPr>
          <a:xfrm>
            <a:off x="651493" y="2413187"/>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solidFill>
                <a:schemeClr val="tx1"/>
              </a:solidFill>
            </a:endParaRPr>
          </a:p>
        </p:txBody>
      </p:sp>
      <p:sp>
        <p:nvSpPr>
          <p:cNvPr id="669" name="TextBox 668">
            <a:extLst>
              <a:ext uri="{FF2B5EF4-FFF2-40B4-BE49-F238E27FC236}">
                <a16:creationId xmlns:a16="http://schemas.microsoft.com/office/drawing/2014/main" id="{5FBB828A-A0F1-4D0C-9C6B-98D1CA395726}"/>
              </a:ext>
            </a:extLst>
          </p:cNvPr>
          <p:cNvSpPr txBox="1"/>
          <p:nvPr/>
        </p:nvSpPr>
        <p:spPr>
          <a:xfrm>
            <a:off x="8302299" y="2429311"/>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400" fontAlgn="auto">
              <a:spcBef>
                <a:spcPts val="1200"/>
              </a:spcBef>
              <a:spcAft>
                <a:spcPts val="600"/>
              </a:spcAft>
            </a:pPr>
            <a:r>
              <a:rPr lang="en-US" altLang="zh-CN" sz="1600" b="1" i="1" dirty="0">
                <a:solidFill>
                  <a:schemeClr val="tx2"/>
                </a:solidFill>
              </a:rPr>
              <a:t>Users are always isolated, whether using single or </a:t>
            </a:r>
            <a:br>
              <a:rPr lang="en-US" altLang="zh-CN" sz="1600" b="1" i="1" dirty="0">
                <a:solidFill>
                  <a:schemeClr val="tx2"/>
                </a:solidFill>
              </a:rPr>
            </a:br>
            <a:r>
              <a:rPr lang="en-US" altLang="zh-CN" sz="1600" b="1" i="1" dirty="0">
                <a:solidFill>
                  <a:schemeClr val="tx2"/>
                </a:solidFill>
              </a:rPr>
              <a:t>multi-session</a:t>
            </a:r>
          </a:p>
        </p:txBody>
      </p:sp>
      <p:sp>
        <p:nvSpPr>
          <p:cNvPr id="670" name="TextBox 669">
            <a:extLst>
              <a:ext uri="{FF2B5EF4-FFF2-40B4-BE49-F238E27FC236}">
                <a16:creationId xmlns:a16="http://schemas.microsoft.com/office/drawing/2014/main" id="{9938D8DA-AA46-4237-BAF2-F4293A34C630}"/>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400" b="1" dirty="0">
                <a:solidFill>
                  <a:schemeClr val="bg1"/>
                </a:solidFill>
              </a:rPr>
              <a:t>Security Benefit</a:t>
            </a:r>
          </a:p>
        </p:txBody>
      </p:sp>
      <p:sp>
        <p:nvSpPr>
          <p:cNvPr id="671" name="TextBox 670">
            <a:extLst>
              <a:ext uri="{FF2B5EF4-FFF2-40B4-BE49-F238E27FC236}">
                <a16:creationId xmlns:a16="http://schemas.microsoft.com/office/drawing/2014/main" id="{172967E6-C1EA-49AB-AD2E-9683B761DD6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1400" b="1" dirty="0">
                <a:solidFill>
                  <a:schemeClr val="bg1"/>
                </a:solidFill>
              </a:rPr>
              <a:t>Windows 10 Enterprise </a:t>
            </a:r>
          </a:p>
          <a:p>
            <a:pPr algn="ctr"/>
            <a:r>
              <a:rPr lang="en-US" sz="1400" b="1" dirty="0">
                <a:solidFill>
                  <a:schemeClr val="bg1"/>
                </a:solidFill>
              </a:rPr>
              <a:t>Single-session in WVD</a:t>
            </a:r>
          </a:p>
        </p:txBody>
      </p:sp>
      <p:sp>
        <p:nvSpPr>
          <p:cNvPr id="672" name="TextBox 671">
            <a:extLst>
              <a:ext uri="{FF2B5EF4-FFF2-40B4-BE49-F238E27FC236}">
                <a16:creationId xmlns:a16="http://schemas.microsoft.com/office/drawing/2014/main" id="{0647C5F1-EE5C-42AF-AEBD-6499DB5ED8B3}"/>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400" b="1" dirty="0">
                <a:solidFill>
                  <a:schemeClr val="bg1"/>
                </a:solidFill>
              </a:rPr>
              <a:t>Windows 10 Enterprise </a:t>
            </a:r>
          </a:p>
          <a:p>
            <a:pPr algn="ctr"/>
            <a:r>
              <a:rPr lang="en-US" sz="1400" b="1" dirty="0">
                <a:solidFill>
                  <a:schemeClr val="bg1"/>
                </a:solidFill>
              </a:rPr>
              <a:t>Multi-session in WVD</a:t>
            </a:r>
          </a:p>
        </p:txBody>
      </p:sp>
      <p:sp>
        <p:nvSpPr>
          <p:cNvPr id="1537" name="Rectangle 1536">
            <a:extLst>
              <a:ext uri="{FF2B5EF4-FFF2-40B4-BE49-F238E27FC236}">
                <a16:creationId xmlns:a16="http://schemas.microsoft.com/office/drawing/2014/main" id="{F16BB4D9-8189-4E3B-A42E-4765DE1FD39B}"/>
              </a:ext>
            </a:extLst>
          </p:cNvPr>
          <p:cNvSpPr/>
          <p:nvPr/>
        </p:nvSpPr>
        <p:spPr bwMode="auto">
          <a:xfrm>
            <a:off x="809391" y="3009362"/>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38" name="Rectangle 1537">
            <a:extLst>
              <a:ext uri="{FF2B5EF4-FFF2-40B4-BE49-F238E27FC236}">
                <a16:creationId xmlns:a16="http://schemas.microsoft.com/office/drawing/2014/main" id="{78CCFB9D-8DAC-40FF-9532-043B59537AE1}"/>
              </a:ext>
            </a:extLst>
          </p:cNvPr>
          <p:cNvSpPr/>
          <p:nvPr/>
        </p:nvSpPr>
        <p:spPr bwMode="auto">
          <a:xfrm>
            <a:off x="809391" y="4050529"/>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39" name="Rectangle 1538">
            <a:extLst>
              <a:ext uri="{FF2B5EF4-FFF2-40B4-BE49-F238E27FC236}">
                <a16:creationId xmlns:a16="http://schemas.microsoft.com/office/drawing/2014/main" id="{C898BEC0-D070-4115-AA3C-42E564B9CE8B}"/>
              </a:ext>
            </a:extLst>
          </p:cNvPr>
          <p:cNvSpPr/>
          <p:nvPr/>
        </p:nvSpPr>
        <p:spPr bwMode="auto">
          <a:xfrm>
            <a:off x="809391" y="5091696"/>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332" name="Group 153">
            <a:extLst>
              <a:ext uri="{FF2B5EF4-FFF2-40B4-BE49-F238E27FC236}">
                <a16:creationId xmlns:a16="http://schemas.microsoft.com/office/drawing/2014/main" id="{2387605C-BB62-49A3-8F88-79490E943F76}"/>
              </a:ext>
            </a:extLst>
          </p:cNvPr>
          <p:cNvGrpSpPr>
            <a:grpSpLocks noChangeAspect="1"/>
          </p:cNvGrpSpPr>
          <p:nvPr/>
        </p:nvGrpSpPr>
        <p:grpSpPr bwMode="auto">
          <a:xfrm>
            <a:off x="998892" y="3238580"/>
            <a:ext cx="509136" cy="508776"/>
            <a:chOff x="2501" y="790"/>
            <a:chExt cx="2832" cy="2830"/>
          </a:xfrm>
        </p:grpSpPr>
        <p:sp>
          <p:nvSpPr>
            <p:cNvPr id="1333" name="Oval 154">
              <a:extLst>
                <a:ext uri="{FF2B5EF4-FFF2-40B4-BE49-F238E27FC236}">
                  <a16:creationId xmlns:a16="http://schemas.microsoft.com/office/drawing/2014/main" id="{50EAD2C5-9B37-41D4-B790-230D550C0759}"/>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4" name="Freeform 155">
              <a:extLst>
                <a:ext uri="{FF2B5EF4-FFF2-40B4-BE49-F238E27FC236}">
                  <a16:creationId xmlns:a16="http://schemas.microsoft.com/office/drawing/2014/main" id="{F837B44F-BDE9-4179-BE9F-875B3838298E}"/>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5" name="Freeform 156">
              <a:extLst>
                <a:ext uri="{FF2B5EF4-FFF2-40B4-BE49-F238E27FC236}">
                  <a16:creationId xmlns:a16="http://schemas.microsoft.com/office/drawing/2014/main" id="{7F51275D-BD92-448E-92E4-5F7A2C84E375}"/>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6" name="Freeform 157">
              <a:extLst>
                <a:ext uri="{FF2B5EF4-FFF2-40B4-BE49-F238E27FC236}">
                  <a16:creationId xmlns:a16="http://schemas.microsoft.com/office/drawing/2014/main" id="{457A9CFE-6211-45DD-A771-1B354E1875D4}"/>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7" name="Freeform 158">
              <a:extLst>
                <a:ext uri="{FF2B5EF4-FFF2-40B4-BE49-F238E27FC236}">
                  <a16:creationId xmlns:a16="http://schemas.microsoft.com/office/drawing/2014/main" id="{C82FDDD5-3214-4A0A-8472-75F86D4B2E5C}"/>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8" name="Freeform 159">
              <a:extLst>
                <a:ext uri="{FF2B5EF4-FFF2-40B4-BE49-F238E27FC236}">
                  <a16:creationId xmlns:a16="http://schemas.microsoft.com/office/drawing/2014/main" id="{1AD8FE0E-AE1C-4AF1-85AE-FFFF692352F4}"/>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9" name="Freeform 160">
              <a:extLst>
                <a:ext uri="{FF2B5EF4-FFF2-40B4-BE49-F238E27FC236}">
                  <a16:creationId xmlns:a16="http://schemas.microsoft.com/office/drawing/2014/main" id="{52D3A739-46A4-4209-86B3-731025DF7D71}"/>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0" name="Freeform 161">
              <a:extLst>
                <a:ext uri="{FF2B5EF4-FFF2-40B4-BE49-F238E27FC236}">
                  <a16:creationId xmlns:a16="http://schemas.microsoft.com/office/drawing/2014/main" id="{E85DC570-5CEA-46EA-BBF0-7AE34B195899}"/>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1" name="Freeform 162">
              <a:extLst>
                <a:ext uri="{FF2B5EF4-FFF2-40B4-BE49-F238E27FC236}">
                  <a16:creationId xmlns:a16="http://schemas.microsoft.com/office/drawing/2014/main" id="{21D220EE-2347-4ADF-819E-DD396323BAF0}"/>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2" name="Freeform 163">
              <a:extLst>
                <a:ext uri="{FF2B5EF4-FFF2-40B4-BE49-F238E27FC236}">
                  <a16:creationId xmlns:a16="http://schemas.microsoft.com/office/drawing/2014/main" id="{259A0BEA-058B-4AB3-8CC5-EB4B60BCA66B}"/>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3" name="Freeform 164">
              <a:extLst>
                <a:ext uri="{FF2B5EF4-FFF2-40B4-BE49-F238E27FC236}">
                  <a16:creationId xmlns:a16="http://schemas.microsoft.com/office/drawing/2014/main" id="{F7102976-0D54-4E6A-A8A2-0802627670A1}"/>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4" name="Oval 165">
              <a:extLst>
                <a:ext uri="{FF2B5EF4-FFF2-40B4-BE49-F238E27FC236}">
                  <a16:creationId xmlns:a16="http://schemas.microsoft.com/office/drawing/2014/main" id="{A73E2ECB-1AFF-4676-A68D-95C53612498E}"/>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5" name="Oval 166">
              <a:extLst>
                <a:ext uri="{FF2B5EF4-FFF2-40B4-BE49-F238E27FC236}">
                  <a16:creationId xmlns:a16="http://schemas.microsoft.com/office/drawing/2014/main" id="{8C5D7800-D54D-4599-BC98-403D7D78616A}"/>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6" name="Freeform 167">
              <a:extLst>
                <a:ext uri="{FF2B5EF4-FFF2-40B4-BE49-F238E27FC236}">
                  <a16:creationId xmlns:a16="http://schemas.microsoft.com/office/drawing/2014/main" id="{A7476556-CAD9-41D1-9315-4BAE40B0B745}"/>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7" name="Freeform 168">
              <a:extLst>
                <a:ext uri="{FF2B5EF4-FFF2-40B4-BE49-F238E27FC236}">
                  <a16:creationId xmlns:a16="http://schemas.microsoft.com/office/drawing/2014/main" id="{8AD8C7F7-80C9-46B9-A195-7C70000D7D20}"/>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8" name="Freeform 169">
              <a:extLst>
                <a:ext uri="{FF2B5EF4-FFF2-40B4-BE49-F238E27FC236}">
                  <a16:creationId xmlns:a16="http://schemas.microsoft.com/office/drawing/2014/main" id="{6B5FA3E4-5CDA-41A5-94FC-4E7F413194F0}"/>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9" name="Freeform 170">
              <a:extLst>
                <a:ext uri="{FF2B5EF4-FFF2-40B4-BE49-F238E27FC236}">
                  <a16:creationId xmlns:a16="http://schemas.microsoft.com/office/drawing/2014/main" id="{F94FB37B-E96E-41E4-9A05-BE680890E6C1}"/>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0" name="Freeform 171">
              <a:extLst>
                <a:ext uri="{FF2B5EF4-FFF2-40B4-BE49-F238E27FC236}">
                  <a16:creationId xmlns:a16="http://schemas.microsoft.com/office/drawing/2014/main" id="{9DC8E128-106B-4B33-9187-08596EE91B9B}"/>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1" name="Freeform 172">
              <a:extLst>
                <a:ext uri="{FF2B5EF4-FFF2-40B4-BE49-F238E27FC236}">
                  <a16:creationId xmlns:a16="http://schemas.microsoft.com/office/drawing/2014/main" id="{A5A07D40-12A6-4D5A-9CC6-FC6BB3AE31D9}"/>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2" name="Freeform 173">
              <a:extLst>
                <a:ext uri="{FF2B5EF4-FFF2-40B4-BE49-F238E27FC236}">
                  <a16:creationId xmlns:a16="http://schemas.microsoft.com/office/drawing/2014/main" id="{195004B5-FB27-42DF-88E7-5B4247F1C870}"/>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3" name="Freeform 174">
              <a:extLst>
                <a:ext uri="{FF2B5EF4-FFF2-40B4-BE49-F238E27FC236}">
                  <a16:creationId xmlns:a16="http://schemas.microsoft.com/office/drawing/2014/main" id="{DB2A3982-FA7B-4968-88C5-7A6A8E75847A}"/>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57" name="Group 595">
            <a:extLst>
              <a:ext uri="{FF2B5EF4-FFF2-40B4-BE49-F238E27FC236}">
                <a16:creationId xmlns:a16="http://schemas.microsoft.com/office/drawing/2014/main" id="{7569CA4E-F6D0-4B61-9DCD-A5AF1725A41D}"/>
              </a:ext>
            </a:extLst>
          </p:cNvPr>
          <p:cNvGrpSpPr>
            <a:grpSpLocks noChangeAspect="1"/>
          </p:cNvGrpSpPr>
          <p:nvPr/>
        </p:nvGrpSpPr>
        <p:grpSpPr bwMode="auto">
          <a:xfrm>
            <a:off x="998712" y="4279567"/>
            <a:ext cx="509496" cy="509136"/>
            <a:chOff x="2499" y="790"/>
            <a:chExt cx="2832" cy="2830"/>
          </a:xfrm>
        </p:grpSpPr>
        <p:sp>
          <p:nvSpPr>
            <p:cNvPr id="1358" name="Oval 596">
              <a:extLst>
                <a:ext uri="{FF2B5EF4-FFF2-40B4-BE49-F238E27FC236}">
                  <a16:creationId xmlns:a16="http://schemas.microsoft.com/office/drawing/2014/main" id="{14AB5609-5119-4308-A304-D9A979E6D95E}"/>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9" name="Freeform 597">
              <a:extLst>
                <a:ext uri="{FF2B5EF4-FFF2-40B4-BE49-F238E27FC236}">
                  <a16:creationId xmlns:a16="http://schemas.microsoft.com/office/drawing/2014/main" id="{95A18BDB-4523-4BCD-B6AA-9C8B02DB8D30}"/>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0" name="Freeform 598">
              <a:extLst>
                <a:ext uri="{FF2B5EF4-FFF2-40B4-BE49-F238E27FC236}">
                  <a16:creationId xmlns:a16="http://schemas.microsoft.com/office/drawing/2014/main" id="{2E5D72FC-9DCA-4641-9E3E-DCAD340308D0}"/>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1" name="Freeform 599">
              <a:extLst>
                <a:ext uri="{FF2B5EF4-FFF2-40B4-BE49-F238E27FC236}">
                  <a16:creationId xmlns:a16="http://schemas.microsoft.com/office/drawing/2014/main" id="{684F7437-44BD-4B88-BFF4-5C948E806630}"/>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2" name="Freeform 600">
              <a:extLst>
                <a:ext uri="{FF2B5EF4-FFF2-40B4-BE49-F238E27FC236}">
                  <a16:creationId xmlns:a16="http://schemas.microsoft.com/office/drawing/2014/main" id="{4868A2BB-EC83-427B-9B72-FDD6D7EBCEB0}"/>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3" name="Freeform 601">
              <a:extLst>
                <a:ext uri="{FF2B5EF4-FFF2-40B4-BE49-F238E27FC236}">
                  <a16:creationId xmlns:a16="http://schemas.microsoft.com/office/drawing/2014/main" id="{5F30F668-23B3-45E0-AB35-2856847C220A}"/>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4" name="Freeform 602">
              <a:extLst>
                <a:ext uri="{FF2B5EF4-FFF2-40B4-BE49-F238E27FC236}">
                  <a16:creationId xmlns:a16="http://schemas.microsoft.com/office/drawing/2014/main" id="{4190B631-0C96-4CC0-BB87-C610AD9AA972}"/>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5" name="Freeform 603">
              <a:extLst>
                <a:ext uri="{FF2B5EF4-FFF2-40B4-BE49-F238E27FC236}">
                  <a16:creationId xmlns:a16="http://schemas.microsoft.com/office/drawing/2014/main" id="{3391BF36-B18E-4B81-B450-241057D30DC6}"/>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6" name="Freeform 604">
              <a:extLst>
                <a:ext uri="{FF2B5EF4-FFF2-40B4-BE49-F238E27FC236}">
                  <a16:creationId xmlns:a16="http://schemas.microsoft.com/office/drawing/2014/main" id="{730DC870-79BB-4D66-B906-91BB4726CF20}"/>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7" name="Freeform 605">
              <a:extLst>
                <a:ext uri="{FF2B5EF4-FFF2-40B4-BE49-F238E27FC236}">
                  <a16:creationId xmlns:a16="http://schemas.microsoft.com/office/drawing/2014/main" id="{F30C4AE2-BD6E-4FC0-B7DE-321DAEFDC51F}"/>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8" name="Freeform 606">
              <a:extLst>
                <a:ext uri="{FF2B5EF4-FFF2-40B4-BE49-F238E27FC236}">
                  <a16:creationId xmlns:a16="http://schemas.microsoft.com/office/drawing/2014/main" id="{A1BA6897-F3EC-4136-A52B-13AF341A63BB}"/>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9" name="Freeform 607">
              <a:extLst>
                <a:ext uri="{FF2B5EF4-FFF2-40B4-BE49-F238E27FC236}">
                  <a16:creationId xmlns:a16="http://schemas.microsoft.com/office/drawing/2014/main" id="{B16F67B1-BBED-4929-BDCC-73E07A424D44}"/>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0" name="Oval 608">
              <a:extLst>
                <a:ext uri="{FF2B5EF4-FFF2-40B4-BE49-F238E27FC236}">
                  <a16:creationId xmlns:a16="http://schemas.microsoft.com/office/drawing/2014/main" id="{9792468F-0E6F-4A32-9A6C-99A86A61F20A}"/>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1" name="Freeform 609">
              <a:extLst>
                <a:ext uri="{FF2B5EF4-FFF2-40B4-BE49-F238E27FC236}">
                  <a16:creationId xmlns:a16="http://schemas.microsoft.com/office/drawing/2014/main" id="{5D4824FF-058A-4280-91B7-589B26C780F0}"/>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2" name="Freeform 610">
              <a:extLst>
                <a:ext uri="{FF2B5EF4-FFF2-40B4-BE49-F238E27FC236}">
                  <a16:creationId xmlns:a16="http://schemas.microsoft.com/office/drawing/2014/main" id="{B3549B9A-E1E3-4846-BF88-E9538FE8D48C}"/>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3" name="Freeform 611">
              <a:extLst>
                <a:ext uri="{FF2B5EF4-FFF2-40B4-BE49-F238E27FC236}">
                  <a16:creationId xmlns:a16="http://schemas.microsoft.com/office/drawing/2014/main" id="{4FF98661-EB84-4792-B4AB-336C677A61D0}"/>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4" name="Freeform 612">
              <a:extLst>
                <a:ext uri="{FF2B5EF4-FFF2-40B4-BE49-F238E27FC236}">
                  <a16:creationId xmlns:a16="http://schemas.microsoft.com/office/drawing/2014/main" id="{EA371B4E-46E4-4751-881A-4D9C3E63F342}"/>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5" name="Freeform 613">
              <a:extLst>
                <a:ext uri="{FF2B5EF4-FFF2-40B4-BE49-F238E27FC236}">
                  <a16:creationId xmlns:a16="http://schemas.microsoft.com/office/drawing/2014/main" id="{7F8A8EA3-2C1B-4C70-AF3B-2D9518083B86}"/>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6" name="Freeform 614">
              <a:extLst>
                <a:ext uri="{FF2B5EF4-FFF2-40B4-BE49-F238E27FC236}">
                  <a16:creationId xmlns:a16="http://schemas.microsoft.com/office/drawing/2014/main" id="{8CA0B541-7342-4C72-B21E-283DEF5D4259}"/>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77" name="Group 925">
            <a:extLst>
              <a:ext uri="{FF2B5EF4-FFF2-40B4-BE49-F238E27FC236}">
                <a16:creationId xmlns:a16="http://schemas.microsoft.com/office/drawing/2014/main" id="{8D6B3715-DD2C-4A30-A82E-26A74BF0215D}"/>
              </a:ext>
            </a:extLst>
          </p:cNvPr>
          <p:cNvGrpSpPr>
            <a:grpSpLocks noChangeAspect="1"/>
          </p:cNvGrpSpPr>
          <p:nvPr/>
        </p:nvGrpSpPr>
        <p:grpSpPr bwMode="auto">
          <a:xfrm>
            <a:off x="999284" y="5320734"/>
            <a:ext cx="508352" cy="509136"/>
            <a:chOff x="2619" y="903"/>
            <a:chExt cx="2592" cy="2596"/>
          </a:xfrm>
        </p:grpSpPr>
        <p:sp>
          <p:nvSpPr>
            <p:cNvPr id="1378" name="Oval 926">
              <a:extLst>
                <a:ext uri="{FF2B5EF4-FFF2-40B4-BE49-F238E27FC236}">
                  <a16:creationId xmlns:a16="http://schemas.microsoft.com/office/drawing/2014/main" id="{140FE46C-B792-4989-A20A-415E68E44ADF}"/>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9" name="Freeform 927">
              <a:extLst>
                <a:ext uri="{FF2B5EF4-FFF2-40B4-BE49-F238E27FC236}">
                  <a16:creationId xmlns:a16="http://schemas.microsoft.com/office/drawing/2014/main" id="{95EE4120-685B-4226-B3A7-517607CB89CC}"/>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0" name="Freeform 928">
              <a:extLst>
                <a:ext uri="{FF2B5EF4-FFF2-40B4-BE49-F238E27FC236}">
                  <a16:creationId xmlns:a16="http://schemas.microsoft.com/office/drawing/2014/main" id="{FD3769EE-D4AF-4103-A7B0-684ACE3C6155}"/>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1" name="Freeform 929">
              <a:extLst>
                <a:ext uri="{FF2B5EF4-FFF2-40B4-BE49-F238E27FC236}">
                  <a16:creationId xmlns:a16="http://schemas.microsoft.com/office/drawing/2014/main" id="{51CA98AF-1C59-4291-B06B-14FE0B8A0FF3}"/>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2" name="Freeform 930">
              <a:extLst>
                <a:ext uri="{FF2B5EF4-FFF2-40B4-BE49-F238E27FC236}">
                  <a16:creationId xmlns:a16="http://schemas.microsoft.com/office/drawing/2014/main" id="{1DE8EDFF-631D-4894-9F27-4B1DA50D6B4E}"/>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3" name="Freeform 931">
              <a:extLst>
                <a:ext uri="{FF2B5EF4-FFF2-40B4-BE49-F238E27FC236}">
                  <a16:creationId xmlns:a16="http://schemas.microsoft.com/office/drawing/2014/main" id="{028A8090-9251-4D90-B4E7-C5550061AEA2}"/>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4" name="Freeform 932">
              <a:extLst>
                <a:ext uri="{FF2B5EF4-FFF2-40B4-BE49-F238E27FC236}">
                  <a16:creationId xmlns:a16="http://schemas.microsoft.com/office/drawing/2014/main" id="{56815D6C-F240-4663-A826-68D87BC12035}"/>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5" name="Freeform 933">
              <a:extLst>
                <a:ext uri="{FF2B5EF4-FFF2-40B4-BE49-F238E27FC236}">
                  <a16:creationId xmlns:a16="http://schemas.microsoft.com/office/drawing/2014/main" id="{62BD7AAC-F5BF-48F5-8028-5C1F4AFDC4A5}"/>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6" name="Freeform 934">
              <a:extLst>
                <a:ext uri="{FF2B5EF4-FFF2-40B4-BE49-F238E27FC236}">
                  <a16:creationId xmlns:a16="http://schemas.microsoft.com/office/drawing/2014/main" id="{839C3B57-2E32-4E97-90CF-07F12A575AC9}"/>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7" name="Freeform 935">
              <a:extLst>
                <a:ext uri="{FF2B5EF4-FFF2-40B4-BE49-F238E27FC236}">
                  <a16:creationId xmlns:a16="http://schemas.microsoft.com/office/drawing/2014/main" id="{5E556F00-2E9A-469F-A9B5-8FE408992E68}"/>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8" name="Freeform 936">
              <a:extLst>
                <a:ext uri="{FF2B5EF4-FFF2-40B4-BE49-F238E27FC236}">
                  <a16:creationId xmlns:a16="http://schemas.microsoft.com/office/drawing/2014/main" id="{19D918CB-F61A-424C-B1EA-86B4361FBEE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9" name="Freeform 937">
              <a:extLst>
                <a:ext uri="{FF2B5EF4-FFF2-40B4-BE49-F238E27FC236}">
                  <a16:creationId xmlns:a16="http://schemas.microsoft.com/office/drawing/2014/main" id="{A42C3B8B-63FF-496D-8D91-0A9DE88129C4}"/>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0" name="Freeform 938">
              <a:extLst>
                <a:ext uri="{FF2B5EF4-FFF2-40B4-BE49-F238E27FC236}">
                  <a16:creationId xmlns:a16="http://schemas.microsoft.com/office/drawing/2014/main" id="{78C1A20E-F8A9-4371-803D-F3CEBBC0F440}"/>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1" name="Oval 939">
              <a:extLst>
                <a:ext uri="{FF2B5EF4-FFF2-40B4-BE49-F238E27FC236}">
                  <a16:creationId xmlns:a16="http://schemas.microsoft.com/office/drawing/2014/main" id="{CDB0D152-B483-4FB7-8C12-C91B9556944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2" name="Oval 940">
              <a:extLst>
                <a:ext uri="{FF2B5EF4-FFF2-40B4-BE49-F238E27FC236}">
                  <a16:creationId xmlns:a16="http://schemas.microsoft.com/office/drawing/2014/main" id="{8DFC285B-EBDB-4AF7-9C91-7049321361FE}"/>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3" name="Freeform 941">
              <a:extLst>
                <a:ext uri="{FF2B5EF4-FFF2-40B4-BE49-F238E27FC236}">
                  <a16:creationId xmlns:a16="http://schemas.microsoft.com/office/drawing/2014/main" id="{CF25EB41-22F3-4B5C-BF03-D98B69F7D8E9}"/>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4" name="Freeform 942">
              <a:extLst>
                <a:ext uri="{FF2B5EF4-FFF2-40B4-BE49-F238E27FC236}">
                  <a16:creationId xmlns:a16="http://schemas.microsoft.com/office/drawing/2014/main" id="{505C8CC7-DCFC-4D3B-BE77-4DDC5C2BCED9}"/>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5" name="Freeform 943">
              <a:extLst>
                <a:ext uri="{FF2B5EF4-FFF2-40B4-BE49-F238E27FC236}">
                  <a16:creationId xmlns:a16="http://schemas.microsoft.com/office/drawing/2014/main" id="{03779D25-4667-4891-8D42-4FB4A862F955}"/>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a:extLst>
              <a:ext uri="{FF2B5EF4-FFF2-40B4-BE49-F238E27FC236}">
                <a16:creationId xmlns:a16="http://schemas.microsoft.com/office/drawing/2014/main" id="{0712C16B-C8BF-48F4-B522-CE020A53F773}"/>
              </a:ext>
            </a:extLst>
          </p:cNvPr>
          <p:cNvGrpSpPr/>
          <p:nvPr/>
        </p:nvGrpSpPr>
        <p:grpSpPr>
          <a:xfrm>
            <a:off x="3182919" y="3107320"/>
            <a:ext cx="405583" cy="2853630"/>
            <a:chOff x="3108403" y="3121341"/>
            <a:chExt cx="405583" cy="2853630"/>
          </a:xfrm>
        </p:grpSpPr>
        <p:grpSp>
          <p:nvGrpSpPr>
            <p:cNvPr id="1396" name="Group 1395">
              <a:extLst>
                <a:ext uri="{FF2B5EF4-FFF2-40B4-BE49-F238E27FC236}">
                  <a16:creationId xmlns:a16="http://schemas.microsoft.com/office/drawing/2014/main" id="{3A78C678-D953-4A36-AE05-3A40FB0AE340}"/>
                </a:ext>
              </a:extLst>
            </p:cNvPr>
            <p:cNvGrpSpPr/>
            <p:nvPr/>
          </p:nvGrpSpPr>
          <p:grpSpPr>
            <a:xfrm>
              <a:off x="3108403" y="3121341"/>
              <a:ext cx="405583" cy="771296"/>
              <a:chOff x="5094287" y="4557713"/>
              <a:chExt cx="460376" cy="971549"/>
            </a:xfrm>
          </p:grpSpPr>
          <p:sp>
            <p:nvSpPr>
              <p:cNvPr id="1397" name="AutoShape 38">
                <a:extLst>
                  <a:ext uri="{FF2B5EF4-FFF2-40B4-BE49-F238E27FC236}">
                    <a16:creationId xmlns:a16="http://schemas.microsoft.com/office/drawing/2014/main" id="{33FEF39A-888C-43EE-8AFD-A73D437E8F43}"/>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8" name="Freeform 40">
                <a:extLst>
                  <a:ext uri="{FF2B5EF4-FFF2-40B4-BE49-F238E27FC236}">
                    <a16:creationId xmlns:a16="http://schemas.microsoft.com/office/drawing/2014/main" id="{360CDA9A-B22E-43A5-88FE-BD763A2EAE14}"/>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9" name="Rectangle 41">
                <a:extLst>
                  <a:ext uri="{FF2B5EF4-FFF2-40B4-BE49-F238E27FC236}">
                    <a16:creationId xmlns:a16="http://schemas.microsoft.com/office/drawing/2014/main" id="{5177D9E0-FC8B-4491-9849-90891786D58F}"/>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0" name="Rectangle 42">
                <a:extLst>
                  <a:ext uri="{FF2B5EF4-FFF2-40B4-BE49-F238E27FC236}">
                    <a16:creationId xmlns:a16="http://schemas.microsoft.com/office/drawing/2014/main" id="{D10CD604-02DB-4D00-8ACB-2EB3E2ADE202}"/>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1" name="Freeform 43">
                <a:extLst>
                  <a:ext uri="{FF2B5EF4-FFF2-40B4-BE49-F238E27FC236}">
                    <a16:creationId xmlns:a16="http://schemas.microsoft.com/office/drawing/2014/main" id="{067A7C55-C037-43D5-A331-3A13524F895A}"/>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2" name="Rectangle 44">
                <a:extLst>
                  <a:ext uri="{FF2B5EF4-FFF2-40B4-BE49-F238E27FC236}">
                    <a16:creationId xmlns:a16="http://schemas.microsoft.com/office/drawing/2014/main" id="{199A342A-8F4C-41A6-9166-A70F1622ABC0}"/>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3" name="Rectangle 45">
                <a:extLst>
                  <a:ext uri="{FF2B5EF4-FFF2-40B4-BE49-F238E27FC236}">
                    <a16:creationId xmlns:a16="http://schemas.microsoft.com/office/drawing/2014/main" id="{B816CDEC-B0B5-4D20-9F0F-5F9621DCA07F}"/>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4" name="Freeform 46">
                <a:extLst>
                  <a:ext uri="{FF2B5EF4-FFF2-40B4-BE49-F238E27FC236}">
                    <a16:creationId xmlns:a16="http://schemas.microsoft.com/office/drawing/2014/main" id="{89E1391D-02DE-42D0-9B44-BC83782C7B6F}"/>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5" name="Rectangle 47">
                <a:extLst>
                  <a:ext uri="{FF2B5EF4-FFF2-40B4-BE49-F238E27FC236}">
                    <a16:creationId xmlns:a16="http://schemas.microsoft.com/office/drawing/2014/main" id="{47C9801B-CC86-4661-BB10-A5181E3AE94A}"/>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6" name="Rectangle 48">
                <a:extLst>
                  <a:ext uri="{FF2B5EF4-FFF2-40B4-BE49-F238E27FC236}">
                    <a16:creationId xmlns:a16="http://schemas.microsoft.com/office/drawing/2014/main" id="{E442FA0B-1424-4764-B5E3-74EE46A24156}"/>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7" name="Freeform 49">
                <a:extLst>
                  <a:ext uri="{FF2B5EF4-FFF2-40B4-BE49-F238E27FC236}">
                    <a16:creationId xmlns:a16="http://schemas.microsoft.com/office/drawing/2014/main" id="{3DB8C42B-A51D-4C47-82C5-A0A96072ED24}"/>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8" name="Rectangle 50">
                <a:extLst>
                  <a:ext uri="{FF2B5EF4-FFF2-40B4-BE49-F238E27FC236}">
                    <a16:creationId xmlns:a16="http://schemas.microsoft.com/office/drawing/2014/main" id="{45FCEFB2-B0F7-4CD6-AD83-13906F52E87D}"/>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9" name="Rectangle 51">
                <a:extLst>
                  <a:ext uri="{FF2B5EF4-FFF2-40B4-BE49-F238E27FC236}">
                    <a16:creationId xmlns:a16="http://schemas.microsoft.com/office/drawing/2014/main" id="{4396C7E9-CCD6-4762-BC5B-9A7D935E2221}"/>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0" name="Freeform 52">
                <a:extLst>
                  <a:ext uri="{FF2B5EF4-FFF2-40B4-BE49-F238E27FC236}">
                    <a16:creationId xmlns:a16="http://schemas.microsoft.com/office/drawing/2014/main" id="{6250E954-E7C4-4525-899F-65FAEAA826B6}"/>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1" name="Rectangle 53">
                <a:extLst>
                  <a:ext uri="{FF2B5EF4-FFF2-40B4-BE49-F238E27FC236}">
                    <a16:creationId xmlns:a16="http://schemas.microsoft.com/office/drawing/2014/main" id="{5A8A3081-783E-46B1-8DD7-45C6BFBEA3F8}"/>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2" name="Rectangle 54">
                <a:extLst>
                  <a:ext uri="{FF2B5EF4-FFF2-40B4-BE49-F238E27FC236}">
                    <a16:creationId xmlns:a16="http://schemas.microsoft.com/office/drawing/2014/main" id="{649C46D6-B2CE-4F84-9B71-69746024E1FD}"/>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3" name="Freeform 55">
                <a:extLst>
                  <a:ext uri="{FF2B5EF4-FFF2-40B4-BE49-F238E27FC236}">
                    <a16:creationId xmlns:a16="http://schemas.microsoft.com/office/drawing/2014/main" id="{95035C7F-C743-4BE1-B1EB-94F75B6A1976}"/>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4" name="Rectangle 56">
                <a:extLst>
                  <a:ext uri="{FF2B5EF4-FFF2-40B4-BE49-F238E27FC236}">
                    <a16:creationId xmlns:a16="http://schemas.microsoft.com/office/drawing/2014/main" id="{3D1D6271-3165-48A0-B91A-1F248E06E12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5" name="Rectangle 57">
                <a:extLst>
                  <a:ext uri="{FF2B5EF4-FFF2-40B4-BE49-F238E27FC236}">
                    <a16:creationId xmlns:a16="http://schemas.microsoft.com/office/drawing/2014/main" id="{B0E075FD-EA23-48AD-84F5-F156AEE59CE7}"/>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6" name="Freeform 58">
                <a:extLst>
                  <a:ext uri="{FF2B5EF4-FFF2-40B4-BE49-F238E27FC236}">
                    <a16:creationId xmlns:a16="http://schemas.microsoft.com/office/drawing/2014/main" id="{7B9C2B7F-A606-477D-A40A-BDE383389C07}"/>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7" name="Rectangle 59">
                <a:extLst>
                  <a:ext uri="{FF2B5EF4-FFF2-40B4-BE49-F238E27FC236}">
                    <a16:creationId xmlns:a16="http://schemas.microsoft.com/office/drawing/2014/main" id="{E471C171-7ABF-4A0C-85F5-35CAF2E3094D}"/>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8" name="Rectangle 60">
                <a:extLst>
                  <a:ext uri="{FF2B5EF4-FFF2-40B4-BE49-F238E27FC236}">
                    <a16:creationId xmlns:a16="http://schemas.microsoft.com/office/drawing/2014/main" id="{C1834C3D-A8AC-4F7A-A067-235DDB645A73}"/>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9" name="Freeform 61">
                <a:extLst>
                  <a:ext uri="{FF2B5EF4-FFF2-40B4-BE49-F238E27FC236}">
                    <a16:creationId xmlns:a16="http://schemas.microsoft.com/office/drawing/2014/main" id="{252D4D30-5836-45A6-84B4-AA381B20D26A}"/>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0" name="Rectangle 62">
                <a:extLst>
                  <a:ext uri="{FF2B5EF4-FFF2-40B4-BE49-F238E27FC236}">
                    <a16:creationId xmlns:a16="http://schemas.microsoft.com/office/drawing/2014/main" id="{A70364E7-E85F-40B1-9F75-47BA7A08A786}"/>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1" name="Rectangle 63">
                <a:extLst>
                  <a:ext uri="{FF2B5EF4-FFF2-40B4-BE49-F238E27FC236}">
                    <a16:creationId xmlns:a16="http://schemas.microsoft.com/office/drawing/2014/main" id="{5C44D944-4A40-4F2D-8F1C-C1977AF655A6}"/>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2" name="Freeform 64">
                <a:extLst>
                  <a:ext uri="{FF2B5EF4-FFF2-40B4-BE49-F238E27FC236}">
                    <a16:creationId xmlns:a16="http://schemas.microsoft.com/office/drawing/2014/main" id="{F19AD7D2-9420-43A0-9172-29E9DB886DB1}"/>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3" name="Rectangle 65">
                <a:extLst>
                  <a:ext uri="{FF2B5EF4-FFF2-40B4-BE49-F238E27FC236}">
                    <a16:creationId xmlns:a16="http://schemas.microsoft.com/office/drawing/2014/main" id="{D016AEEB-F879-40F3-9454-6458AD675AE5}"/>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4" name="Rectangle 66">
                <a:extLst>
                  <a:ext uri="{FF2B5EF4-FFF2-40B4-BE49-F238E27FC236}">
                    <a16:creationId xmlns:a16="http://schemas.microsoft.com/office/drawing/2014/main" id="{DB5F8124-43AD-4B3B-AEB4-D7DCA1350A19}"/>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5" name="Freeform 67">
                <a:extLst>
                  <a:ext uri="{FF2B5EF4-FFF2-40B4-BE49-F238E27FC236}">
                    <a16:creationId xmlns:a16="http://schemas.microsoft.com/office/drawing/2014/main" id="{DC3ECE3C-7793-47CF-81AB-6BA4FF4A220D}"/>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6" name="Freeform 68">
                <a:extLst>
                  <a:ext uri="{FF2B5EF4-FFF2-40B4-BE49-F238E27FC236}">
                    <a16:creationId xmlns:a16="http://schemas.microsoft.com/office/drawing/2014/main" id="{450FEF35-490D-4F04-B6D9-729AAFA3ECF9}"/>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7" name="Freeform 69">
                <a:extLst>
                  <a:ext uri="{FF2B5EF4-FFF2-40B4-BE49-F238E27FC236}">
                    <a16:creationId xmlns:a16="http://schemas.microsoft.com/office/drawing/2014/main" id="{E96AF782-42BE-4A7D-AA9B-4A4DF38195CB}"/>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8" name="Freeform 70">
                <a:extLst>
                  <a:ext uri="{FF2B5EF4-FFF2-40B4-BE49-F238E27FC236}">
                    <a16:creationId xmlns:a16="http://schemas.microsoft.com/office/drawing/2014/main" id="{681CAB62-516C-4BF3-83DD-D2864799B068}"/>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9" name="Freeform 71">
                <a:extLst>
                  <a:ext uri="{FF2B5EF4-FFF2-40B4-BE49-F238E27FC236}">
                    <a16:creationId xmlns:a16="http://schemas.microsoft.com/office/drawing/2014/main" id="{79AAD0C2-56FA-4512-8D07-78BE9D999590}"/>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0" name="Freeform 72">
                <a:extLst>
                  <a:ext uri="{FF2B5EF4-FFF2-40B4-BE49-F238E27FC236}">
                    <a16:creationId xmlns:a16="http://schemas.microsoft.com/office/drawing/2014/main" id="{1C07A131-263D-4B02-AE0B-5A4130B444C2}"/>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1" name="Freeform 73">
                <a:extLst>
                  <a:ext uri="{FF2B5EF4-FFF2-40B4-BE49-F238E27FC236}">
                    <a16:creationId xmlns:a16="http://schemas.microsoft.com/office/drawing/2014/main" id="{CF21ED48-D51D-4A3C-A627-84A1AA0C3649}"/>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2" name="Freeform 74">
                <a:extLst>
                  <a:ext uri="{FF2B5EF4-FFF2-40B4-BE49-F238E27FC236}">
                    <a16:creationId xmlns:a16="http://schemas.microsoft.com/office/drawing/2014/main" id="{AC7CD20A-E374-4DA0-B892-DA87BEB9D47A}"/>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3" name="Freeform 75">
                <a:extLst>
                  <a:ext uri="{FF2B5EF4-FFF2-40B4-BE49-F238E27FC236}">
                    <a16:creationId xmlns:a16="http://schemas.microsoft.com/office/drawing/2014/main" id="{6CD5B009-3B6A-4E5A-B194-7BD73FC714F2}"/>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4" name="Freeform 76">
                <a:extLst>
                  <a:ext uri="{FF2B5EF4-FFF2-40B4-BE49-F238E27FC236}">
                    <a16:creationId xmlns:a16="http://schemas.microsoft.com/office/drawing/2014/main" id="{2E9A521E-87A1-4CF2-8E14-5B6D1CE535EC}"/>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5" name="Rectangle 77">
                <a:extLst>
                  <a:ext uri="{FF2B5EF4-FFF2-40B4-BE49-F238E27FC236}">
                    <a16:creationId xmlns:a16="http://schemas.microsoft.com/office/drawing/2014/main" id="{99230FB1-A4CB-45B7-9C7C-81CD5E9BAFD1}"/>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6" name="Freeform 78">
                <a:extLst>
                  <a:ext uri="{FF2B5EF4-FFF2-40B4-BE49-F238E27FC236}">
                    <a16:creationId xmlns:a16="http://schemas.microsoft.com/office/drawing/2014/main" id="{C818ED5C-5672-43C0-B339-1BBFBF1F7A67}"/>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7" name="Rectangle 79">
                <a:extLst>
                  <a:ext uri="{FF2B5EF4-FFF2-40B4-BE49-F238E27FC236}">
                    <a16:creationId xmlns:a16="http://schemas.microsoft.com/office/drawing/2014/main" id="{599D463A-300D-4FA7-9BB7-7E5542E434A7}"/>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8" name="Freeform 80">
                <a:extLst>
                  <a:ext uri="{FF2B5EF4-FFF2-40B4-BE49-F238E27FC236}">
                    <a16:creationId xmlns:a16="http://schemas.microsoft.com/office/drawing/2014/main" id="{792A2BDA-FB9B-423D-A288-2D44E95B68B1}"/>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9" name="Rectangle 81">
                <a:extLst>
                  <a:ext uri="{FF2B5EF4-FFF2-40B4-BE49-F238E27FC236}">
                    <a16:creationId xmlns:a16="http://schemas.microsoft.com/office/drawing/2014/main" id="{163D6785-A03E-48FF-936F-A15A5B8437BC}"/>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40" name="Freeform 82">
                <a:extLst>
                  <a:ext uri="{FF2B5EF4-FFF2-40B4-BE49-F238E27FC236}">
                    <a16:creationId xmlns:a16="http://schemas.microsoft.com/office/drawing/2014/main" id="{5707E221-E7DF-4D8A-8365-3B969EB54032}"/>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1" name="Rectangle 83">
                <a:extLst>
                  <a:ext uri="{FF2B5EF4-FFF2-40B4-BE49-F238E27FC236}">
                    <a16:creationId xmlns:a16="http://schemas.microsoft.com/office/drawing/2014/main" id="{9EC1DB01-CBC1-4430-9500-63C598FE3CC9}"/>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42" name="Freeform 84">
                <a:extLst>
                  <a:ext uri="{FF2B5EF4-FFF2-40B4-BE49-F238E27FC236}">
                    <a16:creationId xmlns:a16="http://schemas.microsoft.com/office/drawing/2014/main" id="{6F317098-3112-4DEB-A52C-ACB8FFB76D10}"/>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43" name="Group 1442">
              <a:extLst>
                <a:ext uri="{FF2B5EF4-FFF2-40B4-BE49-F238E27FC236}">
                  <a16:creationId xmlns:a16="http://schemas.microsoft.com/office/drawing/2014/main" id="{60F6986F-5A8E-4CFB-BC9E-F2103D67D002}"/>
                </a:ext>
              </a:extLst>
            </p:cNvPr>
            <p:cNvGrpSpPr/>
            <p:nvPr/>
          </p:nvGrpSpPr>
          <p:grpSpPr>
            <a:xfrm>
              <a:off x="3108403" y="4162508"/>
              <a:ext cx="405583" cy="771296"/>
              <a:chOff x="5094287" y="4557713"/>
              <a:chExt cx="460376" cy="971549"/>
            </a:xfrm>
          </p:grpSpPr>
          <p:sp>
            <p:nvSpPr>
              <p:cNvPr id="1444" name="AutoShape 38">
                <a:extLst>
                  <a:ext uri="{FF2B5EF4-FFF2-40B4-BE49-F238E27FC236}">
                    <a16:creationId xmlns:a16="http://schemas.microsoft.com/office/drawing/2014/main" id="{8F2619C4-C201-44A6-93A3-89753A772237}"/>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5" name="Freeform 40">
                <a:extLst>
                  <a:ext uri="{FF2B5EF4-FFF2-40B4-BE49-F238E27FC236}">
                    <a16:creationId xmlns:a16="http://schemas.microsoft.com/office/drawing/2014/main" id="{A94A5E87-7381-4301-9C45-7AA7859E0EE1}"/>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6" name="Rectangle 41">
                <a:extLst>
                  <a:ext uri="{FF2B5EF4-FFF2-40B4-BE49-F238E27FC236}">
                    <a16:creationId xmlns:a16="http://schemas.microsoft.com/office/drawing/2014/main" id="{F1D9CBF8-685A-417F-9C1D-243C0141DBA6}"/>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47" name="Rectangle 42">
                <a:extLst>
                  <a:ext uri="{FF2B5EF4-FFF2-40B4-BE49-F238E27FC236}">
                    <a16:creationId xmlns:a16="http://schemas.microsoft.com/office/drawing/2014/main" id="{11F07E83-157E-40C2-8456-79F98005ECA2}"/>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48" name="Freeform 43">
                <a:extLst>
                  <a:ext uri="{FF2B5EF4-FFF2-40B4-BE49-F238E27FC236}">
                    <a16:creationId xmlns:a16="http://schemas.microsoft.com/office/drawing/2014/main" id="{4EC162E2-DC72-4D73-B55B-E47E1AAFF9CB}"/>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9" name="Rectangle 44">
                <a:extLst>
                  <a:ext uri="{FF2B5EF4-FFF2-40B4-BE49-F238E27FC236}">
                    <a16:creationId xmlns:a16="http://schemas.microsoft.com/office/drawing/2014/main" id="{68CC8771-B41D-49A7-B4E6-2CFB107A49A0}"/>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50" name="Rectangle 45">
                <a:extLst>
                  <a:ext uri="{FF2B5EF4-FFF2-40B4-BE49-F238E27FC236}">
                    <a16:creationId xmlns:a16="http://schemas.microsoft.com/office/drawing/2014/main" id="{C38EC037-F3DD-423B-8CDE-EF58D21DA6AC}"/>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51" name="Freeform 46">
                <a:extLst>
                  <a:ext uri="{FF2B5EF4-FFF2-40B4-BE49-F238E27FC236}">
                    <a16:creationId xmlns:a16="http://schemas.microsoft.com/office/drawing/2014/main" id="{268D083A-4F58-42F2-9C5B-F49408770AB2}"/>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2" name="Rectangle 47">
                <a:extLst>
                  <a:ext uri="{FF2B5EF4-FFF2-40B4-BE49-F238E27FC236}">
                    <a16:creationId xmlns:a16="http://schemas.microsoft.com/office/drawing/2014/main" id="{272F2AC0-294C-4A87-9C40-79559A0A4693}"/>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53" name="Rectangle 48">
                <a:extLst>
                  <a:ext uri="{FF2B5EF4-FFF2-40B4-BE49-F238E27FC236}">
                    <a16:creationId xmlns:a16="http://schemas.microsoft.com/office/drawing/2014/main" id="{23E996CA-1AA9-44C9-BC5C-823B0ADE9589}"/>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54" name="Freeform 49">
                <a:extLst>
                  <a:ext uri="{FF2B5EF4-FFF2-40B4-BE49-F238E27FC236}">
                    <a16:creationId xmlns:a16="http://schemas.microsoft.com/office/drawing/2014/main" id="{74ED0428-8245-4AC9-A0EB-49EF810DE672}"/>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5" name="Rectangle 50">
                <a:extLst>
                  <a:ext uri="{FF2B5EF4-FFF2-40B4-BE49-F238E27FC236}">
                    <a16:creationId xmlns:a16="http://schemas.microsoft.com/office/drawing/2014/main" id="{B295E65F-4793-42F4-816B-2D321393F8A8}"/>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56" name="Rectangle 51">
                <a:extLst>
                  <a:ext uri="{FF2B5EF4-FFF2-40B4-BE49-F238E27FC236}">
                    <a16:creationId xmlns:a16="http://schemas.microsoft.com/office/drawing/2014/main" id="{FCFDB75F-F922-403F-97A8-72F7CACED242}"/>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57" name="Freeform 52">
                <a:extLst>
                  <a:ext uri="{FF2B5EF4-FFF2-40B4-BE49-F238E27FC236}">
                    <a16:creationId xmlns:a16="http://schemas.microsoft.com/office/drawing/2014/main" id="{A56F07CC-75DD-46B5-A374-0B6B2F643DE5}"/>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8" name="Rectangle 53">
                <a:extLst>
                  <a:ext uri="{FF2B5EF4-FFF2-40B4-BE49-F238E27FC236}">
                    <a16:creationId xmlns:a16="http://schemas.microsoft.com/office/drawing/2014/main" id="{31361E68-BE6A-48BC-BA3C-B6C7D47C5A2B}"/>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59" name="Rectangle 54">
                <a:extLst>
                  <a:ext uri="{FF2B5EF4-FFF2-40B4-BE49-F238E27FC236}">
                    <a16:creationId xmlns:a16="http://schemas.microsoft.com/office/drawing/2014/main" id="{D9654731-D028-4C8F-8234-477A8BD2565A}"/>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60" name="Freeform 55">
                <a:extLst>
                  <a:ext uri="{FF2B5EF4-FFF2-40B4-BE49-F238E27FC236}">
                    <a16:creationId xmlns:a16="http://schemas.microsoft.com/office/drawing/2014/main" id="{1DB7512B-4C00-4C71-94A0-B856485843C5}"/>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1" name="Rectangle 56">
                <a:extLst>
                  <a:ext uri="{FF2B5EF4-FFF2-40B4-BE49-F238E27FC236}">
                    <a16:creationId xmlns:a16="http://schemas.microsoft.com/office/drawing/2014/main" id="{C6FC5FAB-C53F-42CB-9C8A-20A74B279F18}"/>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62" name="Rectangle 57">
                <a:extLst>
                  <a:ext uri="{FF2B5EF4-FFF2-40B4-BE49-F238E27FC236}">
                    <a16:creationId xmlns:a16="http://schemas.microsoft.com/office/drawing/2014/main" id="{5E776D1D-4AD3-4DA1-90C6-8EE2E214F627}"/>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63" name="Freeform 58">
                <a:extLst>
                  <a:ext uri="{FF2B5EF4-FFF2-40B4-BE49-F238E27FC236}">
                    <a16:creationId xmlns:a16="http://schemas.microsoft.com/office/drawing/2014/main" id="{EE5A2E39-6F03-4052-AB18-EC3B5FF3DA99}"/>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4" name="Rectangle 59">
                <a:extLst>
                  <a:ext uri="{FF2B5EF4-FFF2-40B4-BE49-F238E27FC236}">
                    <a16:creationId xmlns:a16="http://schemas.microsoft.com/office/drawing/2014/main" id="{17D1765F-AF02-40C4-9375-60A812D38E4A}"/>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65" name="Rectangle 60">
                <a:extLst>
                  <a:ext uri="{FF2B5EF4-FFF2-40B4-BE49-F238E27FC236}">
                    <a16:creationId xmlns:a16="http://schemas.microsoft.com/office/drawing/2014/main" id="{5979C3B4-14FE-461B-8D9B-55DE6767C61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66" name="Freeform 61">
                <a:extLst>
                  <a:ext uri="{FF2B5EF4-FFF2-40B4-BE49-F238E27FC236}">
                    <a16:creationId xmlns:a16="http://schemas.microsoft.com/office/drawing/2014/main" id="{3B9965BE-510B-4F9A-895E-5D441FD4F1EE}"/>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7" name="Rectangle 62">
                <a:extLst>
                  <a:ext uri="{FF2B5EF4-FFF2-40B4-BE49-F238E27FC236}">
                    <a16:creationId xmlns:a16="http://schemas.microsoft.com/office/drawing/2014/main" id="{BA25C060-A772-48D6-AD69-315EDA687F57}"/>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68" name="Rectangle 63">
                <a:extLst>
                  <a:ext uri="{FF2B5EF4-FFF2-40B4-BE49-F238E27FC236}">
                    <a16:creationId xmlns:a16="http://schemas.microsoft.com/office/drawing/2014/main" id="{F6AEE938-FAA5-4235-9948-85BE75353142}"/>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69" name="Freeform 64">
                <a:extLst>
                  <a:ext uri="{FF2B5EF4-FFF2-40B4-BE49-F238E27FC236}">
                    <a16:creationId xmlns:a16="http://schemas.microsoft.com/office/drawing/2014/main" id="{0517D364-08DA-41EE-827A-421D8A82D1AD}"/>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0" name="Rectangle 65">
                <a:extLst>
                  <a:ext uri="{FF2B5EF4-FFF2-40B4-BE49-F238E27FC236}">
                    <a16:creationId xmlns:a16="http://schemas.microsoft.com/office/drawing/2014/main" id="{82CB0518-008F-4B12-B326-F826170AAFED}"/>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1" name="Rectangle 66">
                <a:extLst>
                  <a:ext uri="{FF2B5EF4-FFF2-40B4-BE49-F238E27FC236}">
                    <a16:creationId xmlns:a16="http://schemas.microsoft.com/office/drawing/2014/main" id="{77032C20-7F12-4C9A-9403-C6EA1DD5578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2" name="Freeform 67">
                <a:extLst>
                  <a:ext uri="{FF2B5EF4-FFF2-40B4-BE49-F238E27FC236}">
                    <a16:creationId xmlns:a16="http://schemas.microsoft.com/office/drawing/2014/main" id="{3FAB5BFF-4EC6-4F47-A3C4-4F5C6C22490E}"/>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3" name="Freeform 68">
                <a:extLst>
                  <a:ext uri="{FF2B5EF4-FFF2-40B4-BE49-F238E27FC236}">
                    <a16:creationId xmlns:a16="http://schemas.microsoft.com/office/drawing/2014/main" id="{804A4AE9-BE72-445F-A336-8C4B86DCD0EB}"/>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4" name="Freeform 69">
                <a:extLst>
                  <a:ext uri="{FF2B5EF4-FFF2-40B4-BE49-F238E27FC236}">
                    <a16:creationId xmlns:a16="http://schemas.microsoft.com/office/drawing/2014/main" id="{F1688184-7BB8-425E-82E8-9797C3C4D1F9}"/>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5" name="Freeform 70">
                <a:extLst>
                  <a:ext uri="{FF2B5EF4-FFF2-40B4-BE49-F238E27FC236}">
                    <a16:creationId xmlns:a16="http://schemas.microsoft.com/office/drawing/2014/main" id="{6556C3DE-5DF4-4A83-94C9-FF8639F166E3}"/>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6" name="Freeform 71">
                <a:extLst>
                  <a:ext uri="{FF2B5EF4-FFF2-40B4-BE49-F238E27FC236}">
                    <a16:creationId xmlns:a16="http://schemas.microsoft.com/office/drawing/2014/main" id="{AB192D5B-E88E-4A84-87BF-7641B04EC488}"/>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7" name="Freeform 72">
                <a:extLst>
                  <a:ext uri="{FF2B5EF4-FFF2-40B4-BE49-F238E27FC236}">
                    <a16:creationId xmlns:a16="http://schemas.microsoft.com/office/drawing/2014/main" id="{C54B7226-DE4E-47D1-A57D-8295D35F35A1}"/>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8" name="Freeform 73">
                <a:extLst>
                  <a:ext uri="{FF2B5EF4-FFF2-40B4-BE49-F238E27FC236}">
                    <a16:creationId xmlns:a16="http://schemas.microsoft.com/office/drawing/2014/main" id="{1E7CFF33-BDC2-4AA0-B6C0-FD086D1DF97D}"/>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9" name="Freeform 74">
                <a:extLst>
                  <a:ext uri="{FF2B5EF4-FFF2-40B4-BE49-F238E27FC236}">
                    <a16:creationId xmlns:a16="http://schemas.microsoft.com/office/drawing/2014/main" id="{C7D48894-9368-4BE8-AD0D-7CED55D825EB}"/>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0" name="Freeform 75">
                <a:extLst>
                  <a:ext uri="{FF2B5EF4-FFF2-40B4-BE49-F238E27FC236}">
                    <a16:creationId xmlns:a16="http://schemas.microsoft.com/office/drawing/2014/main" id="{903EB01C-8544-457A-B38F-9A1CCFA8B04B}"/>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1" name="Freeform 76">
                <a:extLst>
                  <a:ext uri="{FF2B5EF4-FFF2-40B4-BE49-F238E27FC236}">
                    <a16:creationId xmlns:a16="http://schemas.microsoft.com/office/drawing/2014/main" id="{7A2D579B-C134-4376-85BF-4653A584DFAD}"/>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2" name="Rectangle 77">
                <a:extLst>
                  <a:ext uri="{FF2B5EF4-FFF2-40B4-BE49-F238E27FC236}">
                    <a16:creationId xmlns:a16="http://schemas.microsoft.com/office/drawing/2014/main" id="{70867968-0D2C-4436-ABCB-AFB10F22873C}"/>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3" name="Freeform 78">
                <a:extLst>
                  <a:ext uri="{FF2B5EF4-FFF2-40B4-BE49-F238E27FC236}">
                    <a16:creationId xmlns:a16="http://schemas.microsoft.com/office/drawing/2014/main" id="{C9CBB90D-8C4A-49B3-9213-FAB2D7EA661C}"/>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4" name="Rectangle 79">
                <a:extLst>
                  <a:ext uri="{FF2B5EF4-FFF2-40B4-BE49-F238E27FC236}">
                    <a16:creationId xmlns:a16="http://schemas.microsoft.com/office/drawing/2014/main" id="{84F2204D-41BD-4600-94E8-B5780ADAD098}"/>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5" name="Freeform 80">
                <a:extLst>
                  <a:ext uri="{FF2B5EF4-FFF2-40B4-BE49-F238E27FC236}">
                    <a16:creationId xmlns:a16="http://schemas.microsoft.com/office/drawing/2014/main" id="{5EF7C053-92F6-4DB8-88E5-B09E159D8647}"/>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6" name="Rectangle 81">
                <a:extLst>
                  <a:ext uri="{FF2B5EF4-FFF2-40B4-BE49-F238E27FC236}">
                    <a16:creationId xmlns:a16="http://schemas.microsoft.com/office/drawing/2014/main" id="{AF43EE7C-E0F2-4B2A-95E4-9ADD6E5F1774}"/>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7" name="Freeform 82">
                <a:extLst>
                  <a:ext uri="{FF2B5EF4-FFF2-40B4-BE49-F238E27FC236}">
                    <a16:creationId xmlns:a16="http://schemas.microsoft.com/office/drawing/2014/main" id="{960AF43D-6094-4BBA-BE42-DEB639A0A55C}"/>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8" name="Rectangle 83">
                <a:extLst>
                  <a:ext uri="{FF2B5EF4-FFF2-40B4-BE49-F238E27FC236}">
                    <a16:creationId xmlns:a16="http://schemas.microsoft.com/office/drawing/2014/main" id="{1BA94488-6FA4-4237-8FE3-B35E72646767}"/>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9" name="Freeform 84">
                <a:extLst>
                  <a:ext uri="{FF2B5EF4-FFF2-40B4-BE49-F238E27FC236}">
                    <a16:creationId xmlns:a16="http://schemas.microsoft.com/office/drawing/2014/main" id="{A8923997-5D61-4579-A5D5-C86B6649C49D}"/>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90" name="Group 1489">
              <a:extLst>
                <a:ext uri="{FF2B5EF4-FFF2-40B4-BE49-F238E27FC236}">
                  <a16:creationId xmlns:a16="http://schemas.microsoft.com/office/drawing/2014/main" id="{A110356F-80A6-43F2-84B6-9D4430DBEF79}"/>
                </a:ext>
              </a:extLst>
            </p:cNvPr>
            <p:cNvGrpSpPr/>
            <p:nvPr/>
          </p:nvGrpSpPr>
          <p:grpSpPr>
            <a:xfrm>
              <a:off x="3108403" y="5203675"/>
              <a:ext cx="405583" cy="771296"/>
              <a:chOff x="5094287" y="4557713"/>
              <a:chExt cx="460376" cy="971549"/>
            </a:xfrm>
          </p:grpSpPr>
          <p:sp>
            <p:nvSpPr>
              <p:cNvPr id="1491" name="AutoShape 38">
                <a:extLst>
                  <a:ext uri="{FF2B5EF4-FFF2-40B4-BE49-F238E27FC236}">
                    <a16:creationId xmlns:a16="http://schemas.microsoft.com/office/drawing/2014/main" id="{DFAB68C7-C6FB-41B9-AA86-DFB775692413}"/>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2" name="Freeform 40">
                <a:extLst>
                  <a:ext uri="{FF2B5EF4-FFF2-40B4-BE49-F238E27FC236}">
                    <a16:creationId xmlns:a16="http://schemas.microsoft.com/office/drawing/2014/main" id="{C110F080-E7D1-47F1-8FEF-75CD70A5A5C1}"/>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3" name="Rectangle 41">
                <a:extLst>
                  <a:ext uri="{FF2B5EF4-FFF2-40B4-BE49-F238E27FC236}">
                    <a16:creationId xmlns:a16="http://schemas.microsoft.com/office/drawing/2014/main" id="{CF62F1A5-26AB-4E82-A2EE-0FA47278BEDF}"/>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4" name="Rectangle 42">
                <a:extLst>
                  <a:ext uri="{FF2B5EF4-FFF2-40B4-BE49-F238E27FC236}">
                    <a16:creationId xmlns:a16="http://schemas.microsoft.com/office/drawing/2014/main" id="{79BB6BC5-88AC-4C8D-BA61-B593445F6ACC}"/>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5" name="Freeform 43">
                <a:extLst>
                  <a:ext uri="{FF2B5EF4-FFF2-40B4-BE49-F238E27FC236}">
                    <a16:creationId xmlns:a16="http://schemas.microsoft.com/office/drawing/2014/main" id="{DCB9BA8D-AB1A-46C5-80D4-94B9EDBBB899}"/>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6" name="Rectangle 44">
                <a:extLst>
                  <a:ext uri="{FF2B5EF4-FFF2-40B4-BE49-F238E27FC236}">
                    <a16:creationId xmlns:a16="http://schemas.microsoft.com/office/drawing/2014/main" id="{8B8F5477-A8DE-40F3-B10F-12023D377703}"/>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7" name="Rectangle 45">
                <a:extLst>
                  <a:ext uri="{FF2B5EF4-FFF2-40B4-BE49-F238E27FC236}">
                    <a16:creationId xmlns:a16="http://schemas.microsoft.com/office/drawing/2014/main" id="{A533724A-CC11-4E06-AC1B-52FE98EA10B6}"/>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8" name="Freeform 46">
                <a:extLst>
                  <a:ext uri="{FF2B5EF4-FFF2-40B4-BE49-F238E27FC236}">
                    <a16:creationId xmlns:a16="http://schemas.microsoft.com/office/drawing/2014/main" id="{3BC3C8E1-3A88-4859-B40E-81DCDD6B6C42}"/>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9" name="Rectangle 47">
                <a:extLst>
                  <a:ext uri="{FF2B5EF4-FFF2-40B4-BE49-F238E27FC236}">
                    <a16:creationId xmlns:a16="http://schemas.microsoft.com/office/drawing/2014/main" id="{E8529B4F-9394-404A-9BBC-027284BC74BC}"/>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0" name="Rectangle 48">
                <a:extLst>
                  <a:ext uri="{FF2B5EF4-FFF2-40B4-BE49-F238E27FC236}">
                    <a16:creationId xmlns:a16="http://schemas.microsoft.com/office/drawing/2014/main" id="{D7533681-C530-47B9-B084-21FD4A501124}"/>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1" name="Freeform 49">
                <a:extLst>
                  <a:ext uri="{FF2B5EF4-FFF2-40B4-BE49-F238E27FC236}">
                    <a16:creationId xmlns:a16="http://schemas.microsoft.com/office/drawing/2014/main" id="{42EED12D-78FD-4031-93EF-F6B0E4CEF129}"/>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2" name="Rectangle 50">
                <a:extLst>
                  <a:ext uri="{FF2B5EF4-FFF2-40B4-BE49-F238E27FC236}">
                    <a16:creationId xmlns:a16="http://schemas.microsoft.com/office/drawing/2014/main" id="{3F7CC906-0EAF-4613-AD3A-B9A22D3B85AB}"/>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3" name="Rectangle 51">
                <a:extLst>
                  <a:ext uri="{FF2B5EF4-FFF2-40B4-BE49-F238E27FC236}">
                    <a16:creationId xmlns:a16="http://schemas.microsoft.com/office/drawing/2014/main" id="{FD373784-D31A-41A2-9C8F-885ED87A9AF5}"/>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4" name="Freeform 52">
                <a:extLst>
                  <a:ext uri="{FF2B5EF4-FFF2-40B4-BE49-F238E27FC236}">
                    <a16:creationId xmlns:a16="http://schemas.microsoft.com/office/drawing/2014/main" id="{6BD51F39-CC26-4A1E-A521-E20CB4813DBB}"/>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5" name="Rectangle 53">
                <a:extLst>
                  <a:ext uri="{FF2B5EF4-FFF2-40B4-BE49-F238E27FC236}">
                    <a16:creationId xmlns:a16="http://schemas.microsoft.com/office/drawing/2014/main" id="{15DCE3F5-C2E6-4F6D-8880-7ECF89F1219E}"/>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6" name="Rectangle 54">
                <a:extLst>
                  <a:ext uri="{FF2B5EF4-FFF2-40B4-BE49-F238E27FC236}">
                    <a16:creationId xmlns:a16="http://schemas.microsoft.com/office/drawing/2014/main" id="{C344EA6F-A4FE-486F-BDC9-7C8BA9361976}"/>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7" name="Freeform 55">
                <a:extLst>
                  <a:ext uri="{FF2B5EF4-FFF2-40B4-BE49-F238E27FC236}">
                    <a16:creationId xmlns:a16="http://schemas.microsoft.com/office/drawing/2014/main" id="{191566ED-1392-43F8-8030-468C566DB082}"/>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8" name="Rectangle 56">
                <a:extLst>
                  <a:ext uri="{FF2B5EF4-FFF2-40B4-BE49-F238E27FC236}">
                    <a16:creationId xmlns:a16="http://schemas.microsoft.com/office/drawing/2014/main" id="{5840508B-847A-4E10-ABC0-C69CC30EDF73}"/>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9" name="Rectangle 57">
                <a:extLst>
                  <a:ext uri="{FF2B5EF4-FFF2-40B4-BE49-F238E27FC236}">
                    <a16:creationId xmlns:a16="http://schemas.microsoft.com/office/drawing/2014/main" id="{E5ACD5E8-1891-44B9-9C0A-0909D12C020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0" name="Freeform 58">
                <a:extLst>
                  <a:ext uri="{FF2B5EF4-FFF2-40B4-BE49-F238E27FC236}">
                    <a16:creationId xmlns:a16="http://schemas.microsoft.com/office/drawing/2014/main" id="{00813130-42AC-4F37-9879-E4352F5B57D7}"/>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1" name="Rectangle 59">
                <a:extLst>
                  <a:ext uri="{FF2B5EF4-FFF2-40B4-BE49-F238E27FC236}">
                    <a16:creationId xmlns:a16="http://schemas.microsoft.com/office/drawing/2014/main" id="{4B457A65-ED39-49EE-9F97-5C0FB390C5B4}"/>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2" name="Rectangle 60">
                <a:extLst>
                  <a:ext uri="{FF2B5EF4-FFF2-40B4-BE49-F238E27FC236}">
                    <a16:creationId xmlns:a16="http://schemas.microsoft.com/office/drawing/2014/main" id="{5C240E4C-B0BE-426B-B94C-9E424FC7C25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3" name="Freeform 61">
                <a:extLst>
                  <a:ext uri="{FF2B5EF4-FFF2-40B4-BE49-F238E27FC236}">
                    <a16:creationId xmlns:a16="http://schemas.microsoft.com/office/drawing/2014/main" id="{4F0FA3B6-4574-41DA-A03D-93D1A98C1EF8}"/>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4" name="Rectangle 62">
                <a:extLst>
                  <a:ext uri="{FF2B5EF4-FFF2-40B4-BE49-F238E27FC236}">
                    <a16:creationId xmlns:a16="http://schemas.microsoft.com/office/drawing/2014/main" id="{48CE1933-7F90-473E-AFEE-A03FC9501A8B}"/>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5" name="Rectangle 63">
                <a:extLst>
                  <a:ext uri="{FF2B5EF4-FFF2-40B4-BE49-F238E27FC236}">
                    <a16:creationId xmlns:a16="http://schemas.microsoft.com/office/drawing/2014/main" id="{7151484E-2B98-41CE-B7E3-6AA9DB5D003E}"/>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6" name="Freeform 64">
                <a:extLst>
                  <a:ext uri="{FF2B5EF4-FFF2-40B4-BE49-F238E27FC236}">
                    <a16:creationId xmlns:a16="http://schemas.microsoft.com/office/drawing/2014/main" id="{ABBB2165-5C94-4202-90CB-5943ADF4E085}"/>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7" name="Rectangle 65">
                <a:extLst>
                  <a:ext uri="{FF2B5EF4-FFF2-40B4-BE49-F238E27FC236}">
                    <a16:creationId xmlns:a16="http://schemas.microsoft.com/office/drawing/2014/main" id="{23926B03-D842-4616-9D83-F56ED6EF57CF}"/>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8" name="Rectangle 66">
                <a:extLst>
                  <a:ext uri="{FF2B5EF4-FFF2-40B4-BE49-F238E27FC236}">
                    <a16:creationId xmlns:a16="http://schemas.microsoft.com/office/drawing/2014/main" id="{960437AA-6041-4C53-B562-FA17093D9A1E}"/>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9" name="Freeform 67">
                <a:extLst>
                  <a:ext uri="{FF2B5EF4-FFF2-40B4-BE49-F238E27FC236}">
                    <a16:creationId xmlns:a16="http://schemas.microsoft.com/office/drawing/2014/main" id="{901B2D1B-F9EF-49FD-AD3C-7C7C8B4B871F}"/>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0" name="Freeform 68">
                <a:extLst>
                  <a:ext uri="{FF2B5EF4-FFF2-40B4-BE49-F238E27FC236}">
                    <a16:creationId xmlns:a16="http://schemas.microsoft.com/office/drawing/2014/main" id="{9627C824-FB3B-4BE8-A133-87BD10000839}"/>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1" name="Freeform 69">
                <a:extLst>
                  <a:ext uri="{FF2B5EF4-FFF2-40B4-BE49-F238E27FC236}">
                    <a16:creationId xmlns:a16="http://schemas.microsoft.com/office/drawing/2014/main" id="{83BC332C-D11C-4FCF-ACDE-64E02BF587F1}"/>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2" name="Freeform 70">
                <a:extLst>
                  <a:ext uri="{FF2B5EF4-FFF2-40B4-BE49-F238E27FC236}">
                    <a16:creationId xmlns:a16="http://schemas.microsoft.com/office/drawing/2014/main" id="{70547A72-BC01-4478-8654-5E6A7B7ECE95}"/>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3" name="Freeform 71">
                <a:extLst>
                  <a:ext uri="{FF2B5EF4-FFF2-40B4-BE49-F238E27FC236}">
                    <a16:creationId xmlns:a16="http://schemas.microsoft.com/office/drawing/2014/main" id="{22FA6CD1-356D-406A-81EC-28ADDC277893}"/>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4" name="Freeform 72">
                <a:extLst>
                  <a:ext uri="{FF2B5EF4-FFF2-40B4-BE49-F238E27FC236}">
                    <a16:creationId xmlns:a16="http://schemas.microsoft.com/office/drawing/2014/main" id="{72F4CC97-47F2-4518-836A-AAE4648192A4}"/>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5" name="Freeform 73">
                <a:extLst>
                  <a:ext uri="{FF2B5EF4-FFF2-40B4-BE49-F238E27FC236}">
                    <a16:creationId xmlns:a16="http://schemas.microsoft.com/office/drawing/2014/main" id="{68ED0B6A-F2F0-4169-996B-DCA030CA2667}"/>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6" name="Freeform 74">
                <a:extLst>
                  <a:ext uri="{FF2B5EF4-FFF2-40B4-BE49-F238E27FC236}">
                    <a16:creationId xmlns:a16="http://schemas.microsoft.com/office/drawing/2014/main" id="{EFE7C84E-0680-45AB-9AF1-05333C95B708}"/>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7" name="Freeform 75">
                <a:extLst>
                  <a:ext uri="{FF2B5EF4-FFF2-40B4-BE49-F238E27FC236}">
                    <a16:creationId xmlns:a16="http://schemas.microsoft.com/office/drawing/2014/main" id="{EC8BA060-8F1C-4B23-860C-22C923005DE7}"/>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8" name="Freeform 76">
                <a:extLst>
                  <a:ext uri="{FF2B5EF4-FFF2-40B4-BE49-F238E27FC236}">
                    <a16:creationId xmlns:a16="http://schemas.microsoft.com/office/drawing/2014/main" id="{997CE7D6-E59E-4F19-B519-3829BA1DC6A7}"/>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9" name="Rectangle 77">
                <a:extLst>
                  <a:ext uri="{FF2B5EF4-FFF2-40B4-BE49-F238E27FC236}">
                    <a16:creationId xmlns:a16="http://schemas.microsoft.com/office/drawing/2014/main" id="{03B0ECDE-7FB5-43B7-AA11-45676088471B}"/>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30" name="Freeform 78">
                <a:extLst>
                  <a:ext uri="{FF2B5EF4-FFF2-40B4-BE49-F238E27FC236}">
                    <a16:creationId xmlns:a16="http://schemas.microsoft.com/office/drawing/2014/main" id="{F71FEAE6-4B48-4ADE-84B8-16D6D5B81F43}"/>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1" name="Rectangle 79">
                <a:extLst>
                  <a:ext uri="{FF2B5EF4-FFF2-40B4-BE49-F238E27FC236}">
                    <a16:creationId xmlns:a16="http://schemas.microsoft.com/office/drawing/2014/main" id="{9B5BAC38-E96C-4942-AA08-2012B486CC63}"/>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32" name="Freeform 80">
                <a:extLst>
                  <a:ext uri="{FF2B5EF4-FFF2-40B4-BE49-F238E27FC236}">
                    <a16:creationId xmlns:a16="http://schemas.microsoft.com/office/drawing/2014/main" id="{E8315918-6AED-4B0D-B961-F8080C6BCC88}"/>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3" name="Rectangle 81">
                <a:extLst>
                  <a:ext uri="{FF2B5EF4-FFF2-40B4-BE49-F238E27FC236}">
                    <a16:creationId xmlns:a16="http://schemas.microsoft.com/office/drawing/2014/main" id="{A801F059-9759-47FF-A93C-08F8942EAB93}"/>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34" name="Freeform 82">
                <a:extLst>
                  <a:ext uri="{FF2B5EF4-FFF2-40B4-BE49-F238E27FC236}">
                    <a16:creationId xmlns:a16="http://schemas.microsoft.com/office/drawing/2014/main" id="{10BC74A0-AE59-455A-ADE7-FC665200D26C}"/>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5" name="Rectangle 83">
                <a:extLst>
                  <a:ext uri="{FF2B5EF4-FFF2-40B4-BE49-F238E27FC236}">
                    <a16:creationId xmlns:a16="http://schemas.microsoft.com/office/drawing/2014/main" id="{8E4129F0-3119-44E3-AAEC-B72D61901FCE}"/>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36" name="Freeform 84">
                <a:extLst>
                  <a:ext uri="{FF2B5EF4-FFF2-40B4-BE49-F238E27FC236}">
                    <a16:creationId xmlns:a16="http://schemas.microsoft.com/office/drawing/2014/main" id="{476E96C9-7D01-4CF5-A8D1-D65DE10BF64A}"/>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9" name="Group 18">
            <a:extLst>
              <a:ext uri="{FF2B5EF4-FFF2-40B4-BE49-F238E27FC236}">
                <a16:creationId xmlns:a16="http://schemas.microsoft.com/office/drawing/2014/main" id="{B7E5516F-A7CA-4C04-BEEE-315DAF9F2A88}"/>
              </a:ext>
            </a:extLst>
          </p:cNvPr>
          <p:cNvGrpSpPr/>
          <p:nvPr/>
        </p:nvGrpSpPr>
        <p:grpSpPr>
          <a:xfrm>
            <a:off x="1959141" y="3199723"/>
            <a:ext cx="840824" cy="630941"/>
            <a:chOff x="1884625" y="3222867"/>
            <a:chExt cx="840824" cy="630941"/>
          </a:xfrm>
        </p:grpSpPr>
        <p:sp>
          <p:nvSpPr>
            <p:cNvPr id="1354" name="Rectangle 1353">
              <a:extLst>
                <a:ext uri="{FF2B5EF4-FFF2-40B4-BE49-F238E27FC236}">
                  <a16:creationId xmlns:a16="http://schemas.microsoft.com/office/drawing/2014/main" id="{890BCB9B-B386-4795-8CC7-CFC2A1C15923}"/>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000" dirty="0">
                  <a:solidFill>
                    <a:schemeClr val="accent1"/>
                  </a:solidFill>
                  <a:ea typeface="Segoe UI" pitchFamily="34" charset="0"/>
                  <a:cs typeface="Segoe UI" pitchFamily="34" charset="0"/>
                </a:rPr>
                <a:t>User data</a:t>
              </a:r>
            </a:p>
          </p:txBody>
        </p:sp>
        <p:grpSp>
          <p:nvGrpSpPr>
            <p:cNvPr id="6" name="Group 8">
              <a:extLst>
                <a:ext uri="{FF2B5EF4-FFF2-40B4-BE49-F238E27FC236}">
                  <a16:creationId xmlns:a16="http://schemas.microsoft.com/office/drawing/2014/main" id="{33668417-7DF6-43BA-8962-84548398969C}"/>
                </a:ext>
              </a:extLst>
            </p:cNvPr>
            <p:cNvGrpSpPr>
              <a:grpSpLocks noChangeAspect="1"/>
            </p:cNvGrpSpPr>
            <p:nvPr/>
          </p:nvGrpSpPr>
          <p:grpSpPr bwMode="auto">
            <a:xfrm>
              <a:off x="1884625" y="3222867"/>
              <a:ext cx="840824" cy="568244"/>
              <a:chOff x="-2098" y="2747"/>
              <a:chExt cx="1530" cy="1034"/>
            </a:xfrm>
          </p:grpSpPr>
          <p:sp>
            <p:nvSpPr>
              <p:cNvPr id="8" name="Freeform 9">
                <a:extLst>
                  <a:ext uri="{FF2B5EF4-FFF2-40B4-BE49-F238E27FC236}">
                    <a16:creationId xmlns:a16="http://schemas.microsoft.com/office/drawing/2014/main" id="{A19C9952-2C72-4355-8DB9-CB457085BA80}"/>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10">
                <a:extLst>
                  <a:ext uri="{FF2B5EF4-FFF2-40B4-BE49-F238E27FC236}">
                    <a16:creationId xmlns:a16="http://schemas.microsoft.com/office/drawing/2014/main" id="{7F76B74C-E60B-424E-8304-664615A7473C}"/>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1">
                <a:extLst>
                  <a:ext uri="{FF2B5EF4-FFF2-40B4-BE49-F238E27FC236}">
                    <a16:creationId xmlns:a16="http://schemas.microsoft.com/office/drawing/2014/main" id="{406216C9-A2CF-4621-9A82-1C8D33597B9D}"/>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Rectangle 12">
                <a:extLst>
                  <a:ext uri="{FF2B5EF4-FFF2-40B4-BE49-F238E27FC236}">
                    <a16:creationId xmlns:a16="http://schemas.microsoft.com/office/drawing/2014/main" id="{0D28DB93-F359-4989-857B-68AE3B963211}"/>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13">
                <a:extLst>
                  <a:ext uri="{FF2B5EF4-FFF2-40B4-BE49-F238E27FC236}">
                    <a16:creationId xmlns:a16="http://schemas.microsoft.com/office/drawing/2014/main" id="{C5631F2A-6C9D-409F-9135-0A1803BB7A0D}"/>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Rectangle 14">
                <a:extLst>
                  <a:ext uri="{FF2B5EF4-FFF2-40B4-BE49-F238E27FC236}">
                    <a16:creationId xmlns:a16="http://schemas.microsoft.com/office/drawing/2014/main" id="{FB04C042-E25C-419A-88D4-171C29B12F75}"/>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Rectangle 15">
                <a:extLst>
                  <a:ext uri="{FF2B5EF4-FFF2-40B4-BE49-F238E27FC236}">
                    <a16:creationId xmlns:a16="http://schemas.microsoft.com/office/drawing/2014/main" id="{1BCBEE91-B76B-4C7B-A3C4-050F661D27B3}"/>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Rectangle 16">
                <a:extLst>
                  <a:ext uri="{FF2B5EF4-FFF2-40B4-BE49-F238E27FC236}">
                    <a16:creationId xmlns:a16="http://schemas.microsoft.com/office/drawing/2014/main" id="{DA4E2EBD-002A-43D7-A7F2-464B03D3C08D}"/>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Rectangle 17">
                <a:extLst>
                  <a:ext uri="{FF2B5EF4-FFF2-40B4-BE49-F238E27FC236}">
                    <a16:creationId xmlns:a16="http://schemas.microsoft.com/office/drawing/2014/main" id="{0BA1012D-327B-40BC-8AC5-841313AC2781}"/>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Oval 18">
                <a:extLst>
                  <a:ext uri="{FF2B5EF4-FFF2-40B4-BE49-F238E27FC236}">
                    <a16:creationId xmlns:a16="http://schemas.microsoft.com/office/drawing/2014/main" id="{86219122-8542-438E-9F86-ED85E03479E6}"/>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9">
                <a:extLst>
                  <a:ext uri="{FF2B5EF4-FFF2-40B4-BE49-F238E27FC236}">
                    <a16:creationId xmlns:a16="http://schemas.microsoft.com/office/drawing/2014/main" id="{965B8078-404E-4FBE-99BA-B9640E4CA563}"/>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93" name="Group 592">
            <a:extLst>
              <a:ext uri="{FF2B5EF4-FFF2-40B4-BE49-F238E27FC236}">
                <a16:creationId xmlns:a16="http://schemas.microsoft.com/office/drawing/2014/main" id="{D623E67F-7FE1-4F68-829D-020E2906326B}"/>
              </a:ext>
            </a:extLst>
          </p:cNvPr>
          <p:cNvGrpSpPr/>
          <p:nvPr/>
        </p:nvGrpSpPr>
        <p:grpSpPr>
          <a:xfrm>
            <a:off x="1959141" y="4218665"/>
            <a:ext cx="840824" cy="630941"/>
            <a:chOff x="1884625" y="3222867"/>
            <a:chExt cx="840824" cy="630941"/>
          </a:xfrm>
        </p:grpSpPr>
        <p:sp>
          <p:nvSpPr>
            <p:cNvPr id="594" name="Rectangle 593">
              <a:extLst>
                <a:ext uri="{FF2B5EF4-FFF2-40B4-BE49-F238E27FC236}">
                  <a16:creationId xmlns:a16="http://schemas.microsoft.com/office/drawing/2014/main" id="{98761864-21E9-4CAB-B316-C93EAC0C698A}"/>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000" dirty="0">
                  <a:solidFill>
                    <a:schemeClr val="accent1"/>
                  </a:solidFill>
                  <a:ea typeface="Segoe UI" pitchFamily="34" charset="0"/>
                  <a:cs typeface="Segoe UI" pitchFamily="34" charset="0"/>
                </a:rPr>
                <a:t>User data</a:t>
              </a:r>
            </a:p>
          </p:txBody>
        </p:sp>
        <p:grpSp>
          <p:nvGrpSpPr>
            <p:cNvPr id="595" name="Group 8">
              <a:extLst>
                <a:ext uri="{FF2B5EF4-FFF2-40B4-BE49-F238E27FC236}">
                  <a16:creationId xmlns:a16="http://schemas.microsoft.com/office/drawing/2014/main" id="{AC44E3B0-461A-4227-8541-2C1B4A83F636}"/>
                </a:ext>
              </a:extLst>
            </p:cNvPr>
            <p:cNvGrpSpPr>
              <a:grpSpLocks noChangeAspect="1"/>
            </p:cNvGrpSpPr>
            <p:nvPr/>
          </p:nvGrpSpPr>
          <p:grpSpPr bwMode="auto">
            <a:xfrm>
              <a:off x="1884625" y="3222867"/>
              <a:ext cx="840824" cy="568244"/>
              <a:chOff x="-2098" y="2747"/>
              <a:chExt cx="1530" cy="1034"/>
            </a:xfrm>
          </p:grpSpPr>
          <p:sp>
            <p:nvSpPr>
              <p:cNvPr id="596" name="Freeform 9">
                <a:extLst>
                  <a:ext uri="{FF2B5EF4-FFF2-40B4-BE49-F238E27FC236}">
                    <a16:creationId xmlns:a16="http://schemas.microsoft.com/office/drawing/2014/main" id="{FE9AF42C-C0DE-428E-B13F-B87FBBC12B3E}"/>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7" name="Freeform 10">
                <a:extLst>
                  <a:ext uri="{FF2B5EF4-FFF2-40B4-BE49-F238E27FC236}">
                    <a16:creationId xmlns:a16="http://schemas.microsoft.com/office/drawing/2014/main" id="{F9B048C5-BF76-4A39-9C46-DECBA54D8C94}"/>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8" name="Freeform 11">
                <a:extLst>
                  <a:ext uri="{FF2B5EF4-FFF2-40B4-BE49-F238E27FC236}">
                    <a16:creationId xmlns:a16="http://schemas.microsoft.com/office/drawing/2014/main" id="{735F5298-C9D2-4474-8436-66A546C57AE5}"/>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9" name="Rectangle 12">
                <a:extLst>
                  <a:ext uri="{FF2B5EF4-FFF2-40B4-BE49-F238E27FC236}">
                    <a16:creationId xmlns:a16="http://schemas.microsoft.com/office/drawing/2014/main" id="{CC53497F-F1F8-4728-88DD-D93613C5FB40}"/>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0" name="Rectangle 13">
                <a:extLst>
                  <a:ext uri="{FF2B5EF4-FFF2-40B4-BE49-F238E27FC236}">
                    <a16:creationId xmlns:a16="http://schemas.microsoft.com/office/drawing/2014/main" id="{B7B04AE0-7ADF-4106-831A-A5154376F699}"/>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1" name="Rectangle 14">
                <a:extLst>
                  <a:ext uri="{FF2B5EF4-FFF2-40B4-BE49-F238E27FC236}">
                    <a16:creationId xmlns:a16="http://schemas.microsoft.com/office/drawing/2014/main" id="{0EA68702-291F-472E-BB08-18F4D448E629}"/>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 name="Rectangle 15">
                <a:extLst>
                  <a:ext uri="{FF2B5EF4-FFF2-40B4-BE49-F238E27FC236}">
                    <a16:creationId xmlns:a16="http://schemas.microsoft.com/office/drawing/2014/main" id="{51905BEE-0892-4C86-A999-970A264B8AD7}"/>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 name="Rectangle 16">
                <a:extLst>
                  <a:ext uri="{FF2B5EF4-FFF2-40B4-BE49-F238E27FC236}">
                    <a16:creationId xmlns:a16="http://schemas.microsoft.com/office/drawing/2014/main" id="{FF3B71FB-E604-45D0-8D19-21CEF664634B}"/>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 name="Rectangle 17">
                <a:extLst>
                  <a:ext uri="{FF2B5EF4-FFF2-40B4-BE49-F238E27FC236}">
                    <a16:creationId xmlns:a16="http://schemas.microsoft.com/office/drawing/2014/main" id="{76DFF66E-A9E3-482F-9697-0C11D7F22763}"/>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 name="Oval 18">
                <a:extLst>
                  <a:ext uri="{FF2B5EF4-FFF2-40B4-BE49-F238E27FC236}">
                    <a16:creationId xmlns:a16="http://schemas.microsoft.com/office/drawing/2014/main" id="{4E5528AD-E961-4A24-BC9C-5BBE89347D18}"/>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 name="Freeform 19">
                <a:extLst>
                  <a:ext uri="{FF2B5EF4-FFF2-40B4-BE49-F238E27FC236}">
                    <a16:creationId xmlns:a16="http://schemas.microsoft.com/office/drawing/2014/main" id="{EC2DB1C1-BAEE-46CD-8C69-29E486656282}"/>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07" name="Group 606">
            <a:extLst>
              <a:ext uri="{FF2B5EF4-FFF2-40B4-BE49-F238E27FC236}">
                <a16:creationId xmlns:a16="http://schemas.microsoft.com/office/drawing/2014/main" id="{448506D5-D38F-4D2A-A873-785FE4A950BC}"/>
              </a:ext>
            </a:extLst>
          </p:cNvPr>
          <p:cNvGrpSpPr/>
          <p:nvPr/>
        </p:nvGrpSpPr>
        <p:grpSpPr>
          <a:xfrm>
            <a:off x="1959141" y="5259832"/>
            <a:ext cx="840824" cy="630941"/>
            <a:chOff x="1884625" y="3222867"/>
            <a:chExt cx="840824" cy="630941"/>
          </a:xfrm>
        </p:grpSpPr>
        <p:sp>
          <p:nvSpPr>
            <p:cNvPr id="608" name="Rectangle 607">
              <a:extLst>
                <a:ext uri="{FF2B5EF4-FFF2-40B4-BE49-F238E27FC236}">
                  <a16:creationId xmlns:a16="http://schemas.microsoft.com/office/drawing/2014/main" id="{4C8F4BF2-5FED-44DB-94A8-57D15E0FCEB6}"/>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000" dirty="0">
                  <a:solidFill>
                    <a:schemeClr val="accent1"/>
                  </a:solidFill>
                  <a:ea typeface="Segoe UI" pitchFamily="34" charset="0"/>
                  <a:cs typeface="Segoe UI" pitchFamily="34" charset="0"/>
                </a:rPr>
                <a:t>User data</a:t>
              </a:r>
            </a:p>
          </p:txBody>
        </p:sp>
        <p:grpSp>
          <p:nvGrpSpPr>
            <p:cNvPr id="609" name="Group 8">
              <a:extLst>
                <a:ext uri="{FF2B5EF4-FFF2-40B4-BE49-F238E27FC236}">
                  <a16:creationId xmlns:a16="http://schemas.microsoft.com/office/drawing/2014/main" id="{D1BE8D66-D0C5-46CB-A56B-DAABC1912480}"/>
                </a:ext>
              </a:extLst>
            </p:cNvPr>
            <p:cNvGrpSpPr>
              <a:grpSpLocks noChangeAspect="1"/>
            </p:cNvGrpSpPr>
            <p:nvPr/>
          </p:nvGrpSpPr>
          <p:grpSpPr bwMode="auto">
            <a:xfrm>
              <a:off x="1884625" y="3222867"/>
              <a:ext cx="840824" cy="568244"/>
              <a:chOff x="-2098" y="2747"/>
              <a:chExt cx="1530" cy="1034"/>
            </a:xfrm>
          </p:grpSpPr>
          <p:sp>
            <p:nvSpPr>
              <p:cNvPr id="610" name="Freeform 9">
                <a:extLst>
                  <a:ext uri="{FF2B5EF4-FFF2-40B4-BE49-F238E27FC236}">
                    <a16:creationId xmlns:a16="http://schemas.microsoft.com/office/drawing/2014/main" id="{4E3047CE-A97F-4D64-8D48-DD7207A6B2AB}"/>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 name="Freeform 10">
                <a:extLst>
                  <a:ext uri="{FF2B5EF4-FFF2-40B4-BE49-F238E27FC236}">
                    <a16:creationId xmlns:a16="http://schemas.microsoft.com/office/drawing/2014/main" id="{93E7DAD1-1E5D-4A30-8BB6-F6964B4DA03B}"/>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 name="Freeform 11">
                <a:extLst>
                  <a:ext uri="{FF2B5EF4-FFF2-40B4-BE49-F238E27FC236}">
                    <a16:creationId xmlns:a16="http://schemas.microsoft.com/office/drawing/2014/main" id="{DA7F0838-8B55-4792-BA2E-435A12F0421D}"/>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 name="Rectangle 12">
                <a:extLst>
                  <a:ext uri="{FF2B5EF4-FFF2-40B4-BE49-F238E27FC236}">
                    <a16:creationId xmlns:a16="http://schemas.microsoft.com/office/drawing/2014/main" id="{B78C3C46-05A2-435B-A5FE-9AE67D8C91A6}"/>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 name="Rectangle 13">
                <a:extLst>
                  <a:ext uri="{FF2B5EF4-FFF2-40B4-BE49-F238E27FC236}">
                    <a16:creationId xmlns:a16="http://schemas.microsoft.com/office/drawing/2014/main" id="{CE1568FF-6524-4DC8-B804-783DED3F8A5C}"/>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5" name="Rectangle 14">
                <a:extLst>
                  <a:ext uri="{FF2B5EF4-FFF2-40B4-BE49-F238E27FC236}">
                    <a16:creationId xmlns:a16="http://schemas.microsoft.com/office/drawing/2014/main" id="{1F704509-D207-4D0B-9807-70F54AC158EC}"/>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 name="Rectangle 15">
                <a:extLst>
                  <a:ext uri="{FF2B5EF4-FFF2-40B4-BE49-F238E27FC236}">
                    <a16:creationId xmlns:a16="http://schemas.microsoft.com/office/drawing/2014/main" id="{7A310745-6482-431A-BE69-695F36D5802C}"/>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 name="Rectangle 16">
                <a:extLst>
                  <a:ext uri="{FF2B5EF4-FFF2-40B4-BE49-F238E27FC236}">
                    <a16:creationId xmlns:a16="http://schemas.microsoft.com/office/drawing/2014/main" id="{A4DB5406-11A1-4152-B767-CFEBE67C1783}"/>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 name="Rectangle 17">
                <a:extLst>
                  <a:ext uri="{FF2B5EF4-FFF2-40B4-BE49-F238E27FC236}">
                    <a16:creationId xmlns:a16="http://schemas.microsoft.com/office/drawing/2014/main" id="{983DA94E-6742-48A3-8561-5AE09CED8FAC}"/>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 name="Oval 18">
                <a:extLst>
                  <a:ext uri="{FF2B5EF4-FFF2-40B4-BE49-F238E27FC236}">
                    <a16:creationId xmlns:a16="http://schemas.microsoft.com/office/drawing/2014/main" id="{F5B49E1B-0FAF-48BC-8BD8-E3C849813E3C}"/>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 name="Freeform 19">
                <a:extLst>
                  <a:ext uri="{FF2B5EF4-FFF2-40B4-BE49-F238E27FC236}">
                    <a16:creationId xmlns:a16="http://schemas.microsoft.com/office/drawing/2014/main" id="{725B06D1-A3E1-4F0A-A9AF-20D115290DB0}"/>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663" name="Rectangle 662">
            <a:extLst>
              <a:ext uri="{FF2B5EF4-FFF2-40B4-BE49-F238E27FC236}">
                <a16:creationId xmlns:a16="http://schemas.microsoft.com/office/drawing/2014/main" id="{3CFA5824-A75F-4FC0-BE26-6CFE6CEFC044}"/>
              </a:ext>
            </a:extLst>
          </p:cNvPr>
          <p:cNvSpPr/>
          <p:nvPr/>
        </p:nvSpPr>
        <p:spPr bwMode="auto">
          <a:xfrm>
            <a:off x="4698156" y="3009362"/>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64" name="Rectangle 663">
            <a:extLst>
              <a:ext uri="{FF2B5EF4-FFF2-40B4-BE49-F238E27FC236}">
                <a16:creationId xmlns:a16="http://schemas.microsoft.com/office/drawing/2014/main" id="{4357F1F1-8BF0-46CD-B574-B52C690A0B71}"/>
              </a:ext>
            </a:extLst>
          </p:cNvPr>
          <p:cNvSpPr/>
          <p:nvPr/>
        </p:nvSpPr>
        <p:spPr bwMode="auto">
          <a:xfrm>
            <a:off x="4698156" y="4050529"/>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65" name="Rectangle 664">
            <a:extLst>
              <a:ext uri="{FF2B5EF4-FFF2-40B4-BE49-F238E27FC236}">
                <a16:creationId xmlns:a16="http://schemas.microsoft.com/office/drawing/2014/main" id="{60F77BEA-9260-4B79-B5A7-FBBB0A4D9EBA}"/>
              </a:ext>
            </a:extLst>
          </p:cNvPr>
          <p:cNvSpPr/>
          <p:nvPr/>
        </p:nvSpPr>
        <p:spPr bwMode="auto">
          <a:xfrm>
            <a:off x="4698156" y="5091696"/>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540" name="Group 153">
            <a:extLst>
              <a:ext uri="{FF2B5EF4-FFF2-40B4-BE49-F238E27FC236}">
                <a16:creationId xmlns:a16="http://schemas.microsoft.com/office/drawing/2014/main" id="{E814AF56-C688-4BBA-876E-D7D4DEDB9C79}"/>
              </a:ext>
            </a:extLst>
          </p:cNvPr>
          <p:cNvGrpSpPr>
            <a:grpSpLocks noChangeAspect="1"/>
          </p:cNvGrpSpPr>
          <p:nvPr/>
        </p:nvGrpSpPr>
        <p:grpSpPr bwMode="auto">
          <a:xfrm>
            <a:off x="4869448" y="3207542"/>
            <a:ext cx="509136" cy="508776"/>
            <a:chOff x="2501" y="790"/>
            <a:chExt cx="2832" cy="2830"/>
          </a:xfrm>
        </p:grpSpPr>
        <p:sp>
          <p:nvSpPr>
            <p:cNvPr id="1541" name="Oval 154">
              <a:extLst>
                <a:ext uri="{FF2B5EF4-FFF2-40B4-BE49-F238E27FC236}">
                  <a16:creationId xmlns:a16="http://schemas.microsoft.com/office/drawing/2014/main" id="{50ED6FD7-4A60-430E-B0B3-144005D21CAC}"/>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2" name="Freeform 155">
              <a:extLst>
                <a:ext uri="{FF2B5EF4-FFF2-40B4-BE49-F238E27FC236}">
                  <a16:creationId xmlns:a16="http://schemas.microsoft.com/office/drawing/2014/main" id="{55EFAAE2-C267-4659-B8E6-4E2A0206589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3" name="Freeform 156">
              <a:extLst>
                <a:ext uri="{FF2B5EF4-FFF2-40B4-BE49-F238E27FC236}">
                  <a16:creationId xmlns:a16="http://schemas.microsoft.com/office/drawing/2014/main" id="{83C81E0D-68DF-433A-99F7-DCDD01920050}"/>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4" name="Freeform 157">
              <a:extLst>
                <a:ext uri="{FF2B5EF4-FFF2-40B4-BE49-F238E27FC236}">
                  <a16:creationId xmlns:a16="http://schemas.microsoft.com/office/drawing/2014/main" id="{53D9216E-D35B-45B1-9D3C-D4EBB81BF8CE}"/>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5" name="Freeform 158">
              <a:extLst>
                <a:ext uri="{FF2B5EF4-FFF2-40B4-BE49-F238E27FC236}">
                  <a16:creationId xmlns:a16="http://schemas.microsoft.com/office/drawing/2014/main" id="{9BC66C60-28F7-4569-B943-BEBC57B84B8A}"/>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6" name="Freeform 159">
              <a:extLst>
                <a:ext uri="{FF2B5EF4-FFF2-40B4-BE49-F238E27FC236}">
                  <a16:creationId xmlns:a16="http://schemas.microsoft.com/office/drawing/2014/main" id="{9E9FE8C2-1FD8-4FCF-96BA-50130EA196B0}"/>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7" name="Freeform 160">
              <a:extLst>
                <a:ext uri="{FF2B5EF4-FFF2-40B4-BE49-F238E27FC236}">
                  <a16:creationId xmlns:a16="http://schemas.microsoft.com/office/drawing/2014/main" id="{73660626-0A4D-4980-A845-62A492D326F8}"/>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8" name="Freeform 161">
              <a:extLst>
                <a:ext uri="{FF2B5EF4-FFF2-40B4-BE49-F238E27FC236}">
                  <a16:creationId xmlns:a16="http://schemas.microsoft.com/office/drawing/2014/main" id="{E1331C0B-DF79-4804-A5EF-8B8791856A6E}"/>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9" name="Freeform 162">
              <a:extLst>
                <a:ext uri="{FF2B5EF4-FFF2-40B4-BE49-F238E27FC236}">
                  <a16:creationId xmlns:a16="http://schemas.microsoft.com/office/drawing/2014/main" id="{683DC47D-08EB-417C-99F5-4A4C6EC409B8}"/>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0" name="Freeform 163">
              <a:extLst>
                <a:ext uri="{FF2B5EF4-FFF2-40B4-BE49-F238E27FC236}">
                  <a16:creationId xmlns:a16="http://schemas.microsoft.com/office/drawing/2014/main" id="{3815EECA-5BDD-4345-BAC3-145371E5995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1" name="Freeform 164">
              <a:extLst>
                <a:ext uri="{FF2B5EF4-FFF2-40B4-BE49-F238E27FC236}">
                  <a16:creationId xmlns:a16="http://schemas.microsoft.com/office/drawing/2014/main" id="{DC4D0D36-4656-47A3-B43E-966DA812ED12}"/>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2" name="Oval 165">
              <a:extLst>
                <a:ext uri="{FF2B5EF4-FFF2-40B4-BE49-F238E27FC236}">
                  <a16:creationId xmlns:a16="http://schemas.microsoft.com/office/drawing/2014/main" id="{61EC6BA9-E11B-4A4A-9C9B-BE8BDCC4C916}"/>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3" name="Oval 166">
              <a:extLst>
                <a:ext uri="{FF2B5EF4-FFF2-40B4-BE49-F238E27FC236}">
                  <a16:creationId xmlns:a16="http://schemas.microsoft.com/office/drawing/2014/main" id="{78672E81-F7BE-4465-B0A3-2219D1B86FBB}"/>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4" name="Freeform 167">
              <a:extLst>
                <a:ext uri="{FF2B5EF4-FFF2-40B4-BE49-F238E27FC236}">
                  <a16:creationId xmlns:a16="http://schemas.microsoft.com/office/drawing/2014/main" id="{93826FD6-3C6B-4B55-85A8-B3CF84CD6B2F}"/>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5" name="Freeform 168">
              <a:extLst>
                <a:ext uri="{FF2B5EF4-FFF2-40B4-BE49-F238E27FC236}">
                  <a16:creationId xmlns:a16="http://schemas.microsoft.com/office/drawing/2014/main" id="{398B66BD-6D8A-4C0E-A0A7-4D851338441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6" name="Freeform 169">
              <a:extLst>
                <a:ext uri="{FF2B5EF4-FFF2-40B4-BE49-F238E27FC236}">
                  <a16:creationId xmlns:a16="http://schemas.microsoft.com/office/drawing/2014/main" id="{5041E751-F383-4FCB-A48E-7F85ADAC7564}"/>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7" name="Freeform 170">
              <a:extLst>
                <a:ext uri="{FF2B5EF4-FFF2-40B4-BE49-F238E27FC236}">
                  <a16:creationId xmlns:a16="http://schemas.microsoft.com/office/drawing/2014/main" id="{FC7C5A48-C019-4DE0-AD61-81FD03DCDF19}"/>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8" name="Freeform 171">
              <a:extLst>
                <a:ext uri="{FF2B5EF4-FFF2-40B4-BE49-F238E27FC236}">
                  <a16:creationId xmlns:a16="http://schemas.microsoft.com/office/drawing/2014/main" id="{0D08A028-6F12-4560-BE0C-5B3E05347B88}"/>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9" name="Freeform 172">
              <a:extLst>
                <a:ext uri="{FF2B5EF4-FFF2-40B4-BE49-F238E27FC236}">
                  <a16:creationId xmlns:a16="http://schemas.microsoft.com/office/drawing/2014/main" id="{74FFE373-A976-47DC-8D60-56A116BF8CF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0" name="Freeform 173">
              <a:extLst>
                <a:ext uri="{FF2B5EF4-FFF2-40B4-BE49-F238E27FC236}">
                  <a16:creationId xmlns:a16="http://schemas.microsoft.com/office/drawing/2014/main" id="{6AFF7707-C72D-43A8-A196-A353C1C92B4C}"/>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1" name="Freeform 174">
              <a:extLst>
                <a:ext uri="{FF2B5EF4-FFF2-40B4-BE49-F238E27FC236}">
                  <a16:creationId xmlns:a16="http://schemas.microsoft.com/office/drawing/2014/main" id="{CDC15315-3557-47DC-B9D9-85496C42B099}"/>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65" name="Group 595">
            <a:extLst>
              <a:ext uri="{FF2B5EF4-FFF2-40B4-BE49-F238E27FC236}">
                <a16:creationId xmlns:a16="http://schemas.microsoft.com/office/drawing/2014/main" id="{9CA02BD9-3616-4AE1-88D0-7673B21BA72C}"/>
              </a:ext>
            </a:extLst>
          </p:cNvPr>
          <p:cNvGrpSpPr>
            <a:grpSpLocks noChangeAspect="1"/>
          </p:cNvGrpSpPr>
          <p:nvPr/>
        </p:nvGrpSpPr>
        <p:grpSpPr bwMode="auto">
          <a:xfrm>
            <a:off x="4869268" y="4264048"/>
            <a:ext cx="509496" cy="509136"/>
            <a:chOff x="2499" y="790"/>
            <a:chExt cx="2832" cy="2830"/>
          </a:xfrm>
        </p:grpSpPr>
        <p:sp>
          <p:nvSpPr>
            <p:cNvPr id="1566" name="Oval 596">
              <a:extLst>
                <a:ext uri="{FF2B5EF4-FFF2-40B4-BE49-F238E27FC236}">
                  <a16:creationId xmlns:a16="http://schemas.microsoft.com/office/drawing/2014/main" id="{07159AEC-0F99-4CB1-9BC3-4F84BD5DE01A}"/>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7" name="Freeform 597">
              <a:extLst>
                <a:ext uri="{FF2B5EF4-FFF2-40B4-BE49-F238E27FC236}">
                  <a16:creationId xmlns:a16="http://schemas.microsoft.com/office/drawing/2014/main" id="{8D67696E-1922-45E9-938C-284B9A47C72C}"/>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8" name="Freeform 598">
              <a:extLst>
                <a:ext uri="{FF2B5EF4-FFF2-40B4-BE49-F238E27FC236}">
                  <a16:creationId xmlns:a16="http://schemas.microsoft.com/office/drawing/2014/main" id="{C1013106-9452-4A0F-A1E7-3B0F9701DC33}"/>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9" name="Freeform 599">
              <a:extLst>
                <a:ext uri="{FF2B5EF4-FFF2-40B4-BE49-F238E27FC236}">
                  <a16:creationId xmlns:a16="http://schemas.microsoft.com/office/drawing/2014/main" id="{4936E7A7-5C9E-4F30-B928-700C1C680CD0}"/>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0" name="Freeform 600">
              <a:extLst>
                <a:ext uri="{FF2B5EF4-FFF2-40B4-BE49-F238E27FC236}">
                  <a16:creationId xmlns:a16="http://schemas.microsoft.com/office/drawing/2014/main" id="{1A2DC918-B20A-4E1B-A1E4-0AAFBBB3E272}"/>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1" name="Freeform 601">
              <a:extLst>
                <a:ext uri="{FF2B5EF4-FFF2-40B4-BE49-F238E27FC236}">
                  <a16:creationId xmlns:a16="http://schemas.microsoft.com/office/drawing/2014/main" id="{211A259D-DCB0-4B8D-8CF5-87CFA54061A9}"/>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2" name="Freeform 602">
              <a:extLst>
                <a:ext uri="{FF2B5EF4-FFF2-40B4-BE49-F238E27FC236}">
                  <a16:creationId xmlns:a16="http://schemas.microsoft.com/office/drawing/2014/main" id="{983784D2-94F9-4771-98D0-2BBBBBE1DBCF}"/>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3" name="Freeform 603">
              <a:extLst>
                <a:ext uri="{FF2B5EF4-FFF2-40B4-BE49-F238E27FC236}">
                  <a16:creationId xmlns:a16="http://schemas.microsoft.com/office/drawing/2014/main" id="{84583284-E257-4329-9876-993806C64508}"/>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4" name="Freeform 604">
              <a:extLst>
                <a:ext uri="{FF2B5EF4-FFF2-40B4-BE49-F238E27FC236}">
                  <a16:creationId xmlns:a16="http://schemas.microsoft.com/office/drawing/2014/main" id="{264ABF78-15E1-4F9B-90E8-DF5001A509EF}"/>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5" name="Freeform 605">
              <a:extLst>
                <a:ext uri="{FF2B5EF4-FFF2-40B4-BE49-F238E27FC236}">
                  <a16:creationId xmlns:a16="http://schemas.microsoft.com/office/drawing/2014/main" id="{EDDFF643-CEFE-4CD0-B838-2C3A0B732105}"/>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6" name="Freeform 606">
              <a:extLst>
                <a:ext uri="{FF2B5EF4-FFF2-40B4-BE49-F238E27FC236}">
                  <a16:creationId xmlns:a16="http://schemas.microsoft.com/office/drawing/2014/main" id="{62538D76-DB2A-466D-B52B-3E1B02F0253B}"/>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7" name="Freeform 607">
              <a:extLst>
                <a:ext uri="{FF2B5EF4-FFF2-40B4-BE49-F238E27FC236}">
                  <a16:creationId xmlns:a16="http://schemas.microsoft.com/office/drawing/2014/main" id="{5CCEFC8C-FE02-4520-A6F8-593474BFAF8B}"/>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8" name="Oval 608">
              <a:extLst>
                <a:ext uri="{FF2B5EF4-FFF2-40B4-BE49-F238E27FC236}">
                  <a16:creationId xmlns:a16="http://schemas.microsoft.com/office/drawing/2014/main" id="{3BD2384B-B50B-44B5-9EE5-3D77418DF13C}"/>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9" name="Freeform 609">
              <a:extLst>
                <a:ext uri="{FF2B5EF4-FFF2-40B4-BE49-F238E27FC236}">
                  <a16:creationId xmlns:a16="http://schemas.microsoft.com/office/drawing/2014/main" id="{248388A5-1AE1-4480-AD35-F010FD3E9CBE}"/>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0" name="Freeform 610">
              <a:extLst>
                <a:ext uri="{FF2B5EF4-FFF2-40B4-BE49-F238E27FC236}">
                  <a16:creationId xmlns:a16="http://schemas.microsoft.com/office/drawing/2014/main" id="{8B47AB9F-6873-46B3-90A9-EE1B8408740E}"/>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1" name="Freeform 611">
              <a:extLst>
                <a:ext uri="{FF2B5EF4-FFF2-40B4-BE49-F238E27FC236}">
                  <a16:creationId xmlns:a16="http://schemas.microsoft.com/office/drawing/2014/main" id="{17B5D42C-FFA0-4E4D-BA7B-3D272CD8ED20}"/>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2" name="Freeform 612">
              <a:extLst>
                <a:ext uri="{FF2B5EF4-FFF2-40B4-BE49-F238E27FC236}">
                  <a16:creationId xmlns:a16="http://schemas.microsoft.com/office/drawing/2014/main" id="{A58D42DA-CAA9-49D2-9136-C77FEC0AED2E}"/>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3" name="Freeform 613">
              <a:extLst>
                <a:ext uri="{FF2B5EF4-FFF2-40B4-BE49-F238E27FC236}">
                  <a16:creationId xmlns:a16="http://schemas.microsoft.com/office/drawing/2014/main" id="{130BB39D-1CF4-4C87-8D3C-6DAC30D876B3}"/>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4" name="Freeform 614">
              <a:extLst>
                <a:ext uri="{FF2B5EF4-FFF2-40B4-BE49-F238E27FC236}">
                  <a16:creationId xmlns:a16="http://schemas.microsoft.com/office/drawing/2014/main" id="{A15BB514-F1F3-41C1-8F61-685F9AE89B8E}"/>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85" name="Group 925">
            <a:extLst>
              <a:ext uri="{FF2B5EF4-FFF2-40B4-BE49-F238E27FC236}">
                <a16:creationId xmlns:a16="http://schemas.microsoft.com/office/drawing/2014/main" id="{9F080211-F6CB-4E55-8CE1-40EEA468747A}"/>
              </a:ext>
            </a:extLst>
          </p:cNvPr>
          <p:cNvGrpSpPr>
            <a:grpSpLocks noChangeAspect="1"/>
          </p:cNvGrpSpPr>
          <p:nvPr/>
        </p:nvGrpSpPr>
        <p:grpSpPr bwMode="auto">
          <a:xfrm>
            <a:off x="4869840" y="5320734"/>
            <a:ext cx="508352" cy="509136"/>
            <a:chOff x="2619" y="903"/>
            <a:chExt cx="2592" cy="2596"/>
          </a:xfrm>
        </p:grpSpPr>
        <p:sp>
          <p:nvSpPr>
            <p:cNvPr id="1586" name="Oval 926">
              <a:extLst>
                <a:ext uri="{FF2B5EF4-FFF2-40B4-BE49-F238E27FC236}">
                  <a16:creationId xmlns:a16="http://schemas.microsoft.com/office/drawing/2014/main" id="{954D65B8-2889-4BE4-9803-D7D43C51A38D}"/>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7" name="Freeform 927">
              <a:extLst>
                <a:ext uri="{FF2B5EF4-FFF2-40B4-BE49-F238E27FC236}">
                  <a16:creationId xmlns:a16="http://schemas.microsoft.com/office/drawing/2014/main" id="{2B01B85E-1F30-4A71-961D-BC26AB75BE9D}"/>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8" name="Freeform 928">
              <a:extLst>
                <a:ext uri="{FF2B5EF4-FFF2-40B4-BE49-F238E27FC236}">
                  <a16:creationId xmlns:a16="http://schemas.microsoft.com/office/drawing/2014/main" id="{A7362E74-F728-4FE6-8768-C11D83047BB8}"/>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9" name="Freeform 929">
              <a:extLst>
                <a:ext uri="{FF2B5EF4-FFF2-40B4-BE49-F238E27FC236}">
                  <a16:creationId xmlns:a16="http://schemas.microsoft.com/office/drawing/2014/main" id="{A890229C-5EAC-43ED-B2D4-3BD78B4E619A}"/>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0" name="Freeform 930">
              <a:extLst>
                <a:ext uri="{FF2B5EF4-FFF2-40B4-BE49-F238E27FC236}">
                  <a16:creationId xmlns:a16="http://schemas.microsoft.com/office/drawing/2014/main" id="{19C64103-57DF-4C0F-A3FC-2DBA31AF3C3E}"/>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1" name="Freeform 931">
              <a:extLst>
                <a:ext uri="{FF2B5EF4-FFF2-40B4-BE49-F238E27FC236}">
                  <a16:creationId xmlns:a16="http://schemas.microsoft.com/office/drawing/2014/main" id="{A60AD1EE-6F71-4D34-978E-8733B4A00B25}"/>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2" name="Freeform 932">
              <a:extLst>
                <a:ext uri="{FF2B5EF4-FFF2-40B4-BE49-F238E27FC236}">
                  <a16:creationId xmlns:a16="http://schemas.microsoft.com/office/drawing/2014/main" id="{36724284-020F-4A77-A6D6-3618769F4C93}"/>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3" name="Freeform 933">
              <a:extLst>
                <a:ext uri="{FF2B5EF4-FFF2-40B4-BE49-F238E27FC236}">
                  <a16:creationId xmlns:a16="http://schemas.microsoft.com/office/drawing/2014/main" id="{9D2C2643-4C55-40F8-81CE-90C98D0028BB}"/>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4" name="Freeform 934">
              <a:extLst>
                <a:ext uri="{FF2B5EF4-FFF2-40B4-BE49-F238E27FC236}">
                  <a16:creationId xmlns:a16="http://schemas.microsoft.com/office/drawing/2014/main" id="{C21B09D3-DF0C-4396-A82A-4D5D128B7D97}"/>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5" name="Freeform 935">
              <a:extLst>
                <a:ext uri="{FF2B5EF4-FFF2-40B4-BE49-F238E27FC236}">
                  <a16:creationId xmlns:a16="http://schemas.microsoft.com/office/drawing/2014/main" id="{0DA0BFEF-8A1D-4E80-A110-8E50B8F00AFD}"/>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6" name="Freeform 936">
              <a:extLst>
                <a:ext uri="{FF2B5EF4-FFF2-40B4-BE49-F238E27FC236}">
                  <a16:creationId xmlns:a16="http://schemas.microsoft.com/office/drawing/2014/main" id="{201833DB-1F86-4DA4-BB14-B298E0A287D9}"/>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7" name="Freeform 937">
              <a:extLst>
                <a:ext uri="{FF2B5EF4-FFF2-40B4-BE49-F238E27FC236}">
                  <a16:creationId xmlns:a16="http://schemas.microsoft.com/office/drawing/2014/main" id="{36515E3F-8F2C-4FF6-A76E-FBD40D4A55E6}"/>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8" name="Freeform 938">
              <a:extLst>
                <a:ext uri="{FF2B5EF4-FFF2-40B4-BE49-F238E27FC236}">
                  <a16:creationId xmlns:a16="http://schemas.microsoft.com/office/drawing/2014/main" id="{9FFFDD40-926C-4E40-9CA3-FBB702D982FF}"/>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9" name="Oval 939">
              <a:extLst>
                <a:ext uri="{FF2B5EF4-FFF2-40B4-BE49-F238E27FC236}">
                  <a16:creationId xmlns:a16="http://schemas.microsoft.com/office/drawing/2014/main" id="{01B6F810-BA9E-49E7-8220-19CA92C04D7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0" name="Oval 940">
              <a:extLst>
                <a:ext uri="{FF2B5EF4-FFF2-40B4-BE49-F238E27FC236}">
                  <a16:creationId xmlns:a16="http://schemas.microsoft.com/office/drawing/2014/main" id="{E1904ABA-3CEF-47B8-9BF5-46148A682DF1}"/>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1" name="Freeform 941">
              <a:extLst>
                <a:ext uri="{FF2B5EF4-FFF2-40B4-BE49-F238E27FC236}">
                  <a16:creationId xmlns:a16="http://schemas.microsoft.com/office/drawing/2014/main" id="{864543B5-B234-433F-BCD7-3A106177AD85}"/>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2" name="Freeform 942">
              <a:extLst>
                <a:ext uri="{FF2B5EF4-FFF2-40B4-BE49-F238E27FC236}">
                  <a16:creationId xmlns:a16="http://schemas.microsoft.com/office/drawing/2014/main" id="{50937C3D-F095-4F52-B922-78FCFAB692B2}"/>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3" name="Freeform 943">
              <a:extLst>
                <a:ext uri="{FF2B5EF4-FFF2-40B4-BE49-F238E27FC236}">
                  <a16:creationId xmlns:a16="http://schemas.microsoft.com/office/drawing/2014/main" id="{52F58AAA-B2C5-43F8-9757-0B9C797ACE71}"/>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1" name="Group 620">
            <a:extLst>
              <a:ext uri="{FF2B5EF4-FFF2-40B4-BE49-F238E27FC236}">
                <a16:creationId xmlns:a16="http://schemas.microsoft.com/office/drawing/2014/main" id="{55A42F0D-FAAF-46DF-8D65-2A40614C9DDD}"/>
              </a:ext>
            </a:extLst>
          </p:cNvPr>
          <p:cNvGrpSpPr/>
          <p:nvPr/>
        </p:nvGrpSpPr>
        <p:grpSpPr>
          <a:xfrm>
            <a:off x="5533677" y="3199723"/>
            <a:ext cx="840824" cy="630941"/>
            <a:chOff x="1884625" y="3222867"/>
            <a:chExt cx="840824" cy="630941"/>
          </a:xfrm>
        </p:grpSpPr>
        <p:sp>
          <p:nvSpPr>
            <p:cNvPr id="622" name="Rectangle 621">
              <a:extLst>
                <a:ext uri="{FF2B5EF4-FFF2-40B4-BE49-F238E27FC236}">
                  <a16:creationId xmlns:a16="http://schemas.microsoft.com/office/drawing/2014/main" id="{93E1DA11-785D-40E0-9D41-BE16C5D0B557}"/>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000" dirty="0">
                  <a:solidFill>
                    <a:schemeClr val="accent1"/>
                  </a:solidFill>
                  <a:ea typeface="Segoe UI" pitchFamily="34" charset="0"/>
                  <a:cs typeface="Segoe UI" pitchFamily="34" charset="0"/>
                </a:rPr>
                <a:t>User data</a:t>
              </a:r>
            </a:p>
          </p:txBody>
        </p:sp>
        <p:grpSp>
          <p:nvGrpSpPr>
            <p:cNvPr id="623" name="Group 8">
              <a:extLst>
                <a:ext uri="{FF2B5EF4-FFF2-40B4-BE49-F238E27FC236}">
                  <a16:creationId xmlns:a16="http://schemas.microsoft.com/office/drawing/2014/main" id="{E4508EE7-B8F2-4463-A1F4-0EC469429FBE}"/>
                </a:ext>
              </a:extLst>
            </p:cNvPr>
            <p:cNvGrpSpPr>
              <a:grpSpLocks noChangeAspect="1"/>
            </p:cNvGrpSpPr>
            <p:nvPr/>
          </p:nvGrpSpPr>
          <p:grpSpPr bwMode="auto">
            <a:xfrm>
              <a:off x="1884625" y="3222867"/>
              <a:ext cx="840824" cy="568244"/>
              <a:chOff x="-2098" y="2747"/>
              <a:chExt cx="1530" cy="1034"/>
            </a:xfrm>
          </p:grpSpPr>
          <p:sp>
            <p:nvSpPr>
              <p:cNvPr id="624" name="Freeform 9">
                <a:extLst>
                  <a:ext uri="{FF2B5EF4-FFF2-40B4-BE49-F238E27FC236}">
                    <a16:creationId xmlns:a16="http://schemas.microsoft.com/office/drawing/2014/main" id="{7A3B6C25-17C5-47EA-B275-83C9769D08E2}"/>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5" name="Freeform 10">
                <a:extLst>
                  <a:ext uri="{FF2B5EF4-FFF2-40B4-BE49-F238E27FC236}">
                    <a16:creationId xmlns:a16="http://schemas.microsoft.com/office/drawing/2014/main" id="{EDB5F7C2-0BA4-4CB9-AE5C-5A5166405090}"/>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 name="Freeform 11">
                <a:extLst>
                  <a:ext uri="{FF2B5EF4-FFF2-40B4-BE49-F238E27FC236}">
                    <a16:creationId xmlns:a16="http://schemas.microsoft.com/office/drawing/2014/main" id="{64BD0A84-0826-46E6-99CA-0EC7F682FBAC}"/>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 name="Rectangle 12">
                <a:extLst>
                  <a:ext uri="{FF2B5EF4-FFF2-40B4-BE49-F238E27FC236}">
                    <a16:creationId xmlns:a16="http://schemas.microsoft.com/office/drawing/2014/main" id="{5517A2FB-4DB3-405D-8BC4-5242155047D0}"/>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 name="Rectangle 13">
                <a:extLst>
                  <a:ext uri="{FF2B5EF4-FFF2-40B4-BE49-F238E27FC236}">
                    <a16:creationId xmlns:a16="http://schemas.microsoft.com/office/drawing/2014/main" id="{CA1E7456-57DF-4756-943F-94141CCDE8ED}"/>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 name="Rectangle 14">
                <a:extLst>
                  <a:ext uri="{FF2B5EF4-FFF2-40B4-BE49-F238E27FC236}">
                    <a16:creationId xmlns:a16="http://schemas.microsoft.com/office/drawing/2014/main" id="{86EBF9D2-564D-408C-A89C-21F812123DCB}"/>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 name="Rectangle 15">
                <a:extLst>
                  <a:ext uri="{FF2B5EF4-FFF2-40B4-BE49-F238E27FC236}">
                    <a16:creationId xmlns:a16="http://schemas.microsoft.com/office/drawing/2014/main" id="{E40E9FC5-D05C-4CBB-8874-1CF0BF91CB37}"/>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 name="Rectangle 16">
                <a:extLst>
                  <a:ext uri="{FF2B5EF4-FFF2-40B4-BE49-F238E27FC236}">
                    <a16:creationId xmlns:a16="http://schemas.microsoft.com/office/drawing/2014/main" id="{C1DD2B3B-4F1A-456A-BFDB-638FAF3BC8E0}"/>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 name="Rectangle 17">
                <a:extLst>
                  <a:ext uri="{FF2B5EF4-FFF2-40B4-BE49-F238E27FC236}">
                    <a16:creationId xmlns:a16="http://schemas.microsoft.com/office/drawing/2014/main" id="{8BFCCF29-4270-456F-8891-9A8CC6373012}"/>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 name="Oval 18">
                <a:extLst>
                  <a:ext uri="{FF2B5EF4-FFF2-40B4-BE49-F238E27FC236}">
                    <a16:creationId xmlns:a16="http://schemas.microsoft.com/office/drawing/2014/main" id="{D2B3AA31-7F11-4223-A235-CFE549642896}"/>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 name="Freeform 19">
                <a:extLst>
                  <a:ext uri="{FF2B5EF4-FFF2-40B4-BE49-F238E27FC236}">
                    <a16:creationId xmlns:a16="http://schemas.microsoft.com/office/drawing/2014/main" id="{1B2C1001-3326-481B-8C6C-3B5E238A7A73}"/>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35" name="Group 634">
            <a:extLst>
              <a:ext uri="{FF2B5EF4-FFF2-40B4-BE49-F238E27FC236}">
                <a16:creationId xmlns:a16="http://schemas.microsoft.com/office/drawing/2014/main" id="{629799B0-9DF4-4418-8C16-AEC6CB37F8AD}"/>
              </a:ext>
            </a:extLst>
          </p:cNvPr>
          <p:cNvGrpSpPr/>
          <p:nvPr/>
        </p:nvGrpSpPr>
        <p:grpSpPr>
          <a:xfrm>
            <a:off x="5533677" y="4218665"/>
            <a:ext cx="840824" cy="630941"/>
            <a:chOff x="1884625" y="3222867"/>
            <a:chExt cx="840824" cy="630941"/>
          </a:xfrm>
        </p:grpSpPr>
        <p:sp>
          <p:nvSpPr>
            <p:cNvPr id="636" name="Rectangle 635">
              <a:extLst>
                <a:ext uri="{FF2B5EF4-FFF2-40B4-BE49-F238E27FC236}">
                  <a16:creationId xmlns:a16="http://schemas.microsoft.com/office/drawing/2014/main" id="{A4C18369-1C63-474E-B34D-9FB03159CF4E}"/>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000" dirty="0">
                  <a:solidFill>
                    <a:schemeClr val="accent1"/>
                  </a:solidFill>
                  <a:ea typeface="Segoe UI" pitchFamily="34" charset="0"/>
                  <a:cs typeface="Segoe UI" pitchFamily="34" charset="0"/>
                </a:rPr>
                <a:t>User data</a:t>
              </a:r>
            </a:p>
          </p:txBody>
        </p:sp>
        <p:grpSp>
          <p:nvGrpSpPr>
            <p:cNvPr id="637" name="Group 8">
              <a:extLst>
                <a:ext uri="{FF2B5EF4-FFF2-40B4-BE49-F238E27FC236}">
                  <a16:creationId xmlns:a16="http://schemas.microsoft.com/office/drawing/2014/main" id="{45268369-5635-4C58-91B0-9471B6FED3ED}"/>
                </a:ext>
              </a:extLst>
            </p:cNvPr>
            <p:cNvGrpSpPr>
              <a:grpSpLocks noChangeAspect="1"/>
            </p:cNvGrpSpPr>
            <p:nvPr/>
          </p:nvGrpSpPr>
          <p:grpSpPr bwMode="auto">
            <a:xfrm>
              <a:off x="1884625" y="3222867"/>
              <a:ext cx="840824" cy="568244"/>
              <a:chOff x="-2098" y="2747"/>
              <a:chExt cx="1530" cy="1034"/>
            </a:xfrm>
          </p:grpSpPr>
          <p:sp>
            <p:nvSpPr>
              <p:cNvPr id="638" name="Freeform 9">
                <a:extLst>
                  <a:ext uri="{FF2B5EF4-FFF2-40B4-BE49-F238E27FC236}">
                    <a16:creationId xmlns:a16="http://schemas.microsoft.com/office/drawing/2014/main" id="{B60E81B8-16BD-47E3-B2F6-FE94565E0B83}"/>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9" name="Freeform 10">
                <a:extLst>
                  <a:ext uri="{FF2B5EF4-FFF2-40B4-BE49-F238E27FC236}">
                    <a16:creationId xmlns:a16="http://schemas.microsoft.com/office/drawing/2014/main" id="{C74CB8BC-8A19-4ED3-BAC5-96DC0711DE81}"/>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 name="Freeform 11">
                <a:extLst>
                  <a:ext uri="{FF2B5EF4-FFF2-40B4-BE49-F238E27FC236}">
                    <a16:creationId xmlns:a16="http://schemas.microsoft.com/office/drawing/2014/main" id="{74437B46-AAB6-4EA5-8E0E-63E95F52FA6D}"/>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1" name="Rectangle 12">
                <a:extLst>
                  <a:ext uri="{FF2B5EF4-FFF2-40B4-BE49-F238E27FC236}">
                    <a16:creationId xmlns:a16="http://schemas.microsoft.com/office/drawing/2014/main" id="{F3EBEDC9-D825-4123-9A97-90B2984A4569}"/>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 name="Rectangle 13">
                <a:extLst>
                  <a:ext uri="{FF2B5EF4-FFF2-40B4-BE49-F238E27FC236}">
                    <a16:creationId xmlns:a16="http://schemas.microsoft.com/office/drawing/2014/main" id="{99A2299A-1501-4683-908E-37B1E37CBBD6}"/>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3" name="Rectangle 14">
                <a:extLst>
                  <a:ext uri="{FF2B5EF4-FFF2-40B4-BE49-F238E27FC236}">
                    <a16:creationId xmlns:a16="http://schemas.microsoft.com/office/drawing/2014/main" id="{84A8BC55-A6C9-4567-9080-1DE5852E6E70}"/>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4" name="Rectangle 15">
                <a:extLst>
                  <a:ext uri="{FF2B5EF4-FFF2-40B4-BE49-F238E27FC236}">
                    <a16:creationId xmlns:a16="http://schemas.microsoft.com/office/drawing/2014/main" id="{98A0C156-DAF6-4644-A1BE-A5759A3552E3}"/>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5" name="Rectangle 16">
                <a:extLst>
                  <a:ext uri="{FF2B5EF4-FFF2-40B4-BE49-F238E27FC236}">
                    <a16:creationId xmlns:a16="http://schemas.microsoft.com/office/drawing/2014/main" id="{51710EC9-4761-4B7D-A00A-ACFE29D4D221}"/>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6" name="Rectangle 17">
                <a:extLst>
                  <a:ext uri="{FF2B5EF4-FFF2-40B4-BE49-F238E27FC236}">
                    <a16:creationId xmlns:a16="http://schemas.microsoft.com/office/drawing/2014/main" id="{F8FBBC64-99BD-4D02-A1BB-3997B6C195B6}"/>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7" name="Oval 18">
                <a:extLst>
                  <a:ext uri="{FF2B5EF4-FFF2-40B4-BE49-F238E27FC236}">
                    <a16:creationId xmlns:a16="http://schemas.microsoft.com/office/drawing/2014/main" id="{BE08A923-CC4E-4C02-8E6C-BA1A45023951}"/>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 name="Freeform 19">
                <a:extLst>
                  <a:ext uri="{FF2B5EF4-FFF2-40B4-BE49-F238E27FC236}">
                    <a16:creationId xmlns:a16="http://schemas.microsoft.com/office/drawing/2014/main" id="{7FF63D42-D7E2-4D51-9522-2098755D6957}"/>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49" name="Group 648">
            <a:extLst>
              <a:ext uri="{FF2B5EF4-FFF2-40B4-BE49-F238E27FC236}">
                <a16:creationId xmlns:a16="http://schemas.microsoft.com/office/drawing/2014/main" id="{BAA55C67-EC51-4297-AA5E-B5BE4FF4D68B}"/>
              </a:ext>
            </a:extLst>
          </p:cNvPr>
          <p:cNvGrpSpPr/>
          <p:nvPr/>
        </p:nvGrpSpPr>
        <p:grpSpPr>
          <a:xfrm>
            <a:off x="5533677" y="5259832"/>
            <a:ext cx="840824" cy="630941"/>
            <a:chOff x="1884625" y="3222867"/>
            <a:chExt cx="840824" cy="630941"/>
          </a:xfrm>
        </p:grpSpPr>
        <p:sp>
          <p:nvSpPr>
            <p:cNvPr id="650" name="Rectangle 649">
              <a:extLst>
                <a:ext uri="{FF2B5EF4-FFF2-40B4-BE49-F238E27FC236}">
                  <a16:creationId xmlns:a16="http://schemas.microsoft.com/office/drawing/2014/main" id="{F50EEB41-2C20-4C56-B828-4AFDBB7A2B3C}"/>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000" dirty="0">
                  <a:solidFill>
                    <a:schemeClr val="accent1"/>
                  </a:solidFill>
                  <a:ea typeface="Segoe UI" pitchFamily="34" charset="0"/>
                  <a:cs typeface="Segoe UI" pitchFamily="34" charset="0"/>
                </a:rPr>
                <a:t>User data</a:t>
              </a:r>
            </a:p>
          </p:txBody>
        </p:sp>
        <p:grpSp>
          <p:nvGrpSpPr>
            <p:cNvPr id="651" name="Group 8">
              <a:extLst>
                <a:ext uri="{FF2B5EF4-FFF2-40B4-BE49-F238E27FC236}">
                  <a16:creationId xmlns:a16="http://schemas.microsoft.com/office/drawing/2014/main" id="{67C633FB-07B5-4E54-A8A5-73385434AFF2}"/>
                </a:ext>
              </a:extLst>
            </p:cNvPr>
            <p:cNvGrpSpPr>
              <a:grpSpLocks noChangeAspect="1"/>
            </p:cNvGrpSpPr>
            <p:nvPr/>
          </p:nvGrpSpPr>
          <p:grpSpPr bwMode="auto">
            <a:xfrm>
              <a:off x="1884625" y="3222867"/>
              <a:ext cx="840824" cy="568244"/>
              <a:chOff x="-2098" y="2747"/>
              <a:chExt cx="1530" cy="1034"/>
            </a:xfrm>
          </p:grpSpPr>
          <p:sp>
            <p:nvSpPr>
              <p:cNvPr id="652" name="Freeform 9">
                <a:extLst>
                  <a:ext uri="{FF2B5EF4-FFF2-40B4-BE49-F238E27FC236}">
                    <a16:creationId xmlns:a16="http://schemas.microsoft.com/office/drawing/2014/main" id="{E49EBBCB-14B0-46D1-AA00-6D54A251B8ED}"/>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 name="Freeform 10">
                <a:extLst>
                  <a:ext uri="{FF2B5EF4-FFF2-40B4-BE49-F238E27FC236}">
                    <a16:creationId xmlns:a16="http://schemas.microsoft.com/office/drawing/2014/main" id="{38A4A4BA-C55D-49BF-87DD-469F56DCD146}"/>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 name="Freeform 11">
                <a:extLst>
                  <a:ext uri="{FF2B5EF4-FFF2-40B4-BE49-F238E27FC236}">
                    <a16:creationId xmlns:a16="http://schemas.microsoft.com/office/drawing/2014/main" id="{AE12E8A3-F43C-4A19-87F7-CA3E688B3AFC}"/>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 name="Rectangle 12">
                <a:extLst>
                  <a:ext uri="{FF2B5EF4-FFF2-40B4-BE49-F238E27FC236}">
                    <a16:creationId xmlns:a16="http://schemas.microsoft.com/office/drawing/2014/main" id="{28C74A17-8C85-4F65-BF3D-4B63A9847938}"/>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6" name="Rectangle 13">
                <a:extLst>
                  <a:ext uri="{FF2B5EF4-FFF2-40B4-BE49-F238E27FC236}">
                    <a16:creationId xmlns:a16="http://schemas.microsoft.com/office/drawing/2014/main" id="{8BBB4C88-CDEA-4143-B493-BB70F5397C97}"/>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7" name="Rectangle 14">
                <a:extLst>
                  <a:ext uri="{FF2B5EF4-FFF2-40B4-BE49-F238E27FC236}">
                    <a16:creationId xmlns:a16="http://schemas.microsoft.com/office/drawing/2014/main" id="{6207FC9D-9613-4BF7-84B6-A6C4E7211218}"/>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8" name="Rectangle 15">
                <a:extLst>
                  <a:ext uri="{FF2B5EF4-FFF2-40B4-BE49-F238E27FC236}">
                    <a16:creationId xmlns:a16="http://schemas.microsoft.com/office/drawing/2014/main" id="{B9DD73B5-1DDD-478F-8F39-F2FF1652F5E6}"/>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9" name="Rectangle 16">
                <a:extLst>
                  <a:ext uri="{FF2B5EF4-FFF2-40B4-BE49-F238E27FC236}">
                    <a16:creationId xmlns:a16="http://schemas.microsoft.com/office/drawing/2014/main" id="{D480190C-5663-46CF-8B51-9A914193F220}"/>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0" name="Rectangle 17">
                <a:extLst>
                  <a:ext uri="{FF2B5EF4-FFF2-40B4-BE49-F238E27FC236}">
                    <a16:creationId xmlns:a16="http://schemas.microsoft.com/office/drawing/2014/main" id="{D8C79C7A-0579-4BC2-B8B4-50590498E84B}"/>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1" name="Oval 18">
                <a:extLst>
                  <a:ext uri="{FF2B5EF4-FFF2-40B4-BE49-F238E27FC236}">
                    <a16:creationId xmlns:a16="http://schemas.microsoft.com/office/drawing/2014/main" id="{7B9284D5-8306-4E2B-B055-4C6E1AD459C0}"/>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2" name="Freeform 19">
                <a:extLst>
                  <a:ext uri="{FF2B5EF4-FFF2-40B4-BE49-F238E27FC236}">
                    <a16:creationId xmlns:a16="http://schemas.microsoft.com/office/drawing/2014/main" id="{1DCC0451-00DF-4A45-9BE3-F595C19AE51F}"/>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 name="Group 6">
            <a:extLst>
              <a:ext uri="{FF2B5EF4-FFF2-40B4-BE49-F238E27FC236}">
                <a16:creationId xmlns:a16="http://schemas.microsoft.com/office/drawing/2014/main" id="{81301BB3-7548-40EB-B874-E47317695664}"/>
              </a:ext>
            </a:extLst>
          </p:cNvPr>
          <p:cNvGrpSpPr/>
          <p:nvPr/>
        </p:nvGrpSpPr>
        <p:grpSpPr>
          <a:xfrm>
            <a:off x="6635306" y="3554992"/>
            <a:ext cx="959737" cy="1918227"/>
            <a:chOff x="6635306" y="3569013"/>
            <a:chExt cx="959737" cy="1918227"/>
          </a:xfrm>
        </p:grpSpPr>
        <p:sp>
          <p:nvSpPr>
            <p:cNvPr id="5" name="Rectangle 4">
              <a:extLst>
                <a:ext uri="{FF2B5EF4-FFF2-40B4-BE49-F238E27FC236}">
                  <a16:creationId xmlns:a16="http://schemas.microsoft.com/office/drawing/2014/main" id="{1E10FD82-3AAC-4B82-915C-80A7C93B11C5}"/>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07" name="Group 1606">
              <a:extLst>
                <a:ext uri="{FF2B5EF4-FFF2-40B4-BE49-F238E27FC236}">
                  <a16:creationId xmlns:a16="http://schemas.microsoft.com/office/drawing/2014/main" id="{60B06294-D756-4D84-8CED-13708C825416}"/>
                </a:ext>
              </a:extLst>
            </p:cNvPr>
            <p:cNvGrpSpPr/>
            <p:nvPr/>
          </p:nvGrpSpPr>
          <p:grpSpPr>
            <a:xfrm>
              <a:off x="6680394" y="3606930"/>
              <a:ext cx="869560" cy="1842392"/>
              <a:chOff x="5094287" y="4557713"/>
              <a:chExt cx="460376" cy="971549"/>
            </a:xfrm>
          </p:grpSpPr>
          <p:sp>
            <p:nvSpPr>
              <p:cNvPr id="1608" name="AutoShape 38">
                <a:extLst>
                  <a:ext uri="{FF2B5EF4-FFF2-40B4-BE49-F238E27FC236}">
                    <a16:creationId xmlns:a16="http://schemas.microsoft.com/office/drawing/2014/main" id="{8F933B9F-5136-48C8-A173-8328BC886162}"/>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9" name="Freeform 40">
                <a:extLst>
                  <a:ext uri="{FF2B5EF4-FFF2-40B4-BE49-F238E27FC236}">
                    <a16:creationId xmlns:a16="http://schemas.microsoft.com/office/drawing/2014/main" id="{6C523318-3F05-42C9-AAA3-C86BA0C8B579}"/>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0" name="Rectangle 41">
                <a:extLst>
                  <a:ext uri="{FF2B5EF4-FFF2-40B4-BE49-F238E27FC236}">
                    <a16:creationId xmlns:a16="http://schemas.microsoft.com/office/drawing/2014/main" id="{80CD9BF0-6F17-46E3-A90A-C491131445A5}"/>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11" name="Rectangle 42">
                <a:extLst>
                  <a:ext uri="{FF2B5EF4-FFF2-40B4-BE49-F238E27FC236}">
                    <a16:creationId xmlns:a16="http://schemas.microsoft.com/office/drawing/2014/main" id="{8F54E8E3-CDC2-42E3-9C90-D029B260E95E}"/>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12" name="Freeform 43">
                <a:extLst>
                  <a:ext uri="{FF2B5EF4-FFF2-40B4-BE49-F238E27FC236}">
                    <a16:creationId xmlns:a16="http://schemas.microsoft.com/office/drawing/2014/main" id="{409CB654-43B5-46A5-BD59-B320E3BBB4E4}"/>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3" name="Rectangle 44">
                <a:extLst>
                  <a:ext uri="{FF2B5EF4-FFF2-40B4-BE49-F238E27FC236}">
                    <a16:creationId xmlns:a16="http://schemas.microsoft.com/office/drawing/2014/main" id="{395F0767-952F-4B5E-A173-5434988FC07A}"/>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14" name="Rectangle 45">
                <a:extLst>
                  <a:ext uri="{FF2B5EF4-FFF2-40B4-BE49-F238E27FC236}">
                    <a16:creationId xmlns:a16="http://schemas.microsoft.com/office/drawing/2014/main" id="{5E339ABD-552A-4AAD-BF30-8CA139291010}"/>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15" name="Freeform 46">
                <a:extLst>
                  <a:ext uri="{FF2B5EF4-FFF2-40B4-BE49-F238E27FC236}">
                    <a16:creationId xmlns:a16="http://schemas.microsoft.com/office/drawing/2014/main" id="{2B558315-4956-4DA1-B406-5ED30A5913A3}"/>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6" name="Rectangle 47">
                <a:extLst>
                  <a:ext uri="{FF2B5EF4-FFF2-40B4-BE49-F238E27FC236}">
                    <a16:creationId xmlns:a16="http://schemas.microsoft.com/office/drawing/2014/main" id="{12760DAC-FBB6-4FF5-A177-786C962E00FC}"/>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17" name="Rectangle 48">
                <a:extLst>
                  <a:ext uri="{FF2B5EF4-FFF2-40B4-BE49-F238E27FC236}">
                    <a16:creationId xmlns:a16="http://schemas.microsoft.com/office/drawing/2014/main" id="{00A17C2A-382C-4089-818E-15F69A57A9AC}"/>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18" name="Freeform 49">
                <a:extLst>
                  <a:ext uri="{FF2B5EF4-FFF2-40B4-BE49-F238E27FC236}">
                    <a16:creationId xmlns:a16="http://schemas.microsoft.com/office/drawing/2014/main" id="{9D689068-72DD-4892-B2A1-2FC879014DE7}"/>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9" name="Rectangle 50">
                <a:extLst>
                  <a:ext uri="{FF2B5EF4-FFF2-40B4-BE49-F238E27FC236}">
                    <a16:creationId xmlns:a16="http://schemas.microsoft.com/office/drawing/2014/main" id="{92B71140-7280-4D69-BEC0-6F63DB961EBC}"/>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0" name="Rectangle 51">
                <a:extLst>
                  <a:ext uri="{FF2B5EF4-FFF2-40B4-BE49-F238E27FC236}">
                    <a16:creationId xmlns:a16="http://schemas.microsoft.com/office/drawing/2014/main" id="{AD2F24B4-8BBA-4114-AB24-8495C1736FE8}"/>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1" name="Freeform 52">
                <a:extLst>
                  <a:ext uri="{FF2B5EF4-FFF2-40B4-BE49-F238E27FC236}">
                    <a16:creationId xmlns:a16="http://schemas.microsoft.com/office/drawing/2014/main" id="{F760654E-6F91-460C-88DF-EBCDC9490062}"/>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2" name="Rectangle 53">
                <a:extLst>
                  <a:ext uri="{FF2B5EF4-FFF2-40B4-BE49-F238E27FC236}">
                    <a16:creationId xmlns:a16="http://schemas.microsoft.com/office/drawing/2014/main" id="{D364C0D7-F9C2-4DAC-82CC-EA5DF92A7C8C}"/>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3" name="Rectangle 54">
                <a:extLst>
                  <a:ext uri="{FF2B5EF4-FFF2-40B4-BE49-F238E27FC236}">
                    <a16:creationId xmlns:a16="http://schemas.microsoft.com/office/drawing/2014/main" id="{1E641D8B-9B39-4BBD-AA40-3BA307067716}"/>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4" name="Freeform 55">
                <a:extLst>
                  <a:ext uri="{FF2B5EF4-FFF2-40B4-BE49-F238E27FC236}">
                    <a16:creationId xmlns:a16="http://schemas.microsoft.com/office/drawing/2014/main" id="{AEEE27C4-E61C-4DC9-8AEC-6EFD3D7B2C1A}"/>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5" name="Rectangle 56">
                <a:extLst>
                  <a:ext uri="{FF2B5EF4-FFF2-40B4-BE49-F238E27FC236}">
                    <a16:creationId xmlns:a16="http://schemas.microsoft.com/office/drawing/2014/main" id="{E3A59FCC-3F57-4043-B7C2-EA34A4E2ACD4}"/>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6" name="Rectangle 57">
                <a:extLst>
                  <a:ext uri="{FF2B5EF4-FFF2-40B4-BE49-F238E27FC236}">
                    <a16:creationId xmlns:a16="http://schemas.microsoft.com/office/drawing/2014/main" id="{4CB8EB45-41F0-4BDA-9B6D-FB29840EE6D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7" name="Freeform 58">
                <a:extLst>
                  <a:ext uri="{FF2B5EF4-FFF2-40B4-BE49-F238E27FC236}">
                    <a16:creationId xmlns:a16="http://schemas.microsoft.com/office/drawing/2014/main" id="{1162131F-4150-4A99-BF0D-526C2D68FE3E}"/>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8" name="Rectangle 59">
                <a:extLst>
                  <a:ext uri="{FF2B5EF4-FFF2-40B4-BE49-F238E27FC236}">
                    <a16:creationId xmlns:a16="http://schemas.microsoft.com/office/drawing/2014/main" id="{0D718BD3-8944-4A3A-A9EF-14D88C588A6A}"/>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9" name="Rectangle 60">
                <a:extLst>
                  <a:ext uri="{FF2B5EF4-FFF2-40B4-BE49-F238E27FC236}">
                    <a16:creationId xmlns:a16="http://schemas.microsoft.com/office/drawing/2014/main" id="{BD728840-93A7-461B-A2D1-86C737EBA1F8}"/>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0" name="Freeform 61">
                <a:extLst>
                  <a:ext uri="{FF2B5EF4-FFF2-40B4-BE49-F238E27FC236}">
                    <a16:creationId xmlns:a16="http://schemas.microsoft.com/office/drawing/2014/main" id="{0AF3302A-0E91-45E0-A84C-6774E33BEEF6}"/>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1" name="Rectangle 62">
                <a:extLst>
                  <a:ext uri="{FF2B5EF4-FFF2-40B4-BE49-F238E27FC236}">
                    <a16:creationId xmlns:a16="http://schemas.microsoft.com/office/drawing/2014/main" id="{18A505C2-32A5-419C-8284-B13D3C7157AB}"/>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2" name="Rectangle 63">
                <a:extLst>
                  <a:ext uri="{FF2B5EF4-FFF2-40B4-BE49-F238E27FC236}">
                    <a16:creationId xmlns:a16="http://schemas.microsoft.com/office/drawing/2014/main" id="{F7D872F2-C265-4F85-8BAC-4F1F8204820F}"/>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3" name="Freeform 64">
                <a:extLst>
                  <a:ext uri="{FF2B5EF4-FFF2-40B4-BE49-F238E27FC236}">
                    <a16:creationId xmlns:a16="http://schemas.microsoft.com/office/drawing/2014/main" id="{2B896AD8-B7D3-4CE2-A72D-C15E12CD2F7D}"/>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4" name="Rectangle 65">
                <a:extLst>
                  <a:ext uri="{FF2B5EF4-FFF2-40B4-BE49-F238E27FC236}">
                    <a16:creationId xmlns:a16="http://schemas.microsoft.com/office/drawing/2014/main" id="{35066143-9D86-4668-A25B-1F6A74B1A28D}"/>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5" name="Rectangle 66">
                <a:extLst>
                  <a:ext uri="{FF2B5EF4-FFF2-40B4-BE49-F238E27FC236}">
                    <a16:creationId xmlns:a16="http://schemas.microsoft.com/office/drawing/2014/main" id="{CC2D59B9-9D40-466F-8FEB-F02BD4DC507A}"/>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6" name="Freeform 67">
                <a:extLst>
                  <a:ext uri="{FF2B5EF4-FFF2-40B4-BE49-F238E27FC236}">
                    <a16:creationId xmlns:a16="http://schemas.microsoft.com/office/drawing/2014/main" id="{7ECDF39F-D2F9-47A8-9ACE-6499C9DFC4B1}"/>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7" name="Freeform 68">
                <a:extLst>
                  <a:ext uri="{FF2B5EF4-FFF2-40B4-BE49-F238E27FC236}">
                    <a16:creationId xmlns:a16="http://schemas.microsoft.com/office/drawing/2014/main" id="{3BC7DE5A-20B4-4A69-A491-7BAEBDD149E0}"/>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8" name="Freeform 69">
                <a:extLst>
                  <a:ext uri="{FF2B5EF4-FFF2-40B4-BE49-F238E27FC236}">
                    <a16:creationId xmlns:a16="http://schemas.microsoft.com/office/drawing/2014/main" id="{85C98A0F-2A8C-4519-BB78-1C0457F1B573}"/>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9" name="Freeform 70">
                <a:extLst>
                  <a:ext uri="{FF2B5EF4-FFF2-40B4-BE49-F238E27FC236}">
                    <a16:creationId xmlns:a16="http://schemas.microsoft.com/office/drawing/2014/main" id="{42A4871D-D0E5-4A3F-952A-A9EE7996776B}"/>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0" name="Freeform 71">
                <a:extLst>
                  <a:ext uri="{FF2B5EF4-FFF2-40B4-BE49-F238E27FC236}">
                    <a16:creationId xmlns:a16="http://schemas.microsoft.com/office/drawing/2014/main" id="{6441D78F-121F-4117-8498-EFBF1A7DB5BD}"/>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1" name="Freeform 72">
                <a:extLst>
                  <a:ext uri="{FF2B5EF4-FFF2-40B4-BE49-F238E27FC236}">
                    <a16:creationId xmlns:a16="http://schemas.microsoft.com/office/drawing/2014/main" id="{B6E476C3-FCCD-4015-A620-978EFBE6F86D}"/>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2" name="Freeform 73">
                <a:extLst>
                  <a:ext uri="{FF2B5EF4-FFF2-40B4-BE49-F238E27FC236}">
                    <a16:creationId xmlns:a16="http://schemas.microsoft.com/office/drawing/2014/main" id="{3AC326F6-7C95-4167-A2CF-9126B6813E27}"/>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3" name="Freeform 74">
                <a:extLst>
                  <a:ext uri="{FF2B5EF4-FFF2-40B4-BE49-F238E27FC236}">
                    <a16:creationId xmlns:a16="http://schemas.microsoft.com/office/drawing/2014/main" id="{3C2AD3DD-7517-4204-8035-48132B871904}"/>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4" name="Freeform 75">
                <a:extLst>
                  <a:ext uri="{FF2B5EF4-FFF2-40B4-BE49-F238E27FC236}">
                    <a16:creationId xmlns:a16="http://schemas.microsoft.com/office/drawing/2014/main" id="{A0729EC7-8054-4936-ACBC-D1D12A137446}"/>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5" name="Freeform 76">
                <a:extLst>
                  <a:ext uri="{FF2B5EF4-FFF2-40B4-BE49-F238E27FC236}">
                    <a16:creationId xmlns:a16="http://schemas.microsoft.com/office/drawing/2014/main" id="{992B2CE8-6E1B-4998-A3C3-83C73ADDC819}"/>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6" name="Rectangle 77">
                <a:extLst>
                  <a:ext uri="{FF2B5EF4-FFF2-40B4-BE49-F238E27FC236}">
                    <a16:creationId xmlns:a16="http://schemas.microsoft.com/office/drawing/2014/main" id="{EAC96704-BD94-4F27-BC7F-729A596D3E33}"/>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7" name="Freeform 78">
                <a:extLst>
                  <a:ext uri="{FF2B5EF4-FFF2-40B4-BE49-F238E27FC236}">
                    <a16:creationId xmlns:a16="http://schemas.microsoft.com/office/drawing/2014/main" id="{5D095AC9-A70F-4EAF-9B8E-5626B518A43D}"/>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8" name="Rectangle 79">
                <a:extLst>
                  <a:ext uri="{FF2B5EF4-FFF2-40B4-BE49-F238E27FC236}">
                    <a16:creationId xmlns:a16="http://schemas.microsoft.com/office/drawing/2014/main" id="{7B25F439-ED78-4E40-9C21-122C699F3213}"/>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9" name="Freeform 80">
                <a:extLst>
                  <a:ext uri="{FF2B5EF4-FFF2-40B4-BE49-F238E27FC236}">
                    <a16:creationId xmlns:a16="http://schemas.microsoft.com/office/drawing/2014/main" id="{47A0BDB9-0154-4957-8AEE-CED09DF60D02}"/>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0" name="Rectangle 81">
                <a:extLst>
                  <a:ext uri="{FF2B5EF4-FFF2-40B4-BE49-F238E27FC236}">
                    <a16:creationId xmlns:a16="http://schemas.microsoft.com/office/drawing/2014/main" id="{1A07C22A-33C9-4683-AA09-0F7A09E292DA}"/>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51" name="Freeform 82">
                <a:extLst>
                  <a:ext uri="{FF2B5EF4-FFF2-40B4-BE49-F238E27FC236}">
                    <a16:creationId xmlns:a16="http://schemas.microsoft.com/office/drawing/2014/main" id="{08902E64-4420-4F3F-9905-A5279E23D360}"/>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2" name="Rectangle 83">
                <a:extLst>
                  <a:ext uri="{FF2B5EF4-FFF2-40B4-BE49-F238E27FC236}">
                    <a16:creationId xmlns:a16="http://schemas.microsoft.com/office/drawing/2014/main" id="{BD8400A7-1ED6-47DB-B06F-E40353EFD0A0}"/>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53" name="Freeform 84">
                <a:extLst>
                  <a:ext uri="{FF2B5EF4-FFF2-40B4-BE49-F238E27FC236}">
                    <a16:creationId xmlns:a16="http://schemas.microsoft.com/office/drawing/2014/main" id="{505616FB-A985-4678-A8DD-51B8ED9FAE5B}"/>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673" name="Rectangle 672">
            <a:extLst>
              <a:ext uri="{FF2B5EF4-FFF2-40B4-BE49-F238E27FC236}">
                <a16:creationId xmlns:a16="http://schemas.microsoft.com/office/drawing/2014/main" id="{E66E3C52-68A8-464A-A79F-DC429A6B230F}"/>
              </a:ext>
            </a:extLst>
          </p:cNvPr>
          <p:cNvSpPr/>
          <p:nvPr/>
        </p:nvSpPr>
        <p:spPr>
          <a:xfrm>
            <a:off x="3271596" y="3673369"/>
            <a:ext cx="231367" cy="129939"/>
          </a:xfrm>
          <a:prstGeom prst="rect">
            <a:avLst/>
          </a:prstGeom>
          <a:solidFill>
            <a:srgbClr val="7F7F7F"/>
          </a:solidFill>
        </p:spPr>
        <p:txBody>
          <a:bodyPr wrap="square" lIns="0" tIns="0" rIns="0" bIns="0" rtlCol="0" anchor="ctr">
            <a:noAutofit/>
          </a:bodyPr>
          <a:lstStyle/>
          <a:p>
            <a:pPr algn="ctr"/>
            <a:r>
              <a:rPr lang="en-US" sz="1000" b="1" dirty="0">
                <a:solidFill>
                  <a:schemeClr val="bg1"/>
                </a:solidFill>
              </a:rPr>
              <a:t>VM</a:t>
            </a:r>
          </a:p>
        </p:txBody>
      </p:sp>
      <p:sp>
        <p:nvSpPr>
          <p:cNvPr id="674" name="Rectangle 673">
            <a:extLst>
              <a:ext uri="{FF2B5EF4-FFF2-40B4-BE49-F238E27FC236}">
                <a16:creationId xmlns:a16="http://schemas.microsoft.com/office/drawing/2014/main" id="{46E1BF94-FA9C-4DBF-A278-109AABDA36F3}"/>
              </a:ext>
            </a:extLst>
          </p:cNvPr>
          <p:cNvSpPr/>
          <p:nvPr/>
        </p:nvSpPr>
        <p:spPr>
          <a:xfrm>
            <a:off x="3271596" y="4713834"/>
            <a:ext cx="231367" cy="129939"/>
          </a:xfrm>
          <a:prstGeom prst="rect">
            <a:avLst/>
          </a:prstGeom>
          <a:solidFill>
            <a:srgbClr val="7F7F7F"/>
          </a:solidFill>
        </p:spPr>
        <p:txBody>
          <a:bodyPr wrap="square" lIns="0" tIns="0" rIns="0" bIns="0" rtlCol="0" anchor="ctr">
            <a:noAutofit/>
          </a:bodyPr>
          <a:lstStyle/>
          <a:p>
            <a:pPr algn="ctr"/>
            <a:r>
              <a:rPr lang="en-US" sz="1000" b="1" dirty="0">
                <a:solidFill>
                  <a:schemeClr val="bg1"/>
                </a:solidFill>
              </a:rPr>
              <a:t>VM</a:t>
            </a:r>
          </a:p>
        </p:txBody>
      </p:sp>
      <p:sp>
        <p:nvSpPr>
          <p:cNvPr id="675" name="Rectangle 674">
            <a:extLst>
              <a:ext uri="{FF2B5EF4-FFF2-40B4-BE49-F238E27FC236}">
                <a16:creationId xmlns:a16="http://schemas.microsoft.com/office/drawing/2014/main" id="{6933B284-0896-41D8-835C-93560D6C999D}"/>
              </a:ext>
            </a:extLst>
          </p:cNvPr>
          <p:cNvSpPr/>
          <p:nvPr/>
        </p:nvSpPr>
        <p:spPr>
          <a:xfrm>
            <a:off x="3279907" y="5767243"/>
            <a:ext cx="231367" cy="129939"/>
          </a:xfrm>
          <a:prstGeom prst="rect">
            <a:avLst/>
          </a:prstGeom>
          <a:solidFill>
            <a:srgbClr val="7F7F7F"/>
          </a:solidFill>
        </p:spPr>
        <p:txBody>
          <a:bodyPr wrap="square" lIns="0" tIns="0" rIns="0" bIns="0" rtlCol="0" anchor="ctr">
            <a:noAutofit/>
          </a:bodyPr>
          <a:lstStyle/>
          <a:p>
            <a:pPr algn="ctr"/>
            <a:r>
              <a:rPr lang="en-US" sz="1000" b="1" dirty="0">
                <a:solidFill>
                  <a:schemeClr val="bg1"/>
                </a:solidFill>
              </a:rPr>
              <a:t>VM</a:t>
            </a:r>
          </a:p>
        </p:txBody>
      </p:sp>
      <p:sp>
        <p:nvSpPr>
          <p:cNvPr id="676" name="Rectangle 675">
            <a:extLst>
              <a:ext uri="{FF2B5EF4-FFF2-40B4-BE49-F238E27FC236}">
                <a16:creationId xmlns:a16="http://schemas.microsoft.com/office/drawing/2014/main" id="{10DB112F-0A7B-42E7-BEAA-84A466136E76}"/>
              </a:ext>
            </a:extLst>
          </p:cNvPr>
          <p:cNvSpPr/>
          <p:nvPr/>
        </p:nvSpPr>
        <p:spPr>
          <a:xfrm>
            <a:off x="6913402" y="5068414"/>
            <a:ext cx="401940" cy="215444"/>
          </a:xfrm>
          <a:prstGeom prst="rect">
            <a:avLst/>
          </a:prstGeom>
          <a:solidFill>
            <a:srgbClr val="7F7F7F"/>
          </a:solidFill>
        </p:spPr>
        <p:txBody>
          <a:bodyPr wrap="square" lIns="0" tIns="0" rIns="0" bIns="0" rtlCol="0" anchor="ctr">
            <a:spAutoFit/>
          </a:bodyPr>
          <a:lstStyle/>
          <a:p>
            <a:pPr algn="ctr"/>
            <a:r>
              <a:rPr lang="en-US" sz="1400" b="1" dirty="0">
                <a:solidFill>
                  <a:schemeClr val="bg1"/>
                </a:solidFill>
              </a:rPr>
              <a:t>VM</a:t>
            </a:r>
            <a:endParaRPr lang="en-US" sz="1100" b="1" dirty="0">
              <a:solidFill>
                <a:schemeClr val="bg1"/>
              </a:solidFill>
            </a:endParaRPr>
          </a:p>
        </p:txBody>
      </p:sp>
      <p:grpSp>
        <p:nvGrpSpPr>
          <p:cNvPr id="677" name="Group 676">
            <a:extLst>
              <a:ext uri="{FF2B5EF4-FFF2-40B4-BE49-F238E27FC236}">
                <a16:creationId xmlns:a16="http://schemas.microsoft.com/office/drawing/2014/main" id="{0A31343D-66DF-4F6F-8152-84FE6D008D6B}"/>
              </a:ext>
            </a:extLst>
          </p:cNvPr>
          <p:cNvGrpSpPr/>
          <p:nvPr/>
        </p:nvGrpSpPr>
        <p:grpSpPr>
          <a:xfrm>
            <a:off x="10052458" y="146014"/>
            <a:ext cx="2033626" cy="1015650"/>
            <a:chOff x="10052458" y="146014"/>
            <a:chExt cx="2033626" cy="1015650"/>
          </a:xfrm>
        </p:grpSpPr>
        <p:pic>
          <p:nvPicPr>
            <p:cNvPr id="678" name="Picture 677">
              <a:extLst>
                <a:ext uri="{FF2B5EF4-FFF2-40B4-BE49-F238E27FC236}">
                  <a16:creationId xmlns:a16="http://schemas.microsoft.com/office/drawing/2014/main" id="{CD3F33AC-C740-4CF7-A38B-1E7EFD4254B7}"/>
                </a:ext>
              </a:extLst>
            </p:cNvPr>
            <p:cNvPicPr>
              <a:picLocks noChangeAspect="1"/>
            </p:cNvPicPr>
            <p:nvPr/>
          </p:nvPicPr>
          <p:blipFill>
            <a:blip r:embed="rId7"/>
            <a:stretch>
              <a:fillRect/>
            </a:stretch>
          </p:blipFill>
          <p:spPr>
            <a:xfrm>
              <a:off x="10052458" y="146014"/>
              <a:ext cx="2033626" cy="1015650"/>
            </a:xfrm>
            <a:prstGeom prst="rect">
              <a:avLst/>
            </a:prstGeom>
          </p:spPr>
        </p:pic>
        <p:sp>
          <p:nvSpPr>
            <p:cNvPr id="682" name="Rectangle 681">
              <a:extLst>
                <a:ext uri="{FF2B5EF4-FFF2-40B4-BE49-F238E27FC236}">
                  <a16:creationId xmlns:a16="http://schemas.microsoft.com/office/drawing/2014/main" id="{A1674313-E75C-45E2-8AB0-C59E73048E0D}"/>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Enhanced Security</a:t>
              </a:r>
            </a:p>
          </p:txBody>
        </p:sp>
      </p:grpSp>
    </p:spTree>
    <p:extLst>
      <p:ext uri="{BB962C8B-B14F-4D97-AF65-F5344CB8AC3E}">
        <p14:creationId xmlns:p14="http://schemas.microsoft.com/office/powerpoint/2010/main" val="298324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2"/>
            </p:custDataLst>
            <p:extLst>
              <p:ext uri="{D42A27DB-BD31-4B8C-83A1-F6EECF244321}">
                <p14:modId xmlns:p14="http://schemas.microsoft.com/office/powerpoint/2010/main" val="3963300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Slide" r:id="rId8" imgW="425" imgH="424" progId="TCLayout.ActiveDocument.1">
                  <p:embed/>
                </p:oleObj>
              </mc:Choice>
              <mc:Fallback>
                <p:oleObj name="think-cell Slide" r:id="rId8"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99" name="Freeform 199">
            <a:extLst>
              <a:ext uri="{FF2B5EF4-FFF2-40B4-BE49-F238E27FC236}">
                <a16:creationId xmlns:a16="http://schemas.microsoft.com/office/drawing/2014/main" id="{F8258B1A-CBF9-48F9-8697-6D9AE93EC8A3}"/>
              </a:ext>
            </a:extLst>
          </p:cNvPr>
          <p:cNvSpPr/>
          <p:nvPr/>
        </p:nvSpPr>
        <p:spPr>
          <a:xfrm>
            <a:off x="767286" y="1245870"/>
            <a:ext cx="10657428" cy="10096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1440" tIns="45720" rIns="91440" bIns="73152" rtlCol="0" anchor="b">
            <a:noAutofit/>
          </a:bodyPr>
          <a:lstStyle/>
          <a:p>
            <a:pPr algn="ctr" defTabSz="932472" fontAlgn="base"/>
            <a:r>
              <a:rPr lang="en-IN" sz="2400" kern="0" dirty="0">
                <a:solidFill>
                  <a:schemeClr val="bg1">
                    <a:lumMod val="75000"/>
                  </a:schemeClr>
                </a:solidFill>
                <a:latin typeface="+mj-lt"/>
                <a:cs typeface="JF Flat" panose="02000500000000000000" pitchFamily="2" charset="-78"/>
              </a:rPr>
              <a:t>Windows Virtual Desktop</a:t>
            </a:r>
          </a:p>
        </p:txBody>
      </p:sp>
      <p:sp>
        <p:nvSpPr>
          <p:cNvPr id="300" name="Freeform 200">
            <a:extLst>
              <a:ext uri="{FF2B5EF4-FFF2-40B4-BE49-F238E27FC236}">
                <a16:creationId xmlns:a16="http://schemas.microsoft.com/office/drawing/2014/main" id="{A9891CD4-1761-4B83-8A81-154B31F000CD}"/>
              </a:ext>
            </a:extLst>
          </p:cNvPr>
          <p:cNvSpPr>
            <a:spLocks noChangeArrowheads="1"/>
          </p:cNvSpPr>
          <p:nvPr/>
        </p:nvSpPr>
        <p:spPr bwMode="auto">
          <a:xfrm>
            <a:off x="767285" y="6278383"/>
            <a:ext cx="10657430" cy="285930"/>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1440" tIns="45720" rIns="91440" bIns="4572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ctr" defTabSz="1088105" eaLnBrk="1" fontAlgn="auto" latinLnBrk="0" hangingPunct="1">
              <a:buClrTx/>
              <a:buSzTx/>
              <a:buFontTx/>
              <a:buNone/>
              <a:tabLst/>
              <a:defRPr/>
            </a:pPr>
            <a:endParaRPr kumimoji="0" lang="en-US" sz="1600" b="0" i="0" u="none" strike="noStrike" kern="0" cap="none" spc="0" normalizeH="0" baseline="0" noProof="0" dirty="0">
              <a:ln>
                <a:noFill/>
              </a:ln>
              <a:effectLst/>
              <a:uLnTx/>
              <a:uFillTx/>
              <a:latin typeface="+mn-lt"/>
              <a:cs typeface="JF Flat" panose="02000500000000000000" pitchFamily="2" charset="-78"/>
            </a:endParaRPr>
          </a:p>
        </p:txBody>
      </p:sp>
      <p:sp>
        <p:nvSpPr>
          <p:cNvPr id="301" name="Rectangle 300">
            <a:extLst>
              <a:ext uri="{FF2B5EF4-FFF2-40B4-BE49-F238E27FC236}">
                <a16:creationId xmlns:a16="http://schemas.microsoft.com/office/drawing/2014/main" id="{42C8B3D4-CBE0-4D65-A3C1-F8DA0408EA54}"/>
              </a:ext>
            </a:extLst>
          </p:cNvPr>
          <p:cNvSpPr/>
          <p:nvPr/>
        </p:nvSpPr>
        <p:spPr bwMode="auto">
          <a:xfrm>
            <a:off x="4407444"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Enhanced Security</a:t>
            </a:r>
          </a:p>
        </p:txBody>
      </p:sp>
      <p:sp>
        <p:nvSpPr>
          <p:cNvPr id="302" name="Rectangle 301">
            <a:extLst>
              <a:ext uri="{FF2B5EF4-FFF2-40B4-BE49-F238E27FC236}">
                <a16:creationId xmlns:a16="http://schemas.microsoft.com/office/drawing/2014/main" id="{88FE0823-CA57-4F90-A8F4-24E041D550FF}"/>
              </a:ext>
            </a:extLst>
          </p:cNvPr>
          <p:cNvSpPr/>
          <p:nvPr/>
        </p:nvSpPr>
        <p:spPr bwMode="auto">
          <a:xfrm>
            <a:off x="7839679" y="2313349"/>
            <a:ext cx="3377114" cy="933430"/>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tx1"/>
                </a:solidFill>
                <a:latin typeface="+mj-lt"/>
                <a:cs typeface="Segoe UI" pitchFamily="34" charset="0"/>
              </a:rPr>
              <a:t>Simplified Management</a:t>
            </a:r>
          </a:p>
        </p:txBody>
      </p:sp>
      <p:sp>
        <p:nvSpPr>
          <p:cNvPr id="304" name="Rectangle 303">
            <a:extLst>
              <a:ext uri="{FF2B5EF4-FFF2-40B4-BE49-F238E27FC236}">
                <a16:creationId xmlns:a16="http://schemas.microsoft.com/office/drawing/2014/main" id="{3653C242-0C7C-43CE-B459-462FBB0320FF}"/>
              </a:ext>
            </a:extLst>
          </p:cNvPr>
          <p:cNvSpPr/>
          <p:nvPr/>
        </p:nvSpPr>
        <p:spPr bwMode="auto">
          <a:xfrm>
            <a:off x="975208" y="3305926"/>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altLang="zh-CN" sz="1600" dirty="0">
                <a:solidFill>
                  <a:schemeClr val="bg1">
                    <a:lumMod val="75000"/>
                  </a:schemeClr>
                </a:solidFill>
                <a:latin typeface="+mj-lt"/>
                <a:cs typeface="Segoe UI" pitchFamily="34" charset="0"/>
              </a:rPr>
              <a:t>Azure</a:t>
            </a:r>
            <a:endParaRPr lang="en-US" sz="1600" dirty="0">
              <a:solidFill>
                <a:schemeClr val="bg1">
                  <a:lumMod val="75000"/>
                </a:schemeClr>
              </a:solidFill>
              <a:latin typeface="+mj-lt"/>
              <a:cs typeface="Segoe UI" pitchFamily="34" charset="0"/>
            </a:endParaRPr>
          </a:p>
        </p:txBody>
      </p:sp>
      <p:sp>
        <p:nvSpPr>
          <p:cNvPr id="305" name="Rectangle 304">
            <a:extLst>
              <a:ext uri="{FF2B5EF4-FFF2-40B4-BE49-F238E27FC236}">
                <a16:creationId xmlns:a16="http://schemas.microsoft.com/office/drawing/2014/main" id="{BBBD0EC0-7ECF-4030-B6DB-F74B9932212F}"/>
              </a:ext>
            </a:extLst>
          </p:cNvPr>
          <p:cNvSpPr/>
          <p:nvPr/>
        </p:nvSpPr>
        <p:spPr bwMode="auto">
          <a:xfrm>
            <a:off x="975208"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Best User Experience</a:t>
            </a:r>
          </a:p>
        </p:txBody>
      </p:sp>
      <p:sp>
        <p:nvSpPr>
          <p:cNvPr id="307" name="TextBox 306">
            <a:extLst>
              <a:ext uri="{FF2B5EF4-FFF2-40B4-BE49-F238E27FC236}">
                <a16:creationId xmlns:a16="http://schemas.microsoft.com/office/drawing/2014/main" id="{F2D75019-2BD4-4D00-82A6-F54EC1B05912}"/>
              </a:ext>
            </a:extLst>
          </p:cNvPr>
          <p:cNvSpPr txBox="1"/>
          <p:nvPr/>
        </p:nvSpPr>
        <p:spPr>
          <a:xfrm>
            <a:off x="3178754" y="3618753"/>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Standardized, Global, &amp; Secure</a:t>
            </a:r>
          </a:p>
        </p:txBody>
      </p:sp>
      <p:grpSp>
        <p:nvGrpSpPr>
          <p:cNvPr id="310" name="Group 309">
            <a:extLst>
              <a:ext uri="{FF2B5EF4-FFF2-40B4-BE49-F238E27FC236}">
                <a16:creationId xmlns:a16="http://schemas.microsoft.com/office/drawing/2014/main" id="{530DB92F-808A-450D-A434-09EA90A34A39}"/>
              </a:ext>
            </a:extLst>
          </p:cNvPr>
          <p:cNvGrpSpPr/>
          <p:nvPr/>
        </p:nvGrpSpPr>
        <p:grpSpPr>
          <a:xfrm>
            <a:off x="1119407" y="3661225"/>
            <a:ext cx="450579" cy="511733"/>
            <a:chOff x="2266365" y="4401648"/>
            <a:chExt cx="1241795" cy="1412971"/>
          </a:xfrm>
          <a:solidFill>
            <a:schemeClr val="bg1">
              <a:lumMod val="75000"/>
            </a:schemeClr>
          </a:solidFill>
        </p:grpSpPr>
        <p:sp>
          <p:nvSpPr>
            <p:cNvPr id="311" name="Oval 310">
              <a:extLst>
                <a:ext uri="{FF2B5EF4-FFF2-40B4-BE49-F238E27FC236}">
                  <a16:creationId xmlns:a16="http://schemas.microsoft.com/office/drawing/2014/main" id="{790A65E3-BA10-4824-A17C-A7CE214D6287}"/>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2" name="Oval 311">
              <a:extLst>
                <a:ext uri="{FF2B5EF4-FFF2-40B4-BE49-F238E27FC236}">
                  <a16:creationId xmlns:a16="http://schemas.microsoft.com/office/drawing/2014/main" id="{B01836FA-03ED-4B6E-BDE8-D8541A781955}"/>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3" name="Freeform 297">
              <a:extLst>
                <a:ext uri="{FF2B5EF4-FFF2-40B4-BE49-F238E27FC236}">
                  <a16:creationId xmlns:a16="http://schemas.microsoft.com/office/drawing/2014/main" id="{22D521DC-40D1-4C22-8E8D-84D526A10F33}"/>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4" name="Oval 313">
              <a:extLst>
                <a:ext uri="{FF2B5EF4-FFF2-40B4-BE49-F238E27FC236}">
                  <a16:creationId xmlns:a16="http://schemas.microsoft.com/office/drawing/2014/main" id="{68AA58C8-1BBA-4034-AD15-8E6284DA51FD}"/>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5" name="Oval 314">
              <a:extLst>
                <a:ext uri="{FF2B5EF4-FFF2-40B4-BE49-F238E27FC236}">
                  <a16:creationId xmlns:a16="http://schemas.microsoft.com/office/drawing/2014/main" id="{CCCB1B8E-9E52-4F30-8404-6F4305D73466}"/>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6" name="Oval 315">
              <a:extLst>
                <a:ext uri="{FF2B5EF4-FFF2-40B4-BE49-F238E27FC236}">
                  <a16:creationId xmlns:a16="http://schemas.microsoft.com/office/drawing/2014/main" id="{979CCC35-F9D4-4C9A-8348-5BFB9F5925FC}"/>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317" name="Group 316">
              <a:extLst>
                <a:ext uri="{FF2B5EF4-FFF2-40B4-BE49-F238E27FC236}">
                  <a16:creationId xmlns:a16="http://schemas.microsoft.com/office/drawing/2014/main" id="{B658CAFF-6B07-47C4-9FEE-D8C403E6F78F}"/>
                </a:ext>
              </a:extLst>
            </p:cNvPr>
            <p:cNvGrpSpPr/>
            <p:nvPr/>
          </p:nvGrpSpPr>
          <p:grpSpPr>
            <a:xfrm>
              <a:off x="3014928" y="5033031"/>
              <a:ext cx="459519" cy="459064"/>
              <a:chOff x="3112464" y="5057415"/>
              <a:chExt cx="459519" cy="459064"/>
            </a:xfrm>
            <a:grpFill/>
          </p:grpSpPr>
          <p:sp>
            <p:nvSpPr>
              <p:cNvPr id="408" name="Oval 407">
                <a:extLst>
                  <a:ext uri="{FF2B5EF4-FFF2-40B4-BE49-F238E27FC236}">
                    <a16:creationId xmlns:a16="http://schemas.microsoft.com/office/drawing/2014/main" id="{219291B1-D08F-4ECE-A999-03D6F5629078}"/>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9" name="Freeform 309">
                <a:extLst>
                  <a:ext uri="{FF2B5EF4-FFF2-40B4-BE49-F238E27FC236}">
                    <a16:creationId xmlns:a16="http://schemas.microsoft.com/office/drawing/2014/main" id="{6AA622E4-07A1-4B54-A0B4-5598A765C246}"/>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0" name="Freeform 310">
                <a:extLst>
                  <a:ext uri="{FF2B5EF4-FFF2-40B4-BE49-F238E27FC236}">
                    <a16:creationId xmlns:a16="http://schemas.microsoft.com/office/drawing/2014/main" id="{56889B74-3DA6-4933-A415-12D1C7C0F6F2}"/>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1" name="Freeform 311">
                <a:extLst>
                  <a:ext uri="{FF2B5EF4-FFF2-40B4-BE49-F238E27FC236}">
                    <a16:creationId xmlns:a16="http://schemas.microsoft.com/office/drawing/2014/main" id="{CA280263-7ECC-48E7-9D29-7F0044F7EBE5}"/>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2" name="Freeform 312">
                <a:extLst>
                  <a:ext uri="{FF2B5EF4-FFF2-40B4-BE49-F238E27FC236}">
                    <a16:creationId xmlns:a16="http://schemas.microsoft.com/office/drawing/2014/main" id="{04C64B01-2135-42AD-B971-F041EB9E624E}"/>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3" name="Rectangle 412">
                <a:extLst>
                  <a:ext uri="{FF2B5EF4-FFF2-40B4-BE49-F238E27FC236}">
                    <a16:creationId xmlns:a16="http://schemas.microsoft.com/office/drawing/2014/main" id="{93796327-B522-41BF-81D1-F7076287CB25}"/>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4" name="Rectangle 413">
                <a:extLst>
                  <a:ext uri="{FF2B5EF4-FFF2-40B4-BE49-F238E27FC236}">
                    <a16:creationId xmlns:a16="http://schemas.microsoft.com/office/drawing/2014/main" id="{1D72BA6F-F0FE-4E18-9339-E333311EBC30}"/>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sp>
          <p:nvSpPr>
            <p:cNvPr id="318" name="Freeform 331">
              <a:extLst>
                <a:ext uri="{FF2B5EF4-FFF2-40B4-BE49-F238E27FC236}">
                  <a16:creationId xmlns:a16="http://schemas.microsoft.com/office/drawing/2014/main" id="{35D7D8E3-79ED-4A15-A753-C901CA4556D0}"/>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9" name="Freeform 332">
              <a:extLst>
                <a:ext uri="{FF2B5EF4-FFF2-40B4-BE49-F238E27FC236}">
                  <a16:creationId xmlns:a16="http://schemas.microsoft.com/office/drawing/2014/main" id="{9C240B84-8184-4A59-9425-7F369A9384D7}"/>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0" name="Rectangle 333">
              <a:extLst>
                <a:ext uri="{FF2B5EF4-FFF2-40B4-BE49-F238E27FC236}">
                  <a16:creationId xmlns:a16="http://schemas.microsoft.com/office/drawing/2014/main" id="{CB81D4C7-E40A-4501-912A-CDD26D6D5E59}"/>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1" name="Rectangle 334">
              <a:extLst>
                <a:ext uri="{FF2B5EF4-FFF2-40B4-BE49-F238E27FC236}">
                  <a16:creationId xmlns:a16="http://schemas.microsoft.com/office/drawing/2014/main" id="{380581BF-1F98-4628-BFEB-2410F8094301}"/>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2" name="Rectangle 335">
              <a:extLst>
                <a:ext uri="{FF2B5EF4-FFF2-40B4-BE49-F238E27FC236}">
                  <a16:creationId xmlns:a16="http://schemas.microsoft.com/office/drawing/2014/main" id="{BACA77AC-E03F-4532-A416-6EEB892A791B}"/>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3" name="Rectangle 336">
              <a:extLst>
                <a:ext uri="{FF2B5EF4-FFF2-40B4-BE49-F238E27FC236}">
                  <a16:creationId xmlns:a16="http://schemas.microsoft.com/office/drawing/2014/main" id="{362429D5-C9CE-4D72-83F7-E8B63510AD9C}"/>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4" name="Rectangle 337">
              <a:extLst>
                <a:ext uri="{FF2B5EF4-FFF2-40B4-BE49-F238E27FC236}">
                  <a16:creationId xmlns:a16="http://schemas.microsoft.com/office/drawing/2014/main" id="{F97B5E84-D8A2-4A55-AB8C-DA2DA6BD8AAF}"/>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325" name="Group 324">
              <a:extLst>
                <a:ext uri="{FF2B5EF4-FFF2-40B4-BE49-F238E27FC236}">
                  <a16:creationId xmlns:a16="http://schemas.microsoft.com/office/drawing/2014/main" id="{386E815B-CBC0-41E7-9708-2FA2E652908E}"/>
                </a:ext>
              </a:extLst>
            </p:cNvPr>
            <p:cNvGrpSpPr/>
            <p:nvPr/>
          </p:nvGrpSpPr>
          <p:grpSpPr>
            <a:xfrm>
              <a:off x="3120879" y="4597927"/>
              <a:ext cx="384756" cy="384300"/>
              <a:chOff x="3571983" y="4744231"/>
              <a:chExt cx="384756" cy="384300"/>
            </a:xfrm>
            <a:grpFill/>
          </p:grpSpPr>
          <p:sp>
            <p:nvSpPr>
              <p:cNvPr id="332" name="Oval 331">
                <a:extLst>
                  <a:ext uri="{FF2B5EF4-FFF2-40B4-BE49-F238E27FC236}">
                    <a16:creationId xmlns:a16="http://schemas.microsoft.com/office/drawing/2014/main" id="{F4CE68D8-AF58-477C-8271-B0F0433BA67B}"/>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6" name="Freeform 338">
                <a:extLst>
                  <a:ext uri="{FF2B5EF4-FFF2-40B4-BE49-F238E27FC236}">
                    <a16:creationId xmlns:a16="http://schemas.microsoft.com/office/drawing/2014/main" id="{7B504596-41CD-4BCA-9E42-799033C99181}"/>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7" name="Freeform 339">
                <a:extLst>
                  <a:ext uri="{FF2B5EF4-FFF2-40B4-BE49-F238E27FC236}">
                    <a16:creationId xmlns:a16="http://schemas.microsoft.com/office/drawing/2014/main" id="{6A520798-98BC-4F17-A5DE-FEA6F07FEA4C}"/>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326" name="Group 325">
              <a:extLst>
                <a:ext uri="{FF2B5EF4-FFF2-40B4-BE49-F238E27FC236}">
                  <a16:creationId xmlns:a16="http://schemas.microsoft.com/office/drawing/2014/main" id="{34EB227D-AA70-44D2-A924-1988B7D6A624}"/>
                </a:ext>
              </a:extLst>
            </p:cNvPr>
            <p:cNvGrpSpPr/>
            <p:nvPr/>
          </p:nvGrpSpPr>
          <p:grpSpPr>
            <a:xfrm>
              <a:off x="2782979" y="4401648"/>
              <a:ext cx="277626" cy="278082"/>
              <a:chOff x="3843683" y="4426032"/>
              <a:chExt cx="277626" cy="278082"/>
            </a:xfrm>
            <a:grpFill/>
          </p:grpSpPr>
          <p:sp>
            <p:nvSpPr>
              <p:cNvPr id="327" name="Oval 326">
                <a:extLst>
                  <a:ext uri="{FF2B5EF4-FFF2-40B4-BE49-F238E27FC236}">
                    <a16:creationId xmlns:a16="http://schemas.microsoft.com/office/drawing/2014/main" id="{0A7B670A-16CE-4D51-9B5B-B0297E2B3D7E}"/>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8" name="Freeform 340">
                <a:extLst>
                  <a:ext uri="{FF2B5EF4-FFF2-40B4-BE49-F238E27FC236}">
                    <a16:creationId xmlns:a16="http://schemas.microsoft.com/office/drawing/2014/main" id="{E040AE0F-3302-426D-A017-971B7E90391A}"/>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9" name="Freeform 341">
                <a:extLst>
                  <a:ext uri="{FF2B5EF4-FFF2-40B4-BE49-F238E27FC236}">
                    <a16:creationId xmlns:a16="http://schemas.microsoft.com/office/drawing/2014/main" id="{9CDAB967-12C9-4D89-8C56-538F5EAA4707}"/>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0" name="Rectangle 342">
                <a:extLst>
                  <a:ext uri="{FF2B5EF4-FFF2-40B4-BE49-F238E27FC236}">
                    <a16:creationId xmlns:a16="http://schemas.microsoft.com/office/drawing/2014/main" id="{ABE1126E-1133-4829-8836-6C50C3D9E79D}"/>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1" name="Freeform 343">
                <a:extLst>
                  <a:ext uri="{FF2B5EF4-FFF2-40B4-BE49-F238E27FC236}">
                    <a16:creationId xmlns:a16="http://schemas.microsoft.com/office/drawing/2014/main" id="{BEA146FF-B698-41E2-9E78-B470A0C8C6C2}"/>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grpSp>
        <p:nvGrpSpPr>
          <p:cNvPr id="4" name="Group 3">
            <a:extLst>
              <a:ext uri="{FF2B5EF4-FFF2-40B4-BE49-F238E27FC236}">
                <a16:creationId xmlns:a16="http://schemas.microsoft.com/office/drawing/2014/main" id="{04BEAD51-A813-450D-89E6-F12425830589}"/>
              </a:ext>
            </a:extLst>
          </p:cNvPr>
          <p:cNvGrpSpPr/>
          <p:nvPr/>
        </p:nvGrpSpPr>
        <p:grpSpPr>
          <a:xfrm>
            <a:off x="975208" y="4304538"/>
            <a:ext cx="10241585" cy="933430"/>
            <a:chOff x="975208" y="4295867"/>
            <a:chExt cx="10241585" cy="933430"/>
          </a:xfrm>
        </p:grpSpPr>
        <p:sp>
          <p:nvSpPr>
            <p:cNvPr id="303" name="Rectangle 302">
              <a:extLst>
                <a:ext uri="{FF2B5EF4-FFF2-40B4-BE49-F238E27FC236}">
                  <a16:creationId xmlns:a16="http://schemas.microsoft.com/office/drawing/2014/main" id="{D135C0FE-386A-45D5-89AC-B568397D1CDF}"/>
                </a:ext>
              </a:extLst>
            </p:cNvPr>
            <p:cNvSpPr/>
            <p:nvPr/>
          </p:nvSpPr>
          <p:spPr bwMode="auto">
            <a:xfrm>
              <a:off x="975208" y="4295867"/>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uperior Economics</a:t>
              </a:r>
            </a:p>
          </p:txBody>
        </p:sp>
        <p:sp>
          <p:nvSpPr>
            <p:cNvPr id="308" name="TextBox 307">
              <a:extLst>
                <a:ext uri="{FF2B5EF4-FFF2-40B4-BE49-F238E27FC236}">
                  <a16:creationId xmlns:a16="http://schemas.microsoft.com/office/drawing/2014/main" id="{017E3E33-CBAD-4B3E-AB44-B7DF15B29430}"/>
                </a:ext>
              </a:extLst>
            </p:cNvPr>
            <p:cNvSpPr txBox="1"/>
            <p:nvPr/>
          </p:nvSpPr>
          <p:spPr>
            <a:xfrm>
              <a:off x="3178754" y="4608694"/>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Cost effective, Flexible, &amp; Opex</a:t>
              </a:r>
            </a:p>
          </p:txBody>
        </p:sp>
        <p:grpSp>
          <p:nvGrpSpPr>
            <p:cNvPr id="415" name="Group 414">
              <a:extLst>
                <a:ext uri="{FF2B5EF4-FFF2-40B4-BE49-F238E27FC236}">
                  <a16:creationId xmlns:a16="http://schemas.microsoft.com/office/drawing/2014/main" id="{DED4E28D-978D-4077-8883-3362E8BCFB53}"/>
                </a:ext>
              </a:extLst>
            </p:cNvPr>
            <p:cNvGrpSpPr>
              <a:grpSpLocks noChangeAspect="1"/>
            </p:cNvGrpSpPr>
            <p:nvPr/>
          </p:nvGrpSpPr>
          <p:grpSpPr>
            <a:xfrm>
              <a:off x="1144772" y="4647287"/>
              <a:ext cx="626689" cy="492542"/>
              <a:chOff x="2008187" y="2241223"/>
              <a:chExt cx="1068391" cy="909679"/>
            </a:xfrm>
            <a:solidFill>
              <a:schemeClr val="bg1">
                <a:lumMod val="75000"/>
              </a:schemeClr>
            </a:solidFill>
          </p:grpSpPr>
          <p:grpSp>
            <p:nvGrpSpPr>
              <p:cNvPr id="416" name="Group 415">
                <a:extLst>
                  <a:ext uri="{FF2B5EF4-FFF2-40B4-BE49-F238E27FC236}">
                    <a16:creationId xmlns:a16="http://schemas.microsoft.com/office/drawing/2014/main" id="{80D43AF4-CF87-4EA1-85F7-0BDA6604E7D9}"/>
                  </a:ext>
                </a:extLst>
              </p:cNvPr>
              <p:cNvGrpSpPr/>
              <p:nvPr/>
            </p:nvGrpSpPr>
            <p:grpSpPr>
              <a:xfrm>
                <a:off x="2064334" y="2241223"/>
                <a:ext cx="1012244" cy="811309"/>
                <a:chOff x="-1341882" y="2279901"/>
                <a:chExt cx="1941919" cy="1556440"/>
              </a:xfrm>
              <a:grpFill/>
            </p:grpSpPr>
            <p:sp>
              <p:nvSpPr>
                <p:cNvPr id="418" name="Rectangle 70">
                  <a:extLst>
                    <a:ext uri="{FF2B5EF4-FFF2-40B4-BE49-F238E27FC236}">
                      <a16:creationId xmlns:a16="http://schemas.microsoft.com/office/drawing/2014/main" id="{5BAF5C1D-592F-4824-88B1-751515FADB5E}"/>
                    </a:ext>
                  </a:extLst>
                </p:cNvPr>
                <p:cNvSpPr>
                  <a:spLocks noChangeArrowheads="1"/>
                </p:cNvSpPr>
                <p:nvPr/>
              </p:nvSpPr>
              <p:spPr bwMode="auto">
                <a:xfrm>
                  <a:off x="-135529" y="2948792"/>
                  <a:ext cx="175980" cy="88754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19" name="Rectangle 71">
                  <a:extLst>
                    <a:ext uri="{FF2B5EF4-FFF2-40B4-BE49-F238E27FC236}">
                      <a16:creationId xmlns:a16="http://schemas.microsoft.com/office/drawing/2014/main" id="{36D01CFE-FE5D-4659-8AF7-D2D08B36F36E}"/>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0" name="Freeform 72">
                  <a:extLst>
                    <a:ext uri="{FF2B5EF4-FFF2-40B4-BE49-F238E27FC236}">
                      <a16:creationId xmlns:a16="http://schemas.microsoft.com/office/drawing/2014/main" id="{42A678D8-DD2C-4257-8EAF-3AE64CE6637F}"/>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21" name="Freeform 73">
                  <a:extLst>
                    <a:ext uri="{FF2B5EF4-FFF2-40B4-BE49-F238E27FC236}">
                      <a16:creationId xmlns:a16="http://schemas.microsoft.com/office/drawing/2014/main" id="{7CC972DF-07BB-4B24-B3F4-F38D1AADEF64}"/>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22" name="Freeform 74">
                  <a:extLst>
                    <a:ext uri="{FF2B5EF4-FFF2-40B4-BE49-F238E27FC236}">
                      <a16:creationId xmlns:a16="http://schemas.microsoft.com/office/drawing/2014/main" id="{FCE532BF-8911-4A0A-A66A-299C1C6A92C3}"/>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23" name="Freeform 75">
                  <a:extLst>
                    <a:ext uri="{FF2B5EF4-FFF2-40B4-BE49-F238E27FC236}">
                      <a16:creationId xmlns:a16="http://schemas.microsoft.com/office/drawing/2014/main" id="{59DCFF7D-4EAC-4BFC-8CE4-98072B15ACAC}"/>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4" name="Freeform 76">
                  <a:extLst>
                    <a:ext uri="{FF2B5EF4-FFF2-40B4-BE49-F238E27FC236}">
                      <a16:creationId xmlns:a16="http://schemas.microsoft.com/office/drawing/2014/main" id="{58D59BFE-9920-4217-9F6C-1B642C269E78}"/>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25" name="Freeform 77">
                  <a:extLst>
                    <a:ext uri="{FF2B5EF4-FFF2-40B4-BE49-F238E27FC236}">
                      <a16:creationId xmlns:a16="http://schemas.microsoft.com/office/drawing/2014/main" id="{FC928171-15DC-4466-BD42-0A1448FE2909}"/>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6" name="Rectangle 78">
                  <a:extLst>
                    <a:ext uri="{FF2B5EF4-FFF2-40B4-BE49-F238E27FC236}">
                      <a16:creationId xmlns:a16="http://schemas.microsoft.com/office/drawing/2014/main" id="{6FF6D0B1-32BD-46F5-89DC-4F7AE4E619BA}"/>
                    </a:ext>
                  </a:extLst>
                </p:cNvPr>
                <p:cNvSpPr>
                  <a:spLocks noChangeArrowheads="1"/>
                </p:cNvSpPr>
                <p:nvPr/>
              </p:nvSpPr>
              <p:spPr bwMode="auto">
                <a:xfrm>
                  <a:off x="-427553" y="3137524"/>
                  <a:ext cx="175980" cy="69881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27" name="Rectangle 79">
                  <a:extLst>
                    <a:ext uri="{FF2B5EF4-FFF2-40B4-BE49-F238E27FC236}">
                      <a16:creationId xmlns:a16="http://schemas.microsoft.com/office/drawing/2014/main" id="{FEAB97BB-1B49-4EF6-A6F5-DA65DE42A412}"/>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8" name="Freeform 80">
                  <a:extLst>
                    <a:ext uri="{FF2B5EF4-FFF2-40B4-BE49-F238E27FC236}">
                      <a16:creationId xmlns:a16="http://schemas.microsoft.com/office/drawing/2014/main" id="{335A316D-C729-40C2-BE36-9118C0F37CF2}"/>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29" name="Freeform 81">
                  <a:extLst>
                    <a:ext uri="{FF2B5EF4-FFF2-40B4-BE49-F238E27FC236}">
                      <a16:creationId xmlns:a16="http://schemas.microsoft.com/office/drawing/2014/main" id="{FF0E2C44-F4B3-4E49-8317-589CCD0D510D}"/>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30" name="Freeform 82">
                  <a:extLst>
                    <a:ext uri="{FF2B5EF4-FFF2-40B4-BE49-F238E27FC236}">
                      <a16:creationId xmlns:a16="http://schemas.microsoft.com/office/drawing/2014/main" id="{C04B74F7-7158-4786-A9B9-4299FFEF9E5C}"/>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31" name="Freeform 83">
                  <a:extLst>
                    <a:ext uri="{FF2B5EF4-FFF2-40B4-BE49-F238E27FC236}">
                      <a16:creationId xmlns:a16="http://schemas.microsoft.com/office/drawing/2014/main" id="{C39258A7-0833-4133-AFF1-FB3A38CC3A04}"/>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32" name="Freeform 84">
                  <a:extLst>
                    <a:ext uri="{FF2B5EF4-FFF2-40B4-BE49-F238E27FC236}">
                      <a16:creationId xmlns:a16="http://schemas.microsoft.com/office/drawing/2014/main" id="{2DC8EE5D-1E12-414C-981B-D8DC8A7C11D0}"/>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33" name="Freeform 85">
                  <a:extLst>
                    <a:ext uri="{FF2B5EF4-FFF2-40B4-BE49-F238E27FC236}">
                      <a16:creationId xmlns:a16="http://schemas.microsoft.com/office/drawing/2014/main" id="{37B3C497-8F83-4289-8D95-CBDDC0BE665D}"/>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34" name="Freeform 86">
                  <a:extLst>
                    <a:ext uri="{FF2B5EF4-FFF2-40B4-BE49-F238E27FC236}">
                      <a16:creationId xmlns:a16="http://schemas.microsoft.com/office/drawing/2014/main" id="{30351C91-C02F-4A35-8FEA-F729E57D5954}"/>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35" name="Freeform 87">
                  <a:extLst>
                    <a:ext uri="{FF2B5EF4-FFF2-40B4-BE49-F238E27FC236}">
                      <a16:creationId xmlns:a16="http://schemas.microsoft.com/office/drawing/2014/main" id="{673FE85B-E3F7-4BFD-99CB-3C1DF0BE2150}"/>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36" name="Rectangle 88">
                  <a:extLst>
                    <a:ext uri="{FF2B5EF4-FFF2-40B4-BE49-F238E27FC236}">
                      <a16:creationId xmlns:a16="http://schemas.microsoft.com/office/drawing/2014/main" id="{9505AC8F-2CFE-4D10-AB2C-75D81931C16C}"/>
                    </a:ext>
                  </a:extLst>
                </p:cNvPr>
                <p:cNvSpPr>
                  <a:spLocks noChangeArrowheads="1"/>
                </p:cNvSpPr>
                <p:nvPr/>
              </p:nvSpPr>
              <p:spPr bwMode="auto">
                <a:xfrm>
                  <a:off x="-718302" y="3323704"/>
                  <a:ext cx="174705" cy="51263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37" name="Rectangle 89">
                  <a:extLst>
                    <a:ext uri="{FF2B5EF4-FFF2-40B4-BE49-F238E27FC236}">
                      <a16:creationId xmlns:a16="http://schemas.microsoft.com/office/drawing/2014/main" id="{F3599EF4-A923-486A-A34A-7E1C20E2EF8A}"/>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38" name="Freeform 90">
                  <a:extLst>
                    <a:ext uri="{FF2B5EF4-FFF2-40B4-BE49-F238E27FC236}">
                      <a16:creationId xmlns:a16="http://schemas.microsoft.com/office/drawing/2014/main" id="{6DCF969B-6EB6-41A0-9985-C9E807C48E8D}"/>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39" name="Freeform 91">
                  <a:extLst>
                    <a:ext uri="{FF2B5EF4-FFF2-40B4-BE49-F238E27FC236}">
                      <a16:creationId xmlns:a16="http://schemas.microsoft.com/office/drawing/2014/main" id="{C487F031-01BC-4947-8FAF-2F46567EC2A8}"/>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40" name="Freeform 92">
                  <a:extLst>
                    <a:ext uri="{FF2B5EF4-FFF2-40B4-BE49-F238E27FC236}">
                      <a16:creationId xmlns:a16="http://schemas.microsoft.com/office/drawing/2014/main" id="{3FE7EA43-CA1E-41C2-8488-87129C40CF59}"/>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41" name="Freeform 93">
                  <a:extLst>
                    <a:ext uri="{FF2B5EF4-FFF2-40B4-BE49-F238E27FC236}">
                      <a16:creationId xmlns:a16="http://schemas.microsoft.com/office/drawing/2014/main" id="{3437ADAE-0277-455E-9EBE-15D5F3458604}"/>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42" name="Freeform 94">
                  <a:extLst>
                    <a:ext uri="{FF2B5EF4-FFF2-40B4-BE49-F238E27FC236}">
                      <a16:creationId xmlns:a16="http://schemas.microsoft.com/office/drawing/2014/main" id="{D189761D-8357-4998-B2C9-C665EF639C52}"/>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43" name="Freeform 95">
                  <a:extLst>
                    <a:ext uri="{FF2B5EF4-FFF2-40B4-BE49-F238E27FC236}">
                      <a16:creationId xmlns:a16="http://schemas.microsoft.com/office/drawing/2014/main" id="{0E62105C-571D-4A66-BFE5-C623D44380D5}"/>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44" name="Freeform 96">
                  <a:extLst>
                    <a:ext uri="{FF2B5EF4-FFF2-40B4-BE49-F238E27FC236}">
                      <a16:creationId xmlns:a16="http://schemas.microsoft.com/office/drawing/2014/main" id="{A1345159-A178-4953-B6D1-0A5F92CA0967}"/>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45" name="Freeform 97">
                  <a:extLst>
                    <a:ext uri="{FF2B5EF4-FFF2-40B4-BE49-F238E27FC236}">
                      <a16:creationId xmlns:a16="http://schemas.microsoft.com/office/drawing/2014/main" id="{254532F0-511E-4E11-A783-B0C30887690F}"/>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46" name="Rectangle 98">
                  <a:extLst>
                    <a:ext uri="{FF2B5EF4-FFF2-40B4-BE49-F238E27FC236}">
                      <a16:creationId xmlns:a16="http://schemas.microsoft.com/office/drawing/2014/main" id="{23720569-09FD-47D1-8CFB-88025B642666}"/>
                    </a:ext>
                  </a:extLst>
                </p:cNvPr>
                <p:cNvSpPr>
                  <a:spLocks noChangeArrowheads="1"/>
                </p:cNvSpPr>
                <p:nvPr/>
              </p:nvSpPr>
              <p:spPr bwMode="auto">
                <a:xfrm>
                  <a:off x="-1009051" y="3511161"/>
                  <a:ext cx="174705" cy="32518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47" name="Rectangle 99">
                  <a:extLst>
                    <a:ext uri="{FF2B5EF4-FFF2-40B4-BE49-F238E27FC236}">
                      <a16:creationId xmlns:a16="http://schemas.microsoft.com/office/drawing/2014/main" id="{59CB3F49-4CCE-4F77-878C-31EEB7BDCB3D}"/>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48" name="Freeform 100">
                  <a:extLst>
                    <a:ext uri="{FF2B5EF4-FFF2-40B4-BE49-F238E27FC236}">
                      <a16:creationId xmlns:a16="http://schemas.microsoft.com/office/drawing/2014/main" id="{87360330-5B46-4E6C-9268-F65A68F96528}"/>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49" name="Freeform 101">
                  <a:extLst>
                    <a:ext uri="{FF2B5EF4-FFF2-40B4-BE49-F238E27FC236}">
                      <a16:creationId xmlns:a16="http://schemas.microsoft.com/office/drawing/2014/main" id="{57672155-A077-4E01-A2AD-F5E233075BEC}"/>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50" name="Freeform 102">
                  <a:extLst>
                    <a:ext uri="{FF2B5EF4-FFF2-40B4-BE49-F238E27FC236}">
                      <a16:creationId xmlns:a16="http://schemas.microsoft.com/office/drawing/2014/main" id="{413E3F43-F6CE-459C-BD4A-5931886B7FF2}"/>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51" name="Freeform 103">
                  <a:extLst>
                    <a:ext uri="{FF2B5EF4-FFF2-40B4-BE49-F238E27FC236}">
                      <a16:creationId xmlns:a16="http://schemas.microsoft.com/office/drawing/2014/main" id="{948CBF43-E6DA-4EF4-8A6E-AD769EE8F0AC}"/>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52" name="Freeform 104">
                  <a:extLst>
                    <a:ext uri="{FF2B5EF4-FFF2-40B4-BE49-F238E27FC236}">
                      <a16:creationId xmlns:a16="http://schemas.microsoft.com/office/drawing/2014/main" id="{F5C9A8D8-D77B-47C1-98A9-060D8043117A}"/>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3" name="Freeform 105">
                  <a:extLst>
                    <a:ext uri="{FF2B5EF4-FFF2-40B4-BE49-F238E27FC236}">
                      <a16:creationId xmlns:a16="http://schemas.microsoft.com/office/drawing/2014/main" id="{EDB6A4F8-6E1E-4AFD-AD6C-4436D78D319F}"/>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4" name="Freeform 106">
                  <a:extLst>
                    <a:ext uri="{FF2B5EF4-FFF2-40B4-BE49-F238E27FC236}">
                      <a16:creationId xmlns:a16="http://schemas.microsoft.com/office/drawing/2014/main" id="{F5AD4216-6232-496B-9CDB-ECF5CC56C56C}"/>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5" name="Freeform 107">
                  <a:extLst>
                    <a:ext uri="{FF2B5EF4-FFF2-40B4-BE49-F238E27FC236}">
                      <a16:creationId xmlns:a16="http://schemas.microsoft.com/office/drawing/2014/main" id="{FCD706D4-E287-4356-A5C6-62D699804866}"/>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6" name="Rectangle 108">
                  <a:extLst>
                    <a:ext uri="{FF2B5EF4-FFF2-40B4-BE49-F238E27FC236}">
                      <a16:creationId xmlns:a16="http://schemas.microsoft.com/office/drawing/2014/main" id="{0EAE580F-BBA6-4564-B88E-20AEF47FE77F}"/>
                    </a:ext>
                  </a:extLst>
                </p:cNvPr>
                <p:cNvSpPr>
                  <a:spLocks noChangeArrowheads="1"/>
                </p:cNvSpPr>
                <p:nvPr/>
              </p:nvSpPr>
              <p:spPr bwMode="auto">
                <a:xfrm>
                  <a:off x="-1301075" y="3638682"/>
                  <a:ext cx="175980" cy="19765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57" name="Rectangle 109">
                  <a:extLst>
                    <a:ext uri="{FF2B5EF4-FFF2-40B4-BE49-F238E27FC236}">
                      <a16:creationId xmlns:a16="http://schemas.microsoft.com/office/drawing/2014/main" id="{D4FE6F54-C56F-48A7-9BEA-91C2F0E187C9}"/>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8" name="Freeform 110">
                  <a:extLst>
                    <a:ext uri="{FF2B5EF4-FFF2-40B4-BE49-F238E27FC236}">
                      <a16:creationId xmlns:a16="http://schemas.microsoft.com/office/drawing/2014/main" id="{F32BB55E-B083-4D35-905B-9D8F4739187E}"/>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59" name="Freeform 111">
                  <a:extLst>
                    <a:ext uri="{FF2B5EF4-FFF2-40B4-BE49-F238E27FC236}">
                      <a16:creationId xmlns:a16="http://schemas.microsoft.com/office/drawing/2014/main" id="{A25718D3-C299-466B-A01B-740281DC58C4}"/>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60" name="Freeform 112">
                  <a:extLst>
                    <a:ext uri="{FF2B5EF4-FFF2-40B4-BE49-F238E27FC236}">
                      <a16:creationId xmlns:a16="http://schemas.microsoft.com/office/drawing/2014/main" id="{37B74445-A6DE-42E5-9A5F-1EE668A7D1D8}"/>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61" name="Freeform 113">
                  <a:extLst>
                    <a:ext uri="{FF2B5EF4-FFF2-40B4-BE49-F238E27FC236}">
                      <a16:creationId xmlns:a16="http://schemas.microsoft.com/office/drawing/2014/main" id="{6F1EC0C3-EAD8-43A5-8AE9-EC4A6DD19D9A}"/>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62" name="Freeform 114">
                  <a:extLst>
                    <a:ext uri="{FF2B5EF4-FFF2-40B4-BE49-F238E27FC236}">
                      <a16:creationId xmlns:a16="http://schemas.microsoft.com/office/drawing/2014/main" id="{BD0D6176-5D19-46E9-B82A-9726743CD1D0}"/>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63" name="Freeform 115">
                  <a:extLst>
                    <a:ext uri="{FF2B5EF4-FFF2-40B4-BE49-F238E27FC236}">
                      <a16:creationId xmlns:a16="http://schemas.microsoft.com/office/drawing/2014/main" id="{34FB4E4A-41D8-4698-99C1-19B23FBE771F}"/>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64" name="Freeform 116">
                  <a:extLst>
                    <a:ext uri="{FF2B5EF4-FFF2-40B4-BE49-F238E27FC236}">
                      <a16:creationId xmlns:a16="http://schemas.microsoft.com/office/drawing/2014/main" id="{BEB9017A-6CAC-4D26-B525-6A9C90B3A975}"/>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65" name="Freeform 117">
                  <a:extLst>
                    <a:ext uri="{FF2B5EF4-FFF2-40B4-BE49-F238E27FC236}">
                      <a16:creationId xmlns:a16="http://schemas.microsoft.com/office/drawing/2014/main" id="{62B242A3-E6F2-4368-9E0A-76CEA011F3E7}"/>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466" name="Group 465">
                  <a:extLst>
                    <a:ext uri="{FF2B5EF4-FFF2-40B4-BE49-F238E27FC236}">
                      <a16:creationId xmlns:a16="http://schemas.microsoft.com/office/drawing/2014/main" id="{ED5B3139-9E54-429A-BD00-792B57DEA7DC}"/>
                    </a:ext>
                  </a:extLst>
                </p:cNvPr>
                <p:cNvGrpSpPr/>
                <p:nvPr/>
              </p:nvGrpSpPr>
              <p:grpSpPr>
                <a:xfrm>
                  <a:off x="-54543" y="2279901"/>
                  <a:ext cx="654580" cy="588705"/>
                  <a:chOff x="-54543" y="2279901"/>
                  <a:chExt cx="654580" cy="588705"/>
                </a:xfrm>
                <a:grpFill/>
              </p:grpSpPr>
              <p:sp>
                <p:nvSpPr>
                  <p:cNvPr id="475" name="Freeform 68">
                    <a:extLst>
                      <a:ext uri="{FF2B5EF4-FFF2-40B4-BE49-F238E27FC236}">
                        <a16:creationId xmlns:a16="http://schemas.microsoft.com/office/drawing/2014/main" id="{4DD33DF1-FDC8-4FD8-9BDD-32929C239B54}"/>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76" name="Freeform 118">
                    <a:extLst>
                      <a:ext uri="{FF2B5EF4-FFF2-40B4-BE49-F238E27FC236}">
                        <a16:creationId xmlns:a16="http://schemas.microsoft.com/office/drawing/2014/main" id="{8C4DDE19-936D-4C3D-98CC-77909BF01B17}"/>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77" name="Freeform 119">
                    <a:extLst>
                      <a:ext uri="{FF2B5EF4-FFF2-40B4-BE49-F238E27FC236}">
                        <a16:creationId xmlns:a16="http://schemas.microsoft.com/office/drawing/2014/main" id="{BEA47F27-0E9D-4D0D-9A01-104D89792FDE}"/>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78" name="Freeform 120">
                    <a:extLst>
                      <a:ext uri="{FF2B5EF4-FFF2-40B4-BE49-F238E27FC236}">
                        <a16:creationId xmlns:a16="http://schemas.microsoft.com/office/drawing/2014/main" id="{4319D933-6920-4315-B925-C87B249FEC85}"/>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79" name="Freeform 121">
                    <a:extLst>
                      <a:ext uri="{FF2B5EF4-FFF2-40B4-BE49-F238E27FC236}">
                        <a16:creationId xmlns:a16="http://schemas.microsoft.com/office/drawing/2014/main" id="{07C8C46C-6E51-45BD-A7AE-8F55A5C36CC0}"/>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0" name="Freeform 122">
                    <a:extLst>
                      <a:ext uri="{FF2B5EF4-FFF2-40B4-BE49-F238E27FC236}">
                        <a16:creationId xmlns:a16="http://schemas.microsoft.com/office/drawing/2014/main" id="{8D8C6999-AE80-4C40-B874-AAB8FC6E6130}"/>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81" name="Freeform 124">
                    <a:extLst>
                      <a:ext uri="{FF2B5EF4-FFF2-40B4-BE49-F238E27FC236}">
                        <a16:creationId xmlns:a16="http://schemas.microsoft.com/office/drawing/2014/main" id="{9300CB5A-888B-47A2-A475-5455D1C41206}"/>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2" name="Freeform 125">
                    <a:extLst>
                      <a:ext uri="{FF2B5EF4-FFF2-40B4-BE49-F238E27FC236}">
                        <a16:creationId xmlns:a16="http://schemas.microsoft.com/office/drawing/2014/main" id="{D930A820-6C1D-4884-AFED-18B634337D23}"/>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3" name="Freeform 126">
                    <a:extLst>
                      <a:ext uri="{FF2B5EF4-FFF2-40B4-BE49-F238E27FC236}">
                        <a16:creationId xmlns:a16="http://schemas.microsoft.com/office/drawing/2014/main" id="{5BCC8386-F9A9-46EA-94DD-D8B02D42BBB9}"/>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4" name="Freeform 127">
                    <a:extLst>
                      <a:ext uri="{FF2B5EF4-FFF2-40B4-BE49-F238E27FC236}">
                        <a16:creationId xmlns:a16="http://schemas.microsoft.com/office/drawing/2014/main" id="{9AD1D647-C7B4-4676-ADE9-2981BA04A9A5}"/>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5" name="Freeform 128">
                    <a:extLst>
                      <a:ext uri="{FF2B5EF4-FFF2-40B4-BE49-F238E27FC236}">
                        <a16:creationId xmlns:a16="http://schemas.microsoft.com/office/drawing/2014/main" id="{C08E2849-A494-442E-8BD5-B7F66EB21133}"/>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6" name="Freeform 129">
                    <a:extLst>
                      <a:ext uri="{FF2B5EF4-FFF2-40B4-BE49-F238E27FC236}">
                        <a16:creationId xmlns:a16="http://schemas.microsoft.com/office/drawing/2014/main" id="{01D55C8F-E794-4DFC-8154-EBE8043D9928}"/>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87" name="Freeform 130">
                    <a:extLst>
                      <a:ext uri="{FF2B5EF4-FFF2-40B4-BE49-F238E27FC236}">
                        <a16:creationId xmlns:a16="http://schemas.microsoft.com/office/drawing/2014/main" id="{52BB6023-023B-459F-86CF-FDC1581F128D}"/>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8" name="Freeform 131">
                    <a:extLst>
                      <a:ext uri="{FF2B5EF4-FFF2-40B4-BE49-F238E27FC236}">
                        <a16:creationId xmlns:a16="http://schemas.microsoft.com/office/drawing/2014/main" id="{2B9AD264-485F-465C-95F6-75BBBF4B4757}"/>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9" name="Freeform 132">
                    <a:extLst>
                      <a:ext uri="{FF2B5EF4-FFF2-40B4-BE49-F238E27FC236}">
                        <a16:creationId xmlns:a16="http://schemas.microsoft.com/office/drawing/2014/main" id="{8E62A09B-218C-447C-AD82-B1366E1F0B43}"/>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90" name="Freeform 133">
                    <a:extLst>
                      <a:ext uri="{FF2B5EF4-FFF2-40B4-BE49-F238E27FC236}">
                        <a16:creationId xmlns:a16="http://schemas.microsoft.com/office/drawing/2014/main" id="{4937E96E-5034-4506-B4B2-612B3CC58D79}"/>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467" name="Group 466">
                  <a:extLst>
                    <a:ext uri="{FF2B5EF4-FFF2-40B4-BE49-F238E27FC236}">
                      <a16:creationId xmlns:a16="http://schemas.microsoft.com/office/drawing/2014/main" id="{C0D412E6-CEF5-4F80-83E3-DCB36F1854F5}"/>
                    </a:ext>
                  </a:extLst>
                </p:cNvPr>
                <p:cNvGrpSpPr/>
                <p:nvPr/>
              </p:nvGrpSpPr>
              <p:grpSpPr>
                <a:xfrm>
                  <a:off x="-108104" y="2554074"/>
                  <a:ext cx="132971" cy="160137"/>
                  <a:chOff x="7094929" y="5488305"/>
                  <a:chExt cx="132971" cy="160137"/>
                </a:xfrm>
                <a:grpFill/>
              </p:grpSpPr>
              <p:sp>
                <p:nvSpPr>
                  <p:cNvPr id="473" name="Freeform 66">
                    <a:extLst>
                      <a:ext uri="{FF2B5EF4-FFF2-40B4-BE49-F238E27FC236}">
                        <a16:creationId xmlns:a16="http://schemas.microsoft.com/office/drawing/2014/main" id="{9D0B4C97-8A25-42E1-8798-B7DFC7F13A0B}"/>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74" name="Freeform 127">
                    <a:extLst>
                      <a:ext uri="{FF2B5EF4-FFF2-40B4-BE49-F238E27FC236}">
                        <a16:creationId xmlns:a16="http://schemas.microsoft.com/office/drawing/2014/main" id="{2D211B9E-1BBF-4818-8292-34B2E9F5BA57}"/>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468" name="Freeform 127">
                  <a:extLst>
                    <a:ext uri="{FF2B5EF4-FFF2-40B4-BE49-F238E27FC236}">
                      <a16:creationId xmlns:a16="http://schemas.microsoft.com/office/drawing/2014/main" id="{67A9D697-DD5C-4CBD-8DAA-263919837BD7}"/>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469" name="Freeform 127">
                  <a:extLst>
                    <a:ext uri="{FF2B5EF4-FFF2-40B4-BE49-F238E27FC236}">
                      <a16:creationId xmlns:a16="http://schemas.microsoft.com/office/drawing/2014/main" id="{8E600210-67D3-4BBE-A621-6053411AC0F1}"/>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470" name="Freeform 127">
                  <a:extLst>
                    <a:ext uri="{FF2B5EF4-FFF2-40B4-BE49-F238E27FC236}">
                      <a16:creationId xmlns:a16="http://schemas.microsoft.com/office/drawing/2014/main" id="{2F1705A5-D2B1-4C83-9B7A-53C6A7ECE5B2}"/>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471" name="Freeform 127">
                  <a:extLst>
                    <a:ext uri="{FF2B5EF4-FFF2-40B4-BE49-F238E27FC236}">
                      <a16:creationId xmlns:a16="http://schemas.microsoft.com/office/drawing/2014/main" id="{AF177FED-888B-476E-8F98-5A0808C78529}"/>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472" name="Freeform 127">
                  <a:extLst>
                    <a:ext uri="{FF2B5EF4-FFF2-40B4-BE49-F238E27FC236}">
                      <a16:creationId xmlns:a16="http://schemas.microsoft.com/office/drawing/2014/main" id="{8E229F0D-11E0-4ABF-8CC2-48C78D0F97F4}"/>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417" name="Rectangle 416">
                <a:extLst>
                  <a:ext uri="{FF2B5EF4-FFF2-40B4-BE49-F238E27FC236}">
                    <a16:creationId xmlns:a16="http://schemas.microsoft.com/office/drawing/2014/main" id="{9AF084B0-340C-481A-8634-947653E1CCBE}"/>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grpSp>
        <p:nvGrpSpPr>
          <p:cNvPr id="569" name="Group 568">
            <a:extLst>
              <a:ext uri="{FF2B5EF4-FFF2-40B4-BE49-F238E27FC236}">
                <a16:creationId xmlns:a16="http://schemas.microsoft.com/office/drawing/2014/main" id="{34944AEB-75E9-41F5-BF88-E2D4946C2D59}"/>
              </a:ext>
            </a:extLst>
          </p:cNvPr>
          <p:cNvGrpSpPr/>
          <p:nvPr/>
        </p:nvGrpSpPr>
        <p:grpSpPr>
          <a:xfrm>
            <a:off x="3124214" y="2758441"/>
            <a:ext cx="1120333" cy="385043"/>
            <a:chOff x="8598308" y="5131729"/>
            <a:chExt cx="2593567" cy="965651"/>
          </a:xfrm>
          <a:solidFill>
            <a:schemeClr val="bg1">
              <a:lumMod val="75000"/>
            </a:schemeClr>
          </a:solidFill>
        </p:grpSpPr>
        <p:grpSp>
          <p:nvGrpSpPr>
            <p:cNvPr id="570" name="Group 569">
              <a:extLst>
                <a:ext uri="{FF2B5EF4-FFF2-40B4-BE49-F238E27FC236}">
                  <a16:creationId xmlns:a16="http://schemas.microsoft.com/office/drawing/2014/main" id="{10BB7C41-9F5F-4E48-AB86-D6C98E6824C6}"/>
                </a:ext>
              </a:extLst>
            </p:cNvPr>
            <p:cNvGrpSpPr>
              <a:grpSpLocks noChangeAspect="1"/>
            </p:cNvGrpSpPr>
            <p:nvPr/>
          </p:nvGrpSpPr>
          <p:grpSpPr>
            <a:xfrm>
              <a:off x="8706960" y="5131729"/>
              <a:ext cx="2361059" cy="927114"/>
              <a:chOff x="13708063" y="7653374"/>
              <a:chExt cx="17978438" cy="7059577"/>
            </a:xfrm>
            <a:grpFill/>
          </p:grpSpPr>
          <p:sp>
            <p:nvSpPr>
              <p:cNvPr id="572" name="Freeform 5">
                <a:extLst>
                  <a:ext uri="{FF2B5EF4-FFF2-40B4-BE49-F238E27FC236}">
                    <a16:creationId xmlns:a16="http://schemas.microsoft.com/office/drawing/2014/main" id="{1D40769A-D42A-4B8C-8F70-D86C2ED24389}"/>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3" name="Freeform 6">
                <a:extLst>
                  <a:ext uri="{FF2B5EF4-FFF2-40B4-BE49-F238E27FC236}">
                    <a16:creationId xmlns:a16="http://schemas.microsoft.com/office/drawing/2014/main" id="{73BBD567-D90F-4F72-9E9B-A650F3F7E404}"/>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4" name="Freeform 7">
                <a:extLst>
                  <a:ext uri="{FF2B5EF4-FFF2-40B4-BE49-F238E27FC236}">
                    <a16:creationId xmlns:a16="http://schemas.microsoft.com/office/drawing/2014/main" id="{3EEB6FBF-AD22-482E-A3D9-20FF223EDD43}"/>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5" name="Freeform 8">
                <a:extLst>
                  <a:ext uri="{FF2B5EF4-FFF2-40B4-BE49-F238E27FC236}">
                    <a16:creationId xmlns:a16="http://schemas.microsoft.com/office/drawing/2014/main" id="{CECC5C59-6E68-4091-A81B-4CB404D87A3C}"/>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7" name="Freeform 9">
                <a:extLst>
                  <a:ext uri="{FF2B5EF4-FFF2-40B4-BE49-F238E27FC236}">
                    <a16:creationId xmlns:a16="http://schemas.microsoft.com/office/drawing/2014/main" id="{DD457492-A335-48B9-9E45-80F6872F31CD}"/>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8" name="Freeform 10">
                <a:extLst>
                  <a:ext uri="{FF2B5EF4-FFF2-40B4-BE49-F238E27FC236}">
                    <a16:creationId xmlns:a16="http://schemas.microsoft.com/office/drawing/2014/main" id="{D2C8AFC8-D906-40CD-B8EC-FF008428A524}"/>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9" name="Freeform 11">
                <a:extLst>
                  <a:ext uri="{FF2B5EF4-FFF2-40B4-BE49-F238E27FC236}">
                    <a16:creationId xmlns:a16="http://schemas.microsoft.com/office/drawing/2014/main" id="{F63247C6-6DD1-4201-A11E-A692D62860BF}"/>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0" name="Freeform 12">
                <a:extLst>
                  <a:ext uri="{FF2B5EF4-FFF2-40B4-BE49-F238E27FC236}">
                    <a16:creationId xmlns:a16="http://schemas.microsoft.com/office/drawing/2014/main" id="{89DF3E7A-D05D-429F-8D4D-9D9546439B7B}"/>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1" name="Freeform 13">
                <a:extLst>
                  <a:ext uri="{FF2B5EF4-FFF2-40B4-BE49-F238E27FC236}">
                    <a16:creationId xmlns:a16="http://schemas.microsoft.com/office/drawing/2014/main" id="{A34E4425-ED3E-4D4A-B859-FA7D08807BB6}"/>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2" name="Freeform 14">
                <a:extLst>
                  <a:ext uri="{FF2B5EF4-FFF2-40B4-BE49-F238E27FC236}">
                    <a16:creationId xmlns:a16="http://schemas.microsoft.com/office/drawing/2014/main" id="{8D75926E-BAFC-4D00-82B7-E8FFD414EC2D}"/>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3" name="Freeform 15">
                <a:extLst>
                  <a:ext uri="{FF2B5EF4-FFF2-40B4-BE49-F238E27FC236}">
                    <a16:creationId xmlns:a16="http://schemas.microsoft.com/office/drawing/2014/main" id="{E0DDB0A3-A2E3-4E22-879E-D162678A0889}"/>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4" name="Freeform 16">
                <a:extLst>
                  <a:ext uri="{FF2B5EF4-FFF2-40B4-BE49-F238E27FC236}">
                    <a16:creationId xmlns:a16="http://schemas.microsoft.com/office/drawing/2014/main" id="{143FA541-AADA-444A-9AFD-7D96E115D4AE}"/>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5" name="Freeform 17">
                <a:extLst>
                  <a:ext uri="{FF2B5EF4-FFF2-40B4-BE49-F238E27FC236}">
                    <a16:creationId xmlns:a16="http://schemas.microsoft.com/office/drawing/2014/main" id="{ADE633E3-3F9B-4404-8EA0-C4FEA7F275BB}"/>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6" name="Freeform 18">
                <a:extLst>
                  <a:ext uri="{FF2B5EF4-FFF2-40B4-BE49-F238E27FC236}">
                    <a16:creationId xmlns:a16="http://schemas.microsoft.com/office/drawing/2014/main" id="{475275B5-E3F2-4F0F-B072-D920646978D5}"/>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7" name="Freeform 19">
                <a:extLst>
                  <a:ext uri="{FF2B5EF4-FFF2-40B4-BE49-F238E27FC236}">
                    <a16:creationId xmlns:a16="http://schemas.microsoft.com/office/drawing/2014/main" id="{23FEE763-80E0-4DF3-B0D3-7FD72670D502}"/>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8" name="Freeform 20">
                <a:extLst>
                  <a:ext uri="{FF2B5EF4-FFF2-40B4-BE49-F238E27FC236}">
                    <a16:creationId xmlns:a16="http://schemas.microsoft.com/office/drawing/2014/main" id="{5469C155-E532-4C1F-A7D7-8C8E323E01ED}"/>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9" name="Freeform 21">
                <a:extLst>
                  <a:ext uri="{FF2B5EF4-FFF2-40B4-BE49-F238E27FC236}">
                    <a16:creationId xmlns:a16="http://schemas.microsoft.com/office/drawing/2014/main" id="{E7574B65-1AFE-4369-BC1C-61653F2924CC}"/>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0" name="Freeform 22">
                <a:extLst>
                  <a:ext uri="{FF2B5EF4-FFF2-40B4-BE49-F238E27FC236}">
                    <a16:creationId xmlns:a16="http://schemas.microsoft.com/office/drawing/2014/main" id="{CE29D0A9-0064-4479-B5EF-BBEE9E7EE5B2}"/>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1" name="Freeform 23">
                <a:extLst>
                  <a:ext uri="{FF2B5EF4-FFF2-40B4-BE49-F238E27FC236}">
                    <a16:creationId xmlns:a16="http://schemas.microsoft.com/office/drawing/2014/main" id="{37EBCFE6-A870-4C57-9E0D-87551CCE97D4}"/>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2" name="Freeform 24">
                <a:extLst>
                  <a:ext uri="{FF2B5EF4-FFF2-40B4-BE49-F238E27FC236}">
                    <a16:creationId xmlns:a16="http://schemas.microsoft.com/office/drawing/2014/main" id="{1AFC6E44-2118-4AC4-9E54-625BB4E63551}"/>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3" name="Freeform 25">
                <a:extLst>
                  <a:ext uri="{FF2B5EF4-FFF2-40B4-BE49-F238E27FC236}">
                    <a16:creationId xmlns:a16="http://schemas.microsoft.com/office/drawing/2014/main" id="{9FD04C8F-B7AC-4483-9A07-C24A2688A7CB}"/>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4" name="Freeform 26">
                <a:extLst>
                  <a:ext uri="{FF2B5EF4-FFF2-40B4-BE49-F238E27FC236}">
                    <a16:creationId xmlns:a16="http://schemas.microsoft.com/office/drawing/2014/main" id="{07EB6E8F-7D25-4FA0-81E4-FA3A840F5B12}"/>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5" name="Freeform 27">
                <a:extLst>
                  <a:ext uri="{FF2B5EF4-FFF2-40B4-BE49-F238E27FC236}">
                    <a16:creationId xmlns:a16="http://schemas.microsoft.com/office/drawing/2014/main" id="{A9799E0E-B533-49A0-9A19-53FA9A5BDF01}"/>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6" name="Freeform 28">
                <a:extLst>
                  <a:ext uri="{FF2B5EF4-FFF2-40B4-BE49-F238E27FC236}">
                    <a16:creationId xmlns:a16="http://schemas.microsoft.com/office/drawing/2014/main" id="{F91774DC-12DF-49D6-9C88-1A4258A09423}"/>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7" name="Freeform 30">
                <a:extLst>
                  <a:ext uri="{FF2B5EF4-FFF2-40B4-BE49-F238E27FC236}">
                    <a16:creationId xmlns:a16="http://schemas.microsoft.com/office/drawing/2014/main" id="{A299D7FF-AFCA-4C46-B4F5-5EECC8B106CA}"/>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8" name="Freeform 31">
                <a:extLst>
                  <a:ext uri="{FF2B5EF4-FFF2-40B4-BE49-F238E27FC236}">
                    <a16:creationId xmlns:a16="http://schemas.microsoft.com/office/drawing/2014/main" id="{2C5317D8-1C39-4DA8-A781-BE786886DCEC}"/>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2" name="Freeform 32">
                <a:extLst>
                  <a:ext uri="{FF2B5EF4-FFF2-40B4-BE49-F238E27FC236}">
                    <a16:creationId xmlns:a16="http://schemas.microsoft.com/office/drawing/2014/main" id="{AECD502A-4EF4-4E80-966E-0AB429918051}"/>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3" name="Freeform 33">
                <a:extLst>
                  <a:ext uri="{FF2B5EF4-FFF2-40B4-BE49-F238E27FC236}">
                    <a16:creationId xmlns:a16="http://schemas.microsoft.com/office/drawing/2014/main" id="{96D7B29F-1EB9-4F9B-9C61-910BB736FED5}"/>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4" name="Freeform 37">
                <a:extLst>
                  <a:ext uri="{FF2B5EF4-FFF2-40B4-BE49-F238E27FC236}">
                    <a16:creationId xmlns:a16="http://schemas.microsoft.com/office/drawing/2014/main" id="{F1877E95-54AF-4B35-985A-C6716146107F}"/>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5" name="Rectangle 38">
                <a:extLst>
                  <a:ext uri="{FF2B5EF4-FFF2-40B4-BE49-F238E27FC236}">
                    <a16:creationId xmlns:a16="http://schemas.microsoft.com/office/drawing/2014/main" id="{D89BA0EE-0C2C-4CEE-BCD4-4B3649BD2DBB}"/>
                  </a:ext>
                </a:extLst>
              </p:cNvPr>
              <p:cNvSpPr>
                <a:spLocks noChangeArrowheads="1"/>
              </p:cNvSpPr>
              <p:nvPr/>
            </p:nvSpPr>
            <p:spPr bwMode="auto">
              <a:xfrm>
                <a:off x="17970018" y="7900981"/>
                <a:ext cx="4603121" cy="263207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6" name="Freeform 39">
                <a:extLst>
                  <a:ext uri="{FF2B5EF4-FFF2-40B4-BE49-F238E27FC236}">
                    <a16:creationId xmlns:a16="http://schemas.microsoft.com/office/drawing/2014/main" id="{053ACB5E-2E26-4315-BD32-0791224CA645}"/>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7" name="Freeform 40">
                <a:extLst>
                  <a:ext uri="{FF2B5EF4-FFF2-40B4-BE49-F238E27FC236}">
                    <a16:creationId xmlns:a16="http://schemas.microsoft.com/office/drawing/2014/main" id="{24B180C0-8FCF-4153-9317-78221F9E482E}"/>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8" name="Freeform 41">
                <a:extLst>
                  <a:ext uri="{FF2B5EF4-FFF2-40B4-BE49-F238E27FC236}">
                    <a16:creationId xmlns:a16="http://schemas.microsoft.com/office/drawing/2014/main" id="{A665CAFE-D868-497A-919B-1F31254B7E13}"/>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9" name="Rectangle 42">
                <a:extLst>
                  <a:ext uri="{FF2B5EF4-FFF2-40B4-BE49-F238E27FC236}">
                    <a16:creationId xmlns:a16="http://schemas.microsoft.com/office/drawing/2014/main" id="{09ED8DA1-2DE7-454E-85E2-A17BDE4AC8F7}"/>
                  </a:ext>
                </a:extLst>
              </p:cNvPr>
              <p:cNvSpPr>
                <a:spLocks noChangeArrowheads="1"/>
              </p:cNvSpPr>
              <p:nvPr/>
            </p:nvSpPr>
            <p:spPr bwMode="auto">
              <a:xfrm>
                <a:off x="25590501" y="11085513"/>
                <a:ext cx="998538" cy="1984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0" name="Freeform 43">
                <a:extLst>
                  <a:ext uri="{FF2B5EF4-FFF2-40B4-BE49-F238E27FC236}">
                    <a16:creationId xmlns:a16="http://schemas.microsoft.com/office/drawing/2014/main" id="{3E755B90-45C3-4275-8A41-DFA030B2F1A3}"/>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1" name="Rectangle 44">
                <a:extLst>
                  <a:ext uri="{FF2B5EF4-FFF2-40B4-BE49-F238E27FC236}">
                    <a16:creationId xmlns:a16="http://schemas.microsoft.com/office/drawing/2014/main" id="{1B4F8810-C336-4182-9465-EFF193BF38D4}"/>
                  </a:ext>
                </a:extLst>
              </p:cNvPr>
              <p:cNvSpPr>
                <a:spLocks noChangeArrowheads="1"/>
              </p:cNvSpPr>
              <p:nvPr/>
            </p:nvSpPr>
            <p:spPr bwMode="auto">
              <a:xfrm>
                <a:off x="28171776" y="12095163"/>
                <a:ext cx="968375" cy="2000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2" name="Freeform 45">
                <a:extLst>
                  <a:ext uri="{FF2B5EF4-FFF2-40B4-BE49-F238E27FC236}">
                    <a16:creationId xmlns:a16="http://schemas.microsoft.com/office/drawing/2014/main" id="{B56DC3A6-70C8-43A1-82FC-F258CBE96201}"/>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3" name="Freeform 46">
                <a:extLst>
                  <a:ext uri="{FF2B5EF4-FFF2-40B4-BE49-F238E27FC236}">
                    <a16:creationId xmlns:a16="http://schemas.microsoft.com/office/drawing/2014/main" id="{68B7B434-B2A8-42ED-BDEE-D55AB87DC82D}"/>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4" name="Freeform 47">
                <a:extLst>
                  <a:ext uri="{FF2B5EF4-FFF2-40B4-BE49-F238E27FC236}">
                    <a16:creationId xmlns:a16="http://schemas.microsoft.com/office/drawing/2014/main" id="{1B15D88C-9594-41C6-9356-E8E497653908}"/>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5" name="Freeform 48">
                <a:extLst>
                  <a:ext uri="{FF2B5EF4-FFF2-40B4-BE49-F238E27FC236}">
                    <a16:creationId xmlns:a16="http://schemas.microsoft.com/office/drawing/2014/main" id="{3133319B-4F40-482B-AF4D-682840C08F68}"/>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6" name="Freeform 49">
                <a:extLst>
                  <a:ext uri="{FF2B5EF4-FFF2-40B4-BE49-F238E27FC236}">
                    <a16:creationId xmlns:a16="http://schemas.microsoft.com/office/drawing/2014/main" id="{5871E634-BE10-49A0-B031-0E4E7762DE85}"/>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7" name="Rectangle 50">
                <a:extLst>
                  <a:ext uri="{FF2B5EF4-FFF2-40B4-BE49-F238E27FC236}">
                    <a16:creationId xmlns:a16="http://schemas.microsoft.com/office/drawing/2014/main" id="{28286982-7BA4-4A09-913F-7A3702A0032F}"/>
                  </a:ext>
                </a:extLst>
              </p:cNvPr>
              <p:cNvSpPr>
                <a:spLocks noChangeArrowheads="1"/>
              </p:cNvSpPr>
              <p:nvPr/>
            </p:nvSpPr>
            <p:spPr bwMode="auto">
              <a:xfrm>
                <a:off x="27790339" y="9455158"/>
                <a:ext cx="2580131" cy="167481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8" name="Freeform 51">
                <a:extLst>
                  <a:ext uri="{FF2B5EF4-FFF2-40B4-BE49-F238E27FC236}">
                    <a16:creationId xmlns:a16="http://schemas.microsoft.com/office/drawing/2014/main" id="{80B69945-23DD-4331-A473-58E7638A766A}"/>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9" name="Freeform 52">
                <a:extLst>
                  <a:ext uri="{FF2B5EF4-FFF2-40B4-BE49-F238E27FC236}">
                    <a16:creationId xmlns:a16="http://schemas.microsoft.com/office/drawing/2014/main" id="{B86A65C4-4A6D-4B40-A981-BDADC5067E6E}"/>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0" name="Freeform 53">
                <a:extLst>
                  <a:ext uri="{FF2B5EF4-FFF2-40B4-BE49-F238E27FC236}">
                    <a16:creationId xmlns:a16="http://schemas.microsoft.com/office/drawing/2014/main" id="{83B743F4-A7C3-4C03-9852-CAE35AF84BB1}"/>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1" name="Freeform 54">
                <a:extLst>
                  <a:ext uri="{FF2B5EF4-FFF2-40B4-BE49-F238E27FC236}">
                    <a16:creationId xmlns:a16="http://schemas.microsoft.com/office/drawing/2014/main" id="{1EA8701D-4B81-4F39-BAC8-B7EF650A35AB}"/>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2" name="Freeform 55">
                <a:extLst>
                  <a:ext uri="{FF2B5EF4-FFF2-40B4-BE49-F238E27FC236}">
                    <a16:creationId xmlns:a16="http://schemas.microsoft.com/office/drawing/2014/main" id="{8880A60F-F98F-4691-B61D-48F4CE1B09D5}"/>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3" name="Freeform 56">
                <a:extLst>
                  <a:ext uri="{FF2B5EF4-FFF2-40B4-BE49-F238E27FC236}">
                    <a16:creationId xmlns:a16="http://schemas.microsoft.com/office/drawing/2014/main" id="{0DA9EE5B-66C3-4552-9D78-5103785A91AB}"/>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4" name="Freeform 57">
                <a:extLst>
                  <a:ext uri="{FF2B5EF4-FFF2-40B4-BE49-F238E27FC236}">
                    <a16:creationId xmlns:a16="http://schemas.microsoft.com/office/drawing/2014/main" id="{27738B5A-6149-4749-AFE5-648562348EB0}"/>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5" name="Freeform 58">
                <a:extLst>
                  <a:ext uri="{FF2B5EF4-FFF2-40B4-BE49-F238E27FC236}">
                    <a16:creationId xmlns:a16="http://schemas.microsoft.com/office/drawing/2014/main" id="{6F2798BB-47CD-42AE-9D6A-6097AB214163}"/>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6" name="Freeform 59">
                <a:extLst>
                  <a:ext uri="{FF2B5EF4-FFF2-40B4-BE49-F238E27FC236}">
                    <a16:creationId xmlns:a16="http://schemas.microsoft.com/office/drawing/2014/main" id="{231AFFC0-2A64-4ED4-A851-E38700B3299F}"/>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7" name="Freeform 60">
                <a:extLst>
                  <a:ext uri="{FF2B5EF4-FFF2-40B4-BE49-F238E27FC236}">
                    <a16:creationId xmlns:a16="http://schemas.microsoft.com/office/drawing/2014/main" id="{52692F6E-5A2E-4A08-854F-935D2DD96BF8}"/>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8" name="Freeform 61">
                <a:extLst>
                  <a:ext uri="{FF2B5EF4-FFF2-40B4-BE49-F238E27FC236}">
                    <a16:creationId xmlns:a16="http://schemas.microsoft.com/office/drawing/2014/main" id="{A8FE23F4-F807-4C57-9A98-C8B90CE100C8}"/>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9" name="Freeform 62">
                <a:extLst>
                  <a:ext uri="{FF2B5EF4-FFF2-40B4-BE49-F238E27FC236}">
                    <a16:creationId xmlns:a16="http://schemas.microsoft.com/office/drawing/2014/main" id="{90F18C2F-7148-4D6F-AE31-5C3EC8E77B62}"/>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0" name="Freeform 63">
                <a:extLst>
                  <a:ext uri="{FF2B5EF4-FFF2-40B4-BE49-F238E27FC236}">
                    <a16:creationId xmlns:a16="http://schemas.microsoft.com/office/drawing/2014/main" id="{793B16DF-66EF-4765-9AF4-55DC61ACFD6B}"/>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1" name="Freeform 64">
                <a:extLst>
                  <a:ext uri="{FF2B5EF4-FFF2-40B4-BE49-F238E27FC236}">
                    <a16:creationId xmlns:a16="http://schemas.microsoft.com/office/drawing/2014/main" id="{0FACB112-E6C7-4504-8418-FA531EAFD9B1}"/>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2" name="Freeform 65">
                <a:extLst>
                  <a:ext uri="{FF2B5EF4-FFF2-40B4-BE49-F238E27FC236}">
                    <a16:creationId xmlns:a16="http://schemas.microsoft.com/office/drawing/2014/main" id="{CCC22DEB-60D0-4B0D-B2E2-9E42A02A3C96}"/>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3" name="Freeform 66">
                <a:extLst>
                  <a:ext uri="{FF2B5EF4-FFF2-40B4-BE49-F238E27FC236}">
                    <a16:creationId xmlns:a16="http://schemas.microsoft.com/office/drawing/2014/main" id="{520067DC-2F7E-4465-8671-A9ADA52A056E}"/>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4" name="Freeform 67">
                <a:extLst>
                  <a:ext uri="{FF2B5EF4-FFF2-40B4-BE49-F238E27FC236}">
                    <a16:creationId xmlns:a16="http://schemas.microsoft.com/office/drawing/2014/main" id="{E680883C-7197-43ED-982D-A09D8C94C861}"/>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5" name="Freeform 68">
                <a:extLst>
                  <a:ext uri="{FF2B5EF4-FFF2-40B4-BE49-F238E27FC236}">
                    <a16:creationId xmlns:a16="http://schemas.microsoft.com/office/drawing/2014/main" id="{E526D867-FB6D-4D35-8ECD-2F34EC7E9F10}"/>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6" name="Freeform 69">
                <a:extLst>
                  <a:ext uri="{FF2B5EF4-FFF2-40B4-BE49-F238E27FC236}">
                    <a16:creationId xmlns:a16="http://schemas.microsoft.com/office/drawing/2014/main" id="{C481D609-890B-4CD7-B43D-2FBA83B3CED3}"/>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7" name="Freeform 70">
                <a:extLst>
                  <a:ext uri="{FF2B5EF4-FFF2-40B4-BE49-F238E27FC236}">
                    <a16:creationId xmlns:a16="http://schemas.microsoft.com/office/drawing/2014/main" id="{9FF9D52D-E48B-4992-94E8-2640129558B8}"/>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8" name="Freeform 71">
                <a:extLst>
                  <a:ext uri="{FF2B5EF4-FFF2-40B4-BE49-F238E27FC236}">
                    <a16:creationId xmlns:a16="http://schemas.microsoft.com/office/drawing/2014/main" id="{4BE330CB-D7DC-4B99-BC38-A1CA5C1509BF}"/>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9" name="Freeform 72">
                <a:extLst>
                  <a:ext uri="{FF2B5EF4-FFF2-40B4-BE49-F238E27FC236}">
                    <a16:creationId xmlns:a16="http://schemas.microsoft.com/office/drawing/2014/main" id="{36BED553-E6AE-429B-8E68-292700FDD273}"/>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0" name="Freeform 73">
                <a:extLst>
                  <a:ext uri="{FF2B5EF4-FFF2-40B4-BE49-F238E27FC236}">
                    <a16:creationId xmlns:a16="http://schemas.microsoft.com/office/drawing/2014/main" id="{EB3830CF-A8FD-42DE-8207-AAC449FFB346}"/>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1" name="Freeform 74">
                <a:extLst>
                  <a:ext uri="{FF2B5EF4-FFF2-40B4-BE49-F238E27FC236}">
                    <a16:creationId xmlns:a16="http://schemas.microsoft.com/office/drawing/2014/main" id="{C46AED39-843D-4FF1-920D-5509FD9D9536}"/>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2" name="Freeform 75">
                <a:extLst>
                  <a:ext uri="{FF2B5EF4-FFF2-40B4-BE49-F238E27FC236}">
                    <a16:creationId xmlns:a16="http://schemas.microsoft.com/office/drawing/2014/main" id="{FA55F1BB-5E15-4F65-AF55-7A45703BC016}"/>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3" name="Freeform 76">
                <a:extLst>
                  <a:ext uri="{FF2B5EF4-FFF2-40B4-BE49-F238E27FC236}">
                    <a16:creationId xmlns:a16="http://schemas.microsoft.com/office/drawing/2014/main" id="{2467C6EF-FB14-4CE9-B3DB-66150C092A86}"/>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4" name="Freeform 77">
                <a:extLst>
                  <a:ext uri="{FF2B5EF4-FFF2-40B4-BE49-F238E27FC236}">
                    <a16:creationId xmlns:a16="http://schemas.microsoft.com/office/drawing/2014/main" id="{5B923F84-A948-4243-A68B-577985A488A9}"/>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5" name="Freeform 78">
                <a:extLst>
                  <a:ext uri="{FF2B5EF4-FFF2-40B4-BE49-F238E27FC236}">
                    <a16:creationId xmlns:a16="http://schemas.microsoft.com/office/drawing/2014/main" id="{2FB6F0DD-DE0C-45EB-B06B-557B899AD73D}"/>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6" name="Freeform 79">
                <a:extLst>
                  <a:ext uri="{FF2B5EF4-FFF2-40B4-BE49-F238E27FC236}">
                    <a16:creationId xmlns:a16="http://schemas.microsoft.com/office/drawing/2014/main" id="{CBEEF9AB-56C2-41D4-B56C-5AA870276493}"/>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7" name="Freeform 80">
                <a:extLst>
                  <a:ext uri="{FF2B5EF4-FFF2-40B4-BE49-F238E27FC236}">
                    <a16:creationId xmlns:a16="http://schemas.microsoft.com/office/drawing/2014/main" id="{CA301EBD-1649-4170-93B7-D97BB772268D}"/>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8" name="Freeform 81">
                <a:extLst>
                  <a:ext uri="{FF2B5EF4-FFF2-40B4-BE49-F238E27FC236}">
                    <a16:creationId xmlns:a16="http://schemas.microsoft.com/office/drawing/2014/main" id="{A21FBC30-245E-4804-87F6-A08C988B746D}"/>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571" name="Rectangle 570">
              <a:extLst>
                <a:ext uri="{FF2B5EF4-FFF2-40B4-BE49-F238E27FC236}">
                  <a16:creationId xmlns:a16="http://schemas.microsoft.com/office/drawing/2014/main" id="{536BA06A-B3A2-4927-9B5A-11FA80D91C03}"/>
                </a:ext>
              </a:extLst>
            </p:cNvPr>
            <p:cNvSpPr/>
            <p:nvPr/>
          </p:nvSpPr>
          <p:spPr bwMode="auto">
            <a:xfrm>
              <a:off x="8598308" y="6051661"/>
              <a:ext cx="259356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2" name="Group 1">
            <a:extLst>
              <a:ext uri="{FF2B5EF4-FFF2-40B4-BE49-F238E27FC236}">
                <a16:creationId xmlns:a16="http://schemas.microsoft.com/office/drawing/2014/main" id="{7DD520B2-30A0-4252-8F2D-20ABE3B62D71}"/>
              </a:ext>
            </a:extLst>
          </p:cNvPr>
          <p:cNvGrpSpPr/>
          <p:nvPr/>
        </p:nvGrpSpPr>
        <p:grpSpPr>
          <a:xfrm>
            <a:off x="975208" y="5295797"/>
            <a:ext cx="10241585" cy="933430"/>
            <a:chOff x="975208" y="3304608"/>
            <a:chExt cx="10241585" cy="933430"/>
          </a:xfrm>
        </p:grpSpPr>
        <p:sp>
          <p:nvSpPr>
            <p:cNvPr id="306" name="Rectangle 305">
              <a:extLst>
                <a:ext uri="{FF2B5EF4-FFF2-40B4-BE49-F238E27FC236}">
                  <a16:creationId xmlns:a16="http://schemas.microsoft.com/office/drawing/2014/main" id="{4DFC68C8-20CF-4F8E-9F7F-72A09796087B}"/>
                </a:ext>
              </a:extLst>
            </p:cNvPr>
            <p:cNvSpPr/>
            <p:nvPr/>
          </p:nvSpPr>
          <p:spPr bwMode="auto">
            <a:xfrm>
              <a:off x="975208" y="3304608"/>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trong Partner Ecosystem</a:t>
              </a:r>
            </a:p>
          </p:txBody>
        </p:sp>
        <p:sp>
          <p:nvSpPr>
            <p:cNvPr id="309" name="TextBox 308">
              <a:extLst>
                <a:ext uri="{FF2B5EF4-FFF2-40B4-BE49-F238E27FC236}">
                  <a16:creationId xmlns:a16="http://schemas.microsoft.com/office/drawing/2014/main" id="{BE17E787-C4DC-4DA4-8E58-4C5A867247C1}"/>
                </a:ext>
              </a:extLst>
            </p:cNvPr>
            <p:cNvSpPr txBox="1"/>
            <p:nvPr/>
          </p:nvSpPr>
          <p:spPr>
            <a:xfrm>
              <a:off x="3178754" y="3617435"/>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altLang="zh-CN" dirty="0"/>
                <a:t>Extensive</a:t>
              </a:r>
              <a:r>
                <a:rPr lang="en-US" dirty="0"/>
                <a:t>, Integrated, &amp; </a:t>
              </a:r>
              <a:r>
                <a:rPr lang="en-US" altLang="zh-CN" dirty="0"/>
                <a:t>Experienced</a:t>
              </a:r>
              <a:endParaRPr lang="en-US" dirty="0"/>
            </a:p>
          </p:txBody>
        </p:sp>
        <p:grpSp>
          <p:nvGrpSpPr>
            <p:cNvPr id="659" name="Group 658">
              <a:extLst>
                <a:ext uri="{FF2B5EF4-FFF2-40B4-BE49-F238E27FC236}">
                  <a16:creationId xmlns:a16="http://schemas.microsoft.com/office/drawing/2014/main" id="{B90F51CD-A0EC-44BD-83C8-E0DB5006FAD5}"/>
                </a:ext>
              </a:extLst>
            </p:cNvPr>
            <p:cNvGrpSpPr>
              <a:grpSpLocks/>
            </p:cNvGrpSpPr>
            <p:nvPr/>
          </p:nvGrpSpPr>
          <p:grpSpPr>
            <a:xfrm>
              <a:off x="1133416" y="3627120"/>
              <a:ext cx="651068" cy="609601"/>
              <a:chOff x="5965396" y="2936940"/>
              <a:chExt cx="3001924" cy="2810728"/>
            </a:xfrm>
            <a:solidFill>
              <a:srgbClr val="BFBFBF"/>
            </a:solidFill>
          </p:grpSpPr>
          <p:sp>
            <p:nvSpPr>
              <p:cNvPr id="660" name="Arc 659">
                <a:extLst>
                  <a:ext uri="{FF2B5EF4-FFF2-40B4-BE49-F238E27FC236}">
                    <a16:creationId xmlns:a16="http://schemas.microsoft.com/office/drawing/2014/main" id="{CE509117-E394-48F7-980B-28BF15F24D74}"/>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661" name="Group 660">
                <a:extLst>
                  <a:ext uri="{FF2B5EF4-FFF2-40B4-BE49-F238E27FC236}">
                    <a16:creationId xmlns:a16="http://schemas.microsoft.com/office/drawing/2014/main" id="{5CC6ACB2-0315-474C-8B06-3FC6393ED39F}"/>
                  </a:ext>
                </a:extLst>
              </p:cNvPr>
              <p:cNvGrpSpPr/>
              <p:nvPr/>
            </p:nvGrpSpPr>
            <p:grpSpPr>
              <a:xfrm>
                <a:off x="6393887" y="4600791"/>
                <a:ext cx="2131513" cy="969039"/>
                <a:chOff x="6037944" y="4939646"/>
                <a:chExt cx="1762503" cy="801278"/>
              </a:xfrm>
              <a:grpFill/>
            </p:grpSpPr>
            <p:grpSp>
              <p:nvGrpSpPr>
                <p:cNvPr id="682" name="Group 681">
                  <a:extLst>
                    <a:ext uri="{FF2B5EF4-FFF2-40B4-BE49-F238E27FC236}">
                      <a16:creationId xmlns:a16="http://schemas.microsoft.com/office/drawing/2014/main" id="{5D44733D-A497-42CF-A8DD-569E719DF3EB}"/>
                    </a:ext>
                  </a:extLst>
                </p:cNvPr>
                <p:cNvGrpSpPr/>
                <p:nvPr/>
              </p:nvGrpSpPr>
              <p:grpSpPr>
                <a:xfrm>
                  <a:off x="6056747" y="4972281"/>
                  <a:ext cx="1718033" cy="610616"/>
                  <a:chOff x="2058988" y="3915711"/>
                  <a:chExt cx="1927661" cy="685122"/>
                </a:xfrm>
                <a:grpFill/>
              </p:grpSpPr>
              <p:sp>
                <p:nvSpPr>
                  <p:cNvPr id="694" name="Freeform 6">
                    <a:extLst>
                      <a:ext uri="{FF2B5EF4-FFF2-40B4-BE49-F238E27FC236}">
                        <a16:creationId xmlns:a16="http://schemas.microsoft.com/office/drawing/2014/main" id="{929CBD55-9C22-4A2C-B26E-439F3D10E6D4}"/>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95" name="Freeform 7">
                    <a:extLst>
                      <a:ext uri="{FF2B5EF4-FFF2-40B4-BE49-F238E27FC236}">
                        <a16:creationId xmlns:a16="http://schemas.microsoft.com/office/drawing/2014/main" id="{6BB9D0BB-2BA6-41AC-8881-C5822BE00597}"/>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96" name="Freeform 8">
                    <a:extLst>
                      <a:ext uri="{FF2B5EF4-FFF2-40B4-BE49-F238E27FC236}">
                        <a16:creationId xmlns:a16="http://schemas.microsoft.com/office/drawing/2014/main" id="{523D76B7-2852-406A-B7AF-C58B057E20DC}"/>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97" name="Freeform 9">
                    <a:extLst>
                      <a:ext uri="{FF2B5EF4-FFF2-40B4-BE49-F238E27FC236}">
                        <a16:creationId xmlns:a16="http://schemas.microsoft.com/office/drawing/2014/main" id="{E2FBDBCD-CD0C-4D09-A41C-1FA682EF4D7F}"/>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98" name="Freeform 10">
                    <a:extLst>
                      <a:ext uri="{FF2B5EF4-FFF2-40B4-BE49-F238E27FC236}">
                        <a16:creationId xmlns:a16="http://schemas.microsoft.com/office/drawing/2014/main" id="{B345FCAF-A508-4A12-900F-428AA6495F93}"/>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99" name="Freeform 11">
                    <a:extLst>
                      <a:ext uri="{FF2B5EF4-FFF2-40B4-BE49-F238E27FC236}">
                        <a16:creationId xmlns:a16="http://schemas.microsoft.com/office/drawing/2014/main" id="{24DFAB44-DFE3-43CE-B96F-28A71A239C08}"/>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00" name="Freeform 12">
                    <a:extLst>
                      <a:ext uri="{FF2B5EF4-FFF2-40B4-BE49-F238E27FC236}">
                        <a16:creationId xmlns:a16="http://schemas.microsoft.com/office/drawing/2014/main" id="{DF133D4A-A080-4879-9205-EB7D0E16654C}"/>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2" name="Freeform 13">
                    <a:extLst>
                      <a:ext uri="{FF2B5EF4-FFF2-40B4-BE49-F238E27FC236}">
                        <a16:creationId xmlns:a16="http://schemas.microsoft.com/office/drawing/2014/main" id="{25B37DF9-3075-4933-9468-D758B4FC2E50}"/>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3" name="Freeform 14">
                    <a:extLst>
                      <a:ext uri="{FF2B5EF4-FFF2-40B4-BE49-F238E27FC236}">
                        <a16:creationId xmlns:a16="http://schemas.microsoft.com/office/drawing/2014/main" id="{663E05FA-737E-4C2F-80F6-605CF04D3888}"/>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4" name="Freeform 15">
                    <a:extLst>
                      <a:ext uri="{FF2B5EF4-FFF2-40B4-BE49-F238E27FC236}">
                        <a16:creationId xmlns:a16="http://schemas.microsoft.com/office/drawing/2014/main" id="{B5C490BB-0DB8-4817-A28E-78DE01BE7B27}"/>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5" name="Freeform 16">
                    <a:extLst>
                      <a:ext uri="{FF2B5EF4-FFF2-40B4-BE49-F238E27FC236}">
                        <a16:creationId xmlns:a16="http://schemas.microsoft.com/office/drawing/2014/main" id="{1FF201B0-56E2-425F-B9F6-794A43AB54CB}"/>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6" name="Freeform 17">
                    <a:extLst>
                      <a:ext uri="{FF2B5EF4-FFF2-40B4-BE49-F238E27FC236}">
                        <a16:creationId xmlns:a16="http://schemas.microsoft.com/office/drawing/2014/main" id="{0BD9C511-F92F-470B-9908-0F566F02D147}"/>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7" name="Freeform: Shape 746">
                    <a:extLst>
                      <a:ext uri="{FF2B5EF4-FFF2-40B4-BE49-F238E27FC236}">
                        <a16:creationId xmlns:a16="http://schemas.microsoft.com/office/drawing/2014/main" id="{851B1589-80FA-4B7E-9254-12AFD4C7B93C}"/>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48" name="Freeform 19">
                    <a:extLst>
                      <a:ext uri="{FF2B5EF4-FFF2-40B4-BE49-F238E27FC236}">
                        <a16:creationId xmlns:a16="http://schemas.microsoft.com/office/drawing/2014/main" id="{C693E022-C23A-4029-ADE2-E6DE3CEBFDA5}"/>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9" name="Freeform 20">
                    <a:extLst>
                      <a:ext uri="{FF2B5EF4-FFF2-40B4-BE49-F238E27FC236}">
                        <a16:creationId xmlns:a16="http://schemas.microsoft.com/office/drawing/2014/main" id="{329D60FA-E6F1-442D-A856-9A3A93325157}"/>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0" name="Freeform 21">
                    <a:extLst>
                      <a:ext uri="{FF2B5EF4-FFF2-40B4-BE49-F238E27FC236}">
                        <a16:creationId xmlns:a16="http://schemas.microsoft.com/office/drawing/2014/main" id="{D62F0FE7-9310-4258-A7E3-EEBF5FF101BC}"/>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51" name="Freeform 23">
                    <a:extLst>
                      <a:ext uri="{FF2B5EF4-FFF2-40B4-BE49-F238E27FC236}">
                        <a16:creationId xmlns:a16="http://schemas.microsoft.com/office/drawing/2014/main" id="{050DDC41-05FE-4023-A472-3CE710CA756F}"/>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52" name="Freeform 24">
                    <a:extLst>
                      <a:ext uri="{FF2B5EF4-FFF2-40B4-BE49-F238E27FC236}">
                        <a16:creationId xmlns:a16="http://schemas.microsoft.com/office/drawing/2014/main" id="{D0CE1FF5-EFDB-45AC-AE59-2E762AF296B1}"/>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3" name="Freeform: Shape 752">
                    <a:extLst>
                      <a:ext uri="{FF2B5EF4-FFF2-40B4-BE49-F238E27FC236}">
                        <a16:creationId xmlns:a16="http://schemas.microsoft.com/office/drawing/2014/main" id="{816BF923-E3AC-4E97-ACC4-8C17AD37E8A8}"/>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54" name="Freeform 26">
                    <a:extLst>
                      <a:ext uri="{FF2B5EF4-FFF2-40B4-BE49-F238E27FC236}">
                        <a16:creationId xmlns:a16="http://schemas.microsoft.com/office/drawing/2014/main" id="{83E899DD-4F78-43C1-BF54-B9A363D8C4FF}"/>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5" name="Freeform 27">
                    <a:extLst>
                      <a:ext uri="{FF2B5EF4-FFF2-40B4-BE49-F238E27FC236}">
                        <a16:creationId xmlns:a16="http://schemas.microsoft.com/office/drawing/2014/main" id="{79470A91-9616-48C1-A68F-DCD64B6AA135}"/>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6" name="Freeform 28">
                    <a:extLst>
                      <a:ext uri="{FF2B5EF4-FFF2-40B4-BE49-F238E27FC236}">
                        <a16:creationId xmlns:a16="http://schemas.microsoft.com/office/drawing/2014/main" id="{72066767-4B1C-42E2-886F-AAA61A5123C3}"/>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57" name="Freeform 29">
                    <a:extLst>
                      <a:ext uri="{FF2B5EF4-FFF2-40B4-BE49-F238E27FC236}">
                        <a16:creationId xmlns:a16="http://schemas.microsoft.com/office/drawing/2014/main" id="{5FB3EC93-8B1F-4B22-8203-2CDA4D57F6FA}"/>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58" name="Freeform 30">
                    <a:extLst>
                      <a:ext uri="{FF2B5EF4-FFF2-40B4-BE49-F238E27FC236}">
                        <a16:creationId xmlns:a16="http://schemas.microsoft.com/office/drawing/2014/main" id="{1E247F87-540D-4216-B664-7BA19263B7AB}"/>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59" name="Freeform 31">
                    <a:extLst>
                      <a:ext uri="{FF2B5EF4-FFF2-40B4-BE49-F238E27FC236}">
                        <a16:creationId xmlns:a16="http://schemas.microsoft.com/office/drawing/2014/main" id="{C600B269-CC01-492C-BA2F-5A6E3C708FC5}"/>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60" name="Freeform 22">
                    <a:extLst>
                      <a:ext uri="{FF2B5EF4-FFF2-40B4-BE49-F238E27FC236}">
                        <a16:creationId xmlns:a16="http://schemas.microsoft.com/office/drawing/2014/main" id="{D470257C-4187-47A8-826D-B04717AF2AB2}"/>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83" name="Group 682">
                  <a:extLst>
                    <a:ext uri="{FF2B5EF4-FFF2-40B4-BE49-F238E27FC236}">
                      <a16:creationId xmlns:a16="http://schemas.microsoft.com/office/drawing/2014/main" id="{1660BA2F-8BE8-4609-AB57-5A98426B136C}"/>
                    </a:ext>
                  </a:extLst>
                </p:cNvPr>
                <p:cNvGrpSpPr/>
                <p:nvPr/>
              </p:nvGrpSpPr>
              <p:grpSpPr>
                <a:xfrm>
                  <a:off x="6037944" y="4939646"/>
                  <a:ext cx="1762503" cy="801278"/>
                  <a:chOff x="6066224" y="4894724"/>
                  <a:chExt cx="2213813" cy="1006455"/>
                </a:xfrm>
                <a:grpFill/>
              </p:grpSpPr>
              <p:grpSp>
                <p:nvGrpSpPr>
                  <p:cNvPr id="684" name="Group 683">
                    <a:extLst>
                      <a:ext uri="{FF2B5EF4-FFF2-40B4-BE49-F238E27FC236}">
                        <a16:creationId xmlns:a16="http://schemas.microsoft.com/office/drawing/2014/main" id="{BFEE69B3-A0C6-4F3B-8613-CC3701F11C39}"/>
                      </a:ext>
                    </a:extLst>
                  </p:cNvPr>
                  <p:cNvGrpSpPr/>
                  <p:nvPr/>
                </p:nvGrpSpPr>
                <p:grpSpPr>
                  <a:xfrm>
                    <a:off x="6066224" y="4894724"/>
                    <a:ext cx="1082597" cy="1006455"/>
                    <a:chOff x="3869780" y="1229273"/>
                    <a:chExt cx="4710340" cy="4379047"/>
                  </a:xfrm>
                  <a:grpFill/>
                </p:grpSpPr>
                <p:sp>
                  <p:nvSpPr>
                    <p:cNvPr id="690" name="Freeform: Shape 689">
                      <a:extLst>
                        <a:ext uri="{FF2B5EF4-FFF2-40B4-BE49-F238E27FC236}">
                          <a16:creationId xmlns:a16="http://schemas.microsoft.com/office/drawing/2014/main" id="{097A8EB2-94C2-4018-A44C-9582BE5667E1}"/>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1" name="Rectangle 690">
                      <a:extLst>
                        <a:ext uri="{FF2B5EF4-FFF2-40B4-BE49-F238E27FC236}">
                          <a16:creationId xmlns:a16="http://schemas.microsoft.com/office/drawing/2014/main" id="{4F0764DE-593C-4D12-A990-7BFEEB741C88}"/>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2" name="Freeform: Shape 691">
                      <a:extLst>
                        <a:ext uri="{FF2B5EF4-FFF2-40B4-BE49-F238E27FC236}">
                          <a16:creationId xmlns:a16="http://schemas.microsoft.com/office/drawing/2014/main" id="{076F1304-2AB1-46DA-80CB-BAE0E70FE62E}"/>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3" name="Freeform: Shape 692">
                      <a:extLst>
                        <a:ext uri="{FF2B5EF4-FFF2-40B4-BE49-F238E27FC236}">
                          <a16:creationId xmlns:a16="http://schemas.microsoft.com/office/drawing/2014/main" id="{9D1AFC18-6E3F-4656-B44B-CC5343CEFFF9}"/>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85" name="Group 684">
                    <a:extLst>
                      <a:ext uri="{FF2B5EF4-FFF2-40B4-BE49-F238E27FC236}">
                        <a16:creationId xmlns:a16="http://schemas.microsoft.com/office/drawing/2014/main" id="{88F901FA-F2B2-49E9-8CD6-A921E65B0902}"/>
                      </a:ext>
                    </a:extLst>
                  </p:cNvPr>
                  <p:cNvGrpSpPr/>
                  <p:nvPr/>
                </p:nvGrpSpPr>
                <p:grpSpPr>
                  <a:xfrm flipH="1">
                    <a:off x="7197440" y="4894724"/>
                    <a:ext cx="1082597" cy="1006455"/>
                    <a:chOff x="3869780" y="1229273"/>
                    <a:chExt cx="4710340" cy="4379047"/>
                  </a:xfrm>
                  <a:grpFill/>
                </p:grpSpPr>
                <p:sp>
                  <p:nvSpPr>
                    <p:cNvPr id="686" name="Freeform: Shape 685">
                      <a:extLst>
                        <a:ext uri="{FF2B5EF4-FFF2-40B4-BE49-F238E27FC236}">
                          <a16:creationId xmlns:a16="http://schemas.microsoft.com/office/drawing/2014/main" id="{1C5D472A-9219-4EB5-A702-004C0A4ED867}"/>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7" name="Rectangle 686">
                      <a:extLst>
                        <a:ext uri="{FF2B5EF4-FFF2-40B4-BE49-F238E27FC236}">
                          <a16:creationId xmlns:a16="http://schemas.microsoft.com/office/drawing/2014/main" id="{3E9BDD0B-DD98-463D-86C8-2E047AA09EF4}"/>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8" name="Freeform: Shape 687">
                      <a:extLst>
                        <a:ext uri="{FF2B5EF4-FFF2-40B4-BE49-F238E27FC236}">
                          <a16:creationId xmlns:a16="http://schemas.microsoft.com/office/drawing/2014/main" id="{95CD4ABE-2714-4F79-A254-896B4507B73E}"/>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9" name="Freeform: Shape 688">
                      <a:extLst>
                        <a:ext uri="{FF2B5EF4-FFF2-40B4-BE49-F238E27FC236}">
                          <a16:creationId xmlns:a16="http://schemas.microsoft.com/office/drawing/2014/main" id="{12E8A4EE-045F-462C-8695-1059EE2E86F0}"/>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662" name="Group 661">
                <a:extLst>
                  <a:ext uri="{FF2B5EF4-FFF2-40B4-BE49-F238E27FC236}">
                    <a16:creationId xmlns:a16="http://schemas.microsoft.com/office/drawing/2014/main" id="{8FAE505D-AE22-43C6-91BB-2A2D019C0018}"/>
                  </a:ext>
                </a:extLst>
              </p:cNvPr>
              <p:cNvGrpSpPr/>
              <p:nvPr/>
            </p:nvGrpSpPr>
            <p:grpSpPr>
              <a:xfrm>
                <a:off x="6546812" y="3467555"/>
                <a:ext cx="1806614" cy="1013352"/>
                <a:chOff x="6391393" y="1624932"/>
                <a:chExt cx="1350970" cy="757777"/>
              </a:xfrm>
              <a:grpFill/>
            </p:grpSpPr>
            <p:sp>
              <p:nvSpPr>
                <p:cNvPr id="680" name="Freeform 119">
                  <a:extLst>
                    <a:ext uri="{FF2B5EF4-FFF2-40B4-BE49-F238E27FC236}">
                      <a16:creationId xmlns:a16="http://schemas.microsoft.com/office/drawing/2014/main" id="{A8E49C36-FA67-4739-8275-EC6C66D2BE29}"/>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681" name="Freeform 120">
                  <a:extLst>
                    <a:ext uri="{FF2B5EF4-FFF2-40B4-BE49-F238E27FC236}">
                      <a16:creationId xmlns:a16="http://schemas.microsoft.com/office/drawing/2014/main" id="{75DCF946-2174-45DC-AF63-607ADBBFBB5F}"/>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663" name="Group 662">
                <a:extLst>
                  <a:ext uri="{FF2B5EF4-FFF2-40B4-BE49-F238E27FC236}">
                    <a16:creationId xmlns:a16="http://schemas.microsoft.com/office/drawing/2014/main" id="{B9884A72-7F79-4282-A109-5445460B9172}"/>
                  </a:ext>
                </a:extLst>
              </p:cNvPr>
              <p:cNvGrpSpPr/>
              <p:nvPr/>
            </p:nvGrpSpPr>
            <p:grpSpPr>
              <a:xfrm>
                <a:off x="5965396" y="4132683"/>
                <a:ext cx="389280" cy="389280"/>
                <a:chOff x="5999956" y="4167243"/>
                <a:chExt cx="320160" cy="320160"/>
              </a:xfrm>
              <a:grpFill/>
            </p:grpSpPr>
            <p:sp>
              <p:nvSpPr>
                <p:cNvPr id="678" name="Oval 677">
                  <a:extLst>
                    <a:ext uri="{FF2B5EF4-FFF2-40B4-BE49-F238E27FC236}">
                      <a16:creationId xmlns:a16="http://schemas.microsoft.com/office/drawing/2014/main" id="{2F09B692-CA4C-4C19-B38C-34CBB321F8AE}"/>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79" name="Freeform 339">
                  <a:extLst>
                    <a:ext uri="{FF2B5EF4-FFF2-40B4-BE49-F238E27FC236}">
                      <a16:creationId xmlns:a16="http://schemas.microsoft.com/office/drawing/2014/main" id="{5A55E6FA-12A4-451C-B6C0-117EDFE6350B}"/>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664" name="Group 663">
                <a:extLst>
                  <a:ext uri="{FF2B5EF4-FFF2-40B4-BE49-F238E27FC236}">
                    <a16:creationId xmlns:a16="http://schemas.microsoft.com/office/drawing/2014/main" id="{4BBE5D7C-8F81-4E70-9102-5B82FE49C959}"/>
                  </a:ext>
                </a:extLst>
              </p:cNvPr>
              <p:cNvGrpSpPr/>
              <p:nvPr/>
            </p:nvGrpSpPr>
            <p:grpSpPr>
              <a:xfrm>
                <a:off x="8249851" y="3414960"/>
                <a:ext cx="389280" cy="389280"/>
                <a:chOff x="8616644" y="4279108"/>
                <a:chExt cx="320160" cy="320160"/>
              </a:xfrm>
              <a:grpFill/>
            </p:grpSpPr>
            <p:sp>
              <p:nvSpPr>
                <p:cNvPr id="675" name="Oval 674">
                  <a:extLst>
                    <a:ext uri="{FF2B5EF4-FFF2-40B4-BE49-F238E27FC236}">
                      <a16:creationId xmlns:a16="http://schemas.microsoft.com/office/drawing/2014/main" id="{9846CE35-BA30-4EBB-874A-EFC36B60E36B}"/>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76" name="Freeform 324">
                  <a:extLst>
                    <a:ext uri="{FF2B5EF4-FFF2-40B4-BE49-F238E27FC236}">
                      <a16:creationId xmlns:a16="http://schemas.microsoft.com/office/drawing/2014/main" id="{9ED05D5D-861A-40AB-981E-D71C29797DBC}"/>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677" name="Freeform 324">
                  <a:extLst>
                    <a:ext uri="{FF2B5EF4-FFF2-40B4-BE49-F238E27FC236}">
                      <a16:creationId xmlns:a16="http://schemas.microsoft.com/office/drawing/2014/main" id="{BF4D46A6-0829-404C-81C3-63B083844264}"/>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665" name="Group 664">
                <a:extLst>
                  <a:ext uri="{FF2B5EF4-FFF2-40B4-BE49-F238E27FC236}">
                    <a16:creationId xmlns:a16="http://schemas.microsoft.com/office/drawing/2014/main" id="{519F1687-EE2F-45B2-8BF2-927923982669}"/>
                  </a:ext>
                </a:extLst>
              </p:cNvPr>
              <p:cNvGrpSpPr/>
              <p:nvPr/>
            </p:nvGrpSpPr>
            <p:grpSpPr>
              <a:xfrm>
                <a:off x="6310201" y="3304407"/>
                <a:ext cx="389280" cy="389280"/>
                <a:chOff x="6344761" y="3338967"/>
                <a:chExt cx="320160" cy="320160"/>
              </a:xfrm>
              <a:grpFill/>
            </p:grpSpPr>
            <p:sp>
              <p:nvSpPr>
                <p:cNvPr id="672" name="Oval 671">
                  <a:extLst>
                    <a:ext uri="{FF2B5EF4-FFF2-40B4-BE49-F238E27FC236}">
                      <a16:creationId xmlns:a16="http://schemas.microsoft.com/office/drawing/2014/main" id="{944D2B65-1339-4981-A99B-933769733CA8}"/>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73" name="Freeform 440">
                  <a:extLst>
                    <a:ext uri="{FF2B5EF4-FFF2-40B4-BE49-F238E27FC236}">
                      <a16:creationId xmlns:a16="http://schemas.microsoft.com/office/drawing/2014/main" id="{C385BCC3-10B9-4DDB-AC6A-6A17F493787E}"/>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674" name="Freeform 441">
                  <a:extLst>
                    <a:ext uri="{FF2B5EF4-FFF2-40B4-BE49-F238E27FC236}">
                      <a16:creationId xmlns:a16="http://schemas.microsoft.com/office/drawing/2014/main" id="{9DD3EEA4-00D3-4813-BED7-F2994C8062E4}"/>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666" name="Group 665">
                <a:extLst>
                  <a:ext uri="{FF2B5EF4-FFF2-40B4-BE49-F238E27FC236}">
                    <a16:creationId xmlns:a16="http://schemas.microsoft.com/office/drawing/2014/main" id="{C94A4BB8-5310-49AE-B828-13D4B802A7D3}"/>
                  </a:ext>
                </a:extLst>
              </p:cNvPr>
              <p:cNvGrpSpPr/>
              <p:nvPr/>
            </p:nvGrpSpPr>
            <p:grpSpPr>
              <a:xfrm>
                <a:off x="7307066" y="2936940"/>
                <a:ext cx="389134" cy="389134"/>
                <a:chOff x="9322484" y="3467555"/>
                <a:chExt cx="557223" cy="557223"/>
              </a:xfrm>
              <a:grpFill/>
            </p:grpSpPr>
            <p:sp>
              <p:nvSpPr>
                <p:cNvPr id="670" name="Oval 669">
                  <a:extLst>
                    <a:ext uri="{FF2B5EF4-FFF2-40B4-BE49-F238E27FC236}">
                      <a16:creationId xmlns:a16="http://schemas.microsoft.com/office/drawing/2014/main" id="{20E06BD2-7C4B-4BA0-B538-553DA7140100}"/>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1" name="Rectangle 74">
                  <a:extLst>
                    <a:ext uri="{FF2B5EF4-FFF2-40B4-BE49-F238E27FC236}">
                      <a16:creationId xmlns:a16="http://schemas.microsoft.com/office/drawing/2014/main" id="{6DFCA3CB-E095-48F4-9F07-03B1C05E8104}"/>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667" name="Group 666">
                <a:extLst>
                  <a:ext uri="{FF2B5EF4-FFF2-40B4-BE49-F238E27FC236}">
                    <a16:creationId xmlns:a16="http://schemas.microsoft.com/office/drawing/2014/main" id="{D6C5806D-9AB4-46E6-832D-37042E8409BF}"/>
                  </a:ext>
                </a:extLst>
              </p:cNvPr>
              <p:cNvGrpSpPr/>
              <p:nvPr/>
            </p:nvGrpSpPr>
            <p:grpSpPr>
              <a:xfrm>
                <a:off x="8578186" y="4208712"/>
                <a:ext cx="389134" cy="389134"/>
                <a:chOff x="8225290" y="3217894"/>
                <a:chExt cx="621190" cy="621190"/>
              </a:xfrm>
              <a:grpFill/>
            </p:grpSpPr>
            <p:sp>
              <p:nvSpPr>
                <p:cNvPr id="668" name="Oval 667">
                  <a:extLst>
                    <a:ext uri="{FF2B5EF4-FFF2-40B4-BE49-F238E27FC236}">
                      <a16:creationId xmlns:a16="http://schemas.microsoft.com/office/drawing/2014/main" id="{70C25907-4E68-4854-ACAB-AA3FB881498F}"/>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9" name="Rounded Rectangle 4">
                  <a:extLst>
                    <a:ext uri="{FF2B5EF4-FFF2-40B4-BE49-F238E27FC236}">
                      <a16:creationId xmlns:a16="http://schemas.microsoft.com/office/drawing/2014/main" id="{F858A2D7-B5AA-45EA-B039-C2389EAA5FB2}"/>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a:ea typeface="+mn-ea"/>
                    <a:cs typeface="+mn-cs"/>
                  </a:endParaRPr>
                </a:p>
              </p:txBody>
            </p:sp>
          </p:grpSp>
        </p:grpSp>
      </p:grpSp>
      <p:grpSp>
        <p:nvGrpSpPr>
          <p:cNvPr id="946" name="Group 945">
            <a:extLst>
              <a:ext uri="{FF2B5EF4-FFF2-40B4-BE49-F238E27FC236}">
                <a16:creationId xmlns:a16="http://schemas.microsoft.com/office/drawing/2014/main" id="{2EC68613-105B-4F38-80FD-D813F3D93FDD}"/>
              </a:ext>
            </a:extLst>
          </p:cNvPr>
          <p:cNvGrpSpPr/>
          <p:nvPr/>
        </p:nvGrpSpPr>
        <p:grpSpPr>
          <a:xfrm>
            <a:off x="10504155" y="2496766"/>
            <a:ext cx="616488" cy="651720"/>
            <a:chOff x="13973841" y="3823518"/>
            <a:chExt cx="1577751" cy="1687170"/>
          </a:xfrm>
        </p:grpSpPr>
        <p:sp>
          <p:nvSpPr>
            <p:cNvPr id="947" name="Oval 240">
              <a:extLst>
                <a:ext uri="{FF2B5EF4-FFF2-40B4-BE49-F238E27FC236}">
                  <a16:creationId xmlns:a16="http://schemas.microsoft.com/office/drawing/2014/main" id="{37A605BA-8E72-4BE3-982B-00FE6156AC1B}"/>
                </a:ext>
              </a:extLst>
            </p:cNvPr>
            <p:cNvSpPr>
              <a:spLocks noChangeArrowheads="1"/>
            </p:cNvSpPr>
            <p:nvPr/>
          </p:nvSpPr>
          <p:spPr bwMode="auto">
            <a:xfrm>
              <a:off x="14642357" y="3823518"/>
              <a:ext cx="338846" cy="33814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48" name="Oval 242">
              <a:extLst>
                <a:ext uri="{FF2B5EF4-FFF2-40B4-BE49-F238E27FC236}">
                  <a16:creationId xmlns:a16="http://schemas.microsoft.com/office/drawing/2014/main" id="{858F51BE-6B19-4B37-8E89-1BE804132B92}"/>
                </a:ext>
              </a:extLst>
            </p:cNvPr>
            <p:cNvSpPr>
              <a:spLocks noChangeArrowheads="1"/>
            </p:cNvSpPr>
            <p:nvPr/>
          </p:nvSpPr>
          <p:spPr bwMode="auto">
            <a:xfrm>
              <a:off x="15333462" y="4428499"/>
              <a:ext cx="85417" cy="85417"/>
            </a:xfrm>
            <a:prstGeom prst="ellipse">
              <a:avLst/>
            </a:prstGeom>
            <a:solidFill>
              <a:srgbClr val="002050">
                <a:alpha val="61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49" name="Freeform 129">
              <a:extLst>
                <a:ext uri="{FF2B5EF4-FFF2-40B4-BE49-F238E27FC236}">
                  <a16:creationId xmlns:a16="http://schemas.microsoft.com/office/drawing/2014/main" id="{8A517110-3BCA-4686-8686-F697D97C494B}"/>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50" name="Freeform 130">
              <a:extLst>
                <a:ext uri="{FF2B5EF4-FFF2-40B4-BE49-F238E27FC236}">
                  <a16:creationId xmlns:a16="http://schemas.microsoft.com/office/drawing/2014/main" id="{8C680681-C736-4E6B-9F94-D39534AC53B2}"/>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51" name="Freeform 232">
              <a:extLst>
                <a:ext uri="{FF2B5EF4-FFF2-40B4-BE49-F238E27FC236}">
                  <a16:creationId xmlns:a16="http://schemas.microsoft.com/office/drawing/2014/main" id="{557F29FE-5DA9-447F-A9CC-02C72865EB09}"/>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accent2"/>
              </a:solidFill>
              <a:prstDash val="solid"/>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pic>
          <p:nvPicPr>
            <p:cNvPr id="952" name="Graphic 951">
              <a:extLst>
                <a:ext uri="{FF2B5EF4-FFF2-40B4-BE49-F238E27FC236}">
                  <a16:creationId xmlns:a16="http://schemas.microsoft.com/office/drawing/2014/main" id="{0103936E-CB09-488B-B3A1-E8722FE058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715068" y="3908875"/>
              <a:ext cx="192326" cy="150595"/>
            </a:xfrm>
            <a:prstGeom prst="rect">
              <a:avLst/>
            </a:prstGeom>
          </p:spPr>
        </p:pic>
        <p:sp>
          <p:nvSpPr>
            <p:cNvPr id="953" name="Oval 240">
              <a:extLst>
                <a:ext uri="{FF2B5EF4-FFF2-40B4-BE49-F238E27FC236}">
                  <a16:creationId xmlns:a16="http://schemas.microsoft.com/office/drawing/2014/main" id="{CE93DC66-492D-4B1F-A06D-723328BC3650}"/>
                </a:ext>
              </a:extLst>
            </p:cNvPr>
            <p:cNvSpPr>
              <a:spLocks noChangeArrowheads="1"/>
            </p:cNvSpPr>
            <p:nvPr/>
          </p:nvSpPr>
          <p:spPr bwMode="auto">
            <a:xfrm>
              <a:off x="13973841" y="4226340"/>
              <a:ext cx="338846" cy="33814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54" name="Oval 240">
              <a:extLst>
                <a:ext uri="{FF2B5EF4-FFF2-40B4-BE49-F238E27FC236}">
                  <a16:creationId xmlns:a16="http://schemas.microsoft.com/office/drawing/2014/main" id="{CF688905-ADAF-40C5-8D46-9183A1123B6B}"/>
                </a:ext>
              </a:extLst>
            </p:cNvPr>
            <p:cNvSpPr>
              <a:spLocks noChangeArrowheads="1"/>
            </p:cNvSpPr>
            <p:nvPr/>
          </p:nvSpPr>
          <p:spPr bwMode="auto">
            <a:xfrm>
              <a:off x="15212746" y="4226340"/>
              <a:ext cx="338846" cy="33814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55" name="Circle: Hollow 954">
              <a:extLst>
                <a:ext uri="{FF2B5EF4-FFF2-40B4-BE49-F238E27FC236}">
                  <a16:creationId xmlns:a16="http://schemas.microsoft.com/office/drawing/2014/main" id="{1D986D07-C66C-419D-B4F5-58E953D2000E}"/>
                </a:ext>
              </a:extLst>
            </p:cNvPr>
            <p:cNvSpPr/>
            <p:nvPr/>
          </p:nvSpPr>
          <p:spPr bwMode="auto">
            <a:xfrm>
              <a:off x="14092888" y="4272115"/>
              <a:ext cx="103851" cy="106413"/>
            </a:xfrm>
            <a:prstGeom prst="donu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sp>
          <p:nvSpPr>
            <p:cNvPr id="956" name="Freeform 501">
              <a:extLst>
                <a:ext uri="{FF2B5EF4-FFF2-40B4-BE49-F238E27FC236}">
                  <a16:creationId xmlns:a16="http://schemas.microsoft.com/office/drawing/2014/main" id="{0F4773DF-5007-4ED8-935B-D7BCAA1A7203}"/>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57" name="Rounded Rectangle 13">
              <a:extLst>
                <a:ext uri="{FF2B5EF4-FFF2-40B4-BE49-F238E27FC236}">
                  <a16:creationId xmlns:a16="http://schemas.microsoft.com/office/drawing/2014/main" id="{DEA9FF7F-129A-44F5-93D5-548D31925FE6}"/>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solidFill>
              <a:schemeClr val="bg1"/>
            </a:solid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958" name="Freeform: Shape 957">
              <a:extLst>
                <a:ext uri="{FF2B5EF4-FFF2-40B4-BE49-F238E27FC236}">
                  <a16:creationId xmlns:a16="http://schemas.microsoft.com/office/drawing/2014/main" id="{C0FA7330-674C-4CB8-8BAF-8AFC9D667939}"/>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850" name="Group 849">
            <a:extLst>
              <a:ext uri="{FF2B5EF4-FFF2-40B4-BE49-F238E27FC236}">
                <a16:creationId xmlns:a16="http://schemas.microsoft.com/office/drawing/2014/main" id="{DA79521D-F743-4160-9E8A-E5D661E80116}"/>
              </a:ext>
            </a:extLst>
          </p:cNvPr>
          <p:cNvGrpSpPr>
            <a:grpSpLocks noChangeAspect="1"/>
          </p:cNvGrpSpPr>
          <p:nvPr/>
        </p:nvGrpSpPr>
        <p:grpSpPr>
          <a:xfrm>
            <a:off x="6697244" y="2633218"/>
            <a:ext cx="943275" cy="575451"/>
            <a:chOff x="880735" y="570156"/>
            <a:chExt cx="9823008" cy="5992590"/>
          </a:xfrm>
        </p:grpSpPr>
        <p:grpSp>
          <p:nvGrpSpPr>
            <p:cNvPr id="851" name="Group 850">
              <a:extLst>
                <a:ext uri="{FF2B5EF4-FFF2-40B4-BE49-F238E27FC236}">
                  <a16:creationId xmlns:a16="http://schemas.microsoft.com/office/drawing/2014/main" id="{AD33B89F-BCE3-45DE-851B-ADA660F12289}"/>
                </a:ext>
              </a:extLst>
            </p:cNvPr>
            <p:cNvGrpSpPr/>
            <p:nvPr/>
          </p:nvGrpSpPr>
          <p:grpSpPr>
            <a:xfrm>
              <a:off x="880735" y="570156"/>
              <a:ext cx="9823008" cy="5216554"/>
              <a:chOff x="880735" y="570156"/>
              <a:chExt cx="9823008" cy="5216554"/>
            </a:xfrm>
          </p:grpSpPr>
          <p:grpSp>
            <p:nvGrpSpPr>
              <p:cNvPr id="856" name="Group 855">
                <a:extLst>
                  <a:ext uri="{FF2B5EF4-FFF2-40B4-BE49-F238E27FC236}">
                    <a16:creationId xmlns:a16="http://schemas.microsoft.com/office/drawing/2014/main" id="{AD1D546F-8DCF-4A6D-A6F9-87FED5812AB1}"/>
                  </a:ext>
                </a:extLst>
              </p:cNvPr>
              <p:cNvGrpSpPr/>
              <p:nvPr/>
            </p:nvGrpSpPr>
            <p:grpSpPr>
              <a:xfrm>
                <a:off x="1860203" y="570156"/>
                <a:ext cx="3248557" cy="3248553"/>
                <a:chOff x="3695059" y="2057989"/>
                <a:chExt cx="825500" cy="825500"/>
              </a:xfrm>
            </p:grpSpPr>
            <p:sp>
              <p:nvSpPr>
                <p:cNvPr id="1039" name="Oval 1038">
                  <a:extLst>
                    <a:ext uri="{FF2B5EF4-FFF2-40B4-BE49-F238E27FC236}">
                      <a16:creationId xmlns:a16="http://schemas.microsoft.com/office/drawing/2014/main" id="{D4FE3F1E-026C-41AB-8E2D-64CD4EABA00E}"/>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32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40" name="Freeform 82">
                  <a:extLst>
                    <a:ext uri="{FF2B5EF4-FFF2-40B4-BE49-F238E27FC236}">
                      <a16:creationId xmlns:a16="http://schemas.microsoft.com/office/drawing/2014/main" id="{B710B732-2563-4650-ABEE-05931ACDE5DA}"/>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sp>
            <p:nvSpPr>
              <p:cNvPr id="959" name="Rectangle 958">
                <a:extLst>
                  <a:ext uri="{FF2B5EF4-FFF2-40B4-BE49-F238E27FC236}">
                    <a16:creationId xmlns:a16="http://schemas.microsoft.com/office/drawing/2014/main" id="{0BA01D35-FFAA-40A6-B795-67DB86E43137}"/>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0" name="Rectangle 959">
                <a:extLst>
                  <a:ext uri="{FF2B5EF4-FFF2-40B4-BE49-F238E27FC236}">
                    <a16:creationId xmlns:a16="http://schemas.microsoft.com/office/drawing/2014/main" id="{B81839FC-31DB-4422-81CC-C96D251FA2AE}"/>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1" name="Freeform 7">
                <a:extLst>
                  <a:ext uri="{FF2B5EF4-FFF2-40B4-BE49-F238E27FC236}">
                    <a16:creationId xmlns:a16="http://schemas.microsoft.com/office/drawing/2014/main" id="{098B499D-20D5-4B80-8F44-0AF2FA60CEA9}"/>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2" name="Freeform 8">
                <a:extLst>
                  <a:ext uri="{FF2B5EF4-FFF2-40B4-BE49-F238E27FC236}">
                    <a16:creationId xmlns:a16="http://schemas.microsoft.com/office/drawing/2014/main" id="{5E691B8F-1621-4770-AA15-26DDCE378097}"/>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3" name="Rectangle 962">
                <a:extLst>
                  <a:ext uri="{FF2B5EF4-FFF2-40B4-BE49-F238E27FC236}">
                    <a16:creationId xmlns:a16="http://schemas.microsoft.com/office/drawing/2014/main" id="{012461BB-DA99-4F42-9BC4-14BD8F925855}"/>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4" name="Rectangle 963">
                <a:extLst>
                  <a:ext uri="{FF2B5EF4-FFF2-40B4-BE49-F238E27FC236}">
                    <a16:creationId xmlns:a16="http://schemas.microsoft.com/office/drawing/2014/main" id="{98CC1D36-2CA6-47D3-88DC-34384E668CAE}"/>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5" name="Rectangle 964">
                <a:extLst>
                  <a:ext uri="{FF2B5EF4-FFF2-40B4-BE49-F238E27FC236}">
                    <a16:creationId xmlns:a16="http://schemas.microsoft.com/office/drawing/2014/main" id="{EEC9105A-ABB0-4424-8903-B1C5EF919C0D}"/>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6" name="Rectangle 965">
                <a:extLst>
                  <a:ext uri="{FF2B5EF4-FFF2-40B4-BE49-F238E27FC236}">
                    <a16:creationId xmlns:a16="http://schemas.microsoft.com/office/drawing/2014/main" id="{EFCB388A-80A1-40A2-A5DA-C9D06EC105A7}"/>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7" name="Rectangle 966">
                <a:extLst>
                  <a:ext uri="{FF2B5EF4-FFF2-40B4-BE49-F238E27FC236}">
                    <a16:creationId xmlns:a16="http://schemas.microsoft.com/office/drawing/2014/main" id="{217A76F9-02AA-470E-9F13-CB5E3DFF3C3E}"/>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8" name="Rectangle 967">
                <a:extLst>
                  <a:ext uri="{FF2B5EF4-FFF2-40B4-BE49-F238E27FC236}">
                    <a16:creationId xmlns:a16="http://schemas.microsoft.com/office/drawing/2014/main" id="{921288A8-D43D-4E0D-8762-B1FE2FFC6C10}"/>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9" name="Rectangle 968">
                <a:extLst>
                  <a:ext uri="{FF2B5EF4-FFF2-40B4-BE49-F238E27FC236}">
                    <a16:creationId xmlns:a16="http://schemas.microsoft.com/office/drawing/2014/main" id="{7522CDB2-F0E8-433B-B3C8-A7DBC9C4B235}"/>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0" name="Rectangle 969">
                <a:extLst>
                  <a:ext uri="{FF2B5EF4-FFF2-40B4-BE49-F238E27FC236}">
                    <a16:creationId xmlns:a16="http://schemas.microsoft.com/office/drawing/2014/main" id="{930B2DA3-745B-4DFC-828D-2941CBDE984D}"/>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1" name="Rectangle 970">
                <a:extLst>
                  <a:ext uri="{FF2B5EF4-FFF2-40B4-BE49-F238E27FC236}">
                    <a16:creationId xmlns:a16="http://schemas.microsoft.com/office/drawing/2014/main" id="{87201FD0-5D81-4C62-B92D-9ADA0692F725}"/>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2" name="Rectangle 971">
                <a:extLst>
                  <a:ext uri="{FF2B5EF4-FFF2-40B4-BE49-F238E27FC236}">
                    <a16:creationId xmlns:a16="http://schemas.microsoft.com/office/drawing/2014/main" id="{396461FF-092B-4B26-9075-35B4F044E4BE}"/>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3" name="Freeform 19">
                <a:extLst>
                  <a:ext uri="{FF2B5EF4-FFF2-40B4-BE49-F238E27FC236}">
                    <a16:creationId xmlns:a16="http://schemas.microsoft.com/office/drawing/2014/main" id="{C6B181FD-559A-44B6-BEF2-F95EC720774B}"/>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4" name="Freeform 20">
                <a:extLst>
                  <a:ext uri="{FF2B5EF4-FFF2-40B4-BE49-F238E27FC236}">
                    <a16:creationId xmlns:a16="http://schemas.microsoft.com/office/drawing/2014/main" id="{7B0F8046-6736-4FD3-AF77-58675129B1AD}"/>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5" name="Freeform 21">
                <a:extLst>
                  <a:ext uri="{FF2B5EF4-FFF2-40B4-BE49-F238E27FC236}">
                    <a16:creationId xmlns:a16="http://schemas.microsoft.com/office/drawing/2014/main" id="{ED6F7004-B630-4E4F-BC7E-7792C1EEC8C0}"/>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6" name="Rectangle 975">
                <a:extLst>
                  <a:ext uri="{FF2B5EF4-FFF2-40B4-BE49-F238E27FC236}">
                    <a16:creationId xmlns:a16="http://schemas.microsoft.com/office/drawing/2014/main" id="{F1834C83-B02D-4FF2-B61B-4E66DCCA845A}"/>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7" name="Rectangle 976">
                <a:extLst>
                  <a:ext uri="{FF2B5EF4-FFF2-40B4-BE49-F238E27FC236}">
                    <a16:creationId xmlns:a16="http://schemas.microsoft.com/office/drawing/2014/main" id="{659C9855-81E7-43EA-A3BC-EA23DB68C61B}"/>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8" name="Rectangle 977">
                <a:extLst>
                  <a:ext uri="{FF2B5EF4-FFF2-40B4-BE49-F238E27FC236}">
                    <a16:creationId xmlns:a16="http://schemas.microsoft.com/office/drawing/2014/main" id="{1904FA71-028C-449F-9DB6-5FBE1121B8DF}"/>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9" name="Rectangle 978">
                <a:extLst>
                  <a:ext uri="{FF2B5EF4-FFF2-40B4-BE49-F238E27FC236}">
                    <a16:creationId xmlns:a16="http://schemas.microsoft.com/office/drawing/2014/main" id="{4F5110BB-97E2-41BD-AAB5-8421EE592CDF}"/>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0" name="Rectangle 979">
                <a:extLst>
                  <a:ext uri="{FF2B5EF4-FFF2-40B4-BE49-F238E27FC236}">
                    <a16:creationId xmlns:a16="http://schemas.microsoft.com/office/drawing/2014/main" id="{3A8C80FE-F868-4DC9-AF56-A352D057D8A0}"/>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1" name="Rectangle 980">
                <a:extLst>
                  <a:ext uri="{FF2B5EF4-FFF2-40B4-BE49-F238E27FC236}">
                    <a16:creationId xmlns:a16="http://schemas.microsoft.com/office/drawing/2014/main" id="{BEC1D326-0B9C-4203-999E-9A7D0A77E133}"/>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2" name="Rectangle 981">
                <a:extLst>
                  <a:ext uri="{FF2B5EF4-FFF2-40B4-BE49-F238E27FC236}">
                    <a16:creationId xmlns:a16="http://schemas.microsoft.com/office/drawing/2014/main" id="{9BB0FA3E-D8BB-4A3E-8CA2-1FF4D6CF136B}"/>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3" name="Rectangle 982">
                <a:extLst>
                  <a:ext uri="{FF2B5EF4-FFF2-40B4-BE49-F238E27FC236}">
                    <a16:creationId xmlns:a16="http://schemas.microsoft.com/office/drawing/2014/main" id="{82A272DF-F0F1-44F8-8C93-78A34E6BF728}"/>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4" name="Rectangle 983">
                <a:extLst>
                  <a:ext uri="{FF2B5EF4-FFF2-40B4-BE49-F238E27FC236}">
                    <a16:creationId xmlns:a16="http://schemas.microsoft.com/office/drawing/2014/main" id="{2C549EDF-6304-491A-9B88-F294D0E22423}"/>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5" name="Rectangle 984">
                <a:extLst>
                  <a:ext uri="{FF2B5EF4-FFF2-40B4-BE49-F238E27FC236}">
                    <a16:creationId xmlns:a16="http://schemas.microsoft.com/office/drawing/2014/main" id="{A8B140F5-4C8A-43FC-8DE8-6A034F6ECB80}"/>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6" name="Rectangle 985">
                <a:extLst>
                  <a:ext uri="{FF2B5EF4-FFF2-40B4-BE49-F238E27FC236}">
                    <a16:creationId xmlns:a16="http://schemas.microsoft.com/office/drawing/2014/main" id="{00003DC9-B6FF-45C4-9000-293AB7CEAC24}"/>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7" name="Freeform 33">
                <a:extLst>
                  <a:ext uri="{FF2B5EF4-FFF2-40B4-BE49-F238E27FC236}">
                    <a16:creationId xmlns:a16="http://schemas.microsoft.com/office/drawing/2014/main" id="{B907073A-32D3-4B61-A753-6D8DAC4490D9}"/>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8" name="Freeform 34">
                <a:extLst>
                  <a:ext uri="{FF2B5EF4-FFF2-40B4-BE49-F238E27FC236}">
                    <a16:creationId xmlns:a16="http://schemas.microsoft.com/office/drawing/2014/main" id="{B5904BA6-C363-4362-A5B9-233934B08B41}"/>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9" name="Freeform 36">
                <a:extLst>
                  <a:ext uri="{FF2B5EF4-FFF2-40B4-BE49-F238E27FC236}">
                    <a16:creationId xmlns:a16="http://schemas.microsoft.com/office/drawing/2014/main" id="{9CDB9D06-E2E9-49AC-B804-07C92338344C}"/>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0" name="Freeform 37">
                <a:extLst>
                  <a:ext uri="{FF2B5EF4-FFF2-40B4-BE49-F238E27FC236}">
                    <a16:creationId xmlns:a16="http://schemas.microsoft.com/office/drawing/2014/main" id="{F2919082-4CA8-4855-9209-46B6A150ABE8}"/>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1" name="Freeform 38">
                <a:extLst>
                  <a:ext uri="{FF2B5EF4-FFF2-40B4-BE49-F238E27FC236}">
                    <a16:creationId xmlns:a16="http://schemas.microsoft.com/office/drawing/2014/main" id="{104600D8-67FB-4A98-8C5D-AF1F8EE56451}"/>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2" name="Freeform 39">
                <a:extLst>
                  <a:ext uri="{FF2B5EF4-FFF2-40B4-BE49-F238E27FC236}">
                    <a16:creationId xmlns:a16="http://schemas.microsoft.com/office/drawing/2014/main" id="{7AECC6DB-0BAB-4C2C-9C80-1178794719F7}"/>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3" name="Freeform 40">
                <a:extLst>
                  <a:ext uri="{FF2B5EF4-FFF2-40B4-BE49-F238E27FC236}">
                    <a16:creationId xmlns:a16="http://schemas.microsoft.com/office/drawing/2014/main" id="{08BB0F8C-9DDA-498C-8D70-26AEBC6745CC}"/>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4" name="Freeform 41">
                <a:extLst>
                  <a:ext uri="{FF2B5EF4-FFF2-40B4-BE49-F238E27FC236}">
                    <a16:creationId xmlns:a16="http://schemas.microsoft.com/office/drawing/2014/main" id="{B121152E-03AB-46E2-845C-8CB008911B43}"/>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5" name="Freeform 42">
                <a:extLst>
                  <a:ext uri="{FF2B5EF4-FFF2-40B4-BE49-F238E27FC236}">
                    <a16:creationId xmlns:a16="http://schemas.microsoft.com/office/drawing/2014/main" id="{BD474B11-1F49-4431-909D-B3910E34DD87}"/>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6" name="Freeform 43">
                <a:extLst>
                  <a:ext uri="{FF2B5EF4-FFF2-40B4-BE49-F238E27FC236}">
                    <a16:creationId xmlns:a16="http://schemas.microsoft.com/office/drawing/2014/main" id="{0D0526C5-E588-4A6B-A1DB-A190F89709F3}"/>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7" name="Freeform 44">
                <a:extLst>
                  <a:ext uri="{FF2B5EF4-FFF2-40B4-BE49-F238E27FC236}">
                    <a16:creationId xmlns:a16="http://schemas.microsoft.com/office/drawing/2014/main" id="{DAAE8323-F4F4-4BF6-8237-3CE37565D324}"/>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8" name="Freeform 45">
                <a:extLst>
                  <a:ext uri="{FF2B5EF4-FFF2-40B4-BE49-F238E27FC236}">
                    <a16:creationId xmlns:a16="http://schemas.microsoft.com/office/drawing/2014/main" id="{DB0BC125-AA64-420B-9343-B9FBAC3879EC}"/>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9" name="Rectangle 46">
                <a:extLst>
                  <a:ext uri="{FF2B5EF4-FFF2-40B4-BE49-F238E27FC236}">
                    <a16:creationId xmlns:a16="http://schemas.microsoft.com/office/drawing/2014/main" id="{A2FF9892-5090-43F7-952E-463A7E7058FD}"/>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0" name="Rectangle 47">
                <a:extLst>
                  <a:ext uri="{FF2B5EF4-FFF2-40B4-BE49-F238E27FC236}">
                    <a16:creationId xmlns:a16="http://schemas.microsoft.com/office/drawing/2014/main" id="{FFF24A0F-D1EC-4BE7-9DC5-5C4A735FC587}"/>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1" name="Freeform 48">
                <a:extLst>
                  <a:ext uri="{FF2B5EF4-FFF2-40B4-BE49-F238E27FC236}">
                    <a16:creationId xmlns:a16="http://schemas.microsoft.com/office/drawing/2014/main" id="{0BE2DF67-1EF2-4915-8F04-378A59A9882E}"/>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2" name="Freeform 49">
                <a:extLst>
                  <a:ext uri="{FF2B5EF4-FFF2-40B4-BE49-F238E27FC236}">
                    <a16:creationId xmlns:a16="http://schemas.microsoft.com/office/drawing/2014/main" id="{EE7FA9C1-114B-48CA-9F7D-31B1E91D59EF}"/>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3" name="Freeform 157">
                <a:extLst>
                  <a:ext uri="{FF2B5EF4-FFF2-40B4-BE49-F238E27FC236}">
                    <a16:creationId xmlns:a16="http://schemas.microsoft.com/office/drawing/2014/main" id="{E2756303-365A-4983-9D47-BECB8981C6A5}"/>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4" name="Freeform 125">
                <a:extLst>
                  <a:ext uri="{FF2B5EF4-FFF2-40B4-BE49-F238E27FC236}">
                    <a16:creationId xmlns:a16="http://schemas.microsoft.com/office/drawing/2014/main" id="{87AC868B-7FCF-4CAA-9202-23E7A6071129}"/>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8C00"/>
                  </a:solidFill>
                  <a:effectLst/>
                  <a:uLnTx/>
                  <a:uFillTx/>
                  <a:latin typeface="Times New Roman" charset="0"/>
                  <a:ea typeface="ＭＳ Ｐゴシック" charset="0"/>
                </a:endParaRPr>
              </a:p>
            </p:txBody>
          </p:sp>
          <p:grpSp>
            <p:nvGrpSpPr>
              <p:cNvPr id="1005" name="Group 1004">
                <a:extLst>
                  <a:ext uri="{FF2B5EF4-FFF2-40B4-BE49-F238E27FC236}">
                    <a16:creationId xmlns:a16="http://schemas.microsoft.com/office/drawing/2014/main" id="{B3056C4F-80FA-4B55-A308-3CFB47004A79}"/>
                  </a:ext>
                </a:extLst>
              </p:cNvPr>
              <p:cNvGrpSpPr/>
              <p:nvPr/>
            </p:nvGrpSpPr>
            <p:grpSpPr>
              <a:xfrm>
                <a:off x="880735" y="3233589"/>
                <a:ext cx="4515429" cy="2553121"/>
                <a:chOff x="2267710" y="3645408"/>
                <a:chExt cx="1887955" cy="1067493"/>
              </a:xfrm>
              <a:solidFill>
                <a:schemeClr val="bg1">
                  <a:lumMod val="75000"/>
                </a:schemeClr>
              </a:solidFill>
            </p:grpSpPr>
            <p:sp>
              <p:nvSpPr>
                <p:cNvPr id="1006" name="Freeform 151">
                  <a:extLst>
                    <a:ext uri="{FF2B5EF4-FFF2-40B4-BE49-F238E27FC236}">
                      <a16:creationId xmlns:a16="http://schemas.microsoft.com/office/drawing/2014/main" id="{4C30DD69-DC3C-43B4-BD5A-7A52BDE454A1}"/>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7" name="Freeform 152">
                  <a:extLst>
                    <a:ext uri="{FF2B5EF4-FFF2-40B4-BE49-F238E27FC236}">
                      <a16:creationId xmlns:a16="http://schemas.microsoft.com/office/drawing/2014/main" id="{ECCF90E0-0094-4212-B8E9-F1B7C738D4DF}"/>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8" name="Freeform 158">
                  <a:extLst>
                    <a:ext uri="{FF2B5EF4-FFF2-40B4-BE49-F238E27FC236}">
                      <a16:creationId xmlns:a16="http://schemas.microsoft.com/office/drawing/2014/main" id="{F838AD98-4076-4E71-9792-D1472B0856DC}"/>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9" name="Freeform 168">
                  <a:extLst>
                    <a:ext uri="{FF2B5EF4-FFF2-40B4-BE49-F238E27FC236}">
                      <a16:creationId xmlns:a16="http://schemas.microsoft.com/office/drawing/2014/main" id="{44F54E10-E19E-4DC6-836D-04331EC955B1}"/>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10" name="Group 1009">
                  <a:extLst>
                    <a:ext uri="{FF2B5EF4-FFF2-40B4-BE49-F238E27FC236}">
                      <a16:creationId xmlns:a16="http://schemas.microsoft.com/office/drawing/2014/main" id="{12CBCDA5-41AE-4183-A110-886D0E0F0162}"/>
                    </a:ext>
                  </a:extLst>
                </p:cNvPr>
                <p:cNvGrpSpPr/>
                <p:nvPr/>
              </p:nvGrpSpPr>
              <p:grpSpPr>
                <a:xfrm>
                  <a:off x="2677694" y="3839497"/>
                  <a:ext cx="1155716" cy="644026"/>
                  <a:chOff x="2726462" y="3839497"/>
                  <a:chExt cx="1155716" cy="644026"/>
                </a:xfrm>
                <a:grpFill/>
              </p:grpSpPr>
              <p:sp>
                <p:nvSpPr>
                  <p:cNvPr id="1011" name="Freeform 153">
                    <a:extLst>
                      <a:ext uri="{FF2B5EF4-FFF2-40B4-BE49-F238E27FC236}">
                        <a16:creationId xmlns:a16="http://schemas.microsoft.com/office/drawing/2014/main" id="{8AAF340D-52F0-416B-BF31-F790AFCAC964}"/>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2" name="Freeform 154">
                    <a:extLst>
                      <a:ext uri="{FF2B5EF4-FFF2-40B4-BE49-F238E27FC236}">
                        <a16:creationId xmlns:a16="http://schemas.microsoft.com/office/drawing/2014/main" id="{4E9906F2-3287-4A82-BE70-1C1C201A1E5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3" name="Freeform 155">
                    <a:extLst>
                      <a:ext uri="{FF2B5EF4-FFF2-40B4-BE49-F238E27FC236}">
                        <a16:creationId xmlns:a16="http://schemas.microsoft.com/office/drawing/2014/main" id="{C2D39F45-109A-4B44-BE53-8A1EEB62FD8C}"/>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4" name="Freeform 156">
                    <a:extLst>
                      <a:ext uri="{FF2B5EF4-FFF2-40B4-BE49-F238E27FC236}">
                        <a16:creationId xmlns:a16="http://schemas.microsoft.com/office/drawing/2014/main" id="{C3D5ECE6-8FCA-45E1-A47C-7AEA7044B2EE}"/>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5" name="Freeform 157">
                    <a:extLst>
                      <a:ext uri="{FF2B5EF4-FFF2-40B4-BE49-F238E27FC236}">
                        <a16:creationId xmlns:a16="http://schemas.microsoft.com/office/drawing/2014/main" id="{F9FAC7A8-0C67-4CE1-A1EC-1A901564DCD6}"/>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6" name="Freeform 159">
                    <a:extLst>
                      <a:ext uri="{FF2B5EF4-FFF2-40B4-BE49-F238E27FC236}">
                        <a16:creationId xmlns:a16="http://schemas.microsoft.com/office/drawing/2014/main" id="{ECD46AC5-5942-4C12-801C-DB79AB23D06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7" name="Freeform 160">
                    <a:extLst>
                      <a:ext uri="{FF2B5EF4-FFF2-40B4-BE49-F238E27FC236}">
                        <a16:creationId xmlns:a16="http://schemas.microsoft.com/office/drawing/2014/main" id="{9E68116B-5D7D-4B82-9195-96FF3DA726B6}"/>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8" name="Freeform 161">
                    <a:extLst>
                      <a:ext uri="{FF2B5EF4-FFF2-40B4-BE49-F238E27FC236}">
                        <a16:creationId xmlns:a16="http://schemas.microsoft.com/office/drawing/2014/main" id="{6268DCD1-6377-4A0B-8BD8-C429CF1C98B3}"/>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9" name="Freeform 162">
                    <a:extLst>
                      <a:ext uri="{FF2B5EF4-FFF2-40B4-BE49-F238E27FC236}">
                        <a16:creationId xmlns:a16="http://schemas.microsoft.com/office/drawing/2014/main" id="{2324743B-15D6-447E-AC6F-6D21B6CC3778}"/>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0" name="Freeform 163">
                    <a:extLst>
                      <a:ext uri="{FF2B5EF4-FFF2-40B4-BE49-F238E27FC236}">
                        <a16:creationId xmlns:a16="http://schemas.microsoft.com/office/drawing/2014/main" id="{86E28C2A-B31C-46D2-BF2B-DD9C227E0931}"/>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1" name="Freeform 164">
                    <a:extLst>
                      <a:ext uri="{FF2B5EF4-FFF2-40B4-BE49-F238E27FC236}">
                        <a16:creationId xmlns:a16="http://schemas.microsoft.com/office/drawing/2014/main" id="{86FBE266-30A6-48A9-9016-82E16F362897}"/>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2" name="Freeform 165">
                    <a:extLst>
                      <a:ext uri="{FF2B5EF4-FFF2-40B4-BE49-F238E27FC236}">
                        <a16:creationId xmlns:a16="http://schemas.microsoft.com/office/drawing/2014/main" id="{6E33CE55-2F2C-459F-8A55-5E4F0A50F3A5}"/>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3" name="Freeform 166">
                    <a:extLst>
                      <a:ext uri="{FF2B5EF4-FFF2-40B4-BE49-F238E27FC236}">
                        <a16:creationId xmlns:a16="http://schemas.microsoft.com/office/drawing/2014/main" id="{052F9FB0-B9C1-43D0-A3F3-36E85AEE0D66}"/>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4" name="Freeform 167">
                    <a:extLst>
                      <a:ext uri="{FF2B5EF4-FFF2-40B4-BE49-F238E27FC236}">
                        <a16:creationId xmlns:a16="http://schemas.microsoft.com/office/drawing/2014/main" id="{AEABA426-B173-40AA-9958-0C183A68245A}"/>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5" name="Freeform 169">
                    <a:extLst>
                      <a:ext uri="{FF2B5EF4-FFF2-40B4-BE49-F238E27FC236}">
                        <a16:creationId xmlns:a16="http://schemas.microsoft.com/office/drawing/2014/main" id="{7CD36F4A-028A-4992-8CC4-B2D7B7231D7B}"/>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6" name="Freeform 170">
                    <a:extLst>
                      <a:ext uri="{FF2B5EF4-FFF2-40B4-BE49-F238E27FC236}">
                        <a16:creationId xmlns:a16="http://schemas.microsoft.com/office/drawing/2014/main" id="{438E8EF2-A868-4305-946E-513C5C4A6EB3}"/>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7" name="Freeform 171">
                    <a:extLst>
                      <a:ext uri="{FF2B5EF4-FFF2-40B4-BE49-F238E27FC236}">
                        <a16:creationId xmlns:a16="http://schemas.microsoft.com/office/drawing/2014/main" id="{114C09BD-C590-40DF-873F-6CCB15E65483}"/>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8" name="Freeform 172">
                    <a:extLst>
                      <a:ext uri="{FF2B5EF4-FFF2-40B4-BE49-F238E27FC236}">
                        <a16:creationId xmlns:a16="http://schemas.microsoft.com/office/drawing/2014/main" id="{4E63D068-C6E8-44F0-80A3-818B3A2EC697}"/>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9" name="Freeform 173">
                    <a:extLst>
                      <a:ext uri="{FF2B5EF4-FFF2-40B4-BE49-F238E27FC236}">
                        <a16:creationId xmlns:a16="http://schemas.microsoft.com/office/drawing/2014/main" id="{DEB98A92-4FE1-4DC7-927A-9DF17E1D6C38}"/>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0" name="Freeform 174">
                    <a:extLst>
                      <a:ext uri="{FF2B5EF4-FFF2-40B4-BE49-F238E27FC236}">
                        <a16:creationId xmlns:a16="http://schemas.microsoft.com/office/drawing/2014/main" id="{DB824E46-24F1-42D6-938D-5630F2D8CA8F}"/>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1" name="Freeform 175">
                    <a:extLst>
                      <a:ext uri="{FF2B5EF4-FFF2-40B4-BE49-F238E27FC236}">
                        <a16:creationId xmlns:a16="http://schemas.microsoft.com/office/drawing/2014/main" id="{FD895C5B-851C-49E1-B3DE-10C07233E041}"/>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2" name="Freeform 176">
                    <a:extLst>
                      <a:ext uri="{FF2B5EF4-FFF2-40B4-BE49-F238E27FC236}">
                        <a16:creationId xmlns:a16="http://schemas.microsoft.com/office/drawing/2014/main" id="{06E400F1-7C82-455B-A696-76BC963BBAEE}"/>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3" name="Freeform 177">
                    <a:extLst>
                      <a:ext uri="{FF2B5EF4-FFF2-40B4-BE49-F238E27FC236}">
                        <a16:creationId xmlns:a16="http://schemas.microsoft.com/office/drawing/2014/main" id="{AA38FAB3-E5C1-4306-97E1-5586D47D900A}"/>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4" name="Freeform 186">
                    <a:extLst>
                      <a:ext uri="{FF2B5EF4-FFF2-40B4-BE49-F238E27FC236}">
                        <a16:creationId xmlns:a16="http://schemas.microsoft.com/office/drawing/2014/main" id="{2595F2ED-B25A-4340-A27C-047EC8CEDCE1}"/>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5" name="Freeform 187">
                    <a:extLst>
                      <a:ext uri="{FF2B5EF4-FFF2-40B4-BE49-F238E27FC236}">
                        <a16:creationId xmlns:a16="http://schemas.microsoft.com/office/drawing/2014/main" id="{56C1994E-1ADB-4424-8D18-F3DA152EFEE4}"/>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6" name="Freeform 188">
                    <a:extLst>
                      <a:ext uri="{FF2B5EF4-FFF2-40B4-BE49-F238E27FC236}">
                        <a16:creationId xmlns:a16="http://schemas.microsoft.com/office/drawing/2014/main" id="{D2FCBCD9-4A1A-4FC4-A796-5C73C3372B7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7" name="Freeform 189">
                    <a:extLst>
                      <a:ext uri="{FF2B5EF4-FFF2-40B4-BE49-F238E27FC236}">
                        <a16:creationId xmlns:a16="http://schemas.microsoft.com/office/drawing/2014/main" id="{349AD6E3-2B97-4CAC-8972-8F01B301F1D8}"/>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8" name="Freeform 190">
                    <a:extLst>
                      <a:ext uri="{FF2B5EF4-FFF2-40B4-BE49-F238E27FC236}">
                        <a16:creationId xmlns:a16="http://schemas.microsoft.com/office/drawing/2014/main" id="{8581D4F6-BE75-4654-BF06-BEE719F1CAB3}"/>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852" name="Group 851">
              <a:extLst>
                <a:ext uri="{FF2B5EF4-FFF2-40B4-BE49-F238E27FC236}">
                  <a16:creationId xmlns:a16="http://schemas.microsoft.com/office/drawing/2014/main" id="{6C8D3BB2-1AA4-4744-8072-4F2ECB21C802}"/>
                </a:ext>
              </a:extLst>
            </p:cNvPr>
            <p:cNvGrpSpPr/>
            <p:nvPr/>
          </p:nvGrpSpPr>
          <p:grpSpPr>
            <a:xfrm>
              <a:off x="3852490" y="3233304"/>
              <a:ext cx="3961965" cy="3329442"/>
              <a:chOff x="3484242" y="3413760"/>
              <a:chExt cx="1656542" cy="1392080"/>
            </a:xfrm>
          </p:grpSpPr>
          <p:sp>
            <p:nvSpPr>
              <p:cNvPr id="853" name="Freeform: Shape 852">
                <a:extLst>
                  <a:ext uri="{FF2B5EF4-FFF2-40B4-BE49-F238E27FC236}">
                    <a16:creationId xmlns:a16="http://schemas.microsoft.com/office/drawing/2014/main" id="{70982B4C-ACB5-47D6-B24C-75C0BB5C8F42}"/>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4" name="Freeform: Shape 853">
                <a:extLst>
                  <a:ext uri="{FF2B5EF4-FFF2-40B4-BE49-F238E27FC236}">
                    <a16:creationId xmlns:a16="http://schemas.microsoft.com/office/drawing/2014/main" id="{84119241-C005-47F8-93F2-0910E0F7EA66}"/>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5" name="Freeform 164">
                <a:extLst>
                  <a:ext uri="{FF2B5EF4-FFF2-40B4-BE49-F238E27FC236}">
                    <a16:creationId xmlns:a16="http://schemas.microsoft.com/office/drawing/2014/main" id="{DB616682-DBFC-4927-970D-5AF18BF1B091}"/>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spTree>
    <p:extLst>
      <p:ext uri="{BB962C8B-B14F-4D97-AF65-F5344CB8AC3E}">
        <p14:creationId xmlns:p14="http://schemas.microsoft.com/office/powerpoint/2010/main" val="304472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4180943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b="1" dirty="0">
                <a:solidFill>
                  <a:schemeClr val="tx1"/>
                </a:solidFill>
              </a:rPr>
              <a:t>Admin manages one service</a:t>
            </a: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51493" y="2411901"/>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b="1" dirty="0">
                <a:solidFill>
                  <a:schemeClr val="tx1"/>
                </a:solidFill>
              </a:rPr>
              <a:t>Admin has to manage two separate services</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One service supports both desktop &amp; RemoteApp experience</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4216154" cy="369332"/>
          </a:xfrm>
          <a:prstGeom prst="rect">
            <a:avLst/>
          </a:prstGeom>
        </p:spPr>
        <p:txBody>
          <a:bodyPr wrap="none">
            <a:spAutoFit/>
          </a:bodyPr>
          <a:lstStyle/>
          <a:p>
            <a:r>
              <a:rPr lang="en-US" b="1" i="1" dirty="0"/>
              <a:t>Efficient and Simplified Management</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on-prem virtualization to WVD</a:t>
            </a:r>
          </a:p>
          <a:p>
            <a:pPr marL="344488" indent="-176213" defTabSz="932472" fontAlgn="base">
              <a:spcBef>
                <a:spcPts val="200"/>
              </a:spcBef>
              <a:spcAft>
                <a:spcPct val="0"/>
              </a:spcAft>
              <a:buFont typeface="Arial" panose="020B0604020202020204" pitchFamily="34" charset="0"/>
              <a:buChar char="•"/>
            </a:pPr>
            <a:r>
              <a:rPr lang="en-US" altLang="zh-CN" sz="1400" dirty="0">
                <a:solidFill>
                  <a:schemeClr val="tx1"/>
                </a:solidFill>
                <a:cs typeface="Segoe UI" pitchFamily="34" charset="0"/>
              </a:rPr>
              <a:t>Both desktop and RemoteApp are managed through one WVD service</a:t>
            </a:r>
            <a:endParaRPr lang="en-US" sz="1400" dirty="0">
              <a:solidFill>
                <a:srgbClr val="002060"/>
              </a:solidFill>
              <a:cs typeface="Segoe UI" pitchFamily="34" charset="0"/>
            </a:endParaRP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302299" y="2428026"/>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400" fontAlgn="auto">
              <a:spcBef>
                <a:spcPts val="1200"/>
              </a:spcBef>
              <a:spcAft>
                <a:spcPts val="600"/>
              </a:spcAft>
            </a:pPr>
            <a:r>
              <a:rPr lang="en-US" altLang="zh-CN" sz="1600" b="1" i="1" dirty="0">
                <a:solidFill>
                  <a:schemeClr val="tx2"/>
                </a:solidFill>
              </a:rPr>
              <a:t>Less labor and time required to manage both VDI and session host deployments</a:t>
            </a:r>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777886" y="1372927"/>
            <a:ext cx="806355" cy="914400"/>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332" name="TextBox 331">
            <a:extLst>
              <a:ext uri="{FF2B5EF4-FFF2-40B4-BE49-F238E27FC236}">
                <a16:creationId xmlns:a16="http://schemas.microsoft.com/office/drawing/2014/main" id="{E4561C91-E707-474F-AE82-88F037E5ECCB}"/>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400" b="1" dirty="0">
                <a:solidFill>
                  <a:schemeClr val="bg1"/>
                </a:solidFill>
              </a:rPr>
              <a:t>Management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1400" b="1" dirty="0">
                <a:solidFill>
                  <a:schemeClr val="bg1"/>
                </a:solidFill>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400" b="1" dirty="0">
                <a:solidFill>
                  <a:schemeClr val="bg1"/>
                </a:solidFill>
              </a:rPr>
              <a:t>W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048759" y="2418080"/>
            <a:ext cx="401322" cy="3769360"/>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89" name="Group 788">
            <a:extLst>
              <a:ext uri="{FF2B5EF4-FFF2-40B4-BE49-F238E27FC236}">
                <a16:creationId xmlns:a16="http://schemas.microsoft.com/office/drawing/2014/main" id="{9B7804F2-D8C9-4089-BB95-894861025DE7}"/>
              </a:ext>
            </a:extLst>
          </p:cNvPr>
          <p:cNvGrpSpPr/>
          <p:nvPr/>
        </p:nvGrpSpPr>
        <p:grpSpPr>
          <a:xfrm>
            <a:off x="1033901" y="3780519"/>
            <a:ext cx="1084551" cy="1041310"/>
            <a:chOff x="623612" y="1535907"/>
            <a:chExt cx="1499478" cy="1499476"/>
          </a:xfrm>
        </p:grpSpPr>
        <p:sp>
          <p:nvSpPr>
            <p:cNvPr id="790" name="Oval 789">
              <a:extLst>
                <a:ext uri="{FF2B5EF4-FFF2-40B4-BE49-F238E27FC236}">
                  <a16:creationId xmlns:a16="http://schemas.microsoft.com/office/drawing/2014/main" id="{13ED7A3D-357B-44AE-A525-95A9961E3761}"/>
                </a:ext>
              </a:extLst>
            </p:cNvPr>
            <p:cNvSpPr/>
            <p:nvPr/>
          </p:nvSpPr>
          <p:spPr bwMode="auto">
            <a:xfrm>
              <a:off x="623612" y="1535907"/>
              <a:ext cx="1499478" cy="149947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200" dirty="0">
                <a:solidFill>
                  <a:schemeClr val="bg1"/>
                </a:solidFill>
                <a:latin typeface="+mj-lt"/>
                <a:ea typeface="Segoe UI" pitchFamily="34" charset="0"/>
                <a:cs typeface="Segoe UI" pitchFamily="34" charset="0"/>
              </a:endParaRPr>
            </a:p>
          </p:txBody>
        </p:sp>
        <p:sp>
          <p:nvSpPr>
            <p:cNvPr id="792" name="Freeform: Shape 791">
              <a:extLst>
                <a:ext uri="{FF2B5EF4-FFF2-40B4-BE49-F238E27FC236}">
                  <a16:creationId xmlns:a16="http://schemas.microsoft.com/office/drawing/2014/main" id="{87DB9375-F1CA-48E2-A048-21A4A411B183}"/>
                </a:ext>
              </a:extLst>
            </p:cNvPr>
            <p:cNvSpPr/>
            <p:nvPr/>
          </p:nvSpPr>
          <p:spPr bwMode="auto">
            <a:xfrm>
              <a:off x="716528" y="2640110"/>
              <a:ext cx="1313649" cy="395273"/>
            </a:xfrm>
            <a:custGeom>
              <a:avLst/>
              <a:gdLst>
                <a:gd name="connsiteX0" fmla="*/ 0 w 1313649"/>
                <a:gd name="connsiteY0" fmla="*/ 0 h 395273"/>
                <a:gd name="connsiteX1" fmla="*/ 1313649 w 1313649"/>
                <a:gd name="connsiteY1" fmla="*/ 0 h 395273"/>
                <a:gd name="connsiteX2" fmla="*/ 1278519 w 1313649"/>
                <a:gd name="connsiteY2" fmla="*/ 64721 h 395273"/>
                <a:gd name="connsiteX3" fmla="*/ 656824 w 1313649"/>
                <a:gd name="connsiteY3" fmla="*/ 395273 h 395273"/>
                <a:gd name="connsiteX4" fmla="*/ 35129 w 1313649"/>
                <a:gd name="connsiteY4" fmla="*/ 64721 h 395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3649" h="395273">
                  <a:moveTo>
                    <a:pt x="0" y="0"/>
                  </a:moveTo>
                  <a:lnTo>
                    <a:pt x="1313649" y="0"/>
                  </a:lnTo>
                  <a:lnTo>
                    <a:pt x="1278519" y="64721"/>
                  </a:lnTo>
                  <a:cubicBezTo>
                    <a:pt x="1143786" y="264152"/>
                    <a:pt x="915617" y="395273"/>
                    <a:pt x="656824" y="395273"/>
                  </a:cubicBezTo>
                  <a:cubicBezTo>
                    <a:pt x="398031" y="395273"/>
                    <a:pt x="169862" y="264152"/>
                    <a:pt x="35129" y="64721"/>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200" dirty="0">
                <a:solidFill>
                  <a:schemeClr val="bg1"/>
                </a:solidFill>
                <a:latin typeface="+mj-lt"/>
                <a:ea typeface="Segoe UI" pitchFamily="34" charset="0"/>
                <a:cs typeface="Segoe UI" pitchFamily="34" charset="0"/>
              </a:endParaRPr>
            </a:p>
          </p:txBody>
        </p:sp>
        <p:grpSp>
          <p:nvGrpSpPr>
            <p:cNvPr id="793" name="Group 792">
              <a:extLst>
                <a:ext uri="{FF2B5EF4-FFF2-40B4-BE49-F238E27FC236}">
                  <a16:creationId xmlns:a16="http://schemas.microsoft.com/office/drawing/2014/main" id="{2D74B96E-BB41-46DE-84E3-7516FAA0B2E3}"/>
                </a:ext>
              </a:extLst>
            </p:cNvPr>
            <p:cNvGrpSpPr/>
            <p:nvPr/>
          </p:nvGrpSpPr>
          <p:grpSpPr>
            <a:xfrm>
              <a:off x="915377" y="1768282"/>
              <a:ext cx="877228" cy="1097540"/>
              <a:chOff x="857460" y="1396929"/>
              <a:chExt cx="1077311" cy="1347874"/>
            </a:xfrm>
          </p:grpSpPr>
          <p:grpSp>
            <p:nvGrpSpPr>
              <p:cNvPr id="795" name="Group 794">
                <a:extLst>
                  <a:ext uri="{FF2B5EF4-FFF2-40B4-BE49-F238E27FC236}">
                    <a16:creationId xmlns:a16="http://schemas.microsoft.com/office/drawing/2014/main" id="{83B563EB-3F88-4A42-8012-9AC0D0AE6A7C}"/>
                  </a:ext>
                </a:extLst>
              </p:cNvPr>
              <p:cNvGrpSpPr/>
              <p:nvPr/>
            </p:nvGrpSpPr>
            <p:grpSpPr>
              <a:xfrm>
                <a:off x="1135629" y="1396929"/>
                <a:ext cx="385668" cy="1302774"/>
                <a:chOff x="8598161" y="-7907455"/>
                <a:chExt cx="6359701" cy="22894843"/>
              </a:xfrm>
            </p:grpSpPr>
            <p:sp>
              <p:nvSpPr>
                <p:cNvPr id="1510" name="Freeform 135">
                  <a:extLst>
                    <a:ext uri="{FF2B5EF4-FFF2-40B4-BE49-F238E27FC236}">
                      <a16:creationId xmlns:a16="http://schemas.microsoft.com/office/drawing/2014/main" id="{51A6A146-5411-4D39-88CB-5CF3C5D8BED3}"/>
                    </a:ext>
                  </a:extLst>
                </p:cNvPr>
                <p:cNvSpPr>
                  <a:spLocks/>
                </p:cNvSpPr>
                <p:nvPr/>
              </p:nvSpPr>
              <p:spPr bwMode="auto">
                <a:xfrm>
                  <a:off x="8598161" y="-7907455"/>
                  <a:ext cx="6359701" cy="22894843"/>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1" name="Rectangle 136">
                  <a:extLst>
                    <a:ext uri="{FF2B5EF4-FFF2-40B4-BE49-F238E27FC236}">
                      <a16:creationId xmlns:a16="http://schemas.microsoft.com/office/drawing/2014/main" id="{5D31031E-202F-4E89-BDC4-37E678268C95}"/>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2" name="Rectangle 137">
                  <a:extLst>
                    <a:ext uri="{FF2B5EF4-FFF2-40B4-BE49-F238E27FC236}">
                      <a16:creationId xmlns:a16="http://schemas.microsoft.com/office/drawing/2014/main" id="{AF86730F-763E-41C0-B57F-555B43B0E730}"/>
                    </a:ext>
                  </a:extLst>
                </p:cNvPr>
                <p:cNvSpPr>
                  <a:spLocks noChangeArrowheads="1"/>
                </p:cNvSpPr>
                <p:nvPr/>
              </p:nvSpPr>
              <p:spPr bwMode="auto">
                <a:xfrm>
                  <a:off x="8836650" y="-584056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3" name="Freeform 138">
                  <a:extLst>
                    <a:ext uri="{FF2B5EF4-FFF2-40B4-BE49-F238E27FC236}">
                      <a16:creationId xmlns:a16="http://schemas.microsoft.com/office/drawing/2014/main" id="{532D9236-1FF9-4451-9169-B1528C816AD3}"/>
                    </a:ext>
                  </a:extLst>
                </p:cNvPr>
                <p:cNvSpPr>
                  <a:spLocks/>
                </p:cNvSpPr>
                <p:nvPr/>
              </p:nvSpPr>
              <p:spPr bwMode="auto">
                <a:xfrm>
                  <a:off x="13049952" y="-5363584"/>
                  <a:ext cx="1271940" cy="556472"/>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4" name="Rectangle 139">
                  <a:extLst>
                    <a:ext uri="{FF2B5EF4-FFF2-40B4-BE49-F238E27FC236}">
                      <a16:creationId xmlns:a16="http://schemas.microsoft.com/office/drawing/2014/main" id="{6661C8E6-E0D5-4D91-9D6D-2A089C3AE67D}"/>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5" name="Rectangle 140">
                  <a:extLst>
                    <a:ext uri="{FF2B5EF4-FFF2-40B4-BE49-F238E27FC236}">
                      <a16:creationId xmlns:a16="http://schemas.microsoft.com/office/drawing/2014/main" id="{6C3E6717-1DED-4552-9778-0F3032EA1073}"/>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6" name="Freeform 141">
                  <a:extLst>
                    <a:ext uri="{FF2B5EF4-FFF2-40B4-BE49-F238E27FC236}">
                      <a16:creationId xmlns:a16="http://schemas.microsoft.com/office/drawing/2014/main" id="{3F185385-CF10-4544-961B-420AA802AC2D}"/>
                    </a:ext>
                  </a:extLst>
                </p:cNvPr>
                <p:cNvSpPr>
                  <a:spLocks/>
                </p:cNvSpPr>
                <p:nvPr/>
              </p:nvSpPr>
              <p:spPr bwMode="auto">
                <a:xfrm>
                  <a:off x="13049952" y="-3879659"/>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7" name="Rectangle 142">
                  <a:extLst>
                    <a:ext uri="{FF2B5EF4-FFF2-40B4-BE49-F238E27FC236}">
                      <a16:creationId xmlns:a16="http://schemas.microsoft.com/office/drawing/2014/main" id="{76F18A41-1339-410F-B023-B398EA3182A9}"/>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8" name="Rectangle 143">
                  <a:extLst>
                    <a:ext uri="{FF2B5EF4-FFF2-40B4-BE49-F238E27FC236}">
                      <a16:creationId xmlns:a16="http://schemas.microsoft.com/office/drawing/2014/main" id="{F8919E2D-CC09-407F-9095-FA69A925F6F6}"/>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9" name="Freeform 144">
                  <a:extLst>
                    <a:ext uri="{FF2B5EF4-FFF2-40B4-BE49-F238E27FC236}">
                      <a16:creationId xmlns:a16="http://schemas.microsoft.com/office/drawing/2014/main" id="{28581613-A5A8-4858-A6B4-AE48CBB70D68}"/>
                    </a:ext>
                  </a:extLst>
                </p:cNvPr>
                <p:cNvSpPr>
                  <a:spLocks/>
                </p:cNvSpPr>
                <p:nvPr/>
              </p:nvSpPr>
              <p:spPr bwMode="auto">
                <a:xfrm>
                  <a:off x="13049952" y="-2422232"/>
                  <a:ext cx="1271940" cy="529973"/>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0" name="Rectangle 145">
                  <a:extLst>
                    <a:ext uri="{FF2B5EF4-FFF2-40B4-BE49-F238E27FC236}">
                      <a16:creationId xmlns:a16="http://schemas.microsoft.com/office/drawing/2014/main" id="{45235AF2-B834-4B81-B68B-E557BB4DBF03}"/>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1" name="Rectangle 146">
                  <a:extLst>
                    <a:ext uri="{FF2B5EF4-FFF2-40B4-BE49-F238E27FC236}">
                      <a16:creationId xmlns:a16="http://schemas.microsoft.com/office/drawing/2014/main" id="{5C45E44F-C180-42AA-80F4-87F8FBEFED2F}"/>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2" name="Freeform 147">
                  <a:extLst>
                    <a:ext uri="{FF2B5EF4-FFF2-40B4-BE49-F238E27FC236}">
                      <a16:creationId xmlns:a16="http://schemas.microsoft.com/office/drawing/2014/main" id="{13F0CE13-C807-440B-8BD8-31BA37DD6FD2}"/>
                    </a:ext>
                  </a:extLst>
                </p:cNvPr>
                <p:cNvSpPr>
                  <a:spLocks/>
                </p:cNvSpPr>
                <p:nvPr/>
              </p:nvSpPr>
              <p:spPr bwMode="auto">
                <a:xfrm>
                  <a:off x="13049952" y="-938307"/>
                  <a:ext cx="1271940" cy="476976"/>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3" name="Rectangle 148">
                  <a:extLst>
                    <a:ext uri="{FF2B5EF4-FFF2-40B4-BE49-F238E27FC236}">
                      <a16:creationId xmlns:a16="http://schemas.microsoft.com/office/drawing/2014/main" id="{D1AEEA59-29BC-4403-9232-3184F43FEEE5}"/>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4" name="Rectangle 149">
                  <a:extLst>
                    <a:ext uri="{FF2B5EF4-FFF2-40B4-BE49-F238E27FC236}">
                      <a16:creationId xmlns:a16="http://schemas.microsoft.com/office/drawing/2014/main" id="{F49E1F98-F16F-4B18-91E7-FFB2170AE29B}"/>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5" name="Freeform 150">
                  <a:extLst>
                    <a:ext uri="{FF2B5EF4-FFF2-40B4-BE49-F238E27FC236}">
                      <a16:creationId xmlns:a16="http://schemas.microsoft.com/office/drawing/2014/main" id="{AD4606C9-BED1-4A28-BD80-D22A4A9A48A2}"/>
                    </a:ext>
                  </a:extLst>
                </p:cNvPr>
                <p:cNvSpPr>
                  <a:spLocks/>
                </p:cNvSpPr>
                <p:nvPr/>
              </p:nvSpPr>
              <p:spPr bwMode="auto">
                <a:xfrm>
                  <a:off x="13049952" y="492620"/>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6" name="Rectangle 151">
                  <a:extLst>
                    <a:ext uri="{FF2B5EF4-FFF2-40B4-BE49-F238E27FC236}">
                      <a16:creationId xmlns:a16="http://schemas.microsoft.com/office/drawing/2014/main" id="{C9CB26DA-CBE5-4856-9CF7-BABD7BC802F2}"/>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7" name="Rectangle 152">
                  <a:extLst>
                    <a:ext uri="{FF2B5EF4-FFF2-40B4-BE49-F238E27FC236}">
                      <a16:creationId xmlns:a16="http://schemas.microsoft.com/office/drawing/2014/main" id="{7803AF3E-C235-41CD-9832-7D3B7DBF5705}"/>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8" name="Freeform 153">
                  <a:extLst>
                    <a:ext uri="{FF2B5EF4-FFF2-40B4-BE49-F238E27FC236}">
                      <a16:creationId xmlns:a16="http://schemas.microsoft.com/office/drawing/2014/main" id="{3CED5F54-BAE2-4544-AE84-E5F508CB8FD8}"/>
                    </a:ext>
                  </a:extLst>
                </p:cNvPr>
                <p:cNvSpPr>
                  <a:spLocks/>
                </p:cNvSpPr>
                <p:nvPr/>
              </p:nvSpPr>
              <p:spPr bwMode="auto">
                <a:xfrm>
                  <a:off x="13049952" y="1976545"/>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9" name="Rectangle 154">
                  <a:extLst>
                    <a:ext uri="{FF2B5EF4-FFF2-40B4-BE49-F238E27FC236}">
                      <a16:creationId xmlns:a16="http://schemas.microsoft.com/office/drawing/2014/main" id="{E0B9B98B-251A-4B72-9DE8-6C8DF16B31DD}"/>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0" name="Rectangle 155">
                  <a:extLst>
                    <a:ext uri="{FF2B5EF4-FFF2-40B4-BE49-F238E27FC236}">
                      <a16:creationId xmlns:a16="http://schemas.microsoft.com/office/drawing/2014/main" id="{EA28645A-A29E-4BAC-8240-86F3450C79B0}"/>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1" name="Freeform 156">
                  <a:extLst>
                    <a:ext uri="{FF2B5EF4-FFF2-40B4-BE49-F238E27FC236}">
                      <a16:creationId xmlns:a16="http://schemas.microsoft.com/office/drawing/2014/main" id="{FCE0C37C-09E2-46F5-8307-2E15BE0D1A86}"/>
                    </a:ext>
                  </a:extLst>
                </p:cNvPr>
                <p:cNvSpPr>
                  <a:spLocks/>
                </p:cNvSpPr>
                <p:nvPr/>
              </p:nvSpPr>
              <p:spPr bwMode="auto">
                <a:xfrm>
                  <a:off x="13049952" y="3407473"/>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2" name="Rectangle 157">
                  <a:extLst>
                    <a:ext uri="{FF2B5EF4-FFF2-40B4-BE49-F238E27FC236}">
                      <a16:creationId xmlns:a16="http://schemas.microsoft.com/office/drawing/2014/main" id="{E370D8C5-9B0F-4CDA-82DB-9E4BFE2BD689}"/>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3" name="Rectangle 158">
                  <a:extLst>
                    <a:ext uri="{FF2B5EF4-FFF2-40B4-BE49-F238E27FC236}">
                      <a16:creationId xmlns:a16="http://schemas.microsoft.com/office/drawing/2014/main" id="{D6D88020-EDB3-4B2E-A265-C76E58A17944}"/>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4" name="Freeform 159">
                  <a:extLst>
                    <a:ext uri="{FF2B5EF4-FFF2-40B4-BE49-F238E27FC236}">
                      <a16:creationId xmlns:a16="http://schemas.microsoft.com/office/drawing/2014/main" id="{C3B633F7-AAD3-4354-A4B2-F96DB29A3B03}"/>
                    </a:ext>
                  </a:extLst>
                </p:cNvPr>
                <p:cNvSpPr>
                  <a:spLocks/>
                </p:cNvSpPr>
                <p:nvPr/>
              </p:nvSpPr>
              <p:spPr bwMode="auto">
                <a:xfrm>
                  <a:off x="13049952" y="4891398"/>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5" name="Rectangle 160">
                  <a:extLst>
                    <a:ext uri="{FF2B5EF4-FFF2-40B4-BE49-F238E27FC236}">
                      <a16:creationId xmlns:a16="http://schemas.microsoft.com/office/drawing/2014/main" id="{83AA2073-A1B9-4AF9-839D-27C73F1B0F23}"/>
                    </a:ext>
                  </a:extLst>
                </p:cNvPr>
                <p:cNvSpPr>
                  <a:spLocks noChangeArrowheads="1"/>
                </p:cNvSpPr>
                <p:nvPr/>
              </p:nvSpPr>
              <p:spPr bwMode="auto">
                <a:xfrm>
                  <a:off x="8836650" y="730277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6" name="Rectangle 161">
                  <a:extLst>
                    <a:ext uri="{FF2B5EF4-FFF2-40B4-BE49-F238E27FC236}">
                      <a16:creationId xmlns:a16="http://schemas.microsoft.com/office/drawing/2014/main" id="{2B3086C9-EDB4-482C-B8C3-0DC00B742922}"/>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7" name="Freeform 162">
                  <a:extLst>
                    <a:ext uri="{FF2B5EF4-FFF2-40B4-BE49-F238E27FC236}">
                      <a16:creationId xmlns:a16="http://schemas.microsoft.com/office/drawing/2014/main" id="{6C632234-4DC6-449E-BD92-2A9F8B56A370}"/>
                    </a:ext>
                  </a:extLst>
                </p:cNvPr>
                <p:cNvSpPr>
                  <a:spLocks/>
                </p:cNvSpPr>
                <p:nvPr/>
              </p:nvSpPr>
              <p:spPr bwMode="auto">
                <a:xfrm>
                  <a:off x="13049952" y="6348824"/>
                  <a:ext cx="1271940" cy="476976"/>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8" name="Freeform 163">
                  <a:extLst>
                    <a:ext uri="{FF2B5EF4-FFF2-40B4-BE49-F238E27FC236}">
                      <a16:creationId xmlns:a16="http://schemas.microsoft.com/office/drawing/2014/main" id="{F56E4344-861F-45A2-BD1C-48BBE6CD8E63}"/>
                    </a:ext>
                  </a:extLst>
                </p:cNvPr>
                <p:cNvSpPr>
                  <a:spLocks noEditPoints="1"/>
                </p:cNvSpPr>
                <p:nvPr/>
              </p:nvSpPr>
              <p:spPr bwMode="auto">
                <a:xfrm>
                  <a:off x="8783652" y="-5840560"/>
                  <a:ext cx="5962220" cy="19820999"/>
                </a:xfrm>
                <a:custGeom>
                  <a:avLst/>
                  <a:gdLst>
                    <a:gd name="T0" fmla="*/ 225 w 225"/>
                    <a:gd name="T1" fmla="*/ 748 h 748"/>
                    <a:gd name="T2" fmla="*/ 0 w 225"/>
                    <a:gd name="T3" fmla="*/ 748 h 748"/>
                    <a:gd name="T4" fmla="*/ 0 w 225"/>
                    <a:gd name="T5" fmla="*/ 0 h 748"/>
                    <a:gd name="T6" fmla="*/ 225 w 225"/>
                    <a:gd name="T7" fmla="*/ 0 h 748"/>
                    <a:gd name="T8" fmla="*/ 225 w 225"/>
                    <a:gd name="T9" fmla="*/ 748 h 748"/>
                    <a:gd name="T10" fmla="*/ 3 w 225"/>
                    <a:gd name="T11" fmla="*/ 743 h 748"/>
                    <a:gd name="T12" fmla="*/ 221 w 225"/>
                    <a:gd name="T13" fmla="*/ 743 h 748"/>
                    <a:gd name="T14" fmla="*/ 221 w 225"/>
                    <a:gd name="T15" fmla="*/ 4 h 748"/>
                    <a:gd name="T16" fmla="*/ 3 w 225"/>
                    <a:gd name="T17" fmla="*/ 4 h 748"/>
                    <a:gd name="T18" fmla="*/ 3 w 225"/>
                    <a:gd name="T19" fmla="*/ 74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748">
                      <a:moveTo>
                        <a:pt x="225" y="748"/>
                      </a:moveTo>
                      <a:lnTo>
                        <a:pt x="0" y="748"/>
                      </a:lnTo>
                      <a:lnTo>
                        <a:pt x="0" y="0"/>
                      </a:lnTo>
                      <a:lnTo>
                        <a:pt x="225" y="0"/>
                      </a:lnTo>
                      <a:lnTo>
                        <a:pt x="225" y="748"/>
                      </a:lnTo>
                      <a:close/>
                      <a:moveTo>
                        <a:pt x="3" y="743"/>
                      </a:moveTo>
                      <a:lnTo>
                        <a:pt x="221" y="743"/>
                      </a:lnTo>
                      <a:lnTo>
                        <a:pt x="221" y="4"/>
                      </a:lnTo>
                      <a:lnTo>
                        <a:pt x="3" y="4"/>
                      </a:lnTo>
                      <a:lnTo>
                        <a:pt x="3" y="7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9" name="Freeform 164">
                  <a:extLst>
                    <a:ext uri="{FF2B5EF4-FFF2-40B4-BE49-F238E27FC236}">
                      <a16:creationId xmlns:a16="http://schemas.microsoft.com/office/drawing/2014/main" id="{DE77784F-C092-44AD-AD9D-CCE96C8617AD}"/>
                    </a:ext>
                  </a:extLst>
                </p:cNvPr>
                <p:cNvSpPr>
                  <a:spLocks/>
                </p:cNvSpPr>
                <p:nvPr/>
              </p:nvSpPr>
              <p:spPr bwMode="auto">
                <a:xfrm>
                  <a:off x="8783652" y="-6450029"/>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0" name="Freeform 165">
                  <a:extLst>
                    <a:ext uri="{FF2B5EF4-FFF2-40B4-BE49-F238E27FC236}">
                      <a16:creationId xmlns:a16="http://schemas.microsoft.com/office/drawing/2014/main" id="{394C34E7-80BF-4615-A4F7-94E38507A79D}"/>
                    </a:ext>
                  </a:extLst>
                </p:cNvPr>
                <p:cNvSpPr>
                  <a:spLocks/>
                </p:cNvSpPr>
                <p:nvPr/>
              </p:nvSpPr>
              <p:spPr bwMode="auto">
                <a:xfrm>
                  <a:off x="8783652" y="-6768013"/>
                  <a:ext cx="2013905" cy="132493"/>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1" name="Freeform 166">
                  <a:extLst>
                    <a:ext uri="{FF2B5EF4-FFF2-40B4-BE49-F238E27FC236}">
                      <a16:creationId xmlns:a16="http://schemas.microsoft.com/office/drawing/2014/main" id="{5A40240D-C66B-4652-A651-84F753CD028D}"/>
                    </a:ext>
                  </a:extLst>
                </p:cNvPr>
                <p:cNvSpPr>
                  <a:spLocks/>
                </p:cNvSpPr>
                <p:nvPr/>
              </p:nvSpPr>
              <p:spPr bwMode="auto">
                <a:xfrm>
                  <a:off x="8783652" y="-7059498"/>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2" name="Freeform 167">
                  <a:extLst>
                    <a:ext uri="{FF2B5EF4-FFF2-40B4-BE49-F238E27FC236}">
                      <a16:creationId xmlns:a16="http://schemas.microsoft.com/office/drawing/2014/main" id="{63256B14-B277-4C62-BFF5-4FB256DE7666}"/>
                    </a:ext>
                  </a:extLst>
                </p:cNvPr>
                <p:cNvSpPr>
                  <a:spLocks/>
                </p:cNvSpPr>
                <p:nvPr/>
              </p:nvSpPr>
              <p:spPr bwMode="auto">
                <a:xfrm>
                  <a:off x="8783652" y="-7350983"/>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3" name="Freeform 168">
                  <a:extLst>
                    <a:ext uri="{FF2B5EF4-FFF2-40B4-BE49-F238E27FC236}">
                      <a16:creationId xmlns:a16="http://schemas.microsoft.com/office/drawing/2014/main" id="{E157DE0F-569D-46B2-A1AB-CF8FB90D96D4}"/>
                    </a:ext>
                  </a:extLst>
                </p:cNvPr>
                <p:cNvSpPr>
                  <a:spLocks/>
                </p:cNvSpPr>
                <p:nvPr/>
              </p:nvSpPr>
              <p:spPr bwMode="auto">
                <a:xfrm>
                  <a:off x="12705468" y="-6450029"/>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4" name="Freeform 169">
                  <a:extLst>
                    <a:ext uri="{FF2B5EF4-FFF2-40B4-BE49-F238E27FC236}">
                      <a16:creationId xmlns:a16="http://schemas.microsoft.com/office/drawing/2014/main" id="{AB4B198C-7E13-41F2-AF39-26AA82275C7E}"/>
                    </a:ext>
                  </a:extLst>
                </p:cNvPr>
                <p:cNvSpPr>
                  <a:spLocks/>
                </p:cNvSpPr>
                <p:nvPr/>
              </p:nvSpPr>
              <p:spPr bwMode="auto">
                <a:xfrm>
                  <a:off x="12705468" y="-6768013"/>
                  <a:ext cx="2040404" cy="132493"/>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5" name="Freeform 170">
                  <a:extLst>
                    <a:ext uri="{FF2B5EF4-FFF2-40B4-BE49-F238E27FC236}">
                      <a16:creationId xmlns:a16="http://schemas.microsoft.com/office/drawing/2014/main" id="{202A5ECE-DC66-4D69-8429-769012CFD679}"/>
                    </a:ext>
                  </a:extLst>
                </p:cNvPr>
                <p:cNvSpPr>
                  <a:spLocks/>
                </p:cNvSpPr>
                <p:nvPr/>
              </p:nvSpPr>
              <p:spPr bwMode="auto">
                <a:xfrm>
                  <a:off x="12705468" y="-7059498"/>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6" name="Freeform 171">
                  <a:extLst>
                    <a:ext uri="{FF2B5EF4-FFF2-40B4-BE49-F238E27FC236}">
                      <a16:creationId xmlns:a16="http://schemas.microsoft.com/office/drawing/2014/main" id="{6CF9BE05-1A3C-44D3-915D-8B700B488DEB}"/>
                    </a:ext>
                  </a:extLst>
                </p:cNvPr>
                <p:cNvSpPr>
                  <a:spLocks/>
                </p:cNvSpPr>
                <p:nvPr/>
              </p:nvSpPr>
              <p:spPr bwMode="auto">
                <a:xfrm>
                  <a:off x="12705468" y="-7350983"/>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7" name="Rectangle 172">
                  <a:extLst>
                    <a:ext uri="{FF2B5EF4-FFF2-40B4-BE49-F238E27FC236}">
                      <a16:creationId xmlns:a16="http://schemas.microsoft.com/office/drawing/2014/main" id="{729754A8-0874-471B-A270-C7B258CBBBB2}"/>
                    </a:ext>
                  </a:extLst>
                </p:cNvPr>
                <p:cNvSpPr>
                  <a:spLocks noChangeArrowheads="1"/>
                </p:cNvSpPr>
                <p:nvPr/>
              </p:nvSpPr>
              <p:spPr bwMode="auto">
                <a:xfrm>
                  <a:off x="8836650" y="8362723"/>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8" name="Freeform 173">
                  <a:extLst>
                    <a:ext uri="{FF2B5EF4-FFF2-40B4-BE49-F238E27FC236}">
                      <a16:creationId xmlns:a16="http://schemas.microsoft.com/office/drawing/2014/main" id="{807E2FCE-6A5F-4BD7-BFE6-27A0921E5F32}"/>
                    </a:ext>
                  </a:extLst>
                </p:cNvPr>
                <p:cNvSpPr>
                  <a:spLocks/>
                </p:cNvSpPr>
                <p:nvPr/>
              </p:nvSpPr>
              <p:spPr bwMode="auto">
                <a:xfrm>
                  <a:off x="10638565" y="8097736"/>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9" name="Rectangle 174">
                  <a:extLst>
                    <a:ext uri="{FF2B5EF4-FFF2-40B4-BE49-F238E27FC236}">
                      <a16:creationId xmlns:a16="http://schemas.microsoft.com/office/drawing/2014/main" id="{32C308B5-2B46-4609-8A76-B09ADA885EE1}"/>
                    </a:ext>
                  </a:extLst>
                </p:cNvPr>
                <p:cNvSpPr>
                  <a:spLocks noChangeArrowheads="1"/>
                </p:cNvSpPr>
                <p:nvPr/>
              </p:nvSpPr>
              <p:spPr bwMode="auto">
                <a:xfrm>
                  <a:off x="8836650" y="987314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50" name="Freeform 175">
                  <a:extLst>
                    <a:ext uri="{FF2B5EF4-FFF2-40B4-BE49-F238E27FC236}">
                      <a16:creationId xmlns:a16="http://schemas.microsoft.com/office/drawing/2014/main" id="{AC6F0E71-9561-4131-AFBF-880C17D36904}"/>
                    </a:ext>
                  </a:extLst>
                </p:cNvPr>
                <p:cNvSpPr>
                  <a:spLocks/>
                </p:cNvSpPr>
                <p:nvPr/>
              </p:nvSpPr>
              <p:spPr bwMode="auto">
                <a:xfrm>
                  <a:off x="10638565" y="9608160"/>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51" name="Rectangle 176">
                  <a:extLst>
                    <a:ext uri="{FF2B5EF4-FFF2-40B4-BE49-F238E27FC236}">
                      <a16:creationId xmlns:a16="http://schemas.microsoft.com/office/drawing/2014/main" id="{7C34BA77-69B3-4BAE-AD8C-47723A1146B6}"/>
                    </a:ext>
                  </a:extLst>
                </p:cNvPr>
                <p:cNvSpPr>
                  <a:spLocks noChangeArrowheads="1"/>
                </p:cNvSpPr>
                <p:nvPr/>
              </p:nvSpPr>
              <p:spPr bwMode="auto">
                <a:xfrm>
                  <a:off x="8836650" y="11383570"/>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52" name="Freeform 177">
                  <a:extLst>
                    <a:ext uri="{FF2B5EF4-FFF2-40B4-BE49-F238E27FC236}">
                      <a16:creationId xmlns:a16="http://schemas.microsoft.com/office/drawing/2014/main" id="{D468AF85-83D6-4A02-86DD-50D956644C40}"/>
                    </a:ext>
                  </a:extLst>
                </p:cNvPr>
                <p:cNvSpPr>
                  <a:spLocks/>
                </p:cNvSpPr>
                <p:nvPr/>
              </p:nvSpPr>
              <p:spPr bwMode="auto">
                <a:xfrm>
                  <a:off x="10638565" y="11118583"/>
                  <a:ext cx="2225895" cy="609469"/>
                </a:xfrm>
                <a:custGeom>
                  <a:avLst/>
                  <a:gdLst>
                    <a:gd name="T0" fmla="*/ 6 w 84"/>
                    <a:gd name="T1" fmla="*/ 23 h 23"/>
                    <a:gd name="T2" fmla="*/ 0 w 84"/>
                    <a:gd name="T3" fmla="*/ 12 h 23"/>
                    <a:gd name="T4" fmla="*/ 6 w 84"/>
                    <a:gd name="T5" fmla="*/ 0 h 23"/>
                    <a:gd name="T6" fmla="*/ 78 w 84"/>
                    <a:gd name="T7" fmla="*/ 0 h 23"/>
                    <a:gd name="T8" fmla="*/ 84 w 84"/>
                    <a:gd name="T9" fmla="*/ 12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2"/>
                      </a:lnTo>
                      <a:lnTo>
                        <a:pt x="6" y="0"/>
                      </a:lnTo>
                      <a:lnTo>
                        <a:pt x="78" y="0"/>
                      </a:lnTo>
                      <a:lnTo>
                        <a:pt x="84" y="12"/>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53" name="Rectangle 178">
                  <a:extLst>
                    <a:ext uri="{FF2B5EF4-FFF2-40B4-BE49-F238E27FC236}">
                      <a16:creationId xmlns:a16="http://schemas.microsoft.com/office/drawing/2014/main" id="{83ABE441-1CCB-45B1-945A-D06BF8AD9562}"/>
                    </a:ext>
                  </a:extLst>
                </p:cNvPr>
                <p:cNvSpPr>
                  <a:spLocks noChangeArrowheads="1"/>
                </p:cNvSpPr>
                <p:nvPr/>
              </p:nvSpPr>
              <p:spPr bwMode="auto">
                <a:xfrm>
                  <a:off x="8836650" y="1292049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54" name="Freeform 179">
                  <a:extLst>
                    <a:ext uri="{FF2B5EF4-FFF2-40B4-BE49-F238E27FC236}">
                      <a16:creationId xmlns:a16="http://schemas.microsoft.com/office/drawing/2014/main" id="{23070C1C-BD74-46CB-AE2B-4FFD3B42B8ED}"/>
                    </a:ext>
                  </a:extLst>
                </p:cNvPr>
                <p:cNvSpPr>
                  <a:spLocks/>
                </p:cNvSpPr>
                <p:nvPr/>
              </p:nvSpPr>
              <p:spPr bwMode="auto">
                <a:xfrm>
                  <a:off x="10638565" y="12655506"/>
                  <a:ext cx="2225895" cy="582971"/>
                </a:xfrm>
                <a:custGeom>
                  <a:avLst/>
                  <a:gdLst>
                    <a:gd name="T0" fmla="*/ 6 w 84"/>
                    <a:gd name="T1" fmla="*/ 22 h 22"/>
                    <a:gd name="T2" fmla="*/ 0 w 84"/>
                    <a:gd name="T3" fmla="*/ 11 h 22"/>
                    <a:gd name="T4" fmla="*/ 6 w 84"/>
                    <a:gd name="T5" fmla="*/ 0 h 22"/>
                    <a:gd name="T6" fmla="*/ 78 w 84"/>
                    <a:gd name="T7" fmla="*/ 0 h 22"/>
                    <a:gd name="T8" fmla="*/ 84 w 84"/>
                    <a:gd name="T9" fmla="*/ 11 h 22"/>
                    <a:gd name="T10" fmla="*/ 78 w 84"/>
                    <a:gd name="T11" fmla="*/ 22 h 22"/>
                    <a:gd name="T12" fmla="*/ 6 w 84"/>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84" h="22">
                      <a:moveTo>
                        <a:pt x="6" y="22"/>
                      </a:moveTo>
                      <a:lnTo>
                        <a:pt x="0" y="11"/>
                      </a:lnTo>
                      <a:lnTo>
                        <a:pt x="6" y="0"/>
                      </a:lnTo>
                      <a:lnTo>
                        <a:pt x="78" y="0"/>
                      </a:lnTo>
                      <a:lnTo>
                        <a:pt x="84" y="11"/>
                      </a:lnTo>
                      <a:lnTo>
                        <a:pt x="78" y="22"/>
                      </a:lnTo>
                      <a:lnTo>
                        <a:pt x="6" y="2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nvGrpSpPr>
              <p:cNvPr id="796" name="Group 795">
                <a:extLst>
                  <a:ext uri="{FF2B5EF4-FFF2-40B4-BE49-F238E27FC236}">
                    <a16:creationId xmlns:a16="http://schemas.microsoft.com/office/drawing/2014/main" id="{40CE9CE5-7E0D-4BF9-8485-D8747F480DEE}"/>
                  </a:ext>
                </a:extLst>
              </p:cNvPr>
              <p:cNvGrpSpPr/>
              <p:nvPr/>
            </p:nvGrpSpPr>
            <p:grpSpPr>
              <a:xfrm>
                <a:off x="1549103" y="1396929"/>
                <a:ext cx="385668" cy="1302774"/>
                <a:chOff x="8598161" y="-7907455"/>
                <a:chExt cx="6359701" cy="22894843"/>
              </a:xfrm>
            </p:grpSpPr>
            <p:sp>
              <p:nvSpPr>
                <p:cNvPr id="1006" name="Freeform 135">
                  <a:extLst>
                    <a:ext uri="{FF2B5EF4-FFF2-40B4-BE49-F238E27FC236}">
                      <a16:creationId xmlns:a16="http://schemas.microsoft.com/office/drawing/2014/main" id="{336DBBFD-4302-4DA8-9D71-7F91932700E2}"/>
                    </a:ext>
                  </a:extLst>
                </p:cNvPr>
                <p:cNvSpPr>
                  <a:spLocks/>
                </p:cNvSpPr>
                <p:nvPr/>
              </p:nvSpPr>
              <p:spPr bwMode="auto">
                <a:xfrm>
                  <a:off x="8598161" y="-7907455"/>
                  <a:ext cx="6359701" cy="22894843"/>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7" name="Rectangle 136">
                  <a:extLst>
                    <a:ext uri="{FF2B5EF4-FFF2-40B4-BE49-F238E27FC236}">
                      <a16:creationId xmlns:a16="http://schemas.microsoft.com/office/drawing/2014/main" id="{88B5AD2E-0FE2-4D4A-B262-F741B2DA41F1}"/>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8" name="Rectangle 137">
                  <a:extLst>
                    <a:ext uri="{FF2B5EF4-FFF2-40B4-BE49-F238E27FC236}">
                      <a16:creationId xmlns:a16="http://schemas.microsoft.com/office/drawing/2014/main" id="{64651124-281C-4A9C-9E5D-D896F9ADD7A2}"/>
                    </a:ext>
                  </a:extLst>
                </p:cNvPr>
                <p:cNvSpPr>
                  <a:spLocks noChangeArrowheads="1"/>
                </p:cNvSpPr>
                <p:nvPr/>
              </p:nvSpPr>
              <p:spPr bwMode="auto">
                <a:xfrm>
                  <a:off x="8836650" y="-584056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9" name="Freeform 138">
                  <a:extLst>
                    <a:ext uri="{FF2B5EF4-FFF2-40B4-BE49-F238E27FC236}">
                      <a16:creationId xmlns:a16="http://schemas.microsoft.com/office/drawing/2014/main" id="{13DC8B63-5BBE-40D8-99D0-6FF6F26A934D}"/>
                    </a:ext>
                  </a:extLst>
                </p:cNvPr>
                <p:cNvSpPr>
                  <a:spLocks/>
                </p:cNvSpPr>
                <p:nvPr/>
              </p:nvSpPr>
              <p:spPr bwMode="auto">
                <a:xfrm>
                  <a:off x="13049952" y="-5363584"/>
                  <a:ext cx="1271940" cy="556472"/>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0" name="Rectangle 139">
                  <a:extLst>
                    <a:ext uri="{FF2B5EF4-FFF2-40B4-BE49-F238E27FC236}">
                      <a16:creationId xmlns:a16="http://schemas.microsoft.com/office/drawing/2014/main" id="{49A37D3A-D610-4902-B503-37AF4E6DCF5B}"/>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1" name="Rectangle 140">
                  <a:extLst>
                    <a:ext uri="{FF2B5EF4-FFF2-40B4-BE49-F238E27FC236}">
                      <a16:creationId xmlns:a16="http://schemas.microsoft.com/office/drawing/2014/main" id="{E8560F8C-95CF-4E77-A484-FE8C856E3A5D}"/>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3" name="Freeform 141">
                  <a:extLst>
                    <a:ext uri="{FF2B5EF4-FFF2-40B4-BE49-F238E27FC236}">
                      <a16:creationId xmlns:a16="http://schemas.microsoft.com/office/drawing/2014/main" id="{D852999E-3574-4098-ABDB-A1E1932AE8EB}"/>
                    </a:ext>
                  </a:extLst>
                </p:cNvPr>
                <p:cNvSpPr>
                  <a:spLocks/>
                </p:cNvSpPr>
                <p:nvPr/>
              </p:nvSpPr>
              <p:spPr bwMode="auto">
                <a:xfrm>
                  <a:off x="13049952" y="-3879659"/>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4" name="Rectangle 142">
                  <a:extLst>
                    <a:ext uri="{FF2B5EF4-FFF2-40B4-BE49-F238E27FC236}">
                      <a16:creationId xmlns:a16="http://schemas.microsoft.com/office/drawing/2014/main" id="{9B7A33CF-DD8F-44C5-8D92-88FB6A7C3615}"/>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5" name="Rectangle 143">
                  <a:extLst>
                    <a:ext uri="{FF2B5EF4-FFF2-40B4-BE49-F238E27FC236}">
                      <a16:creationId xmlns:a16="http://schemas.microsoft.com/office/drawing/2014/main" id="{7E903412-5D5F-4FE6-95EF-FADB50B9FD28}"/>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9" name="Freeform 144">
                  <a:extLst>
                    <a:ext uri="{FF2B5EF4-FFF2-40B4-BE49-F238E27FC236}">
                      <a16:creationId xmlns:a16="http://schemas.microsoft.com/office/drawing/2014/main" id="{A9AA11AA-10E5-4995-AE7F-A21E451C2CD6}"/>
                    </a:ext>
                  </a:extLst>
                </p:cNvPr>
                <p:cNvSpPr>
                  <a:spLocks/>
                </p:cNvSpPr>
                <p:nvPr/>
              </p:nvSpPr>
              <p:spPr bwMode="auto">
                <a:xfrm>
                  <a:off x="13049952" y="-2422232"/>
                  <a:ext cx="1271940" cy="529973"/>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2" name="Rectangle 145">
                  <a:extLst>
                    <a:ext uri="{FF2B5EF4-FFF2-40B4-BE49-F238E27FC236}">
                      <a16:creationId xmlns:a16="http://schemas.microsoft.com/office/drawing/2014/main" id="{45ED6E0C-98A3-4E7D-B5E2-9F670FE1B76B}"/>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3" name="Rectangle 146">
                  <a:extLst>
                    <a:ext uri="{FF2B5EF4-FFF2-40B4-BE49-F238E27FC236}">
                      <a16:creationId xmlns:a16="http://schemas.microsoft.com/office/drawing/2014/main" id="{B1D22C12-B6B9-467E-99B6-2A78199BA13D}"/>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4" name="Freeform 147">
                  <a:extLst>
                    <a:ext uri="{FF2B5EF4-FFF2-40B4-BE49-F238E27FC236}">
                      <a16:creationId xmlns:a16="http://schemas.microsoft.com/office/drawing/2014/main" id="{BB0AF5F2-B61B-4D86-960D-4599A2351FF8}"/>
                    </a:ext>
                  </a:extLst>
                </p:cNvPr>
                <p:cNvSpPr>
                  <a:spLocks/>
                </p:cNvSpPr>
                <p:nvPr/>
              </p:nvSpPr>
              <p:spPr bwMode="auto">
                <a:xfrm>
                  <a:off x="13049952" y="-938307"/>
                  <a:ext cx="1271940" cy="476976"/>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03" name="Rectangle 148">
                  <a:extLst>
                    <a:ext uri="{FF2B5EF4-FFF2-40B4-BE49-F238E27FC236}">
                      <a16:creationId xmlns:a16="http://schemas.microsoft.com/office/drawing/2014/main" id="{75019FE2-ADA9-45FB-B6BF-A412EC105107}"/>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06" name="Rectangle 149">
                  <a:extLst>
                    <a:ext uri="{FF2B5EF4-FFF2-40B4-BE49-F238E27FC236}">
                      <a16:creationId xmlns:a16="http://schemas.microsoft.com/office/drawing/2014/main" id="{2E73E5E5-D6AB-488A-AD07-D6FEE95A87EB}"/>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07" name="Freeform 150">
                  <a:extLst>
                    <a:ext uri="{FF2B5EF4-FFF2-40B4-BE49-F238E27FC236}">
                      <a16:creationId xmlns:a16="http://schemas.microsoft.com/office/drawing/2014/main" id="{2C4A77C0-B41B-45B4-85F2-23D437FD64B4}"/>
                    </a:ext>
                  </a:extLst>
                </p:cNvPr>
                <p:cNvSpPr>
                  <a:spLocks/>
                </p:cNvSpPr>
                <p:nvPr/>
              </p:nvSpPr>
              <p:spPr bwMode="auto">
                <a:xfrm>
                  <a:off x="13049952" y="492620"/>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1" name="Rectangle 151">
                  <a:extLst>
                    <a:ext uri="{FF2B5EF4-FFF2-40B4-BE49-F238E27FC236}">
                      <a16:creationId xmlns:a16="http://schemas.microsoft.com/office/drawing/2014/main" id="{69B98CC4-0D3B-49DE-A245-13DC43D266D5}"/>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2" name="Rectangle 152">
                  <a:extLst>
                    <a:ext uri="{FF2B5EF4-FFF2-40B4-BE49-F238E27FC236}">
                      <a16:creationId xmlns:a16="http://schemas.microsoft.com/office/drawing/2014/main" id="{E3CDB9F3-B3F8-4EDD-A1C4-808A2BFAD57D}"/>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3" name="Freeform 153">
                  <a:extLst>
                    <a:ext uri="{FF2B5EF4-FFF2-40B4-BE49-F238E27FC236}">
                      <a16:creationId xmlns:a16="http://schemas.microsoft.com/office/drawing/2014/main" id="{D4D4FF0E-5EED-47FA-89D0-BB00B546F3A9}"/>
                    </a:ext>
                  </a:extLst>
                </p:cNvPr>
                <p:cNvSpPr>
                  <a:spLocks/>
                </p:cNvSpPr>
                <p:nvPr/>
              </p:nvSpPr>
              <p:spPr bwMode="auto">
                <a:xfrm>
                  <a:off x="13049952" y="1976545"/>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4" name="Rectangle 154">
                  <a:extLst>
                    <a:ext uri="{FF2B5EF4-FFF2-40B4-BE49-F238E27FC236}">
                      <a16:creationId xmlns:a16="http://schemas.microsoft.com/office/drawing/2014/main" id="{BF28B853-7335-4552-88C7-63ECA97B59E0}"/>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5" name="Rectangle 155">
                  <a:extLst>
                    <a:ext uri="{FF2B5EF4-FFF2-40B4-BE49-F238E27FC236}">
                      <a16:creationId xmlns:a16="http://schemas.microsoft.com/office/drawing/2014/main" id="{A86E0709-54C0-49DE-915B-8F9986DADF5A}"/>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6" name="Freeform 156">
                  <a:extLst>
                    <a:ext uri="{FF2B5EF4-FFF2-40B4-BE49-F238E27FC236}">
                      <a16:creationId xmlns:a16="http://schemas.microsoft.com/office/drawing/2014/main" id="{6BB45BDE-B612-4C79-933E-F01E25A2C3F6}"/>
                    </a:ext>
                  </a:extLst>
                </p:cNvPr>
                <p:cNvSpPr>
                  <a:spLocks/>
                </p:cNvSpPr>
                <p:nvPr/>
              </p:nvSpPr>
              <p:spPr bwMode="auto">
                <a:xfrm>
                  <a:off x="13049952" y="3407473"/>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7" name="Rectangle 157">
                  <a:extLst>
                    <a:ext uri="{FF2B5EF4-FFF2-40B4-BE49-F238E27FC236}">
                      <a16:creationId xmlns:a16="http://schemas.microsoft.com/office/drawing/2014/main" id="{87ECD377-AB7D-4E8A-91EC-C5A3CBBFB3E4}"/>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8" name="Rectangle 158">
                  <a:extLst>
                    <a:ext uri="{FF2B5EF4-FFF2-40B4-BE49-F238E27FC236}">
                      <a16:creationId xmlns:a16="http://schemas.microsoft.com/office/drawing/2014/main" id="{CD19D035-1196-48F2-ACEE-FF32F66195C5}"/>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9" name="Freeform 159">
                  <a:extLst>
                    <a:ext uri="{FF2B5EF4-FFF2-40B4-BE49-F238E27FC236}">
                      <a16:creationId xmlns:a16="http://schemas.microsoft.com/office/drawing/2014/main" id="{66FF39BD-533C-45EC-B209-6FDDAA77FE42}"/>
                    </a:ext>
                  </a:extLst>
                </p:cNvPr>
                <p:cNvSpPr>
                  <a:spLocks/>
                </p:cNvSpPr>
                <p:nvPr/>
              </p:nvSpPr>
              <p:spPr bwMode="auto">
                <a:xfrm>
                  <a:off x="13049952" y="4891398"/>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0" name="Rectangle 160">
                  <a:extLst>
                    <a:ext uri="{FF2B5EF4-FFF2-40B4-BE49-F238E27FC236}">
                      <a16:creationId xmlns:a16="http://schemas.microsoft.com/office/drawing/2014/main" id="{60D502E9-0158-4378-B038-D84CC9CD13E2}"/>
                    </a:ext>
                  </a:extLst>
                </p:cNvPr>
                <p:cNvSpPr>
                  <a:spLocks noChangeArrowheads="1"/>
                </p:cNvSpPr>
                <p:nvPr/>
              </p:nvSpPr>
              <p:spPr bwMode="auto">
                <a:xfrm>
                  <a:off x="8836650" y="730277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1" name="Rectangle 161">
                  <a:extLst>
                    <a:ext uri="{FF2B5EF4-FFF2-40B4-BE49-F238E27FC236}">
                      <a16:creationId xmlns:a16="http://schemas.microsoft.com/office/drawing/2014/main" id="{495C6C07-075D-4360-A4C6-3FA7023C0580}"/>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2" name="Freeform 162">
                  <a:extLst>
                    <a:ext uri="{FF2B5EF4-FFF2-40B4-BE49-F238E27FC236}">
                      <a16:creationId xmlns:a16="http://schemas.microsoft.com/office/drawing/2014/main" id="{2F60F131-AADE-40C3-BBC3-62FDE3A53F0D}"/>
                    </a:ext>
                  </a:extLst>
                </p:cNvPr>
                <p:cNvSpPr>
                  <a:spLocks/>
                </p:cNvSpPr>
                <p:nvPr/>
              </p:nvSpPr>
              <p:spPr bwMode="auto">
                <a:xfrm>
                  <a:off x="13049952" y="6348824"/>
                  <a:ext cx="1271940" cy="476976"/>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3" name="Freeform 163">
                  <a:extLst>
                    <a:ext uri="{FF2B5EF4-FFF2-40B4-BE49-F238E27FC236}">
                      <a16:creationId xmlns:a16="http://schemas.microsoft.com/office/drawing/2014/main" id="{D7AA8E1B-5D00-46C4-9DA0-19147628E95A}"/>
                    </a:ext>
                  </a:extLst>
                </p:cNvPr>
                <p:cNvSpPr>
                  <a:spLocks noEditPoints="1"/>
                </p:cNvSpPr>
                <p:nvPr/>
              </p:nvSpPr>
              <p:spPr bwMode="auto">
                <a:xfrm>
                  <a:off x="8783652" y="-5840560"/>
                  <a:ext cx="5962220" cy="19820999"/>
                </a:xfrm>
                <a:custGeom>
                  <a:avLst/>
                  <a:gdLst>
                    <a:gd name="T0" fmla="*/ 225 w 225"/>
                    <a:gd name="T1" fmla="*/ 748 h 748"/>
                    <a:gd name="T2" fmla="*/ 0 w 225"/>
                    <a:gd name="T3" fmla="*/ 748 h 748"/>
                    <a:gd name="T4" fmla="*/ 0 w 225"/>
                    <a:gd name="T5" fmla="*/ 0 h 748"/>
                    <a:gd name="T6" fmla="*/ 225 w 225"/>
                    <a:gd name="T7" fmla="*/ 0 h 748"/>
                    <a:gd name="T8" fmla="*/ 225 w 225"/>
                    <a:gd name="T9" fmla="*/ 748 h 748"/>
                    <a:gd name="T10" fmla="*/ 3 w 225"/>
                    <a:gd name="T11" fmla="*/ 743 h 748"/>
                    <a:gd name="T12" fmla="*/ 221 w 225"/>
                    <a:gd name="T13" fmla="*/ 743 h 748"/>
                    <a:gd name="T14" fmla="*/ 221 w 225"/>
                    <a:gd name="T15" fmla="*/ 4 h 748"/>
                    <a:gd name="T16" fmla="*/ 3 w 225"/>
                    <a:gd name="T17" fmla="*/ 4 h 748"/>
                    <a:gd name="T18" fmla="*/ 3 w 225"/>
                    <a:gd name="T19" fmla="*/ 74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748">
                      <a:moveTo>
                        <a:pt x="225" y="748"/>
                      </a:moveTo>
                      <a:lnTo>
                        <a:pt x="0" y="748"/>
                      </a:lnTo>
                      <a:lnTo>
                        <a:pt x="0" y="0"/>
                      </a:lnTo>
                      <a:lnTo>
                        <a:pt x="225" y="0"/>
                      </a:lnTo>
                      <a:lnTo>
                        <a:pt x="225" y="748"/>
                      </a:lnTo>
                      <a:close/>
                      <a:moveTo>
                        <a:pt x="3" y="743"/>
                      </a:moveTo>
                      <a:lnTo>
                        <a:pt x="221" y="743"/>
                      </a:lnTo>
                      <a:lnTo>
                        <a:pt x="221" y="4"/>
                      </a:lnTo>
                      <a:lnTo>
                        <a:pt x="3" y="4"/>
                      </a:lnTo>
                      <a:lnTo>
                        <a:pt x="3" y="7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4" name="Freeform 164">
                  <a:extLst>
                    <a:ext uri="{FF2B5EF4-FFF2-40B4-BE49-F238E27FC236}">
                      <a16:creationId xmlns:a16="http://schemas.microsoft.com/office/drawing/2014/main" id="{27277ADF-B500-404F-AEFD-14FDF7F72E6C}"/>
                    </a:ext>
                  </a:extLst>
                </p:cNvPr>
                <p:cNvSpPr>
                  <a:spLocks/>
                </p:cNvSpPr>
                <p:nvPr/>
              </p:nvSpPr>
              <p:spPr bwMode="auto">
                <a:xfrm>
                  <a:off x="8783652" y="-6450029"/>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5" name="Freeform 165">
                  <a:extLst>
                    <a:ext uri="{FF2B5EF4-FFF2-40B4-BE49-F238E27FC236}">
                      <a16:creationId xmlns:a16="http://schemas.microsoft.com/office/drawing/2014/main" id="{C7FBE7F9-74AA-40C9-BA7B-E81ABCC66B20}"/>
                    </a:ext>
                  </a:extLst>
                </p:cNvPr>
                <p:cNvSpPr>
                  <a:spLocks/>
                </p:cNvSpPr>
                <p:nvPr/>
              </p:nvSpPr>
              <p:spPr bwMode="auto">
                <a:xfrm>
                  <a:off x="8783652" y="-6768013"/>
                  <a:ext cx="2013905" cy="132493"/>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6" name="Freeform 166">
                  <a:extLst>
                    <a:ext uri="{FF2B5EF4-FFF2-40B4-BE49-F238E27FC236}">
                      <a16:creationId xmlns:a16="http://schemas.microsoft.com/office/drawing/2014/main" id="{8CACFB1C-83B7-48D5-80B6-CD1EF96D1159}"/>
                    </a:ext>
                  </a:extLst>
                </p:cNvPr>
                <p:cNvSpPr>
                  <a:spLocks/>
                </p:cNvSpPr>
                <p:nvPr/>
              </p:nvSpPr>
              <p:spPr bwMode="auto">
                <a:xfrm>
                  <a:off x="8783652" y="-7059498"/>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7" name="Freeform 167">
                  <a:extLst>
                    <a:ext uri="{FF2B5EF4-FFF2-40B4-BE49-F238E27FC236}">
                      <a16:creationId xmlns:a16="http://schemas.microsoft.com/office/drawing/2014/main" id="{F4C52946-8A73-4C1A-AC1A-CB7294B4A319}"/>
                    </a:ext>
                  </a:extLst>
                </p:cNvPr>
                <p:cNvSpPr>
                  <a:spLocks/>
                </p:cNvSpPr>
                <p:nvPr/>
              </p:nvSpPr>
              <p:spPr bwMode="auto">
                <a:xfrm>
                  <a:off x="8783652" y="-7350983"/>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8" name="Freeform 168">
                  <a:extLst>
                    <a:ext uri="{FF2B5EF4-FFF2-40B4-BE49-F238E27FC236}">
                      <a16:creationId xmlns:a16="http://schemas.microsoft.com/office/drawing/2014/main" id="{7C6173C2-B3EF-48BB-9721-1D30A1F25DC4}"/>
                    </a:ext>
                  </a:extLst>
                </p:cNvPr>
                <p:cNvSpPr>
                  <a:spLocks/>
                </p:cNvSpPr>
                <p:nvPr/>
              </p:nvSpPr>
              <p:spPr bwMode="auto">
                <a:xfrm>
                  <a:off x="12705468" y="-6450029"/>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9" name="Freeform 169">
                  <a:extLst>
                    <a:ext uri="{FF2B5EF4-FFF2-40B4-BE49-F238E27FC236}">
                      <a16:creationId xmlns:a16="http://schemas.microsoft.com/office/drawing/2014/main" id="{5526C297-F01F-4ADE-BED2-933D0580D9D0}"/>
                    </a:ext>
                  </a:extLst>
                </p:cNvPr>
                <p:cNvSpPr>
                  <a:spLocks/>
                </p:cNvSpPr>
                <p:nvPr/>
              </p:nvSpPr>
              <p:spPr bwMode="auto">
                <a:xfrm>
                  <a:off x="12705468" y="-6768013"/>
                  <a:ext cx="2040404" cy="132493"/>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0" name="Freeform 170">
                  <a:extLst>
                    <a:ext uri="{FF2B5EF4-FFF2-40B4-BE49-F238E27FC236}">
                      <a16:creationId xmlns:a16="http://schemas.microsoft.com/office/drawing/2014/main" id="{BA14F4F6-C563-4ABD-8E97-64CC5DD91DCB}"/>
                    </a:ext>
                  </a:extLst>
                </p:cNvPr>
                <p:cNvSpPr>
                  <a:spLocks/>
                </p:cNvSpPr>
                <p:nvPr/>
              </p:nvSpPr>
              <p:spPr bwMode="auto">
                <a:xfrm>
                  <a:off x="12705468" y="-7059498"/>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1" name="Freeform 171">
                  <a:extLst>
                    <a:ext uri="{FF2B5EF4-FFF2-40B4-BE49-F238E27FC236}">
                      <a16:creationId xmlns:a16="http://schemas.microsoft.com/office/drawing/2014/main" id="{0EA54A65-7169-4645-9C57-48D35C0E8206}"/>
                    </a:ext>
                  </a:extLst>
                </p:cNvPr>
                <p:cNvSpPr>
                  <a:spLocks/>
                </p:cNvSpPr>
                <p:nvPr/>
              </p:nvSpPr>
              <p:spPr bwMode="auto">
                <a:xfrm>
                  <a:off x="12705468" y="-7350983"/>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2" name="Rectangle 172">
                  <a:extLst>
                    <a:ext uri="{FF2B5EF4-FFF2-40B4-BE49-F238E27FC236}">
                      <a16:creationId xmlns:a16="http://schemas.microsoft.com/office/drawing/2014/main" id="{4B1053D5-97E5-4B89-B015-D9A00C8B6C4F}"/>
                    </a:ext>
                  </a:extLst>
                </p:cNvPr>
                <p:cNvSpPr>
                  <a:spLocks noChangeArrowheads="1"/>
                </p:cNvSpPr>
                <p:nvPr/>
              </p:nvSpPr>
              <p:spPr bwMode="auto">
                <a:xfrm>
                  <a:off x="8836650" y="8362723"/>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3" name="Freeform 173">
                  <a:extLst>
                    <a:ext uri="{FF2B5EF4-FFF2-40B4-BE49-F238E27FC236}">
                      <a16:creationId xmlns:a16="http://schemas.microsoft.com/office/drawing/2014/main" id="{15D3E654-743B-4A40-B0D8-DCCDCA4092C0}"/>
                    </a:ext>
                  </a:extLst>
                </p:cNvPr>
                <p:cNvSpPr>
                  <a:spLocks/>
                </p:cNvSpPr>
                <p:nvPr/>
              </p:nvSpPr>
              <p:spPr bwMode="auto">
                <a:xfrm>
                  <a:off x="10638565" y="8097736"/>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4" name="Rectangle 174">
                  <a:extLst>
                    <a:ext uri="{FF2B5EF4-FFF2-40B4-BE49-F238E27FC236}">
                      <a16:creationId xmlns:a16="http://schemas.microsoft.com/office/drawing/2014/main" id="{24D33574-1EA2-4148-B0D0-0399A59D12EB}"/>
                    </a:ext>
                  </a:extLst>
                </p:cNvPr>
                <p:cNvSpPr>
                  <a:spLocks noChangeArrowheads="1"/>
                </p:cNvSpPr>
                <p:nvPr/>
              </p:nvSpPr>
              <p:spPr bwMode="auto">
                <a:xfrm>
                  <a:off x="8836650" y="987314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5" name="Freeform 175">
                  <a:extLst>
                    <a:ext uri="{FF2B5EF4-FFF2-40B4-BE49-F238E27FC236}">
                      <a16:creationId xmlns:a16="http://schemas.microsoft.com/office/drawing/2014/main" id="{0CF5ABC7-D76E-4B4F-B010-B5B514D144AD}"/>
                    </a:ext>
                  </a:extLst>
                </p:cNvPr>
                <p:cNvSpPr>
                  <a:spLocks/>
                </p:cNvSpPr>
                <p:nvPr/>
              </p:nvSpPr>
              <p:spPr bwMode="auto">
                <a:xfrm>
                  <a:off x="10638565" y="9608160"/>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6" name="Rectangle 176">
                  <a:extLst>
                    <a:ext uri="{FF2B5EF4-FFF2-40B4-BE49-F238E27FC236}">
                      <a16:creationId xmlns:a16="http://schemas.microsoft.com/office/drawing/2014/main" id="{B96A69AD-8C95-4620-931F-8182AD9C6725}"/>
                    </a:ext>
                  </a:extLst>
                </p:cNvPr>
                <p:cNvSpPr>
                  <a:spLocks noChangeArrowheads="1"/>
                </p:cNvSpPr>
                <p:nvPr/>
              </p:nvSpPr>
              <p:spPr bwMode="auto">
                <a:xfrm>
                  <a:off x="8836650" y="11383570"/>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7" name="Freeform 177">
                  <a:extLst>
                    <a:ext uri="{FF2B5EF4-FFF2-40B4-BE49-F238E27FC236}">
                      <a16:creationId xmlns:a16="http://schemas.microsoft.com/office/drawing/2014/main" id="{DABAB08F-D8B9-42B1-BC7D-4D0292B98A6A}"/>
                    </a:ext>
                  </a:extLst>
                </p:cNvPr>
                <p:cNvSpPr>
                  <a:spLocks/>
                </p:cNvSpPr>
                <p:nvPr/>
              </p:nvSpPr>
              <p:spPr bwMode="auto">
                <a:xfrm>
                  <a:off x="10638565" y="11118583"/>
                  <a:ext cx="2225895" cy="609469"/>
                </a:xfrm>
                <a:custGeom>
                  <a:avLst/>
                  <a:gdLst>
                    <a:gd name="T0" fmla="*/ 6 w 84"/>
                    <a:gd name="T1" fmla="*/ 23 h 23"/>
                    <a:gd name="T2" fmla="*/ 0 w 84"/>
                    <a:gd name="T3" fmla="*/ 12 h 23"/>
                    <a:gd name="T4" fmla="*/ 6 w 84"/>
                    <a:gd name="T5" fmla="*/ 0 h 23"/>
                    <a:gd name="T6" fmla="*/ 78 w 84"/>
                    <a:gd name="T7" fmla="*/ 0 h 23"/>
                    <a:gd name="T8" fmla="*/ 84 w 84"/>
                    <a:gd name="T9" fmla="*/ 12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2"/>
                      </a:lnTo>
                      <a:lnTo>
                        <a:pt x="6" y="0"/>
                      </a:lnTo>
                      <a:lnTo>
                        <a:pt x="78" y="0"/>
                      </a:lnTo>
                      <a:lnTo>
                        <a:pt x="84" y="12"/>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8" name="Rectangle 178">
                  <a:extLst>
                    <a:ext uri="{FF2B5EF4-FFF2-40B4-BE49-F238E27FC236}">
                      <a16:creationId xmlns:a16="http://schemas.microsoft.com/office/drawing/2014/main" id="{0BC6E6F7-677A-4E13-B5A5-771B4D10BB57}"/>
                    </a:ext>
                  </a:extLst>
                </p:cNvPr>
                <p:cNvSpPr>
                  <a:spLocks noChangeArrowheads="1"/>
                </p:cNvSpPr>
                <p:nvPr/>
              </p:nvSpPr>
              <p:spPr bwMode="auto">
                <a:xfrm>
                  <a:off x="8836650" y="1292049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9" name="Freeform 179">
                  <a:extLst>
                    <a:ext uri="{FF2B5EF4-FFF2-40B4-BE49-F238E27FC236}">
                      <a16:creationId xmlns:a16="http://schemas.microsoft.com/office/drawing/2014/main" id="{88F768B1-504D-4575-9E27-81CADAEDD236}"/>
                    </a:ext>
                  </a:extLst>
                </p:cNvPr>
                <p:cNvSpPr>
                  <a:spLocks/>
                </p:cNvSpPr>
                <p:nvPr/>
              </p:nvSpPr>
              <p:spPr bwMode="auto">
                <a:xfrm>
                  <a:off x="10638565" y="12655506"/>
                  <a:ext cx="2225895" cy="582971"/>
                </a:xfrm>
                <a:custGeom>
                  <a:avLst/>
                  <a:gdLst>
                    <a:gd name="T0" fmla="*/ 6 w 84"/>
                    <a:gd name="T1" fmla="*/ 22 h 22"/>
                    <a:gd name="T2" fmla="*/ 0 w 84"/>
                    <a:gd name="T3" fmla="*/ 11 h 22"/>
                    <a:gd name="T4" fmla="*/ 6 w 84"/>
                    <a:gd name="T5" fmla="*/ 0 h 22"/>
                    <a:gd name="T6" fmla="*/ 78 w 84"/>
                    <a:gd name="T7" fmla="*/ 0 h 22"/>
                    <a:gd name="T8" fmla="*/ 84 w 84"/>
                    <a:gd name="T9" fmla="*/ 11 h 22"/>
                    <a:gd name="T10" fmla="*/ 78 w 84"/>
                    <a:gd name="T11" fmla="*/ 22 h 22"/>
                    <a:gd name="T12" fmla="*/ 6 w 84"/>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84" h="22">
                      <a:moveTo>
                        <a:pt x="6" y="22"/>
                      </a:moveTo>
                      <a:lnTo>
                        <a:pt x="0" y="11"/>
                      </a:lnTo>
                      <a:lnTo>
                        <a:pt x="6" y="0"/>
                      </a:lnTo>
                      <a:lnTo>
                        <a:pt x="78" y="0"/>
                      </a:lnTo>
                      <a:lnTo>
                        <a:pt x="84" y="11"/>
                      </a:lnTo>
                      <a:lnTo>
                        <a:pt x="78" y="22"/>
                      </a:lnTo>
                      <a:lnTo>
                        <a:pt x="6" y="2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nvGrpSpPr>
              <p:cNvPr id="798" name="Group 797">
                <a:extLst>
                  <a:ext uri="{FF2B5EF4-FFF2-40B4-BE49-F238E27FC236}">
                    <a16:creationId xmlns:a16="http://schemas.microsoft.com/office/drawing/2014/main" id="{A7F66727-72A0-436E-81A5-EBA83AF54851}"/>
                  </a:ext>
                </a:extLst>
              </p:cNvPr>
              <p:cNvGrpSpPr/>
              <p:nvPr/>
            </p:nvGrpSpPr>
            <p:grpSpPr>
              <a:xfrm>
                <a:off x="1390549" y="1821470"/>
                <a:ext cx="405323" cy="923333"/>
                <a:chOff x="5452032" y="2483904"/>
                <a:chExt cx="1786968" cy="4070743"/>
              </a:xfrm>
            </p:grpSpPr>
            <p:sp>
              <p:nvSpPr>
                <p:cNvPr id="865" name="Rectangle 864">
                  <a:extLst>
                    <a:ext uri="{FF2B5EF4-FFF2-40B4-BE49-F238E27FC236}">
                      <a16:creationId xmlns:a16="http://schemas.microsoft.com/office/drawing/2014/main" id="{21497EE0-991D-4EC0-99DE-0BDEE551CC6A}"/>
                    </a:ext>
                  </a:extLst>
                </p:cNvPr>
                <p:cNvSpPr/>
                <p:nvPr/>
              </p:nvSpPr>
              <p:spPr>
                <a:xfrm>
                  <a:off x="5510904" y="2874006"/>
                  <a:ext cx="55268" cy="870386"/>
                </a:xfrm>
                <a:prstGeom prst="rect">
                  <a:avLst/>
                </a:prstGeom>
                <a:solidFill>
                  <a:srgbClr val="002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ＭＳ Ｐゴシック" charset="0"/>
                  </a:endParaRPr>
                </a:p>
              </p:txBody>
            </p:sp>
            <p:grpSp>
              <p:nvGrpSpPr>
                <p:cNvPr id="866" name="Group 865">
                  <a:extLst>
                    <a:ext uri="{FF2B5EF4-FFF2-40B4-BE49-F238E27FC236}">
                      <a16:creationId xmlns:a16="http://schemas.microsoft.com/office/drawing/2014/main" id="{65F15AC0-4E61-483D-A0FD-BA755D52A9B0}"/>
                    </a:ext>
                  </a:extLst>
                </p:cNvPr>
                <p:cNvGrpSpPr/>
                <p:nvPr/>
              </p:nvGrpSpPr>
              <p:grpSpPr>
                <a:xfrm>
                  <a:off x="5687868" y="3479198"/>
                  <a:ext cx="1198531" cy="895978"/>
                  <a:chOff x="5489670" y="4463249"/>
                  <a:chExt cx="734517" cy="549098"/>
                </a:xfrm>
              </p:grpSpPr>
              <p:sp>
                <p:nvSpPr>
                  <p:cNvPr id="1004" name="Freeform 30">
                    <a:extLst>
                      <a:ext uri="{FF2B5EF4-FFF2-40B4-BE49-F238E27FC236}">
                        <a16:creationId xmlns:a16="http://schemas.microsoft.com/office/drawing/2014/main" id="{351585E6-0FD9-49CD-AB3C-B28AEA54EE30}"/>
                      </a:ext>
                    </a:extLst>
                  </p:cNvPr>
                  <p:cNvSpPr>
                    <a:spLocks/>
                  </p:cNvSpPr>
                  <p:nvPr/>
                </p:nvSpPr>
                <p:spPr bwMode="auto">
                  <a:xfrm rot="890892" flipH="1">
                    <a:off x="5489670" y="4516323"/>
                    <a:ext cx="261476" cy="246948"/>
                  </a:xfrm>
                  <a:custGeom>
                    <a:avLst/>
                    <a:gdLst>
                      <a:gd name="T0" fmla="*/ 97 w 97"/>
                      <a:gd name="T1" fmla="*/ 41 h 91"/>
                      <a:gd name="T2" fmla="*/ 93 w 97"/>
                      <a:gd name="T3" fmla="*/ 35 h 91"/>
                      <a:gd name="T4" fmla="*/ 95 w 97"/>
                      <a:gd name="T5" fmla="*/ 32 h 91"/>
                      <a:gd name="T6" fmla="*/ 88 w 97"/>
                      <a:gd name="T7" fmla="*/ 25 h 91"/>
                      <a:gd name="T8" fmla="*/ 78 w 97"/>
                      <a:gd name="T9" fmla="*/ 25 h 91"/>
                      <a:gd name="T10" fmla="*/ 63 w 97"/>
                      <a:gd name="T11" fmla="*/ 22 h 91"/>
                      <a:gd name="T12" fmla="*/ 77 w 97"/>
                      <a:gd name="T13" fmla="*/ 14 h 91"/>
                      <a:gd name="T14" fmla="*/ 77 w 97"/>
                      <a:gd name="T15" fmla="*/ 0 h 91"/>
                      <a:gd name="T16" fmla="*/ 44 w 97"/>
                      <a:gd name="T17" fmla="*/ 17 h 91"/>
                      <a:gd name="T18" fmla="*/ 34 w 97"/>
                      <a:gd name="T19" fmla="*/ 39 h 91"/>
                      <a:gd name="T20" fmla="*/ 34 w 97"/>
                      <a:gd name="T21" fmla="*/ 39 h 91"/>
                      <a:gd name="T22" fmla="*/ 0 w 97"/>
                      <a:gd name="T23" fmla="*/ 54 h 91"/>
                      <a:gd name="T24" fmla="*/ 17 w 97"/>
                      <a:gd name="T25" fmla="*/ 91 h 91"/>
                      <a:gd name="T26" fmla="*/ 64 w 97"/>
                      <a:gd name="T27" fmla="*/ 67 h 91"/>
                      <a:gd name="T28" fmla="*/ 79 w 97"/>
                      <a:gd name="T29" fmla="*/ 67 h 91"/>
                      <a:gd name="T30" fmla="*/ 86 w 97"/>
                      <a:gd name="T31" fmla="*/ 61 h 91"/>
                      <a:gd name="T32" fmla="*/ 85 w 97"/>
                      <a:gd name="T33" fmla="*/ 58 h 91"/>
                      <a:gd name="T34" fmla="*/ 91 w 97"/>
                      <a:gd name="T35" fmla="*/ 51 h 91"/>
                      <a:gd name="T36" fmla="*/ 90 w 97"/>
                      <a:gd name="T37" fmla="*/ 48 h 91"/>
                      <a:gd name="T38" fmla="*/ 90 w 97"/>
                      <a:gd name="T39" fmla="*/ 48 h 91"/>
                      <a:gd name="T40" fmla="*/ 97 w 97"/>
                      <a:gd name="T4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91">
                        <a:moveTo>
                          <a:pt x="97" y="41"/>
                        </a:moveTo>
                        <a:cubicBezTo>
                          <a:pt x="97" y="39"/>
                          <a:pt x="95" y="37"/>
                          <a:pt x="93" y="35"/>
                        </a:cubicBezTo>
                        <a:cubicBezTo>
                          <a:pt x="94" y="34"/>
                          <a:pt x="95" y="33"/>
                          <a:pt x="95" y="32"/>
                        </a:cubicBezTo>
                        <a:cubicBezTo>
                          <a:pt x="95" y="28"/>
                          <a:pt x="92" y="25"/>
                          <a:pt x="88" y="25"/>
                        </a:cubicBezTo>
                        <a:cubicBezTo>
                          <a:pt x="78" y="25"/>
                          <a:pt x="78" y="25"/>
                          <a:pt x="78" y="25"/>
                        </a:cubicBezTo>
                        <a:cubicBezTo>
                          <a:pt x="63" y="22"/>
                          <a:pt x="63" y="22"/>
                          <a:pt x="63" y="22"/>
                        </a:cubicBezTo>
                        <a:cubicBezTo>
                          <a:pt x="77" y="14"/>
                          <a:pt x="77" y="14"/>
                          <a:pt x="77" y="14"/>
                        </a:cubicBezTo>
                        <a:cubicBezTo>
                          <a:pt x="77" y="14"/>
                          <a:pt x="85" y="5"/>
                          <a:pt x="77" y="0"/>
                        </a:cubicBezTo>
                        <a:cubicBezTo>
                          <a:pt x="52" y="15"/>
                          <a:pt x="52" y="11"/>
                          <a:pt x="44" y="17"/>
                        </a:cubicBezTo>
                        <a:cubicBezTo>
                          <a:pt x="36" y="23"/>
                          <a:pt x="33" y="34"/>
                          <a:pt x="34" y="39"/>
                        </a:cubicBezTo>
                        <a:cubicBezTo>
                          <a:pt x="34" y="39"/>
                          <a:pt x="34" y="39"/>
                          <a:pt x="34" y="39"/>
                        </a:cubicBezTo>
                        <a:cubicBezTo>
                          <a:pt x="0" y="54"/>
                          <a:pt x="0" y="54"/>
                          <a:pt x="0" y="54"/>
                        </a:cubicBezTo>
                        <a:cubicBezTo>
                          <a:pt x="17" y="91"/>
                          <a:pt x="17" y="91"/>
                          <a:pt x="17" y="91"/>
                        </a:cubicBezTo>
                        <a:cubicBezTo>
                          <a:pt x="64" y="67"/>
                          <a:pt x="64" y="67"/>
                          <a:pt x="64" y="67"/>
                        </a:cubicBezTo>
                        <a:cubicBezTo>
                          <a:pt x="79" y="67"/>
                          <a:pt x="79" y="67"/>
                          <a:pt x="79" y="67"/>
                        </a:cubicBezTo>
                        <a:cubicBezTo>
                          <a:pt x="82" y="67"/>
                          <a:pt x="85" y="64"/>
                          <a:pt x="86" y="61"/>
                        </a:cubicBezTo>
                        <a:cubicBezTo>
                          <a:pt x="86" y="60"/>
                          <a:pt x="85" y="58"/>
                          <a:pt x="85" y="58"/>
                        </a:cubicBezTo>
                        <a:cubicBezTo>
                          <a:pt x="88" y="57"/>
                          <a:pt x="91" y="55"/>
                          <a:pt x="91" y="51"/>
                        </a:cubicBezTo>
                        <a:cubicBezTo>
                          <a:pt x="91" y="50"/>
                          <a:pt x="90" y="49"/>
                          <a:pt x="90" y="48"/>
                        </a:cubicBezTo>
                        <a:cubicBezTo>
                          <a:pt x="90" y="48"/>
                          <a:pt x="90" y="48"/>
                          <a:pt x="90" y="48"/>
                        </a:cubicBezTo>
                        <a:cubicBezTo>
                          <a:pt x="93" y="48"/>
                          <a:pt x="96" y="45"/>
                          <a:pt x="97" y="4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005" name="Freeform 31">
                    <a:extLst>
                      <a:ext uri="{FF2B5EF4-FFF2-40B4-BE49-F238E27FC236}">
                        <a16:creationId xmlns:a16="http://schemas.microsoft.com/office/drawing/2014/main" id="{CF0417A0-FD5D-4FDC-B7B1-AD59336A00D8}"/>
                      </a:ext>
                    </a:extLst>
                  </p:cNvPr>
                  <p:cNvSpPr>
                    <a:spLocks/>
                  </p:cNvSpPr>
                  <p:nvPr/>
                </p:nvSpPr>
                <p:spPr bwMode="auto">
                  <a:xfrm rot="890892" flipH="1">
                    <a:off x="5619888" y="4463249"/>
                    <a:ext cx="604299" cy="549098"/>
                  </a:xfrm>
                  <a:custGeom>
                    <a:avLst/>
                    <a:gdLst>
                      <a:gd name="T0" fmla="*/ 198 w 223"/>
                      <a:gd name="T1" fmla="*/ 92 h 203"/>
                      <a:gd name="T2" fmla="*/ 123 w 223"/>
                      <a:gd name="T3" fmla="*/ 125 h 203"/>
                      <a:gd name="T4" fmla="*/ 62 w 223"/>
                      <a:gd name="T5" fmla="*/ 20 h 203"/>
                      <a:gd name="T6" fmla="*/ 20 w 223"/>
                      <a:gd name="T7" fmla="*/ 8 h 203"/>
                      <a:gd name="T8" fmla="*/ 9 w 223"/>
                      <a:gd name="T9" fmla="*/ 51 h 203"/>
                      <a:gd name="T10" fmla="*/ 88 w 223"/>
                      <a:gd name="T11" fmla="*/ 188 h 203"/>
                      <a:gd name="T12" fmla="*/ 110 w 223"/>
                      <a:gd name="T13" fmla="*/ 203 h 203"/>
                      <a:gd name="T14" fmla="*/ 114 w 223"/>
                      <a:gd name="T15" fmla="*/ 203 h 203"/>
                      <a:gd name="T16" fmla="*/ 135 w 223"/>
                      <a:gd name="T17" fmla="*/ 196 h 203"/>
                      <a:gd name="T18" fmla="*/ 223 w 223"/>
                      <a:gd name="T19" fmla="*/ 131 h 203"/>
                      <a:gd name="T20" fmla="*/ 198 w 223"/>
                      <a:gd name="T21" fmla="*/ 9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03">
                        <a:moveTo>
                          <a:pt x="198" y="92"/>
                        </a:moveTo>
                        <a:cubicBezTo>
                          <a:pt x="123" y="125"/>
                          <a:pt x="123" y="125"/>
                          <a:pt x="123" y="125"/>
                        </a:cubicBezTo>
                        <a:cubicBezTo>
                          <a:pt x="62" y="20"/>
                          <a:pt x="62" y="20"/>
                          <a:pt x="62" y="20"/>
                        </a:cubicBezTo>
                        <a:cubicBezTo>
                          <a:pt x="53" y="5"/>
                          <a:pt x="34" y="0"/>
                          <a:pt x="20" y="8"/>
                        </a:cubicBezTo>
                        <a:cubicBezTo>
                          <a:pt x="5" y="17"/>
                          <a:pt x="0" y="36"/>
                          <a:pt x="9" y="51"/>
                        </a:cubicBezTo>
                        <a:cubicBezTo>
                          <a:pt x="88" y="188"/>
                          <a:pt x="88" y="188"/>
                          <a:pt x="88" y="188"/>
                        </a:cubicBezTo>
                        <a:cubicBezTo>
                          <a:pt x="93" y="196"/>
                          <a:pt x="101" y="201"/>
                          <a:pt x="110" y="203"/>
                        </a:cubicBezTo>
                        <a:cubicBezTo>
                          <a:pt x="111" y="203"/>
                          <a:pt x="113" y="203"/>
                          <a:pt x="114" y="203"/>
                        </a:cubicBezTo>
                        <a:cubicBezTo>
                          <a:pt x="122" y="203"/>
                          <a:pt x="129" y="201"/>
                          <a:pt x="135" y="196"/>
                        </a:cubicBezTo>
                        <a:cubicBezTo>
                          <a:pt x="135" y="196"/>
                          <a:pt x="222" y="131"/>
                          <a:pt x="223" y="131"/>
                        </a:cubicBezTo>
                        <a:cubicBezTo>
                          <a:pt x="198" y="92"/>
                          <a:pt x="198" y="92"/>
                          <a:pt x="198" y="92"/>
                        </a:cubicBezTo>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grpSp>
            <p:sp>
              <p:nvSpPr>
                <p:cNvPr id="867" name="Trapezoid 866">
                  <a:extLst>
                    <a:ext uri="{FF2B5EF4-FFF2-40B4-BE49-F238E27FC236}">
                      <a16:creationId xmlns:a16="http://schemas.microsoft.com/office/drawing/2014/main" id="{58CC4D03-3B7B-45A2-BCBC-0864EA058A42}"/>
                    </a:ext>
                  </a:extLst>
                </p:cNvPr>
                <p:cNvSpPr/>
                <p:nvPr/>
              </p:nvSpPr>
              <p:spPr>
                <a:xfrm rot="5400000">
                  <a:off x="5244347" y="3195833"/>
                  <a:ext cx="914400" cy="270747"/>
                </a:xfrm>
                <a:prstGeom prst="trapezoid">
                  <a:avLst>
                    <a:gd name="adj" fmla="val 43593"/>
                  </a:avLst>
                </a:prstGeom>
                <a:solidFill>
                  <a:srgbClr val="002050">
                    <a:lumMod val="90000"/>
                    <a:lumOff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ＭＳ Ｐゴシック" charset="0"/>
                  </a:endParaRPr>
                </a:p>
              </p:txBody>
            </p:sp>
            <p:sp>
              <p:nvSpPr>
                <p:cNvPr id="868" name="Freeform 13">
                  <a:extLst>
                    <a:ext uri="{FF2B5EF4-FFF2-40B4-BE49-F238E27FC236}">
                      <a16:creationId xmlns:a16="http://schemas.microsoft.com/office/drawing/2014/main" id="{2E05C9E5-2EFE-4560-B0D7-FBE41FB876E7}"/>
                    </a:ext>
                  </a:extLst>
                </p:cNvPr>
                <p:cNvSpPr>
                  <a:spLocks/>
                </p:cNvSpPr>
                <p:nvPr/>
              </p:nvSpPr>
              <p:spPr bwMode="auto">
                <a:xfrm flipH="1">
                  <a:off x="6207498" y="5265283"/>
                  <a:ext cx="386819" cy="902556"/>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FFFFFF">
                    <a:lumMod val="6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71" name="Freeform 14">
                  <a:extLst>
                    <a:ext uri="{FF2B5EF4-FFF2-40B4-BE49-F238E27FC236}">
                      <a16:creationId xmlns:a16="http://schemas.microsoft.com/office/drawing/2014/main" id="{7784B53C-1B98-433F-9028-CB189DB80EC9}"/>
                    </a:ext>
                  </a:extLst>
                </p:cNvPr>
                <p:cNvSpPr>
                  <a:spLocks/>
                </p:cNvSpPr>
                <p:nvPr/>
              </p:nvSpPr>
              <p:spPr bwMode="auto">
                <a:xfrm flipH="1">
                  <a:off x="6207497" y="5265283"/>
                  <a:ext cx="165784" cy="902556"/>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FFFFFF">
                    <a:lumMod val="8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94" name="Freeform 15">
                  <a:extLst>
                    <a:ext uri="{FF2B5EF4-FFF2-40B4-BE49-F238E27FC236}">
                      <a16:creationId xmlns:a16="http://schemas.microsoft.com/office/drawing/2014/main" id="{6CD17CB2-2291-4E95-AB63-B18AC244C181}"/>
                    </a:ext>
                  </a:extLst>
                </p:cNvPr>
                <p:cNvSpPr>
                  <a:spLocks/>
                </p:cNvSpPr>
                <p:nvPr/>
              </p:nvSpPr>
              <p:spPr bwMode="auto">
                <a:xfrm flipH="1">
                  <a:off x="6520639" y="5265283"/>
                  <a:ext cx="73679" cy="902556"/>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76" name="Freeform 16">
                  <a:extLst>
                    <a:ext uri="{FF2B5EF4-FFF2-40B4-BE49-F238E27FC236}">
                      <a16:creationId xmlns:a16="http://schemas.microsoft.com/office/drawing/2014/main" id="{FC74874C-9279-4E89-9C5D-E6643CC94953}"/>
                    </a:ext>
                  </a:extLst>
                </p:cNvPr>
                <p:cNvSpPr>
                  <a:spLocks/>
                </p:cNvSpPr>
                <p:nvPr/>
              </p:nvSpPr>
              <p:spPr bwMode="auto">
                <a:xfrm flipH="1">
                  <a:off x="6189072" y="5983643"/>
                  <a:ext cx="386819" cy="552592"/>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77" name="Freeform 17">
                  <a:extLst>
                    <a:ext uri="{FF2B5EF4-FFF2-40B4-BE49-F238E27FC236}">
                      <a16:creationId xmlns:a16="http://schemas.microsoft.com/office/drawing/2014/main" id="{8EE3A798-66EE-4A34-846E-A877C8AE6B92}"/>
                    </a:ext>
                  </a:extLst>
                </p:cNvPr>
                <p:cNvSpPr>
                  <a:spLocks/>
                </p:cNvSpPr>
                <p:nvPr/>
              </p:nvSpPr>
              <p:spPr bwMode="auto">
                <a:xfrm flipH="1">
                  <a:off x="6189072" y="6499393"/>
                  <a:ext cx="386819" cy="55254"/>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78" name="Freeform 18">
                  <a:extLst>
                    <a:ext uri="{FF2B5EF4-FFF2-40B4-BE49-F238E27FC236}">
                      <a16:creationId xmlns:a16="http://schemas.microsoft.com/office/drawing/2014/main" id="{5F21387F-1719-45CC-A4F8-9F15CBC8503C}"/>
                    </a:ext>
                  </a:extLst>
                </p:cNvPr>
                <p:cNvSpPr>
                  <a:spLocks/>
                </p:cNvSpPr>
                <p:nvPr/>
              </p:nvSpPr>
              <p:spPr bwMode="auto">
                <a:xfrm flipH="1">
                  <a:off x="6189085" y="6241518"/>
                  <a:ext cx="147358" cy="294717"/>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79" name="Freeform 19">
                  <a:extLst>
                    <a:ext uri="{FF2B5EF4-FFF2-40B4-BE49-F238E27FC236}">
                      <a16:creationId xmlns:a16="http://schemas.microsoft.com/office/drawing/2014/main" id="{E4D05717-9222-4A4B-8044-61C5FFC01B27}"/>
                    </a:ext>
                  </a:extLst>
                </p:cNvPr>
                <p:cNvSpPr>
                  <a:spLocks/>
                </p:cNvSpPr>
                <p:nvPr/>
              </p:nvSpPr>
              <p:spPr bwMode="auto">
                <a:xfrm flipH="1">
                  <a:off x="6631145" y="5265283"/>
                  <a:ext cx="386819" cy="902556"/>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FFFFFF">
                    <a:lumMod val="6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80" name="Freeform 20">
                  <a:extLst>
                    <a:ext uri="{FF2B5EF4-FFF2-40B4-BE49-F238E27FC236}">
                      <a16:creationId xmlns:a16="http://schemas.microsoft.com/office/drawing/2014/main" id="{B459460F-E9BE-44CC-83F0-73DB46B3CF01}"/>
                    </a:ext>
                  </a:extLst>
                </p:cNvPr>
                <p:cNvSpPr>
                  <a:spLocks/>
                </p:cNvSpPr>
                <p:nvPr/>
              </p:nvSpPr>
              <p:spPr bwMode="auto">
                <a:xfrm flipH="1">
                  <a:off x="6631156" y="5265283"/>
                  <a:ext cx="147358" cy="902556"/>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81" name="Freeform 21">
                  <a:extLst>
                    <a:ext uri="{FF2B5EF4-FFF2-40B4-BE49-F238E27FC236}">
                      <a16:creationId xmlns:a16="http://schemas.microsoft.com/office/drawing/2014/main" id="{74A89C07-77E3-44D6-BF41-9589F06B66DC}"/>
                    </a:ext>
                  </a:extLst>
                </p:cNvPr>
                <p:cNvSpPr>
                  <a:spLocks/>
                </p:cNvSpPr>
                <p:nvPr/>
              </p:nvSpPr>
              <p:spPr bwMode="auto">
                <a:xfrm flipH="1">
                  <a:off x="6944285" y="5265283"/>
                  <a:ext cx="73679" cy="902556"/>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83" name="Freeform 22">
                  <a:extLst>
                    <a:ext uri="{FF2B5EF4-FFF2-40B4-BE49-F238E27FC236}">
                      <a16:creationId xmlns:a16="http://schemas.microsoft.com/office/drawing/2014/main" id="{55DCBE9C-D3B3-409F-A323-5AE811EE3376}"/>
                    </a:ext>
                  </a:extLst>
                </p:cNvPr>
                <p:cNvSpPr>
                  <a:spLocks/>
                </p:cNvSpPr>
                <p:nvPr/>
              </p:nvSpPr>
              <p:spPr bwMode="auto">
                <a:xfrm flipH="1">
                  <a:off x="6612731" y="5983643"/>
                  <a:ext cx="405233" cy="552592"/>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84" name="Freeform 23">
                  <a:extLst>
                    <a:ext uri="{FF2B5EF4-FFF2-40B4-BE49-F238E27FC236}">
                      <a16:creationId xmlns:a16="http://schemas.microsoft.com/office/drawing/2014/main" id="{09492A4F-8781-41D0-A1AF-67BD6FC41918}"/>
                    </a:ext>
                  </a:extLst>
                </p:cNvPr>
                <p:cNvSpPr>
                  <a:spLocks/>
                </p:cNvSpPr>
                <p:nvPr/>
              </p:nvSpPr>
              <p:spPr bwMode="auto">
                <a:xfrm flipH="1">
                  <a:off x="6631145" y="6499393"/>
                  <a:ext cx="386819" cy="55254"/>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85" name="Freeform 24">
                  <a:extLst>
                    <a:ext uri="{FF2B5EF4-FFF2-40B4-BE49-F238E27FC236}">
                      <a16:creationId xmlns:a16="http://schemas.microsoft.com/office/drawing/2014/main" id="{1D690E7E-D00F-4258-A6A9-DC61E6BCDBDE}"/>
                    </a:ext>
                  </a:extLst>
                </p:cNvPr>
                <p:cNvSpPr>
                  <a:spLocks/>
                </p:cNvSpPr>
                <p:nvPr/>
              </p:nvSpPr>
              <p:spPr bwMode="auto">
                <a:xfrm flipH="1">
                  <a:off x="6631145" y="6241518"/>
                  <a:ext cx="128943" cy="294717"/>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88" name="Freeform 25">
                  <a:extLst>
                    <a:ext uri="{FF2B5EF4-FFF2-40B4-BE49-F238E27FC236}">
                      <a16:creationId xmlns:a16="http://schemas.microsoft.com/office/drawing/2014/main" id="{82C48399-DE1F-417B-9DE7-B30C2E89452D}"/>
                    </a:ext>
                  </a:extLst>
                </p:cNvPr>
                <p:cNvSpPr>
                  <a:spLocks/>
                </p:cNvSpPr>
                <p:nvPr/>
              </p:nvSpPr>
              <p:spPr bwMode="auto">
                <a:xfrm flipH="1">
                  <a:off x="6262764" y="3183849"/>
                  <a:ext cx="110517" cy="18415"/>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89" name="Freeform 26">
                  <a:extLst>
                    <a:ext uri="{FF2B5EF4-FFF2-40B4-BE49-F238E27FC236}">
                      <a16:creationId xmlns:a16="http://schemas.microsoft.com/office/drawing/2014/main" id="{F12CDC3E-6EB6-4030-A936-A6F0BE8EED02}"/>
                    </a:ext>
                  </a:extLst>
                </p:cNvPr>
                <p:cNvSpPr>
                  <a:spLocks/>
                </p:cNvSpPr>
                <p:nvPr/>
              </p:nvSpPr>
              <p:spPr bwMode="auto">
                <a:xfrm flipH="1">
                  <a:off x="6520639" y="2889138"/>
                  <a:ext cx="0" cy="18415"/>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0" name="Freeform 27">
                  <a:extLst>
                    <a:ext uri="{FF2B5EF4-FFF2-40B4-BE49-F238E27FC236}">
                      <a16:creationId xmlns:a16="http://schemas.microsoft.com/office/drawing/2014/main" id="{DDD45FDB-6C56-4AF8-A6A2-56D2F40C6E73}"/>
                    </a:ext>
                  </a:extLst>
                </p:cNvPr>
                <p:cNvSpPr>
                  <a:spLocks/>
                </p:cNvSpPr>
                <p:nvPr/>
              </p:nvSpPr>
              <p:spPr bwMode="auto">
                <a:xfrm flipH="1">
                  <a:off x="6133820" y="2815459"/>
                  <a:ext cx="589430" cy="663105"/>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1" name="Freeform 28">
                  <a:extLst>
                    <a:ext uri="{FF2B5EF4-FFF2-40B4-BE49-F238E27FC236}">
                      <a16:creationId xmlns:a16="http://schemas.microsoft.com/office/drawing/2014/main" id="{9B30D1F6-0AE4-441B-A92E-735E259713D1}"/>
                    </a:ext>
                  </a:extLst>
                </p:cNvPr>
                <p:cNvSpPr>
                  <a:spLocks/>
                </p:cNvSpPr>
                <p:nvPr/>
              </p:nvSpPr>
              <p:spPr bwMode="auto">
                <a:xfrm flipH="1">
                  <a:off x="6428533" y="3368051"/>
                  <a:ext cx="202623" cy="55254"/>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2" name="Freeform 29">
                  <a:extLst>
                    <a:ext uri="{FF2B5EF4-FFF2-40B4-BE49-F238E27FC236}">
                      <a16:creationId xmlns:a16="http://schemas.microsoft.com/office/drawing/2014/main" id="{619DAD03-BC93-4D18-9989-7224BA278D88}"/>
                    </a:ext>
                  </a:extLst>
                </p:cNvPr>
                <p:cNvSpPr>
                  <a:spLocks/>
                </p:cNvSpPr>
                <p:nvPr/>
              </p:nvSpPr>
              <p:spPr bwMode="auto">
                <a:xfrm flipH="1">
                  <a:off x="6262748" y="3202277"/>
                  <a:ext cx="55264" cy="55254"/>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3" name="Freeform 30">
                  <a:extLst>
                    <a:ext uri="{FF2B5EF4-FFF2-40B4-BE49-F238E27FC236}">
                      <a16:creationId xmlns:a16="http://schemas.microsoft.com/office/drawing/2014/main" id="{14462055-0236-4A2B-B7C0-BBEC14E78363}"/>
                    </a:ext>
                  </a:extLst>
                </p:cNvPr>
                <p:cNvSpPr>
                  <a:spLocks/>
                </p:cNvSpPr>
                <p:nvPr/>
              </p:nvSpPr>
              <p:spPr bwMode="auto">
                <a:xfrm flipH="1">
                  <a:off x="6262749" y="3202277"/>
                  <a:ext cx="18426" cy="36839"/>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4" name="Freeform 31">
                  <a:extLst>
                    <a:ext uri="{FF2B5EF4-FFF2-40B4-BE49-F238E27FC236}">
                      <a16:creationId xmlns:a16="http://schemas.microsoft.com/office/drawing/2014/main" id="{2A27AE09-D022-4992-9E64-AD1F95AB716D}"/>
                    </a:ext>
                  </a:extLst>
                </p:cNvPr>
                <p:cNvSpPr>
                  <a:spLocks/>
                </p:cNvSpPr>
                <p:nvPr/>
              </p:nvSpPr>
              <p:spPr bwMode="auto">
                <a:xfrm flipH="1">
                  <a:off x="6262748" y="3041564"/>
                  <a:ext cx="55264" cy="36839"/>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5" name="Freeform 32">
                  <a:extLst>
                    <a:ext uri="{FF2B5EF4-FFF2-40B4-BE49-F238E27FC236}">
                      <a16:creationId xmlns:a16="http://schemas.microsoft.com/office/drawing/2014/main" id="{90DB3091-2254-4B30-91F9-2DEB64D32009}"/>
                    </a:ext>
                  </a:extLst>
                </p:cNvPr>
                <p:cNvSpPr>
                  <a:spLocks/>
                </p:cNvSpPr>
                <p:nvPr/>
              </p:nvSpPr>
              <p:spPr bwMode="auto">
                <a:xfrm flipH="1">
                  <a:off x="6391696" y="3368051"/>
                  <a:ext cx="405233" cy="25787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6" name="Freeform 33">
                  <a:extLst>
                    <a:ext uri="{FF2B5EF4-FFF2-40B4-BE49-F238E27FC236}">
                      <a16:creationId xmlns:a16="http://schemas.microsoft.com/office/drawing/2014/main" id="{0F15876D-7908-4641-86AD-5D8724CA5C42}"/>
                    </a:ext>
                  </a:extLst>
                </p:cNvPr>
                <p:cNvSpPr>
                  <a:spLocks/>
                </p:cNvSpPr>
                <p:nvPr/>
              </p:nvSpPr>
              <p:spPr bwMode="auto">
                <a:xfrm flipH="1">
                  <a:off x="6041714" y="3423314"/>
                  <a:ext cx="1197286" cy="1934062"/>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00205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7" name="Freeform 34">
                  <a:extLst>
                    <a:ext uri="{FF2B5EF4-FFF2-40B4-BE49-F238E27FC236}">
                      <a16:creationId xmlns:a16="http://schemas.microsoft.com/office/drawing/2014/main" id="{D0105733-1A6F-40E3-953B-B8658031F82E}"/>
                    </a:ext>
                  </a:extLst>
                </p:cNvPr>
                <p:cNvSpPr>
                  <a:spLocks/>
                </p:cNvSpPr>
                <p:nvPr/>
              </p:nvSpPr>
              <p:spPr bwMode="auto">
                <a:xfrm flipH="1">
                  <a:off x="6428533" y="3460153"/>
                  <a:ext cx="810467" cy="1860384"/>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8" name="Freeform 40">
                  <a:extLst>
                    <a:ext uri="{FF2B5EF4-FFF2-40B4-BE49-F238E27FC236}">
                      <a16:creationId xmlns:a16="http://schemas.microsoft.com/office/drawing/2014/main" id="{D07A23D7-0944-4093-9485-AA6FDBC5450F}"/>
                    </a:ext>
                  </a:extLst>
                </p:cNvPr>
                <p:cNvSpPr>
                  <a:spLocks/>
                </p:cNvSpPr>
                <p:nvPr/>
              </p:nvSpPr>
              <p:spPr bwMode="auto">
                <a:xfrm flipH="1">
                  <a:off x="6225922" y="2483904"/>
                  <a:ext cx="847305" cy="847303"/>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9" name="Freeform 184">
                  <a:extLst>
                    <a:ext uri="{FF2B5EF4-FFF2-40B4-BE49-F238E27FC236}">
                      <a16:creationId xmlns:a16="http://schemas.microsoft.com/office/drawing/2014/main" id="{1C238EA6-1684-460E-BCEB-A869188647B8}"/>
                    </a:ext>
                  </a:extLst>
                </p:cNvPr>
                <p:cNvSpPr>
                  <a:spLocks/>
                </p:cNvSpPr>
                <p:nvPr/>
              </p:nvSpPr>
              <p:spPr bwMode="auto">
                <a:xfrm>
                  <a:off x="6318012" y="3572627"/>
                  <a:ext cx="399296" cy="391328"/>
                </a:xfrm>
                <a:custGeom>
                  <a:avLst/>
                  <a:gdLst>
                    <a:gd name="T0" fmla="*/ 28 w 28"/>
                    <a:gd name="T1" fmla="*/ 13 h 27"/>
                    <a:gd name="T2" fmla="*/ 15 w 28"/>
                    <a:gd name="T3" fmla="*/ 27 h 27"/>
                    <a:gd name="T4" fmla="*/ 1 w 28"/>
                    <a:gd name="T5" fmla="*/ 14 h 27"/>
                    <a:gd name="T6" fmla="*/ 14 w 28"/>
                    <a:gd name="T7" fmla="*/ 0 h 27"/>
                    <a:gd name="T8" fmla="*/ 28 w 28"/>
                    <a:gd name="T9" fmla="*/ 13 h 27"/>
                  </a:gdLst>
                  <a:ahLst/>
                  <a:cxnLst>
                    <a:cxn ang="0">
                      <a:pos x="T0" y="T1"/>
                    </a:cxn>
                    <a:cxn ang="0">
                      <a:pos x="T2" y="T3"/>
                    </a:cxn>
                    <a:cxn ang="0">
                      <a:pos x="T4" y="T5"/>
                    </a:cxn>
                    <a:cxn ang="0">
                      <a:pos x="T6" y="T7"/>
                    </a:cxn>
                    <a:cxn ang="0">
                      <a:pos x="T8" y="T9"/>
                    </a:cxn>
                  </a:cxnLst>
                  <a:rect l="0" t="0" r="r" b="b"/>
                  <a:pathLst>
                    <a:path w="28" h="27">
                      <a:moveTo>
                        <a:pt x="28" y="13"/>
                      </a:moveTo>
                      <a:cubicBezTo>
                        <a:pt x="28" y="20"/>
                        <a:pt x="23" y="27"/>
                        <a:pt x="15" y="27"/>
                      </a:cubicBezTo>
                      <a:cubicBezTo>
                        <a:pt x="8" y="27"/>
                        <a:pt x="1" y="22"/>
                        <a:pt x="1" y="14"/>
                      </a:cubicBezTo>
                      <a:cubicBezTo>
                        <a:pt x="0" y="7"/>
                        <a:pt x="6" y="1"/>
                        <a:pt x="14" y="0"/>
                      </a:cubicBezTo>
                      <a:cubicBezTo>
                        <a:pt x="21" y="0"/>
                        <a:pt x="27" y="5"/>
                        <a:pt x="28" y="13"/>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000" name="Trapezoid 999">
                  <a:extLst>
                    <a:ext uri="{FF2B5EF4-FFF2-40B4-BE49-F238E27FC236}">
                      <a16:creationId xmlns:a16="http://schemas.microsoft.com/office/drawing/2014/main" id="{19F9E58A-1AC7-4DF4-819D-3675A2FEFB0E}"/>
                    </a:ext>
                  </a:extLst>
                </p:cNvPr>
                <p:cNvSpPr/>
                <p:nvPr/>
              </p:nvSpPr>
              <p:spPr>
                <a:xfrm rot="5400000">
                  <a:off x="5285986" y="3209568"/>
                  <a:ext cx="847306" cy="243279"/>
                </a:xfrm>
                <a:prstGeom prst="trapezoid">
                  <a:avLst>
                    <a:gd name="adj" fmla="val 43593"/>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ＭＳ Ｐゴシック" charset="0"/>
                  </a:endParaRPr>
                </a:p>
              </p:txBody>
            </p:sp>
            <p:grpSp>
              <p:nvGrpSpPr>
                <p:cNvPr id="1001" name="Group 1000">
                  <a:extLst>
                    <a:ext uri="{FF2B5EF4-FFF2-40B4-BE49-F238E27FC236}">
                      <a16:creationId xmlns:a16="http://schemas.microsoft.com/office/drawing/2014/main" id="{D087830C-D637-4E53-B687-452AB6A4C67E}"/>
                    </a:ext>
                  </a:extLst>
                </p:cNvPr>
                <p:cNvGrpSpPr/>
                <p:nvPr/>
              </p:nvGrpSpPr>
              <p:grpSpPr>
                <a:xfrm>
                  <a:off x="5452032" y="3479198"/>
                  <a:ext cx="1198531" cy="895978"/>
                  <a:chOff x="5489670" y="4463249"/>
                  <a:chExt cx="734517" cy="549098"/>
                </a:xfrm>
              </p:grpSpPr>
              <p:sp>
                <p:nvSpPr>
                  <p:cNvPr id="1002" name="Freeform 30">
                    <a:extLst>
                      <a:ext uri="{FF2B5EF4-FFF2-40B4-BE49-F238E27FC236}">
                        <a16:creationId xmlns:a16="http://schemas.microsoft.com/office/drawing/2014/main" id="{F2A119F7-34ED-4354-9E20-B9B0FB24E515}"/>
                      </a:ext>
                    </a:extLst>
                  </p:cNvPr>
                  <p:cNvSpPr>
                    <a:spLocks/>
                  </p:cNvSpPr>
                  <p:nvPr/>
                </p:nvSpPr>
                <p:spPr bwMode="auto">
                  <a:xfrm rot="890892" flipH="1">
                    <a:off x="5489670" y="4516323"/>
                    <a:ext cx="261476" cy="246948"/>
                  </a:xfrm>
                  <a:custGeom>
                    <a:avLst/>
                    <a:gdLst>
                      <a:gd name="T0" fmla="*/ 97 w 97"/>
                      <a:gd name="T1" fmla="*/ 41 h 91"/>
                      <a:gd name="T2" fmla="*/ 93 w 97"/>
                      <a:gd name="T3" fmla="*/ 35 h 91"/>
                      <a:gd name="T4" fmla="*/ 95 w 97"/>
                      <a:gd name="T5" fmla="*/ 32 h 91"/>
                      <a:gd name="T6" fmla="*/ 88 w 97"/>
                      <a:gd name="T7" fmla="*/ 25 h 91"/>
                      <a:gd name="T8" fmla="*/ 78 w 97"/>
                      <a:gd name="T9" fmla="*/ 25 h 91"/>
                      <a:gd name="T10" fmla="*/ 63 w 97"/>
                      <a:gd name="T11" fmla="*/ 22 h 91"/>
                      <a:gd name="T12" fmla="*/ 77 w 97"/>
                      <a:gd name="T13" fmla="*/ 14 h 91"/>
                      <a:gd name="T14" fmla="*/ 77 w 97"/>
                      <a:gd name="T15" fmla="*/ 0 h 91"/>
                      <a:gd name="T16" fmla="*/ 44 w 97"/>
                      <a:gd name="T17" fmla="*/ 17 h 91"/>
                      <a:gd name="T18" fmla="*/ 34 w 97"/>
                      <a:gd name="T19" fmla="*/ 39 h 91"/>
                      <a:gd name="T20" fmla="*/ 34 w 97"/>
                      <a:gd name="T21" fmla="*/ 39 h 91"/>
                      <a:gd name="T22" fmla="*/ 0 w 97"/>
                      <a:gd name="T23" fmla="*/ 54 h 91"/>
                      <a:gd name="T24" fmla="*/ 17 w 97"/>
                      <a:gd name="T25" fmla="*/ 91 h 91"/>
                      <a:gd name="T26" fmla="*/ 64 w 97"/>
                      <a:gd name="T27" fmla="*/ 67 h 91"/>
                      <a:gd name="T28" fmla="*/ 79 w 97"/>
                      <a:gd name="T29" fmla="*/ 67 h 91"/>
                      <a:gd name="T30" fmla="*/ 86 w 97"/>
                      <a:gd name="T31" fmla="*/ 61 h 91"/>
                      <a:gd name="T32" fmla="*/ 85 w 97"/>
                      <a:gd name="T33" fmla="*/ 58 h 91"/>
                      <a:gd name="T34" fmla="*/ 91 w 97"/>
                      <a:gd name="T35" fmla="*/ 51 h 91"/>
                      <a:gd name="T36" fmla="*/ 90 w 97"/>
                      <a:gd name="T37" fmla="*/ 48 h 91"/>
                      <a:gd name="T38" fmla="*/ 90 w 97"/>
                      <a:gd name="T39" fmla="*/ 48 h 91"/>
                      <a:gd name="T40" fmla="*/ 97 w 97"/>
                      <a:gd name="T4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91">
                        <a:moveTo>
                          <a:pt x="97" y="41"/>
                        </a:moveTo>
                        <a:cubicBezTo>
                          <a:pt x="97" y="39"/>
                          <a:pt x="95" y="37"/>
                          <a:pt x="93" y="35"/>
                        </a:cubicBezTo>
                        <a:cubicBezTo>
                          <a:pt x="94" y="34"/>
                          <a:pt x="95" y="33"/>
                          <a:pt x="95" y="32"/>
                        </a:cubicBezTo>
                        <a:cubicBezTo>
                          <a:pt x="95" y="28"/>
                          <a:pt x="92" y="25"/>
                          <a:pt x="88" y="25"/>
                        </a:cubicBezTo>
                        <a:cubicBezTo>
                          <a:pt x="78" y="25"/>
                          <a:pt x="78" y="25"/>
                          <a:pt x="78" y="25"/>
                        </a:cubicBezTo>
                        <a:cubicBezTo>
                          <a:pt x="63" y="22"/>
                          <a:pt x="63" y="22"/>
                          <a:pt x="63" y="22"/>
                        </a:cubicBezTo>
                        <a:cubicBezTo>
                          <a:pt x="77" y="14"/>
                          <a:pt x="77" y="14"/>
                          <a:pt x="77" y="14"/>
                        </a:cubicBezTo>
                        <a:cubicBezTo>
                          <a:pt x="77" y="14"/>
                          <a:pt x="85" y="5"/>
                          <a:pt x="77" y="0"/>
                        </a:cubicBezTo>
                        <a:cubicBezTo>
                          <a:pt x="52" y="15"/>
                          <a:pt x="52" y="11"/>
                          <a:pt x="44" y="17"/>
                        </a:cubicBezTo>
                        <a:cubicBezTo>
                          <a:pt x="36" y="23"/>
                          <a:pt x="33" y="34"/>
                          <a:pt x="34" y="39"/>
                        </a:cubicBezTo>
                        <a:cubicBezTo>
                          <a:pt x="34" y="39"/>
                          <a:pt x="34" y="39"/>
                          <a:pt x="34" y="39"/>
                        </a:cubicBezTo>
                        <a:cubicBezTo>
                          <a:pt x="0" y="54"/>
                          <a:pt x="0" y="54"/>
                          <a:pt x="0" y="54"/>
                        </a:cubicBezTo>
                        <a:cubicBezTo>
                          <a:pt x="17" y="91"/>
                          <a:pt x="17" y="91"/>
                          <a:pt x="17" y="91"/>
                        </a:cubicBezTo>
                        <a:cubicBezTo>
                          <a:pt x="64" y="67"/>
                          <a:pt x="64" y="67"/>
                          <a:pt x="64" y="67"/>
                        </a:cubicBezTo>
                        <a:cubicBezTo>
                          <a:pt x="79" y="67"/>
                          <a:pt x="79" y="67"/>
                          <a:pt x="79" y="67"/>
                        </a:cubicBezTo>
                        <a:cubicBezTo>
                          <a:pt x="82" y="67"/>
                          <a:pt x="85" y="64"/>
                          <a:pt x="86" y="61"/>
                        </a:cubicBezTo>
                        <a:cubicBezTo>
                          <a:pt x="86" y="60"/>
                          <a:pt x="85" y="58"/>
                          <a:pt x="85" y="58"/>
                        </a:cubicBezTo>
                        <a:cubicBezTo>
                          <a:pt x="88" y="57"/>
                          <a:pt x="91" y="55"/>
                          <a:pt x="91" y="51"/>
                        </a:cubicBezTo>
                        <a:cubicBezTo>
                          <a:pt x="91" y="50"/>
                          <a:pt x="90" y="49"/>
                          <a:pt x="90" y="48"/>
                        </a:cubicBezTo>
                        <a:cubicBezTo>
                          <a:pt x="90" y="48"/>
                          <a:pt x="90" y="48"/>
                          <a:pt x="90" y="48"/>
                        </a:cubicBezTo>
                        <a:cubicBezTo>
                          <a:pt x="93" y="48"/>
                          <a:pt x="96" y="45"/>
                          <a:pt x="97" y="4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003" name="Freeform 31">
                    <a:extLst>
                      <a:ext uri="{FF2B5EF4-FFF2-40B4-BE49-F238E27FC236}">
                        <a16:creationId xmlns:a16="http://schemas.microsoft.com/office/drawing/2014/main" id="{DD2C279F-D014-4394-A25C-06EB735948EF}"/>
                      </a:ext>
                    </a:extLst>
                  </p:cNvPr>
                  <p:cNvSpPr>
                    <a:spLocks/>
                  </p:cNvSpPr>
                  <p:nvPr/>
                </p:nvSpPr>
                <p:spPr bwMode="auto">
                  <a:xfrm rot="890892" flipH="1">
                    <a:off x="5619888" y="4463249"/>
                    <a:ext cx="604299" cy="549098"/>
                  </a:xfrm>
                  <a:custGeom>
                    <a:avLst/>
                    <a:gdLst>
                      <a:gd name="T0" fmla="*/ 198 w 223"/>
                      <a:gd name="T1" fmla="*/ 92 h 203"/>
                      <a:gd name="T2" fmla="*/ 123 w 223"/>
                      <a:gd name="T3" fmla="*/ 125 h 203"/>
                      <a:gd name="T4" fmla="*/ 62 w 223"/>
                      <a:gd name="T5" fmla="*/ 20 h 203"/>
                      <a:gd name="T6" fmla="*/ 20 w 223"/>
                      <a:gd name="T7" fmla="*/ 8 h 203"/>
                      <a:gd name="T8" fmla="*/ 9 w 223"/>
                      <a:gd name="T9" fmla="*/ 51 h 203"/>
                      <a:gd name="T10" fmla="*/ 88 w 223"/>
                      <a:gd name="T11" fmla="*/ 188 h 203"/>
                      <a:gd name="T12" fmla="*/ 110 w 223"/>
                      <a:gd name="T13" fmla="*/ 203 h 203"/>
                      <a:gd name="T14" fmla="*/ 114 w 223"/>
                      <a:gd name="T15" fmla="*/ 203 h 203"/>
                      <a:gd name="T16" fmla="*/ 135 w 223"/>
                      <a:gd name="T17" fmla="*/ 196 h 203"/>
                      <a:gd name="T18" fmla="*/ 223 w 223"/>
                      <a:gd name="T19" fmla="*/ 131 h 203"/>
                      <a:gd name="T20" fmla="*/ 198 w 223"/>
                      <a:gd name="T21" fmla="*/ 9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03">
                        <a:moveTo>
                          <a:pt x="198" y="92"/>
                        </a:moveTo>
                        <a:cubicBezTo>
                          <a:pt x="123" y="125"/>
                          <a:pt x="123" y="125"/>
                          <a:pt x="123" y="125"/>
                        </a:cubicBezTo>
                        <a:cubicBezTo>
                          <a:pt x="62" y="20"/>
                          <a:pt x="62" y="20"/>
                          <a:pt x="62" y="20"/>
                        </a:cubicBezTo>
                        <a:cubicBezTo>
                          <a:pt x="53" y="5"/>
                          <a:pt x="34" y="0"/>
                          <a:pt x="20" y="8"/>
                        </a:cubicBezTo>
                        <a:cubicBezTo>
                          <a:pt x="5" y="17"/>
                          <a:pt x="0" y="36"/>
                          <a:pt x="9" y="51"/>
                        </a:cubicBezTo>
                        <a:cubicBezTo>
                          <a:pt x="88" y="188"/>
                          <a:pt x="88" y="188"/>
                          <a:pt x="88" y="188"/>
                        </a:cubicBezTo>
                        <a:cubicBezTo>
                          <a:pt x="93" y="196"/>
                          <a:pt x="101" y="201"/>
                          <a:pt x="110" y="203"/>
                        </a:cubicBezTo>
                        <a:cubicBezTo>
                          <a:pt x="111" y="203"/>
                          <a:pt x="113" y="203"/>
                          <a:pt x="114" y="203"/>
                        </a:cubicBezTo>
                        <a:cubicBezTo>
                          <a:pt x="122" y="203"/>
                          <a:pt x="129" y="201"/>
                          <a:pt x="135" y="196"/>
                        </a:cubicBezTo>
                        <a:cubicBezTo>
                          <a:pt x="135" y="196"/>
                          <a:pt x="222" y="131"/>
                          <a:pt x="223" y="131"/>
                        </a:cubicBezTo>
                        <a:cubicBezTo>
                          <a:pt x="198" y="92"/>
                          <a:pt x="198" y="92"/>
                          <a:pt x="198" y="92"/>
                        </a:cubicBezTo>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grpSp>
          </p:grpSp>
          <p:grpSp>
            <p:nvGrpSpPr>
              <p:cNvPr id="799" name="Group 798">
                <a:extLst>
                  <a:ext uri="{FF2B5EF4-FFF2-40B4-BE49-F238E27FC236}">
                    <a16:creationId xmlns:a16="http://schemas.microsoft.com/office/drawing/2014/main" id="{5C3A5116-95EE-4664-971E-6B189DEF95DF}"/>
                  </a:ext>
                </a:extLst>
              </p:cNvPr>
              <p:cNvGrpSpPr/>
              <p:nvPr/>
            </p:nvGrpSpPr>
            <p:grpSpPr>
              <a:xfrm>
                <a:off x="857460" y="1929197"/>
                <a:ext cx="256798" cy="792327"/>
                <a:chOff x="2987495" y="1516376"/>
                <a:chExt cx="358732" cy="1106836"/>
              </a:xfrm>
            </p:grpSpPr>
            <p:sp>
              <p:nvSpPr>
                <p:cNvPr id="800" name="Freeform 6">
                  <a:extLst>
                    <a:ext uri="{FF2B5EF4-FFF2-40B4-BE49-F238E27FC236}">
                      <a16:creationId xmlns:a16="http://schemas.microsoft.com/office/drawing/2014/main" id="{461F8B97-8DCC-48C9-B27A-81B35A86B196}"/>
                    </a:ext>
                  </a:extLst>
                </p:cNvPr>
                <p:cNvSpPr>
                  <a:spLocks/>
                </p:cNvSpPr>
                <p:nvPr/>
              </p:nvSpPr>
              <p:spPr bwMode="auto">
                <a:xfrm>
                  <a:off x="3048556" y="1516376"/>
                  <a:ext cx="246151" cy="263124"/>
                </a:xfrm>
                <a:custGeom>
                  <a:avLst/>
                  <a:gdLst>
                    <a:gd name="T0" fmla="*/ 143 w 293"/>
                    <a:gd name="T1" fmla="*/ 0 h 315"/>
                    <a:gd name="T2" fmla="*/ 140 w 293"/>
                    <a:gd name="T3" fmla="*/ 0 h 315"/>
                    <a:gd name="T4" fmla="*/ 0 w 293"/>
                    <a:gd name="T5" fmla="*/ 305 h 315"/>
                    <a:gd name="T6" fmla="*/ 142 w 293"/>
                    <a:gd name="T7" fmla="*/ 315 h 315"/>
                    <a:gd name="T8" fmla="*/ 293 w 293"/>
                    <a:gd name="T9" fmla="*/ 306 h 315"/>
                    <a:gd name="T10" fmla="*/ 219 w 293"/>
                    <a:gd name="T11" fmla="*/ 46 h 315"/>
                  </a:gdLst>
                  <a:ahLst/>
                  <a:cxnLst>
                    <a:cxn ang="0">
                      <a:pos x="T0" y="T1"/>
                    </a:cxn>
                    <a:cxn ang="0">
                      <a:pos x="T2" y="T3"/>
                    </a:cxn>
                    <a:cxn ang="0">
                      <a:pos x="T4" y="T5"/>
                    </a:cxn>
                    <a:cxn ang="0">
                      <a:pos x="T6" y="T7"/>
                    </a:cxn>
                    <a:cxn ang="0">
                      <a:pos x="T8" y="T9"/>
                    </a:cxn>
                    <a:cxn ang="0">
                      <a:pos x="T10" y="T11"/>
                    </a:cxn>
                  </a:cxnLst>
                  <a:rect l="0" t="0" r="r" b="b"/>
                  <a:pathLst>
                    <a:path w="293" h="315">
                      <a:moveTo>
                        <a:pt x="143" y="0"/>
                      </a:moveTo>
                      <a:cubicBezTo>
                        <a:pt x="140" y="0"/>
                        <a:pt x="140" y="0"/>
                        <a:pt x="140" y="0"/>
                      </a:cubicBezTo>
                      <a:cubicBezTo>
                        <a:pt x="19" y="18"/>
                        <a:pt x="43" y="135"/>
                        <a:pt x="0" y="305"/>
                      </a:cubicBezTo>
                      <a:cubicBezTo>
                        <a:pt x="142" y="315"/>
                        <a:pt x="142" y="315"/>
                        <a:pt x="142" y="315"/>
                      </a:cubicBezTo>
                      <a:cubicBezTo>
                        <a:pt x="293" y="306"/>
                        <a:pt x="293" y="306"/>
                        <a:pt x="293" y="306"/>
                      </a:cubicBezTo>
                      <a:cubicBezTo>
                        <a:pt x="268" y="212"/>
                        <a:pt x="243" y="102"/>
                        <a:pt x="219" y="46"/>
                      </a:cubicBezTo>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1" name="Oval 7">
                  <a:extLst>
                    <a:ext uri="{FF2B5EF4-FFF2-40B4-BE49-F238E27FC236}">
                      <a16:creationId xmlns:a16="http://schemas.microsoft.com/office/drawing/2014/main" id="{5A53FDB8-09F5-4098-A140-94C900200BAD}"/>
                    </a:ext>
                  </a:extLst>
                </p:cNvPr>
                <p:cNvSpPr>
                  <a:spLocks noChangeArrowheads="1"/>
                </p:cNvSpPr>
                <p:nvPr/>
              </p:nvSpPr>
              <p:spPr bwMode="auto">
                <a:xfrm>
                  <a:off x="3096260" y="1635545"/>
                  <a:ext cx="4771" cy="28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2" name="Freeform 8">
                  <a:extLst>
                    <a:ext uri="{FF2B5EF4-FFF2-40B4-BE49-F238E27FC236}">
                      <a16:creationId xmlns:a16="http://schemas.microsoft.com/office/drawing/2014/main" id="{4B1E5575-1668-4D6E-A073-8A042B83BE6C}"/>
                    </a:ext>
                  </a:extLst>
                </p:cNvPr>
                <p:cNvSpPr>
                  <a:spLocks/>
                </p:cNvSpPr>
                <p:nvPr/>
              </p:nvSpPr>
              <p:spPr bwMode="auto">
                <a:xfrm>
                  <a:off x="3167815" y="1516376"/>
                  <a:ext cx="71556" cy="83895"/>
                </a:xfrm>
                <a:custGeom>
                  <a:avLst/>
                  <a:gdLst>
                    <a:gd name="T0" fmla="*/ 4 w 85"/>
                    <a:gd name="T1" fmla="*/ 30 h 100"/>
                    <a:gd name="T2" fmla="*/ 67 w 85"/>
                    <a:gd name="T3" fmla="*/ 84 h 100"/>
                    <a:gd name="T4" fmla="*/ 69 w 85"/>
                    <a:gd name="T5" fmla="*/ 97 h 100"/>
                    <a:gd name="T6" fmla="*/ 84 w 85"/>
                    <a:gd name="T7" fmla="*/ 81 h 100"/>
                    <a:gd name="T8" fmla="*/ 85 w 85"/>
                    <a:gd name="T9" fmla="*/ 83 h 100"/>
                    <a:gd name="T10" fmla="*/ 5 w 85"/>
                    <a:gd name="T11" fmla="*/ 0 h 100"/>
                    <a:gd name="T12" fmla="*/ 0 w 85"/>
                    <a:gd name="T13" fmla="*/ 6 h 100"/>
                    <a:gd name="T14" fmla="*/ 0 w 85"/>
                    <a:gd name="T15" fmla="*/ 20 h 100"/>
                    <a:gd name="T16" fmla="*/ 4 w 85"/>
                    <a:gd name="T17" fmla="*/ 3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0">
                      <a:moveTo>
                        <a:pt x="4" y="30"/>
                      </a:moveTo>
                      <a:cubicBezTo>
                        <a:pt x="21" y="33"/>
                        <a:pt x="40" y="32"/>
                        <a:pt x="67" y="84"/>
                      </a:cubicBezTo>
                      <a:cubicBezTo>
                        <a:pt x="69" y="87"/>
                        <a:pt x="67" y="100"/>
                        <a:pt x="69" y="97"/>
                      </a:cubicBezTo>
                      <a:cubicBezTo>
                        <a:pt x="84" y="81"/>
                        <a:pt x="84" y="81"/>
                        <a:pt x="84" y="81"/>
                      </a:cubicBezTo>
                      <a:cubicBezTo>
                        <a:pt x="85" y="80"/>
                        <a:pt x="85" y="85"/>
                        <a:pt x="85" y="83"/>
                      </a:cubicBezTo>
                      <a:cubicBezTo>
                        <a:pt x="84" y="70"/>
                        <a:pt x="81" y="3"/>
                        <a:pt x="5" y="0"/>
                      </a:cubicBezTo>
                      <a:cubicBezTo>
                        <a:pt x="3" y="0"/>
                        <a:pt x="0" y="3"/>
                        <a:pt x="0" y="6"/>
                      </a:cubicBezTo>
                      <a:cubicBezTo>
                        <a:pt x="0" y="20"/>
                        <a:pt x="0" y="20"/>
                        <a:pt x="0" y="20"/>
                      </a:cubicBezTo>
                      <a:cubicBezTo>
                        <a:pt x="0" y="23"/>
                        <a:pt x="2" y="29"/>
                        <a:pt x="4" y="30"/>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3" name="Freeform 9">
                  <a:extLst>
                    <a:ext uri="{FF2B5EF4-FFF2-40B4-BE49-F238E27FC236}">
                      <a16:creationId xmlns:a16="http://schemas.microsoft.com/office/drawing/2014/main" id="{F243AC26-6C89-4C68-9076-316EA85289E5}"/>
                    </a:ext>
                  </a:extLst>
                </p:cNvPr>
                <p:cNvSpPr>
                  <a:spLocks/>
                </p:cNvSpPr>
                <p:nvPr/>
              </p:nvSpPr>
              <p:spPr bwMode="auto">
                <a:xfrm>
                  <a:off x="3088627" y="1516376"/>
                  <a:ext cx="77280" cy="83895"/>
                </a:xfrm>
                <a:custGeom>
                  <a:avLst/>
                  <a:gdLst>
                    <a:gd name="T0" fmla="*/ 92 w 92"/>
                    <a:gd name="T1" fmla="*/ 6 h 100"/>
                    <a:gd name="T2" fmla="*/ 92 w 92"/>
                    <a:gd name="T3" fmla="*/ 20 h 100"/>
                    <a:gd name="T4" fmla="*/ 87 w 92"/>
                    <a:gd name="T5" fmla="*/ 30 h 100"/>
                    <a:gd name="T6" fmla="*/ 25 w 92"/>
                    <a:gd name="T7" fmla="*/ 96 h 100"/>
                    <a:gd name="T8" fmla="*/ 16 w 92"/>
                    <a:gd name="T9" fmla="*/ 97 h 100"/>
                    <a:gd name="T10" fmla="*/ 2 w 92"/>
                    <a:gd name="T11" fmla="*/ 81 h 100"/>
                    <a:gd name="T12" fmla="*/ 0 w 92"/>
                    <a:gd name="T13" fmla="*/ 83 h 100"/>
                    <a:gd name="T14" fmla="*/ 86 w 92"/>
                    <a:gd name="T15" fmla="*/ 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00">
                      <a:moveTo>
                        <a:pt x="92" y="6"/>
                      </a:moveTo>
                      <a:cubicBezTo>
                        <a:pt x="92" y="20"/>
                        <a:pt x="92" y="20"/>
                        <a:pt x="92" y="20"/>
                      </a:cubicBezTo>
                      <a:cubicBezTo>
                        <a:pt x="92" y="23"/>
                        <a:pt x="90" y="29"/>
                        <a:pt x="87" y="30"/>
                      </a:cubicBezTo>
                      <a:cubicBezTo>
                        <a:pt x="71" y="33"/>
                        <a:pt x="51" y="44"/>
                        <a:pt x="25" y="96"/>
                      </a:cubicBezTo>
                      <a:cubicBezTo>
                        <a:pt x="23" y="99"/>
                        <a:pt x="19" y="100"/>
                        <a:pt x="16" y="97"/>
                      </a:cubicBezTo>
                      <a:cubicBezTo>
                        <a:pt x="2" y="81"/>
                        <a:pt x="2" y="81"/>
                        <a:pt x="2" y="81"/>
                      </a:cubicBezTo>
                      <a:cubicBezTo>
                        <a:pt x="1" y="80"/>
                        <a:pt x="0" y="85"/>
                        <a:pt x="0" y="83"/>
                      </a:cubicBezTo>
                      <a:cubicBezTo>
                        <a:pt x="2" y="70"/>
                        <a:pt x="11" y="3"/>
                        <a:pt x="86" y="0"/>
                      </a:cubicBezTo>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4" name="Freeform 10">
                  <a:extLst>
                    <a:ext uri="{FF2B5EF4-FFF2-40B4-BE49-F238E27FC236}">
                      <a16:creationId xmlns:a16="http://schemas.microsoft.com/office/drawing/2014/main" id="{9A3B908A-6F2C-47D2-B885-F7D9E8236186}"/>
                    </a:ext>
                  </a:extLst>
                </p:cNvPr>
                <p:cNvSpPr>
                  <a:spLocks/>
                </p:cNvSpPr>
                <p:nvPr/>
              </p:nvSpPr>
              <p:spPr bwMode="auto">
                <a:xfrm>
                  <a:off x="3111525" y="1518283"/>
                  <a:ext cx="125938" cy="67688"/>
                </a:xfrm>
                <a:custGeom>
                  <a:avLst/>
                  <a:gdLst>
                    <a:gd name="T0" fmla="*/ 134 w 150"/>
                    <a:gd name="T1" fmla="*/ 81 h 81"/>
                    <a:gd name="T2" fmla="*/ 0 w 150"/>
                    <a:gd name="T3" fmla="*/ 81 h 81"/>
                    <a:gd name="T4" fmla="*/ 0 w 150"/>
                    <a:gd name="T5" fmla="*/ 31 h 81"/>
                    <a:gd name="T6" fmla="*/ 62 w 150"/>
                    <a:gd name="T7" fmla="*/ 1 h 81"/>
                    <a:gd name="T8" fmla="*/ 86 w 150"/>
                    <a:gd name="T9" fmla="*/ 0 h 81"/>
                    <a:gd name="T10" fmla="*/ 135 w 150"/>
                    <a:gd name="T11" fmla="*/ 34 h 81"/>
                    <a:gd name="T12" fmla="*/ 140 w 150"/>
                    <a:gd name="T13" fmla="*/ 55 h 81"/>
                    <a:gd name="T14" fmla="*/ 134 w 150"/>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81">
                      <a:moveTo>
                        <a:pt x="134" y="81"/>
                      </a:moveTo>
                      <a:cubicBezTo>
                        <a:pt x="0" y="81"/>
                        <a:pt x="0" y="81"/>
                        <a:pt x="0" y="81"/>
                      </a:cubicBezTo>
                      <a:cubicBezTo>
                        <a:pt x="0" y="31"/>
                        <a:pt x="0" y="31"/>
                        <a:pt x="0" y="31"/>
                      </a:cubicBezTo>
                      <a:cubicBezTo>
                        <a:pt x="62" y="1"/>
                        <a:pt x="62" y="1"/>
                        <a:pt x="62" y="1"/>
                      </a:cubicBezTo>
                      <a:cubicBezTo>
                        <a:pt x="86" y="0"/>
                        <a:pt x="86" y="0"/>
                        <a:pt x="86" y="0"/>
                      </a:cubicBezTo>
                      <a:cubicBezTo>
                        <a:pt x="135" y="34"/>
                        <a:pt x="135" y="34"/>
                        <a:pt x="135" y="34"/>
                      </a:cubicBezTo>
                      <a:cubicBezTo>
                        <a:pt x="140" y="55"/>
                        <a:pt x="140" y="55"/>
                        <a:pt x="140" y="55"/>
                      </a:cubicBezTo>
                      <a:cubicBezTo>
                        <a:pt x="140" y="70"/>
                        <a:pt x="150" y="81"/>
                        <a:pt x="134" y="81"/>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5" name="Freeform 11">
                  <a:extLst>
                    <a:ext uri="{FF2B5EF4-FFF2-40B4-BE49-F238E27FC236}">
                      <a16:creationId xmlns:a16="http://schemas.microsoft.com/office/drawing/2014/main" id="{B2F06DE5-2F1E-40A6-A593-58516C5649BE}"/>
                    </a:ext>
                  </a:extLst>
                </p:cNvPr>
                <p:cNvSpPr>
                  <a:spLocks/>
                </p:cNvSpPr>
                <p:nvPr/>
              </p:nvSpPr>
              <p:spPr bwMode="auto">
                <a:xfrm>
                  <a:off x="3131560" y="1694652"/>
                  <a:ext cx="72510" cy="59108"/>
                </a:xfrm>
                <a:custGeom>
                  <a:avLst/>
                  <a:gdLst>
                    <a:gd name="T0" fmla="*/ 43 w 86"/>
                    <a:gd name="T1" fmla="*/ 71 h 71"/>
                    <a:gd name="T2" fmla="*/ 0 w 86"/>
                    <a:gd name="T3" fmla="*/ 32 h 71"/>
                    <a:gd name="T4" fmla="*/ 0 w 86"/>
                    <a:gd name="T5" fmla="*/ 0 h 71"/>
                    <a:gd name="T6" fmla="*/ 86 w 86"/>
                    <a:gd name="T7" fmla="*/ 0 h 71"/>
                    <a:gd name="T8" fmla="*/ 86 w 86"/>
                    <a:gd name="T9" fmla="*/ 31 h 71"/>
                    <a:gd name="T10" fmla="*/ 43 w 86"/>
                    <a:gd name="T11" fmla="*/ 71 h 71"/>
                  </a:gdLst>
                  <a:ahLst/>
                  <a:cxnLst>
                    <a:cxn ang="0">
                      <a:pos x="T0" y="T1"/>
                    </a:cxn>
                    <a:cxn ang="0">
                      <a:pos x="T2" y="T3"/>
                    </a:cxn>
                    <a:cxn ang="0">
                      <a:pos x="T4" y="T5"/>
                    </a:cxn>
                    <a:cxn ang="0">
                      <a:pos x="T6" y="T7"/>
                    </a:cxn>
                    <a:cxn ang="0">
                      <a:pos x="T8" y="T9"/>
                    </a:cxn>
                    <a:cxn ang="0">
                      <a:pos x="T10" y="T11"/>
                    </a:cxn>
                  </a:cxnLst>
                  <a:rect l="0" t="0" r="r" b="b"/>
                  <a:pathLst>
                    <a:path w="86" h="71">
                      <a:moveTo>
                        <a:pt x="43" y="71"/>
                      </a:moveTo>
                      <a:cubicBezTo>
                        <a:pt x="19" y="71"/>
                        <a:pt x="0" y="56"/>
                        <a:pt x="0" y="32"/>
                      </a:cubicBezTo>
                      <a:cubicBezTo>
                        <a:pt x="0" y="0"/>
                        <a:pt x="0" y="0"/>
                        <a:pt x="0" y="0"/>
                      </a:cubicBezTo>
                      <a:cubicBezTo>
                        <a:pt x="86" y="0"/>
                        <a:pt x="86" y="0"/>
                        <a:pt x="86" y="0"/>
                      </a:cubicBezTo>
                      <a:cubicBezTo>
                        <a:pt x="86" y="31"/>
                        <a:pt x="86" y="31"/>
                        <a:pt x="86" y="31"/>
                      </a:cubicBezTo>
                      <a:cubicBezTo>
                        <a:pt x="86" y="55"/>
                        <a:pt x="67" y="71"/>
                        <a:pt x="43" y="71"/>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6" name="Freeform 12">
                  <a:extLst>
                    <a:ext uri="{FF2B5EF4-FFF2-40B4-BE49-F238E27FC236}">
                      <a16:creationId xmlns:a16="http://schemas.microsoft.com/office/drawing/2014/main" id="{CE006E06-4FEC-4564-BEE6-EEE782C22D25}"/>
                    </a:ext>
                  </a:extLst>
                </p:cNvPr>
                <p:cNvSpPr>
                  <a:spLocks/>
                </p:cNvSpPr>
                <p:nvPr/>
              </p:nvSpPr>
              <p:spPr bwMode="auto">
                <a:xfrm>
                  <a:off x="3045694" y="1704186"/>
                  <a:ext cx="86821" cy="87708"/>
                </a:xfrm>
                <a:custGeom>
                  <a:avLst/>
                  <a:gdLst>
                    <a:gd name="T0" fmla="*/ 102 w 103"/>
                    <a:gd name="T1" fmla="*/ 33 h 105"/>
                    <a:gd name="T2" fmla="*/ 102 w 103"/>
                    <a:gd name="T3" fmla="*/ 9 h 105"/>
                    <a:gd name="T4" fmla="*/ 98 w 103"/>
                    <a:gd name="T5" fmla="*/ 2 h 105"/>
                    <a:gd name="T6" fmla="*/ 95 w 103"/>
                    <a:gd name="T7" fmla="*/ 1 h 105"/>
                    <a:gd name="T8" fmla="*/ 82 w 103"/>
                    <a:gd name="T9" fmla="*/ 4 h 105"/>
                    <a:gd name="T10" fmla="*/ 21 w 103"/>
                    <a:gd name="T11" fmla="*/ 9 h 105"/>
                    <a:gd name="T12" fmla="*/ 17 w 103"/>
                    <a:gd name="T13" fmla="*/ 12 h 105"/>
                    <a:gd name="T14" fmla="*/ 3 w 103"/>
                    <a:gd name="T15" fmla="*/ 80 h 105"/>
                    <a:gd name="T16" fmla="*/ 20 w 103"/>
                    <a:gd name="T17" fmla="*/ 99 h 105"/>
                    <a:gd name="T18" fmla="*/ 99 w 103"/>
                    <a:gd name="T19" fmla="*/ 105 h 105"/>
                    <a:gd name="T20" fmla="*/ 102 w 103"/>
                    <a:gd name="T21" fmla="*/ 101 h 105"/>
                    <a:gd name="T22" fmla="*/ 102 w 103"/>
                    <a:gd name="T23" fmla="*/ 3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5">
                      <a:moveTo>
                        <a:pt x="102" y="33"/>
                      </a:moveTo>
                      <a:cubicBezTo>
                        <a:pt x="102" y="9"/>
                        <a:pt x="102" y="9"/>
                        <a:pt x="102" y="9"/>
                      </a:cubicBezTo>
                      <a:cubicBezTo>
                        <a:pt x="98" y="2"/>
                        <a:pt x="98" y="2"/>
                        <a:pt x="98" y="2"/>
                      </a:cubicBezTo>
                      <a:cubicBezTo>
                        <a:pt x="98" y="1"/>
                        <a:pt x="96" y="0"/>
                        <a:pt x="95" y="1"/>
                      </a:cubicBezTo>
                      <a:cubicBezTo>
                        <a:pt x="90" y="2"/>
                        <a:pt x="86" y="3"/>
                        <a:pt x="82" y="4"/>
                      </a:cubicBezTo>
                      <a:cubicBezTo>
                        <a:pt x="62" y="9"/>
                        <a:pt x="41" y="13"/>
                        <a:pt x="21" y="9"/>
                      </a:cubicBezTo>
                      <a:cubicBezTo>
                        <a:pt x="20" y="9"/>
                        <a:pt x="18" y="10"/>
                        <a:pt x="17" y="12"/>
                      </a:cubicBezTo>
                      <a:cubicBezTo>
                        <a:pt x="14" y="33"/>
                        <a:pt x="8" y="57"/>
                        <a:pt x="3" y="80"/>
                      </a:cubicBezTo>
                      <a:cubicBezTo>
                        <a:pt x="0" y="91"/>
                        <a:pt x="9" y="99"/>
                        <a:pt x="20" y="99"/>
                      </a:cubicBezTo>
                      <a:cubicBezTo>
                        <a:pt x="99" y="105"/>
                        <a:pt x="99" y="105"/>
                        <a:pt x="99" y="105"/>
                      </a:cubicBezTo>
                      <a:cubicBezTo>
                        <a:pt x="101" y="105"/>
                        <a:pt x="103" y="103"/>
                        <a:pt x="102" y="101"/>
                      </a:cubicBezTo>
                      <a:cubicBezTo>
                        <a:pt x="100" y="79"/>
                        <a:pt x="101" y="56"/>
                        <a:pt x="102" y="33"/>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7" name="Freeform 13">
                  <a:extLst>
                    <a:ext uri="{FF2B5EF4-FFF2-40B4-BE49-F238E27FC236}">
                      <a16:creationId xmlns:a16="http://schemas.microsoft.com/office/drawing/2014/main" id="{34CE1F31-2A0A-43F7-B411-AB8EA99D25C9}"/>
                    </a:ext>
                  </a:extLst>
                </p:cNvPr>
                <p:cNvSpPr>
                  <a:spLocks/>
                </p:cNvSpPr>
                <p:nvPr/>
              </p:nvSpPr>
              <p:spPr bwMode="auto">
                <a:xfrm>
                  <a:off x="3184035" y="2246640"/>
                  <a:ext cx="78234" cy="326045"/>
                </a:xfrm>
                <a:custGeom>
                  <a:avLst/>
                  <a:gdLst>
                    <a:gd name="T0" fmla="*/ 92 w 93"/>
                    <a:gd name="T1" fmla="*/ 42 h 390"/>
                    <a:gd name="T2" fmla="*/ 58 w 93"/>
                    <a:gd name="T3" fmla="*/ 2 h 390"/>
                    <a:gd name="T4" fmla="*/ 19 w 93"/>
                    <a:gd name="T5" fmla="*/ 36 h 390"/>
                    <a:gd name="T6" fmla="*/ 0 w 93"/>
                    <a:gd name="T7" fmla="*/ 375 h 390"/>
                    <a:gd name="T8" fmla="*/ 41 w 93"/>
                    <a:gd name="T9" fmla="*/ 378 h 390"/>
                    <a:gd name="T10" fmla="*/ 92 w 93"/>
                    <a:gd name="T11" fmla="*/ 42 h 390"/>
                  </a:gdLst>
                  <a:ahLst/>
                  <a:cxnLst>
                    <a:cxn ang="0">
                      <a:pos x="T0" y="T1"/>
                    </a:cxn>
                    <a:cxn ang="0">
                      <a:pos x="T2" y="T3"/>
                    </a:cxn>
                    <a:cxn ang="0">
                      <a:pos x="T4" y="T5"/>
                    </a:cxn>
                    <a:cxn ang="0">
                      <a:pos x="T6" y="T7"/>
                    </a:cxn>
                    <a:cxn ang="0">
                      <a:pos x="T8" y="T9"/>
                    </a:cxn>
                    <a:cxn ang="0">
                      <a:pos x="T10" y="T11"/>
                    </a:cxn>
                  </a:cxnLst>
                  <a:rect l="0" t="0" r="r" b="b"/>
                  <a:pathLst>
                    <a:path w="93" h="390">
                      <a:moveTo>
                        <a:pt x="92" y="42"/>
                      </a:moveTo>
                      <a:cubicBezTo>
                        <a:pt x="93" y="21"/>
                        <a:pt x="78" y="4"/>
                        <a:pt x="58" y="2"/>
                      </a:cubicBezTo>
                      <a:cubicBezTo>
                        <a:pt x="38" y="0"/>
                        <a:pt x="20" y="16"/>
                        <a:pt x="19" y="36"/>
                      </a:cubicBezTo>
                      <a:cubicBezTo>
                        <a:pt x="0" y="375"/>
                        <a:pt x="0" y="375"/>
                        <a:pt x="0" y="375"/>
                      </a:cubicBezTo>
                      <a:cubicBezTo>
                        <a:pt x="0" y="386"/>
                        <a:pt x="40" y="390"/>
                        <a:pt x="41" y="378"/>
                      </a:cubicBezTo>
                      <a:lnTo>
                        <a:pt x="92" y="4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8" name="Freeform 14">
                  <a:extLst>
                    <a:ext uri="{FF2B5EF4-FFF2-40B4-BE49-F238E27FC236}">
                      <a16:creationId xmlns:a16="http://schemas.microsoft.com/office/drawing/2014/main" id="{DA0516A3-7C94-4451-A620-57B52B2141F5}"/>
                    </a:ext>
                  </a:extLst>
                </p:cNvPr>
                <p:cNvSpPr>
                  <a:spLocks/>
                </p:cNvSpPr>
                <p:nvPr/>
              </p:nvSpPr>
              <p:spPr bwMode="auto">
                <a:xfrm>
                  <a:off x="3078132" y="2246640"/>
                  <a:ext cx="79188" cy="326045"/>
                </a:xfrm>
                <a:custGeom>
                  <a:avLst/>
                  <a:gdLst>
                    <a:gd name="T0" fmla="*/ 2 w 94"/>
                    <a:gd name="T1" fmla="*/ 42 h 390"/>
                    <a:gd name="T2" fmla="*/ 35 w 94"/>
                    <a:gd name="T3" fmla="*/ 2 h 390"/>
                    <a:gd name="T4" fmla="*/ 75 w 94"/>
                    <a:gd name="T5" fmla="*/ 36 h 390"/>
                    <a:gd name="T6" fmla="*/ 94 w 94"/>
                    <a:gd name="T7" fmla="*/ 375 h 390"/>
                    <a:gd name="T8" fmla="*/ 52 w 94"/>
                    <a:gd name="T9" fmla="*/ 378 h 390"/>
                    <a:gd name="T10" fmla="*/ 2 w 94"/>
                    <a:gd name="T11" fmla="*/ 42 h 390"/>
                  </a:gdLst>
                  <a:ahLst/>
                  <a:cxnLst>
                    <a:cxn ang="0">
                      <a:pos x="T0" y="T1"/>
                    </a:cxn>
                    <a:cxn ang="0">
                      <a:pos x="T2" y="T3"/>
                    </a:cxn>
                    <a:cxn ang="0">
                      <a:pos x="T4" y="T5"/>
                    </a:cxn>
                    <a:cxn ang="0">
                      <a:pos x="T6" y="T7"/>
                    </a:cxn>
                    <a:cxn ang="0">
                      <a:pos x="T8" y="T9"/>
                    </a:cxn>
                    <a:cxn ang="0">
                      <a:pos x="T10" y="T11"/>
                    </a:cxn>
                  </a:cxnLst>
                  <a:rect l="0" t="0" r="r" b="b"/>
                  <a:pathLst>
                    <a:path w="94" h="390">
                      <a:moveTo>
                        <a:pt x="2" y="42"/>
                      </a:moveTo>
                      <a:cubicBezTo>
                        <a:pt x="0" y="21"/>
                        <a:pt x="15" y="4"/>
                        <a:pt x="35" y="2"/>
                      </a:cubicBezTo>
                      <a:cubicBezTo>
                        <a:pt x="56" y="0"/>
                        <a:pt x="73" y="16"/>
                        <a:pt x="75" y="36"/>
                      </a:cubicBezTo>
                      <a:cubicBezTo>
                        <a:pt x="94" y="375"/>
                        <a:pt x="94" y="375"/>
                        <a:pt x="94" y="375"/>
                      </a:cubicBezTo>
                      <a:cubicBezTo>
                        <a:pt x="93" y="386"/>
                        <a:pt x="53" y="390"/>
                        <a:pt x="52" y="378"/>
                      </a:cubicBezTo>
                      <a:lnTo>
                        <a:pt x="2" y="4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9" name="Freeform 15">
                  <a:extLst>
                    <a:ext uri="{FF2B5EF4-FFF2-40B4-BE49-F238E27FC236}">
                      <a16:creationId xmlns:a16="http://schemas.microsoft.com/office/drawing/2014/main" id="{3311F58A-6A33-4152-8897-8704B89FC67A}"/>
                    </a:ext>
                  </a:extLst>
                </p:cNvPr>
                <p:cNvSpPr>
                  <a:spLocks/>
                </p:cNvSpPr>
                <p:nvPr/>
              </p:nvSpPr>
              <p:spPr bwMode="auto">
                <a:xfrm>
                  <a:off x="3065730" y="1989236"/>
                  <a:ext cx="136433" cy="558661"/>
                </a:xfrm>
                <a:custGeom>
                  <a:avLst/>
                  <a:gdLst>
                    <a:gd name="T0" fmla="*/ 108 w 162"/>
                    <a:gd name="T1" fmla="*/ 350 h 668"/>
                    <a:gd name="T2" fmla="*/ 112 w 162"/>
                    <a:gd name="T3" fmla="*/ 668 h 668"/>
                    <a:gd name="T4" fmla="*/ 51 w 162"/>
                    <a:gd name="T5" fmla="*/ 668 h 668"/>
                    <a:gd name="T6" fmla="*/ 2 w 162"/>
                    <a:gd name="T7" fmla="*/ 356 h 668"/>
                    <a:gd name="T8" fmla="*/ 0 w 162"/>
                    <a:gd name="T9" fmla="*/ 32 h 668"/>
                    <a:gd name="T10" fmla="*/ 128 w 162"/>
                    <a:gd name="T11" fmla="*/ 0 h 668"/>
                    <a:gd name="T12" fmla="*/ 108 w 162"/>
                    <a:gd name="T13" fmla="*/ 350 h 668"/>
                  </a:gdLst>
                  <a:ahLst/>
                  <a:cxnLst>
                    <a:cxn ang="0">
                      <a:pos x="T0" y="T1"/>
                    </a:cxn>
                    <a:cxn ang="0">
                      <a:pos x="T2" y="T3"/>
                    </a:cxn>
                    <a:cxn ang="0">
                      <a:pos x="T4" y="T5"/>
                    </a:cxn>
                    <a:cxn ang="0">
                      <a:pos x="T6" y="T7"/>
                    </a:cxn>
                    <a:cxn ang="0">
                      <a:pos x="T8" y="T9"/>
                    </a:cxn>
                    <a:cxn ang="0">
                      <a:pos x="T10" y="T11"/>
                    </a:cxn>
                    <a:cxn ang="0">
                      <a:pos x="T12" y="T13"/>
                    </a:cxn>
                  </a:cxnLst>
                  <a:rect l="0" t="0" r="r" b="b"/>
                  <a:pathLst>
                    <a:path w="162" h="668">
                      <a:moveTo>
                        <a:pt x="108" y="350"/>
                      </a:moveTo>
                      <a:cubicBezTo>
                        <a:pt x="112" y="668"/>
                        <a:pt x="112" y="668"/>
                        <a:pt x="112" y="668"/>
                      </a:cubicBezTo>
                      <a:cubicBezTo>
                        <a:pt x="51" y="668"/>
                        <a:pt x="51" y="668"/>
                        <a:pt x="51" y="668"/>
                      </a:cubicBezTo>
                      <a:cubicBezTo>
                        <a:pt x="2" y="356"/>
                        <a:pt x="2" y="356"/>
                        <a:pt x="2" y="356"/>
                      </a:cubicBezTo>
                      <a:cubicBezTo>
                        <a:pt x="0" y="32"/>
                        <a:pt x="0" y="32"/>
                        <a:pt x="0" y="32"/>
                      </a:cubicBezTo>
                      <a:cubicBezTo>
                        <a:pt x="128" y="0"/>
                        <a:pt x="128" y="0"/>
                        <a:pt x="128" y="0"/>
                      </a:cubicBezTo>
                      <a:cubicBezTo>
                        <a:pt x="162" y="98"/>
                        <a:pt x="107" y="238"/>
                        <a:pt x="108" y="35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0" name="Freeform 16">
                  <a:extLst>
                    <a:ext uri="{FF2B5EF4-FFF2-40B4-BE49-F238E27FC236}">
                      <a16:creationId xmlns:a16="http://schemas.microsoft.com/office/drawing/2014/main" id="{371B016F-966B-40A0-B65A-EDD8DABB11A8}"/>
                    </a:ext>
                  </a:extLst>
                </p:cNvPr>
                <p:cNvSpPr>
                  <a:spLocks/>
                </p:cNvSpPr>
                <p:nvPr/>
              </p:nvSpPr>
              <p:spPr bwMode="auto">
                <a:xfrm>
                  <a:off x="3171631" y="1989236"/>
                  <a:ext cx="103040" cy="558661"/>
                </a:xfrm>
                <a:custGeom>
                  <a:avLst/>
                  <a:gdLst>
                    <a:gd name="T0" fmla="*/ 7 w 108"/>
                    <a:gd name="T1" fmla="*/ 586 h 586"/>
                    <a:gd name="T2" fmla="*/ 59 w 108"/>
                    <a:gd name="T3" fmla="*/ 586 h 586"/>
                    <a:gd name="T4" fmla="*/ 108 w 108"/>
                    <a:gd name="T5" fmla="*/ 306 h 586"/>
                    <a:gd name="T6" fmla="*/ 104 w 108"/>
                    <a:gd name="T7" fmla="*/ 0 h 586"/>
                    <a:gd name="T8" fmla="*/ 0 w 108"/>
                    <a:gd name="T9" fmla="*/ 0 h 586"/>
                    <a:gd name="T10" fmla="*/ 15 w 108"/>
                    <a:gd name="T11" fmla="*/ 308 h 586"/>
                    <a:gd name="T12" fmla="*/ 7 w 108"/>
                    <a:gd name="T13" fmla="*/ 586 h 586"/>
                  </a:gdLst>
                  <a:ahLst/>
                  <a:cxnLst>
                    <a:cxn ang="0">
                      <a:pos x="T0" y="T1"/>
                    </a:cxn>
                    <a:cxn ang="0">
                      <a:pos x="T2" y="T3"/>
                    </a:cxn>
                    <a:cxn ang="0">
                      <a:pos x="T4" y="T5"/>
                    </a:cxn>
                    <a:cxn ang="0">
                      <a:pos x="T6" y="T7"/>
                    </a:cxn>
                    <a:cxn ang="0">
                      <a:pos x="T8" y="T9"/>
                    </a:cxn>
                    <a:cxn ang="0">
                      <a:pos x="T10" y="T11"/>
                    </a:cxn>
                    <a:cxn ang="0">
                      <a:pos x="T12" y="T13"/>
                    </a:cxn>
                  </a:cxnLst>
                  <a:rect l="0" t="0" r="r" b="b"/>
                  <a:pathLst>
                    <a:path w="108" h="586">
                      <a:moveTo>
                        <a:pt x="7" y="586"/>
                      </a:moveTo>
                      <a:lnTo>
                        <a:pt x="59" y="586"/>
                      </a:lnTo>
                      <a:lnTo>
                        <a:pt x="108" y="306"/>
                      </a:lnTo>
                      <a:lnTo>
                        <a:pt x="104" y="0"/>
                      </a:lnTo>
                      <a:lnTo>
                        <a:pt x="0" y="0"/>
                      </a:lnTo>
                      <a:lnTo>
                        <a:pt x="15" y="308"/>
                      </a:lnTo>
                      <a:lnTo>
                        <a:pt x="7" y="58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1" name="Freeform 17">
                  <a:extLst>
                    <a:ext uri="{FF2B5EF4-FFF2-40B4-BE49-F238E27FC236}">
                      <a16:creationId xmlns:a16="http://schemas.microsoft.com/office/drawing/2014/main" id="{D5C5EC85-58E1-4864-92A1-EDA8DAA79AA9}"/>
                    </a:ext>
                  </a:extLst>
                </p:cNvPr>
                <p:cNvSpPr>
                  <a:spLocks/>
                </p:cNvSpPr>
                <p:nvPr/>
              </p:nvSpPr>
              <p:spPr bwMode="auto">
                <a:xfrm>
                  <a:off x="3181172" y="2577451"/>
                  <a:ext cx="165055" cy="41947"/>
                </a:xfrm>
                <a:custGeom>
                  <a:avLst/>
                  <a:gdLst>
                    <a:gd name="T0" fmla="*/ 0 w 196"/>
                    <a:gd name="T1" fmla="*/ 4 h 50"/>
                    <a:gd name="T2" fmla="*/ 0 w 196"/>
                    <a:gd name="T3" fmla="*/ 34 h 50"/>
                    <a:gd name="T4" fmla="*/ 18 w 196"/>
                    <a:gd name="T5" fmla="*/ 45 h 50"/>
                    <a:gd name="T6" fmla="*/ 112 w 196"/>
                    <a:gd name="T7" fmla="*/ 50 h 50"/>
                    <a:gd name="T8" fmla="*/ 176 w 196"/>
                    <a:gd name="T9" fmla="*/ 46 h 50"/>
                    <a:gd name="T10" fmla="*/ 182 w 196"/>
                    <a:gd name="T11" fmla="*/ 31 h 50"/>
                    <a:gd name="T12" fmla="*/ 95 w 196"/>
                    <a:gd name="T13" fmla="*/ 7 h 50"/>
                    <a:gd name="T14" fmla="*/ 0 w 196"/>
                    <a:gd name="T15" fmla="*/ 4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6" h="50">
                      <a:moveTo>
                        <a:pt x="0" y="4"/>
                      </a:moveTo>
                      <a:cubicBezTo>
                        <a:pt x="0" y="34"/>
                        <a:pt x="0" y="34"/>
                        <a:pt x="0" y="34"/>
                      </a:cubicBezTo>
                      <a:cubicBezTo>
                        <a:pt x="2" y="42"/>
                        <a:pt x="8" y="44"/>
                        <a:pt x="18" y="45"/>
                      </a:cubicBezTo>
                      <a:cubicBezTo>
                        <a:pt x="112" y="50"/>
                        <a:pt x="112" y="50"/>
                        <a:pt x="112" y="50"/>
                      </a:cubicBezTo>
                      <a:cubicBezTo>
                        <a:pt x="128" y="50"/>
                        <a:pt x="176" y="46"/>
                        <a:pt x="176" y="46"/>
                      </a:cubicBezTo>
                      <a:cubicBezTo>
                        <a:pt x="196" y="41"/>
                        <a:pt x="186" y="32"/>
                        <a:pt x="182" y="31"/>
                      </a:cubicBezTo>
                      <a:cubicBezTo>
                        <a:pt x="165" y="30"/>
                        <a:pt x="126" y="17"/>
                        <a:pt x="95" y="7"/>
                      </a:cubicBezTo>
                      <a:cubicBezTo>
                        <a:pt x="68" y="0"/>
                        <a:pt x="0" y="4"/>
                        <a:pt x="0" y="4"/>
                      </a:cubicBezTo>
                      <a:close/>
                    </a:path>
                  </a:pathLst>
                </a:custGeom>
                <a:solidFill>
                  <a:srgbClr val="2528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2" name="Freeform 18">
                  <a:extLst>
                    <a:ext uri="{FF2B5EF4-FFF2-40B4-BE49-F238E27FC236}">
                      <a16:creationId xmlns:a16="http://schemas.microsoft.com/office/drawing/2014/main" id="{56165EFC-D347-42EB-84B2-524A5D0558C8}"/>
                    </a:ext>
                  </a:extLst>
                </p:cNvPr>
                <p:cNvSpPr>
                  <a:spLocks/>
                </p:cNvSpPr>
                <p:nvPr/>
              </p:nvSpPr>
              <p:spPr bwMode="auto">
                <a:xfrm>
                  <a:off x="3180218" y="2558384"/>
                  <a:ext cx="110672" cy="36227"/>
                </a:xfrm>
                <a:custGeom>
                  <a:avLst/>
                  <a:gdLst>
                    <a:gd name="T0" fmla="*/ 4 w 131"/>
                    <a:gd name="T1" fmla="*/ 1 h 44"/>
                    <a:gd name="T2" fmla="*/ 1 w 131"/>
                    <a:gd name="T3" fmla="*/ 27 h 44"/>
                    <a:gd name="T4" fmla="*/ 113 w 131"/>
                    <a:gd name="T5" fmla="*/ 44 h 44"/>
                    <a:gd name="T6" fmla="*/ 125 w 131"/>
                    <a:gd name="T7" fmla="*/ 39 h 44"/>
                    <a:gd name="T8" fmla="*/ 46 w 131"/>
                    <a:gd name="T9" fmla="*/ 0 h 44"/>
                    <a:gd name="T10" fmla="*/ 4 w 131"/>
                    <a:gd name="T11" fmla="*/ 1 h 44"/>
                  </a:gdLst>
                  <a:ahLst/>
                  <a:cxnLst>
                    <a:cxn ang="0">
                      <a:pos x="T0" y="T1"/>
                    </a:cxn>
                    <a:cxn ang="0">
                      <a:pos x="T2" y="T3"/>
                    </a:cxn>
                    <a:cxn ang="0">
                      <a:pos x="T4" y="T5"/>
                    </a:cxn>
                    <a:cxn ang="0">
                      <a:pos x="T6" y="T7"/>
                    </a:cxn>
                    <a:cxn ang="0">
                      <a:pos x="T8" y="T9"/>
                    </a:cxn>
                    <a:cxn ang="0">
                      <a:pos x="T10" y="T11"/>
                    </a:cxn>
                  </a:cxnLst>
                  <a:rect l="0" t="0" r="r" b="b"/>
                  <a:pathLst>
                    <a:path w="131" h="44">
                      <a:moveTo>
                        <a:pt x="4" y="1"/>
                      </a:moveTo>
                      <a:cubicBezTo>
                        <a:pt x="3" y="11"/>
                        <a:pt x="0" y="21"/>
                        <a:pt x="1" y="27"/>
                      </a:cubicBezTo>
                      <a:cubicBezTo>
                        <a:pt x="2" y="35"/>
                        <a:pt x="113" y="44"/>
                        <a:pt x="113" y="44"/>
                      </a:cubicBezTo>
                      <a:cubicBezTo>
                        <a:pt x="115" y="44"/>
                        <a:pt x="131" y="41"/>
                        <a:pt x="125" y="39"/>
                      </a:cubicBezTo>
                      <a:cubicBezTo>
                        <a:pt x="99" y="32"/>
                        <a:pt x="45" y="11"/>
                        <a:pt x="46" y="0"/>
                      </a:cubicBezTo>
                      <a:lnTo>
                        <a:pt x="4" y="1"/>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3" name="Freeform 19">
                  <a:extLst>
                    <a:ext uri="{FF2B5EF4-FFF2-40B4-BE49-F238E27FC236}">
                      <a16:creationId xmlns:a16="http://schemas.microsoft.com/office/drawing/2014/main" id="{B3525FFC-1521-48A9-86F9-7C1ADD6F42A0}"/>
                    </a:ext>
                  </a:extLst>
                </p:cNvPr>
                <p:cNvSpPr>
                  <a:spLocks/>
                </p:cNvSpPr>
                <p:nvPr/>
              </p:nvSpPr>
              <p:spPr bwMode="auto">
                <a:xfrm>
                  <a:off x="2997036" y="2578404"/>
                  <a:ext cx="164101" cy="44808"/>
                </a:xfrm>
                <a:custGeom>
                  <a:avLst/>
                  <a:gdLst>
                    <a:gd name="T0" fmla="*/ 194 w 195"/>
                    <a:gd name="T1" fmla="*/ 0 h 53"/>
                    <a:gd name="T2" fmla="*/ 195 w 195"/>
                    <a:gd name="T3" fmla="*/ 31 h 53"/>
                    <a:gd name="T4" fmla="*/ 177 w 195"/>
                    <a:gd name="T5" fmla="*/ 42 h 53"/>
                    <a:gd name="T6" fmla="*/ 84 w 195"/>
                    <a:gd name="T7" fmla="*/ 51 h 53"/>
                    <a:gd name="T8" fmla="*/ 20 w 195"/>
                    <a:gd name="T9" fmla="*/ 51 h 53"/>
                    <a:gd name="T10" fmla="*/ 13 w 195"/>
                    <a:gd name="T11" fmla="*/ 37 h 53"/>
                    <a:gd name="T12" fmla="*/ 99 w 195"/>
                    <a:gd name="T13" fmla="*/ 9 h 53"/>
                    <a:gd name="T14" fmla="*/ 194 w 195"/>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53">
                      <a:moveTo>
                        <a:pt x="194" y="0"/>
                      </a:moveTo>
                      <a:cubicBezTo>
                        <a:pt x="195" y="31"/>
                        <a:pt x="195" y="31"/>
                        <a:pt x="195" y="31"/>
                      </a:cubicBezTo>
                      <a:cubicBezTo>
                        <a:pt x="194" y="38"/>
                        <a:pt x="188" y="41"/>
                        <a:pt x="177" y="42"/>
                      </a:cubicBezTo>
                      <a:cubicBezTo>
                        <a:pt x="84" y="51"/>
                        <a:pt x="84" y="51"/>
                        <a:pt x="84" y="51"/>
                      </a:cubicBezTo>
                      <a:cubicBezTo>
                        <a:pt x="68" y="53"/>
                        <a:pt x="20" y="51"/>
                        <a:pt x="20" y="51"/>
                      </a:cubicBezTo>
                      <a:cubicBezTo>
                        <a:pt x="0" y="48"/>
                        <a:pt x="9" y="38"/>
                        <a:pt x="13" y="37"/>
                      </a:cubicBezTo>
                      <a:cubicBezTo>
                        <a:pt x="30" y="35"/>
                        <a:pt x="68" y="20"/>
                        <a:pt x="99" y="9"/>
                      </a:cubicBezTo>
                      <a:cubicBezTo>
                        <a:pt x="125" y="0"/>
                        <a:pt x="194" y="0"/>
                        <a:pt x="194" y="0"/>
                      </a:cubicBezTo>
                      <a:close/>
                    </a:path>
                  </a:pathLst>
                </a:custGeom>
                <a:solidFill>
                  <a:srgbClr val="2528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4" name="Freeform 20">
                  <a:extLst>
                    <a:ext uri="{FF2B5EF4-FFF2-40B4-BE49-F238E27FC236}">
                      <a16:creationId xmlns:a16="http://schemas.microsoft.com/office/drawing/2014/main" id="{7B53003F-91AB-4058-B841-D20EE9532C83}"/>
                    </a:ext>
                  </a:extLst>
                </p:cNvPr>
                <p:cNvSpPr>
                  <a:spLocks/>
                </p:cNvSpPr>
                <p:nvPr/>
              </p:nvSpPr>
              <p:spPr bwMode="auto">
                <a:xfrm>
                  <a:off x="3051418" y="2558384"/>
                  <a:ext cx="108764" cy="40041"/>
                </a:xfrm>
                <a:custGeom>
                  <a:avLst/>
                  <a:gdLst>
                    <a:gd name="T0" fmla="*/ 126 w 130"/>
                    <a:gd name="T1" fmla="*/ 0 h 48"/>
                    <a:gd name="T2" fmla="*/ 129 w 130"/>
                    <a:gd name="T3" fmla="*/ 25 h 48"/>
                    <a:gd name="T4" fmla="*/ 19 w 130"/>
                    <a:gd name="T5" fmla="*/ 48 h 48"/>
                    <a:gd name="T6" fmla="*/ 6 w 130"/>
                    <a:gd name="T7" fmla="*/ 44 h 48"/>
                    <a:gd name="T8" fmla="*/ 83 w 130"/>
                    <a:gd name="T9" fmla="*/ 1 h 48"/>
                    <a:gd name="T10" fmla="*/ 126 w 130"/>
                    <a:gd name="T11" fmla="*/ 0 h 48"/>
                  </a:gdLst>
                  <a:ahLst/>
                  <a:cxnLst>
                    <a:cxn ang="0">
                      <a:pos x="T0" y="T1"/>
                    </a:cxn>
                    <a:cxn ang="0">
                      <a:pos x="T2" y="T3"/>
                    </a:cxn>
                    <a:cxn ang="0">
                      <a:pos x="T4" y="T5"/>
                    </a:cxn>
                    <a:cxn ang="0">
                      <a:pos x="T6" y="T7"/>
                    </a:cxn>
                    <a:cxn ang="0">
                      <a:pos x="T8" y="T9"/>
                    </a:cxn>
                    <a:cxn ang="0">
                      <a:pos x="T10" y="T11"/>
                    </a:cxn>
                  </a:cxnLst>
                  <a:rect l="0" t="0" r="r" b="b"/>
                  <a:pathLst>
                    <a:path w="130" h="48">
                      <a:moveTo>
                        <a:pt x="126" y="0"/>
                      </a:moveTo>
                      <a:cubicBezTo>
                        <a:pt x="126" y="10"/>
                        <a:pt x="130" y="21"/>
                        <a:pt x="129" y="25"/>
                      </a:cubicBezTo>
                      <a:cubicBezTo>
                        <a:pt x="129" y="34"/>
                        <a:pt x="19" y="48"/>
                        <a:pt x="19" y="48"/>
                      </a:cubicBezTo>
                      <a:cubicBezTo>
                        <a:pt x="16" y="48"/>
                        <a:pt x="0" y="46"/>
                        <a:pt x="6" y="44"/>
                      </a:cubicBezTo>
                      <a:cubicBezTo>
                        <a:pt x="32" y="35"/>
                        <a:pt x="85" y="11"/>
                        <a:pt x="83" y="1"/>
                      </a:cubicBezTo>
                      <a:lnTo>
                        <a:pt x="126" y="0"/>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5" name="Freeform 21">
                  <a:extLst>
                    <a:ext uri="{FF2B5EF4-FFF2-40B4-BE49-F238E27FC236}">
                      <a16:creationId xmlns:a16="http://schemas.microsoft.com/office/drawing/2014/main" id="{005DC28A-2A23-42B8-A93C-74DF993C689B}"/>
                    </a:ext>
                  </a:extLst>
                </p:cNvPr>
                <p:cNvSpPr>
                  <a:spLocks/>
                </p:cNvSpPr>
                <p:nvPr/>
              </p:nvSpPr>
              <p:spPr bwMode="auto">
                <a:xfrm>
                  <a:off x="3037107" y="1729926"/>
                  <a:ext cx="60107" cy="61014"/>
                </a:xfrm>
                <a:custGeom>
                  <a:avLst/>
                  <a:gdLst>
                    <a:gd name="T0" fmla="*/ 60 w 71"/>
                    <a:gd name="T1" fmla="*/ 16 h 73"/>
                    <a:gd name="T2" fmla="*/ 55 w 71"/>
                    <a:gd name="T3" fmla="*/ 62 h 73"/>
                    <a:gd name="T4" fmla="*/ 11 w 71"/>
                    <a:gd name="T5" fmla="*/ 57 h 73"/>
                    <a:gd name="T6" fmla="*/ 16 w 71"/>
                    <a:gd name="T7" fmla="*/ 11 h 73"/>
                    <a:gd name="T8" fmla="*/ 60 w 71"/>
                    <a:gd name="T9" fmla="*/ 16 h 73"/>
                  </a:gdLst>
                  <a:ahLst/>
                  <a:cxnLst>
                    <a:cxn ang="0">
                      <a:pos x="T0" y="T1"/>
                    </a:cxn>
                    <a:cxn ang="0">
                      <a:pos x="T2" y="T3"/>
                    </a:cxn>
                    <a:cxn ang="0">
                      <a:pos x="T4" y="T5"/>
                    </a:cxn>
                    <a:cxn ang="0">
                      <a:pos x="T6" y="T7"/>
                    </a:cxn>
                    <a:cxn ang="0">
                      <a:pos x="T8" y="T9"/>
                    </a:cxn>
                  </a:cxnLst>
                  <a:rect l="0" t="0" r="r" b="b"/>
                  <a:pathLst>
                    <a:path w="71" h="73">
                      <a:moveTo>
                        <a:pt x="60" y="16"/>
                      </a:moveTo>
                      <a:cubicBezTo>
                        <a:pt x="71" y="30"/>
                        <a:pt x="69" y="51"/>
                        <a:pt x="55" y="62"/>
                      </a:cubicBezTo>
                      <a:cubicBezTo>
                        <a:pt x="42" y="73"/>
                        <a:pt x="22" y="71"/>
                        <a:pt x="11" y="57"/>
                      </a:cubicBezTo>
                      <a:cubicBezTo>
                        <a:pt x="0" y="43"/>
                        <a:pt x="2" y="23"/>
                        <a:pt x="16" y="11"/>
                      </a:cubicBezTo>
                      <a:cubicBezTo>
                        <a:pt x="29" y="0"/>
                        <a:pt x="49" y="2"/>
                        <a:pt x="60"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6" name="Freeform 22">
                  <a:extLst>
                    <a:ext uri="{FF2B5EF4-FFF2-40B4-BE49-F238E27FC236}">
                      <a16:creationId xmlns:a16="http://schemas.microsoft.com/office/drawing/2014/main" id="{9CB34225-808B-4270-800E-6C51E8688866}"/>
                    </a:ext>
                  </a:extLst>
                </p:cNvPr>
                <p:cNvSpPr>
                  <a:spLocks/>
                </p:cNvSpPr>
                <p:nvPr/>
              </p:nvSpPr>
              <p:spPr bwMode="auto">
                <a:xfrm>
                  <a:off x="3049510" y="1748993"/>
                  <a:ext cx="119259" cy="23834"/>
                </a:xfrm>
                <a:custGeom>
                  <a:avLst/>
                  <a:gdLst>
                    <a:gd name="T0" fmla="*/ 0 w 125"/>
                    <a:gd name="T1" fmla="*/ 25 h 25"/>
                    <a:gd name="T2" fmla="*/ 125 w 125"/>
                    <a:gd name="T3" fmla="*/ 0 h 25"/>
                    <a:gd name="T4" fmla="*/ 0 w 125"/>
                    <a:gd name="T5" fmla="*/ 25 h 25"/>
                  </a:gdLst>
                  <a:ahLst/>
                  <a:cxnLst>
                    <a:cxn ang="0">
                      <a:pos x="T0" y="T1"/>
                    </a:cxn>
                    <a:cxn ang="0">
                      <a:pos x="T2" y="T3"/>
                    </a:cxn>
                    <a:cxn ang="0">
                      <a:pos x="T4" y="T5"/>
                    </a:cxn>
                  </a:cxnLst>
                  <a:rect l="0" t="0" r="r" b="b"/>
                  <a:pathLst>
                    <a:path w="125" h="25">
                      <a:moveTo>
                        <a:pt x="0" y="25"/>
                      </a:moveTo>
                      <a:lnTo>
                        <a:pt x="125" y="0"/>
                      </a:lnTo>
                      <a:lnTo>
                        <a:pt x="0" y="2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7" name="Line 23">
                  <a:extLst>
                    <a:ext uri="{FF2B5EF4-FFF2-40B4-BE49-F238E27FC236}">
                      <a16:creationId xmlns:a16="http://schemas.microsoft.com/office/drawing/2014/main" id="{FD556BA5-5667-4192-AA7F-325D382D5264}"/>
                    </a:ext>
                  </a:extLst>
                </p:cNvPr>
                <p:cNvSpPr>
                  <a:spLocks noChangeShapeType="1"/>
                </p:cNvSpPr>
                <p:nvPr/>
              </p:nvSpPr>
              <p:spPr bwMode="auto">
                <a:xfrm flipV="1">
                  <a:off x="3049510" y="1748993"/>
                  <a:ext cx="119259" cy="2383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8" name="Freeform 24">
                  <a:extLst>
                    <a:ext uri="{FF2B5EF4-FFF2-40B4-BE49-F238E27FC236}">
                      <a16:creationId xmlns:a16="http://schemas.microsoft.com/office/drawing/2014/main" id="{B9800B56-7F0B-4CBB-8E81-E979847DE282}"/>
                    </a:ext>
                  </a:extLst>
                </p:cNvPr>
                <p:cNvSpPr>
                  <a:spLocks/>
                </p:cNvSpPr>
                <p:nvPr/>
              </p:nvSpPr>
              <p:spPr bwMode="auto">
                <a:xfrm>
                  <a:off x="3168769" y="1748993"/>
                  <a:ext cx="119259" cy="23834"/>
                </a:xfrm>
                <a:custGeom>
                  <a:avLst/>
                  <a:gdLst>
                    <a:gd name="T0" fmla="*/ 125 w 125"/>
                    <a:gd name="T1" fmla="*/ 25 h 25"/>
                    <a:gd name="T2" fmla="*/ 0 w 125"/>
                    <a:gd name="T3" fmla="*/ 0 h 25"/>
                    <a:gd name="T4" fmla="*/ 125 w 125"/>
                    <a:gd name="T5" fmla="*/ 25 h 25"/>
                  </a:gdLst>
                  <a:ahLst/>
                  <a:cxnLst>
                    <a:cxn ang="0">
                      <a:pos x="T0" y="T1"/>
                    </a:cxn>
                    <a:cxn ang="0">
                      <a:pos x="T2" y="T3"/>
                    </a:cxn>
                    <a:cxn ang="0">
                      <a:pos x="T4" y="T5"/>
                    </a:cxn>
                  </a:cxnLst>
                  <a:rect l="0" t="0" r="r" b="b"/>
                  <a:pathLst>
                    <a:path w="125" h="25">
                      <a:moveTo>
                        <a:pt x="125" y="25"/>
                      </a:moveTo>
                      <a:lnTo>
                        <a:pt x="0" y="0"/>
                      </a:lnTo>
                      <a:lnTo>
                        <a:pt x="125" y="2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9" name="Line 25">
                  <a:extLst>
                    <a:ext uri="{FF2B5EF4-FFF2-40B4-BE49-F238E27FC236}">
                      <a16:creationId xmlns:a16="http://schemas.microsoft.com/office/drawing/2014/main" id="{2E305D06-10E2-40A3-BE30-37FEB3572F21}"/>
                    </a:ext>
                  </a:extLst>
                </p:cNvPr>
                <p:cNvSpPr>
                  <a:spLocks noChangeShapeType="1"/>
                </p:cNvSpPr>
                <p:nvPr/>
              </p:nvSpPr>
              <p:spPr bwMode="auto">
                <a:xfrm flipH="1" flipV="1">
                  <a:off x="3168769" y="1748993"/>
                  <a:ext cx="119259" cy="2383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0" name="Freeform 26">
                  <a:extLst>
                    <a:ext uri="{FF2B5EF4-FFF2-40B4-BE49-F238E27FC236}">
                      <a16:creationId xmlns:a16="http://schemas.microsoft.com/office/drawing/2014/main" id="{13A0F2E7-94C6-4220-AC83-39417290DCFB}"/>
                    </a:ext>
                  </a:extLst>
                </p:cNvPr>
                <p:cNvSpPr>
                  <a:spLocks/>
                </p:cNvSpPr>
                <p:nvPr/>
              </p:nvSpPr>
              <p:spPr bwMode="auto">
                <a:xfrm>
                  <a:off x="3055234" y="1724206"/>
                  <a:ext cx="223253" cy="359412"/>
                </a:xfrm>
                <a:custGeom>
                  <a:avLst/>
                  <a:gdLst>
                    <a:gd name="T0" fmla="*/ 153 w 265"/>
                    <a:gd name="T1" fmla="*/ 429 h 429"/>
                    <a:gd name="T2" fmla="*/ 258 w 265"/>
                    <a:gd name="T3" fmla="*/ 418 h 429"/>
                    <a:gd name="T4" fmla="*/ 265 w 265"/>
                    <a:gd name="T5" fmla="*/ 149 h 429"/>
                    <a:gd name="T6" fmla="*/ 258 w 265"/>
                    <a:gd name="T7" fmla="*/ 4 h 429"/>
                    <a:gd name="T8" fmla="*/ 198 w 265"/>
                    <a:gd name="T9" fmla="*/ 0 h 429"/>
                    <a:gd name="T10" fmla="*/ 117 w 265"/>
                    <a:gd name="T11" fmla="*/ 65 h 429"/>
                    <a:gd name="T12" fmla="*/ 49 w 265"/>
                    <a:gd name="T13" fmla="*/ 3 h 429"/>
                    <a:gd name="T14" fmla="*/ 10 w 265"/>
                    <a:gd name="T15" fmla="*/ 11 h 429"/>
                    <a:gd name="T16" fmla="*/ 0 w 265"/>
                    <a:gd name="T17" fmla="*/ 149 h 429"/>
                    <a:gd name="T18" fmla="*/ 11 w 265"/>
                    <a:gd name="T19" fmla="*/ 41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5" h="429">
                      <a:moveTo>
                        <a:pt x="153" y="429"/>
                      </a:moveTo>
                      <a:cubicBezTo>
                        <a:pt x="258" y="418"/>
                        <a:pt x="258" y="418"/>
                        <a:pt x="258" y="418"/>
                      </a:cubicBezTo>
                      <a:cubicBezTo>
                        <a:pt x="265" y="149"/>
                        <a:pt x="265" y="149"/>
                        <a:pt x="265" y="149"/>
                      </a:cubicBezTo>
                      <a:cubicBezTo>
                        <a:pt x="250" y="107"/>
                        <a:pt x="258" y="4"/>
                        <a:pt x="258" y="4"/>
                      </a:cubicBezTo>
                      <a:cubicBezTo>
                        <a:pt x="198" y="0"/>
                        <a:pt x="198" y="0"/>
                        <a:pt x="198" y="0"/>
                      </a:cubicBezTo>
                      <a:cubicBezTo>
                        <a:pt x="117" y="65"/>
                        <a:pt x="117" y="65"/>
                        <a:pt x="117" y="65"/>
                      </a:cubicBezTo>
                      <a:cubicBezTo>
                        <a:pt x="49" y="3"/>
                        <a:pt x="49" y="3"/>
                        <a:pt x="49" y="3"/>
                      </a:cubicBezTo>
                      <a:cubicBezTo>
                        <a:pt x="10" y="11"/>
                        <a:pt x="10" y="11"/>
                        <a:pt x="10" y="11"/>
                      </a:cubicBezTo>
                      <a:cubicBezTo>
                        <a:pt x="10" y="11"/>
                        <a:pt x="15" y="107"/>
                        <a:pt x="0" y="149"/>
                      </a:cubicBezTo>
                      <a:cubicBezTo>
                        <a:pt x="11" y="417"/>
                        <a:pt x="11" y="417"/>
                        <a:pt x="11" y="417"/>
                      </a:cubicBezTo>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1" name="Freeform 27">
                  <a:extLst>
                    <a:ext uri="{FF2B5EF4-FFF2-40B4-BE49-F238E27FC236}">
                      <a16:creationId xmlns:a16="http://schemas.microsoft.com/office/drawing/2014/main" id="{CBE971A2-DD41-4905-A4D6-185881900D93}"/>
                    </a:ext>
                  </a:extLst>
                </p:cNvPr>
                <p:cNvSpPr>
                  <a:spLocks/>
                </p:cNvSpPr>
                <p:nvPr/>
              </p:nvSpPr>
              <p:spPr bwMode="auto">
                <a:xfrm>
                  <a:off x="3086719" y="1716579"/>
                  <a:ext cx="161239" cy="32414"/>
                </a:xfrm>
                <a:custGeom>
                  <a:avLst/>
                  <a:gdLst>
                    <a:gd name="T0" fmla="*/ 58 w 169"/>
                    <a:gd name="T1" fmla="*/ 8 h 34"/>
                    <a:gd name="T2" fmla="*/ 104 w 169"/>
                    <a:gd name="T3" fmla="*/ 21 h 34"/>
                    <a:gd name="T4" fmla="*/ 117 w 169"/>
                    <a:gd name="T5" fmla="*/ 1 h 34"/>
                    <a:gd name="T6" fmla="*/ 169 w 169"/>
                    <a:gd name="T7" fmla="*/ 10 h 34"/>
                    <a:gd name="T8" fmla="*/ 164 w 169"/>
                    <a:gd name="T9" fmla="*/ 22 h 34"/>
                    <a:gd name="T10" fmla="*/ 146 w 169"/>
                    <a:gd name="T11" fmla="*/ 34 h 34"/>
                    <a:gd name="T12" fmla="*/ 57 w 169"/>
                    <a:gd name="T13" fmla="*/ 34 h 34"/>
                    <a:gd name="T14" fmla="*/ 5 w 169"/>
                    <a:gd name="T15" fmla="*/ 24 h 34"/>
                    <a:gd name="T16" fmla="*/ 0 w 169"/>
                    <a:gd name="T17" fmla="*/ 13 h 34"/>
                    <a:gd name="T18" fmla="*/ 58 w 169"/>
                    <a:gd name="T19" fmla="*/ 0 h 34"/>
                    <a:gd name="T20" fmla="*/ 58 w 169"/>
                    <a:gd name="T2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34">
                      <a:moveTo>
                        <a:pt x="58" y="8"/>
                      </a:moveTo>
                      <a:lnTo>
                        <a:pt x="104" y="21"/>
                      </a:lnTo>
                      <a:lnTo>
                        <a:pt x="117" y="1"/>
                      </a:lnTo>
                      <a:lnTo>
                        <a:pt x="169" y="10"/>
                      </a:lnTo>
                      <a:lnTo>
                        <a:pt x="164" y="22"/>
                      </a:lnTo>
                      <a:lnTo>
                        <a:pt x="146" y="34"/>
                      </a:lnTo>
                      <a:lnTo>
                        <a:pt x="57" y="34"/>
                      </a:lnTo>
                      <a:lnTo>
                        <a:pt x="5" y="24"/>
                      </a:lnTo>
                      <a:lnTo>
                        <a:pt x="0" y="13"/>
                      </a:lnTo>
                      <a:lnTo>
                        <a:pt x="58" y="0"/>
                      </a:lnTo>
                      <a:lnTo>
                        <a:pt x="58" y="8"/>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2" name="Freeform 28">
                  <a:extLst>
                    <a:ext uri="{FF2B5EF4-FFF2-40B4-BE49-F238E27FC236}">
                      <a16:creationId xmlns:a16="http://schemas.microsoft.com/office/drawing/2014/main" id="{C65B2F9E-C907-4131-BDCD-9C5F11E5DD24}"/>
                    </a:ext>
                  </a:extLst>
                </p:cNvPr>
                <p:cNvSpPr>
                  <a:spLocks noEditPoints="1"/>
                </p:cNvSpPr>
                <p:nvPr/>
              </p:nvSpPr>
              <p:spPr bwMode="auto">
                <a:xfrm>
                  <a:off x="3207886" y="1609804"/>
                  <a:ext cx="53428" cy="89615"/>
                </a:xfrm>
                <a:custGeom>
                  <a:avLst/>
                  <a:gdLst>
                    <a:gd name="T0" fmla="*/ 56 w 63"/>
                    <a:gd name="T1" fmla="*/ 0 h 107"/>
                    <a:gd name="T2" fmla="*/ 6 w 63"/>
                    <a:gd name="T3" fmla="*/ 0 h 107"/>
                    <a:gd name="T4" fmla="*/ 0 w 63"/>
                    <a:gd name="T5" fmla="*/ 7 h 107"/>
                    <a:gd name="T6" fmla="*/ 0 w 63"/>
                    <a:gd name="T7" fmla="*/ 100 h 107"/>
                    <a:gd name="T8" fmla="*/ 6 w 63"/>
                    <a:gd name="T9" fmla="*/ 107 h 107"/>
                    <a:gd name="T10" fmla="*/ 56 w 63"/>
                    <a:gd name="T11" fmla="*/ 107 h 107"/>
                    <a:gd name="T12" fmla="*/ 63 w 63"/>
                    <a:gd name="T13" fmla="*/ 100 h 107"/>
                    <a:gd name="T14" fmla="*/ 63 w 63"/>
                    <a:gd name="T15" fmla="*/ 7 h 107"/>
                    <a:gd name="T16" fmla="*/ 56 w 63"/>
                    <a:gd name="T17" fmla="*/ 0 h 107"/>
                    <a:gd name="T18" fmla="*/ 40 w 63"/>
                    <a:gd name="T19" fmla="*/ 97 h 107"/>
                    <a:gd name="T20" fmla="*/ 23 w 63"/>
                    <a:gd name="T21" fmla="*/ 97 h 107"/>
                    <a:gd name="T22" fmla="*/ 23 w 63"/>
                    <a:gd name="T23" fmla="*/ 90 h 107"/>
                    <a:gd name="T24" fmla="*/ 40 w 63"/>
                    <a:gd name="T25" fmla="*/ 90 h 107"/>
                    <a:gd name="T26" fmla="*/ 40 w 63"/>
                    <a:gd name="T27" fmla="*/ 97 h 107"/>
                    <a:gd name="T28" fmla="*/ 56 w 63"/>
                    <a:gd name="T29" fmla="*/ 80 h 107"/>
                    <a:gd name="T30" fmla="*/ 6 w 63"/>
                    <a:gd name="T31" fmla="*/ 80 h 107"/>
                    <a:gd name="T32" fmla="*/ 6 w 63"/>
                    <a:gd name="T33" fmla="*/ 7 h 107"/>
                    <a:gd name="T34" fmla="*/ 56 w 63"/>
                    <a:gd name="T35" fmla="*/ 7 h 107"/>
                    <a:gd name="T36" fmla="*/ 56 w 63"/>
                    <a:gd name="T37" fmla="*/ 8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3" h="107">
                      <a:moveTo>
                        <a:pt x="56" y="0"/>
                      </a:moveTo>
                      <a:cubicBezTo>
                        <a:pt x="6" y="0"/>
                        <a:pt x="6" y="0"/>
                        <a:pt x="6" y="0"/>
                      </a:cubicBezTo>
                      <a:cubicBezTo>
                        <a:pt x="3" y="0"/>
                        <a:pt x="0" y="3"/>
                        <a:pt x="0" y="7"/>
                      </a:cubicBezTo>
                      <a:cubicBezTo>
                        <a:pt x="0" y="100"/>
                        <a:pt x="0" y="100"/>
                        <a:pt x="0" y="100"/>
                      </a:cubicBezTo>
                      <a:cubicBezTo>
                        <a:pt x="0" y="104"/>
                        <a:pt x="3" y="107"/>
                        <a:pt x="6" y="107"/>
                      </a:cubicBezTo>
                      <a:cubicBezTo>
                        <a:pt x="56" y="107"/>
                        <a:pt x="56" y="107"/>
                        <a:pt x="56" y="107"/>
                      </a:cubicBezTo>
                      <a:cubicBezTo>
                        <a:pt x="60" y="107"/>
                        <a:pt x="63" y="104"/>
                        <a:pt x="63" y="100"/>
                      </a:cubicBezTo>
                      <a:cubicBezTo>
                        <a:pt x="63" y="7"/>
                        <a:pt x="63" y="7"/>
                        <a:pt x="63" y="7"/>
                      </a:cubicBezTo>
                      <a:cubicBezTo>
                        <a:pt x="63" y="3"/>
                        <a:pt x="60" y="0"/>
                        <a:pt x="56" y="0"/>
                      </a:cubicBezTo>
                      <a:close/>
                      <a:moveTo>
                        <a:pt x="40" y="97"/>
                      </a:moveTo>
                      <a:cubicBezTo>
                        <a:pt x="23" y="97"/>
                        <a:pt x="23" y="97"/>
                        <a:pt x="23" y="97"/>
                      </a:cubicBezTo>
                      <a:cubicBezTo>
                        <a:pt x="23" y="90"/>
                        <a:pt x="23" y="90"/>
                        <a:pt x="23" y="90"/>
                      </a:cubicBezTo>
                      <a:cubicBezTo>
                        <a:pt x="40" y="90"/>
                        <a:pt x="40" y="90"/>
                        <a:pt x="40" y="90"/>
                      </a:cubicBezTo>
                      <a:lnTo>
                        <a:pt x="40" y="97"/>
                      </a:lnTo>
                      <a:close/>
                      <a:moveTo>
                        <a:pt x="56" y="80"/>
                      </a:moveTo>
                      <a:cubicBezTo>
                        <a:pt x="6" y="80"/>
                        <a:pt x="6" y="80"/>
                        <a:pt x="6" y="80"/>
                      </a:cubicBezTo>
                      <a:cubicBezTo>
                        <a:pt x="6" y="7"/>
                        <a:pt x="6" y="7"/>
                        <a:pt x="6" y="7"/>
                      </a:cubicBezTo>
                      <a:cubicBezTo>
                        <a:pt x="56" y="7"/>
                        <a:pt x="56" y="7"/>
                        <a:pt x="56" y="7"/>
                      </a:cubicBezTo>
                      <a:lnTo>
                        <a:pt x="56"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3" name="Rectangle 29">
                  <a:extLst>
                    <a:ext uri="{FF2B5EF4-FFF2-40B4-BE49-F238E27FC236}">
                      <a16:creationId xmlns:a16="http://schemas.microsoft.com/office/drawing/2014/main" id="{A112B580-D972-46B5-BED0-DBA4BFCBFDEB}"/>
                    </a:ext>
                  </a:extLst>
                </p:cNvPr>
                <p:cNvSpPr>
                  <a:spLocks noChangeArrowheads="1"/>
                </p:cNvSpPr>
                <p:nvPr/>
              </p:nvSpPr>
              <p:spPr bwMode="auto">
                <a:xfrm>
                  <a:off x="3213611" y="1615524"/>
                  <a:ext cx="41979" cy="6101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4" name="Rectangle 30">
                  <a:extLst>
                    <a:ext uri="{FF2B5EF4-FFF2-40B4-BE49-F238E27FC236}">
                      <a16:creationId xmlns:a16="http://schemas.microsoft.com/office/drawing/2014/main" id="{F3B3B432-E3AA-471C-B8A9-F209B60C6489}"/>
                    </a:ext>
                  </a:extLst>
                </p:cNvPr>
                <p:cNvSpPr>
                  <a:spLocks noChangeArrowheads="1"/>
                </p:cNvSpPr>
                <p:nvPr/>
              </p:nvSpPr>
              <p:spPr bwMode="auto">
                <a:xfrm>
                  <a:off x="3227922" y="1685119"/>
                  <a:ext cx="14311" cy="57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5" name="Rectangle 31">
                  <a:extLst>
                    <a:ext uri="{FF2B5EF4-FFF2-40B4-BE49-F238E27FC236}">
                      <a16:creationId xmlns:a16="http://schemas.microsoft.com/office/drawing/2014/main" id="{6FE9A613-148F-489A-A5C8-D8C97E5029FF}"/>
                    </a:ext>
                  </a:extLst>
                </p:cNvPr>
                <p:cNvSpPr>
                  <a:spLocks noChangeArrowheads="1"/>
                </p:cNvSpPr>
                <p:nvPr/>
              </p:nvSpPr>
              <p:spPr bwMode="auto">
                <a:xfrm>
                  <a:off x="3243187" y="1646985"/>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6" name="Rectangle 32">
                  <a:extLst>
                    <a:ext uri="{FF2B5EF4-FFF2-40B4-BE49-F238E27FC236}">
                      <a16:creationId xmlns:a16="http://schemas.microsoft.com/office/drawing/2014/main" id="{7E093CEC-6E43-406D-B0DA-65C44D9BD7F9}"/>
                    </a:ext>
                  </a:extLst>
                </p:cNvPr>
                <p:cNvSpPr>
                  <a:spLocks noChangeArrowheads="1"/>
                </p:cNvSpPr>
                <p:nvPr/>
              </p:nvSpPr>
              <p:spPr bwMode="auto">
                <a:xfrm>
                  <a:off x="3217427" y="1621244"/>
                  <a:ext cx="17173" cy="1620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7" name="Rectangle 33">
                  <a:extLst>
                    <a:ext uri="{FF2B5EF4-FFF2-40B4-BE49-F238E27FC236}">
                      <a16:creationId xmlns:a16="http://schemas.microsoft.com/office/drawing/2014/main" id="{680934E7-C476-403C-AEEB-D81357B13538}"/>
                    </a:ext>
                  </a:extLst>
                </p:cNvPr>
                <p:cNvSpPr>
                  <a:spLocks noChangeArrowheads="1"/>
                </p:cNvSpPr>
                <p:nvPr/>
              </p:nvSpPr>
              <p:spPr bwMode="auto">
                <a:xfrm>
                  <a:off x="3226014" y="1638404"/>
                  <a:ext cx="16220" cy="1716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8" name="Rectangle 34">
                  <a:extLst>
                    <a:ext uri="{FF2B5EF4-FFF2-40B4-BE49-F238E27FC236}">
                      <a16:creationId xmlns:a16="http://schemas.microsoft.com/office/drawing/2014/main" id="{8138A6AA-D02E-433F-9A15-112378B030C7}"/>
                    </a:ext>
                  </a:extLst>
                </p:cNvPr>
                <p:cNvSpPr>
                  <a:spLocks noChangeArrowheads="1"/>
                </p:cNvSpPr>
                <p:nvPr/>
              </p:nvSpPr>
              <p:spPr bwMode="auto">
                <a:xfrm>
                  <a:off x="3235555" y="1655565"/>
                  <a:ext cx="16220" cy="1716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9" name="Rectangle 35">
                  <a:extLst>
                    <a:ext uri="{FF2B5EF4-FFF2-40B4-BE49-F238E27FC236}">
                      <a16:creationId xmlns:a16="http://schemas.microsoft.com/office/drawing/2014/main" id="{2CE4C384-5B53-46EB-966C-0A7D5D891DA7}"/>
                    </a:ext>
                  </a:extLst>
                </p:cNvPr>
                <p:cNvSpPr>
                  <a:spLocks noChangeArrowheads="1"/>
                </p:cNvSpPr>
                <p:nvPr/>
              </p:nvSpPr>
              <p:spPr bwMode="auto">
                <a:xfrm>
                  <a:off x="3235555" y="1621244"/>
                  <a:ext cx="6679"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0" name="Rectangle 36">
                  <a:extLst>
                    <a:ext uri="{FF2B5EF4-FFF2-40B4-BE49-F238E27FC236}">
                      <a16:creationId xmlns:a16="http://schemas.microsoft.com/office/drawing/2014/main" id="{F295DA10-B6AF-47AF-84A3-06E193AC0999}"/>
                    </a:ext>
                  </a:extLst>
                </p:cNvPr>
                <p:cNvSpPr>
                  <a:spLocks noChangeArrowheads="1"/>
                </p:cNvSpPr>
                <p:nvPr/>
              </p:nvSpPr>
              <p:spPr bwMode="auto">
                <a:xfrm>
                  <a:off x="3243187" y="1621244"/>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1" name="Rectangle 37">
                  <a:extLst>
                    <a:ext uri="{FF2B5EF4-FFF2-40B4-BE49-F238E27FC236}">
                      <a16:creationId xmlns:a16="http://schemas.microsoft.com/office/drawing/2014/main" id="{39AB6CCF-8321-4EA1-8E40-EE4E66B23EEF}"/>
                    </a:ext>
                  </a:extLst>
                </p:cNvPr>
                <p:cNvSpPr>
                  <a:spLocks noChangeArrowheads="1"/>
                </p:cNvSpPr>
                <p:nvPr/>
              </p:nvSpPr>
              <p:spPr bwMode="auto">
                <a:xfrm>
                  <a:off x="3235555" y="1628871"/>
                  <a:ext cx="6679" cy="8580"/>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2" name="Rectangle 38">
                  <a:extLst>
                    <a:ext uri="{FF2B5EF4-FFF2-40B4-BE49-F238E27FC236}">
                      <a16:creationId xmlns:a16="http://schemas.microsoft.com/office/drawing/2014/main" id="{C08E9516-7FE1-4526-890E-24CF7D19EC17}"/>
                    </a:ext>
                  </a:extLst>
                </p:cNvPr>
                <p:cNvSpPr>
                  <a:spLocks noChangeArrowheads="1"/>
                </p:cNvSpPr>
                <p:nvPr/>
              </p:nvSpPr>
              <p:spPr bwMode="auto">
                <a:xfrm>
                  <a:off x="3243187" y="1628871"/>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3" name="Rectangle 39">
                  <a:extLst>
                    <a:ext uri="{FF2B5EF4-FFF2-40B4-BE49-F238E27FC236}">
                      <a16:creationId xmlns:a16="http://schemas.microsoft.com/office/drawing/2014/main" id="{D457E85C-99BE-47D0-B2D7-BF1A81D11643}"/>
                    </a:ext>
                  </a:extLst>
                </p:cNvPr>
                <p:cNvSpPr>
                  <a:spLocks noChangeArrowheads="1"/>
                </p:cNvSpPr>
                <p:nvPr/>
              </p:nvSpPr>
              <p:spPr bwMode="auto">
                <a:xfrm>
                  <a:off x="3217427" y="1638404"/>
                  <a:ext cx="7633"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4" name="Rectangle 40">
                  <a:extLst>
                    <a:ext uri="{FF2B5EF4-FFF2-40B4-BE49-F238E27FC236}">
                      <a16:creationId xmlns:a16="http://schemas.microsoft.com/office/drawing/2014/main" id="{C40868CF-4DC0-42AB-BAD4-47DDF300FD63}"/>
                    </a:ext>
                  </a:extLst>
                </p:cNvPr>
                <p:cNvSpPr>
                  <a:spLocks noChangeArrowheads="1"/>
                </p:cNvSpPr>
                <p:nvPr/>
              </p:nvSpPr>
              <p:spPr bwMode="auto">
                <a:xfrm>
                  <a:off x="3243187" y="1638404"/>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5" name="Rectangle 41">
                  <a:extLst>
                    <a:ext uri="{FF2B5EF4-FFF2-40B4-BE49-F238E27FC236}">
                      <a16:creationId xmlns:a16="http://schemas.microsoft.com/office/drawing/2014/main" id="{31C65241-5AF6-412D-972D-19DD501BB26C}"/>
                    </a:ext>
                  </a:extLst>
                </p:cNvPr>
                <p:cNvSpPr>
                  <a:spLocks noChangeArrowheads="1"/>
                </p:cNvSpPr>
                <p:nvPr/>
              </p:nvSpPr>
              <p:spPr bwMode="auto">
                <a:xfrm>
                  <a:off x="3217427" y="1646985"/>
                  <a:ext cx="7633"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6" name="Rectangle 42">
                  <a:extLst>
                    <a:ext uri="{FF2B5EF4-FFF2-40B4-BE49-F238E27FC236}">
                      <a16:creationId xmlns:a16="http://schemas.microsoft.com/office/drawing/2014/main" id="{66FA6A4C-0D70-4447-88A7-C1BD093E6D3F}"/>
                    </a:ext>
                  </a:extLst>
                </p:cNvPr>
                <p:cNvSpPr>
                  <a:spLocks noChangeArrowheads="1"/>
                </p:cNvSpPr>
                <p:nvPr/>
              </p:nvSpPr>
              <p:spPr bwMode="auto">
                <a:xfrm>
                  <a:off x="3217427" y="1655565"/>
                  <a:ext cx="7633"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7" name="Rectangle 43">
                  <a:extLst>
                    <a:ext uri="{FF2B5EF4-FFF2-40B4-BE49-F238E27FC236}">
                      <a16:creationId xmlns:a16="http://schemas.microsoft.com/office/drawing/2014/main" id="{E2459CDE-1533-44AE-9BB2-46556E30E194}"/>
                    </a:ext>
                  </a:extLst>
                </p:cNvPr>
                <p:cNvSpPr>
                  <a:spLocks noChangeArrowheads="1"/>
                </p:cNvSpPr>
                <p:nvPr/>
              </p:nvSpPr>
              <p:spPr bwMode="auto">
                <a:xfrm>
                  <a:off x="3226014" y="1655565"/>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8" name="Rectangle 44">
                  <a:extLst>
                    <a:ext uri="{FF2B5EF4-FFF2-40B4-BE49-F238E27FC236}">
                      <a16:creationId xmlns:a16="http://schemas.microsoft.com/office/drawing/2014/main" id="{83C484F8-6EF8-4E22-A003-412336A882A0}"/>
                    </a:ext>
                  </a:extLst>
                </p:cNvPr>
                <p:cNvSpPr>
                  <a:spLocks noChangeArrowheads="1"/>
                </p:cNvSpPr>
                <p:nvPr/>
              </p:nvSpPr>
              <p:spPr bwMode="auto">
                <a:xfrm>
                  <a:off x="3217427" y="1664145"/>
                  <a:ext cx="7633"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9" name="Rectangle 45">
                  <a:extLst>
                    <a:ext uri="{FF2B5EF4-FFF2-40B4-BE49-F238E27FC236}">
                      <a16:creationId xmlns:a16="http://schemas.microsoft.com/office/drawing/2014/main" id="{198C051F-0951-4624-80FC-7ABB1F419BCE}"/>
                    </a:ext>
                  </a:extLst>
                </p:cNvPr>
                <p:cNvSpPr>
                  <a:spLocks noChangeArrowheads="1"/>
                </p:cNvSpPr>
                <p:nvPr/>
              </p:nvSpPr>
              <p:spPr bwMode="auto">
                <a:xfrm>
                  <a:off x="3226014" y="1664145"/>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0" name="Freeform 46">
                  <a:extLst>
                    <a:ext uri="{FF2B5EF4-FFF2-40B4-BE49-F238E27FC236}">
                      <a16:creationId xmlns:a16="http://schemas.microsoft.com/office/drawing/2014/main" id="{B2EFEB36-0D44-41BD-839F-65E92732A184}"/>
                    </a:ext>
                  </a:extLst>
                </p:cNvPr>
                <p:cNvSpPr>
                  <a:spLocks/>
                </p:cNvSpPr>
                <p:nvPr/>
              </p:nvSpPr>
              <p:spPr bwMode="auto">
                <a:xfrm>
                  <a:off x="3243187" y="1732786"/>
                  <a:ext cx="70601" cy="178276"/>
                </a:xfrm>
                <a:custGeom>
                  <a:avLst/>
                  <a:gdLst>
                    <a:gd name="T0" fmla="*/ 53 w 84"/>
                    <a:gd name="T1" fmla="*/ 213 h 213"/>
                    <a:gd name="T2" fmla="*/ 21 w 84"/>
                    <a:gd name="T3" fmla="*/ 183 h 213"/>
                    <a:gd name="T4" fmla="*/ 9 w 84"/>
                    <a:gd name="T5" fmla="*/ 73 h 213"/>
                    <a:gd name="T6" fmla="*/ 2 w 84"/>
                    <a:gd name="T7" fmla="*/ 39 h 213"/>
                    <a:gd name="T8" fmla="*/ 28 w 84"/>
                    <a:gd name="T9" fmla="*/ 3 h 213"/>
                    <a:gd name="T10" fmla="*/ 64 w 84"/>
                    <a:gd name="T11" fmla="*/ 29 h 213"/>
                    <a:gd name="T12" fmla="*/ 70 w 84"/>
                    <a:gd name="T13" fmla="*/ 61 h 213"/>
                    <a:gd name="T14" fmla="*/ 84 w 84"/>
                    <a:gd name="T15" fmla="*/ 181 h 213"/>
                    <a:gd name="T16" fmla="*/ 53 w 84"/>
                    <a:gd name="T17" fmla="*/ 213 h 213"/>
                    <a:gd name="T18" fmla="*/ 53 w 84"/>
                    <a:gd name="T19"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213">
                      <a:moveTo>
                        <a:pt x="53" y="213"/>
                      </a:moveTo>
                      <a:cubicBezTo>
                        <a:pt x="36" y="213"/>
                        <a:pt x="22" y="200"/>
                        <a:pt x="21" y="183"/>
                      </a:cubicBezTo>
                      <a:cubicBezTo>
                        <a:pt x="20" y="129"/>
                        <a:pt x="15" y="103"/>
                        <a:pt x="9" y="73"/>
                      </a:cubicBezTo>
                      <a:cubicBezTo>
                        <a:pt x="7" y="62"/>
                        <a:pt x="4" y="51"/>
                        <a:pt x="2" y="39"/>
                      </a:cubicBezTo>
                      <a:cubicBezTo>
                        <a:pt x="0" y="22"/>
                        <a:pt x="11" y="6"/>
                        <a:pt x="28" y="3"/>
                      </a:cubicBezTo>
                      <a:cubicBezTo>
                        <a:pt x="45" y="0"/>
                        <a:pt x="61" y="12"/>
                        <a:pt x="64" y="29"/>
                      </a:cubicBezTo>
                      <a:cubicBezTo>
                        <a:pt x="66" y="40"/>
                        <a:pt x="68" y="50"/>
                        <a:pt x="70" y="61"/>
                      </a:cubicBezTo>
                      <a:cubicBezTo>
                        <a:pt x="76" y="92"/>
                        <a:pt x="82" y="122"/>
                        <a:pt x="84" y="181"/>
                      </a:cubicBezTo>
                      <a:cubicBezTo>
                        <a:pt x="84" y="198"/>
                        <a:pt x="71" y="213"/>
                        <a:pt x="53" y="213"/>
                      </a:cubicBezTo>
                      <a:cubicBezTo>
                        <a:pt x="53" y="213"/>
                        <a:pt x="53" y="213"/>
                        <a:pt x="53" y="213"/>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1" name="Freeform 47">
                  <a:extLst>
                    <a:ext uri="{FF2B5EF4-FFF2-40B4-BE49-F238E27FC236}">
                      <a16:creationId xmlns:a16="http://schemas.microsoft.com/office/drawing/2014/main" id="{5F21088A-2B44-4260-8FE9-64DE9B74AF3B}"/>
                    </a:ext>
                  </a:extLst>
                </p:cNvPr>
                <p:cNvSpPr>
                  <a:spLocks/>
                </p:cNvSpPr>
                <p:nvPr/>
              </p:nvSpPr>
              <p:spPr bwMode="auto">
                <a:xfrm>
                  <a:off x="3239371" y="1755666"/>
                  <a:ext cx="76326" cy="92475"/>
                </a:xfrm>
                <a:custGeom>
                  <a:avLst/>
                  <a:gdLst>
                    <a:gd name="T0" fmla="*/ 15 w 91"/>
                    <a:gd name="T1" fmla="*/ 111 h 111"/>
                    <a:gd name="T2" fmla="*/ 0 w 91"/>
                    <a:gd name="T3" fmla="*/ 13 h 111"/>
                    <a:gd name="T4" fmla="*/ 76 w 91"/>
                    <a:gd name="T5" fmla="*/ 0 h 111"/>
                    <a:gd name="T6" fmla="*/ 91 w 91"/>
                    <a:gd name="T7" fmla="*/ 103 h 111"/>
                    <a:gd name="T8" fmla="*/ 15 w 91"/>
                    <a:gd name="T9" fmla="*/ 111 h 111"/>
                  </a:gdLst>
                  <a:ahLst/>
                  <a:cxnLst>
                    <a:cxn ang="0">
                      <a:pos x="T0" y="T1"/>
                    </a:cxn>
                    <a:cxn ang="0">
                      <a:pos x="T2" y="T3"/>
                    </a:cxn>
                    <a:cxn ang="0">
                      <a:pos x="T4" y="T5"/>
                    </a:cxn>
                    <a:cxn ang="0">
                      <a:pos x="T6" y="T7"/>
                    </a:cxn>
                    <a:cxn ang="0">
                      <a:pos x="T8" y="T9"/>
                    </a:cxn>
                  </a:cxnLst>
                  <a:rect l="0" t="0" r="r" b="b"/>
                  <a:pathLst>
                    <a:path w="91" h="111">
                      <a:moveTo>
                        <a:pt x="15" y="111"/>
                      </a:moveTo>
                      <a:cubicBezTo>
                        <a:pt x="11" y="78"/>
                        <a:pt x="2" y="20"/>
                        <a:pt x="0" y="13"/>
                      </a:cubicBezTo>
                      <a:cubicBezTo>
                        <a:pt x="76" y="0"/>
                        <a:pt x="76" y="0"/>
                        <a:pt x="76" y="0"/>
                      </a:cubicBezTo>
                      <a:cubicBezTo>
                        <a:pt x="77" y="7"/>
                        <a:pt x="87" y="68"/>
                        <a:pt x="91" y="103"/>
                      </a:cubicBezTo>
                      <a:lnTo>
                        <a:pt x="15" y="111"/>
                      </a:ln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2" name="Freeform 48">
                  <a:extLst>
                    <a:ext uri="{FF2B5EF4-FFF2-40B4-BE49-F238E27FC236}">
                      <a16:creationId xmlns:a16="http://schemas.microsoft.com/office/drawing/2014/main" id="{97B7E503-0522-4337-A1E1-7BBCF19E3F0B}"/>
                    </a:ext>
                  </a:extLst>
                </p:cNvPr>
                <p:cNvSpPr>
                  <a:spLocks/>
                </p:cNvSpPr>
                <p:nvPr/>
              </p:nvSpPr>
              <p:spPr bwMode="auto">
                <a:xfrm>
                  <a:off x="3235555" y="1725159"/>
                  <a:ext cx="71556" cy="71501"/>
                </a:xfrm>
                <a:custGeom>
                  <a:avLst/>
                  <a:gdLst>
                    <a:gd name="T0" fmla="*/ 5 w 85"/>
                    <a:gd name="T1" fmla="*/ 33 h 85"/>
                    <a:gd name="T2" fmla="*/ 32 w 85"/>
                    <a:gd name="T3" fmla="*/ 80 h 85"/>
                    <a:gd name="T4" fmla="*/ 80 w 85"/>
                    <a:gd name="T5" fmla="*/ 53 h 85"/>
                    <a:gd name="T6" fmla="*/ 52 w 85"/>
                    <a:gd name="T7" fmla="*/ 6 h 85"/>
                    <a:gd name="T8" fmla="*/ 5 w 85"/>
                    <a:gd name="T9" fmla="*/ 33 h 85"/>
                  </a:gdLst>
                  <a:ahLst/>
                  <a:cxnLst>
                    <a:cxn ang="0">
                      <a:pos x="T0" y="T1"/>
                    </a:cxn>
                    <a:cxn ang="0">
                      <a:pos x="T2" y="T3"/>
                    </a:cxn>
                    <a:cxn ang="0">
                      <a:pos x="T4" y="T5"/>
                    </a:cxn>
                    <a:cxn ang="0">
                      <a:pos x="T6" y="T7"/>
                    </a:cxn>
                    <a:cxn ang="0">
                      <a:pos x="T8" y="T9"/>
                    </a:cxn>
                  </a:cxnLst>
                  <a:rect l="0" t="0" r="r" b="b"/>
                  <a:pathLst>
                    <a:path w="85" h="85">
                      <a:moveTo>
                        <a:pt x="5" y="33"/>
                      </a:moveTo>
                      <a:cubicBezTo>
                        <a:pt x="0" y="53"/>
                        <a:pt x="12" y="74"/>
                        <a:pt x="32" y="80"/>
                      </a:cubicBezTo>
                      <a:cubicBezTo>
                        <a:pt x="53" y="85"/>
                        <a:pt x="74" y="73"/>
                        <a:pt x="80" y="53"/>
                      </a:cubicBezTo>
                      <a:cubicBezTo>
                        <a:pt x="85" y="32"/>
                        <a:pt x="73" y="11"/>
                        <a:pt x="52" y="6"/>
                      </a:cubicBezTo>
                      <a:cubicBezTo>
                        <a:pt x="32" y="0"/>
                        <a:pt x="10" y="12"/>
                        <a:pt x="5" y="33"/>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3" name="Freeform 49">
                  <a:extLst>
                    <a:ext uri="{FF2B5EF4-FFF2-40B4-BE49-F238E27FC236}">
                      <a16:creationId xmlns:a16="http://schemas.microsoft.com/office/drawing/2014/main" id="{E7FF60CF-F37F-430C-9078-38D27774083D}"/>
                    </a:ext>
                  </a:extLst>
                </p:cNvPr>
                <p:cNvSpPr>
                  <a:spLocks/>
                </p:cNvSpPr>
                <p:nvPr/>
              </p:nvSpPr>
              <p:spPr bwMode="auto">
                <a:xfrm>
                  <a:off x="3261314" y="1841468"/>
                  <a:ext cx="51520" cy="13347"/>
                </a:xfrm>
                <a:custGeom>
                  <a:avLst/>
                  <a:gdLst>
                    <a:gd name="T0" fmla="*/ 0 w 54"/>
                    <a:gd name="T1" fmla="*/ 7 h 14"/>
                    <a:gd name="T2" fmla="*/ 53 w 54"/>
                    <a:gd name="T3" fmla="*/ 0 h 14"/>
                    <a:gd name="T4" fmla="*/ 54 w 54"/>
                    <a:gd name="T5" fmla="*/ 14 h 14"/>
                    <a:gd name="T6" fmla="*/ 0 w 54"/>
                    <a:gd name="T7" fmla="*/ 12 h 14"/>
                    <a:gd name="T8" fmla="*/ 0 w 54"/>
                    <a:gd name="T9" fmla="*/ 7 h 14"/>
                  </a:gdLst>
                  <a:ahLst/>
                  <a:cxnLst>
                    <a:cxn ang="0">
                      <a:pos x="T0" y="T1"/>
                    </a:cxn>
                    <a:cxn ang="0">
                      <a:pos x="T2" y="T3"/>
                    </a:cxn>
                    <a:cxn ang="0">
                      <a:pos x="T4" y="T5"/>
                    </a:cxn>
                    <a:cxn ang="0">
                      <a:pos x="T6" y="T7"/>
                    </a:cxn>
                    <a:cxn ang="0">
                      <a:pos x="T8" y="T9"/>
                    </a:cxn>
                  </a:cxnLst>
                  <a:rect l="0" t="0" r="r" b="b"/>
                  <a:pathLst>
                    <a:path w="54" h="14">
                      <a:moveTo>
                        <a:pt x="0" y="7"/>
                      </a:moveTo>
                      <a:lnTo>
                        <a:pt x="53" y="0"/>
                      </a:lnTo>
                      <a:lnTo>
                        <a:pt x="54" y="14"/>
                      </a:lnTo>
                      <a:lnTo>
                        <a:pt x="0" y="12"/>
                      </a:lnTo>
                      <a:lnTo>
                        <a:pt x="0" y="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4" name="Freeform 50">
                  <a:extLst>
                    <a:ext uri="{FF2B5EF4-FFF2-40B4-BE49-F238E27FC236}">
                      <a16:creationId xmlns:a16="http://schemas.microsoft.com/office/drawing/2014/main" id="{C52211FE-1B59-4242-8907-4CAC85E55A8A}"/>
                    </a:ext>
                  </a:extLst>
                </p:cNvPr>
                <p:cNvSpPr>
                  <a:spLocks/>
                </p:cNvSpPr>
                <p:nvPr/>
              </p:nvSpPr>
              <p:spPr bwMode="auto">
                <a:xfrm>
                  <a:off x="3256544" y="1680352"/>
                  <a:ext cx="57244" cy="230710"/>
                </a:xfrm>
                <a:custGeom>
                  <a:avLst/>
                  <a:gdLst>
                    <a:gd name="T0" fmla="*/ 65 w 67"/>
                    <a:gd name="T1" fmla="*/ 245 h 276"/>
                    <a:gd name="T2" fmla="*/ 21 w 67"/>
                    <a:gd name="T3" fmla="*/ 11 h 276"/>
                    <a:gd name="T4" fmla="*/ 2 w 67"/>
                    <a:gd name="T5" fmla="*/ 31 h 276"/>
                    <a:gd name="T6" fmla="*/ 0 w 67"/>
                    <a:gd name="T7" fmla="*/ 79 h 276"/>
                    <a:gd name="T8" fmla="*/ 11 w 67"/>
                    <a:gd name="T9" fmla="*/ 252 h 276"/>
                    <a:gd name="T10" fmla="*/ 42 w 67"/>
                    <a:gd name="T11" fmla="*/ 274 h 276"/>
                    <a:gd name="T12" fmla="*/ 65 w 67"/>
                    <a:gd name="T13" fmla="*/ 245 h 276"/>
                  </a:gdLst>
                  <a:ahLst/>
                  <a:cxnLst>
                    <a:cxn ang="0">
                      <a:pos x="T0" y="T1"/>
                    </a:cxn>
                    <a:cxn ang="0">
                      <a:pos x="T2" y="T3"/>
                    </a:cxn>
                    <a:cxn ang="0">
                      <a:pos x="T4" y="T5"/>
                    </a:cxn>
                    <a:cxn ang="0">
                      <a:pos x="T6" y="T7"/>
                    </a:cxn>
                    <a:cxn ang="0">
                      <a:pos x="T8" y="T9"/>
                    </a:cxn>
                    <a:cxn ang="0">
                      <a:pos x="T10" y="T11"/>
                    </a:cxn>
                    <a:cxn ang="0">
                      <a:pos x="T12" y="T13"/>
                    </a:cxn>
                  </a:cxnLst>
                  <a:rect l="0" t="0" r="r" b="b"/>
                  <a:pathLst>
                    <a:path w="67" h="276">
                      <a:moveTo>
                        <a:pt x="65" y="245"/>
                      </a:moveTo>
                      <a:cubicBezTo>
                        <a:pt x="26" y="0"/>
                        <a:pt x="21" y="11"/>
                        <a:pt x="21" y="11"/>
                      </a:cubicBezTo>
                      <a:cubicBezTo>
                        <a:pt x="19" y="6"/>
                        <a:pt x="8" y="20"/>
                        <a:pt x="2" y="31"/>
                      </a:cubicBezTo>
                      <a:cubicBezTo>
                        <a:pt x="16" y="43"/>
                        <a:pt x="15" y="68"/>
                        <a:pt x="0" y="79"/>
                      </a:cubicBezTo>
                      <a:cubicBezTo>
                        <a:pt x="11" y="252"/>
                        <a:pt x="11" y="252"/>
                        <a:pt x="11" y="252"/>
                      </a:cubicBezTo>
                      <a:cubicBezTo>
                        <a:pt x="13" y="266"/>
                        <a:pt x="27" y="276"/>
                        <a:pt x="42" y="274"/>
                      </a:cubicBezTo>
                      <a:cubicBezTo>
                        <a:pt x="57" y="272"/>
                        <a:pt x="67" y="260"/>
                        <a:pt x="65" y="245"/>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5" name="Freeform 51">
                  <a:extLst>
                    <a:ext uri="{FF2B5EF4-FFF2-40B4-BE49-F238E27FC236}">
                      <a16:creationId xmlns:a16="http://schemas.microsoft.com/office/drawing/2014/main" id="{8F720094-C7FE-4430-A1B8-7EB0E0C49A22}"/>
                    </a:ext>
                  </a:extLst>
                </p:cNvPr>
                <p:cNvSpPr>
                  <a:spLocks noEditPoints="1"/>
                </p:cNvSpPr>
                <p:nvPr/>
              </p:nvSpPr>
              <p:spPr bwMode="auto">
                <a:xfrm>
                  <a:off x="3252728" y="1683212"/>
                  <a:ext cx="65831" cy="230710"/>
                </a:xfrm>
                <a:custGeom>
                  <a:avLst/>
                  <a:gdLst>
                    <a:gd name="T0" fmla="*/ 43 w 78"/>
                    <a:gd name="T1" fmla="*/ 276 h 276"/>
                    <a:gd name="T2" fmla="*/ 24 w 78"/>
                    <a:gd name="T3" fmla="*/ 270 h 276"/>
                    <a:gd name="T4" fmla="*/ 11 w 78"/>
                    <a:gd name="T5" fmla="*/ 248 h 276"/>
                    <a:gd name="T6" fmla="*/ 0 w 78"/>
                    <a:gd name="T7" fmla="*/ 72 h 276"/>
                    <a:gd name="T8" fmla="*/ 2 w 78"/>
                    <a:gd name="T9" fmla="*/ 71 h 276"/>
                    <a:gd name="T10" fmla="*/ 12 w 78"/>
                    <a:gd name="T11" fmla="*/ 52 h 276"/>
                    <a:gd name="T12" fmla="*/ 4 w 78"/>
                    <a:gd name="T13" fmla="*/ 32 h 276"/>
                    <a:gd name="T14" fmla="*/ 0 w 78"/>
                    <a:gd name="T15" fmla="*/ 29 h 276"/>
                    <a:gd name="T16" fmla="*/ 2 w 78"/>
                    <a:gd name="T17" fmla="*/ 25 h 276"/>
                    <a:gd name="T18" fmla="*/ 25 w 78"/>
                    <a:gd name="T19" fmla="*/ 1 h 276"/>
                    <a:gd name="T20" fmla="*/ 29 w 78"/>
                    <a:gd name="T21" fmla="*/ 3 h 276"/>
                    <a:gd name="T22" fmla="*/ 40 w 78"/>
                    <a:gd name="T23" fmla="*/ 40 h 276"/>
                    <a:gd name="T24" fmla="*/ 75 w 78"/>
                    <a:gd name="T25" fmla="*/ 240 h 276"/>
                    <a:gd name="T26" fmla="*/ 75 w 78"/>
                    <a:gd name="T27" fmla="*/ 240 h 276"/>
                    <a:gd name="T28" fmla="*/ 48 w 78"/>
                    <a:gd name="T29" fmla="*/ 276 h 276"/>
                    <a:gd name="T30" fmla="*/ 43 w 78"/>
                    <a:gd name="T31" fmla="*/ 276 h 276"/>
                    <a:gd name="T32" fmla="*/ 11 w 78"/>
                    <a:gd name="T33" fmla="*/ 77 h 276"/>
                    <a:gd name="T34" fmla="*/ 22 w 78"/>
                    <a:gd name="T35" fmla="*/ 247 h 276"/>
                    <a:gd name="T36" fmla="*/ 30 w 78"/>
                    <a:gd name="T37" fmla="*/ 261 h 276"/>
                    <a:gd name="T38" fmla="*/ 46 w 78"/>
                    <a:gd name="T39" fmla="*/ 265 h 276"/>
                    <a:gd name="T40" fmla="*/ 65 w 78"/>
                    <a:gd name="T41" fmla="*/ 242 h 276"/>
                    <a:gd name="T42" fmla="*/ 25 w 78"/>
                    <a:gd name="T43" fmla="*/ 21 h 276"/>
                    <a:gd name="T44" fmla="*/ 24 w 78"/>
                    <a:gd name="T45" fmla="*/ 23 h 276"/>
                    <a:gd name="T46" fmla="*/ 22 w 78"/>
                    <a:gd name="T47" fmla="*/ 15 h 276"/>
                    <a:gd name="T48" fmla="*/ 14 w 78"/>
                    <a:gd name="T49" fmla="*/ 27 h 276"/>
                    <a:gd name="T50" fmla="*/ 22 w 78"/>
                    <a:gd name="T51" fmla="*/ 52 h 276"/>
                    <a:gd name="T52" fmla="*/ 11 w 78"/>
                    <a:gd name="T53" fmla="*/ 7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8" h="276">
                      <a:moveTo>
                        <a:pt x="43" y="276"/>
                      </a:moveTo>
                      <a:cubicBezTo>
                        <a:pt x="36" y="276"/>
                        <a:pt x="29" y="274"/>
                        <a:pt x="24" y="270"/>
                      </a:cubicBezTo>
                      <a:cubicBezTo>
                        <a:pt x="17" y="264"/>
                        <a:pt x="12" y="257"/>
                        <a:pt x="11" y="248"/>
                      </a:cubicBezTo>
                      <a:cubicBezTo>
                        <a:pt x="0" y="72"/>
                        <a:pt x="0" y="72"/>
                        <a:pt x="0" y="72"/>
                      </a:cubicBezTo>
                      <a:cubicBezTo>
                        <a:pt x="2" y="71"/>
                        <a:pt x="2" y="71"/>
                        <a:pt x="2" y="71"/>
                      </a:cubicBezTo>
                      <a:cubicBezTo>
                        <a:pt x="8" y="67"/>
                        <a:pt x="11" y="60"/>
                        <a:pt x="12" y="52"/>
                      </a:cubicBezTo>
                      <a:cubicBezTo>
                        <a:pt x="12" y="44"/>
                        <a:pt x="9" y="36"/>
                        <a:pt x="4" y="32"/>
                      </a:cubicBezTo>
                      <a:cubicBezTo>
                        <a:pt x="0" y="29"/>
                        <a:pt x="0" y="29"/>
                        <a:pt x="0" y="29"/>
                      </a:cubicBezTo>
                      <a:cubicBezTo>
                        <a:pt x="2" y="25"/>
                        <a:pt x="2" y="25"/>
                        <a:pt x="2" y="25"/>
                      </a:cubicBezTo>
                      <a:cubicBezTo>
                        <a:pt x="3" y="24"/>
                        <a:pt x="16" y="0"/>
                        <a:pt x="25" y="1"/>
                      </a:cubicBezTo>
                      <a:cubicBezTo>
                        <a:pt x="27" y="1"/>
                        <a:pt x="28" y="2"/>
                        <a:pt x="29" y="3"/>
                      </a:cubicBezTo>
                      <a:cubicBezTo>
                        <a:pt x="32" y="5"/>
                        <a:pt x="34" y="12"/>
                        <a:pt x="40" y="40"/>
                      </a:cubicBezTo>
                      <a:cubicBezTo>
                        <a:pt x="49" y="79"/>
                        <a:pt x="60" y="146"/>
                        <a:pt x="75" y="240"/>
                      </a:cubicBezTo>
                      <a:cubicBezTo>
                        <a:pt x="75" y="240"/>
                        <a:pt x="75" y="240"/>
                        <a:pt x="75" y="240"/>
                      </a:cubicBezTo>
                      <a:cubicBezTo>
                        <a:pt x="78" y="258"/>
                        <a:pt x="65" y="273"/>
                        <a:pt x="48" y="276"/>
                      </a:cubicBezTo>
                      <a:cubicBezTo>
                        <a:pt x="46" y="276"/>
                        <a:pt x="45" y="276"/>
                        <a:pt x="43" y="276"/>
                      </a:cubicBezTo>
                      <a:close/>
                      <a:moveTo>
                        <a:pt x="11" y="77"/>
                      </a:moveTo>
                      <a:cubicBezTo>
                        <a:pt x="22" y="247"/>
                        <a:pt x="22" y="247"/>
                        <a:pt x="22" y="247"/>
                      </a:cubicBezTo>
                      <a:cubicBezTo>
                        <a:pt x="22" y="253"/>
                        <a:pt x="25" y="258"/>
                        <a:pt x="30" y="261"/>
                      </a:cubicBezTo>
                      <a:cubicBezTo>
                        <a:pt x="35" y="264"/>
                        <a:pt x="40" y="266"/>
                        <a:pt x="46" y="265"/>
                      </a:cubicBezTo>
                      <a:cubicBezTo>
                        <a:pt x="58" y="263"/>
                        <a:pt x="66" y="253"/>
                        <a:pt x="65" y="242"/>
                      </a:cubicBezTo>
                      <a:cubicBezTo>
                        <a:pt x="41" y="92"/>
                        <a:pt x="30" y="39"/>
                        <a:pt x="25" y="21"/>
                      </a:cubicBezTo>
                      <a:cubicBezTo>
                        <a:pt x="24" y="23"/>
                        <a:pt x="24" y="23"/>
                        <a:pt x="24" y="23"/>
                      </a:cubicBezTo>
                      <a:cubicBezTo>
                        <a:pt x="22" y="15"/>
                        <a:pt x="22" y="15"/>
                        <a:pt x="22" y="15"/>
                      </a:cubicBezTo>
                      <a:cubicBezTo>
                        <a:pt x="19" y="18"/>
                        <a:pt x="16" y="22"/>
                        <a:pt x="14" y="27"/>
                      </a:cubicBezTo>
                      <a:cubicBezTo>
                        <a:pt x="20" y="33"/>
                        <a:pt x="23" y="42"/>
                        <a:pt x="22" y="52"/>
                      </a:cubicBezTo>
                      <a:cubicBezTo>
                        <a:pt x="22" y="62"/>
                        <a:pt x="18" y="71"/>
                        <a:pt x="11" y="77"/>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6" name="Freeform 52">
                  <a:extLst>
                    <a:ext uri="{FF2B5EF4-FFF2-40B4-BE49-F238E27FC236}">
                      <a16:creationId xmlns:a16="http://schemas.microsoft.com/office/drawing/2014/main" id="{A9100F0F-F7D1-4EFD-8489-83BEAEEDA4B6}"/>
                    </a:ext>
                  </a:extLst>
                </p:cNvPr>
                <p:cNvSpPr>
                  <a:spLocks/>
                </p:cNvSpPr>
                <p:nvPr/>
              </p:nvSpPr>
              <p:spPr bwMode="auto">
                <a:xfrm>
                  <a:off x="3103892" y="1607897"/>
                  <a:ext cx="120213" cy="91521"/>
                </a:xfrm>
                <a:custGeom>
                  <a:avLst/>
                  <a:gdLst>
                    <a:gd name="T0" fmla="*/ 42 w 143"/>
                    <a:gd name="T1" fmla="*/ 110 h 110"/>
                    <a:gd name="T2" fmla="*/ 110 w 143"/>
                    <a:gd name="T3" fmla="*/ 109 h 110"/>
                    <a:gd name="T4" fmla="*/ 143 w 143"/>
                    <a:gd name="T5" fmla="*/ 28 h 110"/>
                    <a:gd name="T6" fmla="*/ 143 w 143"/>
                    <a:gd name="T7" fmla="*/ 0 h 110"/>
                    <a:gd name="T8" fmla="*/ 0 w 143"/>
                    <a:gd name="T9" fmla="*/ 0 h 110"/>
                    <a:gd name="T10" fmla="*/ 0 w 143"/>
                    <a:gd name="T11" fmla="*/ 28 h 110"/>
                    <a:gd name="T12" fmla="*/ 42 w 143"/>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43" h="110">
                      <a:moveTo>
                        <a:pt x="42" y="110"/>
                      </a:moveTo>
                      <a:cubicBezTo>
                        <a:pt x="110" y="109"/>
                        <a:pt x="110" y="109"/>
                        <a:pt x="110" y="109"/>
                      </a:cubicBezTo>
                      <a:cubicBezTo>
                        <a:pt x="137" y="97"/>
                        <a:pt x="143" y="65"/>
                        <a:pt x="143" y="28"/>
                      </a:cubicBezTo>
                      <a:cubicBezTo>
                        <a:pt x="143" y="0"/>
                        <a:pt x="143" y="0"/>
                        <a:pt x="143" y="0"/>
                      </a:cubicBezTo>
                      <a:cubicBezTo>
                        <a:pt x="0" y="0"/>
                        <a:pt x="0" y="0"/>
                        <a:pt x="0" y="0"/>
                      </a:cubicBezTo>
                      <a:cubicBezTo>
                        <a:pt x="0" y="28"/>
                        <a:pt x="0" y="28"/>
                        <a:pt x="0" y="28"/>
                      </a:cubicBezTo>
                      <a:cubicBezTo>
                        <a:pt x="0" y="66"/>
                        <a:pt x="13" y="98"/>
                        <a:pt x="42" y="110"/>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7" name="Oval 53">
                  <a:extLst>
                    <a:ext uri="{FF2B5EF4-FFF2-40B4-BE49-F238E27FC236}">
                      <a16:creationId xmlns:a16="http://schemas.microsoft.com/office/drawing/2014/main" id="{66F8853F-7E79-4278-8A3C-D29586DE81CE}"/>
                    </a:ext>
                  </a:extLst>
                </p:cNvPr>
                <p:cNvSpPr>
                  <a:spLocks noChangeArrowheads="1"/>
                </p:cNvSpPr>
                <p:nvPr/>
              </p:nvSpPr>
              <p:spPr bwMode="auto">
                <a:xfrm>
                  <a:off x="3135377" y="1610758"/>
                  <a:ext cx="7633" cy="7627"/>
                </a:xfrm>
                <a:prstGeom prst="ellipse">
                  <a:avLst/>
                </a:pr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8" name="Freeform 54">
                  <a:extLst>
                    <a:ext uri="{FF2B5EF4-FFF2-40B4-BE49-F238E27FC236}">
                      <a16:creationId xmlns:a16="http://schemas.microsoft.com/office/drawing/2014/main" id="{662234F3-220C-4088-854B-F49D7EC96EC3}"/>
                    </a:ext>
                  </a:extLst>
                </p:cNvPr>
                <p:cNvSpPr>
                  <a:spLocks/>
                </p:cNvSpPr>
                <p:nvPr/>
              </p:nvSpPr>
              <p:spPr bwMode="auto">
                <a:xfrm>
                  <a:off x="3189759" y="1609804"/>
                  <a:ext cx="8587" cy="7627"/>
                </a:xfrm>
                <a:custGeom>
                  <a:avLst/>
                  <a:gdLst>
                    <a:gd name="T0" fmla="*/ 5 w 10"/>
                    <a:gd name="T1" fmla="*/ 9 h 9"/>
                    <a:gd name="T2" fmla="*/ 10 w 10"/>
                    <a:gd name="T3" fmla="*/ 5 h 9"/>
                    <a:gd name="T4" fmla="*/ 5 w 10"/>
                    <a:gd name="T5" fmla="*/ 0 h 9"/>
                    <a:gd name="T6" fmla="*/ 0 w 10"/>
                    <a:gd name="T7" fmla="*/ 5 h 9"/>
                    <a:gd name="T8" fmla="*/ 5 w 10"/>
                    <a:gd name="T9" fmla="*/ 9 h 9"/>
                  </a:gdLst>
                  <a:ahLst/>
                  <a:cxnLst>
                    <a:cxn ang="0">
                      <a:pos x="T0" y="T1"/>
                    </a:cxn>
                    <a:cxn ang="0">
                      <a:pos x="T2" y="T3"/>
                    </a:cxn>
                    <a:cxn ang="0">
                      <a:pos x="T4" y="T5"/>
                    </a:cxn>
                    <a:cxn ang="0">
                      <a:pos x="T6" y="T7"/>
                    </a:cxn>
                    <a:cxn ang="0">
                      <a:pos x="T8" y="T9"/>
                    </a:cxn>
                  </a:cxnLst>
                  <a:rect l="0" t="0" r="r" b="b"/>
                  <a:pathLst>
                    <a:path w="10" h="9">
                      <a:moveTo>
                        <a:pt x="5" y="9"/>
                      </a:moveTo>
                      <a:cubicBezTo>
                        <a:pt x="8" y="9"/>
                        <a:pt x="10" y="7"/>
                        <a:pt x="10" y="5"/>
                      </a:cubicBezTo>
                      <a:cubicBezTo>
                        <a:pt x="10" y="2"/>
                        <a:pt x="7" y="0"/>
                        <a:pt x="5" y="0"/>
                      </a:cubicBezTo>
                      <a:cubicBezTo>
                        <a:pt x="3" y="0"/>
                        <a:pt x="0" y="3"/>
                        <a:pt x="0" y="5"/>
                      </a:cubicBezTo>
                      <a:cubicBezTo>
                        <a:pt x="0" y="7"/>
                        <a:pt x="3" y="9"/>
                        <a:pt x="5" y="9"/>
                      </a:cubicBez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9" name="Freeform 55">
                  <a:extLst>
                    <a:ext uri="{FF2B5EF4-FFF2-40B4-BE49-F238E27FC236}">
                      <a16:creationId xmlns:a16="http://schemas.microsoft.com/office/drawing/2014/main" id="{C700B58B-55A9-456B-B29F-4CC070093646}"/>
                    </a:ext>
                  </a:extLst>
                </p:cNvPr>
                <p:cNvSpPr>
                  <a:spLocks/>
                </p:cNvSpPr>
                <p:nvPr/>
              </p:nvSpPr>
              <p:spPr bwMode="auto">
                <a:xfrm>
                  <a:off x="3131560" y="1694652"/>
                  <a:ext cx="72510" cy="25741"/>
                </a:xfrm>
                <a:custGeom>
                  <a:avLst/>
                  <a:gdLst>
                    <a:gd name="T0" fmla="*/ 0 w 86"/>
                    <a:gd name="T1" fmla="*/ 9 h 31"/>
                    <a:gd name="T2" fmla="*/ 40 w 86"/>
                    <a:gd name="T3" fmla="*/ 31 h 31"/>
                    <a:gd name="T4" fmla="*/ 41 w 86"/>
                    <a:gd name="T5" fmla="*/ 31 h 31"/>
                    <a:gd name="T6" fmla="*/ 41 w 86"/>
                    <a:gd name="T7" fmla="*/ 31 h 31"/>
                    <a:gd name="T8" fmla="*/ 41 w 86"/>
                    <a:gd name="T9" fmla="*/ 31 h 31"/>
                    <a:gd name="T10" fmla="*/ 43 w 86"/>
                    <a:gd name="T11" fmla="*/ 31 h 31"/>
                    <a:gd name="T12" fmla="*/ 86 w 86"/>
                    <a:gd name="T13" fmla="*/ 7 h 31"/>
                    <a:gd name="T14" fmla="*/ 86 w 86"/>
                    <a:gd name="T15" fmla="*/ 0 h 31"/>
                    <a:gd name="T16" fmla="*/ 43 w 86"/>
                    <a:gd name="T17" fmla="*/ 24 h 31"/>
                    <a:gd name="T18" fmla="*/ 41 w 86"/>
                    <a:gd name="T19" fmla="*/ 24 h 31"/>
                    <a:gd name="T20" fmla="*/ 41 w 86"/>
                    <a:gd name="T21" fmla="*/ 24 h 31"/>
                    <a:gd name="T22" fmla="*/ 41 w 86"/>
                    <a:gd name="T23" fmla="*/ 24 h 31"/>
                    <a:gd name="T24" fmla="*/ 40 w 86"/>
                    <a:gd name="T25" fmla="*/ 24 h 31"/>
                    <a:gd name="T26" fmla="*/ 0 w 86"/>
                    <a:gd name="T27" fmla="*/ 2 h 31"/>
                    <a:gd name="T28" fmla="*/ 0 w 86"/>
                    <a:gd name="T2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31">
                      <a:moveTo>
                        <a:pt x="0" y="9"/>
                      </a:moveTo>
                      <a:cubicBezTo>
                        <a:pt x="14" y="20"/>
                        <a:pt x="30" y="30"/>
                        <a:pt x="40" y="31"/>
                      </a:cubicBezTo>
                      <a:cubicBezTo>
                        <a:pt x="40" y="31"/>
                        <a:pt x="41" y="31"/>
                        <a:pt x="41" y="31"/>
                      </a:cubicBezTo>
                      <a:cubicBezTo>
                        <a:pt x="41" y="31"/>
                        <a:pt x="41" y="31"/>
                        <a:pt x="41" y="31"/>
                      </a:cubicBezTo>
                      <a:cubicBezTo>
                        <a:pt x="41" y="31"/>
                        <a:pt x="41" y="31"/>
                        <a:pt x="41" y="31"/>
                      </a:cubicBezTo>
                      <a:cubicBezTo>
                        <a:pt x="42" y="31"/>
                        <a:pt x="42" y="31"/>
                        <a:pt x="43" y="31"/>
                      </a:cubicBezTo>
                      <a:cubicBezTo>
                        <a:pt x="54" y="30"/>
                        <a:pt x="72" y="21"/>
                        <a:pt x="86" y="7"/>
                      </a:cubicBezTo>
                      <a:cubicBezTo>
                        <a:pt x="86" y="0"/>
                        <a:pt x="86" y="0"/>
                        <a:pt x="86" y="0"/>
                      </a:cubicBezTo>
                      <a:cubicBezTo>
                        <a:pt x="72" y="14"/>
                        <a:pt x="54" y="23"/>
                        <a:pt x="43" y="24"/>
                      </a:cubicBezTo>
                      <a:cubicBezTo>
                        <a:pt x="42" y="24"/>
                        <a:pt x="42" y="24"/>
                        <a:pt x="41" y="24"/>
                      </a:cubicBezTo>
                      <a:cubicBezTo>
                        <a:pt x="41" y="24"/>
                        <a:pt x="41" y="24"/>
                        <a:pt x="41" y="24"/>
                      </a:cubicBezTo>
                      <a:cubicBezTo>
                        <a:pt x="41" y="24"/>
                        <a:pt x="41" y="24"/>
                        <a:pt x="41" y="24"/>
                      </a:cubicBezTo>
                      <a:cubicBezTo>
                        <a:pt x="41" y="24"/>
                        <a:pt x="40" y="24"/>
                        <a:pt x="40" y="24"/>
                      </a:cubicBezTo>
                      <a:cubicBezTo>
                        <a:pt x="30" y="23"/>
                        <a:pt x="14" y="13"/>
                        <a:pt x="0" y="2"/>
                      </a:cubicBezTo>
                      <a:lnTo>
                        <a:pt x="0" y="9"/>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0" name="Freeform 56">
                  <a:extLst>
                    <a:ext uri="{FF2B5EF4-FFF2-40B4-BE49-F238E27FC236}">
                      <a16:creationId xmlns:a16="http://schemas.microsoft.com/office/drawing/2014/main" id="{8DF2052A-BC94-46B0-9CC2-FC18C0451139}"/>
                    </a:ext>
                  </a:extLst>
                </p:cNvPr>
                <p:cNvSpPr>
                  <a:spLocks/>
                </p:cNvSpPr>
                <p:nvPr/>
              </p:nvSpPr>
              <p:spPr bwMode="auto">
                <a:xfrm>
                  <a:off x="3089581" y="1610758"/>
                  <a:ext cx="21944" cy="51481"/>
                </a:xfrm>
                <a:custGeom>
                  <a:avLst/>
                  <a:gdLst>
                    <a:gd name="T0" fmla="*/ 19 w 26"/>
                    <a:gd name="T1" fmla="*/ 6 h 61"/>
                    <a:gd name="T2" fmla="*/ 9 w 26"/>
                    <a:gd name="T3" fmla="*/ 1 h 61"/>
                    <a:gd name="T4" fmla="*/ 4 w 26"/>
                    <a:gd name="T5" fmla="*/ 17 h 61"/>
                    <a:gd name="T6" fmla="*/ 5 w 26"/>
                    <a:gd name="T7" fmla="*/ 25 h 61"/>
                    <a:gd name="T8" fmla="*/ 8 w 26"/>
                    <a:gd name="T9" fmla="*/ 32 h 61"/>
                    <a:gd name="T10" fmla="*/ 11 w 26"/>
                    <a:gd name="T11" fmla="*/ 40 h 61"/>
                    <a:gd name="T12" fmla="*/ 12 w 26"/>
                    <a:gd name="T13" fmla="*/ 45 h 61"/>
                    <a:gd name="T14" fmla="*/ 14 w 26"/>
                    <a:gd name="T15" fmla="*/ 54 h 61"/>
                    <a:gd name="T16" fmla="*/ 20 w 26"/>
                    <a:gd name="T17" fmla="*/ 61 h 61"/>
                    <a:gd name="T18" fmla="*/ 26 w 26"/>
                    <a:gd name="T19" fmla="*/ 61 h 61"/>
                    <a:gd name="T20" fmla="*/ 26 w 26"/>
                    <a:gd name="T21" fmla="*/ 10 h 61"/>
                    <a:gd name="T22" fmla="*/ 19 w 26"/>
                    <a:gd name="T23" fmla="*/ 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1">
                      <a:moveTo>
                        <a:pt x="19" y="6"/>
                      </a:moveTo>
                      <a:cubicBezTo>
                        <a:pt x="19" y="6"/>
                        <a:pt x="17" y="0"/>
                        <a:pt x="9" y="1"/>
                      </a:cubicBezTo>
                      <a:cubicBezTo>
                        <a:pt x="9" y="1"/>
                        <a:pt x="0" y="2"/>
                        <a:pt x="4" y="17"/>
                      </a:cubicBezTo>
                      <a:cubicBezTo>
                        <a:pt x="5" y="25"/>
                        <a:pt x="5" y="25"/>
                        <a:pt x="5" y="25"/>
                      </a:cubicBezTo>
                      <a:cubicBezTo>
                        <a:pt x="8" y="32"/>
                        <a:pt x="8" y="32"/>
                        <a:pt x="8" y="32"/>
                      </a:cubicBezTo>
                      <a:cubicBezTo>
                        <a:pt x="11" y="40"/>
                        <a:pt x="11" y="40"/>
                        <a:pt x="11" y="40"/>
                      </a:cubicBezTo>
                      <a:cubicBezTo>
                        <a:pt x="12" y="45"/>
                        <a:pt x="12" y="45"/>
                        <a:pt x="12" y="45"/>
                      </a:cubicBezTo>
                      <a:cubicBezTo>
                        <a:pt x="12" y="45"/>
                        <a:pt x="15" y="51"/>
                        <a:pt x="14" y="54"/>
                      </a:cubicBezTo>
                      <a:cubicBezTo>
                        <a:pt x="14" y="54"/>
                        <a:pt x="14" y="60"/>
                        <a:pt x="20" y="61"/>
                      </a:cubicBezTo>
                      <a:cubicBezTo>
                        <a:pt x="20" y="61"/>
                        <a:pt x="24" y="61"/>
                        <a:pt x="26" y="61"/>
                      </a:cubicBezTo>
                      <a:cubicBezTo>
                        <a:pt x="26" y="61"/>
                        <a:pt x="25" y="48"/>
                        <a:pt x="26" y="10"/>
                      </a:cubicBezTo>
                      <a:lnTo>
                        <a:pt x="19" y="6"/>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1" name="Freeform 57">
                  <a:extLst>
                    <a:ext uri="{FF2B5EF4-FFF2-40B4-BE49-F238E27FC236}">
                      <a16:creationId xmlns:a16="http://schemas.microsoft.com/office/drawing/2014/main" id="{E027E1D4-2807-4416-900A-469C17D41091}"/>
                    </a:ext>
                  </a:extLst>
                </p:cNvPr>
                <p:cNvSpPr>
                  <a:spLocks/>
                </p:cNvSpPr>
                <p:nvPr/>
              </p:nvSpPr>
              <p:spPr bwMode="auto">
                <a:xfrm>
                  <a:off x="3101030" y="1655565"/>
                  <a:ext cx="10495" cy="10487"/>
                </a:xfrm>
                <a:custGeom>
                  <a:avLst/>
                  <a:gdLst>
                    <a:gd name="T0" fmla="*/ 6 w 12"/>
                    <a:gd name="T1" fmla="*/ 0 h 13"/>
                    <a:gd name="T2" fmla="*/ 12 w 12"/>
                    <a:gd name="T3" fmla="*/ 7 h 13"/>
                    <a:gd name="T4" fmla="*/ 6 w 12"/>
                    <a:gd name="T5" fmla="*/ 13 h 13"/>
                    <a:gd name="T6" fmla="*/ 0 w 12"/>
                    <a:gd name="T7" fmla="*/ 6 h 13"/>
                    <a:gd name="T8" fmla="*/ 6 w 12"/>
                    <a:gd name="T9" fmla="*/ 0 h 13"/>
                  </a:gdLst>
                  <a:ahLst/>
                  <a:cxnLst>
                    <a:cxn ang="0">
                      <a:pos x="T0" y="T1"/>
                    </a:cxn>
                    <a:cxn ang="0">
                      <a:pos x="T2" y="T3"/>
                    </a:cxn>
                    <a:cxn ang="0">
                      <a:pos x="T4" y="T5"/>
                    </a:cxn>
                    <a:cxn ang="0">
                      <a:pos x="T6" y="T7"/>
                    </a:cxn>
                    <a:cxn ang="0">
                      <a:pos x="T8" y="T9"/>
                    </a:cxn>
                  </a:cxnLst>
                  <a:rect l="0" t="0" r="r" b="b"/>
                  <a:pathLst>
                    <a:path w="12" h="13">
                      <a:moveTo>
                        <a:pt x="6" y="0"/>
                      </a:moveTo>
                      <a:cubicBezTo>
                        <a:pt x="10" y="0"/>
                        <a:pt x="12" y="3"/>
                        <a:pt x="12" y="7"/>
                      </a:cubicBezTo>
                      <a:cubicBezTo>
                        <a:pt x="12" y="10"/>
                        <a:pt x="9" y="13"/>
                        <a:pt x="6" y="13"/>
                      </a:cubicBezTo>
                      <a:cubicBezTo>
                        <a:pt x="3" y="12"/>
                        <a:pt x="0" y="10"/>
                        <a:pt x="0" y="6"/>
                      </a:cubicBezTo>
                      <a:cubicBezTo>
                        <a:pt x="0" y="3"/>
                        <a:pt x="3" y="0"/>
                        <a:pt x="6" y="0"/>
                      </a:cubicBezTo>
                      <a:close/>
                    </a:path>
                  </a:pathLst>
                </a:custGeom>
                <a:solidFill>
                  <a:srgbClr val="0220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2" name="Freeform 58">
                  <a:extLst>
                    <a:ext uri="{FF2B5EF4-FFF2-40B4-BE49-F238E27FC236}">
                      <a16:creationId xmlns:a16="http://schemas.microsoft.com/office/drawing/2014/main" id="{86607722-C877-4D91-A3C0-5B04AFDB8C99}"/>
                    </a:ext>
                  </a:extLst>
                </p:cNvPr>
                <p:cNvSpPr>
                  <a:spLocks/>
                </p:cNvSpPr>
                <p:nvPr/>
              </p:nvSpPr>
              <p:spPr bwMode="auto">
                <a:xfrm>
                  <a:off x="3151596" y="1654612"/>
                  <a:ext cx="31485" cy="9533"/>
                </a:xfrm>
                <a:custGeom>
                  <a:avLst/>
                  <a:gdLst>
                    <a:gd name="T0" fmla="*/ 37 w 37"/>
                    <a:gd name="T1" fmla="*/ 0 h 12"/>
                    <a:gd name="T2" fmla="*/ 34 w 37"/>
                    <a:gd name="T3" fmla="*/ 5 h 12"/>
                    <a:gd name="T4" fmla="*/ 25 w 37"/>
                    <a:gd name="T5" fmla="*/ 10 h 12"/>
                    <a:gd name="T6" fmla="*/ 19 w 37"/>
                    <a:gd name="T7" fmla="*/ 12 h 12"/>
                    <a:gd name="T8" fmla="*/ 19 w 37"/>
                    <a:gd name="T9" fmla="*/ 12 h 12"/>
                    <a:gd name="T10" fmla="*/ 13 w 37"/>
                    <a:gd name="T11" fmla="*/ 10 h 12"/>
                    <a:gd name="T12" fmla="*/ 4 w 37"/>
                    <a:gd name="T13" fmla="*/ 5 h 12"/>
                    <a:gd name="T14" fmla="*/ 1 w 37"/>
                    <a:gd name="T15" fmla="*/ 0 h 12"/>
                    <a:gd name="T16" fmla="*/ 37 w 37"/>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
                      <a:moveTo>
                        <a:pt x="37" y="0"/>
                      </a:moveTo>
                      <a:cubicBezTo>
                        <a:pt x="37" y="2"/>
                        <a:pt x="36" y="4"/>
                        <a:pt x="34" y="5"/>
                      </a:cubicBezTo>
                      <a:cubicBezTo>
                        <a:pt x="30" y="7"/>
                        <a:pt x="26" y="7"/>
                        <a:pt x="25" y="10"/>
                      </a:cubicBezTo>
                      <a:cubicBezTo>
                        <a:pt x="23" y="12"/>
                        <a:pt x="21" y="12"/>
                        <a:pt x="19" y="12"/>
                      </a:cubicBezTo>
                      <a:cubicBezTo>
                        <a:pt x="19" y="12"/>
                        <a:pt x="19" y="12"/>
                        <a:pt x="19" y="12"/>
                      </a:cubicBezTo>
                      <a:cubicBezTo>
                        <a:pt x="17" y="12"/>
                        <a:pt x="15" y="12"/>
                        <a:pt x="13" y="10"/>
                      </a:cubicBezTo>
                      <a:cubicBezTo>
                        <a:pt x="11" y="7"/>
                        <a:pt x="8" y="7"/>
                        <a:pt x="4" y="5"/>
                      </a:cubicBezTo>
                      <a:cubicBezTo>
                        <a:pt x="2" y="4"/>
                        <a:pt x="0" y="2"/>
                        <a:pt x="1" y="0"/>
                      </a:cubicBezTo>
                      <a:lnTo>
                        <a:pt x="37"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3" name="Freeform 59">
                  <a:extLst>
                    <a:ext uri="{FF2B5EF4-FFF2-40B4-BE49-F238E27FC236}">
                      <a16:creationId xmlns:a16="http://schemas.microsoft.com/office/drawing/2014/main" id="{D3BE364C-06C7-4DCF-8E1A-FA0B2CAB95EC}"/>
                    </a:ext>
                  </a:extLst>
                </p:cNvPr>
                <p:cNvSpPr>
                  <a:spLocks/>
                </p:cNvSpPr>
                <p:nvPr/>
              </p:nvSpPr>
              <p:spPr bwMode="auto">
                <a:xfrm>
                  <a:off x="3152550" y="1617431"/>
                  <a:ext cx="15265" cy="37181"/>
                </a:xfrm>
                <a:custGeom>
                  <a:avLst/>
                  <a:gdLst>
                    <a:gd name="T0" fmla="*/ 0 w 18"/>
                    <a:gd name="T1" fmla="*/ 44 h 44"/>
                    <a:gd name="T2" fmla="*/ 18 w 18"/>
                    <a:gd name="T3" fmla="*/ 44 h 44"/>
                    <a:gd name="T4" fmla="*/ 18 w 18"/>
                    <a:gd name="T5" fmla="*/ 0 h 44"/>
                    <a:gd name="T6" fmla="*/ 12 w 18"/>
                    <a:gd name="T7" fmla="*/ 9 h 44"/>
                    <a:gd name="T8" fmla="*/ 2 w 18"/>
                    <a:gd name="T9" fmla="*/ 40 h 44"/>
                    <a:gd name="T10" fmla="*/ 0 w 18"/>
                    <a:gd name="T11" fmla="*/ 44 h 44"/>
                  </a:gdLst>
                  <a:ahLst/>
                  <a:cxnLst>
                    <a:cxn ang="0">
                      <a:pos x="T0" y="T1"/>
                    </a:cxn>
                    <a:cxn ang="0">
                      <a:pos x="T2" y="T3"/>
                    </a:cxn>
                    <a:cxn ang="0">
                      <a:pos x="T4" y="T5"/>
                    </a:cxn>
                    <a:cxn ang="0">
                      <a:pos x="T6" y="T7"/>
                    </a:cxn>
                    <a:cxn ang="0">
                      <a:pos x="T8" y="T9"/>
                    </a:cxn>
                    <a:cxn ang="0">
                      <a:pos x="T10" y="T11"/>
                    </a:cxn>
                  </a:cxnLst>
                  <a:rect l="0" t="0" r="r" b="b"/>
                  <a:pathLst>
                    <a:path w="18" h="44">
                      <a:moveTo>
                        <a:pt x="0" y="44"/>
                      </a:moveTo>
                      <a:cubicBezTo>
                        <a:pt x="18" y="44"/>
                        <a:pt x="18" y="44"/>
                        <a:pt x="18" y="44"/>
                      </a:cubicBezTo>
                      <a:cubicBezTo>
                        <a:pt x="18" y="0"/>
                        <a:pt x="18" y="0"/>
                        <a:pt x="18" y="0"/>
                      </a:cubicBezTo>
                      <a:cubicBezTo>
                        <a:pt x="16" y="0"/>
                        <a:pt x="12" y="0"/>
                        <a:pt x="12" y="9"/>
                      </a:cubicBezTo>
                      <a:cubicBezTo>
                        <a:pt x="12" y="21"/>
                        <a:pt x="6" y="35"/>
                        <a:pt x="2" y="40"/>
                      </a:cubicBezTo>
                      <a:cubicBezTo>
                        <a:pt x="0" y="43"/>
                        <a:pt x="0" y="44"/>
                        <a:pt x="0" y="44"/>
                      </a:cubicBezTo>
                      <a:close/>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4" name="Freeform 60">
                  <a:extLst>
                    <a:ext uri="{FF2B5EF4-FFF2-40B4-BE49-F238E27FC236}">
                      <a16:creationId xmlns:a16="http://schemas.microsoft.com/office/drawing/2014/main" id="{1A820495-D527-4D3B-8027-DFA754E8B9C4}"/>
                    </a:ext>
                  </a:extLst>
                </p:cNvPr>
                <p:cNvSpPr>
                  <a:spLocks/>
                </p:cNvSpPr>
                <p:nvPr/>
              </p:nvSpPr>
              <p:spPr bwMode="auto">
                <a:xfrm>
                  <a:off x="3146825" y="1678445"/>
                  <a:ext cx="41025" cy="7627"/>
                </a:xfrm>
                <a:custGeom>
                  <a:avLst/>
                  <a:gdLst>
                    <a:gd name="T0" fmla="*/ 25 w 49"/>
                    <a:gd name="T1" fmla="*/ 9 h 9"/>
                    <a:gd name="T2" fmla="*/ 3 w 49"/>
                    <a:gd name="T3" fmla="*/ 6 h 9"/>
                    <a:gd name="T4" fmla="*/ 1 w 49"/>
                    <a:gd name="T5" fmla="*/ 2 h 9"/>
                    <a:gd name="T6" fmla="*/ 4 w 49"/>
                    <a:gd name="T7" fmla="*/ 0 h 9"/>
                    <a:gd name="T8" fmla="*/ 45 w 49"/>
                    <a:gd name="T9" fmla="*/ 0 h 9"/>
                    <a:gd name="T10" fmla="*/ 49 w 49"/>
                    <a:gd name="T11" fmla="*/ 2 h 9"/>
                    <a:gd name="T12" fmla="*/ 47 w 49"/>
                    <a:gd name="T13" fmla="*/ 6 h 9"/>
                    <a:gd name="T14" fmla="*/ 25 w 49"/>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9">
                      <a:moveTo>
                        <a:pt x="25" y="9"/>
                      </a:moveTo>
                      <a:cubicBezTo>
                        <a:pt x="18" y="9"/>
                        <a:pt x="11" y="8"/>
                        <a:pt x="3" y="6"/>
                      </a:cubicBezTo>
                      <a:cubicBezTo>
                        <a:pt x="2" y="6"/>
                        <a:pt x="0" y="4"/>
                        <a:pt x="1" y="2"/>
                      </a:cubicBezTo>
                      <a:cubicBezTo>
                        <a:pt x="1" y="1"/>
                        <a:pt x="3" y="0"/>
                        <a:pt x="4" y="0"/>
                      </a:cubicBezTo>
                      <a:cubicBezTo>
                        <a:pt x="20" y="3"/>
                        <a:pt x="30" y="3"/>
                        <a:pt x="45" y="0"/>
                      </a:cubicBezTo>
                      <a:cubicBezTo>
                        <a:pt x="47" y="0"/>
                        <a:pt x="49" y="1"/>
                        <a:pt x="49" y="2"/>
                      </a:cubicBezTo>
                      <a:cubicBezTo>
                        <a:pt x="49" y="4"/>
                        <a:pt x="48" y="6"/>
                        <a:pt x="47" y="6"/>
                      </a:cubicBezTo>
                      <a:cubicBezTo>
                        <a:pt x="38" y="8"/>
                        <a:pt x="32" y="9"/>
                        <a:pt x="25" y="9"/>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5" name="Freeform 61">
                  <a:extLst>
                    <a:ext uri="{FF2B5EF4-FFF2-40B4-BE49-F238E27FC236}">
                      <a16:creationId xmlns:a16="http://schemas.microsoft.com/office/drawing/2014/main" id="{9872E154-36A0-4110-91B3-2F10BA1B7A60}"/>
                    </a:ext>
                  </a:extLst>
                </p:cNvPr>
                <p:cNvSpPr>
                  <a:spLocks/>
                </p:cNvSpPr>
                <p:nvPr/>
              </p:nvSpPr>
              <p:spPr bwMode="auto">
                <a:xfrm>
                  <a:off x="2987495" y="1735646"/>
                  <a:ext cx="114489" cy="232617"/>
                </a:xfrm>
                <a:custGeom>
                  <a:avLst/>
                  <a:gdLst>
                    <a:gd name="T0" fmla="*/ 36 w 136"/>
                    <a:gd name="T1" fmla="*/ 279 h 279"/>
                    <a:gd name="T2" fmla="*/ 30 w 136"/>
                    <a:gd name="T3" fmla="*/ 278 h 279"/>
                    <a:gd name="T4" fmla="*/ 3 w 136"/>
                    <a:gd name="T5" fmla="*/ 239 h 279"/>
                    <a:gd name="T6" fmla="*/ 57 w 136"/>
                    <a:gd name="T7" fmla="*/ 55 h 279"/>
                    <a:gd name="T8" fmla="*/ 67 w 136"/>
                    <a:gd name="T9" fmla="*/ 27 h 279"/>
                    <a:gd name="T10" fmla="*/ 110 w 136"/>
                    <a:gd name="T11" fmla="*/ 6 h 279"/>
                    <a:gd name="T12" fmla="*/ 130 w 136"/>
                    <a:gd name="T13" fmla="*/ 48 h 279"/>
                    <a:gd name="T14" fmla="*/ 120 w 136"/>
                    <a:gd name="T15" fmla="*/ 77 h 279"/>
                    <a:gd name="T16" fmla="*/ 69 w 136"/>
                    <a:gd name="T17" fmla="*/ 252 h 279"/>
                    <a:gd name="T18" fmla="*/ 36 w 136"/>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79">
                      <a:moveTo>
                        <a:pt x="36" y="279"/>
                      </a:moveTo>
                      <a:cubicBezTo>
                        <a:pt x="34" y="279"/>
                        <a:pt x="32" y="279"/>
                        <a:pt x="30" y="278"/>
                      </a:cubicBezTo>
                      <a:cubicBezTo>
                        <a:pt x="12" y="275"/>
                        <a:pt x="0" y="257"/>
                        <a:pt x="3" y="239"/>
                      </a:cubicBezTo>
                      <a:cubicBezTo>
                        <a:pt x="16" y="171"/>
                        <a:pt x="40" y="104"/>
                        <a:pt x="57" y="55"/>
                      </a:cubicBezTo>
                      <a:cubicBezTo>
                        <a:pt x="61" y="45"/>
                        <a:pt x="64" y="35"/>
                        <a:pt x="67" y="27"/>
                      </a:cubicBezTo>
                      <a:cubicBezTo>
                        <a:pt x="73" y="9"/>
                        <a:pt x="92" y="0"/>
                        <a:pt x="110" y="6"/>
                      </a:cubicBezTo>
                      <a:cubicBezTo>
                        <a:pt x="127" y="12"/>
                        <a:pt x="136" y="31"/>
                        <a:pt x="130" y="48"/>
                      </a:cubicBezTo>
                      <a:cubicBezTo>
                        <a:pt x="127" y="57"/>
                        <a:pt x="124" y="67"/>
                        <a:pt x="120" y="77"/>
                      </a:cubicBezTo>
                      <a:cubicBezTo>
                        <a:pt x="104" y="124"/>
                        <a:pt x="81" y="188"/>
                        <a:pt x="69" y="252"/>
                      </a:cubicBezTo>
                      <a:cubicBezTo>
                        <a:pt x="66" y="268"/>
                        <a:pt x="52" y="279"/>
                        <a:pt x="36" y="27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6" name="Freeform 62">
                  <a:extLst>
                    <a:ext uri="{FF2B5EF4-FFF2-40B4-BE49-F238E27FC236}">
                      <a16:creationId xmlns:a16="http://schemas.microsoft.com/office/drawing/2014/main" id="{B48FCDE9-5C5B-455B-BB88-A0C463A3022D}"/>
                    </a:ext>
                  </a:extLst>
                </p:cNvPr>
                <p:cNvSpPr>
                  <a:spLocks/>
                </p:cNvSpPr>
                <p:nvPr/>
              </p:nvSpPr>
              <p:spPr bwMode="auto">
                <a:xfrm>
                  <a:off x="3001806" y="1755666"/>
                  <a:ext cx="102086" cy="128702"/>
                </a:xfrm>
                <a:custGeom>
                  <a:avLst/>
                  <a:gdLst>
                    <a:gd name="T0" fmla="*/ 80 w 121"/>
                    <a:gd name="T1" fmla="*/ 154 h 154"/>
                    <a:gd name="T2" fmla="*/ 0 w 121"/>
                    <a:gd name="T3" fmla="*/ 131 h 154"/>
                    <a:gd name="T4" fmla="*/ 43 w 121"/>
                    <a:gd name="T5" fmla="*/ 0 h 154"/>
                    <a:gd name="T6" fmla="*/ 121 w 121"/>
                    <a:gd name="T7" fmla="*/ 27 h 154"/>
                    <a:gd name="T8" fmla="*/ 80 w 121"/>
                    <a:gd name="T9" fmla="*/ 154 h 154"/>
                  </a:gdLst>
                  <a:ahLst/>
                  <a:cxnLst>
                    <a:cxn ang="0">
                      <a:pos x="T0" y="T1"/>
                    </a:cxn>
                    <a:cxn ang="0">
                      <a:pos x="T2" y="T3"/>
                    </a:cxn>
                    <a:cxn ang="0">
                      <a:pos x="T4" y="T5"/>
                    </a:cxn>
                    <a:cxn ang="0">
                      <a:pos x="T6" y="T7"/>
                    </a:cxn>
                    <a:cxn ang="0">
                      <a:pos x="T8" y="T9"/>
                    </a:cxn>
                  </a:cxnLst>
                  <a:rect l="0" t="0" r="r" b="b"/>
                  <a:pathLst>
                    <a:path w="121" h="154">
                      <a:moveTo>
                        <a:pt x="80" y="154"/>
                      </a:moveTo>
                      <a:cubicBezTo>
                        <a:pt x="0" y="131"/>
                        <a:pt x="0" y="131"/>
                        <a:pt x="0" y="131"/>
                      </a:cubicBezTo>
                      <a:cubicBezTo>
                        <a:pt x="10" y="99"/>
                        <a:pt x="36" y="21"/>
                        <a:pt x="43" y="0"/>
                      </a:cubicBezTo>
                      <a:cubicBezTo>
                        <a:pt x="121" y="27"/>
                        <a:pt x="121" y="27"/>
                        <a:pt x="121" y="27"/>
                      </a:cubicBezTo>
                      <a:cubicBezTo>
                        <a:pt x="113" y="51"/>
                        <a:pt x="88" y="125"/>
                        <a:pt x="80" y="154"/>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7" name="Freeform 63">
                  <a:extLst>
                    <a:ext uri="{FF2B5EF4-FFF2-40B4-BE49-F238E27FC236}">
                      <a16:creationId xmlns:a16="http://schemas.microsoft.com/office/drawing/2014/main" id="{AEA0B952-8B09-412A-A1B0-489D1531A57D}"/>
                    </a:ext>
                  </a:extLst>
                </p:cNvPr>
                <p:cNvSpPr>
                  <a:spLocks/>
                </p:cNvSpPr>
                <p:nvPr/>
              </p:nvSpPr>
              <p:spPr bwMode="auto">
                <a:xfrm>
                  <a:off x="3034245" y="1730879"/>
                  <a:ext cx="72510" cy="72454"/>
                </a:xfrm>
                <a:custGeom>
                  <a:avLst/>
                  <a:gdLst>
                    <a:gd name="T0" fmla="*/ 84 w 86"/>
                    <a:gd name="T1" fmla="*/ 34 h 86"/>
                    <a:gd name="T2" fmla="*/ 76 w 86"/>
                    <a:gd name="T3" fmla="*/ 25 h 86"/>
                    <a:gd name="T4" fmla="*/ 71 w 86"/>
                    <a:gd name="T5" fmla="*/ 16 h 86"/>
                    <a:gd name="T6" fmla="*/ 68 w 86"/>
                    <a:gd name="T7" fmla="*/ 9 h 86"/>
                    <a:gd name="T8" fmla="*/ 39 w 86"/>
                    <a:gd name="T9" fmla="*/ 1 h 86"/>
                    <a:gd name="T10" fmla="*/ 2 w 86"/>
                    <a:gd name="T11" fmla="*/ 47 h 86"/>
                    <a:gd name="T12" fmla="*/ 47 w 86"/>
                    <a:gd name="T13" fmla="*/ 84 h 86"/>
                    <a:gd name="T14" fmla="*/ 77 w 86"/>
                    <a:gd name="T15" fmla="*/ 67 h 86"/>
                    <a:gd name="T16" fmla="*/ 85 w 86"/>
                    <a:gd name="T17" fmla="*/ 39 h 86"/>
                    <a:gd name="T18" fmla="*/ 84 w 86"/>
                    <a:gd name="T19"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6">
                      <a:moveTo>
                        <a:pt x="84" y="34"/>
                      </a:moveTo>
                      <a:cubicBezTo>
                        <a:pt x="81" y="31"/>
                        <a:pt x="79" y="28"/>
                        <a:pt x="76" y="25"/>
                      </a:cubicBezTo>
                      <a:cubicBezTo>
                        <a:pt x="74" y="22"/>
                        <a:pt x="72" y="19"/>
                        <a:pt x="71" y="16"/>
                      </a:cubicBezTo>
                      <a:cubicBezTo>
                        <a:pt x="70" y="14"/>
                        <a:pt x="69" y="12"/>
                        <a:pt x="68" y="9"/>
                      </a:cubicBezTo>
                      <a:cubicBezTo>
                        <a:pt x="60" y="4"/>
                        <a:pt x="50" y="0"/>
                        <a:pt x="39" y="1"/>
                      </a:cubicBezTo>
                      <a:cubicBezTo>
                        <a:pt x="17" y="4"/>
                        <a:pt x="0" y="24"/>
                        <a:pt x="2" y="47"/>
                      </a:cubicBezTo>
                      <a:cubicBezTo>
                        <a:pt x="4" y="69"/>
                        <a:pt x="25" y="86"/>
                        <a:pt x="47" y="84"/>
                      </a:cubicBezTo>
                      <a:cubicBezTo>
                        <a:pt x="59" y="83"/>
                        <a:pt x="70" y="76"/>
                        <a:pt x="77" y="67"/>
                      </a:cubicBezTo>
                      <a:cubicBezTo>
                        <a:pt x="82" y="59"/>
                        <a:pt x="86" y="49"/>
                        <a:pt x="85" y="39"/>
                      </a:cubicBezTo>
                      <a:cubicBezTo>
                        <a:pt x="84" y="37"/>
                        <a:pt x="84" y="36"/>
                        <a:pt x="84" y="34"/>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8" name="Freeform 64">
                  <a:extLst>
                    <a:ext uri="{FF2B5EF4-FFF2-40B4-BE49-F238E27FC236}">
                      <a16:creationId xmlns:a16="http://schemas.microsoft.com/office/drawing/2014/main" id="{7C69FE9A-8C46-4BA5-8842-190491A9EFDB}"/>
                    </a:ext>
                  </a:extLst>
                </p:cNvPr>
                <p:cNvSpPr>
                  <a:spLocks/>
                </p:cNvSpPr>
                <p:nvPr/>
              </p:nvSpPr>
              <p:spPr bwMode="auto">
                <a:xfrm>
                  <a:off x="3005623" y="1866255"/>
                  <a:ext cx="55336" cy="27647"/>
                </a:xfrm>
                <a:custGeom>
                  <a:avLst/>
                  <a:gdLst>
                    <a:gd name="T0" fmla="*/ 2 w 58"/>
                    <a:gd name="T1" fmla="*/ 0 h 29"/>
                    <a:gd name="T2" fmla="*/ 58 w 58"/>
                    <a:gd name="T3" fmla="*/ 16 h 29"/>
                    <a:gd name="T4" fmla="*/ 55 w 58"/>
                    <a:gd name="T5" fmla="*/ 29 h 29"/>
                    <a:gd name="T6" fmla="*/ 0 w 58"/>
                    <a:gd name="T7" fmla="*/ 6 h 29"/>
                    <a:gd name="T8" fmla="*/ 2 w 58"/>
                    <a:gd name="T9" fmla="*/ 0 h 29"/>
                  </a:gdLst>
                  <a:ahLst/>
                  <a:cxnLst>
                    <a:cxn ang="0">
                      <a:pos x="T0" y="T1"/>
                    </a:cxn>
                    <a:cxn ang="0">
                      <a:pos x="T2" y="T3"/>
                    </a:cxn>
                    <a:cxn ang="0">
                      <a:pos x="T4" y="T5"/>
                    </a:cxn>
                    <a:cxn ang="0">
                      <a:pos x="T6" y="T7"/>
                    </a:cxn>
                    <a:cxn ang="0">
                      <a:pos x="T8" y="T9"/>
                    </a:cxn>
                  </a:cxnLst>
                  <a:rect l="0" t="0" r="r" b="b"/>
                  <a:pathLst>
                    <a:path w="58" h="29">
                      <a:moveTo>
                        <a:pt x="2" y="0"/>
                      </a:moveTo>
                      <a:lnTo>
                        <a:pt x="58" y="16"/>
                      </a:lnTo>
                      <a:lnTo>
                        <a:pt x="55" y="29"/>
                      </a:lnTo>
                      <a:lnTo>
                        <a:pt x="0" y="6"/>
                      </a:lnTo>
                      <a:lnTo>
                        <a:pt x="2"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9" name="Freeform 65">
                  <a:extLst>
                    <a:ext uri="{FF2B5EF4-FFF2-40B4-BE49-F238E27FC236}">
                      <a16:creationId xmlns:a16="http://schemas.microsoft.com/office/drawing/2014/main" id="{8A2A2167-D885-4E48-A8F4-5ACB0E89760A}"/>
                    </a:ext>
                  </a:extLst>
                </p:cNvPr>
                <p:cNvSpPr>
                  <a:spLocks/>
                </p:cNvSpPr>
                <p:nvPr/>
              </p:nvSpPr>
              <p:spPr bwMode="auto">
                <a:xfrm>
                  <a:off x="3084811" y="1720392"/>
                  <a:ext cx="158376" cy="77221"/>
                </a:xfrm>
                <a:custGeom>
                  <a:avLst/>
                  <a:gdLst>
                    <a:gd name="T0" fmla="*/ 155 w 189"/>
                    <a:gd name="T1" fmla="*/ 14 h 92"/>
                    <a:gd name="T2" fmla="*/ 140 w 189"/>
                    <a:gd name="T3" fmla="*/ 1 h 92"/>
                    <a:gd name="T4" fmla="*/ 121 w 189"/>
                    <a:gd name="T5" fmla="*/ 2 h 92"/>
                    <a:gd name="T6" fmla="*/ 114 w 189"/>
                    <a:gd name="T7" fmla="*/ 9 h 92"/>
                    <a:gd name="T8" fmla="*/ 110 w 189"/>
                    <a:gd name="T9" fmla="*/ 11 h 92"/>
                    <a:gd name="T10" fmla="*/ 107 w 189"/>
                    <a:gd name="T11" fmla="*/ 7 h 92"/>
                    <a:gd name="T12" fmla="*/ 99 w 189"/>
                    <a:gd name="T13" fmla="*/ 10 h 92"/>
                    <a:gd name="T14" fmla="*/ 70 w 189"/>
                    <a:gd name="T15" fmla="*/ 12 h 92"/>
                    <a:gd name="T16" fmla="*/ 3 w 189"/>
                    <a:gd name="T17" fmla="*/ 10 h 92"/>
                    <a:gd name="T18" fmla="*/ 8 w 189"/>
                    <a:gd name="T19" fmla="*/ 23 h 92"/>
                    <a:gd name="T20" fmla="*/ 106 w 189"/>
                    <a:gd name="T21" fmla="*/ 89 h 92"/>
                    <a:gd name="T22" fmla="*/ 189 w 189"/>
                    <a:gd name="T23" fmla="*/ 19 h 92"/>
                    <a:gd name="T24" fmla="*/ 155 w 189"/>
                    <a:gd name="T25"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92">
                      <a:moveTo>
                        <a:pt x="155" y="14"/>
                      </a:moveTo>
                      <a:cubicBezTo>
                        <a:pt x="148" y="13"/>
                        <a:pt x="143" y="8"/>
                        <a:pt x="140" y="1"/>
                      </a:cubicBezTo>
                      <a:cubicBezTo>
                        <a:pt x="133" y="0"/>
                        <a:pt x="128" y="3"/>
                        <a:pt x="121" y="2"/>
                      </a:cubicBezTo>
                      <a:cubicBezTo>
                        <a:pt x="117" y="1"/>
                        <a:pt x="118" y="10"/>
                        <a:pt x="114" y="9"/>
                      </a:cubicBezTo>
                      <a:cubicBezTo>
                        <a:pt x="112" y="9"/>
                        <a:pt x="112" y="12"/>
                        <a:pt x="110" y="11"/>
                      </a:cubicBezTo>
                      <a:cubicBezTo>
                        <a:pt x="109" y="11"/>
                        <a:pt x="108" y="7"/>
                        <a:pt x="107" y="7"/>
                      </a:cubicBezTo>
                      <a:cubicBezTo>
                        <a:pt x="102" y="7"/>
                        <a:pt x="104" y="10"/>
                        <a:pt x="99" y="10"/>
                      </a:cubicBezTo>
                      <a:cubicBezTo>
                        <a:pt x="96" y="18"/>
                        <a:pt x="78" y="11"/>
                        <a:pt x="70" y="12"/>
                      </a:cubicBezTo>
                      <a:cubicBezTo>
                        <a:pt x="52" y="16"/>
                        <a:pt x="21" y="7"/>
                        <a:pt x="3" y="10"/>
                      </a:cubicBezTo>
                      <a:cubicBezTo>
                        <a:pt x="0" y="11"/>
                        <a:pt x="11" y="22"/>
                        <a:pt x="8" y="23"/>
                      </a:cubicBezTo>
                      <a:cubicBezTo>
                        <a:pt x="25" y="60"/>
                        <a:pt x="65" y="92"/>
                        <a:pt x="106" y="89"/>
                      </a:cubicBezTo>
                      <a:cubicBezTo>
                        <a:pt x="146" y="87"/>
                        <a:pt x="176" y="55"/>
                        <a:pt x="189" y="19"/>
                      </a:cubicBezTo>
                      <a:cubicBezTo>
                        <a:pt x="178" y="18"/>
                        <a:pt x="167" y="16"/>
                        <a:pt x="155" y="14"/>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0" name="Freeform 66">
                  <a:extLst>
                    <a:ext uri="{FF2B5EF4-FFF2-40B4-BE49-F238E27FC236}">
                      <a16:creationId xmlns:a16="http://schemas.microsoft.com/office/drawing/2014/main" id="{2C446930-3D61-4C40-B3A1-C54D94258C55}"/>
                    </a:ext>
                  </a:extLst>
                </p:cNvPr>
                <p:cNvSpPr>
                  <a:spLocks/>
                </p:cNvSpPr>
                <p:nvPr/>
              </p:nvSpPr>
              <p:spPr bwMode="auto">
                <a:xfrm>
                  <a:off x="3054281" y="1868161"/>
                  <a:ext cx="233748" cy="232617"/>
                </a:xfrm>
                <a:custGeom>
                  <a:avLst/>
                  <a:gdLst>
                    <a:gd name="T0" fmla="*/ 99 w 245"/>
                    <a:gd name="T1" fmla="*/ 244 h 244"/>
                    <a:gd name="T2" fmla="*/ 245 w 245"/>
                    <a:gd name="T3" fmla="*/ 102 h 244"/>
                    <a:gd name="T4" fmla="*/ 146 w 245"/>
                    <a:gd name="T5" fmla="*/ 0 h 244"/>
                    <a:gd name="T6" fmla="*/ 0 w 245"/>
                    <a:gd name="T7" fmla="*/ 143 h 244"/>
                    <a:gd name="T8" fmla="*/ 99 w 245"/>
                    <a:gd name="T9" fmla="*/ 244 h 244"/>
                  </a:gdLst>
                  <a:ahLst/>
                  <a:cxnLst>
                    <a:cxn ang="0">
                      <a:pos x="T0" y="T1"/>
                    </a:cxn>
                    <a:cxn ang="0">
                      <a:pos x="T2" y="T3"/>
                    </a:cxn>
                    <a:cxn ang="0">
                      <a:pos x="T4" y="T5"/>
                    </a:cxn>
                    <a:cxn ang="0">
                      <a:pos x="T6" y="T7"/>
                    </a:cxn>
                    <a:cxn ang="0">
                      <a:pos x="T8" y="T9"/>
                    </a:cxn>
                  </a:cxnLst>
                  <a:rect l="0" t="0" r="r" b="b"/>
                  <a:pathLst>
                    <a:path w="245" h="244">
                      <a:moveTo>
                        <a:pt x="99" y="244"/>
                      </a:moveTo>
                      <a:lnTo>
                        <a:pt x="245" y="102"/>
                      </a:lnTo>
                      <a:lnTo>
                        <a:pt x="146" y="0"/>
                      </a:lnTo>
                      <a:lnTo>
                        <a:pt x="0" y="143"/>
                      </a:lnTo>
                      <a:lnTo>
                        <a:pt x="99" y="2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1" name="Freeform 67">
                  <a:extLst>
                    <a:ext uri="{FF2B5EF4-FFF2-40B4-BE49-F238E27FC236}">
                      <a16:creationId xmlns:a16="http://schemas.microsoft.com/office/drawing/2014/main" id="{115B749E-20EF-4A50-BF9F-8D09A2139C8E}"/>
                    </a:ext>
                  </a:extLst>
                </p:cNvPr>
                <p:cNvSpPr>
                  <a:spLocks/>
                </p:cNvSpPr>
                <p:nvPr/>
              </p:nvSpPr>
              <p:spPr bwMode="auto">
                <a:xfrm>
                  <a:off x="3054281" y="1965403"/>
                  <a:ext cx="233748" cy="135375"/>
                </a:xfrm>
                <a:custGeom>
                  <a:avLst/>
                  <a:gdLst>
                    <a:gd name="T0" fmla="*/ 99 w 245"/>
                    <a:gd name="T1" fmla="*/ 142 h 142"/>
                    <a:gd name="T2" fmla="*/ 245 w 245"/>
                    <a:gd name="T3" fmla="*/ 0 h 142"/>
                    <a:gd name="T4" fmla="*/ 0 w 245"/>
                    <a:gd name="T5" fmla="*/ 41 h 142"/>
                    <a:gd name="T6" fmla="*/ 99 w 245"/>
                    <a:gd name="T7" fmla="*/ 142 h 142"/>
                  </a:gdLst>
                  <a:ahLst/>
                  <a:cxnLst>
                    <a:cxn ang="0">
                      <a:pos x="T0" y="T1"/>
                    </a:cxn>
                    <a:cxn ang="0">
                      <a:pos x="T2" y="T3"/>
                    </a:cxn>
                    <a:cxn ang="0">
                      <a:pos x="T4" y="T5"/>
                    </a:cxn>
                    <a:cxn ang="0">
                      <a:pos x="T6" y="T7"/>
                    </a:cxn>
                  </a:cxnLst>
                  <a:rect l="0" t="0" r="r" b="b"/>
                  <a:pathLst>
                    <a:path w="245" h="142">
                      <a:moveTo>
                        <a:pt x="99" y="142"/>
                      </a:moveTo>
                      <a:lnTo>
                        <a:pt x="245" y="0"/>
                      </a:lnTo>
                      <a:lnTo>
                        <a:pt x="0" y="41"/>
                      </a:lnTo>
                      <a:lnTo>
                        <a:pt x="99" y="142"/>
                      </a:lnTo>
                      <a:close/>
                    </a:path>
                  </a:pathLst>
                </a:custGeom>
                <a:solidFill>
                  <a:srgbClr val="0054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2" name="Freeform 68">
                  <a:extLst>
                    <a:ext uri="{FF2B5EF4-FFF2-40B4-BE49-F238E27FC236}">
                      <a16:creationId xmlns:a16="http://schemas.microsoft.com/office/drawing/2014/main" id="{E5442E33-1C77-4A1F-902C-A8F5A65A0FD6}"/>
                    </a:ext>
                  </a:extLst>
                </p:cNvPr>
                <p:cNvSpPr>
                  <a:spLocks/>
                </p:cNvSpPr>
                <p:nvPr/>
              </p:nvSpPr>
              <p:spPr bwMode="auto">
                <a:xfrm>
                  <a:off x="3119158" y="1998770"/>
                  <a:ext cx="144065" cy="60061"/>
                </a:xfrm>
                <a:custGeom>
                  <a:avLst/>
                  <a:gdLst>
                    <a:gd name="T0" fmla="*/ 59 w 171"/>
                    <a:gd name="T1" fmla="*/ 55 h 72"/>
                    <a:gd name="T2" fmla="*/ 127 w 171"/>
                    <a:gd name="T3" fmla="*/ 65 h 72"/>
                    <a:gd name="T4" fmla="*/ 143 w 171"/>
                    <a:gd name="T5" fmla="*/ 55 h 72"/>
                    <a:gd name="T6" fmla="*/ 158 w 171"/>
                    <a:gd name="T7" fmla="*/ 46 h 72"/>
                    <a:gd name="T8" fmla="*/ 169 w 171"/>
                    <a:gd name="T9" fmla="*/ 35 h 72"/>
                    <a:gd name="T10" fmla="*/ 156 w 171"/>
                    <a:gd name="T11" fmla="*/ 33 h 72"/>
                    <a:gd name="T12" fmla="*/ 141 w 171"/>
                    <a:gd name="T13" fmla="*/ 21 h 72"/>
                    <a:gd name="T14" fmla="*/ 127 w 171"/>
                    <a:gd name="T15" fmla="*/ 22 h 72"/>
                    <a:gd name="T16" fmla="*/ 135 w 171"/>
                    <a:gd name="T17" fmla="*/ 7 h 72"/>
                    <a:gd name="T18" fmla="*/ 85 w 171"/>
                    <a:gd name="T19" fmla="*/ 13 h 72"/>
                    <a:gd name="T20" fmla="*/ 76 w 171"/>
                    <a:gd name="T21" fmla="*/ 16 h 72"/>
                    <a:gd name="T22" fmla="*/ 0 w 171"/>
                    <a:gd name="T23" fmla="*/ 0 h 72"/>
                    <a:gd name="T24" fmla="*/ 34 w 171"/>
                    <a:gd name="T25" fmla="*/ 34 h 72"/>
                    <a:gd name="T26" fmla="*/ 59 w 171"/>
                    <a:gd name="T27"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 h="72">
                      <a:moveTo>
                        <a:pt x="59" y="55"/>
                      </a:moveTo>
                      <a:cubicBezTo>
                        <a:pt x="92" y="66"/>
                        <a:pt x="99" y="72"/>
                        <a:pt x="127" y="65"/>
                      </a:cubicBezTo>
                      <a:cubicBezTo>
                        <a:pt x="145" y="64"/>
                        <a:pt x="151" y="57"/>
                        <a:pt x="143" y="55"/>
                      </a:cubicBezTo>
                      <a:cubicBezTo>
                        <a:pt x="159" y="59"/>
                        <a:pt x="171" y="48"/>
                        <a:pt x="158" y="46"/>
                      </a:cubicBezTo>
                      <a:cubicBezTo>
                        <a:pt x="163" y="43"/>
                        <a:pt x="168" y="39"/>
                        <a:pt x="169" y="35"/>
                      </a:cubicBezTo>
                      <a:cubicBezTo>
                        <a:pt x="166" y="30"/>
                        <a:pt x="160" y="34"/>
                        <a:pt x="156" y="33"/>
                      </a:cubicBezTo>
                      <a:cubicBezTo>
                        <a:pt x="157" y="29"/>
                        <a:pt x="155" y="20"/>
                        <a:pt x="141" y="21"/>
                      </a:cubicBezTo>
                      <a:cubicBezTo>
                        <a:pt x="132" y="23"/>
                        <a:pt x="127" y="22"/>
                        <a:pt x="127" y="22"/>
                      </a:cubicBezTo>
                      <a:cubicBezTo>
                        <a:pt x="138" y="16"/>
                        <a:pt x="139" y="12"/>
                        <a:pt x="135" y="7"/>
                      </a:cubicBezTo>
                      <a:cubicBezTo>
                        <a:pt x="122" y="8"/>
                        <a:pt x="104" y="9"/>
                        <a:pt x="85" y="13"/>
                      </a:cubicBezTo>
                      <a:cubicBezTo>
                        <a:pt x="81" y="12"/>
                        <a:pt x="81" y="12"/>
                        <a:pt x="76" y="16"/>
                      </a:cubicBezTo>
                      <a:cubicBezTo>
                        <a:pt x="0" y="0"/>
                        <a:pt x="0" y="0"/>
                        <a:pt x="0" y="0"/>
                      </a:cubicBezTo>
                      <a:cubicBezTo>
                        <a:pt x="22" y="33"/>
                        <a:pt x="34" y="34"/>
                        <a:pt x="34" y="34"/>
                      </a:cubicBezTo>
                      <a:lnTo>
                        <a:pt x="59" y="55"/>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3" name="Freeform 69">
                  <a:extLst>
                    <a:ext uri="{FF2B5EF4-FFF2-40B4-BE49-F238E27FC236}">
                      <a16:creationId xmlns:a16="http://schemas.microsoft.com/office/drawing/2014/main" id="{3E216152-1774-4B9E-944C-807CED62DD97}"/>
                    </a:ext>
                  </a:extLst>
                </p:cNvPr>
                <p:cNvSpPr>
                  <a:spLocks/>
                </p:cNvSpPr>
                <p:nvPr/>
              </p:nvSpPr>
              <p:spPr bwMode="auto">
                <a:xfrm>
                  <a:off x="2991312" y="1916782"/>
                  <a:ext cx="222299" cy="138236"/>
                </a:xfrm>
                <a:custGeom>
                  <a:avLst/>
                  <a:gdLst>
                    <a:gd name="T0" fmla="*/ 53 w 264"/>
                    <a:gd name="T1" fmla="*/ 9 h 165"/>
                    <a:gd name="T2" fmla="*/ 61 w 264"/>
                    <a:gd name="T3" fmla="*/ 15 h 165"/>
                    <a:gd name="T4" fmla="*/ 70 w 264"/>
                    <a:gd name="T5" fmla="*/ 20 h 165"/>
                    <a:gd name="T6" fmla="*/ 82 w 264"/>
                    <a:gd name="T7" fmla="*/ 28 h 165"/>
                    <a:gd name="T8" fmla="*/ 148 w 264"/>
                    <a:gd name="T9" fmla="*/ 65 h 165"/>
                    <a:gd name="T10" fmla="*/ 215 w 264"/>
                    <a:gd name="T11" fmla="*/ 99 h 165"/>
                    <a:gd name="T12" fmla="*/ 246 w 264"/>
                    <a:gd name="T13" fmla="*/ 114 h 165"/>
                    <a:gd name="T14" fmla="*/ 259 w 264"/>
                    <a:gd name="T15" fmla="*/ 147 h 165"/>
                    <a:gd name="T16" fmla="*/ 227 w 264"/>
                    <a:gd name="T17" fmla="*/ 160 h 165"/>
                    <a:gd name="T18" fmla="*/ 227 w 264"/>
                    <a:gd name="T19" fmla="*/ 160 h 165"/>
                    <a:gd name="T20" fmla="*/ 194 w 264"/>
                    <a:gd name="T21" fmla="*/ 146 h 165"/>
                    <a:gd name="T22" fmla="*/ 123 w 264"/>
                    <a:gd name="T23" fmla="*/ 115 h 165"/>
                    <a:gd name="T24" fmla="*/ 52 w 264"/>
                    <a:gd name="T25" fmla="*/ 80 h 165"/>
                    <a:gd name="T26" fmla="*/ 39 w 264"/>
                    <a:gd name="T27" fmla="*/ 73 h 165"/>
                    <a:gd name="T28" fmla="*/ 29 w 264"/>
                    <a:gd name="T29" fmla="*/ 68 h 165"/>
                    <a:gd name="T30" fmla="*/ 21 w 264"/>
                    <a:gd name="T31" fmla="*/ 63 h 165"/>
                    <a:gd name="T32" fmla="*/ 9 w 264"/>
                    <a:gd name="T33" fmla="*/ 21 h 165"/>
                    <a:gd name="T34" fmla="*/ 51 w 264"/>
                    <a:gd name="T35" fmla="*/ 9 h 165"/>
                    <a:gd name="T36" fmla="*/ 53 w 264"/>
                    <a:gd name="T37" fmla="*/ 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165">
                      <a:moveTo>
                        <a:pt x="53" y="9"/>
                      </a:moveTo>
                      <a:cubicBezTo>
                        <a:pt x="53" y="9"/>
                        <a:pt x="56" y="11"/>
                        <a:pt x="61" y="15"/>
                      </a:cubicBezTo>
                      <a:cubicBezTo>
                        <a:pt x="63" y="16"/>
                        <a:pt x="66" y="18"/>
                        <a:pt x="70" y="20"/>
                      </a:cubicBezTo>
                      <a:cubicBezTo>
                        <a:pt x="73" y="22"/>
                        <a:pt x="77" y="25"/>
                        <a:pt x="82" y="28"/>
                      </a:cubicBezTo>
                      <a:cubicBezTo>
                        <a:pt x="99" y="38"/>
                        <a:pt x="123" y="52"/>
                        <a:pt x="148" y="65"/>
                      </a:cubicBezTo>
                      <a:cubicBezTo>
                        <a:pt x="172" y="78"/>
                        <a:pt x="197" y="90"/>
                        <a:pt x="215" y="99"/>
                      </a:cubicBezTo>
                      <a:cubicBezTo>
                        <a:pt x="234" y="108"/>
                        <a:pt x="246" y="114"/>
                        <a:pt x="246" y="114"/>
                      </a:cubicBezTo>
                      <a:cubicBezTo>
                        <a:pt x="259" y="120"/>
                        <a:pt x="264" y="135"/>
                        <a:pt x="259" y="147"/>
                      </a:cubicBezTo>
                      <a:cubicBezTo>
                        <a:pt x="253" y="159"/>
                        <a:pt x="239" y="165"/>
                        <a:pt x="227" y="160"/>
                      </a:cubicBezTo>
                      <a:cubicBezTo>
                        <a:pt x="227" y="160"/>
                        <a:pt x="227" y="160"/>
                        <a:pt x="227" y="160"/>
                      </a:cubicBezTo>
                      <a:cubicBezTo>
                        <a:pt x="227" y="160"/>
                        <a:pt x="214" y="155"/>
                        <a:pt x="194" y="146"/>
                      </a:cubicBezTo>
                      <a:cubicBezTo>
                        <a:pt x="174" y="138"/>
                        <a:pt x="148" y="127"/>
                        <a:pt x="123" y="115"/>
                      </a:cubicBezTo>
                      <a:cubicBezTo>
                        <a:pt x="97" y="103"/>
                        <a:pt x="71" y="90"/>
                        <a:pt x="52" y="80"/>
                      </a:cubicBezTo>
                      <a:cubicBezTo>
                        <a:pt x="47" y="78"/>
                        <a:pt x="43" y="76"/>
                        <a:pt x="39" y="73"/>
                      </a:cubicBezTo>
                      <a:cubicBezTo>
                        <a:pt x="35" y="71"/>
                        <a:pt x="32" y="69"/>
                        <a:pt x="29" y="68"/>
                      </a:cubicBezTo>
                      <a:cubicBezTo>
                        <a:pt x="24" y="65"/>
                        <a:pt x="21" y="63"/>
                        <a:pt x="21" y="63"/>
                      </a:cubicBezTo>
                      <a:cubicBezTo>
                        <a:pt x="6" y="55"/>
                        <a:pt x="0" y="36"/>
                        <a:pt x="9" y="21"/>
                      </a:cubicBezTo>
                      <a:cubicBezTo>
                        <a:pt x="17" y="6"/>
                        <a:pt x="36" y="0"/>
                        <a:pt x="51" y="9"/>
                      </a:cubicBezTo>
                      <a:cubicBezTo>
                        <a:pt x="52" y="9"/>
                        <a:pt x="52" y="9"/>
                        <a:pt x="53" y="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4" name="Freeform 70">
                  <a:extLst>
                    <a:ext uri="{FF2B5EF4-FFF2-40B4-BE49-F238E27FC236}">
                      <a16:creationId xmlns:a16="http://schemas.microsoft.com/office/drawing/2014/main" id="{4C220514-4AC3-44CE-9AD3-C1FBC6093827}"/>
                    </a:ext>
                  </a:extLst>
                </p:cNvPr>
                <p:cNvSpPr>
                  <a:spLocks/>
                </p:cNvSpPr>
                <p:nvPr/>
              </p:nvSpPr>
              <p:spPr bwMode="auto">
                <a:xfrm>
                  <a:off x="3239371" y="1630778"/>
                  <a:ext cx="48658" cy="118215"/>
                </a:xfrm>
                <a:custGeom>
                  <a:avLst/>
                  <a:gdLst>
                    <a:gd name="T0" fmla="*/ 50 w 58"/>
                    <a:gd name="T1" fmla="*/ 86 h 141"/>
                    <a:gd name="T2" fmla="*/ 46 w 58"/>
                    <a:gd name="T3" fmla="*/ 31 h 141"/>
                    <a:gd name="T4" fmla="*/ 36 w 58"/>
                    <a:gd name="T5" fmla="*/ 20 h 141"/>
                    <a:gd name="T6" fmla="*/ 26 w 58"/>
                    <a:gd name="T7" fmla="*/ 10 h 141"/>
                    <a:gd name="T8" fmla="*/ 17 w 58"/>
                    <a:gd name="T9" fmla="*/ 3 h 141"/>
                    <a:gd name="T10" fmla="*/ 17 w 58"/>
                    <a:gd name="T11" fmla="*/ 14 h 141"/>
                    <a:gd name="T12" fmla="*/ 10 w 58"/>
                    <a:gd name="T13" fmla="*/ 27 h 141"/>
                    <a:gd name="T14" fmla="*/ 13 w 58"/>
                    <a:gd name="T15" fmla="*/ 38 h 141"/>
                    <a:gd name="T16" fmla="*/ 0 w 58"/>
                    <a:gd name="T17" fmla="*/ 34 h 141"/>
                    <a:gd name="T18" fmla="*/ 17 w 58"/>
                    <a:gd name="T19" fmla="*/ 79 h 141"/>
                    <a:gd name="T20" fmla="*/ 17 w 58"/>
                    <a:gd name="T21" fmla="*/ 141 h 141"/>
                    <a:gd name="T22" fmla="*/ 58 w 58"/>
                    <a:gd name="T23" fmla="*/ 123 h 141"/>
                    <a:gd name="T24" fmla="*/ 50 w 58"/>
                    <a:gd name="T25" fmla="*/ 8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141">
                      <a:moveTo>
                        <a:pt x="50" y="86"/>
                      </a:moveTo>
                      <a:cubicBezTo>
                        <a:pt x="53" y="58"/>
                        <a:pt x="56" y="51"/>
                        <a:pt x="46" y="31"/>
                      </a:cubicBezTo>
                      <a:cubicBezTo>
                        <a:pt x="43" y="17"/>
                        <a:pt x="36" y="14"/>
                        <a:pt x="36" y="20"/>
                      </a:cubicBezTo>
                      <a:cubicBezTo>
                        <a:pt x="36" y="7"/>
                        <a:pt x="26" y="0"/>
                        <a:pt x="26" y="10"/>
                      </a:cubicBezTo>
                      <a:cubicBezTo>
                        <a:pt x="23" y="7"/>
                        <a:pt x="20" y="3"/>
                        <a:pt x="17" y="3"/>
                      </a:cubicBezTo>
                      <a:cubicBezTo>
                        <a:pt x="13" y="7"/>
                        <a:pt x="17" y="10"/>
                        <a:pt x="17" y="14"/>
                      </a:cubicBezTo>
                      <a:cubicBezTo>
                        <a:pt x="13" y="14"/>
                        <a:pt x="7" y="17"/>
                        <a:pt x="10" y="27"/>
                      </a:cubicBezTo>
                      <a:cubicBezTo>
                        <a:pt x="13" y="34"/>
                        <a:pt x="13" y="38"/>
                        <a:pt x="13" y="38"/>
                      </a:cubicBezTo>
                      <a:cubicBezTo>
                        <a:pt x="7" y="31"/>
                        <a:pt x="3" y="31"/>
                        <a:pt x="0" y="34"/>
                      </a:cubicBezTo>
                      <a:cubicBezTo>
                        <a:pt x="3" y="45"/>
                        <a:pt x="13" y="75"/>
                        <a:pt x="17" y="79"/>
                      </a:cubicBezTo>
                      <a:cubicBezTo>
                        <a:pt x="17" y="141"/>
                        <a:pt x="17" y="141"/>
                        <a:pt x="17" y="141"/>
                      </a:cubicBezTo>
                      <a:cubicBezTo>
                        <a:pt x="58" y="123"/>
                        <a:pt x="58" y="123"/>
                        <a:pt x="58" y="123"/>
                      </a:cubicBezTo>
                      <a:lnTo>
                        <a:pt x="50" y="86"/>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grpSp>
      <p:grpSp>
        <p:nvGrpSpPr>
          <p:cNvPr id="1555" name="Group 1554">
            <a:extLst>
              <a:ext uri="{FF2B5EF4-FFF2-40B4-BE49-F238E27FC236}">
                <a16:creationId xmlns:a16="http://schemas.microsoft.com/office/drawing/2014/main" id="{3CAD7DC4-13A9-4A31-999D-5E71620E8C19}"/>
              </a:ext>
            </a:extLst>
          </p:cNvPr>
          <p:cNvGrpSpPr/>
          <p:nvPr/>
        </p:nvGrpSpPr>
        <p:grpSpPr>
          <a:xfrm>
            <a:off x="2523031" y="3774002"/>
            <a:ext cx="1084551" cy="1041310"/>
            <a:chOff x="623612" y="1535907"/>
            <a:chExt cx="1499478" cy="1499476"/>
          </a:xfrm>
        </p:grpSpPr>
        <p:sp>
          <p:nvSpPr>
            <p:cNvPr id="1556" name="Oval 1555">
              <a:extLst>
                <a:ext uri="{FF2B5EF4-FFF2-40B4-BE49-F238E27FC236}">
                  <a16:creationId xmlns:a16="http://schemas.microsoft.com/office/drawing/2014/main" id="{CD4A4ACC-57B6-4700-831C-3C44BD8815D1}"/>
                </a:ext>
              </a:extLst>
            </p:cNvPr>
            <p:cNvSpPr/>
            <p:nvPr/>
          </p:nvSpPr>
          <p:spPr bwMode="auto">
            <a:xfrm>
              <a:off x="623612" y="1535907"/>
              <a:ext cx="1499478" cy="149947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200" dirty="0">
                <a:solidFill>
                  <a:schemeClr val="bg1"/>
                </a:solidFill>
                <a:latin typeface="+mj-lt"/>
                <a:ea typeface="Segoe UI" pitchFamily="34" charset="0"/>
                <a:cs typeface="Segoe UI" pitchFamily="34" charset="0"/>
              </a:endParaRPr>
            </a:p>
          </p:txBody>
        </p:sp>
        <p:sp>
          <p:nvSpPr>
            <p:cNvPr id="1557" name="Freeform: Shape 1556">
              <a:extLst>
                <a:ext uri="{FF2B5EF4-FFF2-40B4-BE49-F238E27FC236}">
                  <a16:creationId xmlns:a16="http://schemas.microsoft.com/office/drawing/2014/main" id="{A27A8D61-E322-4F00-B5D9-FDAA0E32B21A}"/>
                </a:ext>
              </a:extLst>
            </p:cNvPr>
            <p:cNvSpPr/>
            <p:nvPr/>
          </p:nvSpPr>
          <p:spPr bwMode="auto">
            <a:xfrm>
              <a:off x="716528" y="2640110"/>
              <a:ext cx="1313649" cy="395273"/>
            </a:xfrm>
            <a:custGeom>
              <a:avLst/>
              <a:gdLst>
                <a:gd name="connsiteX0" fmla="*/ 0 w 1313649"/>
                <a:gd name="connsiteY0" fmla="*/ 0 h 395273"/>
                <a:gd name="connsiteX1" fmla="*/ 1313649 w 1313649"/>
                <a:gd name="connsiteY1" fmla="*/ 0 h 395273"/>
                <a:gd name="connsiteX2" fmla="*/ 1278519 w 1313649"/>
                <a:gd name="connsiteY2" fmla="*/ 64721 h 395273"/>
                <a:gd name="connsiteX3" fmla="*/ 656824 w 1313649"/>
                <a:gd name="connsiteY3" fmla="*/ 395273 h 395273"/>
                <a:gd name="connsiteX4" fmla="*/ 35129 w 1313649"/>
                <a:gd name="connsiteY4" fmla="*/ 64721 h 395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3649" h="395273">
                  <a:moveTo>
                    <a:pt x="0" y="0"/>
                  </a:moveTo>
                  <a:lnTo>
                    <a:pt x="1313649" y="0"/>
                  </a:lnTo>
                  <a:lnTo>
                    <a:pt x="1278519" y="64721"/>
                  </a:lnTo>
                  <a:cubicBezTo>
                    <a:pt x="1143786" y="264152"/>
                    <a:pt x="915617" y="395273"/>
                    <a:pt x="656824" y="395273"/>
                  </a:cubicBezTo>
                  <a:cubicBezTo>
                    <a:pt x="398031" y="395273"/>
                    <a:pt x="169862" y="264152"/>
                    <a:pt x="35129" y="64721"/>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200" dirty="0">
                <a:solidFill>
                  <a:schemeClr val="bg1"/>
                </a:solidFill>
                <a:latin typeface="+mj-lt"/>
                <a:ea typeface="Segoe UI" pitchFamily="34" charset="0"/>
                <a:cs typeface="Segoe UI" pitchFamily="34" charset="0"/>
              </a:endParaRPr>
            </a:p>
          </p:txBody>
        </p:sp>
        <p:grpSp>
          <p:nvGrpSpPr>
            <p:cNvPr id="1558" name="Group 1557">
              <a:extLst>
                <a:ext uri="{FF2B5EF4-FFF2-40B4-BE49-F238E27FC236}">
                  <a16:creationId xmlns:a16="http://schemas.microsoft.com/office/drawing/2014/main" id="{A1CA12A4-B6AD-43FD-B0DA-B13E38E98EE1}"/>
                </a:ext>
              </a:extLst>
            </p:cNvPr>
            <p:cNvGrpSpPr/>
            <p:nvPr/>
          </p:nvGrpSpPr>
          <p:grpSpPr>
            <a:xfrm>
              <a:off x="915377" y="1768282"/>
              <a:ext cx="877228" cy="1097540"/>
              <a:chOff x="857460" y="1396929"/>
              <a:chExt cx="1077311" cy="1347874"/>
            </a:xfrm>
          </p:grpSpPr>
          <p:grpSp>
            <p:nvGrpSpPr>
              <p:cNvPr id="1559" name="Group 1558">
                <a:extLst>
                  <a:ext uri="{FF2B5EF4-FFF2-40B4-BE49-F238E27FC236}">
                    <a16:creationId xmlns:a16="http://schemas.microsoft.com/office/drawing/2014/main" id="{551980D6-3A08-46EA-AA15-387CE5836F08}"/>
                  </a:ext>
                </a:extLst>
              </p:cNvPr>
              <p:cNvGrpSpPr/>
              <p:nvPr/>
            </p:nvGrpSpPr>
            <p:grpSpPr>
              <a:xfrm>
                <a:off x="1135629" y="1396929"/>
                <a:ext cx="385668" cy="1302774"/>
                <a:chOff x="8598161" y="-7907455"/>
                <a:chExt cx="6359701" cy="22894843"/>
              </a:xfrm>
            </p:grpSpPr>
            <p:sp>
              <p:nvSpPr>
                <p:cNvPr id="1706" name="Freeform 135">
                  <a:extLst>
                    <a:ext uri="{FF2B5EF4-FFF2-40B4-BE49-F238E27FC236}">
                      <a16:creationId xmlns:a16="http://schemas.microsoft.com/office/drawing/2014/main" id="{84370219-55C5-4FAB-AD51-EFCE45445F72}"/>
                    </a:ext>
                  </a:extLst>
                </p:cNvPr>
                <p:cNvSpPr>
                  <a:spLocks/>
                </p:cNvSpPr>
                <p:nvPr/>
              </p:nvSpPr>
              <p:spPr bwMode="auto">
                <a:xfrm>
                  <a:off x="8598161" y="-7907455"/>
                  <a:ext cx="6359701" cy="22894843"/>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7" name="Rectangle 136">
                  <a:extLst>
                    <a:ext uri="{FF2B5EF4-FFF2-40B4-BE49-F238E27FC236}">
                      <a16:creationId xmlns:a16="http://schemas.microsoft.com/office/drawing/2014/main" id="{012E53CF-3B4D-4241-B3FE-57FB0D2FCAE1}"/>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8" name="Rectangle 137">
                  <a:extLst>
                    <a:ext uri="{FF2B5EF4-FFF2-40B4-BE49-F238E27FC236}">
                      <a16:creationId xmlns:a16="http://schemas.microsoft.com/office/drawing/2014/main" id="{0AC9F7F9-6719-435D-9A15-BD14AB2378DC}"/>
                    </a:ext>
                  </a:extLst>
                </p:cNvPr>
                <p:cNvSpPr>
                  <a:spLocks noChangeArrowheads="1"/>
                </p:cNvSpPr>
                <p:nvPr/>
              </p:nvSpPr>
              <p:spPr bwMode="auto">
                <a:xfrm>
                  <a:off x="8836650" y="-584056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9" name="Freeform 138">
                  <a:extLst>
                    <a:ext uri="{FF2B5EF4-FFF2-40B4-BE49-F238E27FC236}">
                      <a16:creationId xmlns:a16="http://schemas.microsoft.com/office/drawing/2014/main" id="{BDA0DB33-E3A1-4EB7-86B4-80B88BB4C63E}"/>
                    </a:ext>
                  </a:extLst>
                </p:cNvPr>
                <p:cNvSpPr>
                  <a:spLocks/>
                </p:cNvSpPr>
                <p:nvPr/>
              </p:nvSpPr>
              <p:spPr bwMode="auto">
                <a:xfrm>
                  <a:off x="13049952" y="-5363584"/>
                  <a:ext cx="1271940" cy="556472"/>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0" name="Rectangle 139">
                  <a:extLst>
                    <a:ext uri="{FF2B5EF4-FFF2-40B4-BE49-F238E27FC236}">
                      <a16:creationId xmlns:a16="http://schemas.microsoft.com/office/drawing/2014/main" id="{9778F5A1-326A-49DA-B3AE-9F6F63F4E48A}"/>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1" name="Rectangle 140">
                  <a:extLst>
                    <a:ext uri="{FF2B5EF4-FFF2-40B4-BE49-F238E27FC236}">
                      <a16:creationId xmlns:a16="http://schemas.microsoft.com/office/drawing/2014/main" id="{4EAB3F4A-1A63-4399-801F-8B5847C0B3D6}"/>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2" name="Freeform 141">
                  <a:extLst>
                    <a:ext uri="{FF2B5EF4-FFF2-40B4-BE49-F238E27FC236}">
                      <a16:creationId xmlns:a16="http://schemas.microsoft.com/office/drawing/2014/main" id="{6757624B-BC66-41BC-8C2A-5C20BE283C6B}"/>
                    </a:ext>
                  </a:extLst>
                </p:cNvPr>
                <p:cNvSpPr>
                  <a:spLocks/>
                </p:cNvSpPr>
                <p:nvPr/>
              </p:nvSpPr>
              <p:spPr bwMode="auto">
                <a:xfrm>
                  <a:off x="13049952" y="-3879659"/>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3" name="Rectangle 142">
                  <a:extLst>
                    <a:ext uri="{FF2B5EF4-FFF2-40B4-BE49-F238E27FC236}">
                      <a16:creationId xmlns:a16="http://schemas.microsoft.com/office/drawing/2014/main" id="{0D9DCE6A-CEAD-43F8-9E36-ED80126A3EE9}"/>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4" name="Rectangle 143">
                  <a:extLst>
                    <a:ext uri="{FF2B5EF4-FFF2-40B4-BE49-F238E27FC236}">
                      <a16:creationId xmlns:a16="http://schemas.microsoft.com/office/drawing/2014/main" id="{15449D72-A64E-42BA-B807-2E6CDF03AF18}"/>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5" name="Freeform 144">
                  <a:extLst>
                    <a:ext uri="{FF2B5EF4-FFF2-40B4-BE49-F238E27FC236}">
                      <a16:creationId xmlns:a16="http://schemas.microsoft.com/office/drawing/2014/main" id="{89C6A08B-12AC-4CB4-B3A0-070E9EB09D99}"/>
                    </a:ext>
                  </a:extLst>
                </p:cNvPr>
                <p:cNvSpPr>
                  <a:spLocks/>
                </p:cNvSpPr>
                <p:nvPr/>
              </p:nvSpPr>
              <p:spPr bwMode="auto">
                <a:xfrm>
                  <a:off x="13049952" y="-2422232"/>
                  <a:ext cx="1271940" cy="529973"/>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6" name="Rectangle 145">
                  <a:extLst>
                    <a:ext uri="{FF2B5EF4-FFF2-40B4-BE49-F238E27FC236}">
                      <a16:creationId xmlns:a16="http://schemas.microsoft.com/office/drawing/2014/main" id="{D109AD2F-BEAA-4B36-AAD4-A0378A7B71C5}"/>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7" name="Rectangle 146">
                  <a:extLst>
                    <a:ext uri="{FF2B5EF4-FFF2-40B4-BE49-F238E27FC236}">
                      <a16:creationId xmlns:a16="http://schemas.microsoft.com/office/drawing/2014/main" id="{E0D3B00B-B392-428C-8126-FE594DEBE6B4}"/>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8" name="Freeform 147">
                  <a:extLst>
                    <a:ext uri="{FF2B5EF4-FFF2-40B4-BE49-F238E27FC236}">
                      <a16:creationId xmlns:a16="http://schemas.microsoft.com/office/drawing/2014/main" id="{BA69658D-EE33-4FEB-A08A-7604AAB64BF1}"/>
                    </a:ext>
                  </a:extLst>
                </p:cNvPr>
                <p:cNvSpPr>
                  <a:spLocks/>
                </p:cNvSpPr>
                <p:nvPr/>
              </p:nvSpPr>
              <p:spPr bwMode="auto">
                <a:xfrm>
                  <a:off x="13049952" y="-938307"/>
                  <a:ext cx="1271940" cy="476976"/>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9" name="Rectangle 148">
                  <a:extLst>
                    <a:ext uri="{FF2B5EF4-FFF2-40B4-BE49-F238E27FC236}">
                      <a16:creationId xmlns:a16="http://schemas.microsoft.com/office/drawing/2014/main" id="{561BD2F4-01F0-4623-AE4B-D85E94A637F6}"/>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0" name="Rectangle 149">
                  <a:extLst>
                    <a:ext uri="{FF2B5EF4-FFF2-40B4-BE49-F238E27FC236}">
                      <a16:creationId xmlns:a16="http://schemas.microsoft.com/office/drawing/2014/main" id="{DF5C8628-6122-4341-9419-7C121A08B2F2}"/>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1" name="Freeform 150">
                  <a:extLst>
                    <a:ext uri="{FF2B5EF4-FFF2-40B4-BE49-F238E27FC236}">
                      <a16:creationId xmlns:a16="http://schemas.microsoft.com/office/drawing/2014/main" id="{C0F4ED96-43BB-41B4-8479-3E1EBB5E7F1B}"/>
                    </a:ext>
                  </a:extLst>
                </p:cNvPr>
                <p:cNvSpPr>
                  <a:spLocks/>
                </p:cNvSpPr>
                <p:nvPr/>
              </p:nvSpPr>
              <p:spPr bwMode="auto">
                <a:xfrm>
                  <a:off x="13049952" y="492620"/>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2" name="Rectangle 151">
                  <a:extLst>
                    <a:ext uri="{FF2B5EF4-FFF2-40B4-BE49-F238E27FC236}">
                      <a16:creationId xmlns:a16="http://schemas.microsoft.com/office/drawing/2014/main" id="{F7B80C6C-9ADD-488E-915B-7FF6458CEB5D}"/>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3" name="Rectangle 152">
                  <a:extLst>
                    <a:ext uri="{FF2B5EF4-FFF2-40B4-BE49-F238E27FC236}">
                      <a16:creationId xmlns:a16="http://schemas.microsoft.com/office/drawing/2014/main" id="{C6B288A5-70A1-467D-89EE-9333616BC41C}"/>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4" name="Freeform 153">
                  <a:extLst>
                    <a:ext uri="{FF2B5EF4-FFF2-40B4-BE49-F238E27FC236}">
                      <a16:creationId xmlns:a16="http://schemas.microsoft.com/office/drawing/2014/main" id="{E63D6A6F-DDAB-4D85-BA04-F4096D3FD415}"/>
                    </a:ext>
                  </a:extLst>
                </p:cNvPr>
                <p:cNvSpPr>
                  <a:spLocks/>
                </p:cNvSpPr>
                <p:nvPr/>
              </p:nvSpPr>
              <p:spPr bwMode="auto">
                <a:xfrm>
                  <a:off x="13049952" y="1976545"/>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5" name="Rectangle 154">
                  <a:extLst>
                    <a:ext uri="{FF2B5EF4-FFF2-40B4-BE49-F238E27FC236}">
                      <a16:creationId xmlns:a16="http://schemas.microsoft.com/office/drawing/2014/main" id="{5A6A73C8-30DD-4F2C-94A7-50106A3A400A}"/>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6" name="Rectangle 155">
                  <a:extLst>
                    <a:ext uri="{FF2B5EF4-FFF2-40B4-BE49-F238E27FC236}">
                      <a16:creationId xmlns:a16="http://schemas.microsoft.com/office/drawing/2014/main" id="{29CAF980-B041-4BB5-BA04-AD8861F5256E}"/>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7" name="Freeform 156">
                  <a:extLst>
                    <a:ext uri="{FF2B5EF4-FFF2-40B4-BE49-F238E27FC236}">
                      <a16:creationId xmlns:a16="http://schemas.microsoft.com/office/drawing/2014/main" id="{C2FA1E73-63B6-4387-BD58-0ECCCBB7C658}"/>
                    </a:ext>
                  </a:extLst>
                </p:cNvPr>
                <p:cNvSpPr>
                  <a:spLocks/>
                </p:cNvSpPr>
                <p:nvPr/>
              </p:nvSpPr>
              <p:spPr bwMode="auto">
                <a:xfrm>
                  <a:off x="13049952" y="3407473"/>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8" name="Rectangle 157">
                  <a:extLst>
                    <a:ext uri="{FF2B5EF4-FFF2-40B4-BE49-F238E27FC236}">
                      <a16:creationId xmlns:a16="http://schemas.microsoft.com/office/drawing/2014/main" id="{1F2A86C4-B7B0-41F1-B4DE-2FE5CAD14DC0}"/>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9" name="Rectangle 158">
                  <a:extLst>
                    <a:ext uri="{FF2B5EF4-FFF2-40B4-BE49-F238E27FC236}">
                      <a16:creationId xmlns:a16="http://schemas.microsoft.com/office/drawing/2014/main" id="{77CD7596-7F3B-4F2D-B225-B0986983273C}"/>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0" name="Freeform 159">
                  <a:extLst>
                    <a:ext uri="{FF2B5EF4-FFF2-40B4-BE49-F238E27FC236}">
                      <a16:creationId xmlns:a16="http://schemas.microsoft.com/office/drawing/2014/main" id="{EF4E8098-079D-4053-B25F-31D305F73AB3}"/>
                    </a:ext>
                  </a:extLst>
                </p:cNvPr>
                <p:cNvSpPr>
                  <a:spLocks/>
                </p:cNvSpPr>
                <p:nvPr/>
              </p:nvSpPr>
              <p:spPr bwMode="auto">
                <a:xfrm>
                  <a:off x="13049952" y="4891398"/>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1" name="Rectangle 160">
                  <a:extLst>
                    <a:ext uri="{FF2B5EF4-FFF2-40B4-BE49-F238E27FC236}">
                      <a16:creationId xmlns:a16="http://schemas.microsoft.com/office/drawing/2014/main" id="{2A09F8E3-2CAA-4D8B-925B-C8594D3D6D31}"/>
                    </a:ext>
                  </a:extLst>
                </p:cNvPr>
                <p:cNvSpPr>
                  <a:spLocks noChangeArrowheads="1"/>
                </p:cNvSpPr>
                <p:nvPr/>
              </p:nvSpPr>
              <p:spPr bwMode="auto">
                <a:xfrm>
                  <a:off x="8836650" y="730277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2" name="Rectangle 161">
                  <a:extLst>
                    <a:ext uri="{FF2B5EF4-FFF2-40B4-BE49-F238E27FC236}">
                      <a16:creationId xmlns:a16="http://schemas.microsoft.com/office/drawing/2014/main" id="{6A71B722-97F0-4B2C-8E89-A6EC941F1483}"/>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3" name="Freeform 162">
                  <a:extLst>
                    <a:ext uri="{FF2B5EF4-FFF2-40B4-BE49-F238E27FC236}">
                      <a16:creationId xmlns:a16="http://schemas.microsoft.com/office/drawing/2014/main" id="{5A5B6E23-D3DF-4483-9490-E8F268804521}"/>
                    </a:ext>
                  </a:extLst>
                </p:cNvPr>
                <p:cNvSpPr>
                  <a:spLocks/>
                </p:cNvSpPr>
                <p:nvPr/>
              </p:nvSpPr>
              <p:spPr bwMode="auto">
                <a:xfrm>
                  <a:off x="13049952" y="6348824"/>
                  <a:ext cx="1271940" cy="476976"/>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4" name="Freeform 163">
                  <a:extLst>
                    <a:ext uri="{FF2B5EF4-FFF2-40B4-BE49-F238E27FC236}">
                      <a16:creationId xmlns:a16="http://schemas.microsoft.com/office/drawing/2014/main" id="{79F51434-0F1C-46E1-9E4F-42A86C2C527D}"/>
                    </a:ext>
                  </a:extLst>
                </p:cNvPr>
                <p:cNvSpPr>
                  <a:spLocks noEditPoints="1"/>
                </p:cNvSpPr>
                <p:nvPr/>
              </p:nvSpPr>
              <p:spPr bwMode="auto">
                <a:xfrm>
                  <a:off x="8783652" y="-5840560"/>
                  <a:ext cx="5962220" cy="19820999"/>
                </a:xfrm>
                <a:custGeom>
                  <a:avLst/>
                  <a:gdLst>
                    <a:gd name="T0" fmla="*/ 225 w 225"/>
                    <a:gd name="T1" fmla="*/ 748 h 748"/>
                    <a:gd name="T2" fmla="*/ 0 w 225"/>
                    <a:gd name="T3" fmla="*/ 748 h 748"/>
                    <a:gd name="T4" fmla="*/ 0 w 225"/>
                    <a:gd name="T5" fmla="*/ 0 h 748"/>
                    <a:gd name="T6" fmla="*/ 225 w 225"/>
                    <a:gd name="T7" fmla="*/ 0 h 748"/>
                    <a:gd name="T8" fmla="*/ 225 w 225"/>
                    <a:gd name="T9" fmla="*/ 748 h 748"/>
                    <a:gd name="T10" fmla="*/ 3 w 225"/>
                    <a:gd name="T11" fmla="*/ 743 h 748"/>
                    <a:gd name="T12" fmla="*/ 221 w 225"/>
                    <a:gd name="T13" fmla="*/ 743 h 748"/>
                    <a:gd name="T14" fmla="*/ 221 w 225"/>
                    <a:gd name="T15" fmla="*/ 4 h 748"/>
                    <a:gd name="T16" fmla="*/ 3 w 225"/>
                    <a:gd name="T17" fmla="*/ 4 h 748"/>
                    <a:gd name="T18" fmla="*/ 3 w 225"/>
                    <a:gd name="T19" fmla="*/ 74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748">
                      <a:moveTo>
                        <a:pt x="225" y="748"/>
                      </a:moveTo>
                      <a:lnTo>
                        <a:pt x="0" y="748"/>
                      </a:lnTo>
                      <a:lnTo>
                        <a:pt x="0" y="0"/>
                      </a:lnTo>
                      <a:lnTo>
                        <a:pt x="225" y="0"/>
                      </a:lnTo>
                      <a:lnTo>
                        <a:pt x="225" y="748"/>
                      </a:lnTo>
                      <a:close/>
                      <a:moveTo>
                        <a:pt x="3" y="743"/>
                      </a:moveTo>
                      <a:lnTo>
                        <a:pt x="221" y="743"/>
                      </a:lnTo>
                      <a:lnTo>
                        <a:pt x="221" y="4"/>
                      </a:lnTo>
                      <a:lnTo>
                        <a:pt x="3" y="4"/>
                      </a:lnTo>
                      <a:lnTo>
                        <a:pt x="3" y="7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5" name="Freeform 164">
                  <a:extLst>
                    <a:ext uri="{FF2B5EF4-FFF2-40B4-BE49-F238E27FC236}">
                      <a16:creationId xmlns:a16="http://schemas.microsoft.com/office/drawing/2014/main" id="{B8FEA010-67B0-4FF9-A6B1-8E6C1DA776D5}"/>
                    </a:ext>
                  </a:extLst>
                </p:cNvPr>
                <p:cNvSpPr>
                  <a:spLocks/>
                </p:cNvSpPr>
                <p:nvPr/>
              </p:nvSpPr>
              <p:spPr bwMode="auto">
                <a:xfrm>
                  <a:off x="8783652" y="-6450029"/>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6" name="Freeform 165">
                  <a:extLst>
                    <a:ext uri="{FF2B5EF4-FFF2-40B4-BE49-F238E27FC236}">
                      <a16:creationId xmlns:a16="http://schemas.microsoft.com/office/drawing/2014/main" id="{108B3F80-AD9A-430F-9AEF-B971D4C9AEA5}"/>
                    </a:ext>
                  </a:extLst>
                </p:cNvPr>
                <p:cNvSpPr>
                  <a:spLocks/>
                </p:cNvSpPr>
                <p:nvPr/>
              </p:nvSpPr>
              <p:spPr bwMode="auto">
                <a:xfrm>
                  <a:off x="8783652" y="-6768013"/>
                  <a:ext cx="2013905" cy="132493"/>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7" name="Freeform 166">
                  <a:extLst>
                    <a:ext uri="{FF2B5EF4-FFF2-40B4-BE49-F238E27FC236}">
                      <a16:creationId xmlns:a16="http://schemas.microsoft.com/office/drawing/2014/main" id="{EE78C2D6-F8D6-49C4-B583-2CCB796F5D1E}"/>
                    </a:ext>
                  </a:extLst>
                </p:cNvPr>
                <p:cNvSpPr>
                  <a:spLocks/>
                </p:cNvSpPr>
                <p:nvPr/>
              </p:nvSpPr>
              <p:spPr bwMode="auto">
                <a:xfrm>
                  <a:off x="8783652" y="-7059498"/>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8" name="Freeform 167">
                  <a:extLst>
                    <a:ext uri="{FF2B5EF4-FFF2-40B4-BE49-F238E27FC236}">
                      <a16:creationId xmlns:a16="http://schemas.microsoft.com/office/drawing/2014/main" id="{E2136DD4-520A-4144-AC4B-819833EF0E1B}"/>
                    </a:ext>
                  </a:extLst>
                </p:cNvPr>
                <p:cNvSpPr>
                  <a:spLocks/>
                </p:cNvSpPr>
                <p:nvPr/>
              </p:nvSpPr>
              <p:spPr bwMode="auto">
                <a:xfrm>
                  <a:off x="8783652" y="-7350983"/>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9" name="Freeform 168">
                  <a:extLst>
                    <a:ext uri="{FF2B5EF4-FFF2-40B4-BE49-F238E27FC236}">
                      <a16:creationId xmlns:a16="http://schemas.microsoft.com/office/drawing/2014/main" id="{6F2BD50D-9755-46B6-90E9-FEF259B27B32}"/>
                    </a:ext>
                  </a:extLst>
                </p:cNvPr>
                <p:cNvSpPr>
                  <a:spLocks/>
                </p:cNvSpPr>
                <p:nvPr/>
              </p:nvSpPr>
              <p:spPr bwMode="auto">
                <a:xfrm>
                  <a:off x="12705468" y="-6450029"/>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0" name="Freeform 169">
                  <a:extLst>
                    <a:ext uri="{FF2B5EF4-FFF2-40B4-BE49-F238E27FC236}">
                      <a16:creationId xmlns:a16="http://schemas.microsoft.com/office/drawing/2014/main" id="{8EC8E625-4523-4E21-93B0-A42829AEF986}"/>
                    </a:ext>
                  </a:extLst>
                </p:cNvPr>
                <p:cNvSpPr>
                  <a:spLocks/>
                </p:cNvSpPr>
                <p:nvPr/>
              </p:nvSpPr>
              <p:spPr bwMode="auto">
                <a:xfrm>
                  <a:off x="12705468" y="-6768013"/>
                  <a:ext cx="2040404" cy="132493"/>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1" name="Freeform 170">
                  <a:extLst>
                    <a:ext uri="{FF2B5EF4-FFF2-40B4-BE49-F238E27FC236}">
                      <a16:creationId xmlns:a16="http://schemas.microsoft.com/office/drawing/2014/main" id="{AEAAD9DB-295E-4CF1-979C-AF6656685DDB}"/>
                    </a:ext>
                  </a:extLst>
                </p:cNvPr>
                <p:cNvSpPr>
                  <a:spLocks/>
                </p:cNvSpPr>
                <p:nvPr/>
              </p:nvSpPr>
              <p:spPr bwMode="auto">
                <a:xfrm>
                  <a:off x="12705468" y="-7059498"/>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2" name="Freeform 171">
                  <a:extLst>
                    <a:ext uri="{FF2B5EF4-FFF2-40B4-BE49-F238E27FC236}">
                      <a16:creationId xmlns:a16="http://schemas.microsoft.com/office/drawing/2014/main" id="{7670E33C-7AC5-4EAA-B64A-9478723CF677}"/>
                    </a:ext>
                  </a:extLst>
                </p:cNvPr>
                <p:cNvSpPr>
                  <a:spLocks/>
                </p:cNvSpPr>
                <p:nvPr/>
              </p:nvSpPr>
              <p:spPr bwMode="auto">
                <a:xfrm>
                  <a:off x="12705468" y="-7350983"/>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3" name="Rectangle 172">
                  <a:extLst>
                    <a:ext uri="{FF2B5EF4-FFF2-40B4-BE49-F238E27FC236}">
                      <a16:creationId xmlns:a16="http://schemas.microsoft.com/office/drawing/2014/main" id="{240A937E-D7A5-426D-8C3A-637BDEB28686}"/>
                    </a:ext>
                  </a:extLst>
                </p:cNvPr>
                <p:cNvSpPr>
                  <a:spLocks noChangeArrowheads="1"/>
                </p:cNvSpPr>
                <p:nvPr/>
              </p:nvSpPr>
              <p:spPr bwMode="auto">
                <a:xfrm>
                  <a:off x="8836650" y="8362723"/>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4" name="Freeform 173">
                  <a:extLst>
                    <a:ext uri="{FF2B5EF4-FFF2-40B4-BE49-F238E27FC236}">
                      <a16:creationId xmlns:a16="http://schemas.microsoft.com/office/drawing/2014/main" id="{27939557-97C2-459E-9D7A-01886C052FBE}"/>
                    </a:ext>
                  </a:extLst>
                </p:cNvPr>
                <p:cNvSpPr>
                  <a:spLocks/>
                </p:cNvSpPr>
                <p:nvPr/>
              </p:nvSpPr>
              <p:spPr bwMode="auto">
                <a:xfrm>
                  <a:off x="10638565" y="8097736"/>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5" name="Rectangle 174">
                  <a:extLst>
                    <a:ext uri="{FF2B5EF4-FFF2-40B4-BE49-F238E27FC236}">
                      <a16:creationId xmlns:a16="http://schemas.microsoft.com/office/drawing/2014/main" id="{8CB3EDEC-7748-46C8-AB13-53C78EA47A23}"/>
                    </a:ext>
                  </a:extLst>
                </p:cNvPr>
                <p:cNvSpPr>
                  <a:spLocks noChangeArrowheads="1"/>
                </p:cNvSpPr>
                <p:nvPr/>
              </p:nvSpPr>
              <p:spPr bwMode="auto">
                <a:xfrm>
                  <a:off x="8836650" y="987314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6" name="Freeform 175">
                  <a:extLst>
                    <a:ext uri="{FF2B5EF4-FFF2-40B4-BE49-F238E27FC236}">
                      <a16:creationId xmlns:a16="http://schemas.microsoft.com/office/drawing/2014/main" id="{542D8B38-D6F8-4939-A948-B35F3AE7CBE1}"/>
                    </a:ext>
                  </a:extLst>
                </p:cNvPr>
                <p:cNvSpPr>
                  <a:spLocks/>
                </p:cNvSpPr>
                <p:nvPr/>
              </p:nvSpPr>
              <p:spPr bwMode="auto">
                <a:xfrm>
                  <a:off x="10638565" y="9608160"/>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7" name="Rectangle 176">
                  <a:extLst>
                    <a:ext uri="{FF2B5EF4-FFF2-40B4-BE49-F238E27FC236}">
                      <a16:creationId xmlns:a16="http://schemas.microsoft.com/office/drawing/2014/main" id="{7E8903B1-972B-4F0C-B475-471BBB7C991C}"/>
                    </a:ext>
                  </a:extLst>
                </p:cNvPr>
                <p:cNvSpPr>
                  <a:spLocks noChangeArrowheads="1"/>
                </p:cNvSpPr>
                <p:nvPr/>
              </p:nvSpPr>
              <p:spPr bwMode="auto">
                <a:xfrm>
                  <a:off x="8836650" y="11383570"/>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8" name="Freeform 177">
                  <a:extLst>
                    <a:ext uri="{FF2B5EF4-FFF2-40B4-BE49-F238E27FC236}">
                      <a16:creationId xmlns:a16="http://schemas.microsoft.com/office/drawing/2014/main" id="{F96E4695-1844-4D41-8F0F-5537D3A68B06}"/>
                    </a:ext>
                  </a:extLst>
                </p:cNvPr>
                <p:cNvSpPr>
                  <a:spLocks/>
                </p:cNvSpPr>
                <p:nvPr/>
              </p:nvSpPr>
              <p:spPr bwMode="auto">
                <a:xfrm>
                  <a:off x="10638565" y="11118583"/>
                  <a:ext cx="2225895" cy="609469"/>
                </a:xfrm>
                <a:custGeom>
                  <a:avLst/>
                  <a:gdLst>
                    <a:gd name="T0" fmla="*/ 6 w 84"/>
                    <a:gd name="T1" fmla="*/ 23 h 23"/>
                    <a:gd name="T2" fmla="*/ 0 w 84"/>
                    <a:gd name="T3" fmla="*/ 12 h 23"/>
                    <a:gd name="T4" fmla="*/ 6 w 84"/>
                    <a:gd name="T5" fmla="*/ 0 h 23"/>
                    <a:gd name="T6" fmla="*/ 78 w 84"/>
                    <a:gd name="T7" fmla="*/ 0 h 23"/>
                    <a:gd name="T8" fmla="*/ 84 w 84"/>
                    <a:gd name="T9" fmla="*/ 12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2"/>
                      </a:lnTo>
                      <a:lnTo>
                        <a:pt x="6" y="0"/>
                      </a:lnTo>
                      <a:lnTo>
                        <a:pt x="78" y="0"/>
                      </a:lnTo>
                      <a:lnTo>
                        <a:pt x="84" y="12"/>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9" name="Rectangle 178">
                  <a:extLst>
                    <a:ext uri="{FF2B5EF4-FFF2-40B4-BE49-F238E27FC236}">
                      <a16:creationId xmlns:a16="http://schemas.microsoft.com/office/drawing/2014/main" id="{3A6DF8F4-5CC8-4C10-8F6A-A8ECFC9EEABF}"/>
                    </a:ext>
                  </a:extLst>
                </p:cNvPr>
                <p:cNvSpPr>
                  <a:spLocks noChangeArrowheads="1"/>
                </p:cNvSpPr>
                <p:nvPr/>
              </p:nvSpPr>
              <p:spPr bwMode="auto">
                <a:xfrm>
                  <a:off x="8836650" y="1292049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50" name="Freeform 179">
                  <a:extLst>
                    <a:ext uri="{FF2B5EF4-FFF2-40B4-BE49-F238E27FC236}">
                      <a16:creationId xmlns:a16="http://schemas.microsoft.com/office/drawing/2014/main" id="{1AF03E4E-4AF4-4193-95E6-36338168F2D5}"/>
                    </a:ext>
                  </a:extLst>
                </p:cNvPr>
                <p:cNvSpPr>
                  <a:spLocks/>
                </p:cNvSpPr>
                <p:nvPr/>
              </p:nvSpPr>
              <p:spPr bwMode="auto">
                <a:xfrm>
                  <a:off x="10638565" y="12655506"/>
                  <a:ext cx="2225895" cy="582971"/>
                </a:xfrm>
                <a:custGeom>
                  <a:avLst/>
                  <a:gdLst>
                    <a:gd name="T0" fmla="*/ 6 w 84"/>
                    <a:gd name="T1" fmla="*/ 22 h 22"/>
                    <a:gd name="T2" fmla="*/ 0 w 84"/>
                    <a:gd name="T3" fmla="*/ 11 h 22"/>
                    <a:gd name="T4" fmla="*/ 6 w 84"/>
                    <a:gd name="T5" fmla="*/ 0 h 22"/>
                    <a:gd name="T6" fmla="*/ 78 w 84"/>
                    <a:gd name="T7" fmla="*/ 0 h 22"/>
                    <a:gd name="T8" fmla="*/ 84 w 84"/>
                    <a:gd name="T9" fmla="*/ 11 h 22"/>
                    <a:gd name="T10" fmla="*/ 78 w 84"/>
                    <a:gd name="T11" fmla="*/ 22 h 22"/>
                    <a:gd name="T12" fmla="*/ 6 w 84"/>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84" h="22">
                      <a:moveTo>
                        <a:pt x="6" y="22"/>
                      </a:moveTo>
                      <a:lnTo>
                        <a:pt x="0" y="11"/>
                      </a:lnTo>
                      <a:lnTo>
                        <a:pt x="6" y="0"/>
                      </a:lnTo>
                      <a:lnTo>
                        <a:pt x="78" y="0"/>
                      </a:lnTo>
                      <a:lnTo>
                        <a:pt x="84" y="11"/>
                      </a:lnTo>
                      <a:lnTo>
                        <a:pt x="78" y="22"/>
                      </a:lnTo>
                      <a:lnTo>
                        <a:pt x="6" y="2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nvGrpSpPr>
              <p:cNvPr id="1560" name="Group 1559">
                <a:extLst>
                  <a:ext uri="{FF2B5EF4-FFF2-40B4-BE49-F238E27FC236}">
                    <a16:creationId xmlns:a16="http://schemas.microsoft.com/office/drawing/2014/main" id="{D5093B9E-5273-45D8-9C6F-F8DCE0587F5E}"/>
                  </a:ext>
                </a:extLst>
              </p:cNvPr>
              <p:cNvGrpSpPr/>
              <p:nvPr/>
            </p:nvGrpSpPr>
            <p:grpSpPr>
              <a:xfrm>
                <a:off x="1549103" y="1396929"/>
                <a:ext cx="385668" cy="1302774"/>
                <a:chOff x="8598161" y="-7907455"/>
                <a:chExt cx="6359701" cy="22894843"/>
              </a:xfrm>
            </p:grpSpPr>
            <p:sp>
              <p:nvSpPr>
                <p:cNvPr id="1661" name="Freeform 135">
                  <a:extLst>
                    <a:ext uri="{FF2B5EF4-FFF2-40B4-BE49-F238E27FC236}">
                      <a16:creationId xmlns:a16="http://schemas.microsoft.com/office/drawing/2014/main" id="{7E8C245A-196E-41C7-B17F-D5F787082D21}"/>
                    </a:ext>
                  </a:extLst>
                </p:cNvPr>
                <p:cNvSpPr>
                  <a:spLocks/>
                </p:cNvSpPr>
                <p:nvPr/>
              </p:nvSpPr>
              <p:spPr bwMode="auto">
                <a:xfrm>
                  <a:off x="8598161" y="-7907455"/>
                  <a:ext cx="6359701" cy="22894843"/>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62" name="Rectangle 136">
                  <a:extLst>
                    <a:ext uri="{FF2B5EF4-FFF2-40B4-BE49-F238E27FC236}">
                      <a16:creationId xmlns:a16="http://schemas.microsoft.com/office/drawing/2014/main" id="{ACE75AF0-D848-442A-8878-B6A782C8B14D}"/>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63" name="Rectangle 137">
                  <a:extLst>
                    <a:ext uri="{FF2B5EF4-FFF2-40B4-BE49-F238E27FC236}">
                      <a16:creationId xmlns:a16="http://schemas.microsoft.com/office/drawing/2014/main" id="{B295B4D3-DC17-499D-8C81-72640FB895C3}"/>
                    </a:ext>
                  </a:extLst>
                </p:cNvPr>
                <p:cNvSpPr>
                  <a:spLocks noChangeArrowheads="1"/>
                </p:cNvSpPr>
                <p:nvPr/>
              </p:nvSpPr>
              <p:spPr bwMode="auto">
                <a:xfrm>
                  <a:off x="8836650" y="-584056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64" name="Freeform 138">
                  <a:extLst>
                    <a:ext uri="{FF2B5EF4-FFF2-40B4-BE49-F238E27FC236}">
                      <a16:creationId xmlns:a16="http://schemas.microsoft.com/office/drawing/2014/main" id="{B984294D-AC99-482B-B93C-9A8D1BC5798C}"/>
                    </a:ext>
                  </a:extLst>
                </p:cNvPr>
                <p:cNvSpPr>
                  <a:spLocks/>
                </p:cNvSpPr>
                <p:nvPr/>
              </p:nvSpPr>
              <p:spPr bwMode="auto">
                <a:xfrm>
                  <a:off x="13049952" y="-5363584"/>
                  <a:ext cx="1271940" cy="556472"/>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65" name="Rectangle 139">
                  <a:extLst>
                    <a:ext uri="{FF2B5EF4-FFF2-40B4-BE49-F238E27FC236}">
                      <a16:creationId xmlns:a16="http://schemas.microsoft.com/office/drawing/2014/main" id="{16D60510-35E1-4294-BA35-C86C6BD53005}"/>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66" name="Rectangle 140">
                  <a:extLst>
                    <a:ext uri="{FF2B5EF4-FFF2-40B4-BE49-F238E27FC236}">
                      <a16:creationId xmlns:a16="http://schemas.microsoft.com/office/drawing/2014/main" id="{48E3432B-5FB1-4301-98B3-A5E48D787B6A}"/>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67" name="Freeform 141">
                  <a:extLst>
                    <a:ext uri="{FF2B5EF4-FFF2-40B4-BE49-F238E27FC236}">
                      <a16:creationId xmlns:a16="http://schemas.microsoft.com/office/drawing/2014/main" id="{04DE1308-A350-49D4-B6FE-8C77BDB3E08E}"/>
                    </a:ext>
                  </a:extLst>
                </p:cNvPr>
                <p:cNvSpPr>
                  <a:spLocks/>
                </p:cNvSpPr>
                <p:nvPr/>
              </p:nvSpPr>
              <p:spPr bwMode="auto">
                <a:xfrm>
                  <a:off x="13049952" y="-3879659"/>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68" name="Rectangle 142">
                  <a:extLst>
                    <a:ext uri="{FF2B5EF4-FFF2-40B4-BE49-F238E27FC236}">
                      <a16:creationId xmlns:a16="http://schemas.microsoft.com/office/drawing/2014/main" id="{2F4B0EE6-105D-4BD2-8F0A-E1FC9E8B42D7}"/>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69" name="Rectangle 143">
                  <a:extLst>
                    <a:ext uri="{FF2B5EF4-FFF2-40B4-BE49-F238E27FC236}">
                      <a16:creationId xmlns:a16="http://schemas.microsoft.com/office/drawing/2014/main" id="{DF86A650-96E9-4D18-A7E3-244AAE1832D1}"/>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0" name="Freeform 144">
                  <a:extLst>
                    <a:ext uri="{FF2B5EF4-FFF2-40B4-BE49-F238E27FC236}">
                      <a16:creationId xmlns:a16="http://schemas.microsoft.com/office/drawing/2014/main" id="{FC23C0D2-D5CA-49FB-ADF4-D9164BD3303A}"/>
                    </a:ext>
                  </a:extLst>
                </p:cNvPr>
                <p:cNvSpPr>
                  <a:spLocks/>
                </p:cNvSpPr>
                <p:nvPr/>
              </p:nvSpPr>
              <p:spPr bwMode="auto">
                <a:xfrm>
                  <a:off x="13049952" y="-2422232"/>
                  <a:ext cx="1271940" cy="529973"/>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1" name="Rectangle 145">
                  <a:extLst>
                    <a:ext uri="{FF2B5EF4-FFF2-40B4-BE49-F238E27FC236}">
                      <a16:creationId xmlns:a16="http://schemas.microsoft.com/office/drawing/2014/main" id="{E45CF0A2-865E-4EB1-B1A3-080A1EB0D244}"/>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2" name="Rectangle 146">
                  <a:extLst>
                    <a:ext uri="{FF2B5EF4-FFF2-40B4-BE49-F238E27FC236}">
                      <a16:creationId xmlns:a16="http://schemas.microsoft.com/office/drawing/2014/main" id="{8CA57005-2BDE-4788-AAFF-7F46299B4DE2}"/>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3" name="Freeform 147">
                  <a:extLst>
                    <a:ext uri="{FF2B5EF4-FFF2-40B4-BE49-F238E27FC236}">
                      <a16:creationId xmlns:a16="http://schemas.microsoft.com/office/drawing/2014/main" id="{0AD413BA-C9A0-4F9D-B318-E3BE30BD5AEC}"/>
                    </a:ext>
                  </a:extLst>
                </p:cNvPr>
                <p:cNvSpPr>
                  <a:spLocks/>
                </p:cNvSpPr>
                <p:nvPr/>
              </p:nvSpPr>
              <p:spPr bwMode="auto">
                <a:xfrm>
                  <a:off x="13049952" y="-938307"/>
                  <a:ext cx="1271940" cy="476976"/>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4" name="Rectangle 148">
                  <a:extLst>
                    <a:ext uri="{FF2B5EF4-FFF2-40B4-BE49-F238E27FC236}">
                      <a16:creationId xmlns:a16="http://schemas.microsoft.com/office/drawing/2014/main" id="{33C314FA-0732-48D6-BEF4-FF3FB3A1E481}"/>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5" name="Rectangle 149">
                  <a:extLst>
                    <a:ext uri="{FF2B5EF4-FFF2-40B4-BE49-F238E27FC236}">
                      <a16:creationId xmlns:a16="http://schemas.microsoft.com/office/drawing/2014/main" id="{EF199248-98B7-4483-A61C-6F26791F51EF}"/>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6" name="Freeform 150">
                  <a:extLst>
                    <a:ext uri="{FF2B5EF4-FFF2-40B4-BE49-F238E27FC236}">
                      <a16:creationId xmlns:a16="http://schemas.microsoft.com/office/drawing/2014/main" id="{7FE25A65-6DA7-496E-8185-042530FA30C5}"/>
                    </a:ext>
                  </a:extLst>
                </p:cNvPr>
                <p:cNvSpPr>
                  <a:spLocks/>
                </p:cNvSpPr>
                <p:nvPr/>
              </p:nvSpPr>
              <p:spPr bwMode="auto">
                <a:xfrm>
                  <a:off x="13049952" y="492620"/>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7" name="Rectangle 151">
                  <a:extLst>
                    <a:ext uri="{FF2B5EF4-FFF2-40B4-BE49-F238E27FC236}">
                      <a16:creationId xmlns:a16="http://schemas.microsoft.com/office/drawing/2014/main" id="{4158FB50-B582-4652-9464-57473BEE31C9}"/>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8" name="Rectangle 152">
                  <a:extLst>
                    <a:ext uri="{FF2B5EF4-FFF2-40B4-BE49-F238E27FC236}">
                      <a16:creationId xmlns:a16="http://schemas.microsoft.com/office/drawing/2014/main" id="{1957B523-389F-4871-B17F-A4A134C5C936}"/>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9" name="Freeform 153">
                  <a:extLst>
                    <a:ext uri="{FF2B5EF4-FFF2-40B4-BE49-F238E27FC236}">
                      <a16:creationId xmlns:a16="http://schemas.microsoft.com/office/drawing/2014/main" id="{107E7DD1-4757-409D-98A2-9D1DA2D6414C}"/>
                    </a:ext>
                  </a:extLst>
                </p:cNvPr>
                <p:cNvSpPr>
                  <a:spLocks/>
                </p:cNvSpPr>
                <p:nvPr/>
              </p:nvSpPr>
              <p:spPr bwMode="auto">
                <a:xfrm>
                  <a:off x="13049952" y="1976545"/>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0" name="Rectangle 154">
                  <a:extLst>
                    <a:ext uri="{FF2B5EF4-FFF2-40B4-BE49-F238E27FC236}">
                      <a16:creationId xmlns:a16="http://schemas.microsoft.com/office/drawing/2014/main" id="{714599FB-C152-4BAE-BDE6-78ED7FBDD2CA}"/>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1" name="Rectangle 155">
                  <a:extLst>
                    <a:ext uri="{FF2B5EF4-FFF2-40B4-BE49-F238E27FC236}">
                      <a16:creationId xmlns:a16="http://schemas.microsoft.com/office/drawing/2014/main" id="{9E001FCA-D9AC-4C70-8E57-84CD2D1CD711}"/>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2" name="Freeform 156">
                  <a:extLst>
                    <a:ext uri="{FF2B5EF4-FFF2-40B4-BE49-F238E27FC236}">
                      <a16:creationId xmlns:a16="http://schemas.microsoft.com/office/drawing/2014/main" id="{CE5CF981-5068-482E-B57A-0BE46DB46F98}"/>
                    </a:ext>
                  </a:extLst>
                </p:cNvPr>
                <p:cNvSpPr>
                  <a:spLocks/>
                </p:cNvSpPr>
                <p:nvPr/>
              </p:nvSpPr>
              <p:spPr bwMode="auto">
                <a:xfrm>
                  <a:off x="13049952" y="3407473"/>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3" name="Rectangle 157">
                  <a:extLst>
                    <a:ext uri="{FF2B5EF4-FFF2-40B4-BE49-F238E27FC236}">
                      <a16:creationId xmlns:a16="http://schemas.microsoft.com/office/drawing/2014/main" id="{CCDB2D65-D65A-43E0-A5A3-79AAE9628B6E}"/>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4" name="Rectangle 158">
                  <a:extLst>
                    <a:ext uri="{FF2B5EF4-FFF2-40B4-BE49-F238E27FC236}">
                      <a16:creationId xmlns:a16="http://schemas.microsoft.com/office/drawing/2014/main" id="{BE49AB66-7C69-40BA-8EA2-47C716BF7CAD}"/>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5" name="Freeform 159">
                  <a:extLst>
                    <a:ext uri="{FF2B5EF4-FFF2-40B4-BE49-F238E27FC236}">
                      <a16:creationId xmlns:a16="http://schemas.microsoft.com/office/drawing/2014/main" id="{5DE9A049-AFBA-400B-BDFA-C9D8E3CBC449}"/>
                    </a:ext>
                  </a:extLst>
                </p:cNvPr>
                <p:cNvSpPr>
                  <a:spLocks/>
                </p:cNvSpPr>
                <p:nvPr/>
              </p:nvSpPr>
              <p:spPr bwMode="auto">
                <a:xfrm>
                  <a:off x="13049952" y="4891398"/>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6" name="Rectangle 160">
                  <a:extLst>
                    <a:ext uri="{FF2B5EF4-FFF2-40B4-BE49-F238E27FC236}">
                      <a16:creationId xmlns:a16="http://schemas.microsoft.com/office/drawing/2014/main" id="{DB8E594E-8D82-4A5F-B63B-E8FD82011599}"/>
                    </a:ext>
                  </a:extLst>
                </p:cNvPr>
                <p:cNvSpPr>
                  <a:spLocks noChangeArrowheads="1"/>
                </p:cNvSpPr>
                <p:nvPr/>
              </p:nvSpPr>
              <p:spPr bwMode="auto">
                <a:xfrm>
                  <a:off x="8836650" y="730277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7" name="Rectangle 161">
                  <a:extLst>
                    <a:ext uri="{FF2B5EF4-FFF2-40B4-BE49-F238E27FC236}">
                      <a16:creationId xmlns:a16="http://schemas.microsoft.com/office/drawing/2014/main" id="{AE3DFFA9-1426-40DB-8B10-64A61E8C7EB4}"/>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8" name="Freeform 162">
                  <a:extLst>
                    <a:ext uri="{FF2B5EF4-FFF2-40B4-BE49-F238E27FC236}">
                      <a16:creationId xmlns:a16="http://schemas.microsoft.com/office/drawing/2014/main" id="{E3D94617-64EB-41F9-8B2F-7D504C1032AF}"/>
                    </a:ext>
                  </a:extLst>
                </p:cNvPr>
                <p:cNvSpPr>
                  <a:spLocks/>
                </p:cNvSpPr>
                <p:nvPr/>
              </p:nvSpPr>
              <p:spPr bwMode="auto">
                <a:xfrm>
                  <a:off x="13049952" y="6348824"/>
                  <a:ext cx="1271940" cy="476976"/>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9" name="Freeform 163">
                  <a:extLst>
                    <a:ext uri="{FF2B5EF4-FFF2-40B4-BE49-F238E27FC236}">
                      <a16:creationId xmlns:a16="http://schemas.microsoft.com/office/drawing/2014/main" id="{0915036D-9C4A-4BBB-8925-311B22CF5D4E}"/>
                    </a:ext>
                  </a:extLst>
                </p:cNvPr>
                <p:cNvSpPr>
                  <a:spLocks noEditPoints="1"/>
                </p:cNvSpPr>
                <p:nvPr/>
              </p:nvSpPr>
              <p:spPr bwMode="auto">
                <a:xfrm>
                  <a:off x="8783652" y="-5840560"/>
                  <a:ext cx="5962220" cy="19820999"/>
                </a:xfrm>
                <a:custGeom>
                  <a:avLst/>
                  <a:gdLst>
                    <a:gd name="T0" fmla="*/ 225 w 225"/>
                    <a:gd name="T1" fmla="*/ 748 h 748"/>
                    <a:gd name="T2" fmla="*/ 0 w 225"/>
                    <a:gd name="T3" fmla="*/ 748 h 748"/>
                    <a:gd name="T4" fmla="*/ 0 w 225"/>
                    <a:gd name="T5" fmla="*/ 0 h 748"/>
                    <a:gd name="T6" fmla="*/ 225 w 225"/>
                    <a:gd name="T7" fmla="*/ 0 h 748"/>
                    <a:gd name="T8" fmla="*/ 225 w 225"/>
                    <a:gd name="T9" fmla="*/ 748 h 748"/>
                    <a:gd name="T10" fmla="*/ 3 w 225"/>
                    <a:gd name="T11" fmla="*/ 743 h 748"/>
                    <a:gd name="T12" fmla="*/ 221 w 225"/>
                    <a:gd name="T13" fmla="*/ 743 h 748"/>
                    <a:gd name="T14" fmla="*/ 221 w 225"/>
                    <a:gd name="T15" fmla="*/ 4 h 748"/>
                    <a:gd name="T16" fmla="*/ 3 w 225"/>
                    <a:gd name="T17" fmla="*/ 4 h 748"/>
                    <a:gd name="T18" fmla="*/ 3 w 225"/>
                    <a:gd name="T19" fmla="*/ 74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748">
                      <a:moveTo>
                        <a:pt x="225" y="748"/>
                      </a:moveTo>
                      <a:lnTo>
                        <a:pt x="0" y="748"/>
                      </a:lnTo>
                      <a:lnTo>
                        <a:pt x="0" y="0"/>
                      </a:lnTo>
                      <a:lnTo>
                        <a:pt x="225" y="0"/>
                      </a:lnTo>
                      <a:lnTo>
                        <a:pt x="225" y="748"/>
                      </a:lnTo>
                      <a:close/>
                      <a:moveTo>
                        <a:pt x="3" y="743"/>
                      </a:moveTo>
                      <a:lnTo>
                        <a:pt x="221" y="743"/>
                      </a:lnTo>
                      <a:lnTo>
                        <a:pt x="221" y="4"/>
                      </a:lnTo>
                      <a:lnTo>
                        <a:pt x="3" y="4"/>
                      </a:lnTo>
                      <a:lnTo>
                        <a:pt x="3" y="7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0" name="Freeform 164">
                  <a:extLst>
                    <a:ext uri="{FF2B5EF4-FFF2-40B4-BE49-F238E27FC236}">
                      <a16:creationId xmlns:a16="http://schemas.microsoft.com/office/drawing/2014/main" id="{3AEC8B90-7DD0-4E6A-B6D1-A31EAFF76C17}"/>
                    </a:ext>
                  </a:extLst>
                </p:cNvPr>
                <p:cNvSpPr>
                  <a:spLocks/>
                </p:cNvSpPr>
                <p:nvPr/>
              </p:nvSpPr>
              <p:spPr bwMode="auto">
                <a:xfrm>
                  <a:off x="8783652" y="-6450029"/>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1" name="Freeform 165">
                  <a:extLst>
                    <a:ext uri="{FF2B5EF4-FFF2-40B4-BE49-F238E27FC236}">
                      <a16:creationId xmlns:a16="http://schemas.microsoft.com/office/drawing/2014/main" id="{DFF39294-0514-49AA-95A2-4C6768F2E07C}"/>
                    </a:ext>
                  </a:extLst>
                </p:cNvPr>
                <p:cNvSpPr>
                  <a:spLocks/>
                </p:cNvSpPr>
                <p:nvPr/>
              </p:nvSpPr>
              <p:spPr bwMode="auto">
                <a:xfrm>
                  <a:off x="8783652" y="-6768013"/>
                  <a:ext cx="2013905" cy="132493"/>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2" name="Freeform 166">
                  <a:extLst>
                    <a:ext uri="{FF2B5EF4-FFF2-40B4-BE49-F238E27FC236}">
                      <a16:creationId xmlns:a16="http://schemas.microsoft.com/office/drawing/2014/main" id="{6B334A2F-FC2A-45D2-8590-3B38D9AE05B9}"/>
                    </a:ext>
                  </a:extLst>
                </p:cNvPr>
                <p:cNvSpPr>
                  <a:spLocks/>
                </p:cNvSpPr>
                <p:nvPr/>
              </p:nvSpPr>
              <p:spPr bwMode="auto">
                <a:xfrm>
                  <a:off x="8783652" y="-7059498"/>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3" name="Freeform 167">
                  <a:extLst>
                    <a:ext uri="{FF2B5EF4-FFF2-40B4-BE49-F238E27FC236}">
                      <a16:creationId xmlns:a16="http://schemas.microsoft.com/office/drawing/2014/main" id="{D52213A4-24E1-422D-8A61-554C5D5A6F66}"/>
                    </a:ext>
                  </a:extLst>
                </p:cNvPr>
                <p:cNvSpPr>
                  <a:spLocks/>
                </p:cNvSpPr>
                <p:nvPr/>
              </p:nvSpPr>
              <p:spPr bwMode="auto">
                <a:xfrm>
                  <a:off x="8783652" y="-7350983"/>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4" name="Freeform 168">
                  <a:extLst>
                    <a:ext uri="{FF2B5EF4-FFF2-40B4-BE49-F238E27FC236}">
                      <a16:creationId xmlns:a16="http://schemas.microsoft.com/office/drawing/2014/main" id="{271DB154-E77B-49F5-9D37-DE033E1BD0E0}"/>
                    </a:ext>
                  </a:extLst>
                </p:cNvPr>
                <p:cNvSpPr>
                  <a:spLocks/>
                </p:cNvSpPr>
                <p:nvPr/>
              </p:nvSpPr>
              <p:spPr bwMode="auto">
                <a:xfrm>
                  <a:off x="12705468" y="-6450029"/>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5" name="Freeform 169">
                  <a:extLst>
                    <a:ext uri="{FF2B5EF4-FFF2-40B4-BE49-F238E27FC236}">
                      <a16:creationId xmlns:a16="http://schemas.microsoft.com/office/drawing/2014/main" id="{7E0A3BA2-D7EA-49CC-B361-A9C21D43E732}"/>
                    </a:ext>
                  </a:extLst>
                </p:cNvPr>
                <p:cNvSpPr>
                  <a:spLocks/>
                </p:cNvSpPr>
                <p:nvPr/>
              </p:nvSpPr>
              <p:spPr bwMode="auto">
                <a:xfrm>
                  <a:off x="12705468" y="-6768013"/>
                  <a:ext cx="2040404" cy="132493"/>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6" name="Freeform 170">
                  <a:extLst>
                    <a:ext uri="{FF2B5EF4-FFF2-40B4-BE49-F238E27FC236}">
                      <a16:creationId xmlns:a16="http://schemas.microsoft.com/office/drawing/2014/main" id="{5DCCD60C-516A-4D02-8014-79D9C52402FF}"/>
                    </a:ext>
                  </a:extLst>
                </p:cNvPr>
                <p:cNvSpPr>
                  <a:spLocks/>
                </p:cNvSpPr>
                <p:nvPr/>
              </p:nvSpPr>
              <p:spPr bwMode="auto">
                <a:xfrm>
                  <a:off x="12705468" y="-7059498"/>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7" name="Freeform 171">
                  <a:extLst>
                    <a:ext uri="{FF2B5EF4-FFF2-40B4-BE49-F238E27FC236}">
                      <a16:creationId xmlns:a16="http://schemas.microsoft.com/office/drawing/2014/main" id="{017B9113-F7FD-49E1-A5AF-CE26F6AFB488}"/>
                    </a:ext>
                  </a:extLst>
                </p:cNvPr>
                <p:cNvSpPr>
                  <a:spLocks/>
                </p:cNvSpPr>
                <p:nvPr/>
              </p:nvSpPr>
              <p:spPr bwMode="auto">
                <a:xfrm>
                  <a:off x="12705468" y="-7350983"/>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8" name="Rectangle 172">
                  <a:extLst>
                    <a:ext uri="{FF2B5EF4-FFF2-40B4-BE49-F238E27FC236}">
                      <a16:creationId xmlns:a16="http://schemas.microsoft.com/office/drawing/2014/main" id="{C371795C-9DBE-44F7-9CCC-06D2F57F5909}"/>
                    </a:ext>
                  </a:extLst>
                </p:cNvPr>
                <p:cNvSpPr>
                  <a:spLocks noChangeArrowheads="1"/>
                </p:cNvSpPr>
                <p:nvPr/>
              </p:nvSpPr>
              <p:spPr bwMode="auto">
                <a:xfrm>
                  <a:off x="8836650" y="8362723"/>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9" name="Freeform 173">
                  <a:extLst>
                    <a:ext uri="{FF2B5EF4-FFF2-40B4-BE49-F238E27FC236}">
                      <a16:creationId xmlns:a16="http://schemas.microsoft.com/office/drawing/2014/main" id="{2B0A7843-9183-40C4-8B2C-AA8154575F62}"/>
                    </a:ext>
                  </a:extLst>
                </p:cNvPr>
                <p:cNvSpPr>
                  <a:spLocks/>
                </p:cNvSpPr>
                <p:nvPr/>
              </p:nvSpPr>
              <p:spPr bwMode="auto">
                <a:xfrm>
                  <a:off x="10638565" y="8097736"/>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0" name="Rectangle 174">
                  <a:extLst>
                    <a:ext uri="{FF2B5EF4-FFF2-40B4-BE49-F238E27FC236}">
                      <a16:creationId xmlns:a16="http://schemas.microsoft.com/office/drawing/2014/main" id="{CB088371-F229-425A-86F4-3B9E67223C6F}"/>
                    </a:ext>
                  </a:extLst>
                </p:cNvPr>
                <p:cNvSpPr>
                  <a:spLocks noChangeArrowheads="1"/>
                </p:cNvSpPr>
                <p:nvPr/>
              </p:nvSpPr>
              <p:spPr bwMode="auto">
                <a:xfrm>
                  <a:off x="8836650" y="987314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1" name="Freeform 175">
                  <a:extLst>
                    <a:ext uri="{FF2B5EF4-FFF2-40B4-BE49-F238E27FC236}">
                      <a16:creationId xmlns:a16="http://schemas.microsoft.com/office/drawing/2014/main" id="{E18E213B-FB61-4B5D-AD6D-3C34E0AC6A29}"/>
                    </a:ext>
                  </a:extLst>
                </p:cNvPr>
                <p:cNvSpPr>
                  <a:spLocks/>
                </p:cNvSpPr>
                <p:nvPr/>
              </p:nvSpPr>
              <p:spPr bwMode="auto">
                <a:xfrm>
                  <a:off x="10638565" y="9608160"/>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2" name="Rectangle 176">
                  <a:extLst>
                    <a:ext uri="{FF2B5EF4-FFF2-40B4-BE49-F238E27FC236}">
                      <a16:creationId xmlns:a16="http://schemas.microsoft.com/office/drawing/2014/main" id="{42D9563A-6A0F-41D3-B8A3-E9B4F967966F}"/>
                    </a:ext>
                  </a:extLst>
                </p:cNvPr>
                <p:cNvSpPr>
                  <a:spLocks noChangeArrowheads="1"/>
                </p:cNvSpPr>
                <p:nvPr/>
              </p:nvSpPr>
              <p:spPr bwMode="auto">
                <a:xfrm>
                  <a:off x="8836650" y="11383570"/>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3" name="Freeform 177">
                  <a:extLst>
                    <a:ext uri="{FF2B5EF4-FFF2-40B4-BE49-F238E27FC236}">
                      <a16:creationId xmlns:a16="http://schemas.microsoft.com/office/drawing/2014/main" id="{FD665DCE-9463-4DF9-8E98-4B7B6FCFC060}"/>
                    </a:ext>
                  </a:extLst>
                </p:cNvPr>
                <p:cNvSpPr>
                  <a:spLocks/>
                </p:cNvSpPr>
                <p:nvPr/>
              </p:nvSpPr>
              <p:spPr bwMode="auto">
                <a:xfrm>
                  <a:off x="10638565" y="11118583"/>
                  <a:ext cx="2225895" cy="609469"/>
                </a:xfrm>
                <a:custGeom>
                  <a:avLst/>
                  <a:gdLst>
                    <a:gd name="T0" fmla="*/ 6 w 84"/>
                    <a:gd name="T1" fmla="*/ 23 h 23"/>
                    <a:gd name="T2" fmla="*/ 0 w 84"/>
                    <a:gd name="T3" fmla="*/ 12 h 23"/>
                    <a:gd name="T4" fmla="*/ 6 w 84"/>
                    <a:gd name="T5" fmla="*/ 0 h 23"/>
                    <a:gd name="T6" fmla="*/ 78 w 84"/>
                    <a:gd name="T7" fmla="*/ 0 h 23"/>
                    <a:gd name="T8" fmla="*/ 84 w 84"/>
                    <a:gd name="T9" fmla="*/ 12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2"/>
                      </a:lnTo>
                      <a:lnTo>
                        <a:pt x="6" y="0"/>
                      </a:lnTo>
                      <a:lnTo>
                        <a:pt x="78" y="0"/>
                      </a:lnTo>
                      <a:lnTo>
                        <a:pt x="84" y="12"/>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4" name="Rectangle 178">
                  <a:extLst>
                    <a:ext uri="{FF2B5EF4-FFF2-40B4-BE49-F238E27FC236}">
                      <a16:creationId xmlns:a16="http://schemas.microsoft.com/office/drawing/2014/main" id="{D507B911-925F-43AC-BC22-A1600AE64F4D}"/>
                    </a:ext>
                  </a:extLst>
                </p:cNvPr>
                <p:cNvSpPr>
                  <a:spLocks noChangeArrowheads="1"/>
                </p:cNvSpPr>
                <p:nvPr/>
              </p:nvSpPr>
              <p:spPr bwMode="auto">
                <a:xfrm>
                  <a:off x="8836650" y="1292049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5" name="Freeform 179">
                  <a:extLst>
                    <a:ext uri="{FF2B5EF4-FFF2-40B4-BE49-F238E27FC236}">
                      <a16:creationId xmlns:a16="http://schemas.microsoft.com/office/drawing/2014/main" id="{3D1AE5E3-192D-41CC-8393-6C8FCA1EE1F4}"/>
                    </a:ext>
                  </a:extLst>
                </p:cNvPr>
                <p:cNvSpPr>
                  <a:spLocks/>
                </p:cNvSpPr>
                <p:nvPr/>
              </p:nvSpPr>
              <p:spPr bwMode="auto">
                <a:xfrm>
                  <a:off x="10638565" y="12655506"/>
                  <a:ext cx="2225895" cy="582971"/>
                </a:xfrm>
                <a:custGeom>
                  <a:avLst/>
                  <a:gdLst>
                    <a:gd name="T0" fmla="*/ 6 w 84"/>
                    <a:gd name="T1" fmla="*/ 22 h 22"/>
                    <a:gd name="T2" fmla="*/ 0 w 84"/>
                    <a:gd name="T3" fmla="*/ 11 h 22"/>
                    <a:gd name="T4" fmla="*/ 6 w 84"/>
                    <a:gd name="T5" fmla="*/ 0 h 22"/>
                    <a:gd name="T6" fmla="*/ 78 w 84"/>
                    <a:gd name="T7" fmla="*/ 0 h 22"/>
                    <a:gd name="T8" fmla="*/ 84 w 84"/>
                    <a:gd name="T9" fmla="*/ 11 h 22"/>
                    <a:gd name="T10" fmla="*/ 78 w 84"/>
                    <a:gd name="T11" fmla="*/ 22 h 22"/>
                    <a:gd name="T12" fmla="*/ 6 w 84"/>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84" h="22">
                      <a:moveTo>
                        <a:pt x="6" y="22"/>
                      </a:moveTo>
                      <a:lnTo>
                        <a:pt x="0" y="11"/>
                      </a:lnTo>
                      <a:lnTo>
                        <a:pt x="6" y="0"/>
                      </a:lnTo>
                      <a:lnTo>
                        <a:pt x="78" y="0"/>
                      </a:lnTo>
                      <a:lnTo>
                        <a:pt x="84" y="11"/>
                      </a:lnTo>
                      <a:lnTo>
                        <a:pt x="78" y="22"/>
                      </a:lnTo>
                      <a:lnTo>
                        <a:pt x="6" y="2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nvGrpSpPr>
              <p:cNvPr id="1561" name="Group 1560">
                <a:extLst>
                  <a:ext uri="{FF2B5EF4-FFF2-40B4-BE49-F238E27FC236}">
                    <a16:creationId xmlns:a16="http://schemas.microsoft.com/office/drawing/2014/main" id="{5DFFDCDC-7695-448B-800E-E795A0479B25}"/>
                  </a:ext>
                </a:extLst>
              </p:cNvPr>
              <p:cNvGrpSpPr/>
              <p:nvPr/>
            </p:nvGrpSpPr>
            <p:grpSpPr>
              <a:xfrm>
                <a:off x="1390549" y="1821470"/>
                <a:ext cx="405323" cy="923333"/>
                <a:chOff x="5452032" y="2483904"/>
                <a:chExt cx="1786968" cy="4070743"/>
              </a:xfrm>
            </p:grpSpPr>
            <p:sp>
              <p:nvSpPr>
                <p:cNvPr id="1628" name="Rectangle 1627">
                  <a:extLst>
                    <a:ext uri="{FF2B5EF4-FFF2-40B4-BE49-F238E27FC236}">
                      <a16:creationId xmlns:a16="http://schemas.microsoft.com/office/drawing/2014/main" id="{D6A50567-4AA6-4A3F-A223-0130313BF50E}"/>
                    </a:ext>
                  </a:extLst>
                </p:cNvPr>
                <p:cNvSpPr/>
                <p:nvPr/>
              </p:nvSpPr>
              <p:spPr>
                <a:xfrm>
                  <a:off x="5510904" y="2874006"/>
                  <a:ext cx="55268" cy="870386"/>
                </a:xfrm>
                <a:prstGeom prst="rect">
                  <a:avLst/>
                </a:prstGeom>
                <a:solidFill>
                  <a:srgbClr val="002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ＭＳ Ｐゴシック" charset="0"/>
                  </a:endParaRPr>
                </a:p>
              </p:txBody>
            </p:sp>
            <p:grpSp>
              <p:nvGrpSpPr>
                <p:cNvPr id="1629" name="Group 1628">
                  <a:extLst>
                    <a:ext uri="{FF2B5EF4-FFF2-40B4-BE49-F238E27FC236}">
                      <a16:creationId xmlns:a16="http://schemas.microsoft.com/office/drawing/2014/main" id="{1A424596-35D1-476D-BAB1-746CEC160079}"/>
                    </a:ext>
                  </a:extLst>
                </p:cNvPr>
                <p:cNvGrpSpPr/>
                <p:nvPr/>
              </p:nvGrpSpPr>
              <p:grpSpPr>
                <a:xfrm>
                  <a:off x="5687868" y="3479198"/>
                  <a:ext cx="1198531" cy="895978"/>
                  <a:chOff x="5489670" y="4463249"/>
                  <a:chExt cx="734517" cy="549098"/>
                </a:xfrm>
              </p:grpSpPr>
              <p:sp>
                <p:nvSpPr>
                  <p:cNvPr id="1659" name="Freeform 30">
                    <a:extLst>
                      <a:ext uri="{FF2B5EF4-FFF2-40B4-BE49-F238E27FC236}">
                        <a16:creationId xmlns:a16="http://schemas.microsoft.com/office/drawing/2014/main" id="{61E58071-031C-4428-B988-D0460AE1FF35}"/>
                      </a:ext>
                    </a:extLst>
                  </p:cNvPr>
                  <p:cNvSpPr>
                    <a:spLocks/>
                  </p:cNvSpPr>
                  <p:nvPr/>
                </p:nvSpPr>
                <p:spPr bwMode="auto">
                  <a:xfrm rot="890892" flipH="1">
                    <a:off x="5489670" y="4516323"/>
                    <a:ext cx="261476" cy="246948"/>
                  </a:xfrm>
                  <a:custGeom>
                    <a:avLst/>
                    <a:gdLst>
                      <a:gd name="T0" fmla="*/ 97 w 97"/>
                      <a:gd name="T1" fmla="*/ 41 h 91"/>
                      <a:gd name="T2" fmla="*/ 93 w 97"/>
                      <a:gd name="T3" fmla="*/ 35 h 91"/>
                      <a:gd name="T4" fmla="*/ 95 w 97"/>
                      <a:gd name="T5" fmla="*/ 32 h 91"/>
                      <a:gd name="T6" fmla="*/ 88 w 97"/>
                      <a:gd name="T7" fmla="*/ 25 h 91"/>
                      <a:gd name="T8" fmla="*/ 78 w 97"/>
                      <a:gd name="T9" fmla="*/ 25 h 91"/>
                      <a:gd name="T10" fmla="*/ 63 w 97"/>
                      <a:gd name="T11" fmla="*/ 22 h 91"/>
                      <a:gd name="T12" fmla="*/ 77 w 97"/>
                      <a:gd name="T13" fmla="*/ 14 h 91"/>
                      <a:gd name="T14" fmla="*/ 77 w 97"/>
                      <a:gd name="T15" fmla="*/ 0 h 91"/>
                      <a:gd name="T16" fmla="*/ 44 w 97"/>
                      <a:gd name="T17" fmla="*/ 17 h 91"/>
                      <a:gd name="T18" fmla="*/ 34 w 97"/>
                      <a:gd name="T19" fmla="*/ 39 h 91"/>
                      <a:gd name="T20" fmla="*/ 34 w 97"/>
                      <a:gd name="T21" fmla="*/ 39 h 91"/>
                      <a:gd name="T22" fmla="*/ 0 w 97"/>
                      <a:gd name="T23" fmla="*/ 54 h 91"/>
                      <a:gd name="T24" fmla="*/ 17 w 97"/>
                      <a:gd name="T25" fmla="*/ 91 h 91"/>
                      <a:gd name="T26" fmla="*/ 64 w 97"/>
                      <a:gd name="T27" fmla="*/ 67 h 91"/>
                      <a:gd name="T28" fmla="*/ 79 w 97"/>
                      <a:gd name="T29" fmla="*/ 67 h 91"/>
                      <a:gd name="T30" fmla="*/ 86 w 97"/>
                      <a:gd name="T31" fmla="*/ 61 h 91"/>
                      <a:gd name="T32" fmla="*/ 85 w 97"/>
                      <a:gd name="T33" fmla="*/ 58 h 91"/>
                      <a:gd name="T34" fmla="*/ 91 w 97"/>
                      <a:gd name="T35" fmla="*/ 51 h 91"/>
                      <a:gd name="T36" fmla="*/ 90 w 97"/>
                      <a:gd name="T37" fmla="*/ 48 h 91"/>
                      <a:gd name="T38" fmla="*/ 90 w 97"/>
                      <a:gd name="T39" fmla="*/ 48 h 91"/>
                      <a:gd name="T40" fmla="*/ 97 w 97"/>
                      <a:gd name="T4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91">
                        <a:moveTo>
                          <a:pt x="97" y="41"/>
                        </a:moveTo>
                        <a:cubicBezTo>
                          <a:pt x="97" y="39"/>
                          <a:pt x="95" y="37"/>
                          <a:pt x="93" y="35"/>
                        </a:cubicBezTo>
                        <a:cubicBezTo>
                          <a:pt x="94" y="34"/>
                          <a:pt x="95" y="33"/>
                          <a:pt x="95" y="32"/>
                        </a:cubicBezTo>
                        <a:cubicBezTo>
                          <a:pt x="95" y="28"/>
                          <a:pt x="92" y="25"/>
                          <a:pt x="88" y="25"/>
                        </a:cubicBezTo>
                        <a:cubicBezTo>
                          <a:pt x="78" y="25"/>
                          <a:pt x="78" y="25"/>
                          <a:pt x="78" y="25"/>
                        </a:cubicBezTo>
                        <a:cubicBezTo>
                          <a:pt x="63" y="22"/>
                          <a:pt x="63" y="22"/>
                          <a:pt x="63" y="22"/>
                        </a:cubicBezTo>
                        <a:cubicBezTo>
                          <a:pt x="77" y="14"/>
                          <a:pt x="77" y="14"/>
                          <a:pt x="77" y="14"/>
                        </a:cubicBezTo>
                        <a:cubicBezTo>
                          <a:pt x="77" y="14"/>
                          <a:pt x="85" y="5"/>
                          <a:pt x="77" y="0"/>
                        </a:cubicBezTo>
                        <a:cubicBezTo>
                          <a:pt x="52" y="15"/>
                          <a:pt x="52" y="11"/>
                          <a:pt x="44" y="17"/>
                        </a:cubicBezTo>
                        <a:cubicBezTo>
                          <a:pt x="36" y="23"/>
                          <a:pt x="33" y="34"/>
                          <a:pt x="34" y="39"/>
                        </a:cubicBezTo>
                        <a:cubicBezTo>
                          <a:pt x="34" y="39"/>
                          <a:pt x="34" y="39"/>
                          <a:pt x="34" y="39"/>
                        </a:cubicBezTo>
                        <a:cubicBezTo>
                          <a:pt x="0" y="54"/>
                          <a:pt x="0" y="54"/>
                          <a:pt x="0" y="54"/>
                        </a:cubicBezTo>
                        <a:cubicBezTo>
                          <a:pt x="17" y="91"/>
                          <a:pt x="17" y="91"/>
                          <a:pt x="17" y="91"/>
                        </a:cubicBezTo>
                        <a:cubicBezTo>
                          <a:pt x="64" y="67"/>
                          <a:pt x="64" y="67"/>
                          <a:pt x="64" y="67"/>
                        </a:cubicBezTo>
                        <a:cubicBezTo>
                          <a:pt x="79" y="67"/>
                          <a:pt x="79" y="67"/>
                          <a:pt x="79" y="67"/>
                        </a:cubicBezTo>
                        <a:cubicBezTo>
                          <a:pt x="82" y="67"/>
                          <a:pt x="85" y="64"/>
                          <a:pt x="86" y="61"/>
                        </a:cubicBezTo>
                        <a:cubicBezTo>
                          <a:pt x="86" y="60"/>
                          <a:pt x="85" y="58"/>
                          <a:pt x="85" y="58"/>
                        </a:cubicBezTo>
                        <a:cubicBezTo>
                          <a:pt x="88" y="57"/>
                          <a:pt x="91" y="55"/>
                          <a:pt x="91" y="51"/>
                        </a:cubicBezTo>
                        <a:cubicBezTo>
                          <a:pt x="91" y="50"/>
                          <a:pt x="90" y="49"/>
                          <a:pt x="90" y="48"/>
                        </a:cubicBezTo>
                        <a:cubicBezTo>
                          <a:pt x="90" y="48"/>
                          <a:pt x="90" y="48"/>
                          <a:pt x="90" y="48"/>
                        </a:cubicBezTo>
                        <a:cubicBezTo>
                          <a:pt x="93" y="48"/>
                          <a:pt x="96" y="45"/>
                          <a:pt x="97" y="4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60" name="Freeform 31">
                    <a:extLst>
                      <a:ext uri="{FF2B5EF4-FFF2-40B4-BE49-F238E27FC236}">
                        <a16:creationId xmlns:a16="http://schemas.microsoft.com/office/drawing/2014/main" id="{3654C85F-E0C2-4E5B-9F7D-4DE1B30B890A}"/>
                      </a:ext>
                    </a:extLst>
                  </p:cNvPr>
                  <p:cNvSpPr>
                    <a:spLocks/>
                  </p:cNvSpPr>
                  <p:nvPr/>
                </p:nvSpPr>
                <p:spPr bwMode="auto">
                  <a:xfrm rot="890892" flipH="1">
                    <a:off x="5619888" y="4463249"/>
                    <a:ext cx="604299" cy="549098"/>
                  </a:xfrm>
                  <a:custGeom>
                    <a:avLst/>
                    <a:gdLst>
                      <a:gd name="T0" fmla="*/ 198 w 223"/>
                      <a:gd name="T1" fmla="*/ 92 h 203"/>
                      <a:gd name="T2" fmla="*/ 123 w 223"/>
                      <a:gd name="T3" fmla="*/ 125 h 203"/>
                      <a:gd name="T4" fmla="*/ 62 w 223"/>
                      <a:gd name="T5" fmla="*/ 20 h 203"/>
                      <a:gd name="T6" fmla="*/ 20 w 223"/>
                      <a:gd name="T7" fmla="*/ 8 h 203"/>
                      <a:gd name="T8" fmla="*/ 9 w 223"/>
                      <a:gd name="T9" fmla="*/ 51 h 203"/>
                      <a:gd name="T10" fmla="*/ 88 w 223"/>
                      <a:gd name="T11" fmla="*/ 188 h 203"/>
                      <a:gd name="T12" fmla="*/ 110 w 223"/>
                      <a:gd name="T13" fmla="*/ 203 h 203"/>
                      <a:gd name="T14" fmla="*/ 114 w 223"/>
                      <a:gd name="T15" fmla="*/ 203 h 203"/>
                      <a:gd name="T16" fmla="*/ 135 w 223"/>
                      <a:gd name="T17" fmla="*/ 196 h 203"/>
                      <a:gd name="T18" fmla="*/ 223 w 223"/>
                      <a:gd name="T19" fmla="*/ 131 h 203"/>
                      <a:gd name="T20" fmla="*/ 198 w 223"/>
                      <a:gd name="T21" fmla="*/ 9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03">
                        <a:moveTo>
                          <a:pt x="198" y="92"/>
                        </a:moveTo>
                        <a:cubicBezTo>
                          <a:pt x="123" y="125"/>
                          <a:pt x="123" y="125"/>
                          <a:pt x="123" y="125"/>
                        </a:cubicBezTo>
                        <a:cubicBezTo>
                          <a:pt x="62" y="20"/>
                          <a:pt x="62" y="20"/>
                          <a:pt x="62" y="20"/>
                        </a:cubicBezTo>
                        <a:cubicBezTo>
                          <a:pt x="53" y="5"/>
                          <a:pt x="34" y="0"/>
                          <a:pt x="20" y="8"/>
                        </a:cubicBezTo>
                        <a:cubicBezTo>
                          <a:pt x="5" y="17"/>
                          <a:pt x="0" y="36"/>
                          <a:pt x="9" y="51"/>
                        </a:cubicBezTo>
                        <a:cubicBezTo>
                          <a:pt x="88" y="188"/>
                          <a:pt x="88" y="188"/>
                          <a:pt x="88" y="188"/>
                        </a:cubicBezTo>
                        <a:cubicBezTo>
                          <a:pt x="93" y="196"/>
                          <a:pt x="101" y="201"/>
                          <a:pt x="110" y="203"/>
                        </a:cubicBezTo>
                        <a:cubicBezTo>
                          <a:pt x="111" y="203"/>
                          <a:pt x="113" y="203"/>
                          <a:pt x="114" y="203"/>
                        </a:cubicBezTo>
                        <a:cubicBezTo>
                          <a:pt x="122" y="203"/>
                          <a:pt x="129" y="201"/>
                          <a:pt x="135" y="196"/>
                        </a:cubicBezTo>
                        <a:cubicBezTo>
                          <a:pt x="135" y="196"/>
                          <a:pt x="222" y="131"/>
                          <a:pt x="223" y="131"/>
                        </a:cubicBezTo>
                        <a:cubicBezTo>
                          <a:pt x="198" y="92"/>
                          <a:pt x="198" y="92"/>
                          <a:pt x="198" y="92"/>
                        </a:cubicBezTo>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grpSp>
            <p:sp>
              <p:nvSpPr>
                <p:cNvPr id="1630" name="Trapezoid 1629">
                  <a:extLst>
                    <a:ext uri="{FF2B5EF4-FFF2-40B4-BE49-F238E27FC236}">
                      <a16:creationId xmlns:a16="http://schemas.microsoft.com/office/drawing/2014/main" id="{14ED94A2-1AB8-402F-83EA-30799747A6AF}"/>
                    </a:ext>
                  </a:extLst>
                </p:cNvPr>
                <p:cNvSpPr/>
                <p:nvPr/>
              </p:nvSpPr>
              <p:spPr>
                <a:xfrm rot="5400000">
                  <a:off x="5244347" y="3195833"/>
                  <a:ext cx="914400" cy="270747"/>
                </a:xfrm>
                <a:prstGeom prst="trapezoid">
                  <a:avLst>
                    <a:gd name="adj" fmla="val 43593"/>
                  </a:avLst>
                </a:prstGeom>
                <a:solidFill>
                  <a:srgbClr val="002050">
                    <a:lumMod val="90000"/>
                    <a:lumOff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ＭＳ Ｐゴシック" charset="0"/>
                  </a:endParaRPr>
                </a:p>
              </p:txBody>
            </p:sp>
            <p:sp>
              <p:nvSpPr>
                <p:cNvPr id="1631" name="Freeform 13">
                  <a:extLst>
                    <a:ext uri="{FF2B5EF4-FFF2-40B4-BE49-F238E27FC236}">
                      <a16:creationId xmlns:a16="http://schemas.microsoft.com/office/drawing/2014/main" id="{FE011E28-F059-4639-847E-D035D517976A}"/>
                    </a:ext>
                  </a:extLst>
                </p:cNvPr>
                <p:cNvSpPr>
                  <a:spLocks/>
                </p:cNvSpPr>
                <p:nvPr/>
              </p:nvSpPr>
              <p:spPr bwMode="auto">
                <a:xfrm flipH="1">
                  <a:off x="6207498" y="5265283"/>
                  <a:ext cx="386819" cy="902556"/>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FFFFFF">
                    <a:lumMod val="6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32" name="Freeform 14">
                  <a:extLst>
                    <a:ext uri="{FF2B5EF4-FFF2-40B4-BE49-F238E27FC236}">
                      <a16:creationId xmlns:a16="http://schemas.microsoft.com/office/drawing/2014/main" id="{2D8A7E72-48EE-4DDE-8D15-FD36BCC894E9}"/>
                    </a:ext>
                  </a:extLst>
                </p:cNvPr>
                <p:cNvSpPr>
                  <a:spLocks/>
                </p:cNvSpPr>
                <p:nvPr/>
              </p:nvSpPr>
              <p:spPr bwMode="auto">
                <a:xfrm flipH="1">
                  <a:off x="6207497" y="5265283"/>
                  <a:ext cx="165784" cy="902556"/>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FFFFFF">
                    <a:lumMod val="8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33" name="Freeform 15">
                  <a:extLst>
                    <a:ext uri="{FF2B5EF4-FFF2-40B4-BE49-F238E27FC236}">
                      <a16:creationId xmlns:a16="http://schemas.microsoft.com/office/drawing/2014/main" id="{490D5764-9031-465D-B3ED-3CAF8B50809B}"/>
                    </a:ext>
                  </a:extLst>
                </p:cNvPr>
                <p:cNvSpPr>
                  <a:spLocks/>
                </p:cNvSpPr>
                <p:nvPr/>
              </p:nvSpPr>
              <p:spPr bwMode="auto">
                <a:xfrm flipH="1">
                  <a:off x="6520639" y="5265283"/>
                  <a:ext cx="73679" cy="902556"/>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34" name="Freeform 16">
                  <a:extLst>
                    <a:ext uri="{FF2B5EF4-FFF2-40B4-BE49-F238E27FC236}">
                      <a16:creationId xmlns:a16="http://schemas.microsoft.com/office/drawing/2014/main" id="{055BD972-AB78-42B1-A1A7-3506675FF042}"/>
                    </a:ext>
                  </a:extLst>
                </p:cNvPr>
                <p:cNvSpPr>
                  <a:spLocks/>
                </p:cNvSpPr>
                <p:nvPr/>
              </p:nvSpPr>
              <p:spPr bwMode="auto">
                <a:xfrm flipH="1">
                  <a:off x="6189072" y="5983643"/>
                  <a:ext cx="386819" cy="552592"/>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35" name="Freeform 17">
                  <a:extLst>
                    <a:ext uri="{FF2B5EF4-FFF2-40B4-BE49-F238E27FC236}">
                      <a16:creationId xmlns:a16="http://schemas.microsoft.com/office/drawing/2014/main" id="{E443D2CF-6B82-4D71-A254-949EC0E986F2}"/>
                    </a:ext>
                  </a:extLst>
                </p:cNvPr>
                <p:cNvSpPr>
                  <a:spLocks/>
                </p:cNvSpPr>
                <p:nvPr/>
              </p:nvSpPr>
              <p:spPr bwMode="auto">
                <a:xfrm flipH="1">
                  <a:off x="6189072" y="6499393"/>
                  <a:ext cx="386819" cy="55254"/>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36" name="Freeform 18">
                  <a:extLst>
                    <a:ext uri="{FF2B5EF4-FFF2-40B4-BE49-F238E27FC236}">
                      <a16:creationId xmlns:a16="http://schemas.microsoft.com/office/drawing/2014/main" id="{4F79B3B8-22FF-4D04-ADF9-8EE494B75649}"/>
                    </a:ext>
                  </a:extLst>
                </p:cNvPr>
                <p:cNvSpPr>
                  <a:spLocks/>
                </p:cNvSpPr>
                <p:nvPr/>
              </p:nvSpPr>
              <p:spPr bwMode="auto">
                <a:xfrm flipH="1">
                  <a:off x="6189085" y="6241518"/>
                  <a:ext cx="147358" cy="294717"/>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37" name="Freeform 19">
                  <a:extLst>
                    <a:ext uri="{FF2B5EF4-FFF2-40B4-BE49-F238E27FC236}">
                      <a16:creationId xmlns:a16="http://schemas.microsoft.com/office/drawing/2014/main" id="{78332B78-FE92-4201-BFBF-01E452D09E80}"/>
                    </a:ext>
                  </a:extLst>
                </p:cNvPr>
                <p:cNvSpPr>
                  <a:spLocks/>
                </p:cNvSpPr>
                <p:nvPr/>
              </p:nvSpPr>
              <p:spPr bwMode="auto">
                <a:xfrm flipH="1">
                  <a:off x="6631145" y="5265283"/>
                  <a:ext cx="386819" cy="902556"/>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FFFFFF">
                    <a:lumMod val="6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38" name="Freeform 20">
                  <a:extLst>
                    <a:ext uri="{FF2B5EF4-FFF2-40B4-BE49-F238E27FC236}">
                      <a16:creationId xmlns:a16="http://schemas.microsoft.com/office/drawing/2014/main" id="{BBE76E79-76DF-474F-A52D-3FE7609FE007}"/>
                    </a:ext>
                  </a:extLst>
                </p:cNvPr>
                <p:cNvSpPr>
                  <a:spLocks/>
                </p:cNvSpPr>
                <p:nvPr/>
              </p:nvSpPr>
              <p:spPr bwMode="auto">
                <a:xfrm flipH="1">
                  <a:off x="6631156" y="5265283"/>
                  <a:ext cx="147358" cy="902556"/>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39" name="Freeform 21">
                  <a:extLst>
                    <a:ext uri="{FF2B5EF4-FFF2-40B4-BE49-F238E27FC236}">
                      <a16:creationId xmlns:a16="http://schemas.microsoft.com/office/drawing/2014/main" id="{C654FAE7-8CD9-4B2C-8F4B-4749B95CBF30}"/>
                    </a:ext>
                  </a:extLst>
                </p:cNvPr>
                <p:cNvSpPr>
                  <a:spLocks/>
                </p:cNvSpPr>
                <p:nvPr/>
              </p:nvSpPr>
              <p:spPr bwMode="auto">
                <a:xfrm flipH="1">
                  <a:off x="6944285" y="5265283"/>
                  <a:ext cx="73679" cy="902556"/>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0" name="Freeform 22">
                  <a:extLst>
                    <a:ext uri="{FF2B5EF4-FFF2-40B4-BE49-F238E27FC236}">
                      <a16:creationId xmlns:a16="http://schemas.microsoft.com/office/drawing/2014/main" id="{C19624F6-05DC-41F5-927F-5C4E5A55DDE9}"/>
                    </a:ext>
                  </a:extLst>
                </p:cNvPr>
                <p:cNvSpPr>
                  <a:spLocks/>
                </p:cNvSpPr>
                <p:nvPr/>
              </p:nvSpPr>
              <p:spPr bwMode="auto">
                <a:xfrm flipH="1">
                  <a:off x="6612731" y="5983643"/>
                  <a:ext cx="405233" cy="552592"/>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1" name="Freeform 23">
                  <a:extLst>
                    <a:ext uri="{FF2B5EF4-FFF2-40B4-BE49-F238E27FC236}">
                      <a16:creationId xmlns:a16="http://schemas.microsoft.com/office/drawing/2014/main" id="{AEA53751-3FE3-45F2-B993-F9FE2F72E459}"/>
                    </a:ext>
                  </a:extLst>
                </p:cNvPr>
                <p:cNvSpPr>
                  <a:spLocks/>
                </p:cNvSpPr>
                <p:nvPr/>
              </p:nvSpPr>
              <p:spPr bwMode="auto">
                <a:xfrm flipH="1">
                  <a:off x="6631145" y="6499393"/>
                  <a:ext cx="386819" cy="55254"/>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2" name="Freeform 24">
                  <a:extLst>
                    <a:ext uri="{FF2B5EF4-FFF2-40B4-BE49-F238E27FC236}">
                      <a16:creationId xmlns:a16="http://schemas.microsoft.com/office/drawing/2014/main" id="{DFCE02C0-914B-4A5D-BCA4-523B20A6A87E}"/>
                    </a:ext>
                  </a:extLst>
                </p:cNvPr>
                <p:cNvSpPr>
                  <a:spLocks/>
                </p:cNvSpPr>
                <p:nvPr/>
              </p:nvSpPr>
              <p:spPr bwMode="auto">
                <a:xfrm flipH="1">
                  <a:off x="6631145" y="6241518"/>
                  <a:ext cx="128943" cy="294717"/>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3" name="Freeform 25">
                  <a:extLst>
                    <a:ext uri="{FF2B5EF4-FFF2-40B4-BE49-F238E27FC236}">
                      <a16:creationId xmlns:a16="http://schemas.microsoft.com/office/drawing/2014/main" id="{BCA85643-CA99-4796-92FA-6117697A7D05}"/>
                    </a:ext>
                  </a:extLst>
                </p:cNvPr>
                <p:cNvSpPr>
                  <a:spLocks/>
                </p:cNvSpPr>
                <p:nvPr/>
              </p:nvSpPr>
              <p:spPr bwMode="auto">
                <a:xfrm flipH="1">
                  <a:off x="6262764" y="3183849"/>
                  <a:ext cx="110517" cy="18415"/>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4" name="Freeform 26">
                  <a:extLst>
                    <a:ext uri="{FF2B5EF4-FFF2-40B4-BE49-F238E27FC236}">
                      <a16:creationId xmlns:a16="http://schemas.microsoft.com/office/drawing/2014/main" id="{DFB8F486-5651-49D3-B28C-AAF5B182F69F}"/>
                    </a:ext>
                  </a:extLst>
                </p:cNvPr>
                <p:cNvSpPr>
                  <a:spLocks/>
                </p:cNvSpPr>
                <p:nvPr/>
              </p:nvSpPr>
              <p:spPr bwMode="auto">
                <a:xfrm flipH="1">
                  <a:off x="6520639" y="2889138"/>
                  <a:ext cx="0" cy="18415"/>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5" name="Freeform 27">
                  <a:extLst>
                    <a:ext uri="{FF2B5EF4-FFF2-40B4-BE49-F238E27FC236}">
                      <a16:creationId xmlns:a16="http://schemas.microsoft.com/office/drawing/2014/main" id="{604C4EBB-1C8A-4362-90EC-958EF410BE14}"/>
                    </a:ext>
                  </a:extLst>
                </p:cNvPr>
                <p:cNvSpPr>
                  <a:spLocks/>
                </p:cNvSpPr>
                <p:nvPr/>
              </p:nvSpPr>
              <p:spPr bwMode="auto">
                <a:xfrm flipH="1">
                  <a:off x="6133820" y="2815459"/>
                  <a:ext cx="589430" cy="663105"/>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6" name="Freeform 28">
                  <a:extLst>
                    <a:ext uri="{FF2B5EF4-FFF2-40B4-BE49-F238E27FC236}">
                      <a16:creationId xmlns:a16="http://schemas.microsoft.com/office/drawing/2014/main" id="{874F6649-033D-4CC5-BF69-96E7251FBCE8}"/>
                    </a:ext>
                  </a:extLst>
                </p:cNvPr>
                <p:cNvSpPr>
                  <a:spLocks/>
                </p:cNvSpPr>
                <p:nvPr/>
              </p:nvSpPr>
              <p:spPr bwMode="auto">
                <a:xfrm flipH="1">
                  <a:off x="6428533" y="3368051"/>
                  <a:ext cx="202623" cy="55254"/>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7" name="Freeform 29">
                  <a:extLst>
                    <a:ext uri="{FF2B5EF4-FFF2-40B4-BE49-F238E27FC236}">
                      <a16:creationId xmlns:a16="http://schemas.microsoft.com/office/drawing/2014/main" id="{D7C77875-0F93-4DEE-96E8-AA3BA831E327}"/>
                    </a:ext>
                  </a:extLst>
                </p:cNvPr>
                <p:cNvSpPr>
                  <a:spLocks/>
                </p:cNvSpPr>
                <p:nvPr/>
              </p:nvSpPr>
              <p:spPr bwMode="auto">
                <a:xfrm flipH="1">
                  <a:off x="6262748" y="3202277"/>
                  <a:ext cx="55264" cy="55254"/>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8" name="Freeform 30">
                  <a:extLst>
                    <a:ext uri="{FF2B5EF4-FFF2-40B4-BE49-F238E27FC236}">
                      <a16:creationId xmlns:a16="http://schemas.microsoft.com/office/drawing/2014/main" id="{24049D73-F2AF-438C-89A8-262D28E871C3}"/>
                    </a:ext>
                  </a:extLst>
                </p:cNvPr>
                <p:cNvSpPr>
                  <a:spLocks/>
                </p:cNvSpPr>
                <p:nvPr/>
              </p:nvSpPr>
              <p:spPr bwMode="auto">
                <a:xfrm flipH="1">
                  <a:off x="6262749" y="3202277"/>
                  <a:ext cx="18426" cy="36839"/>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9" name="Freeform 31">
                  <a:extLst>
                    <a:ext uri="{FF2B5EF4-FFF2-40B4-BE49-F238E27FC236}">
                      <a16:creationId xmlns:a16="http://schemas.microsoft.com/office/drawing/2014/main" id="{BCB74B66-321A-4A01-9008-07ABC5AD2350}"/>
                    </a:ext>
                  </a:extLst>
                </p:cNvPr>
                <p:cNvSpPr>
                  <a:spLocks/>
                </p:cNvSpPr>
                <p:nvPr/>
              </p:nvSpPr>
              <p:spPr bwMode="auto">
                <a:xfrm flipH="1">
                  <a:off x="6262748" y="3041564"/>
                  <a:ext cx="55264" cy="36839"/>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50" name="Freeform 32">
                  <a:extLst>
                    <a:ext uri="{FF2B5EF4-FFF2-40B4-BE49-F238E27FC236}">
                      <a16:creationId xmlns:a16="http://schemas.microsoft.com/office/drawing/2014/main" id="{C3E0814B-C369-407C-9B02-EE771ADBE349}"/>
                    </a:ext>
                  </a:extLst>
                </p:cNvPr>
                <p:cNvSpPr>
                  <a:spLocks/>
                </p:cNvSpPr>
                <p:nvPr/>
              </p:nvSpPr>
              <p:spPr bwMode="auto">
                <a:xfrm flipH="1">
                  <a:off x="6391696" y="3368051"/>
                  <a:ext cx="405233" cy="25787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51" name="Freeform 33">
                  <a:extLst>
                    <a:ext uri="{FF2B5EF4-FFF2-40B4-BE49-F238E27FC236}">
                      <a16:creationId xmlns:a16="http://schemas.microsoft.com/office/drawing/2014/main" id="{F772FFFB-F22C-47BF-96CB-7A919A04CAAC}"/>
                    </a:ext>
                  </a:extLst>
                </p:cNvPr>
                <p:cNvSpPr>
                  <a:spLocks/>
                </p:cNvSpPr>
                <p:nvPr/>
              </p:nvSpPr>
              <p:spPr bwMode="auto">
                <a:xfrm flipH="1">
                  <a:off x="6041714" y="3423314"/>
                  <a:ext cx="1197286" cy="1934062"/>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00205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52" name="Freeform 34">
                  <a:extLst>
                    <a:ext uri="{FF2B5EF4-FFF2-40B4-BE49-F238E27FC236}">
                      <a16:creationId xmlns:a16="http://schemas.microsoft.com/office/drawing/2014/main" id="{2F611075-657B-4351-B2BF-D053789D10E4}"/>
                    </a:ext>
                  </a:extLst>
                </p:cNvPr>
                <p:cNvSpPr>
                  <a:spLocks/>
                </p:cNvSpPr>
                <p:nvPr/>
              </p:nvSpPr>
              <p:spPr bwMode="auto">
                <a:xfrm flipH="1">
                  <a:off x="6428533" y="3460153"/>
                  <a:ext cx="810467" cy="1860384"/>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53" name="Freeform 40">
                  <a:extLst>
                    <a:ext uri="{FF2B5EF4-FFF2-40B4-BE49-F238E27FC236}">
                      <a16:creationId xmlns:a16="http://schemas.microsoft.com/office/drawing/2014/main" id="{9C6ECAE1-DB10-4F33-A37C-DF58317A0F45}"/>
                    </a:ext>
                  </a:extLst>
                </p:cNvPr>
                <p:cNvSpPr>
                  <a:spLocks/>
                </p:cNvSpPr>
                <p:nvPr/>
              </p:nvSpPr>
              <p:spPr bwMode="auto">
                <a:xfrm flipH="1">
                  <a:off x="6225922" y="2483904"/>
                  <a:ext cx="847305" cy="847303"/>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54" name="Freeform 184">
                  <a:extLst>
                    <a:ext uri="{FF2B5EF4-FFF2-40B4-BE49-F238E27FC236}">
                      <a16:creationId xmlns:a16="http://schemas.microsoft.com/office/drawing/2014/main" id="{EBA219E3-DA9D-4B9A-8AAC-459B45E8A848}"/>
                    </a:ext>
                  </a:extLst>
                </p:cNvPr>
                <p:cNvSpPr>
                  <a:spLocks/>
                </p:cNvSpPr>
                <p:nvPr/>
              </p:nvSpPr>
              <p:spPr bwMode="auto">
                <a:xfrm>
                  <a:off x="6318012" y="3572627"/>
                  <a:ext cx="399296" cy="391328"/>
                </a:xfrm>
                <a:custGeom>
                  <a:avLst/>
                  <a:gdLst>
                    <a:gd name="T0" fmla="*/ 28 w 28"/>
                    <a:gd name="T1" fmla="*/ 13 h 27"/>
                    <a:gd name="T2" fmla="*/ 15 w 28"/>
                    <a:gd name="T3" fmla="*/ 27 h 27"/>
                    <a:gd name="T4" fmla="*/ 1 w 28"/>
                    <a:gd name="T5" fmla="*/ 14 h 27"/>
                    <a:gd name="T6" fmla="*/ 14 w 28"/>
                    <a:gd name="T7" fmla="*/ 0 h 27"/>
                    <a:gd name="T8" fmla="*/ 28 w 28"/>
                    <a:gd name="T9" fmla="*/ 13 h 27"/>
                  </a:gdLst>
                  <a:ahLst/>
                  <a:cxnLst>
                    <a:cxn ang="0">
                      <a:pos x="T0" y="T1"/>
                    </a:cxn>
                    <a:cxn ang="0">
                      <a:pos x="T2" y="T3"/>
                    </a:cxn>
                    <a:cxn ang="0">
                      <a:pos x="T4" y="T5"/>
                    </a:cxn>
                    <a:cxn ang="0">
                      <a:pos x="T6" y="T7"/>
                    </a:cxn>
                    <a:cxn ang="0">
                      <a:pos x="T8" y="T9"/>
                    </a:cxn>
                  </a:cxnLst>
                  <a:rect l="0" t="0" r="r" b="b"/>
                  <a:pathLst>
                    <a:path w="28" h="27">
                      <a:moveTo>
                        <a:pt x="28" y="13"/>
                      </a:moveTo>
                      <a:cubicBezTo>
                        <a:pt x="28" y="20"/>
                        <a:pt x="23" y="27"/>
                        <a:pt x="15" y="27"/>
                      </a:cubicBezTo>
                      <a:cubicBezTo>
                        <a:pt x="8" y="27"/>
                        <a:pt x="1" y="22"/>
                        <a:pt x="1" y="14"/>
                      </a:cubicBezTo>
                      <a:cubicBezTo>
                        <a:pt x="0" y="7"/>
                        <a:pt x="6" y="1"/>
                        <a:pt x="14" y="0"/>
                      </a:cubicBezTo>
                      <a:cubicBezTo>
                        <a:pt x="21" y="0"/>
                        <a:pt x="27" y="5"/>
                        <a:pt x="28" y="13"/>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55" name="Trapezoid 1654">
                  <a:extLst>
                    <a:ext uri="{FF2B5EF4-FFF2-40B4-BE49-F238E27FC236}">
                      <a16:creationId xmlns:a16="http://schemas.microsoft.com/office/drawing/2014/main" id="{BA083D17-F0F0-42A5-8D0E-4F17FAECB078}"/>
                    </a:ext>
                  </a:extLst>
                </p:cNvPr>
                <p:cNvSpPr/>
                <p:nvPr/>
              </p:nvSpPr>
              <p:spPr>
                <a:xfrm rot="5400000">
                  <a:off x="5285986" y="3209568"/>
                  <a:ext cx="847306" cy="243279"/>
                </a:xfrm>
                <a:prstGeom prst="trapezoid">
                  <a:avLst>
                    <a:gd name="adj" fmla="val 43593"/>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ＭＳ Ｐゴシック" charset="0"/>
                  </a:endParaRPr>
                </a:p>
              </p:txBody>
            </p:sp>
            <p:grpSp>
              <p:nvGrpSpPr>
                <p:cNvPr id="1656" name="Group 1655">
                  <a:extLst>
                    <a:ext uri="{FF2B5EF4-FFF2-40B4-BE49-F238E27FC236}">
                      <a16:creationId xmlns:a16="http://schemas.microsoft.com/office/drawing/2014/main" id="{E08C704C-E9B1-4974-A681-564E739C3571}"/>
                    </a:ext>
                  </a:extLst>
                </p:cNvPr>
                <p:cNvGrpSpPr/>
                <p:nvPr/>
              </p:nvGrpSpPr>
              <p:grpSpPr>
                <a:xfrm>
                  <a:off x="5452032" y="3479198"/>
                  <a:ext cx="1198531" cy="895978"/>
                  <a:chOff x="5489670" y="4463249"/>
                  <a:chExt cx="734517" cy="549098"/>
                </a:xfrm>
              </p:grpSpPr>
              <p:sp>
                <p:nvSpPr>
                  <p:cNvPr id="1657" name="Freeform 30">
                    <a:extLst>
                      <a:ext uri="{FF2B5EF4-FFF2-40B4-BE49-F238E27FC236}">
                        <a16:creationId xmlns:a16="http://schemas.microsoft.com/office/drawing/2014/main" id="{8AEA00BE-1838-42F5-AD8B-EC8530DC8CE9}"/>
                      </a:ext>
                    </a:extLst>
                  </p:cNvPr>
                  <p:cNvSpPr>
                    <a:spLocks/>
                  </p:cNvSpPr>
                  <p:nvPr/>
                </p:nvSpPr>
                <p:spPr bwMode="auto">
                  <a:xfrm rot="890892" flipH="1">
                    <a:off x="5489670" y="4516323"/>
                    <a:ext cx="261476" cy="246948"/>
                  </a:xfrm>
                  <a:custGeom>
                    <a:avLst/>
                    <a:gdLst>
                      <a:gd name="T0" fmla="*/ 97 w 97"/>
                      <a:gd name="T1" fmla="*/ 41 h 91"/>
                      <a:gd name="T2" fmla="*/ 93 w 97"/>
                      <a:gd name="T3" fmla="*/ 35 h 91"/>
                      <a:gd name="T4" fmla="*/ 95 w 97"/>
                      <a:gd name="T5" fmla="*/ 32 h 91"/>
                      <a:gd name="T6" fmla="*/ 88 w 97"/>
                      <a:gd name="T7" fmla="*/ 25 h 91"/>
                      <a:gd name="T8" fmla="*/ 78 w 97"/>
                      <a:gd name="T9" fmla="*/ 25 h 91"/>
                      <a:gd name="T10" fmla="*/ 63 w 97"/>
                      <a:gd name="T11" fmla="*/ 22 h 91"/>
                      <a:gd name="T12" fmla="*/ 77 w 97"/>
                      <a:gd name="T13" fmla="*/ 14 h 91"/>
                      <a:gd name="T14" fmla="*/ 77 w 97"/>
                      <a:gd name="T15" fmla="*/ 0 h 91"/>
                      <a:gd name="T16" fmla="*/ 44 w 97"/>
                      <a:gd name="T17" fmla="*/ 17 h 91"/>
                      <a:gd name="T18" fmla="*/ 34 w 97"/>
                      <a:gd name="T19" fmla="*/ 39 h 91"/>
                      <a:gd name="T20" fmla="*/ 34 w 97"/>
                      <a:gd name="T21" fmla="*/ 39 h 91"/>
                      <a:gd name="T22" fmla="*/ 0 w 97"/>
                      <a:gd name="T23" fmla="*/ 54 h 91"/>
                      <a:gd name="T24" fmla="*/ 17 w 97"/>
                      <a:gd name="T25" fmla="*/ 91 h 91"/>
                      <a:gd name="T26" fmla="*/ 64 w 97"/>
                      <a:gd name="T27" fmla="*/ 67 h 91"/>
                      <a:gd name="T28" fmla="*/ 79 w 97"/>
                      <a:gd name="T29" fmla="*/ 67 h 91"/>
                      <a:gd name="T30" fmla="*/ 86 w 97"/>
                      <a:gd name="T31" fmla="*/ 61 h 91"/>
                      <a:gd name="T32" fmla="*/ 85 w 97"/>
                      <a:gd name="T33" fmla="*/ 58 h 91"/>
                      <a:gd name="T34" fmla="*/ 91 w 97"/>
                      <a:gd name="T35" fmla="*/ 51 h 91"/>
                      <a:gd name="T36" fmla="*/ 90 w 97"/>
                      <a:gd name="T37" fmla="*/ 48 h 91"/>
                      <a:gd name="T38" fmla="*/ 90 w 97"/>
                      <a:gd name="T39" fmla="*/ 48 h 91"/>
                      <a:gd name="T40" fmla="*/ 97 w 97"/>
                      <a:gd name="T4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91">
                        <a:moveTo>
                          <a:pt x="97" y="41"/>
                        </a:moveTo>
                        <a:cubicBezTo>
                          <a:pt x="97" y="39"/>
                          <a:pt x="95" y="37"/>
                          <a:pt x="93" y="35"/>
                        </a:cubicBezTo>
                        <a:cubicBezTo>
                          <a:pt x="94" y="34"/>
                          <a:pt x="95" y="33"/>
                          <a:pt x="95" y="32"/>
                        </a:cubicBezTo>
                        <a:cubicBezTo>
                          <a:pt x="95" y="28"/>
                          <a:pt x="92" y="25"/>
                          <a:pt x="88" y="25"/>
                        </a:cubicBezTo>
                        <a:cubicBezTo>
                          <a:pt x="78" y="25"/>
                          <a:pt x="78" y="25"/>
                          <a:pt x="78" y="25"/>
                        </a:cubicBezTo>
                        <a:cubicBezTo>
                          <a:pt x="63" y="22"/>
                          <a:pt x="63" y="22"/>
                          <a:pt x="63" y="22"/>
                        </a:cubicBezTo>
                        <a:cubicBezTo>
                          <a:pt x="77" y="14"/>
                          <a:pt x="77" y="14"/>
                          <a:pt x="77" y="14"/>
                        </a:cubicBezTo>
                        <a:cubicBezTo>
                          <a:pt x="77" y="14"/>
                          <a:pt x="85" y="5"/>
                          <a:pt x="77" y="0"/>
                        </a:cubicBezTo>
                        <a:cubicBezTo>
                          <a:pt x="52" y="15"/>
                          <a:pt x="52" y="11"/>
                          <a:pt x="44" y="17"/>
                        </a:cubicBezTo>
                        <a:cubicBezTo>
                          <a:pt x="36" y="23"/>
                          <a:pt x="33" y="34"/>
                          <a:pt x="34" y="39"/>
                        </a:cubicBezTo>
                        <a:cubicBezTo>
                          <a:pt x="34" y="39"/>
                          <a:pt x="34" y="39"/>
                          <a:pt x="34" y="39"/>
                        </a:cubicBezTo>
                        <a:cubicBezTo>
                          <a:pt x="0" y="54"/>
                          <a:pt x="0" y="54"/>
                          <a:pt x="0" y="54"/>
                        </a:cubicBezTo>
                        <a:cubicBezTo>
                          <a:pt x="17" y="91"/>
                          <a:pt x="17" y="91"/>
                          <a:pt x="17" y="91"/>
                        </a:cubicBezTo>
                        <a:cubicBezTo>
                          <a:pt x="64" y="67"/>
                          <a:pt x="64" y="67"/>
                          <a:pt x="64" y="67"/>
                        </a:cubicBezTo>
                        <a:cubicBezTo>
                          <a:pt x="79" y="67"/>
                          <a:pt x="79" y="67"/>
                          <a:pt x="79" y="67"/>
                        </a:cubicBezTo>
                        <a:cubicBezTo>
                          <a:pt x="82" y="67"/>
                          <a:pt x="85" y="64"/>
                          <a:pt x="86" y="61"/>
                        </a:cubicBezTo>
                        <a:cubicBezTo>
                          <a:pt x="86" y="60"/>
                          <a:pt x="85" y="58"/>
                          <a:pt x="85" y="58"/>
                        </a:cubicBezTo>
                        <a:cubicBezTo>
                          <a:pt x="88" y="57"/>
                          <a:pt x="91" y="55"/>
                          <a:pt x="91" y="51"/>
                        </a:cubicBezTo>
                        <a:cubicBezTo>
                          <a:pt x="91" y="50"/>
                          <a:pt x="90" y="49"/>
                          <a:pt x="90" y="48"/>
                        </a:cubicBezTo>
                        <a:cubicBezTo>
                          <a:pt x="90" y="48"/>
                          <a:pt x="90" y="48"/>
                          <a:pt x="90" y="48"/>
                        </a:cubicBezTo>
                        <a:cubicBezTo>
                          <a:pt x="93" y="48"/>
                          <a:pt x="96" y="45"/>
                          <a:pt x="97" y="4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58" name="Freeform 31">
                    <a:extLst>
                      <a:ext uri="{FF2B5EF4-FFF2-40B4-BE49-F238E27FC236}">
                        <a16:creationId xmlns:a16="http://schemas.microsoft.com/office/drawing/2014/main" id="{75B86D70-1F21-4BFA-8A6D-359C8B6E8EC3}"/>
                      </a:ext>
                    </a:extLst>
                  </p:cNvPr>
                  <p:cNvSpPr>
                    <a:spLocks/>
                  </p:cNvSpPr>
                  <p:nvPr/>
                </p:nvSpPr>
                <p:spPr bwMode="auto">
                  <a:xfrm rot="890892" flipH="1">
                    <a:off x="5619888" y="4463249"/>
                    <a:ext cx="604299" cy="549098"/>
                  </a:xfrm>
                  <a:custGeom>
                    <a:avLst/>
                    <a:gdLst>
                      <a:gd name="T0" fmla="*/ 198 w 223"/>
                      <a:gd name="T1" fmla="*/ 92 h 203"/>
                      <a:gd name="T2" fmla="*/ 123 w 223"/>
                      <a:gd name="T3" fmla="*/ 125 h 203"/>
                      <a:gd name="T4" fmla="*/ 62 w 223"/>
                      <a:gd name="T5" fmla="*/ 20 h 203"/>
                      <a:gd name="T6" fmla="*/ 20 w 223"/>
                      <a:gd name="T7" fmla="*/ 8 h 203"/>
                      <a:gd name="T8" fmla="*/ 9 w 223"/>
                      <a:gd name="T9" fmla="*/ 51 h 203"/>
                      <a:gd name="T10" fmla="*/ 88 w 223"/>
                      <a:gd name="T11" fmla="*/ 188 h 203"/>
                      <a:gd name="T12" fmla="*/ 110 w 223"/>
                      <a:gd name="T13" fmla="*/ 203 h 203"/>
                      <a:gd name="T14" fmla="*/ 114 w 223"/>
                      <a:gd name="T15" fmla="*/ 203 h 203"/>
                      <a:gd name="T16" fmla="*/ 135 w 223"/>
                      <a:gd name="T17" fmla="*/ 196 h 203"/>
                      <a:gd name="T18" fmla="*/ 223 w 223"/>
                      <a:gd name="T19" fmla="*/ 131 h 203"/>
                      <a:gd name="T20" fmla="*/ 198 w 223"/>
                      <a:gd name="T21" fmla="*/ 9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03">
                        <a:moveTo>
                          <a:pt x="198" y="92"/>
                        </a:moveTo>
                        <a:cubicBezTo>
                          <a:pt x="123" y="125"/>
                          <a:pt x="123" y="125"/>
                          <a:pt x="123" y="125"/>
                        </a:cubicBezTo>
                        <a:cubicBezTo>
                          <a:pt x="62" y="20"/>
                          <a:pt x="62" y="20"/>
                          <a:pt x="62" y="20"/>
                        </a:cubicBezTo>
                        <a:cubicBezTo>
                          <a:pt x="53" y="5"/>
                          <a:pt x="34" y="0"/>
                          <a:pt x="20" y="8"/>
                        </a:cubicBezTo>
                        <a:cubicBezTo>
                          <a:pt x="5" y="17"/>
                          <a:pt x="0" y="36"/>
                          <a:pt x="9" y="51"/>
                        </a:cubicBezTo>
                        <a:cubicBezTo>
                          <a:pt x="88" y="188"/>
                          <a:pt x="88" y="188"/>
                          <a:pt x="88" y="188"/>
                        </a:cubicBezTo>
                        <a:cubicBezTo>
                          <a:pt x="93" y="196"/>
                          <a:pt x="101" y="201"/>
                          <a:pt x="110" y="203"/>
                        </a:cubicBezTo>
                        <a:cubicBezTo>
                          <a:pt x="111" y="203"/>
                          <a:pt x="113" y="203"/>
                          <a:pt x="114" y="203"/>
                        </a:cubicBezTo>
                        <a:cubicBezTo>
                          <a:pt x="122" y="203"/>
                          <a:pt x="129" y="201"/>
                          <a:pt x="135" y="196"/>
                        </a:cubicBezTo>
                        <a:cubicBezTo>
                          <a:pt x="135" y="196"/>
                          <a:pt x="222" y="131"/>
                          <a:pt x="223" y="131"/>
                        </a:cubicBezTo>
                        <a:cubicBezTo>
                          <a:pt x="198" y="92"/>
                          <a:pt x="198" y="92"/>
                          <a:pt x="198" y="92"/>
                        </a:cubicBezTo>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grpSp>
          </p:grpSp>
          <p:grpSp>
            <p:nvGrpSpPr>
              <p:cNvPr id="1562" name="Group 1561">
                <a:extLst>
                  <a:ext uri="{FF2B5EF4-FFF2-40B4-BE49-F238E27FC236}">
                    <a16:creationId xmlns:a16="http://schemas.microsoft.com/office/drawing/2014/main" id="{BE1D7772-34D3-42E4-9965-A10D2AB66DCC}"/>
                  </a:ext>
                </a:extLst>
              </p:cNvPr>
              <p:cNvGrpSpPr/>
              <p:nvPr/>
            </p:nvGrpSpPr>
            <p:grpSpPr>
              <a:xfrm>
                <a:off x="857460" y="1929197"/>
                <a:ext cx="256798" cy="792327"/>
                <a:chOff x="2987495" y="1516376"/>
                <a:chExt cx="358732" cy="1106836"/>
              </a:xfrm>
            </p:grpSpPr>
            <p:sp>
              <p:nvSpPr>
                <p:cNvPr id="1563" name="Freeform 6">
                  <a:extLst>
                    <a:ext uri="{FF2B5EF4-FFF2-40B4-BE49-F238E27FC236}">
                      <a16:creationId xmlns:a16="http://schemas.microsoft.com/office/drawing/2014/main" id="{721A0F62-49B9-479C-8322-D397B11719FC}"/>
                    </a:ext>
                  </a:extLst>
                </p:cNvPr>
                <p:cNvSpPr>
                  <a:spLocks/>
                </p:cNvSpPr>
                <p:nvPr/>
              </p:nvSpPr>
              <p:spPr bwMode="auto">
                <a:xfrm>
                  <a:off x="3048556" y="1516376"/>
                  <a:ext cx="246151" cy="263124"/>
                </a:xfrm>
                <a:custGeom>
                  <a:avLst/>
                  <a:gdLst>
                    <a:gd name="T0" fmla="*/ 143 w 293"/>
                    <a:gd name="T1" fmla="*/ 0 h 315"/>
                    <a:gd name="T2" fmla="*/ 140 w 293"/>
                    <a:gd name="T3" fmla="*/ 0 h 315"/>
                    <a:gd name="T4" fmla="*/ 0 w 293"/>
                    <a:gd name="T5" fmla="*/ 305 h 315"/>
                    <a:gd name="T6" fmla="*/ 142 w 293"/>
                    <a:gd name="T7" fmla="*/ 315 h 315"/>
                    <a:gd name="T8" fmla="*/ 293 w 293"/>
                    <a:gd name="T9" fmla="*/ 306 h 315"/>
                    <a:gd name="T10" fmla="*/ 219 w 293"/>
                    <a:gd name="T11" fmla="*/ 46 h 315"/>
                  </a:gdLst>
                  <a:ahLst/>
                  <a:cxnLst>
                    <a:cxn ang="0">
                      <a:pos x="T0" y="T1"/>
                    </a:cxn>
                    <a:cxn ang="0">
                      <a:pos x="T2" y="T3"/>
                    </a:cxn>
                    <a:cxn ang="0">
                      <a:pos x="T4" y="T5"/>
                    </a:cxn>
                    <a:cxn ang="0">
                      <a:pos x="T6" y="T7"/>
                    </a:cxn>
                    <a:cxn ang="0">
                      <a:pos x="T8" y="T9"/>
                    </a:cxn>
                    <a:cxn ang="0">
                      <a:pos x="T10" y="T11"/>
                    </a:cxn>
                  </a:cxnLst>
                  <a:rect l="0" t="0" r="r" b="b"/>
                  <a:pathLst>
                    <a:path w="293" h="315">
                      <a:moveTo>
                        <a:pt x="143" y="0"/>
                      </a:moveTo>
                      <a:cubicBezTo>
                        <a:pt x="140" y="0"/>
                        <a:pt x="140" y="0"/>
                        <a:pt x="140" y="0"/>
                      </a:cubicBezTo>
                      <a:cubicBezTo>
                        <a:pt x="19" y="18"/>
                        <a:pt x="43" y="135"/>
                        <a:pt x="0" y="305"/>
                      </a:cubicBezTo>
                      <a:cubicBezTo>
                        <a:pt x="142" y="315"/>
                        <a:pt x="142" y="315"/>
                        <a:pt x="142" y="315"/>
                      </a:cubicBezTo>
                      <a:cubicBezTo>
                        <a:pt x="293" y="306"/>
                        <a:pt x="293" y="306"/>
                        <a:pt x="293" y="306"/>
                      </a:cubicBezTo>
                      <a:cubicBezTo>
                        <a:pt x="268" y="212"/>
                        <a:pt x="243" y="102"/>
                        <a:pt x="219" y="46"/>
                      </a:cubicBezTo>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64" name="Oval 7">
                  <a:extLst>
                    <a:ext uri="{FF2B5EF4-FFF2-40B4-BE49-F238E27FC236}">
                      <a16:creationId xmlns:a16="http://schemas.microsoft.com/office/drawing/2014/main" id="{E3FCAE6C-7649-4B77-9A54-563B0F902690}"/>
                    </a:ext>
                  </a:extLst>
                </p:cNvPr>
                <p:cNvSpPr>
                  <a:spLocks noChangeArrowheads="1"/>
                </p:cNvSpPr>
                <p:nvPr/>
              </p:nvSpPr>
              <p:spPr bwMode="auto">
                <a:xfrm>
                  <a:off x="3096260" y="1635545"/>
                  <a:ext cx="4771" cy="28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65" name="Freeform 8">
                  <a:extLst>
                    <a:ext uri="{FF2B5EF4-FFF2-40B4-BE49-F238E27FC236}">
                      <a16:creationId xmlns:a16="http://schemas.microsoft.com/office/drawing/2014/main" id="{B6301CEA-A081-47F2-B5D6-A29F5F57E561}"/>
                    </a:ext>
                  </a:extLst>
                </p:cNvPr>
                <p:cNvSpPr>
                  <a:spLocks/>
                </p:cNvSpPr>
                <p:nvPr/>
              </p:nvSpPr>
              <p:spPr bwMode="auto">
                <a:xfrm>
                  <a:off x="3167815" y="1516376"/>
                  <a:ext cx="71556" cy="83895"/>
                </a:xfrm>
                <a:custGeom>
                  <a:avLst/>
                  <a:gdLst>
                    <a:gd name="T0" fmla="*/ 4 w 85"/>
                    <a:gd name="T1" fmla="*/ 30 h 100"/>
                    <a:gd name="T2" fmla="*/ 67 w 85"/>
                    <a:gd name="T3" fmla="*/ 84 h 100"/>
                    <a:gd name="T4" fmla="*/ 69 w 85"/>
                    <a:gd name="T5" fmla="*/ 97 h 100"/>
                    <a:gd name="T6" fmla="*/ 84 w 85"/>
                    <a:gd name="T7" fmla="*/ 81 h 100"/>
                    <a:gd name="T8" fmla="*/ 85 w 85"/>
                    <a:gd name="T9" fmla="*/ 83 h 100"/>
                    <a:gd name="T10" fmla="*/ 5 w 85"/>
                    <a:gd name="T11" fmla="*/ 0 h 100"/>
                    <a:gd name="T12" fmla="*/ 0 w 85"/>
                    <a:gd name="T13" fmla="*/ 6 h 100"/>
                    <a:gd name="T14" fmla="*/ 0 w 85"/>
                    <a:gd name="T15" fmla="*/ 20 h 100"/>
                    <a:gd name="T16" fmla="*/ 4 w 85"/>
                    <a:gd name="T17" fmla="*/ 3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0">
                      <a:moveTo>
                        <a:pt x="4" y="30"/>
                      </a:moveTo>
                      <a:cubicBezTo>
                        <a:pt x="21" y="33"/>
                        <a:pt x="40" y="32"/>
                        <a:pt x="67" y="84"/>
                      </a:cubicBezTo>
                      <a:cubicBezTo>
                        <a:pt x="69" y="87"/>
                        <a:pt x="67" y="100"/>
                        <a:pt x="69" y="97"/>
                      </a:cubicBezTo>
                      <a:cubicBezTo>
                        <a:pt x="84" y="81"/>
                        <a:pt x="84" y="81"/>
                        <a:pt x="84" y="81"/>
                      </a:cubicBezTo>
                      <a:cubicBezTo>
                        <a:pt x="85" y="80"/>
                        <a:pt x="85" y="85"/>
                        <a:pt x="85" y="83"/>
                      </a:cubicBezTo>
                      <a:cubicBezTo>
                        <a:pt x="84" y="70"/>
                        <a:pt x="81" y="3"/>
                        <a:pt x="5" y="0"/>
                      </a:cubicBezTo>
                      <a:cubicBezTo>
                        <a:pt x="3" y="0"/>
                        <a:pt x="0" y="3"/>
                        <a:pt x="0" y="6"/>
                      </a:cubicBezTo>
                      <a:cubicBezTo>
                        <a:pt x="0" y="20"/>
                        <a:pt x="0" y="20"/>
                        <a:pt x="0" y="20"/>
                      </a:cubicBezTo>
                      <a:cubicBezTo>
                        <a:pt x="0" y="23"/>
                        <a:pt x="2" y="29"/>
                        <a:pt x="4" y="30"/>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66" name="Freeform 9">
                  <a:extLst>
                    <a:ext uri="{FF2B5EF4-FFF2-40B4-BE49-F238E27FC236}">
                      <a16:creationId xmlns:a16="http://schemas.microsoft.com/office/drawing/2014/main" id="{34A7CABE-E24E-4EC5-B8EB-C7E18BC285E4}"/>
                    </a:ext>
                  </a:extLst>
                </p:cNvPr>
                <p:cNvSpPr>
                  <a:spLocks/>
                </p:cNvSpPr>
                <p:nvPr/>
              </p:nvSpPr>
              <p:spPr bwMode="auto">
                <a:xfrm>
                  <a:off x="3088627" y="1516376"/>
                  <a:ext cx="77280" cy="83895"/>
                </a:xfrm>
                <a:custGeom>
                  <a:avLst/>
                  <a:gdLst>
                    <a:gd name="T0" fmla="*/ 92 w 92"/>
                    <a:gd name="T1" fmla="*/ 6 h 100"/>
                    <a:gd name="T2" fmla="*/ 92 w 92"/>
                    <a:gd name="T3" fmla="*/ 20 h 100"/>
                    <a:gd name="T4" fmla="*/ 87 w 92"/>
                    <a:gd name="T5" fmla="*/ 30 h 100"/>
                    <a:gd name="T6" fmla="*/ 25 w 92"/>
                    <a:gd name="T7" fmla="*/ 96 h 100"/>
                    <a:gd name="T8" fmla="*/ 16 w 92"/>
                    <a:gd name="T9" fmla="*/ 97 h 100"/>
                    <a:gd name="T10" fmla="*/ 2 w 92"/>
                    <a:gd name="T11" fmla="*/ 81 h 100"/>
                    <a:gd name="T12" fmla="*/ 0 w 92"/>
                    <a:gd name="T13" fmla="*/ 83 h 100"/>
                    <a:gd name="T14" fmla="*/ 86 w 92"/>
                    <a:gd name="T15" fmla="*/ 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00">
                      <a:moveTo>
                        <a:pt x="92" y="6"/>
                      </a:moveTo>
                      <a:cubicBezTo>
                        <a:pt x="92" y="20"/>
                        <a:pt x="92" y="20"/>
                        <a:pt x="92" y="20"/>
                      </a:cubicBezTo>
                      <a:cubicBezTo>
                        <a:pt x="92" y="23"/>
                        <a:pt x="90" y="29"/>
                        <a:pt x="87" y="30"/>
                      </a:cubicBezTo>
                      <a:cubicBezTo>
                        <a:pt x="71" y="33"/>
                        <a:pt x="51" y="44"/>
                        <a:pt x="25" y="96"/>
                      </a:cubicBezTo>
                      <a:cubicBezTo>
                        <a:pt x="23" y="99"/>
                        <a:pt x="19" y="100"/>
                        <a:pt x="16" y="97"/>
                      </a:cubicBezTo>
                      <a:cubicBezTo>
                        <a:pt x="2" y="81"/>
                        <a:pt x="2" y="81"/>
                        <a:pt x="2" y="81"/>
                      </a:cubicBezTo>
                      <a:cubicBezTo>
                        <a:pt x="1" y="80"/>
                        <a:pt x="0" y="85"/>
                        <a:pt x="0" y="83"/>
                      </a:cubicBezTo>
                      <a:cubicBezTo>
                        <a:pt x="2" y="70"/>
                        <a:pt x="11" y="3"/>
                        <a:pt x="86" y="0"/>
                      </a:cubicBezTo>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67" name="Freeform 10">
                  <a:extLst>
                    <a:ext uri="{FF2B5EF4-FFF2-40B4-BE49-F238E27FC236}">
                      <a16:creationId xmlns:a16="http://schemas.microsoft.com/office/drawing/2014/main" id="{CAB967C5-22C2-4A82-BB5D-96DB67571B78}"/>
                    </a:ext>
                  </a:extLst>
                </p:cNvPr>
                <p:cNvSpPr>
                  <a:spLocks/>
                </p:cNvSpPr>
                <p:nvPr/>
              </p:nvSpPr>
              <p:spPr bwMode="auto">
                <a:xfrm>
                  <a:off x="3111525" y="1518283"/>
                  <a:ext cx="125938" cy="67688"/>
                </a:xfrm>
                <a:custGeom>
                  <a:avLst/>
                  <a:gdLst>
                    <a:gd name="T0" fmla="*/ 134 w 150"/>
                    <a:gd name="T1" fmla="*/ 81 h 81"/>
                    <a:gd name="T2" fmla="*/ 0 w 150"/>
                    <a:gd name="T3" fmla="*/ 81 h 81"/>
                    <a:gd name="T4" fmla="*/ 0 w 150"/>
                    <a:gd name="T5" fmla="*/ 31 h 81"/>
                    <a:gd name="T6" fmla="*/ 62 w 150"/>
                    <a:gd name="T7" fmla="*/ 1 h 81"/>
                    <a:gd name="T8" fmla="*/ 86 w 150"/>
                    <a:gd name="T9" fmla="*/ 0 h 81"/>
                    <a:gd name="T10" fmla="*/ 135 w 150"/>
                    <a:gd name="T11" fmla="*/ 34 h 81"/>
                    <a:gd name="T12" fmla="*/ 140 w 150"/>
                    <a:gd name="T13" fmla="*/ 55 h 81"/>
                    <a:gd name="T14" fmla="*/ 134 w 150"/>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81">
                      <a:moveTo>
                        <a:pt x="134" y="81"/>
                      </a:moveTo>
                      <a:cubicBezTo>
                        <a:pt x="0" y="81"/>
                        <a:pt x="0" y="81"/>
                        <a:pt x="0" y="81"/>
                      </a:cubicBezTo>
                      <a:cubicBezTo>
                        <a:pt x="0" y="31"/>
                        <a:pt x="0" y="31"/>
                        <a:pt x="0" y="31"/>
                      </a:cubicBezTo>
                      <a:cubicBezTo>
                        <a:pt x="62" y="1"/>
                        <a:pt x="62" y="1"/>
                        <a:pt x="62" y="1"/>
                      </a:cubicBezTo>
                      <a:cubicBezTo>
                        <a:pt x="86" y="0"/>
                        <a:pt x="86" y="0"/>
                        <a:pt x="86" y="0"/>
                      </a:cubicBezTo>
                      <a:cubicBezTo>
                        <a:pt x="135" y="34"/>
                        <a:pt x="135" y="34"/>
                        <a:pt x="135" y="34"/>
                      </a:cubicBezTo>
                      <a:cubicBezTo>
                        <a:pt x="140" y="55"/>
                        <a:pt x="140" y="55"/>
                        <a:pt x="140" y="55"/>
                      </a:cubicBezTo>
                      <a:cubicBezTo>
                        <a:pt x="140" y="70"/>
                        <a:pt x="150" y="81"/>
                        <a:pt x="134" y="81"/>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68" name="Freeform 11">
                  <a:extLst>
                    <a:ext uri="{FF2B5EF4-FFF2-40B4-BE49-F238E27FC236}">
                      <a16:creationId xmlns:a16="http://schemas.microsoft.com/office/drawing/2014/main" id="{A2D0CA32-5F97-4DC3-BBC7-63B613F23E43}"/>
                    </a:ext>
                  </a:extLst>
                </p:cNvPr>
                <p:cNvSpPr>
                  <a:spLocks/>
                </p:cNvSpPr>
                <p:nvPr/>
              </p:nvSpPr>
              <p:spPr bwMode="auto">
                <a:xfrm>
                  <a:off x="3131560" y="1694652"/>
                  <a:ext cx="72510" cy="59108"/>
                </a:xfrm>
                <a:custGeom>
                  <a:avLst/>
                  <a:gdLst>
                    <a:gd name="T0" fmla="*/ 43 w 86"/>
                    <a:gd name="T1" fmla="*/ 71 h 71"/>
                    <a:gd name="T2" fmla="*/ 0 w 86"/>
                    <a:gd name="T3" fmla="*/ 32 h 71"/>
                    <a:gd name="T4" fmla="*/ 0 w 86"/>
                    <a:gd name="T5" fmla="*/ 0 h 71"/>
                    <a:gd name="T6" fmla="*/ 86 w 86"/>
                    <a:gd name="T7" fmla="*/ 0 h 71"/>
                    <a:gd name="T8" fmla="*/ 86 w 86"/>
                    <a:gd name="T9" fmla="*/ 31 h 71"/>
                    <a:gd name="T10" fmla="*/ 43 w 86"/>
                    <a:gd name="T11" fmla="*/ 71 h 71"/>
                  </a:gdLst>
                  <a:ahLst/>
                  <a:cxnLst>
                    <a:cxn ang="0">
                      <a:pos x="T0" y="T1"/>
                    </a:cxn>
                    <a:cxn ang="0">
                      <a:pos x="T2" y="T3"/>
                    </a:cxn>
                    <a:cxn ang="0">
                      <a:pos x="T4" y="T5"/>
                    </a:cxn>
                    <a:cxn ang="0">
                      <a:pos x="T6" y="T7"/>
                    </a:cxn>
                    <a:cxn ang="0">
                      <a:pos x="T8" y="T9"/>
                    </a:cxn>
                    <a:cxn ang="0">
                      <a:pos x="T10" y="T11"/>
                    </a:cxn>
                  </a:cxnLst>
                  <a:rect l="0" t="0" r="r" b="b"/>
                  <a:pathLst>
                    <a:path w="86" h="71">
                      <a:moveTo>
                        <a:pt x="43" y="71"/>
                      </a:moveTo>
                      <a:cubicBezTo>
                        <a:pt x="19" y="71"/>
                        <a:pt x="0" y="56"/>
                        <a:pt x="0" y="32"/>
                      </a:cubicBezTo>
                      <a:cubicBezTo>
                        <a:pt x="0" y="0"/>
                        <a:pt x="0" y="0"/>
                        <a:pt x="0" y="0"/>
                      </a:cubicBezTo>
                      <a:cubicBezTo>
                        <a:pt x="86" y="0"/>
                        <a:pt x="86" y="0"/>
                        <a:pt x="86" y="0"/>
                      </a:cubicBezTo>
                      <a:cubicBezTo>
                        <a:pt x="86" y="31"/>
                        <a:pt x="86" y="31"/>
                        <a:pt x="86" y="31"/>
                      </a:cubicBezTo>
                      <a:cubicBezTo>
                        <a:pt x="86" y="55"/>
                        <a:pt x="67" y="71"/>
                        <a:pt x="43" y="71"/>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69" name="Freeform 12">
                  <a:extLst>
                    <a:ext uri="{FF2B5EF4-FFF2-40B4-BE49-F238E27FC236}">
                      <a16:creationId xmlns:a16="http://schemas.microsoft.com/office/drawing/2014/main" id="{A3147394-5534-42D7-B7BF-1D1E17567748}"/>
                    </a:ext>
                  </a:extLst>
                </p:cNvPr>
                <p:cNvSpPr>
                  <a:spLocks/>
                </p:cNvSpPr>
                <p:nvPr/>
              </p:nvSpPr>
              <p:spPr bwMode="auto">
                <a:xfrm>
                  <a:off x="3045694" y="1704186"/>
                  <a:ext cx="86821" cy="87708"/>
                </a:xfrm>
                <a:custGeom>
                  <a:avLst/>
                  <a:gdLst>
                    <a:gd name="T0" fmla="*/ 102 w 103"/>
                    <a:gd name="T1" fmla="*/ 33 h 105"/>
                    <a:gd name="T2" fmla="*/ 102 w 103"/>
                    <a:gd name="T3" fmla="*/ 9 h 105"/>
                    <a:gd name="T4" fmla="*/ 98 w 103"/>
                    <a:gd name="T5" fmla="*/ 2 h 105"/>
                    <a:gd name="T6" fmla="*/ 95 w 103"/>
                    <a:gd name="T7" fmla="*/ 1 h 105"/>
                    <a:gd name="T8" fmla="*/ 82 w 103"/>
                    <a:gd name="T9" fmla="*/ 4 h 105"/>
                    <a:gd name="T10" fmla="*/ 21 w 103"/>
                    <a:gd name="T11" fmla="*/ 9 h 105"/>
                    <a:gd name="T12" fmla="*/ 17 w 103"/>
                    <a:gd name="T13" fmla="*/ 12 h 105"/>
                    <a:gd name="T14" fmla="*/ 3 w 103"/>
                    <a:gd name="T15" fmla="*/ 80 h 105"/>
                    <a:gd name="T16" fmla="*/ 20 w 103"/>
                    <a:gd name="T17" fmla="*/ 99 h 105"/>
                    <a:gd name="T18" fmla="*/ 99 w 103"/>
                    <a:gd name="T19" fmla="*/ 105 h 105"/>
                    <a:gd name="T20" fmla="*/ 102 w 103"/>
                    <a:gd name="T21" fmla="*/ 101 h 105"/>
                    <a:gd name="T22" fmla="*/ 102 w 103"/>
                    <a:gd name="T23" fmla="*/ 3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5">
                      <a:moveTo>
                        <a:pt x="102" y="33"/>
                      </a:moveTo>
                      <a:cubicBezTo>
                        <a:pt x="102" y="9"/>
                        <a:pt x="102" y="9"/>
                        <a:pt x="102" y="9"/>
                      </a:cubicBezTo>
                      <a:cubicBezTo>
                        <a:pt x="98" y="2"/>
                        <a:pt x="98" y="2"/>
                        <a:pt x="98" y="2"/>
                      </a:cubicBezTo>
                      <a:cubicBezTo>
                        <a:pt x="98" y="1"/>
                        <a:pt x="96" y="0"/>
                        <a:pt x="95" y="1"/>
                      </a:cubicBezTo>
                      <a:cubicBezTo>
                        <a:pt x="90" y="2"/>
                        <a:pt x="86" y="3"/>
                        <a:pt x="82" y="4"/>
                      </a:cubicBezTo>
                      <a:cubicBezTo>
                        <a:pt x="62" y="9"/>
                        <a:pt x="41" y="13"/>
                        <a:pt x="21" y="9"/>
                      </a:cubicBezTo>
                      <a:cubicBezTo>
                        <a:pt x="20" y="9"/>
                        <a:pt x="18" y="10"/>
                        <a:pt x="17" y="12"/>
                      </a:cubicBezTo>
                      <a:cubicBezTo>
                        <a:pt x="14" y="33"/>
                        <a:pt x="8" y="57"/>
                        <a:pt x="3" y="80"/>
                      </a:cubicBezTo>
                      <a:cubicBezTo>
                        <a:pt x="0" y="91"/>
                        <a:pt x="9" y="99"/>
                        <a:pt x="20" y="99"/>
                      </a:cubicBezTo>
                      <a:cubicBezTo>
                        <a:pt x="99" y="105"/>
                        <a:pt x="99" y="105"/>
                        <a:pt x="99" y="105"/>
                      </a:cubicBezTo>
                      <a:cubicBezTo>
                        <a:pt x="101" y="105"/>
                        <a:pt x="103" y="103"/>
                        <a:pt x="102" y="101"/>
                      </a:cubicBezTo>
                      <a:cubicBezTo>
                        <a:pt x="100" y="79"/>
                        <a:pt x="101" y="56"/>
                        <a:pt x="102" y="33"/>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0" name="Freeform 13">
                  <a:extLst>
                    <a:ext uri="{FF2B5EF4-FFF2-40B4-BE49-F238E27FC236}">
                      <a16:creationId xmlns:a16="http://schemas.microsoft.com/office/drawing/2014/main" id="{D023D676-E2F2-4522-AEB4-0AFC961CD98C}"/>
                    </a:ext>
                  </a:extLst>
                </p:cNvPr>
                <p:cNvSpPr>
                  <a:spLocks/>
                </p:cNvSpPr>
                <p:nvPr/>
              </p:nvSpPr>
              <p:spPr bwMode="auto">
                <a:xfrm>
                  <a:off x="3184035" y="2246640"/>
                  <a:ext cx="78234" cy="326045"/>
                </a:xfrm>
                <a:custGeom>
                  <a:avLst/>
                  <a:gdLst>
                    <a:gd name="T0" fmla="*/ 92 w 93"/>
                    <a:gd name="T1" fmla="*/ 42 h 390"/>
                    <a:gd name="T2" fmla="*/ 58 w 93"/>
                    <a:gd name="T3" fmla="*/ 2 h 390"/>
                    <a:gd name="T4" fmla="*/ 19 w 93"/>
                    <a:gd name="T5" fmla="*/ 36 h 390"/>
                    <a:gd name="T6" fmla="*/ 0 w 93"/>
                    <a:gd name="T7" fmla="*/ 375 h 390"/>
                    <a:gd name="T8" fmla="*/ 41 w 93"/>
                    <a:gd name="T9" fmla="*/ 378 h 390"/>
                    <a:gd name="T10" fmla="*/ 92 w 93"/>
                    <a:gd name="T11" fmla="*/ 42 h 390"/>
                  </a:gdLst>
                  <a:ahLst/>
                  <a:cxnLst>
                    <a:cxn ang="0">
                      <a:pos x="T0" y="T1"/>
                    </a:cxn>
                    <a:cxn ang="0">
                      <a:pos x="T2" y="T3"/>
                    </a:cxn>
                    <a:cxn ang="0">
                      <a:pos x="T4" y="T5"/>
                    </a:cxn>
                    <a:cxn ang="0">
                      <a:pos x="T6" y="T7"/>
                    </a:cxn>
                    <a:cxn ang="0">
                      <a:pos x="T8" y="T9"/>
                    </a:cxn>
                    <a:cxn ang="0">
                      <a:pos x="T10" y="T11"/>
                    </a:cxn>
                  </a:cxnLst>
                  <a:rect l="0" t="0" r="r" b="b"/>
                  <a:pathLst>
                    <a:path w="93" h="390">
                      <a:moveTo>
                        <a:pt x="92" y="42"/>
                      </a:moveTo>
                      <a:cubicBezTo>
                        <a:pt x="93" y="21"/>
                        <a:pt x="78" y="4"/>
                        <a:pt x="58" y="2"/>
                      </a:cubicBezTo>
                      <a:cubicBezTo>
                        <a:pt x="38" y="0"/>
                        <a:pt x="20" y="16"/>
                        <a:pt x="19" y="36"/>
                      </a:cubicBezTo>
                      <a:cubicBezTo>
                        <a:pt x="0" y="375"/>
                        <a:pt x="0" y="375"/>
                        <a:pt x="0" y="375"/>
                      </a:cubicBezTo>
                      <a:cubicBezTo>
                        <a:pt x="0" y="386"/>
                        <a:pt x="40" y="390"/>
                        <a:pt x="41" y="378"/>
                      </a:cubicBezTo>
                      <a:lnTo>
                        <a:pt x="92" y="4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1" name="Freeform 14">
                  <a:extLst>
                    <a:ext uri="{FF2B5EF4-FFF2-40B4-BE49-F238E27FC236}">
                      <a16:creationId xmlns:a16="http://schemas.microsoft.com/office/drawing/2014/main" id="{80E47A7D-5FF5-422A-B43F-EFD5E1879E4A}"/>
                    </a:ext>
                  </a:extLst>
                </p:cNvPr>
                <p:cNvSpPr>
                  <a:spLocks/>
                </p:cNvSpPr>
                <p:nvPr/>
              </p:nvSpPr>
              <p:spPr bwMode="auto">
                <a:xfrm>
                  <a:off x="3078132" y="2246640"/>
                  <a:ext cx="79188" cy="326045"/>
                </a:xfrm>
                <a:custGeom>
                  <a:avLst/>
                  <a:gdLst>
                    <a:gd name="T0" fmla="*/ 2 w 94"/>
                    <a:gd name="T1" fmla="*/ 42 h 390"/>
                    <a:gd name="T2" fmla="*/ 35 w 94"/>
                    <a:gd name="T3" fmla="*/ 2 h 390"/>
                    <a:gd name="T4" fmla="*/ 75 w 94"/>
                    <a:gd name="T5" fmla="*/ 36 h 390"/>
                    <a:gd name="T6" fmla="*/ 94 w 94"/>
                    <a:gd name="T7" fmla="*/ 375 h 390"/>
                    <a:gd name="T8" fmla="*/ 52 w 94"/>
                    <a:gd name="T9" fmla="*/ 378 h 390"/>
                    <a:gd name="T10" fmla="*/ 2 w 94"/>
                    <a:gd name="T11" fmla="*/ 42 h 390"/>
                  </a:gdLst>
                  <a:ahLst/>
                  <a:cxnLst>
                    <a:cxn ang="0">
                      <a:pos x="T0" y="T1"/>
                    </a:cxn>
                    <a:cxn ang="0">
                      <a:pos x="T2" y="T3"/>
                    </a:cxn>
                    <a:cxn ang="0">
                      <a:pos x="T4" y="T5"/>
                    </a:cxn>
                    <a:cxn ang="0">
                      <a:pos x="T6" y="T7"/>
                    </a:cxn>
                    <a:cxn ang="0">
                      <a:pos x="T8" y="T9"/>
                    </a:cxn>
                    <a:cxn ang="0">
                      <a:pos x="T10" y="T11"/>
                    </a:cxn>
                  </a:cxnLst>
                  <a:rect l="0" t="0" r="r" b="b"/>
                  <a:pathLst>
                    <a:path w="94" h="390">
                      <a:moveTo>
                        <a:pt x="2" y="42"/>
                      </a:moveTo>
                      <a:cubicBezTo>
                        <a:pt x="0" y="21"/>
                        <a:pt x="15" y="4"/>
                        <a:pt x="35" y="2"/>
                      </a:cubicBezTo>
                      <a:cubicBezTo>
                        <a:pt x="56" y="0"/>
                        <a:pt x="73" y="16"/>
                        <a:pt x="75" y="36"/>
                      </a:cubicBezTo>
                      <a:cubicBezTo>
                        <a:pt x="94" y="375"/>
                        <a:pt x="94" y="375"/>
                        <a:pt x="94" y="375"/>
                      </a:cubicBezTo>
                      <a:cubicBezTo>
                        <a:pt x="93" y="386"/>
                        <a:pt x="53" y="390"/>
                        <a:pt x="52" y="378"/>
                      </a:cubicBezTo>
                      <a:lnTo>
                        <a:pt x="2" y="4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2" name="Freeform 15">
                  <a:extLst>
                    <a:ext uri="{FF2B5EF4-FFF2-40B4-BE49-F238E27FC236}">
                      <a16:creationId xmlns:a16="http://schemas.microsoft.com/office/drawing/2014/main" id="{431A3FFA-6B6A-40BB-9D3F-9C206B8935FA}"/>
                    </a:ext>
                  </a:extLst>
                </p:cNvPr>
                <p:cNvSpPr>
                  <a:spLocks/>
                </p:cNvSpPr>
                <p:nvPr/>
              </p:nvSpPr>
              <p:spPr bwMode="auto">
                <a:xfrm>
                  <a:off x="3065730" y="1989236"/>
                  <a:ext cx="136433" cy="558661"/>
                </a:xfrm>
                <a:custGeom>
                  <a:avLst/>
                  <a:gdLst>
                    <a:gd name="T0" fmla="*/ 108 w 162"/>
                    <a:gd name="T1" fmla="*/ 350 h 668"/>
                    <a:gd name="T2" fmla="*/ 112 w 162"/>
                    <a:gd name="T3" fmla="*/ 668 h 668"/>
                    <a:gd name="T4" fmla="*/ 51 w 162"/>
                    <a:gd name="T5" fmla="*/ 668 h 668"/>
                    <a:gd name="T6" fmla="*/ 2 w 162"/>
                    <a:gd name="T7" fmla="*/ 356 h 668"/>
                    <a:gd name="T8" fmla="*/ 0 w 162"/>
                    <a:gd name="T9" fmla="*/ 32 h 668"/>
                    <a:gd name="T10" fmla="*/ 128 w 162"/>
                    <a:gd name="T11" fmla="*/ 0 h 668"/>
                    <a:gd name="T12" fmla="*/ 108 w 162"/>
                    <a:gd name="T13" fmla="*/ 350 h 668"/>
                  </a:gdLst>
                  <a:ahLst/>
                  <a:cxnLst>
                    <a:cxn ang="0">
                      <a:pos x="T0" y="T1"/>
                    </a:cxn>
                    <a:cxn ang="0">
                      <a:pos x="T2" y="T3"/>
                    </a:cxn>
                    <a:cxn ang="0">
                      <a:pos x="T4" y="T5"/>
                    </a:cxn>
                    <a:cxn ang="0">
                      <a:pos x="T6" y="T7"/>
                    </a:cxn>
                    <a:cxn ang="0">
                      <a:pos x="T8" y="T9"/>
                    </a:cxn>
                    <a:cxn ang="0">
                      <a:pos x="T10" y="T11"/>
                    </a:cxn>
                    <a:cxn ang="0">
                      <a:pos x="T12" y="T13"/>
                    </a:cxn>
                  </a:cxnLst>
                  <a:rect l="0" t="0" r="r" b="b"/>
                  <a:pathLst>
                    <a:path w="162" h="668">
                      <a:moveTo>
                        <a:pt x="108" y="350"/>
                      </a:moveTo>
                      <a:cubicBezTo>
                        <a:pt x="112" y="668"/>
                        <a:pt x="112" y="668"/>
                        <a:pt x="112" y="668"/>
                      </a:cubicBezTo>
                      <a:cubicBezTo>
                        <a:pt x="51" y="668"/>
                        <a:pt x="51" y="668"/>
                        <a:pt x="51" y="668"/>
                      </a:cubicBezTo>
                      <a:cubicBezTo>
                        <a:pt x="2" y="356"/>
                        <a:pt x="2" y="356"/>
                        <a:pt x="2" y="356"/>
                      </a:cubicBezTo>
                      <a:cubicBezTo>
                        <a:pt x="0" y="32"/>
                        <a:pt x="0" y="32"/>
                        <a:pt x="0" y="32"/>
                      </a:cubicBezTo>
                      <a:cubicBezTo>
                        <a:pt x="128" y="0"/>
                        <a:pt x="128" y="0"/>
                        <a:pt x="128" y="0"/>
                      </a:cubicBezTo>
                      <a:cubicBezTo>
                        <a:pt x="162" y="98"/>
                        <a:pt x="107" y="238"/>
                        <a:pt x="108" y="35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3" name="Freeform 16">
                  <a:extLst>
                    <a:ext uri="{FF2B5EF4-FFF2-40B4-BE49-F238E27FC236}">
                      <a16:creationId xmlns:a16="http://schemas.microsoft.com/office/drawing/2014/main" id="{83293B41-CF1E-491F-8758-DC09C9087336}"/>
                    </a:ext>
                  </a:extLst>
                </p:cNvPr>
                <p:cNvSpPr>
                  <a:spLocks/>
                </p:cNvSpPr>
                <p:nvPr/>
              </p:nvSpPr>
              <p:spPr bwMode="auto">
                <a:xfrm>
                  <a:off x="3171631" y="1989236"/>
                  <a:ext cx="103040" cy="558661"/>
                </a:xfrm>
                <a:custGeom>
                  <a:avLst/>
                  <a:gdLst>
                    <a:gd name="T0" fmla="*/ 7 w 108"/>
                    <a:gd name="T1" fmla="*/ 586 h 586"/>
                    <a:gd name="T2" fmla="*/ 59 w 108"/>
                    <a:gd name="T3" fmla="*/ 586 h 586"/>
                    <a:gd name="T4" fmla="*/ 108 w 108"/>
                    <a:gd name="T5" fmla="*/ 306 h 586"/>
                    <a:gd name="T6" fmla="*/ 104 w 108"/>
                    <a:gd name="T7" fmla="*/ 0 h 586"/>
                    <a:gd name="T8" fmla="*/ 0 w 108"/>
                    <a:gd name="T9" fmla="*/ 0 h 586"/>
                    <a:gd name="T10" fmla="*/ 15 w 108"/>
                    <a:gd name="T11" fmla="*/ 308 h 586"/>
                    <a:gd name="T12" fmla="*/ 7 w 108"/>
                    <a:gd name="T13" fmla="*/ 586 h 586"/>
                  </a:gdLst>
                  <a:ahLst/>
                  <a:cxnLst>
                    <a:cxn ang="0">
                      <a:pos x="T0" y="T1"/>
                    </a:cxn>
                    <a:cxn ang="0">
                      <a:pos x="T2" y="T3"/>
                    </a:cxn>
                    <a:cxn ang="0">
                      <a:pos x="T4" y="T5"/>
                    </a:cxn>
                    <a:cxn ang="0">
                      <a:pos x="T6" y="T7"/>
                    </a:cxn>
                    <a:cxn ang="0">
                      <a:pos x="T8" y="T9"/>
                    </a:cxn>
                    <a:cxn ang="0">
                      <a:pos x="T10" y="T11"/>
                    </a:cxn>
                    <a:cxn ang="0">
                      <a:pos x="T12" y="T13"/>
                    </a:cxn>
                  </a:cxnLst>
                  <a:rect l="0" t="0" r="r" b="b"/>
                  <a:pathLst>
                    <a:path w="108" h="586">
                      <a:moveTo>
                        <a:pt x="7" y="586"/>
                      </a:moveTo>
                      <a:lnTo>
                        <a:pt x="59" y="586"/>
                      </a:lnTo>
                      <a:lnTo>
                        <a:pt x="108" y="306"/>
                      </a:lnTo>
                      <a:lnTo>
                        <a:pt x="104" y="0"/>
                      </a:lnTo>
                      <a:lnTo>
                        <a:pt x="0" y="0"/>
                      </a:lnTo>
                      <a:lnTo>
                        <a:pt x="15" y="308"/>
                      </a:lnTo>
                      <a:lnTo>
                        <a:pt x="7" y="58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4" name="Freeform 17">
                  <a:extLst>
                    <a:ext uri="{FF2B5EF4-FFF2-40B4-BE49-F238E27FC236}">
                      <a16:creationId xmlns:a16="http://schemas.microsoft.com/office/drawing/2014/main" id="{0DC4CA32-59FD-410D-827A-A6E1390EBBFB}"/>
                    </a:ext>
                  </a:extLst>
                </p:cNvPr>
                <p:cNvSpPr>
                  <a:spLocks/>
                </p:cNvSpPr>
                <p:nvPr/>
              </p:nvSpPr>
              <p:spPr bwMode="auto">
                <a:xfrm>
                  <a:off x="3181172" y="2577451"/>
                  <a:ext cx="165055" cy="41947"/>
                </a:xfrm>
                <a:custGeom>
                  <a:avLst/>
                  <a:gdLst>
                    <a:gd name="T0" fmla="*/ 0 w 196"/>
                    <a:gd name="T1" fmla="*/ 4 h 50"/>
                    <a:gd name="T2" fmla="*/ 0 w 196"/>
                    <a:gd name="T3" fmla="*/ 34 h 50"/>
                    <a:gd name="T4" fmla="*/ 18 w 196"/>
                    <a:gd name="T5" fmla="*/ 45 h 50"/>
                    <a:gd name="T6" fmla="*/ 112 w 196"/>
                    <a:gd name="T7" fmla="*/ 50 h 50"/>
                    <a:gd name="T8" fmla="*/ 176 w 196"/>
                    <a:gd name="T9" fmla="*/ 46 h 50"/>
                    <a:gd name="T10" fmla="*/ 182 w 196"/>
                    <a:gd name="T11" fmla="*/ 31 h 50"/>
                    <a:gd name="T12" fmla="*/ 95 w 196"/>
                    <a:gd name="T13" fmla="*/ 7 h 50"/>
                    <a:gd name="T14" fmla="*/ 0 w 196"/>
                    <a:gd name="T15" fmla="*/ 4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6" h="50">
                      <a:moveTo>
                        <a:pt x="0" y="4"/>
                      </a:moveTo>
                      <a:cubicBezTo>
                        <a:pt x="0" y="34"/>
                        <a:pt x="0" y="34"/>
                        <a:pt x="0" y="34"/>
                      </a:cubicBezTo>
                      <a:cubicBezTo>
                        <a:pt x="2" y="42"/>
                        <a:pt x="8" y="44"/>
                        <a:pt x="18" y="45"/>
                      </a:cubicBezTo>
                      <a:cubicBezTo>
                        <a:pt x="112" y="50"/>
                        <a:pt x="112" y="50"/>
                        <a:pt x="112" y="50"/>
                      </a:cubicBezTo>
                      <a:cubicBezTo>
                        <a:pt x="128" y="50"/>
                        <a:pt x="176" y="46"/>
                        <a:pt x="176" y="46"/>
                      </a:cubicBezTo>
                      <a:cubicBezTo>
                        <a:pt x="196" y="41"/>
                        <a:pt x="186" y="32"/>
                        <a:pt x="182" y="31"/>
                      </a:cubicBezTo>
                      <a:cubicBezTo>
                        <a:pt x="165" y="30"/>
                        <a:pt x="126" y="17"/>
                        <a:pt x="95" y="7"/>
                      </a:cubicBezTo>
                      <a:cubicBezTo>
                        <a:pt x="68" y="0"/>
                        <a:pt x="0" y="4"/>
                        <a:pt x="0" y="4"/>
                      </a:cubicBezTo>
                      <a:close/>
                    </a:path>
                  </a:pathLst>
                </a:custGeom>
                <a:solidFill>
                  <a:srgbClr val="2528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5" name="Freeform 18">
                  <a:extLst>
                    <a:ext uri="{FF2B5EF4-FFF2-40B4-BE49-F238E27FC236}">
                      <a16:creationId xmlns:a16="http://schemas.microsoft.com/office/drawing/2014/main" id="{7C82C6A8-D7A2-4061-83C0-02E83D16AA90}"/>
                    </a:ext>
                  </a:extLst>
                </p:cNvPr>
                <p:cNvSpPr>
                  <a:spLocks/>
                </p:cNvSpPr>
                <p:nvPr/>
              </p:nvSpPr>
              <p:spPr bwMode="auto">
                <a:xfrm>
                  <a:off x="3180218" y="2558384"/>
                  <a:ext cx="110672" cy="36227"/>
                </a:xfrm>
                <a:custGeom>
                  <a:avLst/>
                  <a:gdLst>
                    <a:gd name="T0" fmla="*/ 4 w 131"/>
                    <a:gd name="T1" fmla="*/ 1 h 44"/>
                    <a:gd name="T2" fmla="*/ 1 w 131"/>
                    <a:gd name="T3" fmla="*/ 27 h 44"/>
                    <a:gd name="T4" fmla="*/ 113 w 131"/>
                    <a:gd name="T5" fmla="*/ 44 h 44"/>
                    <a:gd name="T6" fmla="*/ 125 w 131"/>
                    <a:gd name="T7" fmla="*/ 39 h 44"/>
                    <a:gd name="T8" fmla="*/ 46 w 131"/>
                    <a:gd name="T9" fmla="*/ 0 h 44"/>
                    <a:gd name="T10" fmla="*/ 4 w 131"/>
                    <a:gd name="T11" fmla="*/ 1 h 44"/>
                  </a:gdLst>
                  <a:ahLst/>
                  <a:cxnLst>
                    <a:cxn ang="0">
                      <a:pos x="T0" y="T1"/>
                    </a:cxn>
                    <a:cxn ang="0">
                      <a:pos x="T2" y="T3"/>
                    </a:cxn>
                    <a:cxn ang="0">
                      <a:pos x="T4" y="T5"/>
                    </a:cxn>
                    <a:cxn ang="0">
                      <a:pos x="T6" y="T7"/>
                    </a:cxn>
                    <a:cxn ang="0">
                      <a:pos x="T8" y="T9"/>
                    </a:cxn>
                    <a:cxn ang="0">
                      <a:pos x="T10" y="T11"/>
                    </a:cxn>
                  </a:cxnLst>
                  <a:rect l="0" t="0" r="r" b="b"/>
                  <a:pathLst>
                    <a:path w="131" h="44">
                      <a:moveTo>
                        <a:pt x="4" y="1"/>
                      </a:moveTo>
                      <a:cubicBezTo>
                        <a:pt x="3" y="11"/>
                        <a:pt x="0" y="21"/>
                        <a:pt x="1" y="27"/>
                      </a:cubicBezTo>
                      <a:cubicBezTo>
                        <a:pt x="2" y="35"/>
                        <a:pt x="113" y="44"/>
                        <a:pt x="113" y="44"/>
                      </a:cubicBezTo>
                      <a:cubicBezTo>
                        <a:pt x="115" y="44"/>
                        <a:pt x="131" y="41"/>
                        <a:pt x="125" y="39"/>
                      </a:cubicBezTo>
                      <a:cubicBezTo>
                        <a:pt x="99" y="32"/>
                        <a:pt x="45" y="11"/>
                        <a:pt x="46" y="0"/>
                      </a:cubicBezTo>
                      <a:lnTo>
                        <a:pt x="4" y="1"/>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6" name="Freeform 19">
                  <a:extLst>
                    <a:ext uri="{FF2B5EF4-FFF2-40B4-BE49-F238E27FC236}">
                      <a16:creationId xmlns:a16="http://schemas.microsoft.com/office/drawing/2014/main" id="{9B73204C-57F1-48F3-BBA0-A761D84997CD}"/>
                    </a:ext>
                  </a:extLst>
                </p:cNvPr>
                <p:cNvSpPr>
                  <a:spLocks/>
                </p:cNvSpPr>
                <p:nvPr/>
              </p:nvSpPr>
              <p:spPr bwMode="auto">
                <a:xfrm>
                  <a:off x="2997036" y="2578404"/>
                  <a:ext cx="164101" cy="44808"/>
                </a:xfrm>
                <a:custGeom>
                  <a:avLst/>
                  <a:gdLst>
                    <a:gd name="T0" fmla="*/ 194 w 195"/>
                    <a:gd name="T1" fmla="*/ 0 h 53"/>
                    <a:gd name="T2" fmla="*/ 195 w 195"/>
                    <a:gd name="T3" fmla="*/ 31 h 53"/>
                    <a:gd name="T4" fmla="*/ 177 w 195"/>
                    <a:gd name="T5" fmla="*/ 42 h 53"/>
                    <a:gd name="T6" fmla="*/ 84 w 195"/>
                    <a:gd name="T7" fmla="*/ 51 h 53"/>
                    <a:gd name="T8" fmla="*/ 20 w 195"/>
                    <a:gd name="T9" fmla="*/ 51 h 53"/>
                    <a:gd name="T10" fmla="*/ 13 w 195"/>
                    <a:gd name="T11" fmla="*/ 37 h 53"/>
                    <a:gd name="T12" fmla="*/ 99 w 195"/>
                    <a:gd name="T13" fmla="*/ 9 h 53"/>
                    <a:gd name="T14" fmla="*/ 194 w 195"/>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53">
                      <a:moveTo>
                        <a:pt x="194" y="0"/>
                      </a:moveTo>
                      <a:cubicBezTo>
                        <a:pt x="195" y="31"/>
                        <a:pt x="195" y="31"/>
                        <a:pt x="195" y="31"/>
                      </a:cubicBezTo>
                      <a:cubicBezTo>
                        <a:pt x="194" y="38"/>
                        <a:pt x="188" y="41"/>
                        <a:pt x="177" y="42"/>
                      </a:cubicBezTo>
                      <a:cubicBezTo>
                        <a:pt x="84" y="51"/>
                        <a:pt x="84" y="51"/>
                        <a:pt x="84" y="51"/>
                      </a:cubicBezTo>
                      <a:cubicBezTo>
                        <a:pt x="68" y="53"/>
                        <a:pt x="20" y="51"/>
                        <a:pt x="20" y="51"/>
                      </a:cubicBezTo>
                      <a:cubicBezTo>
                        <a:pt x="0" y="48"/>
                        <a:pt x="9" y="38"/>
                        <a:pt x="13" y="37"/>
                      </a:cubicBezTo>
                      <a:cubicBezTo>
                        <a:pt x="30" y="35"/>
                        <a:pt x="68" y="20"/>
                        <a:pt x="99" y="9"/>
                      </a:cubicBezTo>
                      <a:cubicBezTo>
                        <a:pt x="125" y="0"/>
                        <a:pt x="194" y="0"/>
                        <a:pt x="194" y="0"/>
                      </a:cubicBezTo>
                      <a:close/>
                    </a:path>
                  </a:pathLst>
                </a:custGeom>
                <a:solidFill>
                  <a:srgbClr val="2528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7" name="Freeform 20">
                  <a:extLst>
                    <a:ext uri="{FF2B5EF4-FFF2-40B4-BE49-F238E27FC236}">
                      <a16:creationId xmlns:a16="http://schemas.microsoft.com/office/drawing/2014/main" id="{B26BABDA-CAE9-4B47-A3A0-0C223EB2AC85}"/>
                    </a:ext>
                  </a:extLst>
                </p:cNvPr>
                <p:cNvSpPr>
                  <a:spLocks/>
                </p:cNvSpPr>
                <p:nvPr/>
              </p:nvSpPr>
              <p:spPr bwMode="auto">
                <a:xfrm>
                  <a:off x="3051418" y="2558384"/>
                  <a:ext cx="108764" cy="40041"/>
                </a:xfrm>
                <a:custGeom>
                  <a:avLst/>
                  <a:gdLst>
                    <a:gd name="T0" fmla="*/ 126 w 130"/>
                    <a:gd name="T1" fmla="*/ 0 h 48"/>
                    <a:gd name="T2" fmla="*/ 129 w 130"/>
                    <a:gd name="T3" fmla="*/ 25 h 48"/>
                    <a:gd name="T4" fmla="*/ 19 w 130"/>
                    <a:gd name="T5" fmla="*/ 48 h 48"/>
                    <a:gd name="T6" fmla="*/ 6 w 130"/>
                    <a:gd name="T7" fmla="*/ 44 h 48"/>
                    <a:gd name="T8" fmla="*/ 83 w 130"/>
                    <a:gd name="T9" fmla="*/ 1 h 48"/>
                    <a:gd name="T10" fmla="*/ 126 w 130"/>
                    <a:gd name="T11" fmla="*/ 0 h 48"/>
                  </a:gdLst>
                  <a:ahLst/>
                  <a:cxnLst>
                    <a:cxn ang="0">
                      <a:pos x="T0" y="T1"/>
                    </a:cxn>
                    <a:cxn ang="0">
                      <a:pos x="T2" y="T3"/>
                    </a:cxn>
                    <a:cxn ang="0">
                      <a:pos x="T4" y="T5"/>
                    </a:cxn>
                    <a:cxn ang="0">
                      <a:pos x="T6" y="T7"/>
                    </a:cxn>
                    <a:cxn ang="0">
                      <a:pos x="T8" y="T9"/>
                    </a:cxn>
                    <a:cxn ang="0">
                      <a:pos x="T10" y="T11"/>
                    </a:cxn>
                  </a:cxnLst>
                  <a:rect l="0" t="0" r="r" b="b"/>
                  <a:pathLst>
                    <a:path w="130" h="48">
                      <a:moveTo>
                        <a:pt x="126" y="0"/>
                      </a:moveTo>
                      <a:cubicBezTo>
                        <a:pt x="126" y="10"/>
                        <a:pt x="130" y="21"/>
                        <a:pt x="129" y="25"/>
                      </a:cubicBezTo>
                      <a:cubicBezTo>
                        <a:pt x="129" y="34"/>
                        <a:pt x="19" y="48"/>
                        <a:pt x="19" y="48"/>
                      </a:cubicBezTo>
                      <a:cubicBezTo>
                        <a:pt x="16" y="48"/>
                        <a:pt x="0" y="46"/>
                        <a:pt x="6" y="44"/>
                      </a:cubicBezTo>
                      <a:cubicBezTo>
                        <a:pt x="32" y="35"/>
                        <a:pt x="85" y="11"/>
                        <a:pt x="83" y="1"/>
                      </a:cubicBezTo>
                      <a:lnTo>
                        <a:pt x="126" y="0"/>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8" name="Freeform 21">
                  <a:extLst>
                    <a:ext uri="{FF2B5EF4-FFF2-40B4-BE49-F238E27FC236}">
                      <a16:creationId xmlns:a16="http://schemas.microsoft.com/office/drawing/2014/main" id="{6E890BF5-A3C6-46B8-9A20-41B408C349CE}"/>
                    </a:ext>
                  </a:extLst>
                </p:cNvPr>
                <p:cNvSpPr>
                  <a:spLocks/>
                </p:cNvSpPr>
                <p:nvPr/>
              </p:nvSpPr>
              <p:spPr bwMode="auto">
                <a:xfrm>
                  <a:off x="3037107" y="1729926"/>
                  <a:ext cx="60107" cy="61014"/>
                </a:xfrm>
                <a:custGeom>
                  <a:avLst/>
                  <a:gdLst>
                    <a:gd name="T0" fmla="*/ 60 w 71"/>
                    <a:gd name="T1" fmla="*/ 16 h 73"/>
                    <a:gd name="T2" fmla="*/ 55 w 71"/>
                    <a:gd name="T3" fmla="*/ 62 h 73"/>
                    <a:gd name="T4" fmla="*/ 11 w 71"/>
                    <a:gd name="T5" fmla="*/ 57 h 73"/>
                    <a:gd name="T6" fmla="*/ 16 w 71"/>
                    <a:gd name="T7" fmla="*/ 11 h 73"/>
                    <a:gd name="T8" fmla="*/ 60 w 71"/>
                    <a:gd name="T9" fmla="*/ 16 h 73"/>
                  </a:gdLst>
                  <a:ahLst/>
                  <a:cxnLst>
                    <a:cxn ang="0">
                      <a:pos x="T0" y="T1"/>
                    </a:cxn>
                    <a:cxn ang="0">
                      <a:pos x="T2" y="T3"/>
                    </a:cxn>
                    <a:cxn ang="0">
                      <a:pos x="T4" y="T5"/>
                    </a:cxn>
                    <a:cxn ang="0">
                      <a:pos x="T6" y="T7"/>
                    </a:cxn>
                    <a:cxn ang="0">
                      <a:pos x="T8" y="T9"/>
                    </a:cxn>
                  </a:cxnLst>
                  <a:rect l="0" t="0" r="r" b="b"/>
                  <a:pathLst>
                    <a:path w="71" h="73">
                      <a:moveTo>
                        <a:pt x="60" y="16"/>
                      </a:moveTo>
                      <a:cubicBezTo>
                        <a:pt x="71" y="30"/>
                        <a:pt x="69" y="51"/>
                        <a:pt x="55" y="62"/>
                      </a:cubicBezTo>
                      <a:cubicBezTo>
                        <a:pt x="42" y="73"/>
                        <a:pt x="22" y="71"/>
                        <a:pt x="11" y="57"/>
                      </a:cubicBezTo>
                      <a:cubicBezTo>
                        <a:pt x="0" y="43"/>
                        <a:pt x="2" y="23"/>
                        <a:pt x="16" y="11"/>
                      </a:cubicBezTo>
                      <a:cubicBezTo>
                        <a:pt x="29" y="0"/>
                        <a:pt x="49" y="2"/>
                        <a:pt x="60"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9" name="Freeform 22">
                  <a:extLst>
                    <a:ext uri="{FF2B5EF4-FFF2-40B4-BE49-F238E27FC236}">
                      <a16:creationId xmlns:a16="http://schemas.microsoft.com/office/drawing/2014/main" id="{7B78FA38-A769-4297-A5BB-0F91F25ED4EF}"/>
                    </a:ext>
                  </a:extLst>
                </p:cNvPr>
                <p:cNvSpPr>
                  <a:spLocks/>
                </p:cNvSpPr>
                <p:nvPr/>
              </p:nvSpPr>
              <p:spPr bwMode="auto">
                <a:xfrm>
                  <a:off x="3049510" y="1748993"/>
                  <a:ext cx="119259" cy="23834"/>
                </a:xfrm>
                <a:custGeom>
                  <a:avLst/>
                  <a:gdLst>
                    <a:gd name="T0" fmla="*/ 0 w 125"/>
                    <a:gd name="T1" fmla="*/ 25 h 25"/>
                    <a:gd name="T2" fmla="*/ 125 w 125"/>
                    <a:gd name="T3" fmla="*/ 0 h 25"/>
                    <a:gd name="T4" fmla="*/ 0 w 125"/>
                    <a:gd name="T5" fmla="*/ 25 h 25"/>
                  </a:gdLst>
                  <a:ahLst/>
                  <a:cxnLst>
                    <a:cxn ang="0">
                      <a:pos x="T0" y="T1"/>
                    </a:cxn>
                    <a:cxn ang="0">
                      <a:pos x="T2" y="T3"/>
                    </a:cxn>
                    <a:cxn ang="0">
                      <a:pos x="T4" y="T5"/>
                    </a:cxn>
                  </a:cxnLst>
                  <a:rect l="0" t="0" r="r" b="b"/>
                  <a:pathLst>
                    <a:path w="125" h="25">
                      <a:moveTo>
                        <a:pt x="0" y="25"/>
                      </a:moveTo>
                      <a:lnTo>
                        <a:pt x="125" y="0"/>
                      </a:lnTo>
                      <a:lnTo>
                        <a:pt x="0" y="2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0" name="Line 23">
                  <a:extLst>
                    <a:ext uri="{FF2B5EF4-FFF2-40B4-BE49-F238E27FC236}">
                      <a16:creationId xmlns:a16="http://schemas.microsoft.com/office/drawing/2014/main" id="{8743D5AD-DECF-474F-B57C-C49B871A449D}"/>
                    </a:ext>
                  </a:extLst>
                </p:cNvPr>
                <p:cNvSpPr>
                  <a:spLocks noChangeShapeType="1"/>
                </p:cNvSpPr>
                <p:nvPr/>
              </p:nvSpPr>
              <p:spPr bwMode="auto">
                <a:xfrm flipV="1">
                  <a:off x="3049510" y="1748993"/>
                  <a:ext cx="119259" cy="2383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1" name="Freeform 24">
                  <a:extLst>
                    <a:ext uri="{FF2B5EF4-FFF2-40B4-BE49-F238E27FC236}">
                      <a16:creationId xmlns:a16="http://schemas.microsoft.com/office/drawing/2014/main" id="{08A444BC-1598-48AF-B4D1-D34ABF998199}"/>
                    </a:ext>
                  </a:extLst>
                </p:cNvPr>
                <p:cNvSpPr>
                  <a:spLocks/>
                </p:cNvSpPr>
                <p:nvPr/>
              </p:nvSpPr>
              <p:spPr bwMode="auto">
                <a:xfrm>
                  <a:off x="3168769" y="1748993"/>
                  <a:ext cx="119259" cy="23834"/>
                </a:xfrm>
                <a:custGeom>
                  <a:avLst/>
                  <a:gdLst>
                    <a:gd name="T0" fmla="*/ 125 w 125"/>
                    <a:gd name="T1" fmla="*/ 25 h 25"/>
                    <a:gd name="T2" fmla="*/ 0 w 125"/>
                    <a:gd name="T3" fmla="*/ 0 h 25"/>
                    <a:gd name="T4" fmla="*/ 125 w 125"/>
                    <a:gd name="T5" fmla="*/ 25 h 25"/>
                  </a:gdLst>
                  <a:ahLst/>
                  <a:cxnLst>
                    <a:cxn ang="0">
                      <a:pos x="T0" y="T1"/>
                    </a:cxn>
                    <a:cxn ang="0">
                      <a:pos x="T2" y="T3"/>
                    </a:cxn>
                    <a:cxn ang="0">
                      <a:pos x="T4" y="T5"/>
                    </a:cxn>
                  </a:cxnLst>
                  <a:rect l="0" t="0" r="r" b="b"/>
                  <a:pathLst>
                    <a:path w="125" h="25">
                      <a:moveTo>
                        <a:pt x="125" y="25"/>
                      </a:moveTo>
                      <a:lnTo>
                        <a:pt x="0" y="0"/>
                      </a:lnTo>
                      <a:lnTo>
                        <a:pt x="125" y="2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2" name="Line 25">
                  <a:extLst>
                    <a:ext uri="{FF2B5EF4-FFF2-40B4-BE49-F238E27FC236}">
                      <a16:creationId xmlns:a16="http://schemas.microsoft.com/office/drawing/2014/main" id="{AAB3CEA1-2E81-4023-8BC5-2B659E4DF007}"/>
                    </a:ext>
                  </a:extLst>
                </p:cNvPr>
                <p:cNvSpPr>
                  <a:spLocks noChangeShapeType="1"/>
                </p:cNvSpPr>
                <p:nvPr/>
              </p:nvSpPr>
              <p:spPr bwMode="auto">
                <a:xfrm flipH="1" flipV="1">
                  <a:off x="3168769" y="1748993"/>
                  <a:ext cx="119259" cy="2383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3" name="Freeform 26">
                  <a:extLst>
                    <a:ext uri="{FF2B5EF4-FFF2-40B4-BE49-F238E27FC236}">
                      <a16:creationId xmlns:a16="http://schemas.microsoft.com/office/drawing/2014/main" id="{F3106053-60B4-4639-A502-0E0CE5CA1AFF}"/>
                    </a:ext>
                  </a:extLst>
                </p:cNvPr>
                <p:cNvSpPr>
                  <a:spLocks/>
                </p:cNvSpPr>
                <p:nvPr/>
              </p:nvSpPr>
              <p:spPr bwMode="auto">
                <a:xfrm>
                  <a:off x="3055234" y="1724206"/>
                  <a:ext cx="223253" cy="359412"/>
                </a:xfrm>
                <a:custGeom>
                  <a:avLst/>
                  <a:gdLst>
                    <a:gd name="T0" fmla="*/ 153 w 265"/>
                    <a:gd name="T1" fmla="*/ 429 h 429"/>
                    <a:gd name="T2" fmla="*/ 258 w 265"/>
                    <a:gd name="T3" fmla="*/ 418 h 429"/>
                    <a:gd name="T4" fmla="*/ 265 w 265"/>
                    <a:gd name="T5" fmla="*/ 149 h 429"/>
                    <a:gd name="T6" fmla="*/ 258 w 265"/>
                    <a:gd name="T7" fmla="*/ 4 h 429"/>
                    <a:gd name="T8" fmla="*/ 198 w 265"/>
                    <a:gd name="T9" fmla="*/ 0 h 429"/>
                    <a:gd name="T10" fmla="*/ 117 w 265"/>
                    <a:gd name="T11" fmla="*/ 65 h 429"/>
                    <a:gd name="T12" fmla="*/ 49 w 265"/>
                    <a:gd name="T13" fmla="*/ 3 h 429"/>
                    <a:gd name="T14" fmla="*/ 10 w 265"/>
                    <a:gd name="T15" fmla="*/ 11 h 429"/>
                    <a:gd name="T16" fmla="*/ 0 w 265"/>
                    <a:gd name="T17" fmla="*/ 149 h 429"/>
                    <a:gd name="T18" fmla="*/ 11 w 265"/>
                    <a:gd name="T19" fmla="*/ 41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5" h="429">
                      <a:moveTo>
                        <a:pt x="153" y="429"/>
                      </a:moveTo>
                      <a:cubicBezTo>
                        <a:pt x="258" y="418"/>
                        <a:pt x="258" y="418"/>
                        <a:pt x="258" y="418"/>
                      </a:cubicBezTo>
                      <a:cubicBezTo>
                        <a:pt x="265" y="149"/>
                        <a:pt x="265" y="149"/>
                        <a:pt x="265" y="149"/>
                      </a:cubicBezTo>
                      <a:cubicBezTo>
                        <a:pt x="250" y="107"/>
                        <a:pt x="258" y="4"/>
                        <a:pt x="258" y="4"/>
                      </a:cubicBezTo>
                      <a:cubicBezTo>
                        <a:pt x="198" y="0"/>
                        <a:pt x="198" y="0"/>
                        <a:pt x="198" y="0"/>
                      </a:cubicBezTo>
                      <a:cubicBezTo>
                        <a:pt x="117" y="65"/>
                        <a:pt x="117" y="65"/>
                        <a:pt x="117" y="65"/>
                      </a:cubicBezTo>
                      <a:cubicBezTo>
                        <a:pt x="49" y="3"/>
                        <a:pt x="49" y="3"/>
                        <a:pt x="49" y="3"/>
                      </a:cubicBezTo>
                      <a:cubicBezTo>
                        <a:pt x="10" y="11"/>
                        <a:pt x="10" y="11"/>
                        <a:pt x="10" y="11"/>
                      </a:cubicBezTo>
                      <a:cubicBezTo>
                        <a:pt x="10" y="11"/>
                        <a:pt x="15" y="107"/>
                        <a:pt x="0" y="149"/>
                      </a:cubicBezTo>
                      <a:cubicBezTo>
                        <a:pt x="11" y="417"/>
                        <a:pt x="11" y="417"/>
                        <a:pt x="11" y="417"/>
                      </a:cubicBezTo>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4" name="Freeform 27">
                  <a:extLst>
                    <a:ext uri="{FF2B5EF4-FFF2-40B4-BE49-F238E27FC236}">
                      <a16:creationId xmlns:a16="http://schemas.microsoft.com/office/drawing/2014/main" id="{6D8C2CF2-9A68-429A-8738-03E50BA1C765}"/>
                    </a:ext>
                  </a:extLst>
                </p:cNvPr>
                <p:cNvSpPr>
                  <a:spLocks/>
                </p:cNvSpPr>
                <p:nvPr/>
              </p:nvSpPr>
              <p:spPr bwMode="auto">
                <a:xfrm>
                  <a:off x="3086719" y="1716579"/>
                  <a:ext cx="161239" cy="32414"/>
                </a:xfrm>
                <a:custGeom>
                  <a:avLst/>
                  <a:gdLst>
                    <a:gd name="T0" fmla="*/ 58 w 169"/>
                    <a:gd name="T1" fmla="*/ 8 h 34"/>
                    <a:gd name="T2" fmla="*/ 104 w 169"/>
                    <a:gd name="T3" fmla="*/ 21 h 34"/>
                    <a:gd name="T4" fmla="*/ 117 w 169"/>
                    <a:gd name="T5" fmla="*/ 1 h 34"/>
                    <a:gd name="T6" fmla="*/ 169 w 169"/>
                    <a:gd name="T7" fmla="*/ 10 h 34"/>
                    <a:gd name="T8" fmla="*/ 164 w 169"/>
                    <a:gd name="T9" fmla="*/ 22 h 34"/>
                    <a:gd name="T10" fmla="*/ 146 w 169"/>
                    <a:gd name="T11" fmla="*/ 34 h 34"/>
                    <a:gd name="T12" fmla="*/ 57 w 169"/>
                    <a:gd name="T13" fmla="*/ 34 h 34"/>
                    <a:gd name="T14" fmla="*/ 5 w 169"/>
                    <a:gd name="T15" fmla="*/ 24 h 34"/>
                    <a:gd name="T16" fmla="*/ 0 w 169"/>
                    <a:gd name="T17" fmla="*/ 13 h 34"/>
                    <a:gd name="T18" fmla="*/ 58 w 169"/>
                    <a:gd name="T19" fmla="*/ 0 h 34"/>
                    <a:gd name="T20" fmla="*/ 58 w 169"/>
                    <a:gd name="T2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34">
                      <a:moveTo>
                        <a:pt x="58" y="8"/>
                      </a:moveTo>
                      <a:lnTo>
                        <a:pt x="104" y="21"/>
                      </a:lnTo>
                      <a:lnTo>
                        <a:pt x="117" y="1"/>
                      </a:lnTo>
                      <a:lnTo>
                        <a:pt x="169" y="10"/>
                      </a:lnTo>
                      <a:lnTo>
                        <a:pt x="164" y="22"/>
                      </a:lnTo>
                      <a:lnTo>
                        <a:pt x="146" y="34"/>
                      </a:lnTo>
                      <a:lnTo>
                        <a:pt x="57" y="34"/>
                      </a:lnTo>
                      <a:lnTo>
                        <a:pt x="5" y="24"/>
                      </a:lnTo>
                      <a:lnTo>
                        <a:pt x="0" y="13"/>
                      </a:lnTo>
                      <a:lnTo>
                        <a:pt x="58" y="0"/>
                      </a:lnTo>
                      <a:lnTo>
                        <a:pt x="58" y="8"/>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5" name="Freeform 28">
                  <a:extLst>
                    <a:ext uri="{FF2B5EF4-FFF2-40B4-BE49-F238E27FC236}">
                      <a16:creationId xmlns:a16="http://schemas.microsoft.com/office/drawing/2014/main" id="{C34CD55D-9137-4674-9064-91CE76E4FF04}"/>
                    </a:ext>
                  </a:extLst>
                </p:cNvPr>
                <p:cNvSpPr>
                  <a:spLocks noEditPoints="1"/>
                </p:cNvSpPr>
                <p:nvPr/>
              </p:nvSpPr>
              <p:spPr bwMode="auto">
                <a:xfrm>
                  <a:off x="3207886" y="1609804"/>
                  <a:ext cx="53428" cy="89615"/>
                </a:xfrm>
                <a:custGeom>
                  <a:avLst/>
                  <a:gdLst>
                    <a:gd name="T0" fmla="*/ 56 w 63"/>
                    <a:gd name="T1" fmla="*/ 0 h 107"/>
                    <a:gd name="T2" fmla="*/ 6 w 63"/>
                    <a:gd name="T3" fmla="*/ 0 h 107"/>
                    <a:gd name="T4" fmla="*/ 0 w 63"/>
                    <a:gd name="T5" fmla="*/ 7 h 107"/>
                    <a:gd name="T6" fmla="*/ 0 w 63"/>
                    <a:gd name="T7" fmla="*/ 100 h 107"/>
                    <a:gd name="T8" fmla="*/ 6 w 63"/>
                    <a:gd name="T9" fmla="*/ 107 h 107"/>
                    <a:gd name="T10" fmla="*/ 56 w 63"/>
                    <a:gd name="T11" fmla="*/ 107 h 107"/>
                    <a:gd name="T12" fmla="*/ 63 w 63"/>
                    <a:gd name="T13" fmla="*/ 100 h 107"/>
                    <a:gd name="T14" fmla="*/ 63 w 63"/>
                    <a:gd name="T15" fmla="*/ 7 h 107"/>
                    <a:gd name="T16" fmla="*/ 56 w 63"/>
                    <a:gd name="T17" fmla="*/ 0 h 107"/>
                    <a:gd name="T18" fmla="*/ 40 w 63"/>
                    <a:gd name="T19" fmla="*/ 97 h 107"/>
                    <a:gd name="T20" fmla="*/ 23 w 63"/>
                    <a:gd name="T21" fmla="*/ 97 h 107"/>
                    <a:gd name="T22" fmla="*/ 23 w 63"/>
                    <a:gd name="T23" fmla="*/ 90 h 107"/>
                    <a:gd name="T24" fmla="*/ 40 w 63"/>
                    <a:gd name="T25" fmla="*/ 90 h 107"/>
                    <a:gd name="T26" fmla="*/ 40 w 63"/>
                    <a:gd name="T27" fmla="*/ 97 h 107"/>
                    <a:gd name="T28" fmla="*/ 56 w 63"/>
                    <a:gd name="T29" fmla="*/ 80 h 107"/>
                    <a:gd name="T30" fmla="*/ 6 w 63"/>
                    <a:gd name="T31" fmla="*/ 80 h 107"/>
                    <a:gd name="T32" fmla="*/ 6 w 63"/>
                    <a:gd name="T33" fmla="*/ 7 h 107"/>
                    <a:gd name="T34" fmla="*/ 56 w 63"/>
                    <a:gd name="T35" fmla="*/ 7 h 107"/>
                    <a:gd name="T36" fmla="*/ 56 w 63"/>
                    <a:gd name="T37" fmla="*/ 8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3" h="107">
                      <a:moveTo>
                        <a:pt x="56" y="0"/>
                      </a:moveTo>
                      <a:cubicBezTo>
                        <a:pt x="6" y="0"/>
                        <a:pt x="6" y="0"/>
                        <a:pt x="6" y="0"/>
                      </a:cubicBezTo>
                      <a:cubicBezTo>
                        <a:pt x="3" y="0"/>
                        <a:pt x="0" y="3"/>
                        <a:pt x="0" y="7"/>
                      </a:cubicBezTo>
                      <a:cubicBezTo>
                        <a:pt x="0" y="100"/>
                        <a:pt x="0" y="100"/>
                        <a:pt x="0" y="100"/>
                      </a:cubicBezTo>
                      <a:cubicBezTo>
                        <a:pt x="0" y="104"/>
                        <a:pt x="3" y="107"/>
                        <a:pt x="6" y="107"/>
                      </a:cubicBezTo>
                      <a:cubicBezTo>
                        <a:pt x="56" y="107"/>
                        <a:pt x="56" y="107"/>
                        <a:pt x="56" y="107"/>
                      </a:cubicBezTo>
                      <a:cubicBezTo>
                        <a:pt x="60" y="107"/>
                        <a:pt x="63" y="104"/>
                        <a:pt x="63" y="100"/>
                      </a:cubicBezTo>
                      <a:cubicBezTo>
                        <a:pt x="63" y="7"/>
                        <a:pt x="63" y="7"/>
                        <a:pt x="63" y="7"/>
                      </a:cubicBezTo>
                      <a:cubicBezTo>
                        <a:pt x="63" y="3"/>
                        <a:pt x="60" y="0"/>
                        <a:pt x="56" y="0"/>
                      </a:cubicBezTo>
                      <a:close/>
                      <a:moveTo>
                        <a:pt x="40" y="97"/>
                      </a:moveTo>
                      <a:cubicBezTo>
                        <a:pt x="23" y="97"/>
                        <a:pt x="23" y="97"/>
                        <a:pt x="23" y="97"/>
                      </a:cubicBezTo>
                      <a:cubicBezTo>
                        <a:pt x="23" y="90"/>
                        <a:pt x="23" y="90"/>
                        <a:pt x="23" y="90"/>
                      </a:cubicBezTo>
                      <a:cubicBezTo>
                        <a:pt x="40" y="90"/>
                        <a:pt x="40" y="90"/>
                        <a:pt x="40" y="90"/>
                      </a:cubicBezTo>
                      <a:lnTo>
                        <a:pt x="40" y="97"/>
                      </a:lnTo>
                      <a:close/>
                      <a:moveTo>
                        <a:pt x="56" y="80"/>
                      </a:moveTo>
                      <a:cubicBezTo>
                        <a:pt x="6" y="80"/>
                        <a:pt x="6" y="80"/>
                        <a:pt x="6" y="80"/>
                      </a:cubicBezTo>
                      <a:cubicBezTo>
                        <a:pt x="6" y="7"/>
                        <a:pt x="6" y="7"/>
                        <a:pt x="6" y="7"/>
                      </a:cubicBezTo>
                      <a:cubicBezTo>
                        <a:pt x="56" y="7"/>
                        <a:pt x="56" y="7"/>
                        <a:pt x="56" y="7"/>
                      </a:cubicBezTo>
                      <a:lnTo>
                        <a:pt x="56"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6" name="Rectangle 29">
                  <a:extLst>
                    <a:ext uri="{FF2B5EF4-FFF2-40B4-BE49-F238E27FC236}">
                      <a16:creationId xmlns:a16="http://schemas.microsoft.com/office/drawing/2014/main" id="{3851326F-7623-4CC6-8B15-4571F78E8AA0}"/>
                    </a:ext>
                  </a:extLst>
                </p:cNvPr>
                <p:cNvSpPr>
                  <a:spLocks noChangeArrowheads="1"/>
                </p:cNvSpPr>
                <p:nvPr/>
              </p:nvSpPr>
              <p:spPr bwMode="auto">
                <a:xfrm>
                  <a:off x="3213611" y="1615524"/>
                  <a:ext cx="41979" cy="6101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7" name="Rectangle 30">
                  <a:extLst>
                    <a:ext uri="{FF2B5EF4-FFF2-40B4-BE49-F238E27FC236}">
                      <a16:creationId xmlns:a16="http://schemas.microsoft.com/office/drawing/2014/main" id="{CD4D99BE-0902-4D02-9F54-863D938B3481}"/>
                    </a:ext>
                  </a:extLst>
                </p:cNvPr>
                <p:cNvSpPr>
                  <a:spLocks noChangeArrowheads="1"/>
                </p:cNvSpPr>
                <p:nvPr/>
              </p:nvSpPr>
              <p:spPr bwMode="auto">
                <a:xfrm>
                  <a:off x="3227922" y="1685119"/>
                  <a:ext cx="14311" cy="57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8" name="Rectangle 31">
                  <a:extLst>
                    <a:ext uri="{FF2B5EF4-FFF2-40B4-BE49-F238E27FC236}">
                      <a16:creationId xmlns:a16="http://schemas.microsoft.com/office/drawing/2014/main" id="{684608B0-F86D-472A-91A3-6AC16B2FE13C}"/>
                    </a:ext>
                  </a:extLst>
                </p:cNvPr>
                <p:cNvSpPr>
                  <a:spLocks noChangeArrowheads="1"/>
                </p:cNvSpPr>
                <p:nvPr/>
              </p:nvSpPr>
              <p:spPr bwMode="auto">
                <a:xfrm>
                  <a:off x="3243187" y="1646985"/>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9" name="Rectangle 32">
                  <a:extLst>
                    <a:ext uri="{FF2B5EF4-FFF2-40B4-BE49-F238E27FC236}">
                      <a16:creationId xmlns:a16="http://schemas.microsoft.com/office/drawing/2014/main" id="{44F0AFA4-65B2-4714-B188-CECDE03952F3}"/>
                    </a:ext>
                  </a:extLst>
                </p:cNvPr>
                <p:cNvSpPr>
                  <a:spLocks noChangeArrowheads="1"/>
                </p:cNvSpPr>
                <p:nvPr/>
              </p:nvSpPr>
              <p:spPr bwMode="auto">
                <a:xfrm>
                  <a:off x="3217427" y="1621244"/>
                  <a:ext cx="17173" cy="1620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0" name="Rectangle 33">
                  <a:extLst>
                    <a:ext uri="{FF2B5EF4-FFF2-40B4-BE49-F238E27FC236}">
                      <a16:creationId xmlns:a16="http://schemas.microsoft.com/office/drawing/2014/main" id="{017E25B8-68B9-4BA4-94D7-06F3240455DD}"/>
                    </a:ext>
                  </a:extLst>
                </p:cNvPr>
                <p:cNvSpPr>
                  <a:spLocks noChangeArrowheads="1"/>
                </p:cNvSpPr>
                <p:nvPr/>
              </p:nvSpPr>
              <p:spPr bwMode="auto">
                <a:xfrm>
                  <a:off x="3226014" y="1638404"/>
                  <a:ext cx="16220" cy="1716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1" name="Rectangle 34">
                  <a:extLst>
                    <a:ext uri="{FF2B5EF4-FFF2-40B4-BE49-F238E27FC236}">
                      <a16:creationId xmlns:a16="http://schemas.microsoft.com/office/drawing/2014/main" id="{F99C270C-3ADF-45C7-86A8-4FFCED2967C2}"/>
                    </a:ext>
                  </a:extLst>
                </p:cNvPr>
                <p:cNvSpPr>
                  <a:spLocks noChangeArrowheads="1"/>
                </p:cNvSpPr>
                <p:nvPr/>
              </p:nvSpPr>
              <p:spPr bwMode="auto">
                <a:xfrm>
                  <a:off x="3235555" y="1655565"/>
                  <a:ext cx="16220" cy="1716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2" name="Rectangle 35">
                  <a:extLst>
                    <a:ext uri="{FF2B5EF4-FFF2-40B4-BE49-F238E27FC236}">
                      <a16:creationId xmlns:a16="http://schemas.microsoft.com/office/drawing/2014/main" id="{70056514-0790-447F-839A-CB43BEFFBF9D}"/>
                    </a:ext>
                  </a:extLst>
                </p:cNvPr>
                <p:cNvSpPr>
                  <a:spLocks noChangeArrowheads="1"/>
                </p:cNvSpPr>
                <p:nvPr/>
              </p:nvSpPr>
              <p:spPr bwMode="auto">
                <a:xfrm>
                  <a:off x="3235555" y="1621244"/>
                  <a:ext cx="6679"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3" name="Rectangle 36">
                  <a:extLst>
                    <a:ext uri="{FF2B5EF4-FFF2-40B4-BE49-F238E27FC236}">
                      <a16:creationId xmlns:a16="http://schemas.microsoft.com/office/drawing/2014/main" id="{22696C43-BE74-4499-9389-1813F366EE28}"/>
                    </a:ext>
                  </a:extLst>
                </p:cNvPr>
                <p:cNvSpPr>
                  <a:spLocks noChangeArrowheads="1"/>
                </p:cNvSpPr>
                <p:nvPr/>
              </p:nvSpPr>
              <p:spPr bwMode="auto">
                <a:xfrm>
                  <a:off x="3243187" y="1621244"/>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4" name="Rectangle 37">
                  <a:extLst>
                    <a:ext uri="{FF2B5EF4-FFF2-40B4-BE49-F238E27FC236}">
                      <a16:creationId xmlns:a16="http://schemas.microsoft.com/office/drawing/2014/main" id="{D14181A7-DE9E-42B4-A8B4-1D7492B5FDE6}"/>
                    </a:ext>
                  </a:extLst>
                </p:cNvPr>
                <p:cNvSpPr>
                  <a:spLocks noChangeArrowheads="1"/>
                </p:cNvSpPr>
                <p:nvPr/>
              </p:nvSpPr>
              <p:spPr bwMode="auto">
                <a:xfrm>
                  <a:off x="3235555" y="1628871"/>
                  <a:ext cx="6679" cy="8580"/>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5" name="Rectangle 38">
                  <a:extLst>
                    <a:ext uri="{FF2B5EF4-FFF2-40B4-BE49-F238E27FC236}">
                      <a16:creationId xmlns:a16="http://schemas.microsoft.com/office/drawing/2014/main" id="{FA940778-9155-4586-8943-18CFD89D4CD5}"/>
                    </a:ext>
                  </a:extLst>
                </p:cNvPr>
                <p:cNvSpPr>
                  <a:spLocks noChangeArrowheads="1"/>
                </p:cNvSpPr>
                <p:nvPr/>
              </p:nvSpPr>
              <p:spPr bwMode="auto">
                <a:xfrm>
                  <a:off x="3243187" y="1628871"/>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6" name="Rectangle 39">
                  <a:extLst>
                    <a:ext uri="{FF2B5EF4-FFF2-40B4-BE49-F238E27FC236}">
                      <a16:creationId xmlns:a16="http://schemas.microsoft.com/office/drawing/2014/main" id="{04F8BF41-39B9-4160-B090-5CDFC1BD62CC}"/>
                    </a:ext>
                  </a:extLst>
                </p:cNvPr>
                <p:cNvSpPr>
                  <a:spLocks noChangeArrowheads="1"/>
                </p:cNvSpPr>
                <p:nvPr/>
              </p:nvSpPr>
              <p:spPr bwMode="auto">
                <a:xfrm>
                  <a:off x="3217427" y="1638404"/>
                  <a:ext cx="7633"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7" name="Rectangle 40">
                  <a:extLst>
                    <a:ext uri="{FF2B5EF4-FFF2-40B4-BE49-F238E27FC236}">
                      <a16:creationId xmlns:a16="http://schemas.microsoft.com/office/drawing/2014/main" id="{7CE30D30-86B1-4490-9154-59CFDEA73DFC}"/>
                    </a:ext>
                  </a:extLst>
                </p:cNvPr>
                <p:cNvSpPr>
                  <a:spLocks noChangeArrowheads="1"/>
                </p:cNvSpPr>
                <p:nvPr/>
              </p:nvSpPr>
              <p:spPr bwMode="auto">
                <a:xfrm>
                  <a:off x="3243187" y="1638404"/>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8" name="Rectangle 41">
                  <a:extLst>
                    <a:ext uri="{FF2B5EF4-FFF2-40B4-BE49-F238E27FC236}">
                      <a16:creationId xmlns:a16="http://schemas.microsoft.com/office/drawing/2014/main" id="{10612BAE-4382-47CB-A8F6-5DDEA74A24FC}"/>
                    </a:ext>
                  </a:extLst>
                </p:cNvPr>
                <p:cNvSpPr>
                  <a:spLocks noChangeArrowheads="1"/>
                </p:cNvSpPr>
                <p:nvPr/>
              </p:nvSpPr>
              <p:spPr bwMode="auto">
                <a:xfrm>
                  <a:off x="3217427" y="1646985"/>
                  <a:ext cx="7633"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9" name="Rectangle 42">
                  <a:extLst>
                    <a:ext uri="{FF2B5EF4-FFF2-40B4-BE49-F238E27FC236}">
                      <a16:creationId xmlns:a16="http://schemas.microsoft.com/office/drawing/2014/main" id="{596DDAC6-C352-43BF-9148-A79B9F9CFAE6}"/>
                    </a:ext>
                  </a:extLst>
                </p:cNvPr>
                <p:cNvSpPr>
                  <a:spLocks noChangeArrowheads="1"/>
                </p:cNvSpPr>
                <p:nvPr/>
              </p:nvSpPr>
              <p:spPr bwMode="auto">
                <a:xfrm>
                  <a:off x="3217427" y="1655565"/>
                  <a:ext cx="7633"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0" name="Rectangle 43">
                  <a:extLst>
                    <a:ext uri="{FF2B5EF4-FFF2-40B4-BE49-F238E27FC236}">
                      <a16:creationId xmlns:a16="http://schemas.microsoft.com/office/drawing/2014/main" id="{17C7D634-834C-489E-8D23-7072C7958023}"/>
                    </a:ext>
                  </a:extLst>
                </p:cNvPr>
                <p:cNvSpPr>
                  <a:spLocks noChangeArrowheads="1"/>
                </p:cNvSpPr>
                <p:nvPr/>
              </p:nvSpPr>
              <p:spPr bwMode="auto">
                <a:xfrm>
                  <a:off x="3226014" y="1655565"/>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1" name="Rectangle 44">
                  <a:extLst>
                    <a:ext uri="{FF2B5EF4-FFF2-40B4-BE49-F238E27FC236}">
                      <a16:creationId xmlns:a16="http://schemas.microsoft.com/office/drawing/2014/main" id="{51D8E390-A2A1-4ED6-8D4A-A513E94F986E}"/>
                    </a:ext>
                  </a:extLst>
                </p:cNvPr>
                <p:cNvSpPr>
                  <a:spLocks noChangeArrowheads="1"/>
                </p:cNvSpPr>
                <p:nvPr/>
              </p:nvSpPr>
              <p:spPr bwMode="auto">
                <a:xfrm>
                  <a:off x="3217427" y="1664145"/>
                  <a:ext cx="7633"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2" name="Rectangle 45">
                  <a:extLst>
                    <a:ext uri="{FF2B5EF4-FFF2-40B4-BE49-F238E27FC236}">
                      <a16:creationId xmlns:a16="http://schemas.microsoft.com/office/drawing/2014/main" id="{3FB6A29A-E887-47B7-944A-B0C2A584AAC0}"/>
                    </a:ext>
                  </a:extLst>
                </p:cNvPr>
                <p:cNvSpPr>
                  <a:spLocks noChangeArrowheads="1"/>
                </p:cNvSpPr>
                <p:nvPr/>
              </p:nvSpPr>
              <p:spPr bwMode="auto">
                <a:xfrm>
                  <a:off x="3226014" y="1664145"/>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3" name="Freeform 46">
                  <a:extLst>
                    <a:ext uri="{FF2B5EF4-FFF2-40B4-BE49-F238E27FC236}">
                      <a16:creationId xmlns:a16="http://schemas.microsoft.com/office/drawing/2014/main" id="{8E276A75-E2B9-496D-8A77-1F4B0C33C53F}"/>
                    </a:ext>
                  </a:extLst>
                </p:cNvPr>
                <p:cNvSpPr>
                  <a:spLocks/>
                </p:cNvSpPr>
                <p:nvPr/>
              </p:nvSpPr>
              <p:spPr bwMode="auto">
                <a:xfrm>
                  <a:off x="3243187" y="1732786"/>
                  <a:ext cx="70601" cy="178276"/>
                </a:xfrm>
                <a:custGeom>
                  <a:avLst/>
                  <a:gdLst>
                    <a:gd name="T0" fmla="*/ 53 w 84"/>
                    <a:gd name="T1" fmla="*/ 213 h 213"/>
                    <a:gd name="T2" fmla="*/ 21 w 84"/>
                    <a:gd name="T3" fmla="*/ 183 h 213"/>
                    <a:gd name="T4" fmla="*/ 9 w 84"/>
                    <a:gd name="T5" fmla="*/ 73 h 213"/>
                    <a:gd name="T6" fmla="*/ 2 w 84"/>
                    <a:gd name="T7" fmla="*/ 39 h 213"/>
                    <a:gd name="T8" fmla="*/ 28 w 84"/>
                    <a:gd name="T9" fmla="*/ 3 h 213"/>
                    <a:gd name="T10" fmla="*/ 64 w 84"/>
                    <a:gd name="T11" fmla="*/ 29 h 213"/>
                    <a:gd name="T12" fmla="*/ 70 w 84"/>
                    <a:gd name="T13" fmla="*/ 61 h 213"/>
                    <a:gd name="T14" fmla="*/ 84 w 84"/>
                    <a:gd name="T15" fmla="*/ 181 h 213"/>
                    <a:gd name="T16" fmla="*/ 53 w 84"/>
                    <a:gd name="T17" fmla="*/ 213 h 213"/>
                    <a:gd name="T18" fmla="*/ 53 w 84"/>
                    <a:gd name="T19"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213">
                      <a:moveTo>
                        <a:pt x="53" y="213"/>
                      </a:moveTo>
                      <a:cubicBezTo>
                        <a:pt x="36" y="213"/>
                        <a:pt x="22" y="200"/>
                        <a:pt x="21" y="183"/>
                      </a:cubicBezTo>
                      <a:cubicBezTo>
                        <a:pt x="20" y="129"/>
                        <a:pt x="15" y="103"/>
                        <a:pt x="9" y="73"/>
                      </a:cubicBezTo>
                      <a:cubicBezTo>
                        <a:pt x="7" y="62"/>
                        <a:pt x="4" y="51"/>
                        <a:pt x="2" y="39"/>
                      </a:cubicBezTo>
                      <a:cubicBezTo>
                        <a:pt x="0" y="22"/>
                        <a:pt x="11" y="6"/>
                        <a:pt x="28" y="3"/>
                      </a:cubicBezTo>
                      <a:cubicBezTo>
                        <a:pt x="45" y="0"/>
                        <a:pt x="61" y="12"/>
                        <a:pt x="64" y="29"/>
                      </a:cubicBezTo>
                      <a:cubicBezTo>
                        <a:pt x="66" y="40"/>
                        <a:pt x="68" y="50"/>
                        <a:pt x="70" y="61"/>
                      </a:cubicBezTo>
                      <a:cubicBezTo>
                        <a:pt x="76" y="92"/>
                        <a:pt x="82" y="122"/>
                        <a:pt x="84" y="181"/>
                      </a:cubicBezTo>
                      <a:cubicBezTo>
                        <a:pt x="84" y="198"/>
                        <a:pt x="71" y="213"/>
                        <a:pt x="53" y="213"/>
                      </a:cubicBezTo>
                      <a:cubicBezTo>
                        <a:pt x="53" y="213"/>
                        <a:pt x="53" y="213"/>
                        <a:pt x="53" y="213"/>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4" name="Freeform 47">
                  <a:extLst>
                    <a:ext uri="{FF2B5EF4-FFF2-40B4-BE49-F238E27FC236}">
                      <a16:creationId xmlns:a16="http://schemas.microsoft.com/office/drawing/2014/main" id="{5E4AE49B-A792-47FD-AB5C-45D1FB9CE41F}"/>
                    </a:ext>
                  </a:extLst>
                </p:cNvPr>
                <p:cNvSpPr>
                  <a:spLocks/>
                </p:cNvSpPr>
                <p:nvPr/>
              </p:nvSpPr>
              <p:spPr bwMode="auto">
                <a:xfrm>
                  <a:off x="3239371" y="1755666"/>
                  <a:ext cx="76326" cy="92475"/>
                </a:xfrm>
                <a:custGeom>
                  <a:avLst/>
                  <a:gdLst>
                    <a:gd name="T0" fmla="*/ 15 w 91"/>
                    <a:gd name="T1" fmla="*/ 111 h 111"/>
                    <a:gd name="T2" fmla="*/ 0 w 91"/>
                    <a:gd name="T3" fmla="*/ 13 h 111"/>
                    <a:gd name="T4" fmla="*/ 76 w 91"/>
                    <a:gd name="T5" fmla="*/ 0 h 111"/>
                    <a:gd name="T6" fmla="*/ 91 w 91"/>
                    <a:gd name="T7" fmla="*/ 103 h 111"/>
                    <a:gd name="T8" fmla="*/ 15 w 91"/>
                    <a:gd name="T9" fmla="*/ 111 h 111"/>
                  </a:gdLst>
                  <a:ahLst/>
                  <a:cxnLst>
                    <a:cxn ang="0">
                      <a:pos x="T0" y="T1"/>
                    </a:cxn>
                    <a:cxn ang="0">
                      <a:pos x="T2" y="T3"/>
                    </a:cxn>
                    <a:cxn ang="0">
                      <a:pos x="T4" y="T5"/>
                    </a:cxn>
                    <a:cxn ang="0">
                      <a:pos x="T6" y="T7"/>
                    </a:cxn>
                    <a:cxn ang="0">
                      <a:pos x="T8" y="T9"/>
                    </a:cxn>
                  </a:cxnLst>
                  <a:rect l="0" t="0" r="r" b="b"/>
                  <a:pathLst>
                    <a:path w="91" h="111">
                      <a:moveTo>
                        <a:pt x="15" y="111"/>
                      </a:moveTo>
                      <a:cubicBezTo>
                        <a:pt x="11" y="78"/>
                        <a:pt x="2" y="20"/>
                        <a:pt x="0" y="13"/>
                      </a:cubicBezTo>
                      <a:cubicBezTo>
                        <a:pt x="76" y="0"/>
                        <a:pt x="76" y="0"/>
                        <a:pt x="76" y="0"/>
                      </a:cubicBezTo>
                      <a:cubicBezTo>
                        <a:pt x="77" y="7"/>
                        <a:pt x="87" y="68"/>
                        <a:pt x="91" y="103"/>
                      </a:cubicBezTo>
                      <a:lnTo>
                        <a:pt x="15" y="111"/>
                      </a:ln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5" name="Freeform 48">
                  <a:extLst>
                    <a:ext uri="{FF2B5EF4-FFF2-40B4-BE49-F238E27FC236}">
                      <a16:creationId xmlns:a16="http://schemas.microsoft.com/office/drawing/2014/main" id="{D871DB13-16DA-446D-AEC0-DDED3DC2EBC0}"/>
                    </a:ext>
                  </a:extLst>
                </p:cNvPr>
                <p:cNvSpPr>
                  <a:spLocks/>
                </p:cNvSpPr>
                <p:nvPr/>
              </p:nvSpPr>
              <p:spPr bwMode="auto">
                <a:xfrm>
                  <a:off x="3235555" y="1725159"/>
                  <a:ext cx="71556" cy="71501"/>
                </a:xfrm>
                <a:custGeom>
                  <a:avLst/>
                  <a:gdLst>
                    <a:gd name="T0" fmla="*/ 5 w 85"/>
                    <a:gd name="T1" fmla="*/ 33 h 85"/>
                    <a:gd name="T2" fmla="*/ 32 w 85"/>
                    <a:gd name="T3" fmla="*/ 80 h 85"/>
                    <a:gd name="T4" fmla="*/ 80 w 85"/>
                    <a:gd name="T5" fmla="*/ 53 h 85"/>
                    <a:gd name="T6" fmla="*/ 52 w 85"/>
                    <a:gd name="T7" fmla="*/ 6 h 85"/>
                    <a:gd name="T8" fmla="*/ 5 w 85"/>
                    <a:gd name="T9" fmla="*/ 33 h 85"/>
                  </a:gdLst>
                  <a:ahLst/>
                  <a:cxnLst>
                    <a:cxn ang="0">
                      <a:pos x="T0" y="T1"/>
                    </a:cxn>
                    <a:cxn ang="0">
                      <a:pos x="T2" y="T3"/>
                    </a:cxn>
                    <a:cxn ang="0">
                      <a:pos x="T4" y="T5"/>
                    </a:cxn>
                    <a:cxn ang="0">
                      <a:pos x="T6" y="T7"/>
                    </a:cxn>
                    <a:cxn ang="0">
                      <a:pos x="T8" y="T9"/>
                    </a:cxn>
                  </a:cxnLst>
                  <a:rect l="0" t="0" r="r" b="b"/>
                  <a:pathLst>
                    <a:path w="85" h="85">
                      <a:moveTo>
                        <a:pt x="5" y="33"/>
                      </a:moveTo>
                      <a:cubicBezTo>
                        <a:pt x="0" y="53"/>
                        <a:pt x="12" y="74"/>
                        <a:pt x="32" y="80"/>
                      </a:cubicBezTo>
                      <a:cubicBezTo>
                        <a:pt x="53" y="85"/>
                        <a:pt x="74" y="73"/>
                        <a:pt x="80" y="53"/>
                      </a:cubicBezTo>
                      <a:cubicBezTo>
                        <a:pt x="85" y="32"/>
                        <a:pt x="73" y="11"/>
                        <a:pt x="52" y="6"/>
                      </a:cubicBezTo>
                      <a:cubicBezTo>
                        <a:pt x="32" y="0"/>
                        <a:pt x="10" y="12"/>
                        <a:pt x="5" y="33"/>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6" name="Freeform 49">
                  <a:extLst>
                    <a:ext uri="{FF2B5EF4-FFF2-40B4-BE49-F238E27FC236}">
                      <a16:creationId xmlns:a16="http://schemas.microsoft.com/office/drawing/2014/main" id="{0FDAF94F-63E0-4480-85CB-ECE008C437FC}"/>
                    </a:ext>
                  </a:extLst>
                </p:cNvPr>
                <p:cNvSpPr>
                  <a:spLocks/>
                </p:cNvSpPr>
                <p:nvPr/>
              </p:nvSpPr>
              <p:spPr bwMode="auto">
                <a:xfrm>
                  <a:off x="3261314" y="1841468"/>
                  <a:ext cx="51520" cy="13347"/>
                </a:xfrm>
                <a:custGeom>
                  <a:avLst/>
                  <a:gdLst>
                    <a:gd name="T0" fmla="*/ 0 w 54"/>
                    <a:gd name="T1" fmla="*/ 7 h 14"/>
                    <a:gd name="T2" fmla="*/ 53 w 54"/>
                    <a:gd name="T3" fmla="*/ 0 h 14"/>
                    <a:gd name="T4" fmla="*/ 54 w 54"/>
                    <a:gd name="T5" fmla="*/ 14 h 14"/>
                    <a:gd name="T6" fmla="*/ 0 w 54"/>
                    <a:gd name="T7" fmla="*/ 12 h 14"/>
                    <a:gd name="T8" fmla="*/ 0 w 54"/>
                    <a:gd name="T9" fmla="*/ 7 h 14"/>
                  </a:gdLst>
                  <a:ahLst/>
                  <a:cxnLst>
                    <a:cxn ang="0">
                      <a:pos x="T0" y="T1"/>
                    </a:cxn>
                    <a:cxn ang="0">
                      <a:pos x="T2" y="T3"/>
                    </a:cxn>
                    <a:cxn ang="0">
                      <a:pos x="T4" y="T5"/>
                    </a:cxn>
                    <a:cxn ang="0">
                      <a:pos x="T6" y="T7"/>
                    </a:cxn>
                    <a:cxn ang="0">
                      <a:pos x="T8" y="T9"/>
                    </a:cxn>
                  </a:cxnLst>
                  <a:rect l="0" t="0" r="r" b="b"/>
                  <a:pathLst>
                    <a:path w="54" h="14">
                      <a:moveTo>
                        <a:pt x="0" y="7"/>
                      </a:moveTo>
                      <a:lnTo>
                        <a:pt x="53" y="0"/>
                      </a:lnTo>
                      <a:lnTo>
                        <a:pt x="54" y="14"/>
                      </a:lnTo>
                      <a:lnTo>
                        <a:pt x="0" y="12"/>
                      </a:lnTo>
                      <a:lnTo>
                        <a:pt x="0" y="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7" name="Freeform 50">
                  <a:extLst>
                    <a:ext uri="{FF2B5EF4-FFF2-40B4-BE49-F238E27FC236}">
                      <a16:creationId xmlns:a16="http://schemas.microsoft.com/office/drawing/2014/main" id="{B0825F1D-78C4-4896-94D4-F436ADB69CA8}"/>
                    </a:ext>
                  </a:extLst>
                </p:cNvPr>
                <p:cNvSpPr>
                  <a:spLocks/>
                </p:cNvSpPr>
                <p:nvPr/>
              </p:nvSpPr>
              <p:spPr bwMode="auto">
                <a:xfrm>
                  <a:off x="3256544" y="1680352"/>
                  <a:ext cx="57244" cy="230710"/>
                </a:xfrm>
                <a:custGeom>
                  <a:avLst/>
                  <a:gdLst>
                    <a:gd name="T0" fmla="*/ 65 w 67"/>
                    <a:gd name="T1" fmla="*/ 245 h 276"/>
                    <a:gd name="T2" fmla="*/ 21 w 67"/>
                    <a:gd name="T3" fmla="*/ 11 h 276"/>
                    <a:gd name="T4" fmla="*/ 2 w 67"/>
                    <a:gd name="T5" fmla="*/ 31 h 276"/>
                    <a:gd name="T6" fmla="*/ 0 w 67"/>
                    <a:gd name="T7" fmla="*/ 79 h 276"/>
                    <a:gd name="T8" fmla="*/ 11 w 67"/>
                    <a:gd name="T9" fmla="*/ 252 h 276"/>
                    <a:gd name="T10" fmla="*/ 42 w 67"/>
                    <a:gd name="T11" fmla="*/ 274 h 276"/>
                    <a:gd name="T12" fmla="*/ 65 w 67"/>
                    <a:gd name="T13" fmla="*/ 245 h 276"/>
                  </a:gdLst>
                  <a:ahLst/>
                  <a:cxnLst>
                    <a:cxn ang="0">
                      <a:pos x="T0" y="T1"/>
                    </a:cxn>
                    <a:cxn ang="0">
                      <a:pos x="T2" y="T3"/>
                    </a:cxn>
                    <a:cxn ang="0">
                      <a:pos x="T4" y="T5"/>
                    </a:cxn>
                    <a:cxn ang="0">
                      <a:pos x="T6" y="T7"/>
                    </a:cxn>
                    <a:cxn ang="0">
                      <a:pos x="T8" y="T9"/>
                    </a:cxn>
                    <a:cxn ang="0">
                      <a:pos x="T10" y="T11"/>
                    </a:cxn>
                    <a:cxn ang="0">
                      <a:pos x="T12" y="T13"/>
                    </a:cxn>
                  </a:cxnLst>
                  <a:rect l="0" t="0" r="r" b="b"/>
                  <a:pathLst>
                    <a:path w="67" h="276">
                      <a:moveTo>
                        <a:pt x="65" y="245"/>
                      </a:moveTo>
                      <a:cubicBezTo>
                        <a:pt x="26" y="0"/>
                        <a:pt x="21" y="11"/>
                        <a:pt x="21" y="11"/>
                      </a:cubicBezTo>
                      <a:cubicBezTo>
                        <a:pt x="19" y="6"/>
                        <a:pt x="8" y="20"/>
                        <a:pt x="2" y="31"/>
                      </a:cubicBezTo>
                      <a:cubicBezTo>
                        <a:pt x="16" y="43"/>
                        <a:pt x="15" y="68"/>
                        <a:pt x="0" y="79"/>
                      </a:cubicBezTo>
                      <a:cubicBezTo>
                        <a:pt x="11" y="252"/>
                        <a:pt x="11" y="252"/>
                        <a:pt x="11" y="252"/>
                      </a:cubicBezTo>
                      <a:cubicBezTo>
                        <a:pt x="13" y="266"/>
                        <a:pt x="27" y="276"/>
                        <a:pt x="42" y="274"/>
                      </a:cubicBezTo>
                      <a:cubicBezTo>
                        <a:pt x="57" y="272"/>
                        <a:pt x="67" y="260"/>
                        <a:pt x="65" y="245"/>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8" name="Freeform 51">
                  <a:extLst>
                    <a:ext uri="{FF2B5EF4-FFF2-40B4-BE49-F238E27FC236}">
                      <a16:creationId xmlns:a16="http://schemas.microsoft.com/office/drawing/2014/main" id="{6B33DECA-366A-4E8A-B078-D9093D1EE068}"/>
                    </a:ext>
                  </a:extLst>
                </p:cNvPr>
                <p:cNvSpPr>
                  <a:spLocks noEditPoints="1"/>
                </p:cNvSpPr>
                <p:nvPr/>
              </p:nvSpPr>
              <p:spPr bwMode="auto">
                <a:xfrm>
                  <a:off x="3252728" y="1683212"/>
                  <a:ext cx="65831" cy="230710"/>
                </a:xfrm>
                <a:custGeom>
                  <a:avLst/>
                  <a:gdLst>
                    <a:gd name="T0" fmla="*/ 43 w 78"/>
                    <a:gd name="T1" fmla="*/ 276 h 276"/>
                    <a:gd name="T2" fmla="*/ 24 w 78"/>
                    <a:gd name="T3" fmla="*/ 270 h 276"/>
                    <a:gd name="T4" fmla="*/ 11 w 78"/>
                    <a:gd name="T5" fmla="*/ 248 h 276"/>
                    <a:gd name="T6" fmla="*/ 0 w 78"/>
                    <a:gd name="T7" fmla="*/ 72 h 276"/>
                    <a:gd name="T8" fmla="*/ 2 w 78"/>
                    <a:gd name="T9" fmla="*/ 71 h 276"/>
                    <a:gd name="T10" fmla="*/ 12 w 78"/>
                    <a:gd name="T11" fmla="*/ 52 h 276"/>
                    <a:gd name="T12" fmla="*/ 4 w 78"/>
                    <a:gd name="T13" fmla="*/ 32 h 276"/>
                    <a:gd name="T14" fmla="*/ 0 w 78"/>
                    <a:gd name="T15" fmla="*/ 29 h 276"/>
                    <a:gd name="T16" fmla="*/ 2 w 78"/>
                    <a:gd name="T17" fmla="*/ 25 h 276"/>
                    <a:gd name="T18" fmla="*/ 25 w 78"/>
                    <a:gd name="T19" fmla="*/ 1 h 276"/>
                    <a:gd name="T20" fmla="*/ 29 w 78"/>
                    <a:gd name="T21" fmla="*/ 3 h 276"/>
                    <a:gd name="T22" fmla="*/ 40 w 78"/>
                    <a:gd name="T23" fmla="*/ 40 h 276"/>
                    <a:gd name="T24" fmla="*/ 75 w 78"/>
                    <a:gd name="T25" fmla="*/ 240 h 276"/>
                    <a:gd name="T26" fmla="*/ 75 w 78"/>
                    <a:gd name="T27" fmla="*/ 240 h 276"/>
                    <a:gd name="T28" fmla="*/ 48 w 78"/>
                    <a:gd name="T29" fmla="*/ 276 h 276"/>
                    <a:gd name="T30" fmla="*/ 43 w 78"/>
                    <a:gd name="T31" fmla="*/ 276 h 276"/>
                    <a:gd name="T32" fmla="*/ 11 w 78"/>
                    <a:gd name="T33" fmla="*/ 77 h 276"/>
                    <a:gd name="T34" fmla="*/ 22 w 78"/>
                    <a:gd name="T35" fmla="*/ 247 h 276"/>
                    <a:gd name="T36" fmla="*/ 30 w 78"/>
                    <a:gd name="T37" fmla="*/ 261 h 276"/>
                    <a:gd name="T38" fmla="*/ 46 w 78"/>
                    <a:gd name="T39" fmla="*/ 265 h 276"/>
                    <a:gd name="T40" fmla="*/ 65 w 78"/>
                    <a:gd name="T41" fmla="*/ 242 h 276"/>
                    <a:gd name="T42" fmla="*/ 25 w 78"/>
                    <a:gd name="T43" fmla="*/ 21 h 276"/>
                    <a:gd name="T44" fmla="*/ 24 w 78"/>
                    <a:gd name="T45" fmla="*/ 23 h 276"/>
                    <a:gd name="T46" fmla="*/ 22 w 78"/>
                    <a:gd name="T47" fmla="*/ 15 h 276"/>
                    <a:gd name="T48" fmla="*/ 14 w 78"/>
                    <a:gd name="T49" fmla="*/ 27 h 276"/>
                    <a:gd name="T50" fmla="*/ 22 w 78"/>
                    <a:gd name="T51" fmla="*/ 52 h 276"/>
                    <a:gd name="T52" fmla="*/ 11 w 78"/>
                    <a:gd name="T53" fmla="*/ 7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8" h="276">
                      <a:moveTo>
                        <a:pt x="43" y="276"/>
                      </a:moveTo>
                      <a:cubicBezTo>
                        <a:pt x="36" y="276"/>
                        <a:pt x="29" y="274"/>
                        <a:pt x="24" y="270"/>
                      </a:cubicBezTo>
                      <a:cubicBezTo>
                        <a:pt x="17" y="264"/>
                        <a:pt x="12" y="257"/>
                        <a:pt x="11" y="248"/>
                      </a:cubicBezTo>
                      <a:cubicBezTo>
                        <a:pt x="0" y="72"/>
                        <a:pt x="0" y="72"/>
                        <a:pt x="0" y="72"/>
                      </a:cubicBezTo>
                      <a:cubicBezTo>
                        <a:pt x="2" y="71"/>
                        <a:pt x="2" y="71"/>
                        <a:pt x="2" y="71"/>
                      </a:cubicBezTo>
                      <a:cubicBezTo>
                        <a:pt x="8" y="67"/>
                        <a:pt x="11" y="60"/>
                        <a:pt x="12" y="52"/>
                      </a:cubicBezTo>
                      <a:cubicBezTo>
                        <a:pt x="12" y="44"/>
                        <a:pt x="9" y="36"/>
                        <a:pt x="4" y="32"/>
                      </a:cubicBezTo>
                      <a:cubicBezTo>
                        <a:pt x="0" y="29"/>
                        <a:pt x="0" y="29"/>
                        <a:pt x="0" y="29"/>
                      </a:cubicBezTo>
                      <a:cubicBezTo>
                        <a:pt x="2" y="25"/>
                        <a:pt x="2" y="25"/>
                        <a:pt x="2" y="25"/>
                      </a:cubicBezTo>
                      <a:cubicBezTo>
                        <a:pt x="3" y="24"/>
                        <a:pt x="16" y="0"/>
                        <a:pt x="25" y="1"/>
                      </a:cubicBezTo>
                      <a:cubicBezTo>
                        <a:pt x="27" y="1"/>
                        <a:pt x="28" y="2"/>
                        <a:pt x="29" y="3"/>
                      </a:cubicBezTo>
                      <a:cubicBezTo>
                        <a:pt x="32" y="5"/>
                        <a:pt x="34" y="12"/>
                        <a:pt x="40" y="40"/>
                      </a:cubicBezTo>
                      <a:cubicBezTo>
                        <a:pt x="49" y="79"/>
                        <a:pt x="60" y="146"/>
                        <a:pt x="75" y="240"/>
                      </a:cubicBezTo>
                      <a:cubicBezTo>
                        <a:pt x="75" y="240"/>
                        <a:pt x="75" y="240"/>
                        <a:pt x="75" y="240"/>
                      </a:cubicBezTo>
                      <a:cubicBezTo>
                        <a:pt x="78" y="258"/>
                        <a:pt x="65" y="273"/>
                        <a:pt x="48" y="276"/>
                      </a:cubicBezTo>
                      <a:cubicBezTo>
                        <a:pt x="46" y="276"/>
                        <a:pt x="45" y="276"/>
                        <a:pt x="43" y="276"/>
                      </a:cubicBezTo>
                      <a:close/>
                      <a:moveTo>
                        <a:pt x="11" y="77"/>
                      </a:moveTo>
                      <a:cubicBezTo>
                        <a:pt x="22" y="247"/>
                        <a:pt x="22" y="247"/>
                        <a:pt x="22" y="247"/>
                      </a:cubicBezTo>
                      <a:cubicBezTo>
                        <a:pt x="22" y="253"/>
                        <a:pt x="25" y="258"/>
                        <a:pt x="30" y="261"/>
                      </a:cubicBezTo>
                      <a:cubicBezTo>
                        <a:pt x="35" y="264"/>
                        <a:pt x="40" y="266"/>
                        <a:pt x="46" y="265"/>
                      </a:cubicBezTo>
                      <a:cubicBezTo>
                        <a:pt x="58" y="263"/>
                        <a:pt x="66" y="253"/>
                        <a:pt x="65" y="242"/>
                      </a:cubicBezTo>
                      <a:cubicBezTo>
                        <a:pt x="41" y="92"/>
                        <a:pt x="30" y="39"/>
                        <a:pt x="25" y="21"/>
                      </a:cubicBezTo>
                      <a:cubicBezTo>
                        <a:pt x="24" y="23"/>
                        <a:pt x="24" y="23"/>
                        <a:pt x="24" y="23"/>
                      </a:cubicBezTo>
                      <a:cubicBezTo>
                        <a:pt x="22" y="15"/>
                        <a:pt x="22" y="15"/>
                        <a:pt x="22" y="15"/>
                      </a:cubicBezTo>
                      <a:cubicBezTo>
                        <a:pt x="19" y="18"/>
                        <a:pt x="16" y="22"/>
                        <a:pt x="14" y="27"/>
                      </a:cubicBezTo>
                      <a:cubicBezTo>
                        <a:pt x="20" y="33"/>
                        <a:pt x="23" y="42"/>
                        <a:pt x="22" y="52"/>
                      </a:cubicBezTo>
                      <a:cubicBezTo>
                        <a:pt x="22" y="62"/>
                        <a:pt x="18" y="71"/>
                        <a:pt x="11" y="77"/>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9" name="Freeform 52">
                  <a:extLst>
                    <a:ext uri="{FF2B5EF4-FFF2-40B4-BE49-F238E27FC236}">
                      <a16:creationId xmlns:a16="http://schemas.microsoft.com/office/drawing/2014/main" id="{AA22F903-336E-4825-B2BB-BF5DEB131723}"/>
                    </a:ext>
                  </a:extLst>
                </p:cNvPr>
                <p:cNvSpPr>
                  <a:spLocks/>
                </p:cNvSpPr>
                <p:nvPr/>
              </p:nvSpPr>
              <p:spPr bwMode="auto">
                <a:xfrm>
                  <a:off x="3103892" y="1607897"/>
                  <a:ext cx="120213" cy="91521"/>
                </a:xfrm>
                <a:custGeom>
                  <a:avLst/>
                  <a:gdLst>
                    <a:gd name="T0" fmla="*/ 42 w 143"/>
                    <a:gd name="T1" fmla="*/ 110 h 110"/>
                    <a:gd name="T2" fmla="*/ 110 w 143"/>
                    <a:gd name="T3" fmla="*/ 109 h 110"/>
                    <a:gd name="T4" fmla="*/ 143 w 143"/>
                    <a:gd name="T5" fmla="*/ 28 h 110"/>
                    <a:gd name="T6" fmla="*/ 143 w 143"/>
                    <a:gd name="T7" fmla="*/ 0 h 110"/>
                    <a:gd name="T8" fmla="*/ 0 w 143"/>
                    <a:gd name="T9" fmla="*/ 0 h 110"/>
                    <a:gd name="T10" fmla="*/ 0 w 143"/>
                    <a:gd name="T11" fmla="*/ 28 h 110"/>
                    <a:gd name="T12" fmla="*/ 42 w 143"/>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43" h="110">
                      <a:moveTo>
                        <a:pt x="42" y="110"/>
                      </a:moveTo>
                      <a:cubicBezTo>
                        <a:pt x="110" y="109"/>
                        <a:pt x="110" y="109"/>
                        <a:pt x="110" y="109"/>
                      </a:cubicBezTo>
                      <a:cubicBezTo>
                        <a:pt x="137" y="97"/>
                        <a:pt x="143" y="65"/>
                        <a:pt x="143" y="28"/>
                      </a:cubicBezTo>
                      <a:cubicBezTo>
                        <a:pt x="143" y="0"/>
                        <a:pt x="143" y="0"/>
                        <a:pt x="143" y="0"/>
                      </a:cubicBezTo>
                      <a:cubicBezTo>
                        <a:pt x="0" y="0"/>
                        <a:pt x="0" y="0"/>
                        <a:pt x="0" y="0"/>
                      </a:cubicBezTo>
                      <a:cubicBezTo>
                        <a:pt x="0" y="28"/>
                        <a:pt x="0" y="28"/>
                        <a:pt x="0" y="28"/>
                      </a:cubicBezTo>
                      <a:cubicBezTo>
                        <a:pt x="0" y="66"/>
                        <a:pt x="13" y="98"/>
                        <a:pt x="42" y="110"/>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0" name="Oval 53">
                  <a:extLst>
                    <a:ext uri="{FF2B5EF4-FFF2-40B4-BE49-F238E27FC236}">
                      <a16:creationId xmlns:a16="http://schemas.microsoft.com/office/drawing/2014/main" id="{76C2855C-3F2F-48D6-A296-B46F2861707D}"/>
                    </a:ext>
                  </a:extLst>
                </p:cNvPr>
                <p:cNvSpPr>
                  <a:spLocks noChangeArrowheads="1"/>
                </p:cNvSpPr>
                <p:nvPr/>
              </p:nvSpPr>
              <p:spPr bwMode="auto">
                <a:xfrm>
                  <a:off x="3135377" y="1610758"/>
                  <a:ext cx="7633" cy="7627"/>
                </a:xfrm>
                <a:prstGeom prst="ellipse">
                  <a:avLst/>
                </a:pr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1" name="Freeform 54">
                  <a:extLst>
                    <a:ext uri="{FF2B5EF4-FFF2-40B4-BE49-F238E27FC236}">
                      <a16:creationId xmlns:a16="http://schemas.microsoft.com/office/drawing/2014/main" id="{935C0809-C6C2-4ACB-9B16-A2A025887BD8}"/>
                    </a:ext>
                  </a:extLst>
                </p:cNvPr>
                <p:cNvSpPr>
                  <a:spLocks/>
                </p:cNvSpPr>
                <p:nvPr/>
              </p:nvSpPr>
              <p:spPr bwMode="auto">
                <a:xfrm>
                  <a:off x="3189759" y="1609804"/>
                  <a:ext cx="8587" cy="7627"/>
                </a:xfrm>
                <a:custGeom>
                  <a:avLst/>
                  <a:gdLst>
                    <a:gd name="T0" fmla="*/ 5 w 10"/>
                    <a:gd name="T1" fmla="*/ 9 h 9"/>
                    <a:gd name="T2" fmla="*/ 10 w 10"/>
                    <a:gd name="T3" fmla="*/ 5 h 9"/>
                    <a:gd name="T4" fmla="*/ 5 w 10"/>
                    <a:gd name="T5" fmla="*/ 0 h 9"/>
                    <a:gd name="T6" fmla="*/ 0 w 10"/>
                    <a:gd name="T7" fmla="*/ 5 h 9"/>
                    <a:gd name="T8" fmla="*/ 5 w 10"/>
                    <a:gd name="T9" fmla="*/ 9 h 9"/>
                  </a:gdLst>
                  <a:ahLst/>
                  <a:cxnLst>
                    <a:cxn ang="0">
                      <a:pos x="T0" y="T1"/>
                    </a:cxn>
                    <a:cxn ang="0">
                      <a:pos x="T2" y="T3"/>
                    </a:cxn>
                    <a:cxn ang="0">
                      <a:pos x="T4" y="T5"/>
                    </a:cxn>
                    <a:cxn ang="0">
                      <a:pos x="T6" y="T7"/>
                    </a:cxn>
                    <a:cxn ang="0">
                      <a:pos x="T8" y="T9"/>
                    </a:cxn>
                  </a:cxnLst>
                  <a:rect l="0" t="0" r="r" b="b"/>
                  <a:pathLst>
                    <a:path w="10" h="9">
                      <a:moveTo>
                        <a:pt x="5" y="9"/>
                      </a:moveTo>
                      <a:cubicBezTo>
                        <a:pt x="8" y="9"/>
                        <a:pt x="10" y="7"/>
                        <a:pt x="10" y="5"/>
                      </a:cubicBezTo>
                      <a:cubicBezTo>
                        <a:pt x="10" y="2"/>
                        <a:pt x="7" y="0"/>
                        <a:pt x="5" y="0"/>
                      </a:cubicBezTo>
                      <a:cubicBezTo>
                        <a:pt x="3" y="0"/>
                        <a:pt x="0" y="3"/>
                        <a:pt x="0" y="5"/>
                      </a:cubicBezTo>
                      <a:cubicBezTo>
                        <a:pt x="0" y="7"/>
                        <a:pt x="3" y="9"/>
                        <a:pt x="5" y="9"/>
                      </a:cubicBez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2" name="Freeform 55">
                  <a:extLst>
                    <a:ext uri="{FF2B5EF4-FFF2-40B4-BE49-F238E27FC236}">
                      <a16:creationId xmlns:a16="http://schemas.microsoft.com/office/drawing/2014/main" id="{06C13E1E-83CC-405D-A2F7-249B9B45006B}"/>
                    </a:ext>
                  </a:extLst>
                </p:cNvPr>
                <p:cNvSpPr>
                  <a:spLocks/>
                </p:cNvSpPr>
                <p:nvPr/>
              </p:nvSpPr>
              <p:spPr bwMode="auto">
                <a:xfrm>
                  <a:off x="3131560" y="1694652"/>
                  <a:ext cx="72510" cy="25741"/>
                </a:xfrm>
                <a:custGeom>
                  <a:avLst/>
                  <a:gdLst>
                    <a:gd name="T0" fmla="*/ 0 w 86"/>
                    <a:gd name="T1" fmla="*/ 9 h 31"/>
                    <a:gd name="T2" fmla="*/ 40 w 86"/>
                    <a:gd name="T3" fmla="*/ 31 h 31"/>
                    <a:gd name="T4" fmla="*/ 41 w 86"/>
                    <a:gd name="T5" fmla="*/ 31 h 31"/>
                    <a:gd name="T6" fmla="*/ 41 w 86"/>
                    <a:gd name="T7" fmla="*/ 31 h 31"/>
                    <a:gd name="T8" fmla="*/ 41 w 86"/>
                    <a:gd name="T9" fmla="*/ 31 h 31"/>
                    <a:gd name="T10" fmla="*/ 43 w 86"/>
                    <a:gd name="T11" fmla="*/ 31 h 31"/>
                    <a:gd name="T12" fmla="*/ 86 w 86"/>
                    <a:gd name="T13" fmla="*/ 7 h 31"/>
                    <a:gd name="T14" fmla="*/ 86 w 86"/>
                    <a:gd name="T15" fmla="*/ 0 h 31"/>
                    <a:gd name="T16" fmla="*/ 43 w 86"/>
                    <a:gd name="T17" fmla="*/ 24 h 31"/>
                    <a:gd name="T18" fmla="*/ 41 w 86"/>
                    <a:gd name="T19" fmla="*/ 24 h 31"/>
                    <a:gd name="T20" fmla="*/ 41 w 86"/>
                    <a:gd name="T21" fmla="*/ 24 h 31"/>
                    <a:gd name="T22" fmla="*/ 41 w 86"/>
                    <a:gd name="T23" fmla="*/ 24 h 31"/>
                    <a:gd name="T24" fmla="*/ 40 w 86"/>
                    <a:gd name="T25" fmla="*/ 24 h 31"/>
                    <a:gd name="T26" fmla="*/ 0 w 86"/>
                    <a:gd name="T27" fmla="*/ 2 h 31"/>
                    <a:gd name="T28" fmla="*/ 0 w 86"/>
                    <a:gd name="T2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31">
                      <a:moveTo>
                        <a:pt x="0" y="9"/>
                      </a:moveTo>
                      <a:cubicBezTo>
                        <a:pt x="14" y="20"/>
                        <a:pt x="30" y="30"/>
                        <a:pt x="40" y="31"/>
                      </a:cubicBezTo>
                      <a:cubicBezTo>
                        <a:pt x="40" y="31"/>
                        <a:pt x="41" y="31"/>
                        <a:pt x="41" y="31"/>
                      </a:cubicBezTo>
                      <a:cubicBezTo>
                        <a:pt x="41" y="31"/>
                        <a:pt x="41" y="31"/>
                        <a:pt x="41" y="31"/>
                      </a:cubicBezTo>
                      <a:cubicBezTo>
                        <a:pt x="41" y="31"/>
                        <a:pt x="41" y="31"/>
                        <a:pt x="41" y="31"/>
                      </a:cubicBezTo>
                      <a:cubicBezTo>
                        <a:pt x="42" y="31"/>
                        <a:pt x="42" y="31"/>
                        <a:pt x="43" y="31"/>
                      </a:cubicBezTo>
                      <a:cubicBezTo>
                        <a:pt x="54" y="30"/>
                        <a:pt x="72" y="21"/>
                        <a:pt x="86" y="7"/>
                      </a:cubicBezTo>
                      <a:cubicBezTo>
                        <a:pt x="86" y="0"/>
                        <a:pt x="86" y="0"/>
                        <a:pt x="86" y="0"/>
                      </a:cubicBezTo>
                      <a:cubicBezTo>
                        <a:pt x="72" y="14"/>
                        <a:pt x="54" y="23"/>
                        <a:pt x="43" y="24"/>
                      </a:cubicBezTo>
                      <a:cubicBezTo>
                        <a:pt x="42" y="24"/>
                        <a:pt x="42" y="24"/>
                        <a:pt x="41" y="24"/>
                      </a:cubicBezTo>
                      <a:cubicBezTo>
                        <a:pt x="41" y="24"/>
                        <a:pt x="41" y="24"/>
                        <a:pt x="41" y="24"/>
                      </a:cubicBezTo>
                      <a:cubicBezTo>
                        <a:pt x="41" y="24"/>
                        <a:pt x="41" y="24"/>
                        <a:pt x="41" y="24"/>
                      </a:cubicBezTo>
                      <a:cubicBezTo>
                        <a:pt x="41" y="24"/>
                        <a:pt x="40" y="24"/>
                        <a:pt x="40" y="24"/>
                      </a:cubicBezTo>
                      <a:cubicBezTo>
                        <a:pt x="30" y="23"/>
                        <a:pt x="14" y="13"/>
                        <a:pt x="0" y="2"/>
                      </a:cubicBezTo>
                      <a:lnTo>
                        <a:pt x="0" y="9"/>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3" name="Freeform 56">
                  <a:extLst>
                    <a:ext uri="{FF2B5EF4-FFF2-40B4-BE49-F238E27FC236}">
                      <a16:creationId xmlns:a16="http://schemas.microsoft.com/office/drawing/2014/main" id="{31F6994C-E43E-4962-A7B0-7ABB2B07CD16}"/>
                    </a:ext>
                  </a:extLst>
                </p:cNvPr>
                <p:cNvSpPr>
                  <a:spLocks/>
                </p:cNvSpPr>
                <p:nvPr/>
              </p:nvSpPr>
              <p:spPr bwMode="auto">
                <a:xfrm>
                  <a:off x="3089581" y="1610758"/>
                  <a:ext cx="21944" cy="51481"/>
                </a:xfrm>
                <a:custGeom>
                  <a:avLst/>
                  <a:gdLst>
                    <a:gd name="T0" fmla="*/ 19 w 26"/>
                    <a:gd name="T1" fmla="*/ 6 h 61"/>
                    <a:gd name="T2" fmla="*/ 9 w 26"/>
                    <a:gd name="T3" fmla="*/ 1 h 61"/>
                    <a:gd name="T4" fmla="*/ 4 w 26"/>
                    <a:gd name="T5" fmla="*/ 17 h 61"/>
                    <a:gd name="T6" fmla="*/ 5 w 26"/>
                    <a:gd name="T7" fmla="*/ 25 h 61"/>
                    <a:gd name="T8" fmla="*/ 8 w 26"/>
                    <a:gd name="T9" fmla="*/ 32 h 61"/>
                    <a:gd name="T10" fmla="*/ 11 w 26"/>
                    <a:gd name="T11" fmla="*/ 40 h 61"/>
                    <a:gd name="T12" fmla="*/ 12 w 26"/>
                    <a:gd name="T13" fmla="*/ 45 h 61"/>
                    <a:gd name="T14" fmla="*/ 14 w 26"/>
                    <a:gd name="T15" fmla="*/ 54 h 61"/>
                    <a:gd name="T16" fmla="*/ 20 w 26"/>
                    <a:gd name="T17" fmla="*/ 61 h 61"/>
                    <a:gd name="T18" fmla="*/ 26 w 26"/>
                    <a:gd name="T19" fmla="*/ 61 h 61"/>
                    <a:gd name="T20" fmla="*/ 26 w 26"/>
                    <a:gd name="T21" fmla="*/ 10 h 61"/>
                    <a:gd name="T22" fmla="*/ 19 w 26"/>
                    <a:gd name="T23" fmla="*/ 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1">
                      <a:moveTo>
                        <a:pt x="19" y="6"/>
                      </a:moveTo>
                      <a:cubicBezTo>
                        <a:pt x="19" y="6"/>
                        <a:pt x="17" y="0"/>
                        <a:pt x="9" y="1"/>
                      </a:cubicBezTo>
                      <a:cubicBezTo>
                        <a:pt x="9" y="1"/>
                        <a:pt x="0" y="2"/>
                        <a:pt x="4" y="17"/>
                      </a:cubicBezTo>
                      <a:cubicBezTo>
                        <a:pt x="5" y="25"/>
                        <a:pt x="5" y="25"/>
                        <a:pt x="5" y="25"/>
                      </a:cubicBezTo>
                      <a:cubicBezTo>
                        <a:pt x="8" y="32"/>
                        <a:pt x="8" y="32"/>
                        <a:pt x="8" y="32"/>
                      </a:cubicBezTo>
                      <a:cubicBezTo>
                        <a:pt x="11" y="40"/>
                        <a:pt x="11" y="40"/>
                        <a:pt x="11" y="40"/>
                      </a:cubicBezTo>
                      <a:cubicBezTo>
                        <a:pt x="12" y="45"/>
                        <a:pt x="12" y="45"/>
                        <a:pt x="12" y="45"/>
                      </a:cubicBezTo>
                      <a:cubicBezTo>
                        <a:pt x="12" y="45"/>
                        <a:pt x="15" y="51"/>
                        <a:pt x="14" y="54"/>
                      </a:cubicBezTo>
                      <a:cubicBezTo>
                        <a:pt x="14" y="54"/>
                        <a:pt x="14" y="60"/>
                        <a:pt x="20" y="61"/>
                      </a:cubicBezTo>
                      <a:cubicBezTo>
                        <a:pt x="20" y="61"/>
                        <a:pt x="24" y="61"/>
                        <a:pt x="26" y="61"/>
                      </a:cubicBezTo>
                      <a:cubicBezTo>
                        <a:pt x="26" y="61"/>
                        <a:pt x="25" y="48"/>
                        <a:pt x="26" y="10"/>
                      </a:cubicBezTo>
                      <a:lnTo>
                        <a:pt x="19" y="6"/>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4" name="Freeform 57">
                  <a:extLst>
                    <a:ext uri="{FF2B5EF4-FFF2-40B4-BE49-F238E27FC236}">
                      <a16:creationId xmlns:a16="http://schemas.microsoft.com/office/drawing/2014/main" id="{3C7FFE0A-BCB7-406F-B8BB-CF2B6BB336BC}"/>
                    </a:ext>
                  </a:extLst>
                </p:cNvPr>
                <p:cNvSpPr>
                  <a:spLocks/>
                </p:cNvSpPr>
                <p:nvPr/>
              </p:nvSpPr>
              <p:spPr bwMode="auto">
                <a:xfrm>
                  <a:off x="3101030" y="1655565"/>
                  <a:ext cx="10495" cy="10487"/>
                </a:xfrm>
                <a:custGeom>
                  <a:avLst/>
                  <a:gdLst>
                    <a:gd name="T0" fmla="*/ 6 w 12"/>
                    <a:gd name="T1" fmla="*/ 0 h 13"/>
                    <a:gd name="T2" fmla="*/ 12 w 12"/>
                    <a:gd name="T3" fmla="*/ 7 h 13"/>
                    <a:gd name="T4" fmla="*/ 6 w 12"/>
                    <a:gd name="T5" fmla="*/ 13 h 13"/>
                    <a:gd name="T6" fmla="*/ 0 w 12"/>
                    <a:gd name="T7" fmla="*/ 6 h 13"/>
                    <a:gd name="T8" fmla="*/ 6 w 12"/>
                    <a:gd name="T9" fmla="*/ 0 h 13"/>
                  </a:gdLst>
                  <a:ahLst/>
                  <a:cxnLst>
                    <a:cxn ang="0">
                      <a:pos x="T0" y="T1"/>
                    </a:cxn>
                    <a:cxn ang="0">
                      <a:pos x="T2" y="T3"/>
                    </a:cxn>
                    <a:cxn ang="0">
                      <a:pos x="T4" y="T5"/>
                    </a:cxn>
                    <a:cxn ang="0">
                      <a:pos x="T6" y="T7"/>
                    </a:cxn>
                    <a:cxn ang="0">
                      <a:pos x="T8" y="T9"/>
                    </a:cxn>
                  </a:cxnLst>
                  <a:rect l="0" t="0" r="r" b="b"/>
                  <a:pathLst>
                    <a:path w="12" h="13">
                      <a:moveTo>
                        <a:pt x="6" y="0"/>
                      </a:moveTo>
                      <a:cubicBezTo>
                        <a:pt x="10" y="0"/>
                        <a:pt x="12" y="3"/>
                        <a:pt x="12" y="7"/>
                      </a:cubicBezTo>
                      <a:cubicBezTo>
                        <a:pt x="12" y="10"/>
                        <a:pt x="9" y="13"/>
                        <a:pt x="6" y="13"/>
                      </a:cubicBezTo>
                      <a:cubicBezTo>
                        <a:pt x="3" y="12"/>
                        <a:pt x="0" y="10"/>
                        <a:pt x="0" y="6"/>
                      </a:cubicBezTo>
                      <a:cubicBezTo>
                        <a:pt x="0" y="3"/>
                        <a:pt x="3" y="0"/>
                        <a:pt x="6" y="0"/>
                      </a:cubicBezTo>
                      <a:close/>
                    </a:path>
                  </a:pathLst>
                </a:custGeom>
                <a:solidFill>
                  <a:srgbClr val="0220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5" name="Freeform 58">
                  <a:extLst>
                    <a:ext uri="{FF2B5EF4-FFF2-40B4-BE49-F238E27FC236}">
                      <a16:creationId xmlns:a16="http://schemas.microsoft.com/office/drawing/2014/main" id="{205EB2F1-B2FF-4DCC-B745-D9DCA1A30472}"/>
                    </a:ext>
                  </a:extLst>
                </p:cNvPr>
                <p:cNvSpPr>
                  <a:spLocks/>
                </p:cNvSpPr>
                <p:nvPr/>
              </p:nvSpPr>
              <p:spPr bwMode="auto">
                <a:xfrm>
                  <a:off x="3151596" y="1654612"/>
                  <a:ext cx="31485" cy="9533"/>
                </a:xfrm>
                <a:custGeom>
                  <a:avLst/>
                  <a:gdLst>
                    <a:gd name="T0" fmla="*/ 37 w 37"/>
                    <a:gd name="T1" fmla="*/ 0 h 12"/>
                    <a:gd name="T2" fmla="*/ 34 w 37"/>
                    <a:gd name="T3" fmla="*/ 5 h 12"/>
                    <a:gd name="T4" fmla="*/ 25 w 37"/>
                    <a:gd name="T5" fmla="*/ 10 h 12"/>
                    <a:gd name="T6" fmla="*/ 19 w 37"/>
                    <a:gd name="T7" fmla="*/ 12 h 12"/>
                    <a:gd name="T8" fmla="*/ 19 w 37"/>
                    <a:gd name="T9" fmla="*/ 12 h 12"/>
                    <a:gd name="T10" fmla="*/ 13 w 37"/>
                    <a:gd name="T11" fmla="*/ 10 h 12"/>
                    <a:gd name="T12" fmla="*/ 4 w 37"/>
                    <a:gd name="T13" fmla="*/ 5 h 12"/>
                    <a:gd name="T14" fmla="*/ 1 w 37"/>
                    <a:gd name="T15" fmla="*/ 0 h 12"/>
                    <a:gd name="T16" fmla="*/ 37 w 37"/>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
                      <a:moveTo>
                        <a:pt x="37" y="0"/>
                      </a:moveTo>
                      <a:cubicBezTo>
                        <a:pt x="37" y="2"/>
                        <a:pt x="36" y="4"/>
                        <a:pt x="34" y="5"/>
                      </a:cubicBezTo>
                      <a:cubicBezTo>
                        <a:pt x="30" y="7"/>
                        <a:pt x="26" y="7"/>
                        <a:pt x="25" y="10"/>
                      </a:cubicBezTo>
                      <a:cubicBezTo>
                        <a:pt x="23" y="12"/>
                        <a:pt x="21" y="12"/>
                        <a:pt x="19" y="12"/>
                      </a:cubicBezTo>
                      <a:cubicBezTo>
                        <a:pt x="19" y="12"/>
                        <a:pt x="19" y="12"/>
                        <a:pt x="19" y="12"/>
                      </a:cubicBezTo>
                      <a:cubicBezTo>
                        <a:pt x="17" y="12"/>
                        <a:pt x="15" y="12"/>
                        <a:pt x="13" y="10"/>
                      </a:cubicBezTo>
                      <a:cubicBezTo>
                        <a:pt x="11" y="7"/>
                        <a:pt x="8" y="7"/>
                        <a:pt x="4" y="5"/>
                      </a:cubicBezTo>
                      <a:cubicBezTo>
                        <a:pt x="2" y="4"/>
                        <a:pt x="0" y="2"/>
                        <a:pt x="1" y="0"/>
                      </a:cubicBezTo>
                      <a:lnTo>
                        <a:pt x="37"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6" name="Freeform 59">
                  <a:extLst>
                    <a:ext uri="{FF2B5EF4-FFF2-40B4-BE49-F238E27FC236}">
                      <a16:creationId xmlns:a16="http://schemas.microsoft.com/office/drawing/2014/main" id="{E65843E5-93FB-41E9-9FA2-BC1C3A4717C4}"/>
                    </a:ext>
                  </a:extLst>
                </p:cNvPr>
                <p:cNvSpPr>
                  <a:spLocks/>
                </p:cNvSpPr>
                <p:nvPr/>
              </p:nvSpPr>
              <p:spPr bwMode="auto">
                <a:xfrm>
                  <a:off x="3152550" y="1617431"/>
                  <a:ext cx="15265" cy="37181"/>
                </a:xfrm>
                <a:custGeom>
                  <a:avLst/>
                  <a:gdLst>
                    <a:gd name="T0" fmla="*/ 0 w 18"/>
                    <a:gd name="T1" fmla="*/ 44 h 44"/>
                    <a:gd name="T2" fmla="*/ 18 w 18"/>
                    <a:gd name="T3" fmla="*/ 44 h 44"/>
                    <a:gd name="T4" fmla="*/ 18 w 18"/>
                    <a:gd name="T5" fmla="*/ 0 h 44"/>
                    <a:gd name="T6" fmla="*/ 12 w 18"/>
                    <a:gd name="T7" fmla="*/ 9 h 44"/>
                    <a:gd name="T8" fmla="*/ 2 w 18"/>
                    <a:gd name="T9" fmla="*/ 40 h 44"/>
                    <a:gd name="T10" fmla="*/ 0 w 18"/>
                    <a:gd name="T11" fmla="*/ 44 h 44"/>
                  </a:gdLst>
                  <a:ahLst/>
                  <a:cxnLst>
                    <a:cxn ang="0">
                      <a:pos x="T0" y="T1"/>
                    </a:cxn>
                    <a:cxn ang="0">
                      <a:pos x="T2" y="T3"/>
                    </a:cxn>
                    <a:cxn ang="0">
                      <a:pos x="T4" y="T5"/>
                    </a:cxn>
                    <a:cxn ang="0">
                      <a:pos x="T6" y="T7"/>
                    </a:cxn>
                    <a:cxn ang="0">
                      <a:pos x="T8" y="T9"/>
                    </a:cxn>
                    <a:cxn ang="0">
                      <a:pos x="T10" y="T11"/>
                    </a:cxn>
                  </a:cxnLst>
                  <a:rect l="0" t="0" r="r" b="b"/>
                  <a:pathLst>
                    <a:path w="18" h="44">
                      <a:moveTo>
                        <a:pt x="0" y="44"/>
                      </a:moveTo>
                      <a:cubicBezTo>
                        <a:pt x="18" y="44"/>
                        <a:pt x="18" y="44"/>
                        <a:pt x="18" y="44"/>
                      </a:cubicBezTo>
                      <a:cubicBezTo>
                        <a:pt x="18" y="0"/>
                        <a:pt x="18" y="0"/>
                        <a:pt x="18" y="0"/>
                      </a:cubicBezTo>
                      <a:cubicBezTo>
                        <a:pt x="16" y="0"/>
                        <a:pt x="12" y="0"/>
                        <a:pt x="12" y="9"/>
                      </a:cubicBezTo>
                      <a:cubicBezTo>
                        <a:pt x="12" y="21"/>
                        <a:pt x="6" y="35"/>
                        <a:pt x="2" y="40"/>
                      </a:cubicBezTo>
                      <a:cubicBezTo>
                        <a:pt x="0" y="43"/>
                        <a:pt x="0" y="44"/>
                        <a:pt x="0" y="44"/>
                      </a:cubicBezTo>
                      <a:close/>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7" name="Freeform 60">
                  <a:extLst>
                    <a:ext uri="{FF2B5EF4-FFF2-40B4-BE49-F238E27FC236}">
                      <a16:creationId xmlns:a16="http://schemas.microsoft.com/office/drawing/2014/main" id="{0B2436AB-EAF4-49E3-8940-2957806BB024}"/>
                    </a:ext>
                  </a:extLst>
                </p:cNvPr>
                <p:cNvSpPr>
                  <a:spLocks/>
                </p:cNvSpPr>
                <p:nvPr/>
              </p:nvSpPr>
              <p:spPr bwMode="auto">
                <a:xfrm>
                  <a:off x="3146825" y="1678445"/>
                  <a:ext cx="41025" cy="7627"/>
                </a:xfrm>
                <a:custGeom>
                  <a:avLst/>
                  <a:gdLst>
                    <a:gd name="T0" fmla="*/ 25 w 49"/>
                    <a:gd name="T1" fmla="*/ 9 h 9"/>
                    <a:gd name="T2" fmla="*/ 3 w 49"/>
                    <a:gd name="T3" fmla="*/ 6 h 9"/>
                    <a:gd name="T4" fmla="*/ 1 w 49"/>
                    <a:gd name="T5" fmla="*/ 2 h 9"/>
                    <a:gd name="T6" fmla="*/ 4 w 49"/>
                    <a:gd name="T7" fmla="*/ 0 h 9"/>
                    <a:gd name="T8" fmla="*/ 45 w 49"/>
                    <a:gd name="T9" fmla="*/ 0 h 9"/>
                    <a:gd name="T10" fmla="*/ 49 w 49"/>
                    <a:gd name="T11" fmla="*/ 2 h 9"/>
                    <a:gd name="T12" fmla="*/ 47 w 49"/>
                    <a:gd name="T13" fmla="*/ 6 h 9"/>
                    <a:gd name="T14" fmla="*/ 25 w 49"/>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9">
                      <a:moveTo>
                        <a:pt x="25" y="9"/>
                      </a:moveTo>
                      <a:cubicBezTo>
                        <a:pt x="18" y="9"/>
                        <a:pt x="11" y="8"/>
                        <a:pt x="3" y="6"/>
                      </a:cubicBezTo>
                      <a:cubicBezTo>
                        <a:pt x="2" y="6"/>
                        <a:pt x="0" y="4"/>
                        <a:pt x="1" y="2"/>
                      </a:cubicBezTo>
                      <a:cubicBezTo>
                        <a:pt x="1" y="1"/>
                        <a:pt x="3" y="0"/>
                        <a:pt x="4" y="0"/>
                      </a:cubicBezTo>
                      <a:cubicBezTo>
                        <a:pt x="20" y="3"/>
                        <a:pt x="30" y="3"/>
                        <a:pt x="45" y="0"/>
                      </a:cubicBezTo>
                      <a:cubicBezTo>
                        <a:pt x="47" y="0"/>
                        <a:pt x="49" y="1"/>
                        <a:pt x="49" y="2"/>
                      </a:cubicBezTo>
                      <a:cubicBezTo>
                        <a:pt x="49" y="4"/>
                        <a:pt x="48" y="6"/>
                        <a:pt x="47" y="6"/>
                      </a:cubicBezTo>
                      <a:cubicBezTo>
                        <a:pt x="38" y="8"/>
                        <a:pt x="32" y="9"/>
                        <a:pt x="25" y="9"/>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8" name="Freeform 61">
                  <a:extLst>
                    <a:ext uri="{FF2B5EF4-FFF2-40B4-BE49-F238E27FC236}">
                      <a16:creationId xmlns:a16="http://schemas.microsoft.com/office/drawing/2014/main" id="{361C879F-33F3-4227-BCD0-E86D856DE1FF}"/>
                    </a:ext>
                  </a:extLst>
                </p:cNvPr>
                <p:cNvSpPr>
                  <a:spLocks/>
                </p:cNvSpPr>
                <p:nvPr/>
              </p:nvSpPr>
              <p:spPr bwMode="auto">
                <a:xfrm>
                  <a:off x="2987495" y="1735646"/>
                  <a:ext cx="114489" cy="232617"/>
                </a:xfrm>
                <a:custGeom>
                  <a:avLst/>
                  <a:gdLst>
                    <a:gd name="T0" fmla="*/ 36 w 136"/>
                    <a:gd name="T1" fmla="*/ 279 h 279"/>
                    <a:gd name="T2" fmla="*/ 30 w 136"/>
                    <a:gd name="T3" fmla="*/ 278 h 279"/>
                    <a:gd name="T4" fmla="*/ 3 w 136"/>
                    <a:gd name="T5" fmla="*/ 239 h 279"/>
                    <a:gd name="T6" fmla="*/ 57 w 136"/>
                    <a:gd name="T7" fmla="*/ 55 h 279"/>
                    <a:gd name="T8" fmla="*/ 67 w 136"/>
                    <a:gd name="T9" fmla="*/ 27 h 279"/>
                    <a:gd name="T10" fmla="*/ 110 w 136"/>
                    <a:gd name="T11" fmla="*/ 6 h 279"/>
                    <a:gd name="T12" fmla="*/ 130 w 136"/>
                    <a:gd name="T13" fmla="*/ 48 h 279"/>
                    <a:gd name="T14" fmla="*/ 120 w 136"/>
                    <a:gd name="T15" fmla="*/ 77 h 279"/>
                    <a:gd name="T16" fmla="*/ 69 w 136"/>
                    <a:gd name="T17" fmla="*/ 252 h 279"/>
                    <a:gd name="T18" fmla="*/ 36 w 136"/>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79">
                      <a:moveTo>
                        <a:pt x="36" y="279"/>
                      </a:moveTo>
                      <a:cubicBezTo>
                        <a:pt x="34" y="279"/>
                        <a:pt x="32" y="279"/>
                        <a:pt x="30" y="278"/>
                      </a:cubicBezTo>
                      <a:cubicBezTo>
                        <a:pt x="12" y="275"/>
                        <a:pt x="0" y="257"/>
                        <a:pt x="3" y="239"/>
                      </a:cubicBezTo>
                      <a:cubicBezTo>
                        <a:pt x="16" y="171"/>
                        <a:pt x="40" y="104"/>
                        <a:pt x="57" y="55"/>
                      </a:cubicBezTo>
                      <a:cubicBezTo>
                        <a:pt x="61" y="45"/>
                        <a:pt x="64" y="35"/>
                        <a:pt x="67" y="27"/>
                      </a:cubicBezTo>
                      <a:cubicBezTo>
                        <a:pt x="73" y="9"/>
                        <a:pt x="92" y="0"/>
                        <a:pt x="110" y="6"/>
                      </a:cubicBezTo>
                      <a:cubicBezTo>
                        <a:pt x="127" y="12"/>
                        <a:pt x="136" y="31"/>
                        <a:pt x="130" y="48"/>
                      </a:cubicBezTo>
                      <a:cubicBezTo>
                        <a:pt x="127" y="57"/>
                        <a:pt x="124" y="67"/>
                        <a:pt x="120" y="77"/>
                      </a:cubicBezTo>
                      <a:cubicBezTo>
                        <a:pt x="104" y="124"/>
                        <a:pt x="81" y="188"/>
                        <a:pt x="69" y="252"/>
                      </a:cubicBezTo>
                      <a:cubicBezTo>
                        <a:pt x="66" y="268"/>
                        <a:pt x="52" y="279"/>
                        <a:pt x="36" y="27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9" name="Freeform 62">
                  <a:extLst>
                    <a:ext uri="{FF2B5EF4-FFF2-40B4-BE49-F238E27FC236}">
                      <a16:creationId xmlns:a16="http://schemas.microsoft.com/office/drawing/2014/main" id="{C02EA9F1-5A8D-4B98-88E5-607C3E8AD505}"/>
                    </a:ext>
                  </a:extLst>
                </p:cNvPr>
                <p:cNvSpPr>
                  <a:spLocks/>
                </p:cNvSpPr>
                <p:nvPr/>
              </p:nvSpPr>
              <p:spPr bwMode="auto">
                <a:xfrm>
                  <a:off x="3001806" y="1755666"/>
                  <a:ext cx="102086" cy="128702"/>
                </a:xfrm>
                <a:custGeom>
                  <a:avLst/>
                  <a:gdLst>
                    <a:gd name="T0" fmla="*/ 80 w 121"/>
                    <a:gd name="T1" fmla="*/ 154 h 154"/>
                    <a:gd name="T2" fmla="*/ 0 w 121"/>
                    <a:gd name="T3" fmla="*/ 131 h 154"/>
                    <a:gd name="T4" fmla="*/ 43 w 121"/>
                    <a:gd name="T5" fmla="*/ 0 h 154"/>
                    <a:gd name="T6" fmla="*/ 121 w 121"/>
                    <a:gd name="T7" fmla="*/ 27 h 154"/>
                    <a:gd name="T8" fmla="*/ 80 w 121"/>
                    <a:gd name="T9" fmla="*/ 154 h 154"/>
                  </a:gdLst>
                  <a:ahLst/>
                  <a:cxnLst>
                    <a:cxn ang="0">
                      <a:pos x="T0" y="T1"/>
                    </a:cxn>
                    <a:cxn ang="0">
                      <a:pos x="T2" y="T3"/>
                    </a:cxn>
                    <a:cxn ang="0">
                      <a:pos x="T4" y="T5"/>
                    </a:cxn>
                    <a:cxn ang="0">
                      <a:pos x="T6" y="T7"/>
                    </a:cxn>
                    <a:cxn ang="0">
                      <a:pos x="T8" y="T9"/>
                    </a:cxn>
                  </a:cxnLst>
                  <a:rect l="0" t="0" r="r" b="b"/>
                  <a:pathLst>
                    <a:path w="121" h="154">
                      <a:moveTo>
                        <a:pt x="80" y="154"/>
                      </a:moveTo>
                      <a:cubicBezTo>
                        <a:pt x="0" y="131"/>
                        <a:pt x="0" y="131"/>
                        <a:pt x="0" y="131"/>
                      </a:cubicBezTo>
                      <a:cubicBezTo>
                        <a:pt x="10" y="99"/>
                        <a:pt x="36" y="21"/>
                        <a:pt x="43" y="0"/>
                      </a:cubicBezTo>
                      <a:cubicBezTo>
                        <a:pt x="121" y="27"/>
                        <a:pt x="121" y="27"/>
                        <a:pt x="121" y="27"/>
                      </a:cubicBezTo>
                      <a:cubicBezTo>
                        <a:pt x="113" y="51"/>
                        <a:pt x="88" y="125"/>
                        <a:pt x="80" y="154"/>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20" name="Freeform 63">
                  <a:extLst>
                    <a:ext uri="{FF2B5EF4-FFF2-40B4-BE49-F238E27FC236}">
                      <a16:creationId xmlns:a16="http://schemas.microsoft.com/office/drawing/2014/main" id="{6BCA3DA7-7ABA-4CA4-A913-B54D277B6830}"/>
                    </a:ext>
                  </a:extLst>
                </p:cNvPr>
                <p:cNvSpPr>
                  <a:spLocks/>
                </p:cNvSpPr>
                <p:nvPr/>
              </p:nvSpPr>
              <p:spPr bwMode="auto">
                <a:xfrm>
                  <a:off x="3034245" y="1730879"/>
                  <a:ext cx="72510" cy="72454"/>
                </a:xfrm>
                <a:custGeom>
                  <a:avLst/>
                  <a:gdLst>
                    <a:gd name="T0" fmla="*/ 84 w 86"/>
                    <a:gd name="T1" fmla="*/ 34 h 86"/>
                    <a:gd name="T2" fmla="*/ 76 w 86"/>
                    <a:gd name="T3" fmla="*/ 25 h 86"/>
                    <a:gd name="T4" fmla="*/ 71 w 86"/>
                    <a:gd name="T5" fmla="*/ 16 h 86"/>
                    <a:gd name="T6" fmla="*/ 68 w 86"/>
                    <a:gd name="T7" fmla="*/ 9 h 86"/>
                    <a:gd name="T8" fmla="*/ 39 w 86"/>
                    <a:gd name="T9" fmla="*/ 1 h 86"/>
                    <a:gd name="T10" fmla="*/ 2 w 86"/>
                    <a:gd name="T11" fmla="*/ 47 h 86"/>
                    <a:gd name="T12" fmla="*/ 47 w 86"/>
                    <a:gd name="T13" fmla="*/ 84 h 86"/>
                    <a:gd name="T14" fmla="*/ 77 w 86"/>
                    <a:gd name="T15" fmla="*/ 67 h 86"/>
                    <a:gd name="T16" fmla="*/ 85 w 86"/>
                    <a:gd name="T17" fmla="*/ 39 h 86"/>
                    <a:gd name="T18" fmla="*/ 84 w 86"/>
                    <a:gd name="T19"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6">
                      <a:moveTo>
                        <a:pt x="84" y="34"/>
                      </a:moveTo>
                      <a:cubicBezTo>
                        <a:pt x="81" y="31"/>
                        <a:pt x="79" y="28"/>
                        <a:pt x="76" y="25"/>
                      </a:cubicBezTo>
                      <a:cubicBezTo>
                        <a:pt x="74" y="22"/>
                        <a:pt x="72" y="19"/>
                        <a:pt x="71" y="16"/>
                      </a:cubicBezTo>
                      <a:cubicBezTo>
                        <a:pt x="70" y="14"/>
                        <a:pt x="69" y="12"/>
                        <a:pt x="68" y="9"/>
                      </a:cubicBezTo>
                      <a:cubicBezTo>
                        <a:pt x="60" y="4"/>
                        <a:pt x="50" y="0"/>
                        <a:pt x="39" y="1"/>
                      </a:cubicBezTo>
                      <a:cubicBezTo>
                        <a:pt x="17" y="4"/>
                        <a:pt x="0" y="24"/>
                        <a:pt x="2" y="47"/>
                      </a:cubicBezTo>
                      <a:cubicBezTo>
                        <a:pt x="4" y="69"/>
                        <a:pt x="25" y="86"/>
                        <a:pt x="47" y="84"/>
                      </a:cubicBezTo>
                      <a:cubicBezTo>
                        <a:pt x="59" y="83"/>
                        <a:pt x="70" y="76"/>
                        <a:pt x="77" y="67"/>
                      </a:cubicBezTo>
                      <a:cubicBezTo>
                        <a:pt x="82" y="59"/>
                        <a:pt x="86" y="49"/>
                        <a:pt x="85" y="39"/>
                      </a:cubicBezTo>
                      <a:cubicBezTo>
                        <a:pt x="84" y="37"/>
                        <a:pt x="84" y="36"/>
                        <a:pt x="84" y="34"/>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21" name="Freeform 64">
                  <a:extLst>
                    <a:ext uri="{FF2B5EF4-FFF2-40B4-BE49-F238E27FC236}">
                      <a16:creationId xmlns:a16="http://schemas.microsoft.com/office/drawing/2014/main" id="{B791CC05-45A8-40DD-B70A-2954B8E11FD1}"/>
                    </a:ext>
                  </a:extLst>
                </p:cNvPr>
                <p:cNvSpPr>
                  <a:spLocks/>
                </p:cNvSpPr>
                <p:nvPr/>
              </p:nvSpPr>
              <p:spPr bwMode="auto">
                <a:xfrm>
                  <a:off x="3005623" y="1866255"/>
                  <a:ext cx="55336" cy="27647"/>
                </a:xfrm>
                <a:custGeom>
                  <a:avLst/>
                  <a:gdLst>
                    <a:gd name="T0" fmla="*/ 2 w 58"/>
                    <a:gd name="T1" fmla="*/ 0 h 29"/>
                    <a:gd name="T2" fmla="*/ 58 w 58"/>
                    <a:gd name="T3" fmla="*/ 16 h 29"/>
                    <a:gd name="T4" fmla="*/ 55 w 58"/>
                    <a:gd name="T5" fmla="*/ 29 h 29"/>
                    <a:gd name="T6" fmla="*/ 0 w 58"/>
                    <a:gd name="T7" fmla="*/ 6 h 29"/>
                    <a:gd name="T8" fmla="*/ 2 w 58"/>
                    <a:gd name="T9" fmla="*/ 0 h 29"/>
                  </a:gdLst>
                  <a:ahLst/>
                  <a:cxnLst>
                    <a:cxn ang="0">
                      <a:pos x="T0" y="T1"/>
                    </a:cxn>
                    <a:cxn ang="0">
                      <a:pos x="T2" y="T3"/>
                    </a:cxn>
                    <a:cxn ang="0">
                      <a:pos x="T4" y="T5"/>
                    </a:cxn>
                    <a:cxn ang="0">
                      <a:pos x="T6" y="T7"/>
                    </a:cxn>
                    <a:cxn ang="0">
                      <a:pos x="T8" y="T9"/>
                    </a:cxn>
                  </a:cxnLst>
                  <a:rect l="0" t="0" r="r" b="b"/>
                  <a:pathLst>
                    <a:path w="58" h="29">
                      <a:moveTo>
                        <a:pt x="2" y="0"/>
                      </a:moveTo>
                      <a:lnTo>
                        <a:pt x="58" y="16"/>
                      </a:lnTo>
                      <a:lnTo>
                        <a:pt x="55" y="29"/>
                      </a:lnTo>
                      <a:lnTo>
                        <a:pt x="0" y="6"/>
                      </a:lnTo>
                      <a:lnTo>
                        <a:pt x="2"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22" name="Freeform 65">
                  <a:extLst>
                    <a:ext uri="{FF2B5EF4-FFF2-40B4-BE49-F238E27FC236}">
                      <a16:creationId xmlns:a16="http://schemas.microsoft.com/office/drawing/2014/main" id="{04F9CA1B-2F27-4DA7-9F0E-27C2E41BCE58}"/>
                    </a:ext>
                  </a:extLst>
                </p:cNvPr>
                <p:cNvSpPr>
                  <a:spLocks/>
                </p:cNvSpPr>
                <p:nvPr/>
              </p:nvSpPr>
              <p:spPr bwMode="auto">
                <a:xfrm>
                  <a:off x="3084811" y="1720392"/>
                  <a:ext cx="158376" cy="77221"/>
                </a:xfrm>
                <a:custGeom>
                  <a:avLst/>
                  <a:gdLst>
                    <a:gd name="T0" fmla="*/ 155 w 189"/>
                    <a:gd name="T1" fmla="*/ 14 h 92"/>
                    <a:gd name="T2" fmla="*/ 140 w 189"/>
                    <a:gd name="T3" fmla="*/ 1 h 92"/>
                    <a:gd name="T4" fmla="*/ 121 w 189"/>
                    <a:gd name="T5" fmla="*/ 2 h 92"/>
                    <a:gd name="T6" fmla="*/ 114 w 189"/>
                    <a:gd name="T7" fmla="*/ 9 h 92"/>
                    <a:gd name="T8" fmla="*/ 110 w 189"/>
                    <a:gd name="T9" fmla="*/ 11 h 92"/>
                    <a:gd name="T10" fmla="*/ 107 w 189"/>
                    <a:gd name="T11" fmla="*/ 7 h 92"/>
                    <a:gd name="T12" fmla="*/ 99 w 189"/>
                    <a:gd name="T13" fmla="*/ 10 h 92"/>
                    <a:gd name="T14" fmla="*/ 70 w 189"/>
                    <a:gd name="T15" fmla="*/ 12 h 92"/>
                    <a:gd name="T16" fmla="*/ 3 w 189"/>
                    <a:gd name="T17" fmla="*/ 10 h 92"/>
                    <a:gd name="T18" fmla="*/ 8 w 189"/>
                    <a:gd name="T19" fmla="*/ 23 h 92"/>
                    <a:gd name="T20" fmla="*/ 106 w 189"/>
                    <a:gd name="T21" fmla="*/ 89 h 92"/>
                    <a:gd name="T22" fmla="*/ 189 w 189"/>
                    <a:gd name="T23" fmla="*/ 19 h 92"/>
                    <a:gd name="T24" fmla="*/ 155 w 189"/>
                    <a:gd name="T25"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92">
                      <a:moveTo>
                        <a:pt x="155" y="14"/>
                      </a:moveTo>
                      <a:cubicBezTo>
                        <a:pt x="148" y="13"/>
                        <a:pt x="143" y="8"/>
                        <a:pt x="140" y="1"/>
                      </a:cubicBezTo>
                      <a:cubicBezTo>
                        <a:pt x="133" y="0"/>
                        <a:pt x="128" y="3"/>
                        <a:pt x="121" y="2"/>
                      </a:cubicBezTo>
                      <a:cubicBezTo>
                        <a:pt x="117" y="1"/>
                        <a:pt x="118" y="10"/>
                        <a:pt x="114" y="9"/>
                      </a:cubicBezTo>
                      <a:cubicBezTo>
                        <a:pt x="112" y="9"/>
                        <a:pt x="112" y="12"/>
                        <a:pt x="110" y="11"/>
                      </a:cubicBezTo>
                      <a:cubicBezTo>
                        <a:pt x="109" y="11"/>
                        <a:pt x="108" y="7"/>
                        <a:pt x="107" y="7"/>
                      </a:cubicBezTo>
                      <a:cubicBezTo>
                        <a:pt x="102" y="7"/>
                        <a:pt x="104" y="10"/>
                        <a:pt x="99" y="10"/>
                      </a:cubicBezTo>
                      <a:cubicBezTo>
                        <a:pt x="96" y="18"/>
                        <a:pt x="78" y="11"/>
                        <a:pt x="70" y="12"/>
                      </a:cubicBezTo>
                      <a:cubicBezTo>
                        <a:pt x="52" y="16"/>
                        <a:pt x="21" y="7"/>
                        <a:pt x="3" y="10"/>
                      </a:cubicBezTo>
                      <a:cubicBezTo>
                        <a:pt x="0" y="11"/>
                        <a:pt x="11" y="22"/>
                        <a:pt x="8" y="23"/>
                      </a:cubicBezTo>
                      <a:cubicBezTo>
                        <a:pt x="25" y="60"/>
                        <a:pt x="65" y="92"/>
                        <a:pt x="106" y="89"/>
                      </a:cubicBezTo>
                      <a:cubicBezTo>
                        <a:pt x="146" y="87"/>
                        <a:pt x="176" y="55"/>
                        <a:pt x="189" y="19"/>
                      </a:cubicBezTo>
                      <a:cubicBezTo>
                        <a:pt x="178" y="18"/>
                        <a:pt x="167" y="16"/>
                        <a:pt x="155" y="14"/>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23" name="Freeform 66">
                  <a:extLst>
                    <a:ext uri="{FF2B5EF4-FFF2-40B4-BE49-F238E27FC236}">
                      <a16:creationId xmlns:a16="http://schemas.microsoft.com/office/drawing/2014/main" id="{4D6C1E5D-546F-42D8-9122-8C1C8E4FAC38}"/>
                    </a:ext>
                  </a:extLst>
                </p:cNvPr>
                <p:cNvSpPr>
                  <a:spLocks/>
                </p:cNvSpPr>
                <p:nvPr/>
              </p:nvSpPr>
              <p:spPr bwMode="auto">
                <a:xfrm>
                  <a:off x="3054281" y="1868161"/>
                  <a:ext cx="233748" cy="232617"/>
                </a:xfrm>
                <a:custGeom>
                  <a:avLst/>
                  <a:gdLst>
                    <a:gd name="T0" fmla="*/ 99 w 245"/>
                    <a:gd name="T1" fmla="*/ 244 h 244"/>
                    <a:gd name="T2" fmla="*/ 245 w 245"/>
                    <a:gd name="T3" fmla="*/ 102 h 244"/>
                    <a:gd name="T4" fmla="*/ 146 w 245"/>
                    <a:gd name="T5" fmla="*/ 0 h 244"/>
                    <a:gd name="T6" fmla="*/ 0 w 245"/>
                    <a:gd name="T7" fmla="*/ 143 h 244"/>
                    <a:gd name="T8" fmla="*/ 99 w 245"/>
                    <a:gd name="T9" fmla="*/ 244 h 244"/>
                  </a:gdLst>
                  <a:ahLst/>
                  <a:cxnLst>
                    <a:cxn ang="0">
                      <a:pos x="T0" y="T1"/>
                    </a:cxn>
                    <a:cxn ang="0">
                      <a:pos x="T2" y="T3"/>
                    </a:cxn>
                    <a:cxn ang="0">
                      <a:pos x="T4" y="T5"/>
                    </a:cxn>
                    <a:cxn ang="0">
                      <a:pos x="T6" y="T7"/>
                    </a:cxn>
                    <a:cxn ang="0">
                      <a:pos x="T8" y="T9"/>
                    </a:cxn>
                  </a:cxnLst>
                  <a:rect l="0" t="0" r="r" b="b"/>
                  <a:pathLst>
                    <a:path w="245" h="244">
                      <a:moveTo>
                        <a:pt x="99" y="244"/>
                      </a:moveTo>
                      <a:lnTo>
                        <a:pt x="245" y="102"/>
                      </a:lnTo>
                      <a:lnTo>
                        <a:pt x="146" y="0"/>
                      </a:lnTo>
                      <a:lnTo>
                        <a:pt x="0" y="143"/>
                      </a:lnTo>
                      <a:lnTo>
                        <a:pt x="99" y="2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24" name="Freeform 67">
                  <a:extLst>
                    <a:ext uri="{FF2B5EF4-FFF2-40B4-BE49-F238E27FC236}">
                      <a16:creationId xmlns:a16="http://schemas.microsoft.com/office/drawing/2014/main" id="{08EBD8CD-A54A-4F70-B39E-A942FBC03778}"/>
                    </a:ext>
                  </a:extLst>
                </p:cNvPr>
                <p:cNvSpPr>
                  <a:spLocks/>
                </p:cNvSpPr>
                <p:nvPr/>
              </p:nvSpPr>
              <p:spPr bwMode="auto">
                <a:xfrm>
                  <a:off x="3054281" y="1965403"/>
                  <a:ext cx="233748" cy="135375"/>
                </a:xfrm>
                <a:custGeom>
                  <a:avLst/>
                  <a:gdLst>
                    <a:gd name="T0" fmla="*/ 99 w 245"/>
                    <a:gd name="T1" fmla="*/ 142 h 142"/>
                    <a:gd name="T2" fmla="*/ 245 w 245"/>
                    <a:gd name="T3" fmla="*/ 0 h 142"/>
                    <a:gd name="T4" fmla="*/ 0 w 245"/>
                    <a:gd name="T5" fmla="*/ 41 h 142"/>
                    <a:gd name="T6" fmla="*/ 99 w 245"/>
                    <a:gd name="T7" fmla="*/ 142 h 142"/>
                  </a:gdLst>
                  <a:ahLst/>
                  <a:cxnLst>
                    <a:cxn ang="0">
                      <a:pos x="T0" y="T1"/>
                    </a:cxn>
                    <a:cxn ang="0">
                      <a:pos x="T2" y="T3"/>
                    </a:cxn>
                    <a:cxn ang="0">
                      <a:pos x="T4" y="T5"/>
                    </a:cxn>
                    <a:cxn ang="0">
                      <a:pos x="T6" y="T7"/>
                    </a:cxn>
                  </a:cxnLst>
                  <a:rect l="0" t="0" r="r" b="b"/>
                  <a:pathLst>
                    <a:path w="245" h="142">
                      <a:moveTo>
                        <a:pt x="99" y="142"/>
                      </a:moveTo>
                      <a:lnTo>
                        <a:pt x="245" y="0"/>
                      </a:lnTo>
                      <a:lnTo>
                        <a:pt x="0" y="41"/>
                      </a:lnTo>
                      <a:lnTo>
                        <a:pt x="99" y="142"/>
                      </a:lnTo>
                      <a:close/>
                    </a:path>
                  </a:pathLst>
                </a:custGeom>
                <a:solidFill>
                  <a:srgbClr val="0054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25" name="Freeform 68">
                  <a:extLst>
                    <a:ext uri="{FF2B5EF4-FFF2-40B4-BE49-F238E27FC236}">
                      <a16:creationId xmlns:a16="http://schemas.microsoft.com/office/drawing/2014/main" id="{F063BB58-4D49-4563-A9CE-C34A068C1355}"/>
                    </a:ext>
                  </a:extLst>
                </p:cNvPr>
                <p:cNvSpPr>
                  <a:spLocks/>
                </p:cNvSpPr>
                <p:nvPr/>
              </p:nvSpPr>
              <p:spPr bwMode="auto">
                <a:xfrm>
                  <a:off x="3119158" y="1998770"/>
                  <a:ext cx="144065" cy="60061"/>
                </a:xfrm>
                <a:custGeom>
                  <a:avLst/>
                  <a:gdLst>
                    <a:gd name="T0" fmla="*/ 59 w 171"/>
                    <a:gd name="T1" fmla="*/ 55 h 72"/>
                    <a:gd name="T2" fmla="*/ 127 w 171"/>
                    <a:gd name="T3" fmla="*/ 65 h 72"/>
                    <a:gd name="T4" fmla="*/ 143 w 171"/>
                    <a:gd name="T5" fmla="*/ 55 h 72"/>
                    <a:gd name="T6" fmla="*/ 158 w 171"/>
                    <a:gd name="T7" fmla="*/ 46 h 72"/>
                    <a:gd name="T8" fmla="*/ 169 w 171"/>
                    <a:gd name="T9" fmla="*/ 35 h 72"/>
                    <a:gd name="T10" fmla="*/ 156 w 171"/>
                    <a:gd name="T11" fmla="*/ 33 h 72"/>
                    <a:gd name="T12" fmla="*/ 141 w 171"/>
                    <a:gd name="T13" fmla="*/ 21 h 72"/>
                    <a:gd name="T14" fmla="*/ 127 w 171"/>
                    <a:gd name="T15" fmla="*/ 22 h 72"/>
                    <a:gd name="T16" fmla="*/ 135 w 171"/>
                    <a:gd name="T17" fmla="*/ 7 h 72"/>
                    <a:gd name="T18" fmla="*/ 85 w 171"/>
                    <a:gd name="T19" fmla="*/ 13 h 72"/>
                    <a:gd name="T20" fmla="*/ 76 w 171"/>
                    <a:gd name="T21" fmla="*/ 16 h 72"/>
                    <a:gd name="T22" fmla="*/ 0 w 171"/>
                    <a:gd name="T23" fmla="*/ 0 h 72"/>
                    <a:gd name="T24" fmla="*/ 34 w 171"/>
                    <a:gd name="T25" fmla="*/ 34 h 72"/>
                    <a:gd name="T26" fmla="*/ 59 w 171"/>
                    <a:gd name="T27"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 h="72">
                      <a:moveTo>
                        <a:pt x="59" y="55"/>
                      </a:moveTo>
                      <a:cubicBezTo>
                        <a:pt x="92" y="66"/>
                        <a:pt x="99" y="72"/>
                        <a:pt x="127" y="65"/>
                      </a:cubicBezTo>
                      <a:cubicBezTo>
                        <a:pt x="145" y="64"/>
                        <a:pt x="151" y="57"/>
                        <a:pt x="143" y="55"/>
                      </a:cubicBezTo>
                      <a:cubicBezTo>
                        <a:pt x="159" y="59"/>
                        <a:pt x="171" y="48"/>
                        <a:pt x="158" y="46"/>
                      </a:cubicBezTo>
                      <a:cubicBezTo>
                        <a:pt x="163" y="43"/>
                        <a:pt x="168" y="39"/>
                        <a:pt x="169" y="35"/>
                      </a:cubicBezTo>
                      <a:cubicBezTo>
                        <a:pt x="166" y="30"/>
                        <a:pt x="160" y="34"/>
                        <a:pt x="156" y="33"/>
                      </a:cubicBezTo>
                      <a:cubicBezTo>
                        <a:pt x="157" y="29"/>
                        <a:pt x="155" y="20"/>
                        <a:pt x="141" y="21"/>
                      </a:cubicBezTo>
                      <a:cubicBezTo>
                        <a:pt x="132" y="23"/>
                        <a:pt x="127" y="22"/>
                        <a:pt x="127" y="22"/>
                      </a:cubicBezTo>
                      <a:cubicBezTo>
                        <a:pt x="138" y="16"/>
                        <a:pt x="139" y="12"/>
                        <a:pt x="135" y="7"/>
                      </a:cubicBezTo>
                      <a:cubicBezTo>
                        <a:pt x="122" y="8"/>
                        <a:pt x="104" y="9"/>
                        <a:pt x="85" y="13"/>
                      </a:cubicBezTo>
                      <a:cubicBezTo>
                        <a:pt x="81" y="12"/>
                        <a:pt x="81" y="12"/>
                        <a:pt x="76" y="16"/>
                      </a:cubicBezTo>
                      <a:cubicBezTo>
                        <a:pt x="0" y="0"/>
                        <a:pt x="0" y="0"/>
                        <a:pt x="0" y="0"/>
                      </a:cubicBezTo>
                      <a:cubicBezTo>
                        <a:pt x="22" y="33"/>
                        <a:pt x="34" y="34"/>
                        <a:pt x="34" y="34"/>
                      </a:cubicBezTo>
                      <a:lnTo>
                        <a:pt x="59" y="55"/>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26" name="Freeform 69">
                  <a:extLst>
                    <a:ext uri="{FF2B5EF4-FFF2-40B4-BE49-F238E27FC236}">
                      <a16:creationId xmlns:a16="http://schemas.microsoft.com/office/drawing/2014/main" id="{A307D54A-B3EF-4604-BB03-02FBACC13725}"/>
                    </a:ext>
                  </a:extLst>
                </p:cNvPr>
                <p:cNvSpPr>
                  <a:spLocks/>
                </p:cNvSpPr>
                <p:nvPr/>
              </p:nvSpPr>
              <p:spPr bwMode="auto">
                <a:xfrm>
                  <a:off x="2991312" y="1916782"/>
                  <a:ext cx="222299" cy="138236"/>
                </a:xfrm>
                <a:custGeom>
                  <a:avLst/>
                  <a:gdLst>
                    <a:gd name="T0" fmla="*/ 53 w 264"/>
                    <a:gd name="T1" fmla="*/ 9 h 165"/>
                    <a:gd name="T2" fmla="*/ 61 w 264"/>
                    <a:gd name="T3" fmla="*/ 15 h 165"/>
                    <a:gd name="T4" fmla="*/ 70 w 264"/>
                    <a:gd name="T5" fmla="*/ 20 h 165"/>
                    <a:gd name="T6" fmla="*/ 82 w 264"/>
                    <a:gd name="T7" fmla="*/ 28 h 165"/>
                    <a:gd name="T8" fmla="*/ 148 w 264"/>
                    <a:gd name="T9" fmla="*/ 65 h 165"/>
                    <a:gd name="T10" fmla="*/ 215 w 264"/>
                    <a:gd name="T11" fmla="*/ 99 h 165"/>
                    <a:gd name="T12" fmla="*/ 246 w 264"/>
                    <a:gd name="T13" fmla="*/ 114 h 165"/>
                    <a:gd name="T14" fmla="*/ 259 w 264"/>
                    <a:gd name="T15" fmla="*/ 147 h 165"/>
                    <a:gd name="T16" fmla="*/ 227 w 264"/>
                    <a:gd name="T17" fmla="*/ 160 h 165"/>
                    <a:gd name="T18" fmla="*/ 227 w 264"/>
                    <a:gd name="T19" fmla="*/ 160 h 165"/>
                    <a:gd name="T20" fmla="*/ 194 w 264"/>
                    <a:gd name="T21" fmla="*/ 146 h 165"/>
                    <a:gd name="T22" fmla="*/ 123 w 264"/>
                    <a:gd name="T23" fmla="*/ 115 h 165"/>
                    <a:gd name="T24" fmla="*/ 52 w 264"/>
                    <a:gd name="T25" fmla="*/ 80 h 165"/>
                    <a:gd name="T26" fmla="*/ 39 w 264"/>
                    <a:gd name="T27" fmla="*/ 73 h 165"/>
                    <a:gd name="T28" fmla="*/ 29 w 264"/>
                    <a:gd name="T29" fmla="*/ 68 h 165"/>
                    <a:gd name="T30" fmla="*/ 21 w 264"/>
                    <a:gd name="T31" fmla="*/ 63 h 165"/>
                    <a:gd name="T32" fmla="*/ 9 w 264"/>
                    <a:gd name="T33" fmla="*/ 21 h 165"/>
                    <a:gd name="T34" fmla="*/ 51 w 264"/>
                    <a:gd name="T35" fmla="*/ 9 h 165"/>
                    <a:gd name="T36" fmla="*/ 53 w 264"/>
                    <a:gd name="T37" fmla="*/ 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165">
                      <a:moveTo>
                        <a:pt x="53" y="9"/>
                      </a:moveTo>
                      <a:cubicBezTo>
                        <a:pt x="53" y="9"/>
                        <a:pt x="56" y="11"/>
                        <a:pt x="61" y="15"/>
                      </a:cubicBezTo>
                      <a:cubicBezTo>
                        <a:pt x="63" y="16"/>
                        <a:pt x="66" y="18"/>
                        <a:pt x="70" y="20"/>
                      </a:cubicBezTo>
                      <a:cubicBezTo>
                        <a:pt x="73" y="22"/>
                        <a:pt x="77" y="25"/>
                        <a:pt x="82" y="28"/>
                      </a:cubicBezTo>
                      <a:cubicBezTo>
                        <a:pt x="99" y="38"/>
                        <a:pt x="123" y="52"/>
                        <a:pt x="148" y="65"/>
                      </a:cubicBezTo>
                      <a:cubicBezTo>
                        <a:pt x="172" y="78"/>
                        <a:pt x="197" y="90"/>
                        <a:pt x="215" y="99"/>
                      </a:cubicBezTo>
                      <a:cubicBezTo>
                        <a:pt x="234" y="108"/>
                        <a:pt x="246" y="114"/>
                        <a:pt x="246" y="114"/>
                      </a:cubicBezTo>
                      <a:cubicBezTo>
                        <a:pt x="259" y="120"/>
                        <a:pt x="264" y="135"/>
                        <a:pt x="259" y="147"/>
                      </a:cubicBezTo>
                      <a:cubicBezTo>
                        <a:pt x="253" y="159"/>
                        <a:pt x="239" y="165"/>
                        <a:pt x="227" y="160"/>
                      </a:cubicBezTo>
                      <a:cubicBezTo>
                        <a:pt x="227" y="160"/>
                        <a:pt x="227" y="160"/>
                        <a:pt x="227" y="160"/>
                      </a:cubicBezTo>
                      <a:cubicBezTo>
                        <a:pt x="227" y="160"/>
                        <a:pt x="214" y="155"/>
                        <a:pt x="194" y="146"/>
                      </a:cubicBezTo>
                      <a:cubicBezTo>
                        <a:pt x="174" y="138"/>
                        <a:pt x="148" y="127"/>
                        <a:pt x="123" y="115"/>
                      </a:cubicBezTo>
                      <a:cubicBezTo>
                        <a:pt x="97" y="103"/>
                        <a:pt x="71" y="90"/>
                        <a:pt x="52" y="80"/>
                      </a:cubicBezTo>
                      <a:cubicBezTo>
                        <a:pt x="47" y="78"/>
                        <a:pt x="43" y="76"/>
                        <a:pt x="39" y="73"/>
                      </a:cubicBezTo>
                      <a:cubicBezTo>
                        <a:pt x="35" y="71"/>
                        <a:pt x="32" y="69"/>
                        <a:pt x="29" y="68"/>
                      </a:cubicBezTo>
                      <a:cubicBezTo>
                        <a:pt x="24" y="65"/>
                        <a:pt x="21" y="63"/>
                        <a:pt x="21" y="63"/>
                      </a:cubicBezTo>
                      <a:cubicBezTo>
                        <a:pt x="6" y="55"/>
                        <a:pt x="0" y="36"/>
                        <a:pt x="9" y="21"/>
                      </a:cubicBezTo>
                      <a:cubicBezTo>
                        <a:pt x="17" y="6"/>
                        <a:pt x="36" y="0"/>
                        <a:pt x="51" y="9"/>
                      </a:cubicBezTo>
                      <a:cubicBezTo>
                        <a:pt x="52" y="9"/>
                        <a:pt x="52" y="9"/>
                        <a:pt x="53" y="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27" name="Freeform 70">
                  <a:extLst>
                    <a:ext uri="{FF2B5EF4-FFF2-40B4-BE49-F238E27FC236}">
                      <a16:creationId xmlns:a16="http://schemas.microsoft.com/office/drawing/2014/main" id="{BFA5F2C3-C007-4D42-B3E8-D7C6408D50BB}"/>
                    </a:ext>
                  </a:extLst>
                </p:cNvPr>
                <p:cNvSpPr>
                  <a:spLocks/>
                </p:cNvSpPr>
                <p:nvPr/>
              </p:nvSpPr>
              <p:spPr bwMode="auto">
                <a:xfrm>
                  <a:off x="3239371" y="1630778"/>
                  <a:ext cx="48658" cy="118215"/>
                </a:xfrm>
                <a:custGeom>
                  <a:avLst/>
                  <a:gdLst>
                    <a:gd name="T0" fmla="*/ 50 w 58"/>
                    <a:gd name="T1" fmla="*/ 86 h 141"/>
                    <a:gd name="T2" fmla="*/ 46 w 58"/>
                    <a:gd name="T3" fmla="*/ 31 h 141"/>
                    <a:gd name="T4" fmla="*/ 36 w 58"/>
                    <a:gd name="T5" fmla="*/ 20 h 141"/>
                    <a:gd name="T6" fmla="*/ 26 w 58"/>
                    <a:gd name="T7" fmla="*/ 10 h 141"/>
                    <a:gd name="T8" fmla="*/ 17 w 58"/>
                    <a:gd name="T9" fmla="*/ 3 h 141"/>
                    <a:gd name="T10" fmla="*/ 17 w 58"/>
                    <a:gd name="T11" fmla="*/ 14 h 141"/>
                    <a:gd name="T12" fmla="*/ 10 w 58"/>
                    <a:gd name="T13" fmla="*/ 27 h 141"/>
                    <a:gd name="T14" fmla="*/ 13 w 58"/>
                    <a:gd name="T15" fmla="*/ 38 h 141"/>
                    <a:gd name="T16" fmla="*/ 0 w 58"/>
                    <a:gd name="T17" fmla="*/ 34 h 141"/>
                    <a:gd name="T18" fmla="*/ 17 w 58"/>
                    <a:gd name="T19" fmla="*/ 79 h 141"/>
                    <a:gd name="T20" fmla="*/ 17 w 58"/>
                    <a:gd name="T21" fmla="*/ 141 h 141"/>
                    <a:gd name="T22" fmla="*/ 58 w 58"/>
                    <a:gd name="T23" fmla="*/ 123 h 141"/>
                    <a:gd name="T24" fmla="*/ 50 w 58"/>
                    <a:gd name="T25" fmla="*/ 8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141">
                      <a:moveTo>
                        <a:pt x="50" y="86"/>
                      </a:moveTo>
                      <a:cubicBezTo>
                        <a:pt x="53" y="58"/>
                        <a:pt x="56" y="51"/>
                        <a:pt x="46" y="31"/>
                      </a:cubicBezTo>
                      <a:cubicBezTo>
                        <a:pt x="43" y="17"/>
                        <a:pt x="36" y="14"/>
                        <a:pt x="36" y="20"/>
                      </a:cubicBezTo>
                      <a:cubicBezTo>
                        <a:pt x="36" y="7"/>
                        <a:pt x="26" y="0"/>
                        <a:pt x="26" y="10"/>
                      </a:cubicBezTo>
                      <a:cubicBezTo>
                        <a:pt x="23" y="7"/>
                        <a:pt x="20" y="3"/>
                        <a:pt x="17" y="3"/>
                      </a:cubicBezTo>
                      <a:cubicBezTo>
                        <a:pt x="13" y="7"/>
                        <a:pt x="17" y="10"/>
                        <a:pt x="17" y="14"/>
                      </a:cubicBezTo>
                      <a:cubicBezTo>
                        <a:pt x="13" y="14"/>
                        <a:pt x="7" y="17"/>
                        <a:pt x="10" y="27"/>
                      </a:cubicBezTo>
                      <a:cubicBezTo>
                        <a:pt x="13" y="34"/>
                        <a:pt x="13" y="38"/>
                        <a:pt x="13" y="38"/>
                      </a:cubicBezTo>
                      <a:cubicBezTo>
                        <a:pt x="7" y="31"/>
                        <a:pt x="3" y="31"/>
                        <a:pt x="0" y="34"/>
                      </a:cubicBezTo>
                      <a:cubicBezTo>
                        <a:pt x="3" y="45"/>
                        <a:pt x="13" y="75"/>
                        <a:pt x="17" y="79"/>
                      </a:cubicBezTo>
                      <a:cubicBezTo>
                        <a:pt x="17" y="141"/>
                        <a:pt x="17" y="141"/>
                        <a:pt x="17" y="141"/>
                      </a:cubicBezTo>
                      <a:cubicBezTo>
                        <a:pt x="58" y="123"/>
                        <a:pt x="58" y="123"/>
                        <a:pt x="58" y="123"/>
                      </a:cubicBezTo>
                      <a:lnTo>
                        <a:pt x="50" y="86"/>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grpSp>
      <p:sp>
        <p:nvSpPr>
          <p:cNvPr id="1751" name="TextBox 1750">
            <a:extLst>
              <a:ext uri="{FF2B5EF4-FFF2-40B4-BE49-F238E27FC236}">
                <a16:creationId xmlns:a16="http://schemas.microsoft.com/office/drawing/2014/main" id="{0178CD35-C2E8-4AB3-8E1F-EAACDE496CEF}"/>
              </a:ext>
            </a:extLst>
          </p:cNvPr>
          <p:cNvSpPr txBox="1"/>
          <p:nvPr/>
        </p:nvSpPr>
        <p:spPr>
          <a:xfrm>
            <a:off x="790115" y="4855291"/>
            <a:ext cx="1572122" cy="153888"/>
          </a:xfrm>
          <a:prstGeom prst="rect">
            <a:avLst/>
          </a:prstGeom>
          <a:noFill/>
        </p:spPr>
        <p:txBody>
          <a:bodyPr wrap="square" lIns="0" tIns="0" rIns="0" bIns="0" rtlCol="0">
            <a:spAutoFit/>
          </a:bodyPr>
          <a:lstStyle/>
          <a:p>
            <a:pPr algn="ctr"/>
            <a:r>
              <a:rPr lang="en-US" sz="1000" i="1" dirty="0"/>
              <a:t>VDI deployment</a:t>
            </a:r>
          </a:p>
        </p:txBody>
      </p:sp>
      <p:sp>
        <p:nvSpPr>
          <p:cNvPr id="1752" name="TextBox 1751">
            <a:extLst>
              <a:ext uri="{FF2B5EF4-FFF2-40B4-BE49-F238E27FC236}">
                <a16:creationId xmlns:a16="http://schemas.microsoft.com/office/drawing/2014/main" id="{DDB1B6C6-C211-4D74-9142-4F5C362BAABA}"/>
              </a:ext>
            </a:extLst>
          </p:cNvPr>
          <p:cNvSpPr txBox="1"/>
          <p:nvPr/>
        </p:nvSpPr>
        <p:spPr>
          <a:xfrm>
            <a:off x="2260269" y="4859853"/>
            <a:ext cx="1610075" cy="153888"/>
          </a:xfrm>
          <a:prstGeom prst="rect">
            <a:avLst/>
          </a:prstGeom>
          <a:noFill/>
        </p:spPr>
        <p:txBody>
          <a:bodyPr wrap="square" lIns="0" tIns="0" rIns="0" bIns="0" rtlCol="0">
            <a:spAutoFit/>
          </a:bodyPr>
          <a:lstStyle/>
          <a:p>
            <a:pPr algn="ctr"/>
            <a:r>
              <a:rPr lang="en-US" sz="1000" i="1" dirty="0"/>
              <a:t>Session host deployment </a:t>
            </a:r>
          </a:p>
        </p:txBody>
      </p:sp>
      <p:sp>
        <p:nvSpPr>
          <p:cNvPr id="1753" name="TextBox 1752">
            <a:extLst>
              <a:ext uri="{FF2B5EF4-FFF2-40B4-BE49-F238E27FC236}">
                <a16:creationId xmlns:a16="http://schemas.microsoft.com/office/drawing/2014/main" id="{DD3D1E10-880C-41AC-8A99-E5B6C54DF4C9}"/>
              </a:ext>
            </a:extLst>
          </p:cNvPr>
          <p:cNvSpPr txBox="1"/>
          <p:nvPr/>
        </p:nvSpPr>
        <p:spPr>
          <a:xfrm>
            <a:off x="5230335" y="4747128"/>
            <a:ext cx="1934626" cy="153888"/>
          </a:xfrm>
          <a:prstGeom prst="rect">
            <a:avLst/>
          </a:prstGeom>
          <a:noFill/>
        </p:spPr>
        <p:txBody>
          <a:bodyPr wrap="square" lIns="0" tIns="0" rIns="0" bIns="0" rtlCol="0">
            <a:spAutoFit/>
          </a:bodyPr>
          <a:lstStyle/>
          <a:p>
            <a:pPr algn="ctr"/>
            <a:r>
              <a:rPr lang="en-US" sz="1000" i="1" dirty="0"/>
              <a:t>VDI and session host deployments</a:t>
            </a:r>
          </a:p>
        </p:txBody>
      </p:sp>
      <p:sp>
        <p:nvSpPr>
          <p:cNvPr id="1754" name="Freeform 3527">
            <a:extLst>
              <a:ext uri="{FF2B5EF4-FFF2-40B4-BE49-F238E27FC236}">
                <a16:creationId xmlns:a16="http://schemas.microsoft.com/office/drawing/2014/main" id="{802C7D0D-5664-4DBF-BE5D-44CB4BF1ABB8}"/>
              </a:ext>
            </a:extLst>
          </p:cNvPr>
          <p:cNvSpPr>
            <a:spLocks/>
          </p:cNvSpPr>
          <p:nvPr/>
        </p:nvSpPr>
        <p:spPr bwMode="auto">
          <a:xfrm>
            <a:off x="5733195" y="4127782"/>
            <a:ext cx="960437" cy="563478"/>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1440" tIns="91440" rIns="91440" bIns="45720" numCol="1" anchor="ctr" anchorCtr="0" compatLnSpc="1">
            <a:prstTxWarp prst="textNoShape">
              <a:avLst/>
            </a:prstTxWarp>
          </a:bodyPr>
          <a:lstStyle/>
          <a:p>
            <a:pPr algn="ctr"/>
            <a:r>
              <a:rPr lang="en-US" sz="1400" b="1" dirty="0">
                <a:solidFill>
                  <a:schemeClr val="bg1"/>
                </a:solidFill>
              </a:rPr>
              <a:t>WVD</a:t>
            </a:r>
          </a:p>
        </p:txBody>
      </p:sp>
      <p:sp>
        <p:nvSpPr>
          <p:cNvPr id="1755" name="Rectangle 1754">
            <a:extLst>
              <a:ext uri="{FF2B5EF4-FFF2-40B4-BE49-F238E27FC236}">
                <a16:creationId xmlns:a16="http://schemas.microsoft.com/office/drawing/2014/main" id="{BD922E7A-A79F-4D92-833D-7FE1226CE0FE}"/>
              </a:ext>
            </a:extLst>
          </p:cNvPr>
          <p:cNvSpPr/>
          <p:nvPr/>
        </p:nvSpPr>
        <p:spPr>
          <a:xfrm>
            <a:off x="1260224" y="3588212"/>
            <a:ext cx="631904" cy="246221"/>
          </a:xfrm>
          <a:prstGeom prst="rect">
            <a:avLst/>
          </a:prstGeom>
        </p:spPr>
        <p:txBody>
          <a:bodyPr wrap="none">
            <a:spAutoFit/>
          </a:bodyPr>
          <a:lstStyle/>
          <a:p>
            <a:pPr algn="ctr" defTabSz="932472" fontAlgn="base">
              <a:spcBef>
                <a:spcPct val="0"/>
              </a:spcBef>
              <a:spcAft>
                <a:spcPct val="0"/>
              </a:spcAft>
            </a:pPr>
            <a:r>
              <a:rPr lang="en-US" sz="1000" i="1" dirty="0">
                <a:ea typeface="Segoe UI" pitchFamily="34" charset="0"/>
                <a:cs typeface="Segoe UI" pitchFamily="34" charset="0"/>
              </a:rPr>
              <a:t>Desktop</a:t>
            </a:r>
          </a:p>
        </p:txBody>
      </p:sp>
      <p:sp>
        <p:nvSpPr>
          <p:cNvPr id="1756" name="Rectangle 1755">
            <a:extLst>
              <a:ext uri="{FF2B5EF4-FFF2-40B4-BE49-F238E27FC236}">
                <a16:creationId xmlns:a16="http://schemas.microsoft.com/office/drawing/2014/main" id="{955F128D-935C-45FD-85C8-93DA65558B31}"/>
              </a:ext>
            </a:extLst>
          </p:cNvPr>
          <p:cNvSpPr/>
          <p:nvPr/>
        </p:nvSpPr>
        <p:spPr>
          <a:xfrm>
            <a:off x="2652372" y="3588212"/>
            <a:ext cx="825868" cy="246221"/>
          </a:xfrm>
          <a:prstGeom prst="rect">
            <a:avLst/>
          </a:prstGeom>
        </p:spPr>
        <p:txBody>
          <a:bodyPr wrap="none">
            <a:spAutoFit/>
          </a:bodyPr>
          <a:lstStyle/>
          <a:p>
            <a:pPr algn="ctr" defTabSz="932472" fontAlgn="base">
              <a:spcBef>
                <a:spcPct val="0"/>
              </a:spcBef>
              <a:spcAft>
                <a:spcPct val="0"/>
              </a:spcAft>
            </a:pPr>
            <a:r>
              <a:rPr lang="en-US" sz="1000" i="1" dirty="0">
                <a:ea typeface="Segoe UI" pitchFamily="34" charset="0"/>
                <a:cs typeface="Segoe UI" pitchFamily="34" charset="0"/>
              </a:rPr>
              <a:t>RemoteApp</a:t>
            </a:r>
          </a:p>
        </p:txBody>
      </p:sp>
      <p:sp>
        <p:nvSpPr>
          <p:cNvPr id="1760" name="Rectangle 1759">
            <a:extLst>
              <a:ext uri="{FF2B5EF4-FFF2-40B4-BE49-F238E27FC236}">
                <a16:creationId xmlns:a16="http://schemas.microsoft.com/office/drawing/2014/main" id="{5F365E12-353D-4031-814C-2BB3B8A93E3E}"/>
              </a:ext>
            </a:extLst>
          </p:cNvPr>
          <p:cNvSpPr/>
          <p:nvPr/>
        </p:nvSpPr>
        <p:spPr>
          <a:xfrm>
            <a:off x="5265645" y="3597260"/>
            <a:ext cx="631904" cy="246221"/>
          </a:xfrm>
          <a:prstGeom prst="rect">
            <a:avLst/>
          </a:prstGeom>
        </p:spPr>
        <p:txBody>
          <a:bodyPr wrap="none">
            <a:spAutoFit/>
          </a:bodyPr>
          <a:lstStyle/>
          <a:p>
            <a:pPr algn="ctr" defTabSz="932472" fontAlgn="base">
              <a:spcBef>
                <a:spcPct val="0"/>
              </a:spcBef>
              <a:spcAft>
                <a:spcPct val="0"/>
              </a:spcAft>
            </a:pPr>
            <a:r>
              <a:rPr lang="en-US" sz="1000" i="1" dirty="0">
                <a:ea typeface="Segoe UI" pitchFamily="34" charset="0"/>
                <a:cs typeface="Segoe UI" pitchFamily="34" charset="0"/>
              </a:rPr>
              <a:t>Desktop</a:t>
            </a:r>
          </a:p>
        </p:txBody>
      </p:sp>
      <p:sp>
        <p:nvSpPr>
          <p:cNvPr id="1761" name="Rectangle 1760">
            <a:extLst>
              <a:ext uri="{FF2B5EF4-FFF2-40B4-BE49-F238E27FC236}">
                <a16:creationId xmlns:a16="http://schemas.microsoft.com/office/drawing/2014/main" id="{62A25CE5-0C56-47B3-8CBE-D8DA4A853CEB}"/>
              </a:ext>
            </a:extLst>
          </p:cNvPr>
          <p:cNvSpPr/>
          <p:nvPr/>
        </p:nvSpPr>
        <p:spPr>
          <a:xfrm>
            <a:off x="6303046" y="3587379"/>
            <a:ext cx="825868" cy="246221"/>
          </a:xfrm>
          <a:prstGeom prst="rect">
            <a:avLst/>
          </a:prstGeom>
        </p:spPr>
        <p:txBody>
          <a:bodyPr wrap="none">
            <a:spAutoFit/>
          </a:bodyPr>
          <a:lstStyle/>
          <a:p>
            <a:pPr algn="ctr" defTabSz="932472" fontAlgn="base">
              <a:spcBef>
                <a:spcPct val="0"/>
              </a:spcBef>
              <a:spcAft>
                <a:spcPct val="0"/>
              </a:spcAft>
            </a:pPr>
            <a:r>
              <a:rPr lang="en-US" sz="1000" i="1" dirty="0">
                <a:ea typeface="Segoe UI" pitchFamily="34" charset="0"/>
                <a:cs typeface="Segoe UI" pitchFamily="34" charset="0"/>
              </a:rPr>
              <a:t>RemoteApp</a:t>
            </a:r>
          </a:p>
        </p:txBody>
      </p:sp>
      <p:grpSp>
        <p:nvGrpSpPr>
          <p:cNvPr id="24" name="Group 23">
            <a:extLst>
              <a:ext uri="{FF2B5EF4-FFF2-40B4-BE49-F238E27FC236}">
                <a16:creationId xmlns:a16="http://schemas.microsoft.com/office/drawing/2014/main" id="{D0C9891B-B154-4B71-B043-2F98996F2EAB}"/>
              </a:ext>
            </a:extLst>
          </p:cNvPr>
          <p:cNvGrpSpPr/>
          <p:nvPr/>
        </p:nvGrpSpPr>
        <p:grpSpPr>
          <a:xfrm>
            <a:off x="5274966" y="2988677"/>
            <a:ext cx="585318" cy="584606"/>
            <a:chOff x="5251407" y="3773172"/>
            <a:chExt cx="585318" cy="584606"/>
          </a:xfrm>
        </p:grpSpPr>
        <p:sp>
          <p:nvSpPr>
            <p:cNvPr id="1763" name="Oval 5">
              <a:extLst>
                <a:ext uri="{FF2B5EF4-FFF2-40B4-BE49-F238E27FC236}">
                  <a16:creationId xmlns:a16="http://schemas.microsoft.com/office/drawing/2014/main" id="{11737EFB-AB99-42DC-B5FA-00457CA87621}"/>
                </a:ext>
              </a:extLst>
            </p:cNvPr>
            <p:cNvSpPr>
              <a:spLocks noChangeArrowheads="1"/>
            </p:cNvSpPr>
            <p:nvPr/>
          </p:nvSpPr>
          <p:spPr bwMode="auto">
            <a:xfrm>
              <a:off x="5251407" y="3773172"/>
              <a:ext cx="585318" cy="584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64" name="desktop" title="a desktop PC">
              <a:extLst>
                <a:ext uri="{FF2B5EF4-FFF2-40B4-BE49-F238E27FC236}">
                  <a16:creationId xmlns:a16="http://schemas.microsoft.com/office/drawing/2014/main" id="{5E7CC285-B0B4-4619-A284-DCC0386E965D}"/>
                </a:ext>
              </a:extLst>
            </p:cNvPr>
            <p:cNvSpPr>
              <a:spLocks noChangeAspect="1" noEditPoints="1"/>
            </p:cNvSpPr>
            <p:nvPr/>
          </p:nvSpPr>
          <p:spPr bwMode="auto">
            <a:xfrm>
              <a:off x="5392827" y="3918711"/>
              <a:ext cx="302477" cy="297538"/>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23" name="Group 22">
            <a:extLst>
              <a:ext uri="{FF2B5EF4-FFF2-40B4-BE49-F238E27FC236}">
                <a16:creationId xmlns:a16="http://schemas.microsoft.com/office/drawing/2014/main" id="{9D9B4F64-47D9-40C1-9F1F-CF27DED23F08}"/>
              </a:ext>
            </a:extLst>
          </p:cNvPr>
          <p:cNvGrpSpPr/>
          <p:nvPr/>
        </p:nvGrpSpPr>
        <p:grpSpPr>
          <a:xfrm>
            <a:off x="6454737" y="2978796"/>
            <a:ext cx="585318" cy="584606"/>
            <a:chOff x="6431178" y="3763291"/>
            <a:chExt cx="585318" cy="584606"/>
          </a:xfrm>
        </p:grpSpPr>
        <p:sp>
          <p:nvSpPr>
            <p:cNvPr id="1762" name="Oval 5">
              <a:extLst>
                <a:ext uri="{FF2B5EF4-FFF2-40B4-BE49-F238E27FC236}">
                  <a16:creationId xmlns:a16="http://schemas.microsoft.com/office/drawing/2014/main" id="{2BA188FC-3359-4120-8311-0520FB1D543F}"/>
                </a:ext>
              </a:extLst>
            </p:cNvPr>
            <p:cNvSpPr>
              <a:spLocks noChangeArrowheads="1"/>
            </p:cNvSpPr>
            <p:nvPr/>
          </p:nvSpPr>
          <p:spPr bwMode="auto">
            <a:xfrm>
              <a:off x="6431178" y="3763291"/>
              <a:ext cx="585318" cy="584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2" name="Group 21">
              <a:extLst>
                <a:ext uri="{FF2B5EF4-FFF2-40B4-BE49-F238E27FC236}">
                  <a16:creationId xmlns:a16="http://schemas.microsoft.com/office/drawing/2014/main" id="{BE098ABB-E42C-42F1-BAF9-7657E3B47CA0}"/>
                </a:ext>
              </a:extLst>
            </p:cNvPr>
            <p:cNvGrpSpPr/>
            <p:nvPr/>
          </p:nvGrpSpPr>
          <p:grpSpPr>
            <a:xfrm>
              <a:off x="6504570" y="3898900"/>
              <a:ext cx="438536" cy="313388"/>
              <a:chOff x="7724448" y="6057781"/>
              <a:chExt cx="326307" cy="233187"/>
            </a:xfrm>
          </p:grpSpPr>
          <p:sp>
            <p:nvSpPr>
              <p:cNvPr id="14" name="Freeform: Shape 13">
                <a:extLst>
                  <a:ext uri="{FF2B5EF4-FFF2-40B4-BE49-F238E27FC236}">
                    <a16:creationId xmlns:a16="http://schemas.microsoft.com/office/drawing/2014/main" id="{0E7AE5D4-3608-4597-96F0-1EC034A299E8}"/>
                  </a:ext>
                </a:extLst>
              </p:cNvPr>
              <p:cNvSpPr/>
              <p:nvPr/>
            </p:nvSpPr>
            <p:spPr>
              <a:xfrm>
                <a:off x="7851112" y="6266215"/>
                <a:ext cx="75437" cy="21052"/>
              </a:xfrm>
              <a:custGeom>
                <a:avLst/>
                <a:gdLst>
                  <a:gd name="connsiteX0" fmla="*/ 217591 w 215635"/>
                  <a:gd name="connsiteY0" fmla="*/ 64239 h 60177"/>
                  <a:gd name="connsiteX1" fmla="*/ 187903 w 215635"/>
                  <a:gd name="connsiteY1" fmla="*/ 64239 h 60177"/>
                  <a:gd name="connsiteX2" fmla="*/ 166139 w 215635"/>
                  <a:gd name="connsiteY2" fmla="*/ 39867 h 60177"/>
                  <a:gd name="connsiteX3" fmla="*/ 166139 w 215635"/>
                  <a:gd name="connsiteY3" fmla="*/ 0 h 60177"/>
                  <a:gd name="connsiteX4" fmla="*/ 51452 w 215635"/>
                  <a:gd name="connsiteY4" fmla="*/ 0 h 60177"/>
                  <a:gd name="connsiteX5" fmla="*/ 51452 w 215635"/>
                  <a:gd name="connsiteY5" fmla="*/ 39867 h 60177"/>
                  <a:gd name="connsiteX6" fmla="*/ 29687 w 215635"/>
                  <a:gd name="connsiteY6" fmla="*/ 64239 h 60177"/>
                  <a:gd name="connsiteX7" fmla="*/ 0 w 215635"/>
                  <a:gd name="connsiteY7" fmla="*/ 64239 h 6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635" h="60177">
                    <a:moveTo>
                      <a:pt x="217591" y="64239"/>
                    </a:moveTo>
                    <a:lnTo>
                      <a:pt x="187903" y="64239"/>
                    </a:lnTo>
                    <a:cubicBezTo>
                      <a:pt x="176018" y="64239"/>
                      <a:pt x="166139" y="53157"/>
                      <a:pt x="166139" y="39867"/>
                    </a:cubicBezTo>
                    <a:lnTo>
                      <a:pt x="166139" y="0"/>
                    </a:lnTo>
                    <a:lnTo>
                      <a:pt x="51452" y="0"/>
                    </a:lnTo>
                    <a:lnTo>
                      <a:pt x="51452" y="39867"/>
                    </a:lnTo>
                    <a:cubicBezTo>
                      <a:pt x="51452" y="53157"/>
                      <a:pt x="41572" y="64239"/>
                      <a:pt x="29687" y="64239"/>
                    </a:cubicBezTo>
                    <a:lnTo>
                      <a:pt x="0" y="64239"/>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Shape 14">
                <a:extLst>
                  <a:ext uri="{FF2B5EF4-FFF2-40B4-BE49-F238E27FC236}">
                    <a16:creationId xmlns:a16="http://schemas.microsoft.com/office/drawing/2014/main" id="{DF6EEEC0-AD07-448B-B688-3F5C793EBF72}"/>
                  </a:ext>
                </a:extLst>
              </p:cNvPr>
              <p:cNvSpPr/>
              <p:nvPr/>
            </p:nvSpPr>
            <p:spPr>
              <a:xfrm>
                <a:off x="7864374" y="6289214"/>
                <a:ext cx="49122" cy="1754"/>
              </a:xfrm>
              <a:custGeom>
                <a:avLst/>
                <a:gdLst>
                  <a:gd name="connsiteX0" fmla="*/ 0 w 140413"/>
                  <a:gd name="connsiteY0" fmla="*/ 0 h 0"/>
                  <a:gd name="connsiteX1" fmla="*/ 144124 w 140413"/>
                  <a:gd name="connsiteY1" fmla="*/ 0 h 0"/>
                </a:gdLst>
                <a:ahLst/>
                <a:cxnLst>
                  <a:cxn ang="0">
                    <a:pos x="connsiteX0" y="connsiteY0"/>
                  </a:cxn>
                  <a:cxn ang="0">
                    <a:pos x="connsiteX1" y="connsiteY1"/>
                  </a:cxn>
                </a:cxnLst>
                <a:rect l="l" t="t" r="r" b="b"/>
                <a:pathLst>
                  <a:path w="140413">
                    <a:moveTo>
                      <a:pt x="0" y="0"/>
                    </a:moveTo>
                    <a:lnTo>
                      <a:pt x="144124" y="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Shape 15">
                <a:extLst>
                  <a:ext uri="{FF2B5EF4-FFF2-40B4-BE49-F238E27FC236}">
                    <a16:creationId xmlns:a16="http://schemas.microsoft.com/office/drawing/2014/main" id="{2B049C0E-B98E-4935-9687-7C3019E916FA}"/>
                  </a:ext>
                </a:extLst>
              </p:cNvPr>
              <p:cNvSpPr/>
              <p:nvPr/>
            </p:nvSpPr>
            <p:spPr>
              <a:xfrm>
                <a:off x="7807551" y="6150621"/>
                <a:ext cx="159645" cy="112278"/>
              </a:xfrm>
              <a:custGeom>
                <a:avLst/>
                <a:gdLst>
                  <a:gd name="connsiteX0" fmla="*/ 430367 w 456343"/>
                  <a:gd name="connsiteY0" fmla="*/ 325459 h 320945"/>
                  <a:gd name="connsiteX1" fmla="*/ 28434 w 456343"/>
                  <a:gd name="connsiteY1" fmla="*/ 325459 h 320945"/>
                  <a:gd name="connsiteX2" fmla="*/ 0 w 456343"/>
                  <a:gd name="connsiteY2" fmla="*/ 297326 h 320945"/>
                  <a:gd name="connsiteX3" fmla="*/ 0 w 456343"/>
                  <a:gd name="connsiteY3" fmla="*/ 28133 h 320945"/>
                  <a:gd name="connsiteX4" fmla="*/ 28434 w 456343"/>
                  <a:gd name="connsiteY4" fmla="*/ 0 h 320945"/>
                  <a:gd name="connsiteX5" fmla="*/ 430367 w 456343"/>
                  <a:gd name="connsiteY5" fmla="*/ 0 h 320945"/>
                  <a:gd name="connsiteX6" fmla="*/ 458801 w 456343"/>
                  <a:gd name="connsiteY6" fmla="*/ 28133 h 320945"/>
                  <a:gd name="connsiteX7" fmla="*/ 458801 w 456343"/>
                  <a:gd name="connsiteY7" fmla="*/ 299332 h 320945"/>
                  <a:gd name="connsiteX8" fmla="*/ 430367 w 456343"/>
                  <a:gd name="connsiteY8" fmla="*/ 325459 h 320945"/>
                  <a:gd name="connsiteX9" fmla="*/ 430367 w 456343"/>
                  <a:gd name="connsiteY9" fmla="*/ 325459 h 320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6343" h="320945">
                    <a:moveTo>
                      <a:pt x="430367" y="325459"/>
                    </a:moveTo>
                    <a:lnTo>
                      <a:pt x="28434" y="325459"/>
                    </a:lnTo>
                    <a:cubicBezTo>
                      <a:pt x="12186" y="325459"/>
                      <a:pt x="0" y="313423"/>
                      <a:pt x="0" y="297326"/>
                    </a:cubicBezTo>
                    <a:lnTo>
                      <a:pt x="0" y="28133"/>
                    </a:lnTo>
                    <a:cubicBezTo>
                      <a:pt x="0" y="12086"/>
                      <a:pt x="12186" y="0"/>
                      <a:pt x="28434" y="0"/>
                    </a:cubicBezTo>
                    <a:lnTo>
                      <a:pt x="430367" y="0"/>
                    </a:lnTo>
                    <a:cubicBezTo>
                      <a:pt x="446615" y="0"/>
                      <a:pt x="458801" y="12035"/>
                      <a:pt x="458801" y="28133"/>
                    </a:cubicBezTo>
                    <a:lnTo>
                      <a:pt x="458801" y="299332"/>
                    </a:lnTo>
                    <a:cubicBezTo>
                      <a:pt x="456745" y="313423"/>
                      <a:pt x="444559" y="325459"/>
                      <a:pt x="430367" y="325459"/>
                    </a:cubicBezTo>
                    <a:lnTo>
                      <a:pt x="430367" y="325459"/>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Shape 16">
                <a:extLst>
                  <a:ext uri="{FF2B5EF4-FFF2-40B4-BE49-F238E27FC236}">
                    <a16:creationId xmlns:a16="http://schemas.microsoft.com/office/drawing/2014/main" id="{04CD04A2-DA3F-405F-91D7-D87267E673D2}"/>
                  </a:ext>
                </a:extLst>
              </p:cNvPr>
              <p:cNvSpPr/>
              <p:nvPr/>
            </p:nvSpPr>
            <p:spPr>
              <a:xfrm>
                <a:off x="7724448" y="6057781"/>
                <a:ext cx="326307" cy="177189"/>
              </a:xfrm>
              <a:custGeom>
                <a:avLst/>
                <a:gdLst>
                  <a:gd name="connsiteX0" fmla="*/ 238452 w 932746"/>
                  <a:gd name="connsiteY0" fmla="*/ 510855 h 506491"/>
                  <a:gd name="connsiteX1" fmla="*/ 132239 w 932746"/>
                  <a:gd name="connsiteY1" fmla="*/ 510855 h 506491"/>
                  <a:gd name="connsiteX2" fmla="*/ 0 w 932746"/>
                  <a:gd name="connsiteY2" fmla="*/ 371895 h 506491"/>
                  <a:gd name="connsiteX3" fmla="*/ 132239 w 932746"/>
                  <a:gd name="connsiteY3" fmla="*/ 237048 h 506491"/>
                  <a:gd name="connsiteX4" fmla="*/ 158266 w 932746"/>
                  <a:gd name="connsiteY4" fmla="*/ 239104 h 506491"/>
                  <a:gd name="connsiteX5" fmla="*/ 396768 w 932746"/>
                  <a:gd name="connsiteY5" fmla="*/ 0 h 506491"/>
                  <a:gd name="connsiteX6" fmla="*/ 627197 w 932746"/>
                  <a:gd name="connsiteY6" fmla="*/ 192066 h 506491"/>
                  <a:gd name="connsiteX7" fmla="*/ 755425 w 932746"/>
                  <a:gd name="connsiteY7" fmla="*/ 132791 h 506491"/>
                  <a:gd name="connsiteX8" fmla="*/ 935756 w 932746"/>
                  <a:gd name="connsiteY8" fmla="*/ 322801 h 506491"/>
                  <a:gd name="connsiteX9" fmla="*/ 755425 w 932746"/>
                  <a:gd name="connsiteY9" fmla="*/ 508748 h 506491"/>
                  <a:gd name="connsiteX10" fmla="*/ 755425 w 932746"/>
                  <a:gd name="connsiteY10" fmla="*/ 508748 h 506491"/>
                  <a:gd name="connsiteX11" fmla="*/ 695548 w 932746"/>
                  <a:gd name="connsiteY11" fmla="*/ 508748 h 50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2746" h="506491">
                    <a:moveTo>
                      <a:pt x="238452" y="510855"/>
                    </a:moveTo>
                    <a:cubicBezTo>
                      <a:pt x="210420" y="510855"/>
                      <a:pt x="132239" y="510855"/>
                      <a:pt x="132239" y="510855"/>
                    </a:cubicBezTo>
                    <a:cubicBezTo>
                      <a:pt x="60077" y="510855"/>
                      <a:pt x="0" y="449574"/>
                      <a:pt x="0" y="371895"/>
                    </a:cubicBezTo>
                    <a:cubicBezTo>
                      <a:pt x="0" y="296273"/>
                      <a:pt x="58121" y="237048"/>
                      <a:pt x="132239" y="237048"/>
                    </a:cubicBezTo>
                    <a:cubicBezTo>
                      <a:pt x="140263" y="237048"/>
                      <a:pt x="150293" y="237048"/>
                      <a:pt x="158266" y="239104"/>
                    </a:cubicBezTo>
                    <a:cubicBezTo>
                      <a:pt x="164334" y="106263"/>
                      <a:pt x="268541" y="0"/>
                      <a:pt x="396768" y="0"/>
                    </a:cubicBezTo>
                    <a:cubicBezTo>
                      <a:pt x="506993" y="0"/>
                      <a:pt x="601170" y="81741"/>
                      <a:pt x="627197" y="192066"/>
                    </a:cubicBezTo>
                    <a:cubicBezTo>
                      <a:pt x="659241" y="155307"/>
                      <a:pt x="705327" y="132791"/>
                      <a:pt x="755425" y="132791"/>
                    </a:cubicBezTo>
                    <a:cubicBezTo>
                      <a:pt x="855620" y="132791"/>
                      <a:pt x="935756" y="216588"/>
                      <a:pt x="935756" y="322801"/>
                    </a:cubicBezTo>
                    <a:cubicBezTo>
                      <a:pt x="935756" y="429014"/>
                      <a:pt x="855620" y="508748"/>
                      <a:pt x="755425" y="508748"/>
                    </a:cubicBezTo>
                    <a:lnTo>
                      <a:pt x="755425" y="508748"/>
                    </a:lnTo>
                    <a:cubicBezTo>
                      <a:pt x="741383" y="508748"/>
                      <a:pt x="695548" y="508748"/>
                      <a:pt x="695548" y="5087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919" name="Group 1918">
            <a:extLst>
              <a:ext uri="{FF2B5EF4-FFF2-40B4-BE49-F238E27FC236}">
                <a16:creationId xmlns:a16="http://schemas.microsoft.com/office/drawing/2014/main" id="{866430FC-47C5-4A30-B4FC-408E74504627}"/>
              </a:ext>
            </a:extLst>
          </p:cNvPr>
          <p:cNvGrpSpPr/>
          <p:nvPr/>
        </p:nvGrpSpPr>
        <p:grpSpPr>
          <a:xfrm>
            <a:off x="1283517" y="2989510"/>
            <a:ext cx="585318" cy="584606"/>
            <a:chOff x="5251407" y="3773172"/>
            <a:chExt cx="585318" cy="584606"/>
          </a:xfrm>
        </p:grpSpPr>
        <p:sp>
          <p:nvSpPr>
            <p:cNvPr id="1920" name="Oval 5">
              <a:extLst>
                <a:ext uri="{FF2B5EF4-FFF2-40B4-BE49-F238E27FC236}">
                  <a16:creationId xmlns:a16="http://schemas.microsoft.com/office/drawing/2014/main" id="{79662C67-2BF1-40DE-9C12-56C8FE34E44E}"/>
                </a:ext>
              </a:extLst>
            </p:cNvPr>
            <p:cNvSpPr>
              <a:spLocks noChangeArrowheads="1"/>
            </p:cNvSpPr>
            <p:nvPr/>
          </p:nvSpPr>
          <p:spPr bwMode="auto">
            <a:xfrm>
              <a:off x="5251407" y="3773172"/>
              <a:ext cx="585318" cy="584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21" name="desktop" title="a desktop PC">
              <a:extLst>
                <a:ext uri="{FF2B5EF4-FFF2-40B4-BE49-F238E27FC236}">
                  <a16:creationId xmlns:a16="http://schemas.microsoft.com/office/drawing/2014/main" id="{E35A6C1C-492A-4178-84E0-4E6D31C5C265}"/>
                </a:ext>
              </a:extLst>
            </p:cNvPr>
            <p:cNvSpPr>
              <a:spLocks noChangeAspect="1" noEditPoints="1"/>
            </p:cNvSpPr>
            <p:nvPr/>
          </p:nvSpPr>
          <p:spPr bwMode="auto">
            <a:xfrm>
              <a:off x="5392827" y="3918711"/>
              <a:ext cx="302477" cy="297538"/>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1922" name="Group 1921">
            <a:extLst>
              <a:ext uri="{FF2B5EF4-FFF2-40B4-BE49-F238E27FC236}">
                <a16:creationId xmlns:a16="http://schemas.microsoft.com/office/drawing/2014/main" id="{BB91BDC2-81D4-4396-A77F-B2A6EF203D56}"/>
              </a:ext>
            </a:extLst>
          </p:cNvPr>
          <p:cNvGrpSpPr/>
          <p:nvPr/>
        </p:nvGrpSpPr>
        <p:grpSpPr>
          <a:xfrm>
            <a:off x="2772647" y="2979629"/>
            <a:ext cx="585318" cy="584606"/>
            <a:chOff x="6431178" y="3763291"/>
            <a:chExt cx="585318" cy="584606"/>
          </a:xfrm>
        </p:grpSpPr>
        <p:sp>
          <p:nvSpPr>
            <p:cNvPr id="1923" name="Oval 5">
              <a:extLst>
                <a:ext uri="{FF2B5EF4-FFF2-40B4-BE49-F238E27FC236}">
                  <a16:creationId xmlns:a16="http://schemas.microsoft.com/office/drawing/2014/main" id="{9397BFB1-5B16-4BB2-9F1D-D7865FEDA213}"/>
                </a:ext>
              </a:extLst>
            </p:cNvPr>
            <p:cNvSpPr>
              <a:spLocks noChangeArrowheads="1"/>
            </p:cNvSpPr>
            <p:nvPr/>
          </p:nvSpPr>
          <p:spPr bwMode="auto">
            <a:xfrm>
              <a:off x="6431178" y="3763291"/>
              <a:ext cx="585318" cy="584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924" name="Group 1923">
              <a:extLst>
                <a:ext uri="{FF2B5EF4-FFF2-40B4-BE49-F238E27FC236}">
                  <a16:creationId xmlns:a16="http://schemas.microsoft.com/office/drawing/2014/main" id="{45A1A708-C598-4A48-84B8-8A26D2D72BA6}"/>
                </a:ext>
              </a:extLst>
            </p:cNvPr>
            <p:cNvGrpSpPr/>
            <p:nvPr/>
          </p:nvGrpSpPr>
          <p:grpSpPr>
            <a:xfrm>
              <a:off x="6504570" y="3898900"/>
              <a:ext cx="438536" cy="313388"/>
              <a:chOff x="7724448" y="6057781"/>
              <a:chExt cx="326307" cy="233187"/>
            </a:xfrm>
          </p:grpSpPr>
          <p:sp>
            <p:nvSpPr>
              <p:cNvPr id="1925" name="Freeform: Shape 1924">
                <a:extLst>
                  <a:ext uri="{FF2B5EF4-FFF2-40B4-BE49-F238E27FC236}">
                    <a16:creationId xmlns:a16="http://schemas.microsoft.com/office/drawing/2014/main" id="{85543EE1-12D2-410A-939E-B58797305D3A}"/>
                  </a:ext>
                </a:extLst>
              </p:cNvPr>
              <p:cNvSpPr/>
              <p:nvPr/>
            </p:nvSpPr>
            <p:spPr>
              <a:xfrm>
                <a:off x="7851112" y="6266215"/>
                <a:ext cx="75437" cy="21052"/>
              </a:xfrm>
              <a:custGeom>
                <a:avLst/>
                <a:gdLst>
                  <a:gd name="connsiteX0" fmla="*/ 217591 w 215635"/>
                  <a:gd name="connsiteY0" fmla="*/ 64239 h 60177"/>
                  <a:gd name="connsiteX1" fmla="*/ 187903 w 215635"/>
                  <a:gd name="connsiteY1" fmla="*/ 64239 h 60177"/>
                  <a:gd name="connsiteX2" fmla="*/ 166139 w 215635"/>
                  <a:gd name="connsiteY2" fmla="*/ 39867 h 60177"/>
                  <a:gd name="connsiteX3" fmla="*/ 166139 w 215635"/>
                  <a:gd name="connsiteY3" fmla="*/ 0 h 60177"/>
                  <a:gd name="connsiteX4" fmla="*/ 51452 w 215635"/>
                  <a:gd name="connsiteY4" fmla="*/ 0 h 60177"/>
                  <a:gd name="connsiteX5" fmla="*/ 51452 w 215635"/>
                  <a:gd name="connsiteY5" fmla="*/ 39867 h 60177"/>
                  <a:gd name="connsiteX6" fmla="*/ 29687 w 215635"/>
                  <a:gd name="connsiteY6" fmla="*/ 64239 h 60177"/>
                  <a:gd name="connsiteX7" fmla="*/ 0 w 215635"/>
                  <a:gd name="connsiteY7" fmla="*/ 64239 h 6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635" h="60177">
                    <a:moveTo>
                      <a:pt x="217591" y="64239"/>
                    </a:moveTo>
                    <a:lnTo>
                      <a:pt x="187903" y="64239"/>
                    </a:lnTo>
                    <a:cubicBezTo>
                      <a:pt x="176018" y="64239"/>
                      <a:pt x="166139" y="53157"/>
                      <a:pt x="166139" y="39867"/>
                    </a:cubicBezTo>
                    <a:lnTo>
                      <a:pt x="166139" y="0"/>
                    </a:lnTo>
                    <a:lnTo>
                      <a:pt x="51452" y="0"/>
                    </a:lnTo>
                    <a:lnTo>
                      <a:pt x="51452" y="39867"/>
                    </a:lnTo>
                    <a:cubicBezTo>
                      <a:pt x="51452" y="53157"/>
                      <a:pt x="41572" y="64239"/>
                      <a:pt x="29687" y="64239"/>
                    </a:cubicBezTo>
                    <a:lnTo>
                      <a:pt x="0" y="64239"/>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26" name="Freeform: Shape 1925">
                <a:extLst>
                  <a:ext uri="{FF2B5EF4-FFF2-40B4-BE49-F238E27FC236}">
                    <a16:creationId xmlns:a16="http://schemas.microsoft.com/office/drawing/2014/main" id="{7BA37099-2564-4EAA-A061-79C3D8968110}"/>
                  </a:ext>
                </a:extLst>
              </p:cNvPr>
              <p:cNvSpPr/>
              <p:nvPr/>
            </p:nvSpPr>
            <p:spPr>
              <a:xfrm>
                <a:off x="7864374" y="6289214"/>
                <a:ext cx="49122" cy="1754"/>
              </a:xfrm>
              <a:custGeom>
                <a:avLst/>
                <a:gdLst>
                  <a:gd name="connsiteX0" fmla="*/ 0 w 140413"/>
                  <a:gd name="connsiteY0" fmla="*/ 0 h 0"/>
                  <a:gd name="connsiteX1" fmla="*/ 144124 w 140413"/>
                  <a:gd name="connsiteY1" fmla="*/ 0 h 0"/>
                </a:gdLst>
                <a:ahLst/>
                <a:cxnLst>
                  <a:cxn ang="0">
                    <a:pos x="connsiteX0" y="connsiteY0"/>
                  </a:cxn>
                  <a:cxn ang="0">
                    <a:pos x="connsiteX1" y="connsiteY1"/>
                  </a:cxn>
                </a:cxnLst>
                <a:rect l="l" t="t" r="r" b="b"/>
                <a:pathLst>
                  <a:path w="140413">
                    <a:moveTo>
                      <a:pt x="0" y="0"/>
                    </a:moveTo>
                    <a:lnTo>
                      <a:pt x="144124" y="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27" name="Freeform: Shape 1926">
                <a:extLst>
                  <a:ext uri="{FF2B5EF4-FFF2-40B4-BE49-F238E27FC236}">
                    <a16:creationId xmlns:a16="http://schemas.microsoft.com/office/drawing/2014/main" id="{AF804F0F-5C8C-493B-83FE-95B076FE34C9}"/>
                  </a:ext>
                </a:extLst>
              </p:cNvPr>
              <p:cNvSpPr/>
              <p:nvPr/>
            </p:nvSpPr>
            <p:spPr>
              <a:xfrm>
                <a:off x="7807551" y="6150621"/>
                <a:ext cx="159645" cy="112278"/>
              </a:xfrm>
              <a:custGeom>
                <a:avLst/>
                <a:gdLst>
                  <a:gd name="connsiteX0" fmla="*/ 430367 w 456343"/>
                  <a:gd name="connsiteY0" fmla="*/ 325459 h 320945"/>
                  <a:gd name="connsiteX1" fmla="*/ 28434 w 456343"/>
                  <a:gd name="connsiteY1" fmla="*/ 325459 h 320945"/>
                  <a:gd name="connsiteX2" fmla="*/ 0 w 456343"/>
                  <a:gd name="connsiteY2" fmla="*/ 297326 h 320945"/>
                  <a:gd name="connsiteX3" fmla="*/ 0 w 456343"/>
                  <a:gd name="connsiteY3" fmla="*/ 28133 h 320945"/>
                  <a:gd name="connsiteX4" fmla="*/ 28434 w 456343"/>
                  <a:gd name="connsiteY4" fmla="*/ 0 h 320945"/>
                  <a:gd name="connsiteX5" fmla="*/ 430367 w 456343"/>
                  <a:gd name="connsiteY5" fmla="*/ 0 h 320945"/>
                  <a:gd name="connsiteX6" fmla="*/ 458801 w 456343"/>
                  <a:gd name="connsiteY6" fmla="*/ 28133 h 320945"/>
                  <a:gd name="connsiteX7" fmla="*/ 458801 w 456343"/>
                  <a:gd name="connsiteY7" fmla="*/ 299332 h 320945"/>
                  <a:gd name="connsiteX8" fmla="*/ 430367 w 456343"/>
                  <a:gd name="connsiteY8" fmla="*/ 325459 h 320945"/>
                  <a:gd name="connsiteX9" fmla="*/ 430367 w 456343"/>
                  <a:gd name="connsiteY9" fmla="*/ 325459 h 320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6343" h="320945">
                    <a:moveTo>
                      <a:pt x="430367" y="325459"/>
                    </a:moveTo>
                    <a:lnTo>
                      <a:pt x="28434" y="325459"/>
                    </a:lnTo>
                    <a:cubicBezTo>
                      <a:pt x="12186" y="325459"/>
                      <a:pt x="0" y="313423"/>
                      <a:pt x="0" y="297326"/>
                    </a:cubicBezTo>
                    <a:lnTo>
                      <a:pt x="0" y="28133"/>
                    </a:lnTo>
                    <a:cubicBezTo>
                      <a:pt x="0" y="12086"/>
                      <a:pt x="12186" y="0"/>
                      <a:pt x="28434" y="0"/>
                    </a:cubicBezTo>
                    <a:lnTo>
                      <a:pt x="430367" y="0"/>
                    </a:lnTo>
                    <a:cubicBezTo>
                      <a:pt x="446615" y="0"/>
                      <a:pt x="458801" y="12035"/>
                      <a:pt x="458801" y="28133"/>
                    </a:cubicBezTo>
                    <a:lnTo>
                      <a:pt x="458801" y="299332"/>
                    </a:lnTo>
                    <a:cubicBezTo>
                      <a:pt x="456745" y="313423"/>
                      <a:pt x="444559" y="325459"/>
                      <a:pt x="430367" y="325459"/>
                    </a:cubicBezTo>
                    <a:lnTo>
                      <a:pt x="430367" y="325459"/>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28" name="Freeform: Shape 1927">
                <a:extLst>
                  <a:ext uri="{FF2B5EF4-FFF2-40B4-BE49-F238E27FC236}">
                    <a16:creationId xmlns:a16="http://schemas.microsoft.com/office/drawing/2014/main" id="{7370B4C7-2232-4713-970F-24960E9D18A6}"/>
                  </a:ext>
                </a:extLst>
              </p:cNvPr>
              <p:cNvSpPr/>
              <p:nvPr/>
            </p:nvSpPr>
            <p:spPr>
              <a:xfrm>
                <a:off x="7724448" y="6057781"/>
                <a:ext cx="326307" cy="177189"/>
              </a:xfrm>
              <a:custGeom>
                <a:avLst/>
                <a:gdLst>
                  <a:gd name="connsiteX0" fmla="*/ 238452 w 932746"/>
                  <a:gd name="connsiteY0" fmla="*/ 510855 h 506491"/>
                  <a:gd name="connsiteX1" fmla="*/ 132239 w 932746"/>
                  <a:gd name="connsiteY1" fmla="*/ 510855 h 506491"/>
                  <a:gd name="connsiteX2" fmla="*/ 0 w 932746"/>
                  <a:gd name="connsiteY2" fmla="*/ 371895 h 506491"/>
                  <a:gd name="connsiteX3" fmla="*/ 132239 w 932746"/>
                  <a:gd name="connsiteY3" fmla="*/ 237048 h 506491"/>
                  <a:gd name="connsiteX4" fmla="*/ 158266 w 932746"/>
                  <a:gd name="connsiteY4" fmla="*/ 239104 h 506491"/>
                  <a:gd name="connsiteX5" fmla="*/ 396768 w 932746"/>
                  <a:gd name="connsiteY5" fmla="*/ 0 h 506491"/>
                  <a:gd name="connsiteX6" fmla="*/ 627197 w 932746"/>
                  <a:gd name="connsiteY6" fmla="*/ 192066 h 506491"/>
                  <a:gd name="connsiteX7" fmla="*/ 755425 w 932746"/>
                  <a:gd name="connsiteY7" fmla="*/ 132791 h 506491"/>
                  <a:gd name="connsiteX8" fmla="*/ 935756 w 932746"/>
                  <a:gd name="connsiteY8" fmla="*/ 322801 h 506491"/>
                  <a:gd name="connsiteX9" fmla="*/ 755425 w 932746"/>
                  <a:gd name="connsiteY9" fmla="*/ 508748 h 506491"/>
                  <a:gd name="connsiteX10" fmla="*/ 755425 w 932746"/>
                  <a:gd name="connsiteY10" fmla="*/ 508748 h 506491"/>
                  <a:gd name="connsiteX11" fmla="*/ 695548 w 932746"/>
                  <a:gd name="connsiteY11" fmla="*/ 508748 h 50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2746" h="506491">
                    <a:moveTo>
                      <a:pt x="238452" y="510855"/>
                    </a:moveTo>
                    <a:cubicBezTo>
                      <a:pt x="210420" y="510855"/>
                      <a:pt x="132239" y="510855"/>
                      <a:pt x="132239" y="510855"/>
                    </a:cubicBezTo>
                    <a:cubicBezTo>
                      <a:pt x="60077" y="510855"/>
                      <a:pt x="0" y="449574"/>
                      <a:pt x="0" y="371895"/>
                    </a:cubicBezTo>
                    <a:cubicBezTo>
                      <a:pt x="0" y="296273"/>
                      <a:pt x="58121" y="237048"/>
                      <a:pt x="132239" y="237048"/>
                    </a:cubicBezTo>
                    <a:cubicBezTo>
                      <a:pt x="140263" y="237048"/>
                      <a:pt x="150293" y="237048"/>
                      <a:pt x="158266" y="239104"/>
                    </a:cubicBezTo>
                    <a:cubicBezTo>
                      <a:pt x="164334" y="106263"/>
                      <a:pt x="268541" y="0"/>
                      <a:pt x="396768" y="0"/>
                    </a:cubicBezTo>
                    <a:cubicBezTo>
                      <a:pt x="506993" y="0"/>
                      <a:pt x="601170" y="81741"/>
                      <a:pt x="627197" y="192066"/>
                    </a:cubicBezTo>
                    <a:cubicBezTo>
                      <a:pt x="659241" y="155307"/>
                      <a:pt x="705327" y="132791"/>
                      <a:pt x="755425" y="132791"/>
                    </a:cubicBezTo>
                    <a:cubicBezTo>
                      <a:pt x="855620" y="132791"/>
                      <a:pt x="935756" y="216588"/>
                      <a:pt x="935756" y="322801"/>
                    </a:cubicBezTo>
                    <a:cubicBezTo>
                      <a:pt x="935756" y="429014"/>
                      <a:pt x="855620" y="508748"/>
                      <a:pt x="755425" y="508748"/>
                    </a:cubicBezTo>
                    <a:lnTo>
                      <a:pt x="755425" y="508748"/>
                    </a:lnTo>
                    <a:cubicBezTo>
                      <a:pt x="741383" y="508748"/>
                      <a:pt x="695548" y="508748"/>
                      <a:pt x="695548" y="5087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670" name="TextBox 669">
            <a:extLst>
              <a:ext uri="{FF2B5EF4-FFF2-40B4-BE49-F238E27FC236}">
                <a16:creationId xmlns:a16="http://schemas.microsoft.com/office/drawing/2014/main" id="{7B8F8CA3-5F7C-4F21-B25A-E40E8D3B3AA7}"/>
              </a:ext>
            </a:extLst>
          </p:cNvPr>
          <p:cNvSpPr txBox="1"/>
          <p:nvPr/>
        </p:nvSpPr>
        <p:spPr>
          <a:xfrm>
            <a:off x="2616182" y="5577362"/>
            <a:ext cx="415124" cy="153888"/>
          </a:xfrm>
          <a:prstGeom prst="rect">
            <a:avLst/>
          </a:prstGeom>
          <a:noFill/>
        </p:spPr>
        <p:txBody>
          <a:bodyPr wrap="square" lIns="0" tIns="0" rIns="0" bIns="0" rtlCol="0">
            <a:spAutoFit/>
          </a:bodyPr>
          <a:lstStyle/>
          <a:p>
            <a:r>
              <a:rPr lang="en-US" sz="1000" i="1" dirty="0"/>
              <a:t>Admin</a:t>
            </a:r>
          </a:p>
        </p:txBody>
      </p:sp>
      <p:sp>
        <p:nvSpPr>
          <p:cNvPr id="671" name="TextBox 670">
            <a:extLst>
              <a:ext uri="{FF2B5EF4-FFF2-40B4-BE49-F238E27FC236}">
                <a16:creationId xmlns:a16="http://schemas.microsoft.com/office/drawing/2014/main" id="{B0DF5917-D664-4613-93BE-8CFF2DDB7C7B}"/>
              </a:ext>
            </a:extLst>
          </p:cNvPr>
          <p:cNvSpPr txBox="1"/>
          <p:nvPr/>
        </p:nvSpPr>
        <p:spPr>
          <a:xfrm>
            <a:off x="6585584" y="5577362"/>
            <a:ext cx="370081" cy="153888"/>
          </a:xfrm>
          <a:prstGeom prst="rect">
            <a:avLst/>
          </a:prstGeom>
          <a:noFill/>
        </p:spPr>
        <p:txBody>
          <a:bodyPr wrap="square" lIns="0" tIns="0" rIns="0" bIns="0" rtlCol="0">
            <a:spAutoFit/>
          </a:bodyPr>
          <a:lstStyle/>
          <a:p>
            <a:r>
              <a:rPr lang="en-US" sz="1000" i="1" dirty="0"/>
              <a:t>Admin</a:t>
            </a:r>
          </a:p>
        </p:txBody>
      </p:sp>
      <p:sp>
        <p:nvSpPr>
          <p:cNvPr id="549" name="Freeform: Shape 548">
            <a:extLst>
              <a:ext uri="{FF2B5EF4-FFF2-40B4-BE49-F238E27FC236}">
                <a16:creationId xmlns:a16="http://schemas.microsoft.com/office/drawing/2014/main" id="{B9249C27-A886-4D51-8F19-03056E77542D}"/>
              </a:ext>
            </a:extLst>
          </p:cNvPr>
          <p:cNvSpPr/>
          <p:nvPr/>
        </p:nvSpPr>
        <p:spPr bwMode="auto">
          <a:xfrm rot="5400000" flipH="1">
            <a:off x="1576154" y="5077534"/>
            <a:ext cx="412423" cy="407194"/>
          </a:xfrm>
          <a:custGeom>
            <a:avLst/>
            <a:gdLst>
              <a:gd name="connsiteX0" fmla="*/ 0 w 407194"/>
              <a:gd name="connsiteY0" fmla="*/ 0 h 407194"/>
              <a:gd name="connsiteX1" fmla="*/ 0 w 407194"/>
              <a:gd name="connsiteY1" fmla="*/ 407194 h 407194"/>
              <a:gd name="connsiteX2" fmla="*/ 407194 w 407194"/>
              <a:gd name="connsiteY2" fmla="*/ 407194 h 407194"/>
            </a:gdLst>
            <a:ahLst/>
            <a:cxnLst>
              <a:cxn ang="0">
                <a:pos x="connsiteX0" y="connsiteY0"/>
              </a:cxn>
              <a:cxn ang="0">
                <a:pos x="connsiteX1" y="connsiteY1"/>
              </a:cxn>
              <a:cxn ang="0">
                <a:pos x="connsiteX2" y="connsiteY2"/>
              </a:cxn>
            </a:cxnLst>
            <a:rect l="l" t="t" r="r" b="b"/>
            <a:pathLst>
              <a:path w="407194" h="407194">
                <a:moveTo>
                  <a:pt x="0" y="0"/>
                </a:moveTo>
                <a:lnTo>
                  <a:pt x="0" y="407194"/>
                </a:lnTo>
                <a:lnTo>
                  <a:pt x="407194" y="407194"/>
                </a:lnTo>
              </a:path>
            </a:pathLst>
          </a:cu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dirty="0"/>
          </a:p>
        </p:txBody>
      </p:sp>
      <p:sp>
        <p:nvSpPr>
          <p:cNvPr id="1224" name="Freeform: Shape 1223">
            <a:extLst>
              <a:ext uri="{FF2B5EF4-FFF2-40B4-BE49-F238E27FC236}">
                <a16:creationId xmlns:a16="http://schemas.microsoft.com/office/drawing/2014/main" id="{2AA0465D-5D04-4C9F-A13F-6A809BE35E43}"/>
              </a:ext>
            </a:extLst>
          </p:cNvPr>
          <p:cNvSpPr/>
          <p:nvPr/>
        </p:nvSpPr>
        <p:spPr bwMode="auto">
          <a:xfrm rot="16200000">
            <a:off x="2626560" y="5077534"/>
            <a:ext cx="412423" cy="407194"/>
          </a:xfrm>
          <a:custGeom>
            <a:avLst/>
            <a:gdLst>
              <a:gd name="connsiteX0" fmla="*/ 0 w 407194"/>
              <a:gd name="connsiteY0" fmla="*/ 0 h 407194"/>
              <a:gd name="connsiteX1" fmla="*/ 0 w 407194"/>
              <a:gd name="connsiteY1" fmla="*/ 407194 h 407194"/>
              <a:gd name="connsiteX2" fmla="*/ 407194 w 407194"/>
              <a:gd name="connsiteY2" fmla="*/ 407194 h 407194"/>
            </a:gdLst>
            <a:ahLst/>
            <a:cxnLst>
              <a:cxn ang="0">
                <a:pos x="connsiteX0" y="connsiteY0"/>
              </a:cxn>
              <a:cxn ang="0">
                <a:pos x="connsiteX1" y="connsiteY1"/>
              </a:cxn>
              <a:cxn ang="0">
                <a:pos x="connsiteX2" y="connsiteY2"/>
              </a:cxn>
            </a:cxnLst>
            <a:rect l="l" t="t" r="r" b="b"/>
            <a:pathLst>
              <a:path w="407194" h="407194">
                <a:moveTo>
                  <a:pt x="0" y="0"/>
                </a:moveTo>
                <a:lnTo>
                  <a:pt x="0" y="407194"/>
                </a:lnTo>
                <a:lnTo>
                  <a:pt x="407194" y="407194"/>
                </a:lnTo>
              </a:path>
            </a:pathLst>
          </a:cu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dirty="0"/>
          </a:p>
        </p:txBody>
      </p:sp>
      <p:grpSp>
        <p:nvGrpSpPr>
          <p:cNvPr id="1244" name="Group 1243">
            <a:extLst>
              <a:ext uri="{FF2B5EF4-FFF2-40B4-BE49-F238E27FC236}">
                <a16:creationId xmlns:a16="http://schemas.microsoft.com/office/drawing/2014/main" id="{6A0A0D03-91CC-4204-BD66-EFAEFE7B43A7}"/>
              </a:ext>
            </a:extLst>
          </p:cNvPr>
          <p:cNvGrpSpPr/>
          <p:nvPr/>
        </p:nvGrpSpPr>
        <p:grpSpPr>
          <a:xfrm>
            <a:off x="5869190" y="5150413"/>
            <a:ext cx="649224" cy="649224"/>
            <a:chOff x="4605705" y="2506663"/>
            <a:chExt cx="1066730" cy="1065600"/>
          </a:xfrm>
        </p:grpSpPr>
        <p:sp>
          <p:nvSpPr>
            <p:cNvPr id="1245" name="Oval 491">
              <a:extLst>
                <a:ext uri="{FF2B5EF4-FFF2-40B4-BE49-F238E27FC236}">
                  <a16:creationId xmlns:a16="http://schemas.microsoft.com/office/drawing/2014/main" id="{11A2F9D1-EBE2-4241-B40E-F811E1E0598D}"/>
                </a:ext>
              </a:extLst>
            </p:cNvPr>
            <p:cNvSpPr>
              <a:spLocks noChangeArrowheads="1"/>
            </p:cNvSpPr>
            <p:nvPr/>
          </p:nvSpPr>
          <p:spPr bwMode="auto">
            <a:xfrm>
              <a:off x="4605705" y="2506663"/>
              <a:ext cx="1066730" cy="106560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6" name="Rectangle 492">
              <a:extLst>
                <a:ext uri="{FF2B5EF4-FFF2-40B4-BE49-F238E27FC236}">
                  <a16:creationId xmlns:a16="http://schemas.microsoft.com/office/drawing/2014/main" id="{233544E2-A916-4035-B9D5-33BDA04DF8A8}"/>
                </a:ext>
              </a:extLst>
            </p:cNvPr>
            <p:cNvSpPr>
              <a:spLocks noChangeArrowheads="1"/>
            </p:cNvSpPr>
            <p:nvPr/>
          </p:nvSpPr>
          <p:spPr bwMode="auto">
            <a:xfrm>
              <a:off x="4983505" y="3239287"/>
              <a:ext cx="310000" cy="118651"/>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7" name="Freeform 493">
              <a:extLst>
                <a:ext uri="{FF2B5EF4-FFF2-40B4-BE49-F238E27FC236}">
                  <a16:creationId xmlns:a16="http://schemas.microsoft.com/office/drawing/2014/main" id="{F2610997-8095-40C8-9A32-206737AF02BC}"/>
                </a:ext>
              </a:extLst>
            </p:cNvPr>
            <p:cNvSpPr>
              <a:spLocks/>
            </p:cNvSpPr>
            <p:nvPr/>
          </p:nvSpPr>
          <p:spPr bwMode="auto">
            <a:xfrm>
              <a:off x="4951488" y="3200113"/>
              <a:ext cx="361603" cy="315273"/>
            </a:xfrm>
            <a:custGeom>
              <a:avLst/>
              <a:gdLst>
                <a:gd name="T0" fmla="*/ 347 w 407"/>
                <a:gd name="T1" fmla="*/ 0 h 355"/>
                <a:gd name="T2" fmla="*/ 345 w 407"/>
                <a:gd name="T3" fmla="*/ 76 h 355"/>
                <a:gd name="T4" fmla="*/ 383 w 407"/>
                <a:gd name="T5" fmla="*/ 128 h 355"/>
                <a:gd name="T6" fmla="*/ 407 w 407"/>
                <a:gd name="T7" fmla="*/ 137 h 355"/>
                <a:gd name="T8" fmla="*/ 399 w 407"/>
                <a:gd name="T9" fmla="*/ 355 h 355"/>
                <a:gd name="T10" fmla="*/ 16 w 407"/>
                <a:gd name="T11" fmla="*/ 355 h 355"/>
                <a:gd name="T12" fmla="*/ 0 w 407"/>
                <a:gd name="T13" fmla="*/ 150 h 355"/>
                <a:gd name="T14" fmla="*/ 37 w 407"/>
                <a:gd name="T15" fmla="*/ 135 h 355"/>
                <a:gd name="T16" fmla="*/ 72 w 407"/>
                <a:gd name="T17" fmla="*/ 89 h 355"/>
                <a:gd name="T18" fmla="*/ 78 w 407"/>
                <a:gd name="T19" fmla="*/ 0 h 355"/>
                <a:gd name="T20" fmla="*/ 199 w 407"/>
                <a:gd name="T21" fmla="*/ 19 h 355"/>
                <a:gd name="T22" fmla="*/ 347 w 407"/>
                <a:gd name="T23" fmla="*/ 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7" h="355">
                  <a:moveTo>
                    <a:pt x="347" y="0"/>
                  </a:moveTo>
                  <a:cubicBezTo>
                    <a:pt x="345" y="76"/>
                    <a:pt x="345" y="76"/>
                    <a:pt x="345" y="76"/>
                  </a:cubicBezTo>
                  <a:cubicBezTo>
                    <a:pt x="345" y="99"/>
                    <a:pt x="360" y="120"/>
                    <a:pt x="383" y="128"/>
                  </a:cubicBezTo>
                  <a:cubicBezTo>
                    <a:pt x="407" y="137"/>
                    <a:pt x="407" y="137"/>
                    <a:pt x="407" y="137"/>
                  </a:cubicBezTo>
                  <a:cubicBezTo>
                    <a:pt x="399" y="355"/>
                    <a:pt x="399" y="355"/>
                    <a:pt x="399" y="355"/>
                  </a:cubicBezTo>
                  <a:cubicBezTo>
                    <a:pt x="16" y="355"/>
                    <a:pt x="16" y="355"/>
                    <a:pt x="16" y="355"/>
                  </a:cubicBezTo>
                  <a:cubicBezTo>
                    <a:pt x="0" y="150"/>
                    <a:pt x="0" y="150"/>
                    <a:pt x="0" y="150"/>
                  </a:cubicBezTo>
                  <a:cubicBezTo>
                    <a:pt x="37" y="135"/>
                    <a:pt x="37" y="135"/>
                    <a:pt x="37" y="135"/>
                  </a:cubicBezTo>
                  <a:cubicBezTo>
                    <a:pt x="57" y="127"/>
                    <a:pt x="70" y="109"/>
                    <a:pt x="72" y="89"/>
                  </a:cubicBezTo>
                  <a:cubicBezTo>
                    <a:pt x="78" y="0"/>
                    <a:pt x="78" y="0"/>
                    <a:pt x="78" y="0"/>
                  </a:cubicBezTo>
                  <a:cubicBezTo>
                    <a:pt x="199" y="19"/>
                    <a:pt x="199" y="19"/>
                    <a:pt x="199" y="19"/>
                  </a:cubicBezTo>
                  <a:lnTo>
                    <a:pt x="347" y="0"/>
                  </a:lnTo>
                  <a:close/>
                </a:path>
              </a:pathLst>
            </a:custGeom>
            <a:solidFill>
              <a:srgbClr val="E3C6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8" name="Freeform 494">
              <a:extLst>
                <a:ext uri="{FF2B5EF4-FFF2-40B4-BE49-F238E27FC236}">
                  <a16:creationId xmlns:a16="http://schemas.microsoft.com/office/drawing/2014/main" id="{9454494F-4DC6-4A6F-989A-58A5EA5E6B26}"/>
                </a:ext>
              </a:extLst>
            </p:cNvPr>
            <p:cNvSpPr>
              <a:spLocks/>
            </p:cNvSpPr>
            <p:nvPr/>
          </p:nvSpPr>
          <p:spPr bwMode="auto">
            <a:xfrm>
              <a:off x="4850164" y="2974487"/>
              <a:ext cx="82491" cy="154435"/>
            </a:xfrm>
            <a:custGeom>
              <a:avLst/>
              <a:gdLst>
                <a:gd name="T0" fmla="*/ 93 w 93"/>
                <a:gd name="T1" fmla="*/ 173 h 174"/>
                <a:gd name="T2" fmla="*/ 70 w 93"/>
                <a:gd name="T3" fmla="*/ 174 h 174"/>
                <a:gd name="T4" fmla="*/ 0 w 93"/>
                <a:gd name="T5" fmla="*/ 104 h 174"/>
                <a:gd name="T6" fmla="*/ 0 w 93"/>
                <a:gd name="T7" fmla="*/ 47 h 174"/>
                <a:gd name="T8" fmla="*/ 46 w 93"/>
                <a:gd name="T9" fmla="*/ 1 h 174"/>
                <a:gd name="T10" fmla="*/ 46 w 93"/>
                <a:gd name="T11" fmla="*/ 1 h 174"/>
                <a:gd name="T12" fmla="*/ 92 w 93"/>
                <a:gd name="T13" fmla="*/ 47 h 174"/>
                <a:gd name="T14" fmla="*/ 93 w 93"/>
                <a:gd name="T15" fmla="*/ 173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74">
                  <a:moveTo>
                    <a:pt x="93" y="173"/>
                  </a:moveTo>
                  <a:cubicBezTo>
                    <a:pt x="70" y="174"/>
                    <a:pt x="70" y="174"/>
                    <a:pt x="70" y="174"/>
                  </a:cubicBezTo>
                  <a:cubicBezTo>
                    <a:pt x="31" y="174"/>
                    <a:pt x="0" y="142"/>
                    <a:pt x="0" y="104"/>
                  </a:cubicBezTo>
                  <a:cubicBezTo>
                    <a:pt x="0" y="47"/>
                    <a:pt x="0" y="47"/>
                    <a:pt x="0" y="47"/>
                  </a:cubicBezTo>
                  <a:cubicBezTo>
                    <a:pt x="0" y="21"/>
                    <a:pt x="20" y="1"/>
                    <a:pt x="46" y="1"/>
                  </a:cubicBezTo>
                  <a:cubicBezTo>
                    <a:pt x="46" y="1"/>
                    <a:pt x="46" y="1"/>
                    <a:pt x="46" y="1"/>
                  </a:cubicBezTo>
                  <a:cubicBezTo>
                    <a:pt x="72" y="0"/>
                    <a:pt x="92" y="21"/>
                    <a:pt x="92" y="47"/>
                  </a:cubicBezTo>
                  <a:lnTo>
                    <a:pt x="93" y="173"/>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9" name="Freeform 495">
              <a:extLst>
                <a:ext uri="{FF2B5EF4-FFF2-40B4-BE49-F238E27FC236}">
                  <a16:creationId xmlns:a16="http://schemas.microsoft.com/office/drawing/2014/main" id="{6DC8BF09-B782-4D08-AAB5-CA831EC98F06}"/>
                </a:ext>
              </a:extLst>
            </p:cNvPr>
            <p:cNvSpPr>
              <a:spLocks/>
            </p:cNvSpPr>
            <p:nvPr/>
          </p:nvSpPr>
          <p:spPr bwMode="auto">
            <a:xfrm>
              <a:off x="5352265" y="2973734"/>
              <a:ext cx="82867" cy="153681"/>
            </a:xfrm>
            <a:custGeom>
              <a:avLst/>
              <a:gdLst>
                <a:gd name="T0" fmla="*/ 0 w 93"/>
                <a:gd name="T1" fmla="*/ 173 h 173"/>
                <a:gd name="T2" fmla="*/ 23 w 93"/>
                <a:gd name="T3" fmla="*/ 173 h 173"/>
                <a:gd name="T4" fmla="*/ 93 w 93"/>
                <a:gd name="T5" fmla="*/ 103 h 173"/>
                <a:gd name="T6" fmla="*/ 93 w 93"/>
                <a:gd name="T7" fmla="*/ 46 h 173"/>
                <a:gd name="T8" fmla="*/ 46 w 93"/>
                <a:gd name="T9" fmla="*/ 0 h 173"/>
                <a:gd name="T10" fmla="*/ 46 w 93"/>
                <a:gd name="T11" fmla="*/ 0 h 173"/>
                <a:gd name="T12" fmla="*/ 0 w 93"/>
                <a:gd name="T13" fmla="*/ 46 h 173"/>
                <a:gd name="T14" fmla="*/ 0 w 93"/>
                <a:gd name="T15" fmla="*/ 173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73">
                  <a:moveTo>
                    <a:pt x="0" y="173"/>
                  </a:moveTo>
                  <a:cubicBezTo>
                    <a:pt x="23" y="173"/>
                    <a:pt x="23" y="173"/>
                    <a:pt x="23" y="173"/>
                  </a:cubicBezTo>
                  <a:cubicBezTo>
                    <a:pt x="62" y="173"/>
                    <a:pt x="93" y="141"/>
                    <a:pt x="93" y="103"/>
                  </a:cubicBezTo>
                  <a:cubicBezTo>
                    <a:pt x="93" y="46"/>
                    <a:pt x="93" y="46"/>
                    <a:pt x="93" y="46"/>
                  </a:cubicBezTo>
                  <a:cubicBezTo>
                    <a:pt x="93" y="20"/>
                    <a:pt x="72" y="0"/>
                    <a:pt x="46" y="0"/>
                  </a:cubicBezTo>
                  <a:cubicBezTo>
                    <a:pt x="46" y="0"/>
                    <a:pt x="46" y="0"/>
                    <a:pt x="46" y="0"/>
                  </a:cubicBezTo>
                  <a:cubicBezTo>
                    <a:pt x="21" y="0"/>
                    <a:pt x="0" y="21"/>
                    <a:pt x="0" y="46"/>
                  </a:cubicBezTo>
                  <a:lnTo>
                    <a:pt x="0" y="173"/>
                  </a:lnTo>
                  <a:close/>
                </a:path>
              </a:pathLst>
            </a:custGeom>
            <a:solidFill>
              <a:srgbClr val="E3C6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0" name="Freeform 496">
              <a:extLst>
                <a:ext uri="{FF2B5EF4-FFF2-40B4-BE49-F238E27FC236}">
                  <a16:creationId xmlns:a16="http://schemas.microsoft.com/office/drawing/2014/main" id="{725AAEDB-E5B7-421B-8471-C03B102D5A58}"/>
                </a:ext>
              </a:extLst>
            </p:cNvPr>
            <p:cNvSpPr>
              <a:spLocks/>
            </p:cNvSpPr>
            <p:nvPr/>
          </p:nvSpPr>
          <p:spPr bwMode="auto">
            <a:xfrm>
              <a:off x="4907794" y="2696505"/>
              <a:ext cx="468578" cy="595892"/>
            </a:xfrm>
            <a:custGeom>
              <a:avLst/>
              <a:gdLst>
                <a:gd name="T0" fmla="*/ 263 w 527"/>
                <a:gd name="T1" fmla="*/ 0 h 671"/>
                <a:gd name="T2" fmla="*/ 1 w 527"/>
                <a:gd name="T3" fmla="*/ 264 h 671"/>
                <a:gd name="T4" fmla="*/ 1 w 527"/>
                <a:gd name="T5" fmla="*/ 289 h 671"/>
                <a:gd name="T6" fmla="*/ 2 w 527"/>
                <a:gd name="T7" fmla="*/ 425 h 671"/>
                <a:gd name="T8" fmla="*/ 265 w 527"/>
                <a:gd name="T9" fmla="*/ 670 h 671"/>
                <a:gd name="T10" fmla="*/ 514 w 527"/>
                <a:gd name="T11" fmla="*/ 396 h 671"/>
                <a:gd name="T12" fmla="*/ 527 w 527"/>
                <a:gd name="T13" fmla="*/ 263 h 671"/>
                <a:gd name="T14" fmla="*/ 263 w 527"/>
                <a:gd name="T15" fmla="*/ 0 h 6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671">
                  <a:moveTo>
                    <a:pt x="263" y="0"/>
                  </a:moveTo>
                  <a:cubicBezTo>
                    <a:pt x="118" y="1"/>
                    <a:pt x="0" y="119"/>
                    <a:pt x="1" y="264"/>
                  </a:cubicBezTo>
                  <a:cubicBezTo>
                    <a:pt x="1" y="289"/>
                    <a:pt x="1" y="289"/>
                    <a:pt x="1" y="289"/>
                  </a:cubicBezTo>
                  <a:cubicBezTo>
                    <a:pt x="2" y="425"/>
                    <a:pt x="2" y="425"/>
                    <a:pt x="2" y="425"/>
                  </a:cubicBezTo>
                  <a:cubicBezTo>
                    <a:pt x="16" y="557"/>
                    <a:pt x="129" y="671"/>
                    <a:pt x="265" y="670"/>
                  </a:cubicBezTo>
                  <a:cubicBezTo>
                    <a:pt x="410" y="670"/>
                    <a:pt x="514" y="541"/>
                    <a:pt x="514" y="396"/>
                  </a:cubicBezTo>
                  <a:cubicBezTo>
                    <a:pt x="527" y="263"/>
                    <a:pt x="527" y="263"/>
                    <a:pt x="527" y="263"/>
                  </a:cubicBezTo>
                  <a:cubicBezTo>
                    <a:pt x="526" y="117"/>
                    <a:pt x="408" y="0"/>
                    <a:pt x="263" y="0"/>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1" name="Freeform 497">
              <a:extLst>
                <a:ext uri="{FF2B5EF4-FFF2-40B4-BE49-F238E27FC236}">
                  <a16:creationId xmlns:a16="http://schemas.microsoft.com/office/drawing/2014/main" id="{8EEFD303-A745-44EB-AC1C-11535CA1E42F}"/>
                </a:ext>
              </a:extLst>
            </p:cNvPr>
            <p:cNvSpPr>
              <a:spLocks/>
            </p:cNvSpPr>
            <p:nvPr/>
          </p:nvSpPr>
          <p:spPr bwMode="auto">
            <a:xfrm>
              <a:off x="5127393" y="2946237"/>
              <a:ext cx="266683" cy="354070"/>
            </a:xfrm>
            <a:custGeom>
              <a:avLst/>
              <a:gdLst>
                <a:gd name="T0" fmla="*/ 300 w 300"/>
                <a:gd name="T1" fmla="*/ 104 h 399"/>
                <a:gd name="T2" fmla="*/ 264 w 300"/>
                <a:gd name="T3" fmla="*/ 59 h 399"/>
                <a:gd name="T4" fmla="*/ 191 w 300"/>
                <a:gd name="T5" fmla="*/ 8 h 399"/>
                <a:gd name="T6" fmla="*/ 130 w 300"/>
                <a:gd name="T7" fmla="*/ 0 h 399"/>
                <a:gd name="T8" fmla="*/ 73 w 300"/>
                <a:gd name="T9" fmla="*/ 86 h 399"/>
                <a:gd name="T10" fmla="*/ 88 w 300"/>
                <a:gd name="T11" fmla="*/ 135 h 399"/>
                <a:gd name="T12" fmla="*/ 58 w 300"/>
                <a:gd name="T13" fmla="*/ 172 h 399"/>
                <a:gd name="T14" fmla="*/ 51 w 300"/>
                <a:gd name="T15" fmla="*/ 172 h 399"/>
                <a:gd name="T16" fmla="*/ 25 w 300"/>
                <a:gd name="T17" fmla="*/ 198 h 399"/>
                <a:gd name="T18" fmla="*/ 26 w 300"/>
                <a:gd name="T19" fmla="*/ 311 h 399"/>
                <a:gd name="T20" fmla="*/ 26 w 300"/>
                <a:gd name="T21" fmla="*/ 333 h 399"/>
                <a:gd name="T22" fmla="*/ 0 w 300"/>
                <a:gd name="T23" fmla="*/ 399 h 399"/>
                <a:gd name="T24" fmla="*/ 122 w 300"/>
                <a:gd name="T25" fmla="*/ 379 h 399"/>
                <a:gd name="T26" fmla="*/ 147 w 300"/>
                <a:gd name="T27" fmla="*/ 355 h 399"/>
                <a:gd name="T28" fmla="*/ 278 w 300"/>
                <a:gd name="T29" fmla="*/ 142 h 399"/>
                <a:gd name="T30" fmla="*/ 300 w 300"/>
                <a:gd name="T31" fmla="*/ 10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0" h="399">
                  <a:moveTo>
                    <a:pt x="300" y="104"/>
                  </a:moveTo>
                  <a:cubicBezTo>
                    <a:pt x="264" y="59"/>
                    <a:pt x="264" y="59"/>
                    <a:pt x="264" y="59"/>
                  </a:cubicBezTo>
                  <a:cubicBezTo>
                    <a:pt x="250" y="17"/>
                    <a:pt x="191" y="8"/>
                    <a:pt x="191" y="8"/>
                  </a:cubicBezTo>
                  <a:cubicBezTo>
                    <a:pt x="130" y="0"/>
                    <a:pt x="130" y="0"/>
                    <a:pt x="130" y="0"/>
                  </a:cubicBezTo>
                  <a:cubicBezTo>
                    <a:pt x="93" y="0"/>
                    <a:pt x="66" y="50"/>
                    <a:pt x="73" y="86"/>
                  </a:cubicBezTo>
                  <a:cubicBezTo>
                    <a:pt x="88" y="135"/>
                    <a:pt x="88" y="135"/>
                    <a:pt x="88" y="135"/>
                  </a:cubicBezTo>
                  <a:cubicBezTo>
                    <a:pt x="92" y="154"/>
                    <a:pt x="77" y="172"/>
                    <a:pt x="58" y="172"/>
                  </a:cubicBezTo>
                  <a:cubicBezTo>
                    <a:pt x="51" y="172"/>
                    <a:pt x="51" y="172"/>
                    <a:pt x="51" y="172"/>
                  </a:cubicBezTo>
                  <a:cubicBezTo>
                    <a:pt x="37" y="172"/>
                    <a:pt x="25" y="184"/>
                    <a:pt x="25" y="198"/>
                  </a:cubicBezTo>
                  <a:cubicBezTo>
                    <a:pt x="26" y="311"/>
                    <a:pt x="26" y="311"/>
                    <a:pt x="26" y="311"/>
                  </a:cubicBezTo>
                  <a:cubicBezTo>
                    <a:pt x="26" y="333"/>
                    <a:pt x="26" y="333"/>
                    <a:pt x="26" y="333"/>
                  </a:cubicBezTo>
                  <a:cubicBezTo>
                    <a:pt x="26" y="353"/>
                    <a:pt x="16" y="386"/>
                    <a:pt x="0" y="399"/>
                  </a:cubicBezTo>
                  <a:cubicBezTo>
                    <a:pt x="122" y="379"/>
                    <a:pt x="122" y="379"/>
                    <a:pt x="122" y="379"/>
                  </a:cubicBezTo>
                  <a:cubicBezTo>
                    <a:pt x="147" y="355"/>
                    <a:pt x="147" y="355"/>
                    <a:pt x="147" y="355"/>
                  </a:cubicBezTo>
                  <a:cubicBezTo>
                    <a:pt x="219" y="313"/>
                    <a:pt x="270" y="229"/>
                    <a:pt x="278" y="142"/>
                  </a:cubicBezTo>
                  <a:lnTo>
                    <a:pt x="300" y="104"/>
                  </a:lnTo>
                  <a:close/>
                </a:path>
              </a:pathLst>
            </a:custGeom>
            <a:solidFill>
              <a:srgbClr val="E3C6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2" name="Freeform 498">
              <a:extLst>
                <a:ext uri="{FF2B5EF4-FFF2-40B4-BE49-F238E27FC236}">
                  <a16:creationId xmlns:a16="http://schemas.microsoft.com/office/drawing/2014/main" id="{CA15A6AC-F3BB-497F-8670-014B2F38CB68}"/>
                </a:ext>
              </a:extLst>
            </p:cNvPr>
            <p:cNvSpPr>
              <a:spLocks/>
            </p:cNvSpPr>
            <p:nvPr/>
          </p:nvSpPr>
          <p:spPr bwMode="auto">
            <a:xfrm>
              <a:off x="4726616" y="3304827"/>
              <a:ext cx="824908" cy="267436"/>
            </a:xfrm>
            <a:custGeom>
              <a:avLst/>
              <a:gdLst>
                <a:gd name="T0" fmla="*/ 628 w 928"/>
                <a:gd name="T1" fmla="*/ 0 h 301"/>
                <a:gd name="T2" fmla="*/ 457 w 928"/>
                <a:gd name="T3" fmla="*/ 188 h 301"/>
                <a:gd name="T4" fmla="*/ 295 w 928"/>
                <a:gd name="T5" fmla="*/ 6 h 301"/>
                <a:gd name="T6" fmla="*/ 31 w 928"/>
                <a:gd name="T7" fmla="*/ 70 h 301"/>
                <a:gd name="T8" fmla="*/ 0 w 928"/>
                <a:gd name="T9" fmla="*/ 81 h 301"/>
                <a:gd name="T10" fmla="*/ 464 w 928"/>
                <a:gd name="T11" fmla="*/ 301 h 301"/>
                <a:gd name="T12" fmla="*/ 928 w 928"/>
                <a:gd name="T13" fmla="*/ 81 h 301"/>
                <a:gd name="T14" fmla="*/ 882 w 928"/>
                <a:gd name="T15" fmla="*/ 60 h 301"/>
                <a:gd name="T16" fmla="*/ 628 w 928"/>
                <a:gd name="T17"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8" h="301">
                  <a:moveTo>
                    <a:pt x="628" y="0"/>
                  </a:moveTo>
                  <a:cubicBezTo>
                    <a:pt x="457" y="188"/>
                    <a:pt x="457" y="188"/>
                    <a:pt x="457" y="188"/>
                  </a:cubicBezTo>
                  <a:cubicBezTo>
                    <a:pt x="295" y="6"/>
                    <a:pt x="295" y="6"/>
                    <a:pt x="295" y="6"/>
                  </a:cubicBezTo>
                  <a:cubicBezTo>
                    <a:pt x="31" y="70"/>
                    <a:pt x="31" y="70"/>
                    <a:pt x="31" y="70"/>
                  </a:cubicBezTo>
                  <a:cubicBezTo>
                    <a:pt x="20" y="72"/>
                    <a:pt x="9" y="76"/>
                    <a:pt x="0" y="81"/>
                  </a:cubicBezTo>
                  <a:cubicBezTo>
                    <a:pt x="110" y="215"/>
                    <a:pt x="277" y="301"/>
                    <a:pt x="464" y="301"/>
                  </a:cubicBezTo>
                  <a:cubicBezTo>
                    <a:pt x="651" y="301"/>
                    <a:pt x="818" y="215"/>
                    <a:pt x="928" y="81"/>
                  </a:cubicBezTo>
                  <a:cubicBezTo>
                    <a:pt x="914" y="71"/>
                    <a:pt x="899" y="64"/>
                    <a:pt x="882" y="60"/>
                  </a:cubicBezTo>
                  <a:lnTo>
                    <a:pt x="62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3" name="Freeform 499">
              <a:extLst>
                <a:ext uri="{FF2B5EF4-FFF2-40B4-BE49-F238E27FC236}">
                  <a16:creationId xmlns:a16="http://schemas.microsoft.com/office/drawing/2014/main" id="{82802E96-7F5D-4C21-AB11-84689AC5C4C7}"/>
                </a:ext>
              </a:extLst>
            </p:cNvPr>
            <p:cNvSpPr>
              <a:spLocks/>
            </p:cNvSpPr>
            <p:nvPr/>
          </p:nvSpPr>
          <p:spPr bwMode="auto">
            <a:xfrm>
              <a:off x="4958645" y="2915727"/>
              <a:ext cx="125055" cy="54241"/>
            </a:xfrm>
            <a:custGeom>
              <a:avLst/>
              <a:gdLst>
                <a:gd name="T0" fmla="*/ 11 w 141"/>
                <a:gd name="T1" fmla="*/ 60 h 61"/>
                <a:gd name="T2" fmla="*/ 3 w 141"/>
                <a:gd name="T3" fmla="*/ 56 h 61"/>
                <a:gd name="T4" fmla="*/ 5 w 141"/>
                <a:gd name="T5" fmla="*/ 43 h 61"/>
                <a:gd name="T6" fmla="*/ 135 w 141"/>
                <a:gd name="T7" fmla="*/ 42 h 61"/>
                <a:gd name="T8" fmla="*/ 138 w 141"/>
                <a:gd name="T9" fmla="*/ 55 h 61"/>
                <a:gd name="T10" fmla="*/ 125 w 141"/>
                <a:gd name="T11" fmla="*/ 58 h 61"/>
                <a:gd name="T12" fmla="*/ 16 w 141"/>
                <a:gd name="T13" fmla="*/ 58 h 61"/>
                <a:gd name="T14" fmla="*/ 11 w 141"/>
                <a:gd name="T15" fmla="*/ 6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61">
                  <a:moveTo>
                    <a:pt x="11" y="60"/>
                  </a:moveTo>
                  <a:cubicBezTo>
                    <a:pt x="8" y="60"/>
                    <a:pt x="5" y="59"/>
                    <a:pt x="3" y="56"/>
                  </a:cubicBezTo>
                  <a:cubicBezTo>
                    <a:pt x="0" y="52"/>
                    <a:pt x="1" y="46"/>
                    <a:pt x="5" y="43"/>
                  </a:cubicBezTo>
                  <a:cubicBezTo>
                    <a:pt x="7" y="41"/>
                    <a:pt x="63" y="0"/>
                    <a:pt x="135" y="42"/>
                  </a:cubicBezTo>
                  <a:cubicBezTo>
                    <a:pt x="139" y="45"/>
                    <a:pt x="141" y="50"/>
                    <a:pt x="138" y="55"/>
                  </a:cubicBezTo>
                  <a:cubicBezTo>
                    <a:pt x="135" y="59"/>
                    <a:pt x="130" y="61"/>
                    <a:pt x="125" y="58"/>
                  </a:cubicBezTo>
                  <a:cubicBezTo>
                    <a:pt x="64" y="23"/>
                    <a:pt x="17" y="58"/>
                    <a:pt x="16" y="58"/>
                  </a:cubicBezTo>
                  <a:cubicBezTo>
                    <a:pt x="15" y="59"/>
                    <a:pt x="13" y="60"/>
                    <a:pt x="11" y="6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4" name="Freeform 500">
              <a:extLst>
                <a:ext uri="{FF2B5EF4-FFF2-40B4-BE49-F238E27FC236}">
                  <a16:creationId xmlns:a16="http://schemas.microsoft.com/office/drawing/2014/main" id="{354F3BF4-1206-438F-AB07-1B36087E9C17}"/>
                </a:ext>
              </a:extLst>
            </p:cNvPr>
            <p:cNvSpPr>
              <a:spLocks/>
            </p:cNvSpPr>
            <p:nvPr/>
          </p:nvSpPr>
          <p:spPr bwMode="auto">
            <a:xfrm>
              <a:off x="5197454" y="2914973"/>
              <a:ext cx="125431" cy="54241"/>
            </a:xfrm>
            <a:custGeom>
              <a:avLst/>
              <a:gdLst>
                <a:gd name="T0" fmla="*/ 11 w 141"/>
                <a:gd name="T1" fmla="*/ 60 h 61"/>
                <a:gd name="T2" fmla="*/ 3 w 141"/>
                <a:gd name="T3" fmla="*/ 56 h 61"/>
                <a:gd name="T4" fmla="*/ 5 w 141"/>
                <a:gd name="T5" fmla="*/ 43 h 61"/>
                <a:gd name="T6" fmla="*/ 135 w 141"/>
                <a:gd name="T7" fmla="*/ 42 h 61"/>
                <a:gd name="T8" fmla="*/ 138 w 141"/>
                <a:gd name="T9" fmla="*/ 55 h 61"/>
                <a:gd name="T10" fmla="*/ 125 w 141"/>
                <a:gd name="T11" fmla="*/ 59 h 61"/>
                <a:gd name="T12" fmla="*/ 17 w 141"/>
                <a:gd name="T13" fmla="*/ 58 h 61"/>
                <a:gd name="T14" fmla="*/ 11 w 141"/>
                <a:gd name="T15" fmla="*/ 6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61">
                  <a:moveTo>
                    <a:pt x="11" y="60"/>
                  </a:moveTo>
                  <a:cubicBezTo>
                    <a:pt x="8" y="60"/>
                    <a:pt x="5" y="59"/>
                    <a:pt x="3" y="56"/>
                  </a:cubicBezTo>
                  <a:cubicBezTo>
                    <a:pt x="0" y="52"/>
                    <a:pt x="1" y="46"/>
                    <a:pt x="5" y="43"/>
                  </a:cubicBezTo>
                  <a:cubicBezTo>
                    <a:pt x="8" y="41"/>
                    <a:pt x="64" y="0"/>
                    <a:pt x="135" y="42"/>
                  </a:cubicBezTo>
                  <a:cubicBezTo>
                    <a:pt x="139" y="45"/>
                    <a:pt x="141" y="51"/>
                    <a:pt x="138" y="55"/>
                  </a:cubicBezTo>
                  <a:cubicBezTo>
                    <a:pt x="136" y="60"/>
                    <a:pt x="130" y="61"/>
                    <a:pt x="125" y="59"/>
                  </a:cubicBezTo>
                  <a:cubicBezTo>
                    <a:pt x="65" y="23"/>
                    <a:pt x="17" y="58"/>
                    <a:pt x="17" y="58"/>
                  </a:cubicBezTo>
                  <a:cubicBezTo>
                    <a:pt x="15" y="60"/>
                    <a:pt x="13" y="60"/>
                    <a:pt x="11" y="6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5" name="Freeform 501">
              <a:extLst>
                <a:ext uri="{FF2B5EF4-FFF2-40B4-BE49-F238E27FC236}">
                  <a16:creationId xmlns:a16="http://schemas.microsoft.com/office/drawing/2014/main" id="{35CF0050-A817-4F96-973A-091646CFA98B}"/>
                </a:ext>
              </a:extLst>
            </p:cNvPr>
            <p:cNvSpPr>
              <a:spLocks/>
            </p:cNvSpPr>
            <p:nvPr/>
          </p:nvSpPr>
          <p:spPr bwMode="auto">
            <a:xfrm>
              <a:off x="4999325" y="2971851"/>
              <a:ext cx="42564" cy="41810"/>
            </a:xfrm>
            <a:custGeom>
              <a:avLst/>
              <a:gdLst>
                <a:gd name="T0" fmla="*/ 47 w 48"/>
                <a:gd name="T1" fmla="*/ 22 h 47"/>
                <a:gd name="T2" fmla="*/ 25 w 48"/>
                <a:gd name="T3" fmla="*/ 47 h 47"/>
                <a:gd name="T4" fmla="*/ 1 w 48"/>
                <a:gd name="T5" fmla="*/ 25 h 47"/>
                <a:gd name="T6" fmla="*/ 22 w 48"/>
                <a:gd name="T7" fmla="*/ 1 h 47"/>
                <a:gd name="T8" fmla="*/ 47 w 48"/>
                <a:gd name="T9" fmla="*/ 22 h 47"/>
              </a:gdLst>
              <a:ahLst/>
              <a:cxnLst>
                <a:cxn ang="0">
                  <a:pos x="T0" y="T1"/>
                </a:cxn>
                <a:cxn ang="0">
                  <a:pos x="T2" y="T3"/>
                </a:cxn>
                <a:cxn ang="0">
                  <a:pos x="T4" y="T5"/>
                </a:cxn>
                <a:cxn ang="0">
                  <a:pos x="T6" y="T7"/>
                </a:cxn>
                <a:cxn ang="0">
                  <a:pos x="T8" y="T9"/>
                </a:cxn>
              </a:cxnLst>
              <a:rect l="0" t="0" r="r" b="b"/>
              <a:pathLst>
                <a:path w="48" h="47">
                  <a:moveTo>
                    <a:pt x="47" y="22"/>
                  </a:moveTo>
                  <a:cubicBezTo>
                    <a:pt x="48" y="35"/>
                    <a:pt x="38" y="46"/>
                    <a:pt x="25" y="47"/>
                  </a:cubicBezTo>
                  <a:cubicBezTo>
                    <a:pt x="13" y="47"/>
                    <a:pt x="2" y="38"/>
                    <a:pt x="1" y="25"/>
                  </a:cubicBezTo>
                  <a:cubicBezTo>
                    <a:pt x="0" y="12"/>
                    <a:pt x="10" y="2"/>
                    <a:pt x="22" y="1"/>
                  </a:cubicBezTo>
                  <a:cubicBezTo>
                    <a:pt x="35" y="0"/>
                    <a:pt x="46" y="10"/>
                    <a:pt x="47" y="2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6" name="Freeform 502">
              <a:extLst>
                <a:ext uri="{FF2B5EF4-FFF2-40B4-BE49-F238E27FC236}">
                  <a16:creationId xmlns:a16="http://schemas.microsoft.com/office/drawing/2014/main" id="{7E8AF35E-F17E-4407-ADF2-DE1D9C33EA53}"/>
                </a:ext>
              </a:extLst>
            </p:cNvPr>
            <p:cNvSpPr>
              <a:spLocks/>
            </p:cNvSpPr>
            <p:nvPr/>
          </p:nvSpPr>
          <p:spPr bwMode="auto">
            <a:xfrm>
              <a:off x="5237758" y="2971851"/>
              <a:ext cx="42564" cy="42564"/>
            </a:xfrm>
            <a:custGeom>
              <a:avLst/>
              <a:gdLst>
                <a:gd name="T0" fmla="*/ 47 w 48"/>
                <a:gd name="T1" fmla="*/ 23 h 48"/>
                <a:gd name="T2" fmla="*/ 25 w 48"/>
                <a:gd name="T3" fmla="*/ 47 h 48"/>
                <a:gd name="T4" fmla="*/ 1 w 48"/>
                <a:gd name="T5" fmla="*/ 26 h 48"/>
                <a:gd name="T6" fmla="*/ 22 w 48"/>
                <a:gd name="T7" fmla="*/ 1 h 48"/>
                <a:gd name="T8" fmla="*/ 47 w 48"/>
                <a:gd name="T9" fmla="*/ 23 h 48"/>
              </a:gdLst>
              <a:ahLst/>
              <a:cxnLst>
                <a:cxn ang="0">
                  <a:pos x="T0" y="T1"/>
                </a:cxn>
                <a:cxn ang="0">
                  <a:pos x="T2" y="T3"/>
                </a:cxn>
                <a:cxn ang="0">
                  <a:pos x="T4" y="T5"/>
                </a:cxn>
                <a:cxn ang="0">
                  <a:pos x="T6" y="T7"/>
                </a:cxn>
                <a:cxn ang="0">
                  <a:pos x="T8" y="T9"/>
                </a:cxn>
              </a:cxnLst>
              <a:rect l="0" t="0" r="r" b="b"/>
              <a:pathLst>
                <a:path w="48" h="48">
                  <a:moveTo>
                    <a:pt x="47" y="23"/>
                  </a:moveTo>
                  <a:cubicBezTo>
                    <a:pt x="48" y="35"/>
                    <a:pt x="38" y="46"/>
                    <a:pt x="25" y="47"/>
                  </a:cubicBezTo>
                  <a:cubicBezTo>
                    <a:pt x="13" y="48"/>
                    <a:pt x="2" y="38"/>
                    <a:pt x="1" y="26"/>
                  </a:cubicBezTo>
                  <a:cubicBezTo>
                    <a:pt x="0" y="13"/>
                    <a:pt x="10" y="2"/>
                    <a:pt x="22" y="1"/>
                  </a:cubicBezTo>
                  <a:cubicBezTo>
                    <a:pt x="35" y="0"/>
                    <a:pt x="46" y="10"/>
                    <a:pt x="47" y="23"/>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7" name="Freeform 503">
              <a:extLst>
                <a:ext uri="{FF2B5EF4-FFF2-40B4-BE49-F238E27FC236}">
                  <a16:creationId xmlns:a16="http://schemas.microsoft.com/office/drawing/2014/main" id="{27435A88-63D1-492E-BF71-76787A357DD7}"/>
                </a:ext>
              </a:extLst>
            </p:cNvPr>
            <p:cNvSpPr>
              <a:spLocks/>
            </p:cNvSpPr>
            <p:nvPr/>
          </p:nvSpPr>
          <p:spPr bwMode="auto">
            <a:xfrm>
              <a:off x="4897248" y="2664488"/>
              <a:ext cx="479124" cy="390984"/>
            </a:xfrm>
            <a:custGeom>
              <a:avLst/>
              <a:gdLst>
                <a:gd name="T0" fmla="*/ 539 w 539"/>
                <a:gd name="T1" fmla="*/ 254 h 440"/>
                <a:gd name="T2" fmla="*/ 539 w 539"/>
                <a:gd name="T3" fmla="*/ 440 h 440"/>
                <a:gd name="T4" fmla="*/ 539 w 539"/>
                <a:gd name="T5" fmla="*/ 440 h 440"/>
                <a:gd name="T6" fmla="*/ 522 w 539"/>
                <a:gd name="T7" fmla="*/ 424 h 440"/>
                <a:gd name="T8" fmla="*/ 270 w 539"/>
                <a:gd name="T9" fmla="*/ 54 h 440"/>
                <a:gd name="T10" fmla="*/ 19 w 539"/>
                <a:gd name="T11" fmla="*/ 405 h 440"/>
                <a:gd name="T12" fmla="*/ 2 w 539"/>
                <a:gd name="T13" fmla="*/ 421 h 440"/>
                <a:gd name="T14" fmla="*/ 0 w 539"/>
                <a:gd name="T15" fmla="*/ 421 h 440"/>
                <a:gd name="T16" fmla="*/ 0 w 539"/>
                <a:gd name="T17" fmla="*/ 254 h 440"/>
                <a:gd name="T18" fmla="*/ 87 w 539"/>
                <a:gd name="T19" fmla="*/ 63 h 440"/>
                <a:gd name="T20" fmla="*/ 236 w 539"/>
                <a:gd name="T21" fmla="*/ 0 h 440"/>
                <a:gd name="T22" fmla="*/ 314 w 539"/>
                <a:gd name="T23" fmla="*/ 0 h 440"/>
                <a:gd name="T24" fmla="*/ 466 w 539"/>
                <a:gd name="T25" fmla="*/ 67 h 440"/>
                <a:gd name="T26" fmla="*/ 539 w 539"/>
                <a:gd name="T27" fmla="*/ 25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9" h="440">
                  <a:moveTo>
                    <a:pt x="539" y="254"/>
                  </a:moveTo>
                  <a:cubicBezTo>
                    <a:pt x="539" y="366"/>
                    <a:pt x="539" y="440"/>
                    <a:pt x="539" y="440"/>
                  </a:cubicBezTo>
                  <a:cubicBezTo>
                    <a:pt x="539" y="440"/>
                    <a:pt x="539" y="440"/>
                    <a:pt x="539" y="440"/>
                  </a:cubicBezTo>
                  <a:cubicBezTo>
                    <a:pt x="530" y="440"/>
                    <a:pt x="523" y="433"/>
                    <a:pt x="522" y="424"/>
                  </a:cubicBezTo>
                  <a:cubicBezTo>
                    <a:pt x="519" y="351"/>
                    <a:pt x="493" y="54"/>
                    <a:pt x="270" y="54"/>
                  </a:cubicBezTo>
                  <a:cubicBezTo>
                    <a:pt x="47" y="54"/>
                    <a:pt x="22" y="334"/>
                    <a:pt x="19" y="405"/>
                  </a:cubicBezTo>
                  <a:cubicBezTo>
                    <a:pt x="18" y="414"/>
                    <a:pt x="11" y="421"/>
                    <a:pt x="2" y="421"/>
                  </a:cubicBezTo>
                  <a:cubicBezTo>
                    <a:pt x="0" y="421"/>
                    <a:pt x="0" y="421"/>
                    <a:pt x="0" y="421"/>
                  </a:cubicBezTo>
                  <a:cubicBezTo>
                    <a:pt x="0" y="421"/>
                    <a:pt x="0" y="360"/>
                    <a:pt x="0" y="254"/>
                  </a:cubicBezTo>
                  <a:cubicBezTo>
                    <a:pt x="0" y="175"/>
                    <a:pt x="45" y="108"/>
                    <a:pt x="87" y="63"/>
                  </a:cubicBezTo>
                  <a:cubicBezTo>
                    <a:pt x="126" y="22"/>
                    <a:pt x="180" y="0"/>
                    <a:pt x="236" y="0"/>
                  </a:cubicBezTo>
                  <a:cubicBezTo>
                    <a:pt x="314" y="0"/>
                    <a:pt x="314" y="0"/>
                    <a:pt x="314" y="0"/>
                  </a:cubicBezTo>
                  <a:cubicBezTo>
                    <a:pt x="372" y="0"/>
                    <a:pt x="428" y="24"/>
                    <a:pt x="466" y="67"/>
                  </a:cubicBezTo>
                  <a:cubicBezTo>
                    <a:pt x="503" y="109"/>
                    <a:pt x="539" y="171"/>
                    <a:pt x="539" y="254"/>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8" name="Freeform 504">
              <a:extLst>
                <a:ext uri="{FF2B5EF4-FFF2-40B4-BE49-F238E27FC236}">
                  <a16:creationId xmlns:a16="http://schemas.microsoft.com/office/drawing/2014/main" id="{7E7C5B46-151A-4A00-9F6C-41E184D11A58}"/>
                </a:ext>
              </a:extLst>
            </p:cNvPr>
            <p:cNvSpPr>
              <a:spLocks/>
            </p:cNvSpPr>
            <p:nvPr/>
          </p:nvSpPr>
          <p:spPr bwMode="auto">
            <a:xfrm>
              <a:off x="5059969" y="3139846"/>
              <a:ext cx="183815" cy="52357"/>
            </a:xfrm>
            <a:custGeom>
              <a:avLst/>
              <a:gdLst>
                <a:gd name="T0" fmla="*/ 0 w 207"/>
                <a:gd name="T1" fmla="*/ 0 h 59"/>
                <a:gd name="T2" fmla="*/ 104 w 207"/>
                <a:gd name="T3" fmla="*/ 59 h 59"/>
                <a:gd name="T4" fmla="*/ 207 w 207"/>
                <a:gd name="T5" fmla="*/ 0 h 59"/>
                <a:gd name="T6" fmla="*/ 0 w 207"/>
                <a:gd name="T7" fmla="*/ 0 h 59"/>
              </a:gdLst>
              <a:ahLst/>
              <a:cxnLst>
                <a:cxn ang="0">
                  <a:pos x="T0" y="T1"/>
                </a:cxn>
                <a:cxn ang="0">
                  <a:pos x="T2" y="T3"/>
                </a:cxn>
                <a:cxn ang="0">
                  <a:pos x="T4" y="T5"/>
                </a:cxn>
                <a:cxn ang="0">
                  <a:pos x="T6" y="T7"/>
                </a:cxn>
              </a:cxnLst>
              <a:rect l="0" t="0" r="r" b="b"/>
              <a:pathLst>
                <a:path w="207" h="59">
                  <a:moveTo>
                    <a:pt x="0" y="0"/>
                  </a:moveTo>
                  <a:cubicBezTo>
                    <a:pt x="21" y="35"/>
                    <a:pt x="60" y="59"/>
                    <a:pt x="104" y="59"/>
                  </a:cubicBezTo>
                  <a:cubicBezTo>
                    <a:pt x="147" y="59"/>
                    <a:pt x="186" y="35"/>
                    <a:pt x="207"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9" name="Freeform 505">
              <a:extLst>
                <a:ext uri="{FF2B5EF4-FFF2-40B4-BE49-F238E27FC236}">
                  <a16:creationId xmlns:a16="http://schemas.microsoft.com/office/drawing/2014/main" id="{2E7F1FEA-8E8C-4D78-BE87-A2D0EB86CF56}"/>
                </a:ext>
              </a:extLst>
            </p:cNvPr>
            <p:cNvSpPr>
              <a:spLocks/>
            </p:cNvSpPr>
            <p:nvPr/>
          </p:nvSpPr>
          <p:spPr bwMode="auto">
            <a:xfrm>
              <a:off x="4717576" y="3239287"/>
              <a:ext cx="323560" cy="323936"/>
            </a:xfrm>
            <a:custGeom>
              <a:avLst/>
              <a:gdLst>
                <a:gd name="T0" fmla="*/ 299 w 364"/>
                <a:gd name="T1" fmla="*/ 0 h 365"/>
                <a:gd name="T2" fmla="*/ 267 w 364"/>
                <a:gd name="T3" fmla="*/ 26 h 365"/>
                <a:gd name="T4" fmla="*/ 250 w 364"/>
                <a:gd name="T5" fmla="*/ 84 h 365"/>
                <a:gd name="T6" fmla="*/ 37 w 364"/>
                <a:gd name="T7" fmla="*/ 130 h 365"/>
                <a:gd name="T8" fmla="*/ 0 w 364"/>
                <a:gd name="T9" fmla="*/ 143 h 365"/>
                <a:gd name="T10" fmla="*/ 364 w 364"/>
                <a:gd name="T11" fmla="*/ 365 h 365"/>
                <a:gd name="T12" fmla="*/ 309 w 364"/>
                <a:gd name="T13" fmla="*/ 73 h 365"/>
                <a:gd name="T14" fmla="*/ 299 w 364"/>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4" h="365">
                  <a:moveTo>
                    <a:pt x="299" y="0"/>
                  </a:moveTo>
                  <a:cubicBezTo>
                    <a:pt x="284" y="1"/>
                    <a:pt x="272" y="11"/>
                    <a:pt x="267" y="26"/>
                  </a:cubicBezTo>
                  <a:cubicBezTo>
                    <a:pt x="250" y="84"/>
                    <a:pt x="250" y="84"/>
                    <a:pt x="250" y="84"/>
                  </a:cubicBezTo>
                  <a:cubicBezTo>
                    <a:pt x="37" y="130"/>
                    <a:pt x="37" y="130"/>
                    <a:pt x="37" y="130"/>
                  </a:cubicBezTo>
                  <a:cubicBezTo>
                    <a:pt x="24" y="133"/>
                    <a:pt x="11" y="137"/>
                    <a:pt x="0" y="143"/>
                  </a:cubicBezTo>
                  <a:cubicBezTo>
                    <a:pt x="88" y="257"/>
                    <a:pt x="216" y="338"/>
                    <a:pt x="364" y="365"/>
                  </a:cubicBezTo>
                  <a:cubicBezTo>
                    <a:pt x="309" y="73"/>
                    <a:pt x="309" y="73"/>
                    <a:pt x="309" y="73"/>
                  </a:cubicBezTo>
                  <a:lnTo>
                    <a:pt x="299"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0" name="Freeform 506">
              <a:extLst>
                <a:ext uri="{FF2B5EF4-FFF2-40B4-BE49-F238E27FC236}">
                  <a16:creationId xmlns:a16="http://schemas.microsoft.com/office/drawing/2014/main" id="{508DC3C3-52C0-4F3E-9DAB-F849FCDF1CBE}"/>
                </a:ext>
              </a:extLst>
            </p:cNvPr>
            <p:cNvSpPr>
              <a:spLocks/>
            </p:cNvSpPr>
            <p:nvPr/>
          </p:nvSpPr>
          <p:spPr bwMode="auto">
            <a:xfrm>
              <a:off x="5237758" y="3239287"/>
              <a:ext cx="320923" cy="323936"/>
            </a:xfrm>
            <a:custGeom>
              <a:avLst/>
              <a:gdLst>
                <a:gd name="T0" fmla="*/ 361 w 361"/>
                <a:gd name="T1" fmla="*/ 145 h 365"/>
                <a:gd name="T2" fmla="*/ 313 w 361"/>
                <a:gd name="T3" fmla="*/ 128 h 365"/>
                <a:gd name="T4" fmla="*/ 112 w 361"/>
                <a:gd name="T5" fmla="*/ 84 h 365"/>
                <a:gd name="T6" fmla="*/ 95 w 361"/>
                <a:gd name="T7" fmla="*/ 26 h 365"/>
                <a:gd name="T8" fmla="*/ 62 w 361"/>
                <a:gd name="T9" fmla="*/ 0 h 365"/>
                <a:gd name="T10" fmla="*/ 53 w 361"/>
                <a:gd name="T11" fmla="*/ 73 h 365"/>
                <a:gd name="T12" fmla="*/ 0 w 361"/>
                <a:gd name="T13" fmla="*/ 365 h 365"/>
                <a:gd name="T14" fmla="*/ 361 w 361"/>
                <a:gd name="T15" fmla="*/ 145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1" h="365">
                  <a:moveTo>
                    <a:pt x="361" y="145"/>
                  </a:moveTo>
                  <a:cubicBezTo>
                    <a:pt x="346" y="137"/>
                    <a:pt x="330" y="131"/>
                    <a:pt x="313" y="128"/>
                  </a:cubicBezTo>
                  <a:cubicBezTo>
                    <a:pt x="112" y="84"/>
                    <a:pt x="112" y="84"/>
                    <a:pt x="112" y="84"/>
                  </a:cubicBezTo>
                  <a:cubicBezTo>
                    <a:pt x="95" y="26"/>
                    <a:pt x="95" y="26"/>
                    <a:pt x="95" y="26"/>
                  </a:cubicBezTo>
                  <a:cubicBezTo>
                    <a:pt x="90" y="11"/>
                    <a:pt x="77" y="1"/>
                    <a:pt x="62" y="0"/>
                  </a:cubicBezTo>
                  <a:cubicBezTo>
                    <a:pt x="53" y="73"/>
                    <a:pt x="53" y="73"/>
                    <a:pt x="53" y="73"/>
                  </a:cubicBezTo>
                  <a:cubicBezTo>
                    <a:pt x="0" y="365"/>
                    <a:pt x="0" y="365"/>
                    <a:pt x="0" y="365"/>
                  </a:cubicBezTo>
                  <a:cubicBezTo>
                    <a:pt x="146" y="337"/>
                    <a:pt x="273" y="257"/>
                    <a:pt x="361" y="145"/>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1" name="Freeform 507">
              <a:extLst>
                <a:ext uri="{FF2B5EF4-FFF2-40B4-BE49-F238E27FC236}">
                  <a16:creationId xmlns:a16="http://schemas.microsoft.com/office/drawing/2014/main" id="{B513E4E8-F124-4AEF-A5B1-0EB5BF2EB68D}"/>
                </a:ext>
              </a:extLst>
            </p:cNvPr>
            <p:cNvSpPr>
              <a:spLocks/>
            </p:cNvSpPr>
            <p:nvPr/>
          </p:nvSpPr>
          <p:spPr bwMode="auto">
            <a:xfrm>
              <a:off x="4914198" y="2691985"/>
              <a:ext cx="416597" cy="233536"/>
            </a:xfrm>
            <a:custGeom>
              <a:avLst/>
              <a:gdLst>
                <a:gd name="T0" fmla="*/ 391 w 469"/>
                <a:gd name="T1" fmla="*/ 26 h 263"/>
                <a:gd name="T2" fmla="*/ 313 w 469"/>
                <a:gd name="T3" fmla="*/ 8 h 263"/>
                <a:gd name="T4" fmla="*/ 192 w 469"/>
                <a:gd name="T5" fmla="*/ 0 h 263"/>
                <a:gd name="T6" fmla="*/ 102 w 469"/>
                <a:gd name="T7" fmla="*/ 33 h 263"/>
                <a:gd name="T8" fmla="*/ 43 w 469"/>
                <a:gd name="T9" fmla="*/ 108 h 263"/>
                <a:gd name="T10" fmla="*/ 0 w 469"/>
                <a:gd name="T11" fmla="*/ 262 h 263"/>
                <a:gd name="T12" fmla="*/ 0 w 469"/>
                <a:gd name="T13" fmla="*/ 262 h 263"/>
                <a:gd name="T14" fmla="*/ 66 w 469"/>
                <a:gd name="T15" fmla="*/ 247 h 263"/>
                <a:gd name="T16" fmla="*/ 178 w 469"/>
                <a:gd name="T17" fmla="*/ 175 h 263"/>
                <a:gd name="T18" fmla="*/ 91 w 469"/>
                <a:gd name="T19" fmla="*/ 262 h 263"/>
                <a:gd name="T20" fmla="*/ 98 w 469"/>
                <a:gd name="T21" fmla="*/ 262 h 263"/>
                <a:gd name="T22" fmla="*/ 209 w 469"/>
                <a:gd name="T23" fmla="*/ 229 h 263"/>
                <a:gd name="T24" fmla="*/ 328 w 469"/>
                <a:gd name="T25" fmla="*/ 138 h 263"/>
                <a:gd name="T26" fmla="*/ 228 w 469"/>
                <a:gd name="T27" fmla="*/ 250 h 263"/>
                <a:gd name="T28" fmla="*/ 469 w 469"/>
                <a:gd name="T29" fmla="*/ 134 h 263"/>
                <a:gd name="T30" fmla="*/ 391 w 469"/>
                <a:gd name="T31" fmla="*/ 2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9" h="263">
                  <a:moveTo>
                    <a:pt x="391" y="26"/>
                  </a:moveTo>
                  <a:cubicBezTo>
                    <a:pt x="391" y="26"/>
                    <a:pt x="316" y="8"/>
                    <a:pt x="313" y="8"/>
                  </a:cubicBezTo>
                  <a:cubicBezTo>
                    <a:pt x="309" y="7"/>
                    <a:pt x="192" y="0"/>
                    <a:pt x="192" y="0"/>
                  </a:cubicBezTo>
                  <a:cubicBezTo>
                    <a:pt x="102" y="33"/>
                    <a:pt x="102" y="33"/>
                    <a:pt x="102" y="33"/>
                  </a:cubicBezTo>
                  <a:cubicBezTo>
                    <a:pt x="43" y="108"/>
                    <a:pt x="43" y="108"/>
                    <a:pt x="43" y="108"/>
                  </a:cubicBezTo>
                  <a:cubicBezTo>
                    <a:pt x="0" y="262"/>
                    <a:pt x="0" y="262"/>
                    <a:pt x="0" y="262"/>
                  </a:cubicBezTo>
                  <a:cubicBezTo>
                    <a:pt x="0" y="262"/>
                    <a:pt x="0" y="262"/>
                    <a:pt x="0" y="262"/>
                  </a:cubicBezTo>
                  <a:cubicBezTo>
                    <a:pt x="24" y="263"/>
                    <a:pt x="46" y="258"/>
                    <a:pt x="66" y="247"/>
                  </a:cubicBezTo>
                  <a:cubicBezTo>
                    <a:pt x="101" y="228"/>
                    <a:pt x="148" y="200"/>
                    <a:pt x="178" y="175"/>
                  </a:cubicBezTo>
                  <a:cubicBezTo>
                    <a:pt x="155" y="216"/>
                    <a:pt x="123" y="246"/>
                    <a:pt x="91" y="262"/>
                  </a:cubicBezTo>
                  <a:cubicBezTo>
                    <a:pt x="93" y="262"/>
                    <a:pt x="95" y="262"/>
                    <a:pt x="98" y="262"/>
                  </a:cubicBezTo>
                  <a:cubicBezTo>
                    <a:pt x="138" y="260"/>
                    <a:pt x="176" y="249"/>
                    <a:pt x="209" y="229"/>
                  </a:cubicBezTo>
                  <a:cubicBezTo>
                    <a:pt x="248" y="205"/>
                    <a:pt x="295" y="172"/>
                    <a:pt x="328" y="138"/>
                  </a:cubicBezTo>
                  <a:cubicBezTo>
                    <a:pt x="301" y="191"/>
                    <a:pt x="255" y="230"/>
                    <a:pt x="228" y="250"/>
                  </a:cubicBezTo>
                  <a:cubicBezTo>
                    <a:pt x="330" y="236"/>
                    <a:pt x="435" y="203"/>
                    <a:pt x="469" y="134"/>
                  </a:cubicBezTo>
                  <a:cubicBezTo>
                    <a:pt x="447" y="65"/>
                    <a:pt x="391" y="26"/>
                    <a:pt x="391" y="26"/>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2" name="Freeform 508">
              <a:extLst>
                <a:ext uri="{FF2B5EF4-FFF2-40B4-BE49-F238E27FC236}">
                  <a16:creationId xmlns:a16="http://schemas.microsoft.com/office/drawing/2014/main" id="{3C92DF61-323A-48E3-A4B6-DD3E828604B6}"/>
                </a:ext>
              </a:extLst>
            </p:cNvPr>
            <p:cNvSpPr>
              <a:spLocks/>
            </p:cNvSpPr>
            <p:nvPr/>
          </p:nvSpPr>
          <p:spPr bwMode="auto">
            <a:xfrm>
              <a:off x="5237758" y="3392591"/>
              <a:ext cx="126938" cy="170632"/>
            </a:xfrm>
            <a:custGeom>
              <a:avLst/>
              <a:gdLst>
                <a:gd name="T0" fmla="*/ 143 w 143"/>
                <a:gd name="T1" fmla="*/ 71 h 192"/>
                <a:gd name="T2" fmla="*/ 35 w 143"/>
                <a:gd name="T3" fmla="*/ 0 h 192"/>
                <a:gd name="T4" fmla="*/ 0 w 143"/>
                <a:gd name="T5" fmla="*/ 192 h 192"/>
                <a:gd name="T6" fmla="*/ 16 w 143"/>
                <a:gd name="T7" fmla="*/ 188 h 192"/>
                <a:gd name="T8" fmla="*/ 61 w 143"/>
                <a:gd name="T9" fmla="*/ 61 h 192"/>
                <a:gd name="T10" fmla="*/ 143 w 143"/>
                <a:gd name="T11" fmla="*/ 71 h 192"/>
              </a:gdLst>
              <a:ahLst/>
              <a:cxnLst>
                <a:cxn ang="0">
                  <a:pos x="T0" y="T1"/>
                </a:cxn>
                <a:cxn ang="0">
                  <a:pos x="T2" y="T3"/>
                </a:cxn>
                <a:cxn ang="0">
                  <a:pos x="T4" y="T5"/>
                </a:cxn>
                <a:cxn ang="0">
                  <a:pos x="T6" y="T7"/>
                </a:cxn>
                <a:cxn ang="0">
                  <a:pos x="T8" y="T9"/>
                </a:cxn>
                <a:cxn ang="0">
                  <a:pos x="T10" y="T11"/>
                </a:cxn>
              </a:cxnLst>
              <a:rect l="0" t="0" r="r" b="b"/>
              <a:pathLst>
                <a:path w="143" h="192">
                  <a:moveTo>
                    <a:pt x="143" y="71"/>
                  </a:moveTo>
                  <a:cubicBezTo>
                    <a:pt x="35" y="0"/>
                    <a:pt x="35" y="0"/>
                    <a:pt x="35" y="0"/>
                  </a:cubicBezTo>
                  <a:cubicBezTo>
                    <a:pt x="0" y="192"/>
                    <a:pt x="0" y="192"/>
                    <a:pt x="0" y="192"/>
                  </a:cubicBezTo>
                  <a:cubicBezTo>
                    <a:pt x="5" y="191"/>
                    <a:pt x="10" y="190"/>
                    <a:pt x="16" y="188"/>
                  </a:cubicBezTo>
                  <a:cubicBezTo>
                    <a:pt x="61" y="61"/>
                    <a:pt x="61" y="61"/>
                    <a:pt x="61" y="61"/>
                  </a:cubicBezTo>
                  <a:lnTo>
                    <a:pt x="143" y="71"/>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3" name="Freeform 509">
              <a:extLst>
                <a:ext uri="{FF2B5EF4-FFF2-40B4-BE49-F238E27FC236}">
                  <a16:creationId xmlns:a16="http://schemas.microsoft.com/office/drawing/2014/main" id="{953E48EE-CA97-4E66-A501-AC56281E0944}"/>
                </a:ext>
              </a:extLst>
            </p:cNvPr>
            <p:cNvSpPr>
              <a:spLocks/>
            </p:cNvSpPr>
            <p:nvPr/>
          </p:nvSpPr>
          <p:spPr bwMode="auto">
            <a:xfrm>
              <a:off x="4912315" y="3392591"/>
              <a:ext cx="128068" cy="170632"/>
            </a:xfrm>
            <a:custGeom>
              <a:avLst/>
              <a:gdLst>
                <a:gd name="T0" fmla="*/ 0 w 144"/>
                <a:gd name="T1" fmla="*/ 71 h 192"/>
                <a:gd name="T2" fmla="*/ 81 w 144"/>
                <a:gd name="T3" fmla="*/ 61 h 192"/>
                <a:gd name="T4" fmla="*/ 129 w 144"/>
                <a:gd name="T5" fmla="*/ 189 h 192"/>
                <a:gd name="T6" fmla="*/ 144 w 144"/>
                <a:gd name="T7" fmla="*/ 192 h 192"/>
                <a:gd name="T8" fmla="*/ 107 w 144"/>
                <a:gd name="T9" fmla="*/ 0 h 192"/>
                <a:gd name="T10" fmla="*/ 0 w 144"/>
                <a:gd name="T11" fmla="*/ 71 h 192"/>
              </a:gdLst>
              <a:ahLst/>
              <a:cxnLst>
                <a:cxn ang="0">
                  <a:pos x="T0" y="T1"/>
                </a:cxn>
                <a:cxn ang="0">
                  <a:pos x="T2" y="T3"/>
                </a:cxn>
                <a:cxn ang="0">
                  <a:pos x="T4" y="T5"/>
                </a:cxn>
                <a:cxn ang="0">
                  <a:pos x="T6" y="T7"/>
                </a:cxn>
                <a:cxn ang="0">
                  <a:pos x="T8" y="T9"/>
                </a:cxn>
                <a:cxn ang="0">
                  <a:pos x="T10" y="T11"/>
                </a:cxn>
              </a:cxnLst>
              <a:rect l="0" t="0" r="r" b="b"/>
              <a:pathLst>
                <a:path w="144" h="192">
                  <a:moveTo>
                    <a:pt x="0" y="71"/>
                  </a:moveTo>
                  <a:cubicBezTo>
                    <a:pt x="81" y="61"/>
                    <a:pt x="81" y="61"/>
                    <a:pt x="81" y="61"/>
                  </a:cubicBezTo>
                  <a:cubicBezTo>
                    <a:pt x="129" y="189"/>
                    <a:pt x="129" y="189"/>
                    <a:pt x="129" y="189"/>
                  </a:cubicBezTo>
                  <a:cubicBezTo>
                    <a:pt x="134" y="190"/>
                    <a:pt x="139" y="191"/>
                    <a:pt x="144" y="192"/>
                  </a:cubicBezTo>
                  <a:cubicBezTo>
                    <a:pt x="107" y="0"/>
                    <a:pt x="107" y="0"/>
                    <a:pt x="107" y="0"/>
                  </a:cubicBezTo>
                  <a:lnTo>
                    <a:pt x="0" y="71"/>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a:extLst>
              <a:ext uri="{FF2B5EF4-FFF2-40B4-BE49-F238E27FC236}">
                <a16:creationId xmlns:a16="http://schemas.microsoft.com/office/drawing/2014/main" id="{BB4D9867-E5A1-4D04-9D22-7B27D4B164FC}"/>
              </a:ext>
            </a:extLst>
          </p:cNvPr>
          <p:cNvGrpSpPr/>
          <p:nvPr/>
        </p:nvGrpSpPr>
        <p:grpSpPr>
          <a:xfrm>
            <a:off x="1979279" y="5148583"/>
            <a:ext cx="651516" cy="651054"/>
            <a:chOff x="1979279" y="5217163"/>
            <a:chExt cx="651516" cy="651054"/>
          </a:xfrm>
        </p:grpSpPr>
        <p:grpSp>
          <p:nvGrpSpPr>
            <p:cNvPr id="664" name="Group 663">
              <a:extLst>
                <a:ext uri="{FF2B5EF4-FFF2-40B4-BE49-F238E27FC236}">
                  <a16:creationId xmlns:a16="http://schemas.microsoft.com/office/drawing/2014/main" id="{D35346A3-6AAA-4698-A87B-4E5106A4F346}"/>
                </a:ext>
              </a:extLst>
            </p:cNvPr>
            <p:cNvGrpSpPr/>
            <p:nvPr/>
          </p:nvGrpSpPr>
          <p:grpSpPr>
            <a:xfrm>
              <a:off x="1979279" y="5217163"/>
              <a:ext cx="651516" cy="651054"/>
              <a:chOff x="1771861" y="4022948"/>
              <a:chExt cx="1066353" cy="1065600"/>
            </a:xfrm>
          </p:grpSpPr>
          <p:sp>
            <p:nvSpPr>
              <p:cNvPr id="665" name="Oval 596">
                <a:extLst>
                  <a:ext uri="{FF2B5EF4-FFF2-40B4-BE49-F238E27FC236}">
                    <a16:creationId xmlns:a16="http://schemas.microsoft.com/office/drawing/2014/main" id="{85D4012C-78AA-4211-9631-6264A722B53A}"/>
                  </a:ext>
                </a:extLst>
              </p:cNvPr>
              <p:cNvSpPr>
                <a:spLocks noChangeArrowheads="1"/>
              </p:cNvSpPr>
              <p:nvPr/>
            </p:nvSpPr>
            <p:spPr bwMode="auto">
              <a:xfrm>
                <a:off x="1771861" y="4022948"/>
                <a:ext cx="1066353" cy="106560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6" name="Freeform 597">
                <a:extLst>
                  <a:ext uri="{FF2B5EF4-FFF2-40B4-BE49-F238E27FC236}">
                    <a16:creationId xmlns:a16="http://schemas.microsoft.com/office/drawing/2014/main" id="{8185AA83-5A10-4A3B-9E74-860694D61D08}"/>
                  </a:ext>
                </a:extLst>
              </p:cNvPr>
              <p:cNvSpPr>
                <a:spLocks/>
              </p:cNvSpPr>
              <p:nvPr/>
            </p:nvSpPr>
            <p:spPr bwMode="auto">
              <a:xfrm>
                <a:off x="2160071" y="4760208"/>
                <a:ext cx="315538" cy="247761"/>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7" name="Freeform 598">
                <a:extLst>
                  <a:ext uri="{FF2B5EF4-FFF2-40B4-BE49-F238E27FC236}">
                    <a16:creationId xmlns:a16="http://schemas.microsoft.com/office/drawing/2014/main" id="{F333D6BB-3A98-4861-839E-80612719E9EC}"/>
                  </a:ext>
                </a:extLst>
              </p:cNvPr>
              <p:cNvSpPr>
                <a:spLocks/>
              </p:cNvSpPr>
              <p:nvPr/>
            </p:nvSpPr>
            <p:spPr bwMode="auto">
              <a:xfrm>
                <a:off x="2000042" y="4501903"/>
                <a:ext cx="90745" cy="134800"/>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8" name="Freeform 599">
                <a:extLst>
                  <a:ext uri="{FF2B5EF4-FFF2-40B4-BE49-F238E27FC236}">
                    <a16:creationId xmlns:a16="http://schemas.microsoft.com/office/drawing/2014/main" id="{BFE14F02-F60B-40EA-A63A-981938E3293C}"/>
                  </a:ext>
                </a:extLst>
              </p:cNvPr>
              <p:cNvSpPr>
                <a:spLocks/>
              </p:cNvSpPr>
              <p:nvPr/>
            </p:nvSpPr>
            <p:spPr bwMode="auto">
              <a:xfrm>
                <a:off x="2535855" y="4475922"/>
                <a:ext cx="88863" cy="13668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9" name="Freeform 600">
                <a:extLst>
                  <a:ext uri="{FF2B5EF4-FFF2-40B4-BE49-F238E27FC236}">
                    <a16:creationId xmlns:a16="http://schemas.microsoft.com/office/drawing/2014/main" id="{EA16246C-DD04-4BB9-94AA-A5D2A7AAF115}"/>
                  </a:ext>
                </a:extLst>
              </p:cNvPr>
              <p:cNvSpPr>
                <a:spLocks/>
              </p:cNvSpPr>
              <p:nvPr/>
            </p:nvSpPr>
            <p:spPr bwMode="auto">
              <a:xfrm>
                <a:off x="2060665" y="4198791"/>
                <a:ext cx="499288" cy="614509"/>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2" name="Freeform 601">
                <a:extLst>
                  <a:ext uri="{FF2B5EF4-FFF2-40B4-BE49-F238E27FC236}">
                    <a16:creationId xmlns:a16="http://schemas.microsoft.com/office/drawing/2014/main" id="{6C675BDA-3E72-4CCA-A8CF-0C4F43A92912}"/>
                  </a:ext>
                </a:extLst>
              </p:cNvPr>
              <p:cNvSpPr>
                <a:spLocks/>
              </p:cNvSpPr>
              <p:nvPr/>
            </p:nvSpPr>
            <p:spPr bwMode="auto">
              <a:xfrm>
                <a:off x="2060665" y="4198791"/>
                <a:ext cx="499288" cy="613755"/>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 name="Freeform 602">
                <a:extLst>
                  <a:ext uri="{FF2B5EF4-FFF2-40B4-BE49-F238E27FC236}">
                    <a16:creationId xmlns:a16="http://schemas.microsoft.com/office/drawing/2014/main" id="{DC5FBF53-1663-4A26-97B6-6E3C61AC64CF}"/>
                  </a:ext>
                </a:extLst>
              </p:cNvPr>
              <p:cNvSpPr>
                <a:spLocks/>
              </p:cNvSpPr>
              <p:nvPr/>
            </p:nvSpPr>
            <p:spPr bwMode="auto">
              <a:xfrm>
                <a:off x="2309556" y="4466132"/>
                <a:ext cx="243243" cy="350933"/>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 name="Freeform 604">
                <a:extLst>
                  <a:ext uri="{FF2B5EF4-FFF2-40B4-BE49-F238E27FC236}">
                    <a16:creationId xmlns:a16="http://schemas.microsoft.com/office/drawing/2014/main" id="{80BFA5BB-9FD0-4B1C-A5B1-982F53E35373}"/>
                  </a:ext>
                </a:extLst>
              </p:cNvPr>
              <p:cNvSpPr>
                <a:spLocks/>
              </p:cNvSpPr>
              <p:nvPr/>
            </p:nvSpPr>
            <p:spPr bwMode="auto">
              <a:xfrm>
                <a:off x="1947704" y="4792213"/>
                <a:ext cx="726717" cy="296335"/>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5" name="Freeform 605">
                <a:extLst>
                  <a:ext uri="{FF2B5EF4-FFF2-40B4-BE49-F238E27FC236}">
                    <a16:creationId xmlns:a16="http://schemas.microsoft.com/office/drawing/2014/main" id="{47041F05-2554-4DBB-BB1E-0D66294D314B}"/>
                  </a:ext>
                </a:extLst>
              </p:cNvPr>
              <p:cNvSpPr>
                <a:spLocks/>
              </p:cNvSpPr>
              <p:nvPr/>
            </p:nvSpPr>
            <p:spPr bwMode="auto">
              <a:xfrm>
                <a:off x="2044474" y="4147582"/>
                <a:ext cx="510961" cy="472178"/>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 name="Freeform 606">
                <a:extLst>
                  <a:ext uri="{FF2B5EF4-FFF2-40B4-BE49-F238E27FC236}">
                    <a16:creationId xmlns:a16="http://schemas.microsoft.com/office/drawing/2014/main" id="{64068280-AC9D-4C62-BD36-3FBD19C5929C}"/>
                  </a:ext>
                </a:extLst>
              </p:cNvPr>
              <p:cNvSpPr>
                <a:spLocks/>
              </p:cNvSpPr>
              <p:nvPr/>
            </p:nvSpPr>
            <p:spPr bwMode="auto">
              <a:xfrm>
                <a:off x="2211656" y="4825725"/>
                <a:ext cx="88110" cy="105054"/>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 name="Freeform 607">
                <a:extLst>
                  <a:ext uri="{FF2B5EF4-FFF2-40B4-BE49-F238E27FC236}">
                    <a16:creationId xmlns:a16="http://schemas.microsoft.com/office/drawing/2014/main" id="{0FEC31FC-2A89-4DDF-8E7D-4FF45285926F}"/>
                  </a:ext>
                </a:extLst>
              </p:cNvPr>
              <p:cNvSpPr>
                <a:spLocks/>
              </p:cNvSpPr>
              <p:nvPr/>
            </p:nvSpPr>
            <p:spPr bwMode="auto">
              <a:xfrm>
                <a:off x="2340432" y="4815935"/>
                <a:ext cx="100535" cy="114844"/>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8" name="Oval 608">
                <a:extLst>
                  <a:ext uri="{FF2B5EF4-FFF2-40B4-BE49-F238E27FC236}">
                    <a16:creationId xmlns:a16="http://schemas.microsoft.com/office/drawing/2014/main" id="{89615CDE-24F8-4CFD-8C28-C8829C6F9065}"/>
                  </a:ext>
                </a:extLst>
              </p:cNvPr>
              <p:cNvSpPr>
                <a:spLocks noChangeArrowheads="1"/>
              </p:cNvSpPr>
              <p:nvPr/>
            </p:nvSpPr>
            <p:spPr bwMode="auto">
              <a:xfrm>
                <a:off x="2318969" y="4990272"/>
                <a:ext cx="33888" cy="3464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9" name="Freeform 609">
                <a:extLst>
                  <a:ext uri="{FF2B5EF4-FFF2-40B4-BE49-F238E27FC236}">
                    <a16:creationId xmlns:a16="http://schemas.microsoft.com/office/drawing/2014/main" id="{CB34B63A-3662-432D-BB89-2191E70A87C8}"/>
                  </a:ext>
                </a:extLst>
              </p:cNvPr>
              <p:cNvSpPr>
                <a:spLocks/>
              </p:cNvSpPr>
              <p:nvPr/>
            </p:nvSpPr>
            <p:spPr bwMode="auto">
              <a:xfrm>
                <a:off x="2120911" y="4448435"/>
                <a:ext cx="128023" cy="56857"/>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0" name="Freeform 610">
                <a:extLst>
                  <a:ext uri="{FF2B5EF4-FFF2-40B4-BE49-F238E27FC236}">
                    <a16:creationId xmlns:a16="http://schemas.microsoft.com/office/drawing/2014/main" id="{1350F02E-97A4-49E6-9B02-AD28A359C6B2}"/>
                  </a:ext>
                </a:extLst>
              </p:cNvPr>
              <p:cNvSpPr>
                <a:spLocks/>
              </p:cNvSpPr>
              <p:nvPr/>
            </p:nvSpPr>
            <p:spPr bwMode="auto">
              <a:xfrm>
                <a:off x="2366413" y="4436762"/>
                <a:ext cx="128776" cy="56857"/>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1" name="Freeform 611">
                <a:extLst>
                  <a:ext uri="{FF2B5EF4-FFF2-40B4-BE49-F238E27FC236}">
                    <a16:creationId xmlns:a16="http://schemas.microsoft.com/office/drawing/2014/main" id="{F773126C-C1AE-4B1E-B4E8-806AD14105AA}"/>
                  </a:ext>
                </a:extLst>
              </p:cNvPr>
              <p:cNvSpPr>
                <a:spLocks/>
              </p:cNvSpPr>
              <p:nvPr/>
            </p:nvSpPr>
            <p:spPr bwMode="auto">
              <a:xfrm>
                <a:off x="2163460" y="4509810"/>
                <a:ext cx="45561" cy="30123"/>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2" name="Freeform 612">
                <a:extLst>
                  <a:ext uri="{FF2B5EF4-FFF2-40B4-BE49-F238E27FC236}">
                    <a16:creationId xmlns:a16="http://schemas.microsoft.com/office/drawing/2014/main" id="{5C537780-F4E1-48DD-B5A0-C3AC5066745D}"/>
                  </a:ext>
                </a:extLst>
              </p:cNvPr>
              <p:cNvSpPr>
                <a:spLocks/>
              </p:cNvSpPr>
              <p:nvPr/>
            </p:nvSpPr>
            <p:spPr bwMode="auto">
              <a:xfrm>
                <a:off x="2405196" y="4498891"/>
                <a:ext cx="45561" cy="29370"/>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3" name="Freeform 613">
                <a:extLst>
                  <a:ext uri="{FF2B5EF4-FFF2-40B4-BE49-F238E27FC236}">
                    <a16:creationId xmlns:a16="http://schemas.microsoft.com/office/drawing/2014/main" id="{CDEA95A4-0F2C-4296-AB6C-7877E5571A3A}"/>
                  </a:ext>
                </a:extLst>
              </p:cNvPr>
              <p:cNvSpPr>
                <a:spLocks/>
              </p:cNvSpPr>
              <p:nvPr/>
            </p:nvSpPr>
            <p:spPr bwMode="auto">
              <a:xfrm flipV="1">
                <a:off x="2200955" y="4665248"/>
                <a:ext cx="245066" cy="45719"/>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4" name="Freeform 614">
                <a:extLst>
                  <a:ext uri="{FF2B5EF4-FFF2-40B4-BE49-F238E27FC236}">
                    <a16:creationId xmlns:a16="http://schemas.microsoft.com/office/drawing/2014/main" id="{6696D865-DCBB-4F51-9AF1-C298DC7B1731}"/>
                  </a:ext>
                </a:extLst>
              </p:cNvPr>
              <p:cNvSpPr>
                <a:spLocks/>
              </p:cNvSpPr>
              <p:nvPr/>
            </p:nvSpPr>
            <p:spPr bwMode="auto">
              <a:xfrm>
                <a:off x="2099825" y="4201427"/>
                <a:ext cx="455610" cy="396117"/>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85" name="Freeform: Shape 684">
              <a:extLst>
                <a:ext uri="{FF2B5EF4-FFF2-40B4-BE49-F238E27FC236}">
                  <a16:creationId xmlns:a16="http://schemas.microsoft.com/office/drawing/2014/main" id="{82A033DC-1DFE-406C-BA93-32DB5365C27F}"/>
                </a:ext>
              </a:extLst>
            </p:cNvPr>
            <p:cNvSpPr/>
            <p:nvPr/>
          </p:nvSpPr>
          <p:spPr>
            <a:xfrm>
              <a:off x="2184632" y="5418985"/>
              <a:ext cx="42416" cy="65553"/>
            </a:xfrm>
            <a:custGeom>
              <a:avLst/>
              <a:gdLst>
                <a:gd name="connsiteX0" fmla="*/ 9054 w 23867"/>
                <a:gd name="connsiteY0" fmla="*/ 9851 h 36885"/>
                <a:gd name="connsiteX1" fmla="*/ 5430 w 23867"/>
                <a:gd name="connsiteY1" fmla="*/ 37298 h 36885"/>
                <a:gd name="connsiteX2" fmla="*/ 18970 w 23867"/>
                <a:gd name="connsiteY2" fmla="*/ 26276 h 36885"/>
                <a:gd name="connsiteX3" fmla="*/ 24221 w 23867"/>
                <a:gd name="connsiteY3" fmla="*/ 0 h 36885"/>
                <a:gd name="connsiteX4" fmla="*/ 9054 w 23867"/>
                <a:gd name="connsiteY4" fmla="*/ 9851 h 36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7" h="36885">
                  <a:moveTo>
                    <a:pt x="9054" y="9851"/>
                  </a:moveTo>
                  <a:cubicBezTo>
                    <a:pt x="9054" y="9851"/>
                    <a:pt x="-8630" y="27968"/>
                    <a:pt x="5430" y="37298"/>
                  </a:cubicBezTo>
                  <a:cubicBezTo>
                    <a:pt x="5430" y="37298"/>
                    <a:pt x="18883" y="39750"/>
                    <a:pt x="18970" y="26276"/>
                  </a:cubicBezTo>
                  <a:cubicBezTo>
                    <a:pt x="19057" y="12802"/>
                    <a:pt x="16648" y="11153"/>
                    <a:pt x="24221" y="0"/>
                  </a:cubicBezTo>
                  <a:cubicBezTo>
                    <a:pt x="24221" y="0"/>
                    <a:pt x="17147" y="1063"/>
                    <a:pt x="9054" y="9851"/>
                  </a:cubicBezTo>
                  <a:close/>
                </a:path>
              </a:pathLst>
            </a:custGeom>
            <a:solidFill>
              <a:srgbClr val="27AAE1"/>
            </a:solidFill>
            <a:ln w="2158" cap="flat">
              <a:noFill/>
              <a:prstDash val="solid"/>
              <a:miter/>
            </a:ln>
          </p:spPr>
          <p:txBody>
            <a:bodyPr rtlCol="0" anchor="ctr"/>
            <a:lstStyle/>
            <a:p>
              <a:endParaRPr lang="en-IN" dirty="0"/>
            </a:p>
          </p:txBody>
        </p:sp>
        <p:sp>
          <p:nvSpPr>
            <p:cNvPr id="686" name="Freeform: Shape 685">
              <a:extLst>
                <a:ext uri="{FF2B5EF4-FFF2-40B4-BE49-F238E27FC236}">
                  <a16:creationId xmlns:a16="http://schemas.microsoft.com/office/drawing/2014/main" id="{5FCCDB66-7DB4-4EB0-B582-DB204D01B086}"/>
                </a:ext>
              </a:extLst>
            </p:cNvPr>
            <p:cNvSpPr/>
            <p:nvPr/>
          </p:nvSpPr>
          <p:spPr>
            <a:xfrm flipH="1">
              <a:off x="2342530" y="5402448"/>
              <a:ext cx="24261" cy="37495"/>
            </a:xfrm>
            <a:custGeom>
              <a:avLst/>
              <a:gdLst>
                <a:gd name="connsiteX0" fmla="*/ 9054 w 23867"/>
                <a:gd name="connsiteY0" fmla="*/ 9851 h 36885"/>
                <a:gd name="connsiteX1" fmla="*/ 5430 w 23867"/>
                <a:gd name="connsiteY1" fmla="*/ 37298 h 36885"/>
                <a:gd name="connsiteX2" fmla="*/ 18970 w 23867"/>
                <a:gd name="connsiteY2" fmla="*/ 26276 h 36885"/>
                <a:gd name="connsiteX3" fmla="*/ 24221 w 23867"/>
                <a:gd name="connsiteY3" fmla="*/ 0 h 36885"/>
                <a:gd name="connsiteX4" fmla="*/ 9054 w 23867"/>
                <a:gd name="connsiteY4" fmla="*/ 9851 h 36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7" h="36885">
                  <a:moveTo>
                    <a:pt x="9054" y="9851"/>
                  </a:moveTo>
                  <a:cubicBezTo>
                    <a:pt x="9054" y="9851"/>
                    <a:pt x="-8630" y="27968"/>
                    <a:pt x="5430" y="37298"/>
                  </a:cubicBezTo>
                  <a:cubicBezTo>
                    <a:pt x="5430" y="37298"/>
                    <a:pt x="18883" y="39750"/>
                    <a:pt x="18970" y="26276"/>
                  </a:cubicBezTo>
                  <a:cubicBezTo>
                    <a:pt x="19057" y="12802"/>
                    <a:pt x="16648" y="11153"/>
                    <a:pt x="24221" y="0"/>
                  </a:cubicBezTo>
                  <a:cubicBezTo>
                    <a:pt x="24221" y="0"/>
                    <a:pt x="17147" y="1063"/>
                    <a:pt x="9054" y="9851"/>
                  </a:cubicBezTo>
                  <a:close/>
                </a:path>
              </a:pathLst>
            </a:custGeom>
            <a:solidFill>
              <a:srgbClr val="27AAE1"/>
            </a:solidFill>
            <a:ln w="2158" cap="flat">
              <a:noFill/>
              <a:prstDash val="solid"/>
              <a:miter/>
            </a:ln>
          </p:spPr>
          <p:txBody>
            <a:bodyPr rtlCol="0" anchor="ctr"/>
            <a:lstStyle/>
            <a:p>
              <a:endParaRPr lang="en-IN" dirty="0"/>
            </a:p>
          </p:txBody>
        </p:sp>
      </p:grpSp>
      <p:cxnSp>
        <p:nvCxnSpPr>
          <p:cNvPr id="7" name="Straight Arrow Connector 6">
            <a:extLst>
              <a:ext uri="{FF2B5EF4-FFF2-40B4-BE49-F238E27FC236}">
                <a16:creationId xmlns:a16="http://schemas.microsoft.com/office/drawing/2014/main" id="{1876570C-788D-4682-A177-E2788CA5A5F3}"/>
              </a:ext>
            </a:extLst>
          </p:cNvPr>
          <p:cNvCxnSpPr>
            <a:stCxn id="1245" idx="0"/>
            <a:endCxn id="1753" idx="2"/>
          </p:cNvCxnSpPr>
          <p:nvPr/>
        </p:nvCxnSpPr>
        <p:spPr>
          <a:xfrm flipV="1">
            <a:off x="6193802" y="4901016"/>
            <a:ext cx="3846" cy="24939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662" name="Group 661">
            <a:extLst>
              <a:ext uri="{FF2B5EF4-FFF2-40B4-BE49-F238E27FC236}">
                <a16:creationId xmlns:a16="http://schemas.microsoft.com/office/drawing/2014/main" id="{3E2E1B4D-421C-430E-8E85-18E183A18462}"/>
              </a:ext>
            </a:extLst>
          </p:cNvPr>
          <p:cNvGrpSpPr/>
          <p:nvPr/>
        </p:nvGrpSpPr>
        <p:grpSpPr>
          <a:xfrm>
            <a:off x="10052458" y="146014"/>
            <a:ext cx="2033626" cy="1015650"/>
            <a:chOff x="10052458" y="146014"/>
            <a:chExt cx="2033626" cy="1015650"/>
          </a:xfrm>
        </p:grpSpPr>
        <p:pic>
          <p:nvPicPr>
            <p:cNvPr id="663" name="Picture 662">
              <a:extLst>
                <a:ext uri="{FF2B5EF4-FFF2-40B4-BE49-F238E27FC236}">
                  <a16:creationId xmlns:a16="http://schemas.microsoft.com/office/drawing/2014/main" id="{60E33198-81CA-48F2-8DE6-33E2AA10F21E}"/>
                </a:ext>
              </a:extLst>
            </p:cNvPr>
            <p:cNvPicPr>
              <a:picLocks noChangeAspect="1"/>
            </p:cNvPicPr>
            <p:nvPr/>
          </p:nvPicPr>
          <p:blipFill>
            <a:blip r:embed="rId7"/>
            <a:stretch>
              <a:fillRect/>
            </a:stretch>
          </p:blipFill>
          <p:spPr>
            <a:xfrm>
              <a:off x="10052458" y="146014"/>
              <a:ext cx="2033626" cy="1015650"/>
            </a:xfrm>
            <a:prstGeom prst="rect">
              <a:avLst/>
            </a:prstGeom>
          </p:spPr>
        </p:pic>
        <p:sp>
          <p:nvSpPr>
            <p:cNvPr id="687" name="Rectangle 686">
              <a:extLst>
                <a:ext uri="{FF2B5EF4-FFF2-40B4-BE49-F238E27FC236}">
                  <a16:creationId xmlns:a16="http://schemas.microsoft.com/office/drawing/2014/main" id="{FD03678A-40A0-4D8D-A903-55570D0C7E68}"/>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implified Management</a:t>
              </a:r>
            </a:p>
          </p:txBody>
        </p:sp>
      </p:grpSp>
    </p:spTree>
    <p:extLst>
      <p:ext uri="{BB962C8B-B14F-4D97-AF65-F5344CB8AC3E}">
        <p14:creationId xmlns:p14="http://schemas.microsoft.com/office/powerpoint/2010/main" val="171248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813676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048759" y="2418080"/>
            <a:ext cx="401322" cy="3769360"/>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17" name="TextBox 316">
            <a:extLst>
              <a:ext uri="{FF2B5EF4-FFF2-40B4-BE49-F238E27FC236}">
                <a16:creationId xmlns:a16="http://schemas.microsoft.com/office/drawing/2014/main" id="{C7141542-A461-43C9-A661-51BA81170E37}"/>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318" name="TextBox 317">
            <a:extLst>
              <a:ext uri="{FF2B5EF4-FFF2-40B4-BE49-F238E27FC236}">
                <a16:creationId xmlns:a16="http://schemas.microsoft.com/office/drawing/2014/main" id="{FBCB5BF6-7C04-4982-B329-4E83A01CBFAD}"/>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400" b="1" dirty="0">
                <a:solidFill>
                  <a:schemeClr val="bg1"/>
                </a:solidFill>
              </a:rPr>
              <a:t>WVD</a:t>
            </a: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51493" y="2411901"/>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b="1" dirty="0">
                <a:solidFill>
                  <a:schemeClr val="tx1"/>
                </a:solidFill>
              </a:rPr>
              <a:t> </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solidFill>
                  <a:schemeClr val="tx1"/>
                </a:solidFill>
              </a:rPr>
              <a:t>Readily-available VM management tools</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4216154" cy="369332"/>
          </a:xfrm>
          <a:prstGeom prst="rect">
            <a:avLst/>
          </a:prstGeom>
        </p:spPr>
        <p:txBody>
          <a:bodyPr wrap="none">
            <a:spAutoFit/>
          </a:bodyPr>
          <a:lstStyle/>
          <a:p>
            <a:r>
              <a:rPr lang="en-US" b="1" i="1" dirty="0"/>
              <a:t>Efficient and Simplified Management</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on-prem virtualization to WVD</a:t>
            </a:r>
          </a:p>
          <a:p>
            <a:pPr marL="344488" indent="-176213" defTabSz="932472" fontAlgn="base">
              <a:spcBef>
                <a:spcPts val="200"/>
              </a:spcBef>
              <a:spcAft>
                <a:spcPct val="0"/>
              </a:spcAft>
              <a:buFont typeface="Arial" panose="020B0604020202020204" pitchFamily="34" charset="0"/>
              <a:buChar char="•"/>
            </a:pPr>
            <a:r>
              <a:rPr lang="en-US" altLang="zh-CN" sz="1400" dirty="0">
                <a:solidFill>
                  <a:schemeClr val="tx1"/>
                </a:solidFill>
                <a:cs typeface="Segoe UI" pitchFamily="34" charset="0"/>
              </a:rPr>
              <a:t>WVD customers can leverage a broad set of VM management tools via WVD and Azure</a:t>
            </a:r>
            <a:endParaRPr lang="en-US" sz="1400" dirty="0">
              <a:solidFill>
                <a:srgbClr val="002060"/>
              </a:solidFill>
              <a:cs typeface="Segoe UI" pitchFamily="34" charset="0"/>
            </a:endParaRP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302299" y="2428026"/>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400" fontAlgn="auto">
              <a:spcBef>
                <a:spcPts val="1200"/>
              </a:spcBef>
              <a:spcAft>
                <a:spcPts val="600"/>
              </a:spcAft>
            </a:pPr>
            <a:r>
              <a:rPr lang="en-US" altLang="zh-CN" sz="1600" b="1" i="1" dirty="0">
                <a:solidFill>
                  <a:schemeClr val="tx2"/>
                </a:solidFill>
              </a:rPr>
              <a:t>Simplified management via versatile tools and automation</a:t>
            </a:r>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777886" y="1372927"/>
            <a:ext cx="806355" cy="914400"/>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332" name="TextBox 331">
            <a:extLst>
              <a:ext uri="{FF2B5EF4-FFF2-40B4-BE49-F238E27FC236}">
                <a16:creationId xmlns:a16="http://schemas.microsoft.com/office/drawing/2014/main" id="{E4561C91-E707-474F-AE82-88F037E5ECCB}"/>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400" b="1" dirty="0">
                <a:solidFill>
                  <a:schemeClr val="bg1"/>
                </a:solidFill>
              </a:rPr>
              <a:t>Management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1400" b="1" dirty="0">
                <a:solidFill>
                  <a:schemeClr val="bg1"/>
                </a:solidFill>
              </a:rPr>
              <a:t>On-prem Virtualization</a:t>
            </a:r>
          </a:p>
        </p:txBody>
      </p:sp>
      <p:sp>
        <p:nvSpPr>
          <p:cNvPr id="634" name="TextBox 633">
            <a:extLst>
              <a:ext uri="{FF2B5EF4-FFF2-40B4-BE49-F238E27FC236}">
                <a16:creationId xmlns:a16="http://schemas.microsoft.com/office/drawing/2014/main" id="{8954D60D-6739-4B19-AA9B-F93EEE39C3BE}"/>
              </a:ext>
            </a:extLst>
          </p:cNvPr>
          <p:cNvSpPr txBox="1"/>
          <p:nvPr/>
        </p:nvSpPr>
        <p:spPr>
          <a:xfrm>
            <a:off x="1192855" y="3863977"/>
            <a:ext cx="981044" cy="338554"/>
          </a:xfrm>
          <a:prstGeom prst="rect">
            <a:avLst/>
          </a:prstGeom>
          <a:noFill/>
        </p:spPr>
        <p:txBody>
          <a:bodyPr wrap="square" lIns="0" tIns="0" rIns="0" bIns="0" rtlCol="0" anchor="t">
            <a:spAutoFit/>
          </a:bodyPr>
          <a:lstStyle/>
          <a:p>
            <a:pPr lvl="0" algn="ctr" defTabSz="932509">
              <a:defRPr/>
            </a:pPr>
            <a:r>
              <a:rPr lang="en-US" altLang="zh-CN" sz="1100" dirty="0"/>
              <a:t>VM Deployment</a:t>
            </a:r>
            <a:endParaRPr kumimoji="0" lang="en-US" sz="1100" b="0" i="0" u="none" strike="noStrike" kern="1200" cap="none" spc="0" normalizeH="0" baseline="0" noProof="0" dirty="0">
              <a:ln>
                <a:noFill/>
              </a:ln>
              <a:effectLst/>
              <a:uLnTx/>
              <a:uFillTx/>
              <a:ea typeface="+mn-ea"/>
              <a:cs typeface="+mn-cs"/>
            </a:endParaRPr>
          </a:p>
        </p:txBody>
      </p:sp>
      <p:sp>
        <p:nvSpPr>
          <p:cNvPr id="640" name="TextBox 639">
            <a:extLst>
              <a:ext uri="{FF2B5EF4-FFF2-40B4-BE49-F238E27FC236}">
                <a16:creationId xmlns:a16="http://schemas.microsoft.com/office/drawing/2014/main" id="{EEFA4735-BA50-4976-99A1-B710646400F0}"/>
              </a:ext>
            </a:extLst>
          </p:cNvPr>
          <p:cNvSpPr txBox="1"/>
          <p:nvPr/>
        </p:nvSpPr>
        <p:spPr>
          <a:xfrm>
            <a:off x="1192855" y="5214038"/>
            <a:ext cx="981044" cy="338554"/>
          </a:xfrm>
          <a:prstGeom prst="rect">
            <a:avLst/>
          </a:prstGeom>
          <a:noFill/>
        </p:spPr>
        <p:txBody>
          <a:bodyPr wrap="square" lIns="0" tIns="0" rIns="0" bIns="0" rtlCol="0" anchor="t">
            <a:spAutoFit/>
          </a:bodyPr>
          <a:lstStyle/>
          <a:p>
            <a:pPr algn="ctr"/>
            <a:r>
              <a:rPr lang="en-US" sz="1100" dirty="0"/>
              <a:t>DR Setup and Configuration</a:t>
            </a:r>
          </a:p>
        </p:txBody>
      </p:sp>
      <p:sp>
        <p:nvSpPr>
          <p:cNvPr id="636" name="TextBox 635">
            <a:extLst>
              <a:ext uri="{FF2B5EF4-FFF2-40B4-BE49-F238E27FC236}">
                <a16:creationId xmlns:a16="http://schemas.microsoft.com/office/drawing/2014/main" id="{0443291C-E604-4D58-BA35-9D4114D2B28C}"/>
              </a:ext>
            </a:extLst>
          </p:cNvPr>
          <p:cNvSpPr txBox="1"/>
          <p:nvPr/>
        </p:nvSpPr>
        <p:spPr>
          <a:xfrm>
            <a:off x="1192855" y="4539008"/>
            <a:ext cx="981044" cy="338554"/>
          </a:xfrm>
          <a:prstGeom prst="rect">
            <a:avLst/>
          </a:prstGeom>
          <a:noFill/>
        </p:spPr>
        <p:txBody>
          <a:bodyPr wrap="square" lIns="0" tIns="0" rIns="0" bIns="0" rtlCol="0" anchor="t">
            <a:spAutoFit/>
          </a:bodyPr>
          <a:lstStyle/>
          <a:p>
            <a:pPr lvl="0" algn="ctr">
              <a:defRPr/>
            </a:pPr>
            <a:r>
              <a:rPr lang="en-US" sz="1100" dirty="0"/>
              <a:t>OS and App Management</a:t>
            </a:r>
          </a:p>
        </p:txBody>
      </p:sp>
      <p:grpSp>
        <p:nvGrpSpPr>
          <p:cNvPr id="445" name="Group 444">
            <a:extLst>
              <a:ext uri="{FF2B5EF4-FFF2-40B4-BE49-F238E27FC236}">
                <a16:creationId xmlns:a16="http://schemas.microsoft.com/office/drawing/2014/main" id="{0F96029D-3C84-43A9-981C-EFC7E17D0BE0}"/>
              </a:ext>
            </a:extLst>
          </p:cNvPr>
          <p:cNvGrpSpPr/>
          <p:nvPr/>
        </p:nvGrpSpPr>
        <p:grpSpPr>
          <a:xfrm>
            <a:off x="6339577" y="4488963"/>
            <a:ext cx="1338959" cy="1070368"/>
            <a:chOff x="6065044" y="4105609"/>
            <a:chExt cx="1417484" cy="1133141"/>
          </a:xfrm>
        </p:grpSpPr>
        <p:sp>
          <p:nvSpPr>
            <p:cNvPr id="446" name="Freeform 22">
              <a:extLst>
                <a:ext uri="{FF2B5EF4-FFF2-40B4-BE49-F238E27FC236}">
                  <a16:creationId xmlns:a16="http://schemas.microsoft.com/office/drawing/2014/main" id="{B8BAFB17-7954-472C-A87D-DEDC51A11903}"/>
                </a:ext>
              </a:extLst>
            </p:cNvPr>
            <p:cNvSpPr>
              <a:spLocks/>
            </p:cNvSpPr>
            <p:nvPr/>
          </p:nvSpPr>
          <p:spPr bwMode="auto">
            <a:xfrm>
              <a:off x="6065044" y="5179658"/>
              <a:ext cx="1341266" cy="59092"/>
            </a:xfrm>
            <a:prstGeom prst="roundRect">
              <a:avLst>
                <a:gd name="adj" fmla="val 50000"/>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47" name="Freeform 76">
              <a:extLst>
                <a:ext uri="{FF2B5EF4-FFF2-40B4-BE49-F238E27FC236}">
                  <a16:creationId xmlns:a16="http://schemas.microsoft.com/office/drawing/2014/main" id="{C9A066DD-4967-4710-A594-BDCBC8DA349E}"/>
                </a:ext>
              </a:extLst>
            </p:cNvPr>
            <p:cNvSpPr>
              <a:spLocks/>
            </p:cNvSpPr>
            <p:nvPr/>
          </p:nvSpPr>
          <p:spPr bwMode="auto">
            <a:xfrm>
              <a:off x="6137476" y="4917208"/>
              <a:ext cx="62581" cy="302345"/>
            </a:xfrm>
            <a:custGeom>
              <a:avLst/>
              <a:gdLst>
                <a:gd name="T0" fmla="*/ 119 w 160"/>
                <a:gd name="T1" fmla="*/ 773 h 773"/>
                <a:gd name="T2" fmla="*/ 41 w 160"/>
                <a:gd name="T3" fmla="*/ 773 h 773"/>
                <a:gd name="T4" fmla="*/ 0 w 160"/>
                <a:gd name="T5" fmla="*/ 0 h 773"/>
                <a:gd name="T6" fmla="*/ 160 w 160"/>
                <a:gd name="T7" fmla="*/ 0 h 773"/>
                <a:gd name="T8" fmla="*/ 119 w 160"/>
                <a:gd name="T9" fmla="*/ 773 h 773"/>
              </a:gdLst>
              <a:ahLst/>
              <a:cxnLst>
                <a:cxn ang="0">
                  <a:pos x="T0" y="T1"/>
                </a:cxn>
                <a:cxn ang="0">
                  <a:pos x="T2" y="T3"/>
                </a:cxn>
                <a:cxn ang="0">
                  <a:pos x="T4" y="T5"/>
                </a:cxn>
                <a:cxn ang="0">
                  <a:pos x="T6" y="T7"/>
                </a:cxn>
                <a:cxn ang="0">
                  <a:pos x="T8" y="T9"/>
                </a:cxn>
              </a:cxnLst>
              <a:rect l="0" t="0" r="r" b="b"/>
              <a:pathLst>
                <a:path w="160" h="773">
                  <a:moveTo>
                    <a:pt x="119" y="773"/>
                  </a:moveTo>
                  <a:lnTo>
                    <a:pt x="41" y="773"/>
                  </a:lnTo>
                  <a:lnTo>
                    <a:pt x="0" y="0"/>
                  </a:lnTo>
                  <a:lnTo>
                    <a:pt x="160" y="0"/>
                  </a:lnTo>
                  <a:lnTo>
                    <a:pt x="119"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48" name="Freeform 77">
              <a:extLst>
                <a:ext uri="{FF2B5EF4-FFF2-40B4-BE49-F238E27FC236}">
                  <a16:creationId xmlns:a16="http://schemas.microsoft.com/office/drawing/2014/main" id="{3C165DD3-0E8A-4474-B5EE-B2045323C888}"/>
                </a:ext>
              </a:extLst>
            </p:cNvPr>
            <p:cNvSpPr>
              <a:spLocks/>
            </p:cNvSpPr>
            <p:nvPr/>
          </p:nvSpPr>
          <p:spPr bwMode="auto">
            <a:xfrm>
              <a:off x="6394841"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grpSp>
          <p:nvGrpSpPr>
            <p:cNvPr id="449" name="Group 448">
              <a:extLst>
                <a:ext uri="{FF2B5EF4-FFF2-40B4-BE49-F238E27FC236}">
                  <a16:creationId xmlns:a16="http://schemas.microsoft.com/office/drawing/2014/main" id="{9A50EF00-59B2-4451-BD1D-63F54AE97866}"/>
                </a:ext>
              </a:extLst>
            </p:cNvPr>
            <p:cNvGrpSpPr/>
            <p:nvPr/>
          </p:nvGrpSpPr>
          <p:grpSpPr>
            <a:xfrm flipH="1">
              <a:off x="6360369" y="4105609"/>
              <a:ext cx="1122159" cy="1116292"/>
              <a:chOff x="6605662" y="4105609"/>
              <a:chExt cx="1122159" cy="1116292"/>
            </a:xfrm>
          </p:grpSpPr>
          <p:sp>
            <p:nvSpPr>
              <p:cNvPr id="456" name="Freeform 23">
                <a:extLst>
                  <a:ext uri="{FF2B5EF4-FFF2-40B4-BE49-F238E27FC236}">
                    <a16:creationId xmlns:a16="http://schemas.microsoft.com/office/drawing/2014/main" id="{F9054857-DA4E-433A-878A-65F7078614B6}"/>
                  </a:ext>
                </a:extLst>
              </p:cNvPr>
              <p:cNvSpPr>
                <a:spLocks/>
              </p:cNvSpPr>
              <p:nvPr/>
            </p:nvSpPr>
            <p:spPr bwMode="auto">
              <a:xfrm>
                <a:off x="7466154" y="4434942"/>
                <a:ext cx="62581" cy="43416"/>
              </a:xfrm>
              <a:custGeom>
                <a:avLst/>
                <a:gdLst>
                  <a:gd name="T0" fmla="*/ 124 w 128"/>
                  <a:gd name="T1" fmla="*/ 36 h 89"/>
                  <a:gd name="T2" fmla="*/ 98 w 128"/>
                  <a:gd name="T3" fmla="*/ 26 h 89"/>
                  <a:gd name="T4" fmla="*/ 77 w 128"/>
                  <a:gd name="T5" fmla="*/ 34 h 89"/>
                  <a:gd name="T6" fmla="*/ 80 w 128"/>
                  <a:gd name="T7" fmla="*/ 14 h 89"/>
                  <a:gd name="T8" fmla="*/ 54 w 128"/>
                  <a:gd name="T9" fmla="*/ 4 h 89"/>
                  <a:gd name="T10" fmla="*/ 0 w 128"/>
                  <a:gd name="T11" fmla="*/ 25 h 89"/>
                  <a:gd name="T12" fmla="*/ 18 w 128"/>
                  <a:gd name="T13" fmla="*/ 67 h 89"/>
                  <a:gd name="T14" fmla="*/ 47 w 128"/>
                  <a:gd name="T15" fmla="*/ 52 h 89"/>
                  <a:gd name="T16" fmla="*/ 62 w 128"/>
                  <a:gd name="T17" fmla="*/ 89 h 89"/>
                  <a:gd name="T18" fmla="*/ 114 w 128"/>
                  <a:gd name="T19" fmla="*/ 62 h 89"/>
                  <a:gd name="T20" fmla="*/ 124 w 128"/>
                  <a:gd name="T21" fmla="*/ 3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89">
                    <a:moveTo>
                      <a:pt x="124" y="36"/>
                    </a:moveTo>
                    <a:cubicBezTo>
                      <a:pt x="120" y="26"/>
                      <a:pt x="108" y="22"/>
                      <a:pt x="98" y="26"/>
                    </a:cubicBezTo>
                    <a:cubicBezTo>
                      <a:pt x="77" y="34"/>
                      <a:pt x="77" y="34"/>
                      <a:pt x="77" y="34"/>
                    </a:cubicBezTo>
                    <a:cubicBezTo>
                      <a:pt x="81" y="28"/>
                      <a:pt x="82" y="21"/>
                      <a:pt x="80" y="14"/>
                    </a:cubicBezTo>
                    <a:cubicBezTo>
                      <a:pt x="75" y="4"/>
                      <a:pt x="64" y="0"/>
                      <a:pt x="54" y="4"/>
                    </a:cubicBezTo>
                    <a:cubicBezTo>
                      <a:pt x="0" y="25"/>
                      <a:pt x="0" y="25"/>
                      <a:pt x="0" y="25"/>
                    </a:cubicBezTo>
                    <a:cubicBezTo>
                      <a:pt x="18" y="67"/>
                      <a:pt x="18" y="67"/>
                      <a:pt x="18" y="67"/>
                    </a:cubicBezTo>
                    <a:cubicBezTo>
                      <a:pt x="47" y="52"/>
                      <a:pt x="47" y="52"/>
                      <a:pt x="47" y="52"/>
                    </a:cubicBezTo>
                    <a:cubicBezTo>
                      <a:pt x="62" y="89"/>
                      <a:pt x="62" y="89"/>
                      <a:pt x="62" y="89"/>
                    </a:cubicBezTo>
                    <a:cubicBezTo>
                      <a:pt x="114" y="62"/>
                      <a:pt x="114" y="62"/>
                      <a:pt x="114" y="62"/>
                    </a:cubicBezTo>
                    <a:cubicBezTo>
                      <a:pt x="124" y="57"/>
                      <a:pt x="128" y="46"/>
                      <a:pt x="124" y="36"/>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57" name="Freeform 24">
                <a:extLst>
                  <a:ext uri="{FF2B5EF4-FFF2-40B4-BE49-F238E27FC236}">
                    <a16:creationId xmlns:a16="http://schemas.microsoft.com/office/drawing/2014/main" id="{4E8DC955-86BE-4099-BD11-FFAFF0272DC8}"/>
                  </a:ext>
                </a:extLst>
              </p:cNvPr>
              <p:cNvSpPr>
                <a:spLocks/>
              </p:cNvSpPr>
              <p:nvPr/>
            </p:nvSpPr>
            <p:spPr bwMode="auto">
              <a:xfrm>
                <a:off x="7433689" y="4410692"/>
                <a:ext cx="41460" cy="37549"/>
              </a:xfrm>
              <a:custGeom>
                <a:avLst/>
                <a:gdLst>
                  <a:gd name="T0" fmla="*/ 67 w 85"/>
                  <a:gd name="T1" fmla="*/ 4 h 77"/>
                  <a:gd name="T2" fmla="*/ 41 w 85"/>
                  <a:gd name="T3" fmla="*/ 9 h 77"/>
                  <a:gd name="T4" fmla="*/ 0 w 85"/>
                  <a:gd name="T5" fmla="*/ 52 h 77"/>
                  <a:gd name="T6" fmla="*/ 50 w 85"/>
                  <a:gd name="T7" fmla="*/ 77 h 77"/>
                  <a:gd name="T8" fmla="*/ 77 w 85"/>
                  <a:gd name="T9" fmla="*/ 39 h 77"/>
                  <a:gd name="T10" fmla="*/ 67 w 85"/>
                  <a:gd name="T11" fmla="*/ 4 h 77"/>
                </a:gdLst>
                <a:ahLst/>
                <a:cxnLst>
                  <a:cxn ang="0">
                    <a:pos x="T0" y="T1"/>
                  </a:cxn>
                  <a:cxn ang="0">
                    <a:pos x="T2" y="T3"/>
                  </a:cxn>
                  <a:cxn ang="0">
                    <a:pos x="T4" y="T5"/>
                  </a:cxn>
                  <a:cxn ang="0">
                    <a:pos x="T6" y="T7"/>
                  </a:cxn>
                  <a:cxn ang="0">
                    <a:pos x="T8" y="T9"/>
                  </a:cxn>
                  <a:cxn ang="0">
                    <a:pos x="T10" y="T11"/>
                  </a:cxn>
                </a:cxnLst>
                <a:rect l="0" t="0" r="r" b="b"/>
                <a:pathLst>
                  <a:path w="85" h="77">
                    <a:moveTo>
                      <a:pt x="67" y="4"/>
                    </a:moveTo>
                    <a:cubicBezTo>
                      <a:pt x="58" y="0"/>
                      <a:pt x="48" y="2"/>
                      <a:pt x="41" y="9"/>
                    </a:cubicBezTo>
                    <a:cubicBezTo>
                      <a:pt x="0" y="52"/>
                      <a:pt x="0" y="52"/>
                      <a:pt x="0" y="52"/>
                    </a:cubicBezTo>
                    <a:cubicBezTo>
                      <a:pt x="50" y="77"/>
                      <a:pt x="50" y="77"/>
                      <a:pt x="50" y="77"/>
                    </a:cubicBezTo>
                    <a:cubicBezTo>
                      <a:pt x="77" y="39"/>
                      <a:pt x="77" y="39"/>
                      <a:pt x="77" y="39"/>
                    </a:cubicBezTo>
                    <a:cubicBezTo>
                      <a:pt x="85" y="27"/>
                      <a:pt x="80" y="10"/>
                      <a:pt x="67" y="4"/>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58" name="Freeform 25">
                <a:extLst>
                  <a:ext uri="{FF2B5EF4-FFF2-40B4-BE49-F238E27FC236}">
                    <a16:creationId xmlns:a16="http://schemas.microsoft.com/office/drawing/2014/main" id="{1823A7AB-4507-48CB-A096-236B16FA4A23}"/>
                  </a:ext>
                </a:extLst>
              </p:cNvPr>
              <p:cNvSpPr>
                <a:spLocks/>
              </p:cNvSpPr>
              <p:nvPr/>
            </p:nvSpPr>
            <p:spPr bwMode="auto">
              <a:xfrm>
                <a:off x="7397314" y="4443156"/>
                <a:ext cx="134550" cy="98174"/>
              </a:xfrm>
              <a:custGeom>
                <a:avLst/>
                <a:gdLst>
                  <a:gd name="T0" fmla="*/ 275 w 277"/>
                  <a:gd name="T1" fmla="*/ 67 h 202"/>
                  <a:gd name="T2" fmla="*/ 272 w 277"/>
                  <a:gd name="T3" fmla="*/ 45 h 202"/>
                  <a:gd name="T4" fmla="*/ 246 w 277"/>
                  <a:gd name="T5" fmla="*/ 26 h 202"/>
                  <a:gd name="T6" fmla="*/ 206 w 277"/>
                  <a:gd name="T7" fmla="*/ 31 h 202"/>
                  <a:gd name="T8" fmla="*/ 205 w 277"/>
                  <a:gd name="T9" fmla="*/ 21 h 202"/>
                  <a:gd name="T10" fmla="*/ 179 w 277"/>
                  <a:gd name="T11" fmla="*/ 2 h 202"/>
                  <a:gd name="T12" fmla="*/ 26 w 277"/>
                  <a:gd name="T13" fmla="*/ 24 h 202"/>
                  <a:gd name="T14" fmla="*/ 0 w 277"/>
                  <a:gd name="T15" fmla="*/ 27 h 202"/>
                  <a:gd name="T16" fmla="*/ 1 w 277"/>
                  <a:gd name="T17" fmla="*/ 112 h 202"/>
                  <a:gd name="T18" fmla="*/ 78 w 277"/>
                  <a:gd name="T19" fmla="*/ 150 h 202"/>
                  <a:gd name="T20" fmla="*/ 150 w 277"/>
                  <a:gd name="T21" fmla="*/ 168 h 202"/>
                  <a:gd name="T22" fmla="*/ 262 w 277"/>
                  <a:gd name="T23" fmla="*/ 92 h 202"/>
                  <a:gd name="T24" fmla="*/ 275 w 277"/>
                  <a:gd name="T25" fmla="*/ 6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7" h="202">
                    <a:moveTo>
                      <a:pt x="275" y="67"/>
                    </a:moveTo>
                    <a:cubicBezTo>
                      <a:pt x="272" y="45"/>
                      <a:pt x="272" y="45"/>
                      <a:pt x="272" y="45"/>
                    </a:cubicBezTo>
                    <a:cubicBezTo>
                      <a:pt x="270" y="32"/>
                      <a:pt x="258" y="24"/>
                      <a:pt x="246" y="26"/>
                    </a:cubicBezTo>
                    <a:cubicBezTo>
                      <a:pt x="206" y="31"/>
                      <a:pt x="206" y="31"/>
                      <a:pt x="206" y="31"/>
                    </a:cubicBezTo>
                    <a:cubicBezTo>
                      <a:pt x="205" y="21"/>
                      <a:pt x="205" y="21"/>
                      <a:pt x="205" y="21"/>
                    </a:cubicBezTo>
                    <a:cubicBezTo>
                      <a:pt x="203" y="9"/>
                      <a:pt x="191" y="0"/>
                      <a:pt x="179" y="2"/>
                    </a:cubicBezTo>
                    <a:cubicBezTo>
                      <a:pt x="26" y="24"/>
                      <a:pt x="26" y="24"/>
                      <a:pt x="26" y="24"/>
                    </a:cubicBezTo>
                    <a:cubicBezTo>
                      <a:pt x="0" y="27"/>
                      <a:pt x="0" y="27"/>
                      <a:pt x="0" y="27"/>
                    </a:cubicBezTo>
                    <a:cubicBezTo>
                      <a:pt x="1" y="112"/>
                      <a:pt x="1" y="112"/>
                      <a:pt x="1" y="112"/>
                    </a:cubicBezTo>
                    <a:cubicBezTo>
                      <a:pt x="1" y="112"/>
                      <a:pt x="41" y="184"/>
                      <a:pt x="78" y="150"/>
                    </a:cubicBezTo>
                    <a:cubicBezTo>
                      <a:pt x="93" y="171"/>
                      <a:pt x="123" y="202"/>
                      <a:pt x="150" y="168"/>
                    </a:cubicBezTo>
                    <a:cubicBezTo>
                      <a:pt x="177" y="133"/>
                      <a:pt x="234" y="105"/>
                      <a:pt x="262" y="92"/>
                    </a:cubicBezTo>
                    <a:cubicBezTo>
                      <a:pt x="271" y="88"/>
                      <a:pt x="277" y="78"/>
                      <a:pt x="275" y="6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59" name="Freeform 26">
                <a:extLst>
                  <a:ext uri="{FF2B5EF4-FFF2-40B4-BE49-F238E27FC236}">
                    <a16:creationId xmlns:a16="http://schemas.microsoft.com/office/drawing/2014/main" id="{CC41F46C-7354-4D69-AB51-D28B00B45F54}"/>
                  </a:ext>
                </a:extLst>
              </p:cNvPr>
              <p:cNvSpPr>
                <a:spLocks/>
              </p:cNvSpPr>
              <p:nvPr/>
            </p:nvSpPr>
            <p:spPr bwMode="auto">
              <a:xfrm>
                <a:off x="7501746" y="5090089"/>
                <a:ext cx="226075" cy="123598"/>
              </a:xfrm>
              <a:custGeom>
                <a:avLst/>
                <a:gdLst>
                  <a:gd name="T0" fmla="*/ 17 w 464"/>
                  <a:gd name="T1" fmla="*/ 0 h 254"/>
                  <a:gd name="T2" fmla="*/ 2 w 464"/>
                  <a:gd name="T3" fmla="*/ 193 h 254"/>
                  <a:gd name="T4" fmla="*/ 59 w 464"/>
                  <a:gd name="T5" fmla="*/ 254 h 254"/>
                  <a:gd name="T6" fmla="*/ 317 w 464"/>
                  <a:gd name="T7" fmla="*/ 254 h 254"/>
                  <a:gd name="T8" fmla="*/ 439 w 464"/>
                  <a:gd name="T9" fmla="*/ 193 h 254"/>
                  <a:gd name="T10" fmla="*/ 449 w 464"/>
                  <a:gd name="T11" fmla="*/ 178 h 254"/>
                  <a:gd name="T12" fmla="*/ 443 w 464"/>
                  <a:gd name="T13" fmla="*/ 96 h 254"/>
                  <a:gd name="T14" fmla="*/ 443 w 464"/>
                  <a:gd name="T15" fmla="*/ 96 h 254"/>
                  <a:gd name="T16" fmla="*/ 428 w 464"/>
                  <a:gd name="T17" fmla="*/ 90 h 254"/>
                  <a:gd name="T18" fmla="*/ 326 w 464"/>
                  <a:gd name="T19" fmla="*/ 129 h 254"/>
                  <a:gd name="T20" fmla="*/ 279 w 464"/>
                  <a:gd name="T21" fmla="*/ 124 h 254"/>
                  <a:gd name="T22" fmla="*/ 233 w 464"/>
                  <a:gd name="T23" fmla="*/ 100 h 254"/>
                  <a:gd name="T24" fmla="*/ 196 w 464"/>
                  <a:gd name="T25" fmla="*/ 60 h 254"/>
                  <a:gd name="T26" fmla="*/ 172 w 464"/>
                  <a:gd name="T27" fmla="*/ 0 h 254"/>
                  <a:gd name="T28" fmla="*/ 17 w 464"/>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4" h="254">
                    <a:moveTo>
                      <a:pt x="17" y="0"/>
                    </a:moveTo>
                    <a:cubicBezTo>
                      <a:pt x="2" y="193"/>
                      <a:pt x="2" y="193"/>
                      <a:pt x="2" y="193"/>
                    </a:cubicBezTo>
                    <a:cubicBezTo>
                      <a:pt x="0" y="226"/>
                      <a:pt x="26" y="254"/>
                      <a:pt x="59" y="254"/>
                    </a:cubicBezTo>
                    <a:cubicBezTo>
                      <a:pt x="317" y="254"/>
                      <a:pt x="317" y="254"/>
                      <a:pt x="317" y="254"/>
                    </a:cubicBezTo>
                    <a:cubicBezTo>
                      <a:pt x="369" y="254"/>
                      <a:pt x="414" y="232"/>
                      <a:pt x="439" y="193"/>
                    </a:cubicBezTo>
                    <a:cubicBezTo>
                      <a:pt x="449" y="178"/>
                      <a:pt x="449" y="178"/>
                      <a:pt x="449" y="178"/>
                    </a:cubicBezTo>
                    <a:cubicBezTo>
                      <a:pt x="464" y="155"/>
                      <a:pt x="462" y="123"/>
                      <a:pt x="443" y="96"/>
                    </a:cubicBezTo>
                    <a:cubicBezTo>
                      <a:pt x="443" y="96"/>
                      <a:pt x="443" y="96"/>
                      <a:pt x="443" y="96"/>
                    </a:cubicBezTo>
                    <a:cubicBezTo>
                      <a:pt x="440" y="91"/>
                      <a:pt x="433" y="88"/>
                      <a:pt x="428" y="90"/>
                    </a:cubicBezTo>
                    <a:cubicBezTo>
                      <a:pt x="326" y="129"/>
                      <a:pt x="326" y="129"/>
                      <a:pt x="326" y="129"/>
                    </a:cubicBezTo>
                    <a:cubicBezTo>
                      <a:pt x="312" y="134"/>
                      <a:pt x="295" y="132"/>
                      <a:pt x="279" y="124"/>
                    </a:cubicBezTo>
                    <a:cubicBezTo>
                      <a:pt x="233" y="100"/>
                      <a:pt x="233" y="100"/>
                      <a:pt x="233" y="100"/>
                    </a:cubicBezTo>
                    <a:cubicBezTo>
                      <a:pt x="216" y="91"/>
                      <a:pt x="203" y="77"/>
                      <a:pt x="196" y="60"/>
                    </a:cubicBezTo>
                    <a:cubicBezTo>
                      <a:pt x="172" y="0"/>
                      <a:pt x="172" y="0"/>
                      <a:pt x="172" y="0"/>
                    </a:cubicBezTo>
                    <a:lnTo>
                      <a:pt x="17" y="0"/>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IN" sz="1836" dirty="0"/>
              </a:p>
            </p:txBody>
          </p:sp>
          <p:sp>
            <p:nvSpPr>
              <p:cNvPr id="460" name="Freeform 27">
                <a:extLst>
                  <a:ext uri="{FF2B5EF4-FFF2-40B4-BE49-F238E27FC236}">
                    <a16:creationId xmlns:a16="http://schemas.microsoft.com/office/drawing/2014/main" id="{2FD1361D-7B44-419B-B619-58D1E5B0500A}"/>
                  </a:ext>
                </a:extLst>
              </p:cNvPr>
              <p:cNvSpPr>
                <a:spLocks/>
              </p:cNvSpPr>
              <p:nvPr/>
            </p:nvSpPr>
            <p:spPr bwMode="auto">
              <a:xfrm>
                <a:off x="6605662" y="4234291"/>
                <a:ext cx="808471" cy="828810"/>
              </a:xfrm>
              <a:custGeom>
                <a:avLst/>
                <a:gdLst>
                  <a:gd name="T0" fmla="*/ 1557 w 1661"/>
                  <a:gd name="T1" fmla="*/ 1393 h 1705"/>
                  <a:gd name="T2" fmla="*/ 1661 w 1661"/>
                  <a:gd name="T3" fmla="*/ 919 h 1705"/>
                  <a:gd name="T4" fmla="*/ 1090 w 1661"/>
                  <a:gd name="T5" fmla="*/ 919 h 1705"/>
                  <a:gd name="T6" fmla="*/ 1009 w 1661"/>
                  <a:gd name="T7" fmla="*/ 847 h 1705"/>
                  <a:gd name="T8" fmla="*/ 992 w 1661"/>
                  <a:gd name="T9" fmla="*/ 709 h 1705"/>
                  <a:gd name="T10" fmla="*/ 1028 w 1661"/>
                  <a:gd name="T11" fmla="*/ 526 h 1705"/>
                  <a:gd name="T12" fmla="*/ 1064 w 1661"/>
                  <a:gd name="T13" fmla="*/ 341 h 1705"/>
                  <a:gd name="T14" fmla="*/ 1040 w 1661"/>
                  <a:gd name="T15" fmla="*/ 134 h 1705"/>
                  <a:gd name="T16" fmla="*/ 889 w 1661"/>
                  <a:gd name="T17" fmla="*/ 0 h 1705"/>
                  <a:gd name="T18" fmla="*/ 702 w 1661"/>
                  <a:gd name="T19" fmla="*/ 0 h 1705"/>
                  <a:gd name="T20" fmla="*/ 654 w 1661"/>
                  <a:gd name="T21" fmla="*/ 24 h 1705"/>
                  <a:gd name="T22" fmla="*/ 566 w 1661"/>
                  <a:gd name="T23" fmla="*/ 0 h 1705"/>
                  <a:gd name="T24" fmla="*/ 253 w 1661"/>
                  <a:gd name="T25" fmla="*/ 0 h 1705"/>
                  <a:gd name="T26" fmla="*/ 213 w 1661"/>
                  <a:gd name="T27" fmla="*/ 0 h 1705"/>
                  <a:gd name="T28" fmla="*/ 66 w 1661"/>
                  <a:gd name="T29" fmla="*/ 0 h 1705"/>
                  <a:gd name="T30" fmla="*/ 4 w 1661"/>
                  <a:gd name="T31" fmla="*/ 69 h 1705"/>
                  <a:gd name="T32" fmla="*/ 192 w 1661"/>
                  <a:gd name="T33" fmla="*/ 1628 h 1705"/>
                  <a:gd name="T34" fmla="*/ 279 w 1661"/>
                  <a:gd name="T35" fmla="*/ 1705 h 1705"/>
                  <a:gd name="T36" fmla="*/ 916 w 1661"/>
                  <a:gd name="T37" fmla="*/ 1705 h 1705"/>
                  <a:gd name="T38" fmla="*/ 962 w 1661"/>
                  <a:gd name="T39" fmla="*/ 1705 h 1705"/>
                  <a:gd name="T40" fmla="*/ 1599 w 1661"/>
                  <a:gd name="T41" fmla="*/ 1705 h 1705"/>
                  <a:gd name="T42" fmla="*/ 1561 w 1661"/>
                  <a:gd name="T43" fmla="*/ 1393 h 1705"/>
                  <a:gd name="T44" fmla="*/ 1557 w 1661"/>
                  <a:gd name="T45" fmla="*/ 1393 h 1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61" h="1705">
                    <a:moveTo>
                      <a:pt x="1557" y="1393"/>
                    </a:moveTo>
                    <a:cubicBezTo>
                      <a:pt x="1661" y="919"/>
                      <a:pt x="1661" y="919"/>
                      <a:pt x="1661" y="919"/>
                    </a:cubicBezTo>
                    <a:cubicBezTo>
                      <a:pt x="1090" y="919"/>
                      <a:pt x="1090" y="919"/>
                      <a:pt x="1090" y="919"/>
                    </a:cubicBezTo>
                    <a:cubicBezTo>
                      <a:pt x="1050" y="919"/>
                      <a:pt x="1014" y="887"/>
                      <a:pt x="1009" y="847"/>
                    </a:cubicBezTo>
                    <a:cubicBezTo>
                      <a:pt x="992" y="709"/>
                      <a:pt x="992" y="709"/>
                      <a:pt x="992" y="709"/>
                    </a:cubicBezTo>
                    <a:cubicBezTo>
                      <a:pt x="984" y="643"/>
                      <a:pt x="996" y="579"/>
                      <a:pt x="1028" y="526"/>
                    </a:cubicBezTo>
                    <a:cubicBezTo>
                      <a:pt x="1060" y="472"/>
                      <a:pt x="1072" y="407"/>
                      <a:pt x="1064" y="341"/>
                    </a:cubicBezTo>
                    <a:cubicBezTo>
                      <a:pt x="1040" y="134"/>
                      <a:pt x="1040" y="134"/>
                      <a:pt x="1040" y="134"/>
                    </a:cubicBezTo>
                    <a:cubicBezTo>
                      <a:pt x="1031" y="60"/>
                      <a:pt x="963" y="0"/>
                      <a:pt x="889" y="0"/>
                    </a:cubicBezTo>
                    <a:cubicBezTo>
                      <a:pt x="702" y="0"/>
                      <a:pt x="702" y="0"/>
                      <a:pt x="702" y="0"/>
                    </a:cubicBezTo>
                    <a:cubicBezTo>
                      <a:pt x="682" y="0"/>
                      <a:pt x="665" y="9"/>
                      <a:pt x="654" y="24"/>
                    </a:cubicBezTo>
                    <a:cubicBezTo>
                      <a:pt x="628" y="9"/>
                      <a:pt x="598" y="0"/>
                      <a:pt x="566" y="0"/>
                    </a:cubicBezTo>
                    <a:cubicBezTo>
                      <a:pt x="253" y="0"/>
                      <a:pt x="253" y="0"/>
                      <a:pt x="253" y="0"/>
                    </a:cubicBezTo>
                    <a:cubicBezTo>
                      <a:pt x="213" y="0"/>
                      <a:pt x="213" y="0"/>
                      <a:pt x="213" y="0"/>
                    </a:cubicBezTo>
                    <a:cubicBezTo>
                      <a:pt x="66" y="0"/>
                      <a:pt x="66" y="0"/>
                      <a:pt x="66" y="0"/>
                    </a:cubicBezTo>
                    <a:cubicBezTo>
                      <a:pt x="29" y="0"/>
                      <a:pt x="0" y="32"/>
                      <a:pt x="4" y="69"/>
                    </a:cubicBezTo>
                    <a:cubicBezTo>
                      <a:pt x="192" y="1628"/>
                      <a:pt x="192" y="1628"/>
                      <a:pt x="192" y="1628"/>
                    </a:cubicBezTo>
                    <a:cubicBezTo>
                      <a:pt x="197" y="1672"/>
                      <a:pt x="235" y="1705"/>
                      <a:pt x="279" y="1705"/>
                    </a:cubicBezTo>
                    <a:cubicBezTo>
                      <a:pt x="916" y="1705"/>
                      <a:pt x="916" y="1705"/>
                      <a:pt x="916" y="1705"/>
                    </a:cubicBezTo>
                    <a:cubicBezTo>
                      <a:pt x="962" y="1705"/>
                      <a:pt x="962" y="1705"/>
                      <a:pt x="962" y="1705"/>
                    </a:cubicBezTo>
                    <a:cubicBezTo>
                      <a:pt x="1599" y="1705"/>
                      <a:pt x="1599" y="1705"/>
                      <a:pt x="1599" y="1705"/>
                    </a:cubicBezTo>
                    <a:cubicBezTo>
                      <a:pt x="1561" y="1393"/>
                      <a:pt x="1561" y="1393"/>
                      <a:pt x="1561" y="1393"/>
                    </a:cubicBezTo>
                    <a:lnTo>
                      <a:pt x="1557" y="139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61" name="Freeform 28">
                <a:extLst>
                  <a:ext uri="{FF2B5EF4-FFF2-40B4-BE49-F238E27FC236}">
                    <a16:creationId xmlns:a16="http://schemas.microsoft.com/office/drawing/2014/main" id="{3F5E48FA-655C-4661-A2BC-0DFB4A4C4025}"/>
                  </a:ext>
                </a:extLst>
              </p:cNvPr>
              <p:cNvSpPr>
                <a:spLocks/>
              </p:cNvSpPr>
              <p:nvPr/>
            </p:nvSpPr>
            <p:spPr bwMode="auto">
              <a:xfrm>
                <a:off x="7038254" y="4234291"/>
                <a:ext cx="165058" cy="446673"/>
              </a:xfrm>
              <a:custGeom>
                <a:avLst/>
                <a:gdLst>
                  <a:gd name="T0" fmla="*/ 339 w 339"/>
                  <a:gd name="T1" fmla="*/ 919 h 919"/>
                  <a:gd name="T2" fmla="*/ 288 w 339"/>
                  <a:gd name="T3" fmla="*/ 919 h 919"/>
                  <a:gd name="T4" fmla="*/ 207 w 339"/>
                  <a:gd name="T5" fmla="*/ 847 h 919"/>
                  <a:gd name="T6" fmla="*/ 190 w 339"/>
                  <a:gd name="T7" fmla="*/ 709 h 919"/>
                  <a:gd name="T8" fmla="*/ 226 w 339"/>
                  <a:gd name="T9" fmla="*/ 526 h 919"/>
                  <a:gd name="T10" fmla="*/ 263 w 339"/>
                  <a:gd name="T11" fmla="*/ 341 h 919"/>
                  <a:gd name="T12" fmla="*/ 238 w 339"/>
                  <a:gd name="T13" fmla="*/ 134 h 919"/>
                  <a:gd name="T14" fmla="*/ 87 w 339"/>
                  <a:gd name="T15" fmla="*/ 0 h 919"/>
                  <a:gd name="T16" fmla="*/ 0 w 339"/>
                  <a:gd name="T17" fmla="*/ 0 h 919"/>
                  <a:gd name="T18" fmla="*/ 151 w 339"/>
                  <a:gd name="T19" fmla="*/ 134 h 919"/>
                  <a:gd name="T20" fmla="*/ 175 w 339"/>
                  <a:gd name="T21" fmla="*/ 341 h 919"/>
                  <a:gd name="T22" fmla="*/ 139 w 339"/>
                  <a:gd name="T23" fmla="*/ 526 h 919"/>
                  <a:gd name="T24" fmla="*/ 103 w 339"/>
                  <a:gd name="T25" fmla="*/ 709 h 919"/>
                  <a:gd name="T26" fmla="*/ 120 w 339"/>
                  <a:gd name="T27" fmla="*/ 847 h 919"/>
                  <a:gd name="T28" fmla="*/ 201 w 339"/>
                  <a:gd name="T29" fmla="*/ 919 h 919"/>
                  <a:gd name="T30" fmla="*/ 339 w 339"/>
                  <a:gd name="T31"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9" h="919">
                    <a:moveTo>
                      <a:pt x="339" y="919"/>
                    </a:moveTo>
                    <a:cubicBezTo>
                      <a:pt x="288" y="919"/>
                      <a:pt x="288" y="919"/>
                      <a:pt x="288" y="919"/>
                    </a:cubicBezTo>
                    <a:cubicBezTo>
                      <a:pt x="248" y="919"/>
                      <a:pt x="212" y="887"/>
                      <a:pt x="207" y="847"/>
                    </a:cubicBezTo>
                    <a:cubicBezTo>
                      <a:pt x="190" y="709"/>
                      <a:pt x="190" y="709"/>
                      <a:pt x="190" y="709"/>
                    </a:cubicBezTo>
                    <a:cubicBezTo>
                      <a:pt x="183" y="643"/>
                      <a:pt x="195" y="579"/>
                      <a:pt x="226" y="526"/>
                    </a:cubicBezTo>
                    <a:cubicBezTo>
                      <a:pt x="258" y="472"/>
                      <a:pt x="271" y="407"/>
                      <a:pt x="263" y="341"/>
                    </a:cubicBezTo>
                    <a:cubicBezTo>
                      <a:pt x="238" y="134"/>
                      <a:pt x="238" y="134"/>
                      <a:pt x="238" y="134"/>
                    </a:cubicBezTo>
                    <a:cubicBezTo>
                      <a:pt x="229" y="60"/>
                      <a:pt x="162" y="0"/>
                      <a:pt x="87" y="0"/>
                    </a:cubicBezTo>
                    <a:cubicBezTo>
                      <a:pt x="0" y="0"/>
                      <a:pt x="0" y="0"/>
                      <a:pt x="0" y="0"/>
                    </a:cubicBezTo>
                    <a:cubicBezTo>
                      <a:pt x="74" y="0"/>
                      <a:pt x="142" y="60"/>
                      <a:pt x="151" y="134"/>
                    </a:cubicBezTo>
                    <a:cubicBezTo>
                      <a:pt x="175" y="341"/>
                      <a:pt x="175" y="341"/>
                      <a:pt x="175" y="341"/>
                    </a:cubicBezTo>
                    <a:cubicBezTo>
                      <a:pt x="183" y="407"/>
                      <a:pt x="171" y="472"/>
                      <a:pt x="139" y="526"/>
                    </a:cubicBezTo>
                    <a:cubicBezTo>
                      <a:pt x="107" y="579"/>
                      <a:pt x="95" y="643"/>
                      <a:pt x="103" y="709"/>
                    </a:cubicBezTo>
                    <a:cubicBezTo>
                      <a:pt x="120" y="847"/>
                      <a:pt x="120" y="847"/>
                      <a:pt x="120" y="847"/>
                    </a:cubicBezTo>
                    <a:cubicBezTo>
                      <a:pt x="125" y="887"/>
                      <a:pt x="161" y="919"/>
                      <a:pt x="201" y="919"/>
                    </a:cubicBezTo>
                    <a:cubicBezTo>
                      <a:pt x="339" y="919"/>
                      <a:pt x="339" y="919"/>
                      <a:pt x="339" y="919"/>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62" name="Freeform 29">
                <a:extLst>
                  <a:ext uri="{FF2B5EF4-FFF2-40B4-BE49-F238E27FC236}">
                    <a16:creationId xmlns:a16="http://schemas.microsoft.com/office/drawing/2014/main" id="{92ECE178-9FD7-40EA-AC22-2BEDC18BF5E6}"/>
                  </a:ext>
                </a:extLst>
              </p:cNvPr>
              <p:cNvSpPr>
                <a:spLocks/>
              </p:cNvSpPr>
              <p:nvPr/>
            </p:nvSpPr>
            <p:spPr bwMode="auto">
              <a:xfrm>
                <a:off x="6728868" y="4234291"/>
                <a:ext cx="140026" cy="446673"/>
              </a:xfrm>
              <a:custGeom>
                <a:avLst/>
                <a:gdLst>
                  <a:gd name="T0" fmla="*/ 150 w 288"/>
                  <a:gd name="T1" fmla="*/ 134 h 919"/>
                  <a:gd name="T2" fmla="*/ 175 w 288"/>
                  <a:gd name="T3" fmla="*/ 341 h 919"/>
                  <a:gd name="T4" fmla="*/ 138 w 288"/>
                  <a:gd name="T5" fmla="*/ 526 h 919"/>
                  <a:gd name="T6" fmla="*/ 103 w 288"/>
                  <a:gd name="T7" fmla="*/ 709 h 919"/>
                  <a:gd name="T8" fmla="*/ 119 w 288"/>
                  <a:gd name="T9" fmla="*/ 847 h 919"/>
                  <a:gd name="T10" fmla="*/ 200 w 288"/>
                  <a:gd name="T11" fmla="*/ 919 h 919"/>
                  <a:gd name="T12" fmla="*/ 288 w 288"/>
                  <a:gd name="T13" fmla="*/ 919 h 919"/>
                  <a:gd name="T14" fmla="*/ 207 w 288"/>
                  <a:gd name="T15" fmla="*/ 847 h 919"/>
                  <a:gd name="T16" fmla="*/ 190 w 288"/>
                  <a:gd name="T17" fmla="*/ 709 h 919"/>
                  <a:gd name="T18" fmla="*/ 226 w 288"/>
                  <a:gd name="T19" fmla="*/ 526 h 919"/>
                  <a:gd name="T20" fmla="*/ 262 w 288"/>
                  <a:gd name="T21" fmla="*/ 341 h 919"/>
                  <a:gd name="T22" fmla="*/ 237 w 288"/>
                  <a:gd name="T23" fmla="*/ 134 h 919"/>
                  <a:gd name="T24" fmla="*/ 87 w 288"/>
                  <a:gd name="T25" fmla="*/ 0 h 919"/>
                  <a:gd name="T26" fmla="*/ 0 w 288"/>
                  <a:gd name="T27" fmla="*/ 0 h 919"/>
                  <a:gd name="T28" fmla="*/ 150 w 288"/>
                  <a:gd name="T29" fmla="*/ 134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919">
                    <a:moveTo>
                      <a:pt x="150" y="134"/>
                    </a:moveTo>
                    <a:cubicBezTo>
                      <a:pt x="175" y="341"/>
                      <a:pt x="175" y="341"/>
                      <a:pt x="175" y="341"/>
                    </a:cubicBezTo>
                    <a:cubicBezTo>
                      <a:pt x="183" y="407"/>
                      <a:pt x="170" y="472"/>
                      <a:pt x="138" y="526"/>
                    </a:cubicBezTo>
                    <a:cubicBezTo>
                      <a:pt x="107" y="579"/>
                      <a:pt x="95" y="643"/>
                      <a:pt x="103" y="709"/>
                    </a:cubicBezTo>
                    <a:cubicBezTo>
                      <a:pt x="119" y="847"/>
                      <a:pt x="119" y="847"/>
                      <a:pt x="119" y="847"/>
                    </a:cubicBezTo>
                    <a:cubicBezTo>
                      <a:pt x="124" y="887"/>
                      <a:pt x="160" y="919"/>
                      <a:pt x="200" y="919"/>
                    </a:cubicBezTo>
                    <a:cubicBezTo>
                      <a:pt x="288" y="919"/>
                      <a:pt x="288" y="919"/>
                      <a:pt x="288" y="919"/>
                    </a:cubicBezTo>
                    <a:cubicBezTo>
                      <a:pt x="248" y="919"/>
                      <a:pt x="211" y="887"/>
                      <a:pt x="207" y="847"/>
                    </a:cubicBezTo>
                    <a:cubicBezTo>
                      <a:pt x="190" y="709"/>
                      <a:pt x="190" y="709"/>
                      <a:pt x="190" y="709"/>
                    </a:cubicBezTo>
                    <a:cubicBezTo>
                      <a:pt x="182" y="643"/>
                      <a:pt x="194" y="579"/>
                      <a:pt x="226" y="526"/>
                    </a:cubicBezTo>
                    <a:cubicBezTo>
                      <a:pt x="257" y="472"/>
                      <a:pt x="270" y="407"/>
                      <a:pt x="262" y="341"/>
                    </a:cubicBezTo>
                    <a:cubicBezTo>
                      <a:pt x="237" y="134"/>
                      <a:pt x="237" y="134"/>
                      <a:pt x="237" y="134"/>
                    </a:cubicBezTo>
                    <a:cubicBezTo>
                      <a:pt x="229" y="60"/>
                      <a:pt x="161" y="0"/>
                      <a:pt x="87" y="0"/>
                    </a:cubicBezTo>
                    <a:cubicBezTo>
                      <a:pt x="0" y="0"/>
                      <a:pt x="0" y="0"/>
                      <a:pt x="0" y="0"/>
                    </a:cubicBezTo>
                    <a:cubicBezTo>
                      <a:pt x="74" y="0"/>
                      <a:pt x="141" y="60"/>
                      <a:pt x="150" y="13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63" name="Freeform 30">
                <a:extLst>
                  <a:ext uri="{FF2B5EF4-FFF2-40B4-BE49-F238E27FC236}">
                    <a16:creationId xmlns:a16="http://schemas.microsoft.com/office/drawing/2014/main" id="{9E18B5F2-4FE0-4E61-B82B-B69001DC4686}"/>
                  </a:ext>
                </a:extLst>
              </p:cNvPr>
              <p:cNvSpPr>
                <a:spLocks/>
              </p:cNvSpPr>
              <p:nvPr/>
            </p:nvSpPr>
            <p:spPr bwMode="auto">
              <a:xfrm>
                <a:off x="6917786" y="4358672"/>
                <a:ext cx="512384" cy="407169"/>
              </a:xfrm>
              <a:custGeom>
                <a:avLst/>
                <a:gdLst>
                  <a:gd name="T0" fmla="*/ 940 w 1053"/>
                  <a:gd name="T1" fmla="*/ 372 h 838"/>
                  <a:gd name="T2" fmla="*/ 844 w 1053"/>
                  <a:gd name="T3" fmla="*/ 378 h 838"/>
                  <a:gd name="T4" fmla="*/ 743 w 1053"/>
                  <a:gd name="T5" fmla="*/ 207 h 838"/>
                  <a:gd name="T6" fmla="*/ 680 w 1053"/>
                  <a:gd name="T7" fmla="*/ 31 h 838"/>
                  <a:gd name="T8" fmla="*/ 651 w 1053"/>
                  <a:gd name="T9" fmla="*/ 0 h 838"/>
                  <a:gd name="T10" fmla="*/ 425 w 1053"/>
                  <a:gd name="T11" fmla="*/ 0 h 838"/>
                  <a:gd name="T12" fmla="*/ 1 w 1053"/>
                  <a:gd name="T13" fmla="*/ 602 h 838"/>
                  <a:gd name="T14" fmla="*/ 2 w 1053"/>
                  <a:gd name="T15" fmla="*/ 729 h 838"/>
                  <a:gd name="T16" fmla="*/ 165 w 1053"/>
                  <a:gd name="T17" fmla="*/ 838 h 838"/>
                  <a:gd name="T18" fmla="*/ 670 w 1053"/>
                  <a:gd name="T19" fmla="*/ 838 h 838"/>
                  <a:gd name="T20" fmla="*/ 631 w 1053"/>
                  <a:gd name="T21" fmla="*/ 683 h 838"/>
                  <a:gd name="T22" fmla="*/ 639 w 1053"/>
                  <a:gd name="T23" fmla="*/ 444 h 838"/>
                  <a:gd name="T24" fmla="*/ 834 w 1053"/>
                  <a:gd name="T25" fmla="*/ 663 h 838"/>
                  <a:gd name="T26" fmla="*/ 971 w 1053"/>
                  <a:gd name="T27" fmla="*/ 663 h 838"/>
                  <a:gd name="T28" fmla="*/ 1053 w 1053"/>
                  <a:gd name="T29" fmla="*/ 402 h 838"/>
                  <a:gd name="T30" fmla="*/ 940 w 1053"/>
                  <a:gd name="T31" fmla="*/ 372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3" h="838">
                    <a:moveTo>
                      <a:pt x="940" y="372"/>
                    </a:moveTo>
                    <a:cubicBezTo>
                      <a:pt x="844" y="378"/>
                      <a:pt x="844" y="378"/>
                      <a:pt x="844" y="378"/>
                    </a:cubicBezTo>
                    <a:cubicBezTo>
                      <a:pt x="743" y="207"/>
                      <a:pt x="743" y="207"/>
                      <a:pt x="743" y="207"/>
                    </a:cubicBezTo>
                    <a:cubicBezTo>
                      <a:pt x="748" y="144"/>
                      <a:pt x="727" y="80"/>
                      <a:pt x="680" y="31"/>
                    </a:cubicBezTo>
                    <a:cubicBezTo>
                      <a:pt x="651" y="0"/>
                      <a:pt x="651" y="0"/>
                      <a:pt x="651" y="0"/>
                    </a:cubicBezTo>
                    <a:cubicBezTo>
                      <a:pt x="425" y="0"/>
                      <a:pt x="425" y="0"/>
                      <a:pt x="425" y="0"/>
                    </a:cubicBezTo>
                    <a:cubicBezTo>
                      <a:pt x="93" y="119"/>
                      <a:pt x="0" y="501"/>
                      <a:pt x="1" y="602"/>
                    </a:cubicBezTo>
                    <a:cubicBezTo>
                      <a:pt x="2" y="729"/>
                      <a:pt x="2" y="729"/>
                      <a:pt x="2" y="729"/>
                    </a:cubicBezTo>
                    <a:cubicBezTo>
                      <a:pt x="165" y="838"/>
                      <a:pt x="165" y="838"/>
                      <a:pt x="165" y="838"/>
                    </a:cubicBezTo>
                    <a:cubicBezTo>
                      <a:pt x="670" y="838"/>
                      <a:pt x="670" y="838"/>
                      <a:pt x="670" y="838"/>
                    </a:cubicBezTo>
                    <a:cubicBezTo>
                      <a:pt x="631" y="683"/>
                      <a:pt x="631" y="683"/>
                      <a:pt x="631" y="683"/>
                    </a:cubicBezTo>
                    <a:cubicBezTo>
                      <a:pt x="610" y="604"/>
                      <a:pt x="614" y="521"/>
                      <a:pt x="639" y="444"/>
                    </a:cubicBezTo>
                    <a:cubicBezTo>
                      <a:pt x="834" y="663"/>
                      <a:pt x="834" y="663"/>
                      <a:pt x="834" y="663"/>
                    </a:cubicBezTo>
                    <a:cubicBezTo>
                      <a:pt x="971" y="663"/>
                      <a:pt x="971" y="663"/>
                      <a:pt x="971" y="663"/>
                    </a:cubicBezTo>
                    <a:cubicBezTo>
                      <a:pt x="1053" y="402"/>
                      <a:pt x="1053" y="402"/>
                      <a:pt x="1053" y="402"/>
                    </a:cubicBezTo>
                    <a:lnTo>
                      <a:pt x="940" y="372"/>
                    </a:ln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64" name="Freeform 31">
                <a:extLst>
                  <a:ext uri="{FF2B5EF4-FFF2-40B4-BE49-F238E27FC236}">
                    <a16:creationId xmlns:a16="http://schemas.microsoft.com/office/drawing/2014/main" id="{0FB13C1A-CC0A-445D-80F2-6E2D52FB9697}"/>
                  </a:ext>
                </a:extLst>
              </p:cNvPr>
              <p:cNvSpPr>
                <a:spLocks/>
              </p:cNvSpPr>
              <p:nvPr/>
            </p:nvSpPr>
            <p:spPr bwMode="auto">
              <a:xfrm>
                <a:off x="6962375" y="4917208"/>
                <a:ext cx="328160" cy="57888"/>
              </a:xfrm>
              <a:custGeom>
                <a:avLst/>
                <a:gdLst>
                  <a:gd name="T0" fmla="*/ 0 w 674"/>
                  <a:gd name="T1" fmla="*/ 0 h 119"/>
                  <a:gd name="T2" fmla="*/ 0 w 674"/>
                  <a:gd name="T3" fmla="*/ 9 h 119"/>
                  <a:gd name="T4" fmla="*/ 12 w 674"/>
                  <a:gd name="T5" fmla="*/ 119 h 119"/>
                  <a:gd name="T6" fmla="*/ 674 w 674"/>
                  <a:gd name="T7" fmla="*/ 0 h 119"/>
                  <a:gd name="T8" fmla="*/ 0 w 674"/>
                  <a:gd name="T9" fmla="*/ 0 h 119"/>
                </a:gdLst>
                <a:ahLst/>
                <a:cxnLst>
                  <a:cxn ang="0">
                    <a:pos x="T0" y="T1"/>
                  </a:cxn>
                  <a:cxn ang="0">
                    <a:pos x="T2" y="T3"/>
                  </a:cxn>
                  <a:cxn ang="0">
                    <a:pos x="T4" y="T5"/>
                  </a:cxn>
                  <a:cxn ang="0">
                    <a:pos x="T6" y="T7"/>
                  </a:cxn>
                  <a:cxn ang="0">
                    <a:pos x="T8" y="T9"/>
                  </a:cxn>
                </a:cxnLst>
                <a:rect l="0" t="0" r="r" b="b"/>
                <a:pathLst>
                  <a:path w="674" h="119">
                    <a:moveTo>
                      <a:pt x="0" y="0"/>
                    </a:moveTo>
                    <a:cubicBezTo>
                      <a:pt x="0" y="3"/>
                      <a:pt x="0" y="6"/>
                      <a:pt x="0" y="9"/>
                    </a:cubicBezTo>
                    <a:cubicBezTo>
                      <a:pt x="12" y="119"/>
                      <a:pt x="12" y="119"/>
                      <a:pt x="12" y="119"/>
                    </a:cubicBezTo>
                    <a:cubicBezTo>
                      <a:pt x="674" y="0"/>
                      <a:pt x="674" y="0"/>
                      <a:pt x="674" y="0"/>
                    </a:cubicBezTo>
                    <a:lnTo>
                      <a:pt x="0"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65" name="Freeform 32">
                <a:extLst>
                  <a:ext uri="{FF2B5EF4-FFF2-40B4-BE49-F238E27FC236}">
                    <a16:creationId xmlns:a16="http://schemas.microsoft.com/office/drawing/2014/main" id="{6CE2E258-E57A-49BC-BF16-C6C703FB3C2E}"/>
                  </a:ext>
                </a:extLst>
              </p:cNvPr>
              <p:cNvSpPr>
                <a:spLocks/>
              </p:cNvSpPr>
              <p:nvPr/>
            </p:nvSpPr>
            <p:spPr bwMode="auto">
              <a:xfrm>
                <a:off x="6912701" y="4680965"/>
                <a:ext cx="566360" cy="382137"/>
              </a:xfrm>
              <a:custGeom>
                <a:avLst/>
                <a:gdLst>
                  <a:gd name="T0" fmla="*/ 1111 w 1163"/>
                  <a:gd name="T1" fmla="*/ 133 h 786"/>
                  <a:gd name="T2" fmla="*/ 1163 w 1163"/>
                  <a:gd name="T3" fmla="*/ 82 h 786"/>
                  <a:gd name="T4" fmla="*/ 1163 w 1163"/>
                  <a:gd name="T5" fmla="*/ 52 h 786"/>
                  <a:gd name="T6" fmla="*/ 1111 w 1163"/>
                  <a:gd name="T7" fmla="*/ 0 h 786"/>
                  <a:gd name="T8" fmla="*/ 1001 w 1163"/>
                  <a:gd name="T9" fmla="*/ 0 h 786"/>
                  <a:gd name="T10" fmla="*/ 926 w 1163"/>
                  <a:gd name="T11" fmla="*/ 68 h 786"/>
                  <a:gd name="T12" fmla="*/ 900 w 1163"/>
                  <a:gd name="T13" fmla="*/ 299 h 786"/>
                  <a:gd name="T14" fmla="*/ 263 w 1163"/>
                  <a:gd name="T15" fmla="*/ 299 h 786"/>
                  <a:gd name="T16" fmla="*/ 237 w 1163"/>
                  <a:gd name="T17" fmla="*/ 68 h 786"/>
                  <a:gd name="T18" fmla="*/ 161 w 1163"/>
                  <a:gd name="T19" fmla="*/ 0 h 786"/>
                  <a:gd name="T20" fmla="*/ 52 w 1163"/>
                  <a:gd name="T21" fmla="*/ 0 h 786"/>
                  <a:gd name="T22" fmla="*/ 0 w 1163"/>
                  <a:gd name="T23" fmla="*/ 52 h 786"/>
                  <a:gd name="T24" fmla="*/ 0 w 1163"/>
                  <a:gd name="T25" fmla="*/ 82 h 786"/>
                  <a:gd name="T26" fmla="*/ 52 w 1163"/>
                  <a:gd name="T27" fmla="*/ 133 h 786"/>
                  <a:gd name="T28" fmla="*/ 103 w 1163"/>
                  <a:gd name="T29" fmla="*/ 179 h 786"/>
                  <a:gd name="T30" fmla="*/ 116 w 1163"/>
                  <a:gd name="T31" fmla="*/ 299 h 786"/>
                  <a:gd name="T32" fmla="*/ 91 w 1163"/>
                  <a:gd name="T33" fmla="*/ 299 h 786"/>
                  <a:gd name="T34" fmla="*/ 58 w 1163"/>
                  <a:gd name="T35" fmla="*/ 332 h 786"/>
                  <a:gd name="T36" fmla="*/ 58 w 1163"/>
                  <a:gd name="T37" fmla="*/ 454 h 786"/>
                  <a:gd name="T38" fmla="*/ 91 w 1163"/>
                  <a:gd name="T39" fmla="*/ 486 h 786"/>
                  <a:gd name="T40" fmla="*/ 102 w 1163"/>
                  <a:gd name="T41" fmla="*/ 486 h 786"/>
                  <a:gd name="T42" fmla="*/ 776 w 1163"/>
                  <a:gd name="T43" fmla="*/ 486 h 786"/>
                  <a:gd name="T44" fmla="*/ 114 w 1163"/>
                  <a:gd name="T45" fmla="*/ 605 h 786"/>
                  <a:gd name="T46" fmla="*/ 130 w 1163"/>
                  <a:gd name="T47" fmla="*/ 759 h 786"/>
                  <a:gd name="T48" fmla="*/ 159 w 1163"/>
                  <a:gd name="T49" fmla="*/ 786 h 786"/>
                  <a:gd name="T50" fmla="*/ 1062 w 1163"/>
                  <a:gd name="T51" fmla="*/ 786 h 786"/>
                  <a:gd name="T52" fmla="*/ 1090 w 1163"/>
                  <a:gd name="T53" fmla="*/ 759 h 786"/>
                  <a:gd name="T54" fmla="*/ 1119 w 1163"/>
                  <a:gd name="T55" fmla="*/ 495 h 786"/>
                  <a:gd name="T56" fmla="*/ 1118 w 1163"/>
                  <a:gd name="T57" fmla="*/ 486 h 786"/>
                  <a:gd name="T58" fmla="*/ 1130 w 1163"/>
                  <a:gd name="T59" fmla="*/ 486 h 786"/>
                  <a:gd name="T60" fmla="*/ 1163 w 1163"/>
                  <a:gd name="T61" fmla="*/ 454 h 786"/>
                  <a:gd name="T62" fmla="*/ 1163 w 1163"/>
                  <a:gd name="T63" fmla="*/ 332 h 786"/>
                  <a:gd name="T64" fmla="*/ 1130 w 1163"/>
                  <a:gd name="T65" fmla="*/ 299 h 786"/>
                  <a:gd name="T66" fmla="*/ 1046 w 1163"/>
                  <a:gd name="T67" fmla="*/ 299 h 786"/>
                  <a:gd name="T68" fmla="*/ 1060 w 1163"/>
                  <a:gd name="T69" fmla="*/ 179 h 786"/>
                  <a:gd name="T70" fmla="*/ 1111 w 1163"/>
                  <a:gd name="T71" fmla="*/ 133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3" h="786">
                    <a:moveTo>
                      <a:pt x="1111" y="133"/>
                    </a:moveTo>
                    <a:cubicBezTo>
                      <a:pt x="1139" y="133"/>
                      <a:pt x="1163" y="110"/>
                      <a:pt x="1163" y="82"/>
                    </a:cubicBezTo>
                    <a:cubicBezTo>
                      <a:pt x="1163" y="52"/>
                      <a:pt x="1163" y="52"/>
                      <a:pt x="1163" y="52"/>
                    </a:cubicBezTo>
                    <a:cubicBezTo>
                      <a:pt x="1163" y="23"/>
                      <a:pt x="1139" y="0"/>
                      <a:pt x="1111" y="0"/>
                    </a:cubicBezTo>
                    <a:cubicBezTo>
                      <a:pt x="1001" y="0"/>
                      <a:pt x="1001" y="0"/>
                      <a:pt x="1001" y="0"/>
                    </a:cubicBezTo>
                    <a:cubicBezTo>
                      <a:pt x="962" y="0"/>
                      <a:pt x="930" y="29"/>
                      <a:pt x="926" y="68"/>
                    </a:cubicBezTo>
                    <a:cubicBezTo>
                      <a:pt x="900" y="299"/>
                      <a:pt x="900" y="299"/>
                      <a:pt x="900" y="299"/>
                    </a:cubicBezTo>
                    <a:cubicBezTo>
                      <a:pt x="263" y="299"/>
                      <a:pt x="263" y="299"/>
                      <a:pt x="263" y="299"/>
                    </a:cubicBezTo>
                    <a:cubicBezTo>
                      <a:pt x="237" y="68"/>
                      <a:pt x="237" y="68"/>
                      <a:pt x="237" y="68"/>
                    </a:cubicBezTo>
                    <a:cubicBezTo>
                      <a:pt x="233" y="29"/>
                      <a:pt x="200" y="0"/>
                      <a:pt x="161" y="0"/>
                    </a:cubicBezTo>
                    <a:cubicBezTo>
                      <a:pt x="52" y="0"/>
                      <a:pt x="52" y="0"/>
                      <a:pt x="52" y="0"/>
                    </a:cubicBezTo>
                    <a:cubicBezTo>
                      <a:pt x="23" y="0"/>
                      <a:pt x="0" y="23"/>
                      <a:pt x="0" y="52"/>
                    </a:cubicBezTo>
                    <a:cubicBezTo>
                      <a:pt x="0" y="82"/>
                      <a:pt x="0" y="82"/>
                      <a:pt x="0" y="82"/>
                    </a:cubicBezTo>
                    <a:cubicBezTo>
                      <a:pt x="0" y="110"/>
                      <a:pt x="23" y="133"/>
                      <a:pt x="52" y="133"/>
                    </a:cubicBezTo>
                    <a:cubicBezTo>
                      <a:pt x="78" y="133"/>
                      <a:pt x="100" y="153"/>
                      <a:pt x="103" y="179"/>
                    </a:cubicBezTo>
                    <a:cubicBezTo>
                      <a:pt x="116" y="299"/>
                      <a:pt x="116" y="299"/>
                      <a:pt x="116" y="299"/>
                    </a:cubicBezTo>
                    <a:cubicBezTo>
                      <a:pt x="91" y="299"/>
                      <a:pt x="91" y="299"/>
                      <a:pt x="91" y="299"/>
                    </a:cubicBezTo>
                    <a:cubicBezTo>
                      <a:pt x="73" y="299"/>
                      <a:pt x="58" y="314"/>
                      <a:pt x="58" y="332"/>
                    </a:cubicBezTo>
                    <a:cubicBezTo>
                      <a:pt x="58" y="454"/>
                      <a:pt x="58" y="454"/>
                      <a:pt x="58" y="454"/>
                    </a:cubicBezTo>
                    <a:cubicBezTo>
                      <a:pt x="58" y="472"/>
                      <a:pt x="73" y="486"/>
                      <a:pt x="91" y="486"/>
                    </a:cubicBezTo>
                    <a:cubicBezTo>
                      <a:pt x="102" y="486"/>
                      <a:pt x="102" y="486"/>
                      <a:pt x="102" y="486"/>
                    </a:cubicBezTo>
                    <a:cubicBezTo>
                      <a:pt x="776" y="486"/>
                      <a:pt x="776" y="486"/>
                      <a:pt x="776" y="486"/>
                    </a:cubicBezTo>
                    <a:cubicBezTo>
                      <a:pt x="114" y="605"/>
                      <a:pt x="114" y="605"/>
                      <a:pt x="114" y="605"/>
                    </a:cubicBezTo>
                    <a:cubicBezTo>
                      <a:pt x="130" y="759"/>
                      <a:pt x="130" y="759"/>
                      <a:pt x="130" y="759"/>
                    </a:cubicBezTo>
                    <a:cubicBezTo>
                      <a:pt x="132" y="775"/>
                      <a:pt x="144" y="786"/>
                      <a:pt x="159" y="786"/>
                    </a:cubicBezTo>
                    <a:cubicBezTo>
                      <a:pt x="1062" y="786"/>
                      <a:pt x="1062" y="786"/>
                      <a:pt x="1062" y="786"/>
                    </a:cubicBezTo>
                    <a:cubicBezTo>
                      <a:pt x="1076" y="786"/>
                      <a:pt x="1089" y="775"/>
                      <a:pt x="1090" y="759"/>
                    </a:cubicBezTo>
                    <a:cubicBezTo>
                      <a:pt x="1119" y="495"/>
                      <a:pt x="1119" y="495"/>
                      <a:pt x="1119" y="495"/>
                    </a:cubicBezTo>
                    <a:cubicBezTo>
                      <a:pt x="1119" y="492"/>
                      <a:pt x="1119" y="489"/>
                      <a:pt x="1118" y="486"/>
                    </a:cubicBezTo>
                    <a:cubicBezTo>
                      <a:pt x="1130" y="486"/>
                      <a:pt x="1130" y="486"/>
                      <a:pt x="1130" y="486"/>
                    </a:cubicBezTo>
                    <a:cubicBezTo>
                      <a:pt x="1148" y="486"/>
                      <a:pt x="1163" y="472"/>
                      <a:pt x="1163" y="454"/>
                    </a:cubicBezTo>
                    <a:cubicBezTo>
                      <a:pt x="1163" y="332"/>
                      <a:pt x="1163" y="332"/>
                      <a:pt x="1163" y="332"/>
                    </a:cubicBezTo>
                    <a:cubicBezTo>
                      <a:pt x="1163" y="314"/>
                      <a:pt x="1148" y="299"/>
                      <a:pt x="1130" y="299"/>
                    </a:cubicBezTo>
                    <a:cubicBezTo>
                      <a:pt x="1046" y="299"/>
                      <a:pt x="1046" y="299"/>
                      <a:pt x="1046" y="299"/>
                    </a:cubicBezTo>
                    <a:cubicBezTo>
                      <a:pt x="1060" y="179"/>
                      <a:pt x="1060" y="179"/>
                      <a:pt x="1060" y="179"/>
                    </a:cubicBezTo>
                    <a:cubicBezTo>
                      <a:pt x="1063" y="153"/>
                      <a:pt x="1085" y="133"/>
                      <a:pt x="1111" y="133"/>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66" name="Freeform 33">
                <a:extLst>
                  <a:ext uri="{FF2B5EF4-FFF2-40B4-BE49-F238E27FC236}">
                    <a16:creationId xmlns:a16="http://schemas.microsoft.com/office/drawing/2014/main" id="{72AC718C-F6BE-4E63-8831-51735977C79B}"/>
                  </a:ext>
                </a:extLst>
              </p:cNvPr>
              <p:cNvSpPr>
                <a:spLocks/>
              </p:cNvSpPr>
              <p:nvPr/>
            </p:nvSpPr>
            <p:spPr bwMode="auto">
              <a:xfrm>
                <a:off x="7001097"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67" name="Freeform 34">
                <a:extLst>
                  <a:ext uri="{FF2B5EF4-FFF2-40B4-BE49-F238E27FC236}">
                    <a16:creationId xmlns:a16="http://schemas.microsoft.com/office/drawing/2014/main" id="{696CEEF0-F1DA-4D16-9A79-8D80593C37E9}"/>
                  </a:ext>
                </a:extLst>
              </p:cNvPr>
              <p:cNvSpPr>
                <a:spLocks/>
              </p:cNvSpPr>
              <p:nvPr/>
            </p:nvSpPr>
            <p:spPr bwMode="auto">
              <a:xfrm>
                <a:off x="7371499"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68" name="Freeform 36">
                <a:extLst>
                  <a:ext uri="{FF2B5EF4-FFF2-40B4-BE49-F238E27FC236}">
                    <a16:creationId xmlns:a16="http://schemas.microsoft.com/office/drawing/2014/main" id="{B33346D6-E39A-42A3-9136-0627E05F52A3}"/>
                  </a:ext>
                </a:extLst>
              </p:cNvPr>
              <p:cNvSpPr>
                <a:spLocks/>
              </p:cNvSpPr>
              <p:nvPr/>
            </p:nvSpPr>
            <p:spPr bwMode="auto">
              <a:xfrm>
                <a:off x="7121957" y="5063101"/>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69" name="Freeform 37">
                <a:extLst>
                  <a:ext uri="{FF2B5EF4-FFF2-40B4-BE49-F238E27FC236}">
                    <a16:creationId xmlns:a16="http://schemas.microsoft.com/office/drawing/2014/main" id="{594D4545-0A8A-4481-936C-944D4C6DEB1B}"/>
                  </a:ext>
                </a:extLst>
              </p:cNvPr>
              <p:cNvSpPr>
                <a:spLocks/>
              </p:cNvSpPr>
              <p:nvPr/>
            </p:nvSpPr>
            <p:spPr bwMode="auto">
              <a:xfrm>
                <a:off x="7103964" y="4282792"/>
                <a:ext cx="183832" cy="152932"/>
              </a:xfrm>
              <a:custGeom>
                <a:avLst/>
                <a:gdLst>
                  <a:gd name="T0" fmla="*/ 43 w 377"/>
                  <a:gd name="T1" fmla="*/ 0 h 314"/>
                  <a:gd name="T2" fmla="*/ 44 w 377"/>
                  <a:gd name="T3" fmla="*/ 57 h 314"/>
                  <a:gd name="T4" fmla="*/ 14 w 377"/>
                  <a:gd name="T5" fmla="*/ 193 h 314"/>
                  <a:gd name="T6" fmla="*/ 25 w 377"/>
                  <a:gd name="T7" fmla="*/ 265 h 314"/>
                  <a:gd name="T8" fmla="*/ 160 w 377"/>
                  <a:gd name="T9" fmla="*/ 314 h 314"/>
                  <a:gd name="T10" fmla="*/ 206 w 377"/>
                  <a:gd name="T11" fmla="*/ 314 h 314"/>
                  <a:gd name="T12" fmla="*/ 234 w 377"/>
                  <a:gd name="T13" fmla="*/ 297 h 314"/>
                  <a:gd name="T14" fmla="*/ 363 w 377"/>
                  <a:gd name="T15" fmla="*/ 213 h 314"/>
                  <a:gd name="T16" fmla="*/ 377 w 377"/>
                  <a:gd name="T17" fmla="*/ 213 h 314"/>
                  <a:gd name="T18" fmla="*/ 327 w 377"/>
                  <a:gd name="T19" fmla="*/ 82 h 314"/>
                  <a:gd name="T20" fmla="*/ 43 w 377"/>
                  <a:gd name="T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314">
                    <a:moveTo>
                      <a:pt x="43" y="0"/>
                    </a:moveTo>
                    <a:cubicBezTo>
                      <a:pt x="44" y="57"/>
                      <a:pt x="44" y="57"/>
                      <a:pt x="44" y="57"/>
                    </a:cubicBezTo>
                    <a:cubicBezTo>
                      <a:pt x="44" y="88"/>
                      <a:pt x="40" y="144"/>
                      <a:pt x="14" y="193"/>
                    </a:cubicBezTo>
                    <a:cubicBezTo>
                      <a:pt x="0" y="217"/>
                      <a:pt x="4" y="246"/>
                      <a:pt x="25" y="265"/>
                    </a:cubicBezTo>
                    <a:cubicBezTo>
                      <a:pt x="61" y="296"/>
                      <a:pt x="111" y="314"/>
                      <a:pt x="160" y="314"/>
                    </a:cubicBezTo>
                    <a:cubicBezTo>
                      <a:pt x="206" y="314"/>
                      <a:pt x="206" y="314"/>
                      <a:pt x="206" y="314"/>
                    </a:cubicBezTo>
                    <a:cubicBezTo>
                      <a:pt x="218" y="314"/>
                      <a:pt x="229" y="308"/>
                      <a:pt x="234" y="297"/>
                    </a:cubicBezTo>
                    <a:cubicBezTo>
                      <a:pt x="248" y="267"/>
                      <a:pt x="284" y="213"/>
                      <a:pt x="363" y="213"/>
                    </a:cubicBezTo>
                    <a:cubicBezTo>
                      <a:pt x="377" y="213"/>
                      <a:pt x="377" y="213"/>
                      <a:pt x="377" y="213"/>
                    </a:cubicBezTo>
                    <a:cubicBezTo>
                      <a:pt x="327" y="82"/>
                      <a:pt x="327" y="82"/>
                      <a:pt x="327" y="82"/>
                    </a:cubicBezTo>
                    <a:lnTo>
                      <a:pt x="43" y="0"/>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70" name="Freeform 38">
                <a:extLst>
                  <a:ext uri="{FF2B5EF4-FFF2-40B4-BE49-F238E27FC236}">
                    <a16:creationId xmlns:a16="http://schemas.microsoft.com/office/drawing/2014/main" id="{E4899A1C-9906-4677-8A84-1516529ABF3D}"/>
                  </a:ext>
                </a:extLst>
              </p:cNvPr>
              <p:cNvSpPr>
                <a:spLocks/>
              </p:cNvSpPr>
              <p:nvPr/>
            </p:nvSpPr>
            <p:spPr bwMode="auto">
              <a:xfrm>
                <a:off x="7182974" y="4370406"/>
                <a:ext cx="104824" cy="65319"/>
              </a:xfrm>
              <a:custGeom>
                <a:avLst/>
                <a:gdLst>
                  <a:gd name="T0" fmla="*/ 72 w 215"/>
                  <a:gd name="T1" fmla="*/ 19 h 134"/>
                  <a:gd name="T2" fmla="*/ 0 w 215"/>
                  <a:gd name="T3" fmla="*/ 134 h 134"/>
                  <a:gd name="T4" fmla="*/ 44 w 215"/>
                  <a:gd name="T5" fmla="*/ 134 h 134"/>
                  <a:gd name="T6" fmla="*/ 72 w 215"/>
                  <a:gd name="T7" fmla="*/ 117 h 134"/>
                  <a:gd name="T8" fmla="*/ 201 w 215"/>
                  <a:gd name="T9" fmla="*/ 33 h 134"/>
                  <a:gd name="T10" fmla="*/ 215 w 215"/>
                  <a:gd name="T11" fmla="*/ 33 h 134"/>
                  <a:gd name="T12" fmla="*/ 203 w 215"/>
                  <a:gd name="T13" fmla="*/ 0 h 134"/>
                  <a:gd name="T14" fmla="*/ 98 w 215"/>
                  <a:gd name="T15" fmla="*/ 0 h 134"/>
                  <a:gd name="T16" fmla="*/ 72 w 215"/>
                  <a:gd name="T17" fmla="*/ 1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34">
                    <a:moveTo>
                      <a:pt x="72" y="19"/>
                    </a:moveTo>
                    <a:cubicBezTo>
                      <a:pt x="33" y="47"/>
                      <a:pt x="8" y="89"/>
                      <a:pt x="0" y="134"/>
                    </a:cubicBezTo>
                    <a:cubicBezTo>
                      <a:pt x="44" y="134"/>
                      <a:pt x="44" y="134"/>
                      <a:pt x="44" y="134"/>
                    </a:cubicBezTo>
                    <a:cubicBezTo>
                      <a:pt x="56" y="134"/>
                      <a:pt x="67" y="128"/>
                      <a:pt x="72" y="117"/>
                    </a:cubicBezTo>
                    <a:cubicBezTo>
                      <a:pt x="86" y="87"/>
                      <a:pt x="122" y="33"/>
                      <a:pt x="201" y="33"/>
                    </a:cubicBezTo>
                    <a:cubicBezTo>
                      <a:pt x="215" y="33"/>
                      <a:pt x="215" y="33"/>
                      <a:pt x="215" y="33"/>
                    </a:cubicBezTo>
                    <a:cubicBezTo>
                      <a:pt x="203" y="0"/>
                      <a:pt x="203" y="0"/>
                      <a:pt x="203" y="0"/>
                    </a:cubicBezTo>
                    <a:cubicBezTo>
                      <a:pt x="98" y="0"/>
                      <a:pt x="98" y="0"/>
                      <a:pt x="98" y="0"/>
                    </a:cubicBezTo>
                    <a:lnTo>
                      <a:pt x="72" y="19"/>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71" name="Freeform 39">
                <a:extLst>
                  <a:ext uri="{FF2B5EF4-FFF2-40B4-BE49-F238E27FC236}">
                    <a16:creationId xmlns:a16="http://schemas.microsoft.com/office/drawing/2014/main" id="{C87FB9C4-FB0F-4A80-92FB-D801D1877747}"/>
                  </a:ext>
                </a:extLst>
              </p:cNvPr>
              <p:cNvSpPr>
                <a:spLocks/>
              </p:cNvSpPr>
              <p:nvPr/>
            </p:nvSpPr>
            <p:spPr bwMode="auto">
              <a:xfrm>
                <a:off x="7105529" y="4322688"/>
                <a:ext cx="103259" cy="97001"/>
              </a:xfrm>
              <a:custGeom>
                <a:avLst/>
                <a:gdLst>
                  <a:gd name="T0" fmla="*/ 11 w 212"/>
                  <a:gd name="T1" fmla="*/ 111 h 199"/>
                  <a:gd name="T2" fmla="*/ 13 w 212"/>
                  <a:gd name="T3" fmla="*/ 172 h 199"/>
                  <a:gd name="T4" fmla="*/ 212 w 212"/>
                  <a:gd name="T5" fmla="*/ 108 h 199"/>
                  <a:gd name="T6" fmla="*/ 41 w 212"/>
                  <a:gd name="T7" fmla="*/ 0 h 199"/>
                  <a:gd name="T8" fmla="*/ 11 w 212"/>
                  <a:gd name="T9" fmla="*/ 111 h 199"/>
                </a:gdLst>
                <a:ahLst/>
                <a:cxnLst>
                  <a:cxn ang="0">
                    <a:pos x="T0" y="T1"/>
                  </a:cxn>
                  <a:cxn ang="0">
                    <a:pos x="T2" y="T3"/>
                  </a:cxn>
                  <a:cxn ang="0">
                    <a:pos x="T4" y="T5"/>
                  </a:cxn>
                  <a:cxn ang="0">
                    <a:pos x="T6" y="T7"/>
                  </a:cxn>
                  <a:cxn ang="0">
                    <a:pos x="T8" y="T9"/>
                  </a:cxn>
                </a:cxnLst>
                <a:rect l="0" t="0" r="r" b="b"/>
                <a:pathLst>
                  <a:path w="212" h="199">
                    <a:moveTo>
                      <a:pt x="11" y="111"/>
                    </a:moveTo>
                    <a:cubicBezTo>
                      <a:pt x="0" y="131"/>
                      <a:pt x="1" y="154"/>
                      <a:pt x="13" y="172"/>
                    </a:cubicBezTo>
                    <a:cubicBezTo>
                      <a:pt x="22" y="174"/>
                      <a:pt x="133" y="199"/>
                      <a:pt x="212" y="108"/>
                    </a:cubicBezTo>
                    <a:cubicBezTo>
                      <a:pt x="168" y="71"/>
                      <a:pt x="71" y="17"/>
                      <a:pt x="41" y="0"/>
                    </a:cubicBezTo>
                    <a:cubicBezTo>
                      <a:pt x="38" y="32"/>
                      <a:pt x="31" y="73"/>
                      <a:pt x="11" y="11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72" name="Freeform 40">
                <a:extLst>
                  <a:ext uri="{FF2B5EF4-FFF2-40B4-BE49-F238E27FC236}">
                    <a16:creationId xmlns:a16="http://schemas.microsoft.com/office/drawing/2014/main" id="{657DBA47-9693-4905-AF1B-244F66C5A806}"/>
                  </a:ext>
                </a:extLst>
              </p:cNvPr>
              <p:cNvSpPr>
                <a:spLocks/>
              </p:cNvSpPr>
              <p:nvPr/>
            </p:nvSpPr>
            <p:spPr bwMode="auto">
              <a:xfrm>
                <a:off x="7178671" y="4724771"/>
                <a:ext cx="432593" cy="399738"/>
              </a:xfrm>
              <a:custGeom>
                <a:avLst/>
                <a:gdLst>
                  <a:gd name="T0" fmla="*/ 76 w 889"/>
                  <a:gd name="T1" fmla="*/ 0 h 823"/>
                  <a:gd name="T2" fmla="*/ 612 w 889"/>
                  <a:gd name="T3" fmla="*/ 29 h 823"/>
                  <a:gd name="T4" fmla="*/ 757 w 889"/>
                  <a:gd name="T5" fmla="*/ 145 h 823"/>
                  <a:gd name="T6" fmla="*/ 889 w 889"/>
                  <a:gd name="T7" fmla="*/ 823 h 823"/>
                  <a:gd name="T8" fmla="*/ 670 w 889"/>
                  <a:gd name="T9" fmla="*/ 823 h 823"/>
                  <a:gd name="T10" fmla="*/ 523 w 889"/>
                  <a:gd name="T11" fmla="*/ 209 h 823"/>
                  <a:gd name="T12" fmla="*/ 0 w 889"/>
                  <a:gd name="T13" fmla="*/ 209 h 823"/>
                  <a:gd name="T14" fmla="*/ 76 w 889"/>
                  <a:gd name="T15" fmla="*/ 0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9" h="823">
                    <a:moveTo>
                      <a:pt x="76" y="0"/>
                    </a:moveTo>
                    <a:cubicBezTo>
                      <a:pt x="612" y="29"/>
                      <a:pt x="612" y="29"/>
                      <a:pt x="612" y="29"/>
                    </a:cubicBezTo>
                    <a:cubicBezTo>
                      <a:pt x="681" y="32"/>
                      <a:pt x="739" y="79"/>
                      <a:pt x="757" y="145"/>
                    </a:cubicBezTo>
                    <a:cubicBezTo>
                      <a:pt x="889" y="823"/>
                      <a:pt x="889" y="823"/>
                      <a:pt x="889" y="823"/>
                    </a:cubicBezTo>
                    <a:cubicBezTo>
                      <a:pt x="670" y="823"/>
                      <a:pt x="670" y="823"/>
                      <a:pt x="670" y="823"/>
                    </a:cubicBezTo>
                    <a:cubicBezTo>
                      <a:pt x="523" y="209"/>
                      <a:pt x="523" y="209"/>
                      <a:pt x="523" y="209"/>
                    </a:cubicBezTo>
                    <a:cubicBezTo>
                      <a:pt x="0" y="209"/>
                      <a:pt x="0" y="209"/>
                      <a:pt x="0" y="209"/>
                    </a:cubicBezTo>
                    <a:lnTo>
                      <a:pt x="76" y="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73" name="Freeform 41">
                <a:extLst>
                  <a:ext uri="{FF2B5EF4-FFF2-40B4-BE49-F238E27FC236}">
                    <a16:creationId xmlns:a16="http://schemas.microsoft.com/office/drawing/2014/main" id="{396D95E4-0AD7-494B-9B98-90003747AD99}"/>
                  </a:ext>
                </a:extLst>
              </p:cNvPr>
              <p:cNvSpPr>
                <a:spLocks/>
              </p:cNvSpPr>
              <p:nvPr/>
            </p:nvSpPr>
            <p:spPr bwMode="auto">
              <a:xfrm>
                <a:off x="7031605" y="5092436"/>
                <a:ext cx="247196" cy="129465"/>
              </a:xfrm>
              <a:custGeom>
                <a:avLst/>
                <a:gdLst>
                  <a:gd name="T0" fmla="*/ 63 w 508"/>
                  <a:gd name="T1" fmla="*/ 266 h 266"/>
                  <a:gd name="T2" fmla="*/ 446 w 508"/>
                  <a:gd name="T3" fmla="*/ 266 h 266"/>
                  <a:gd name="T4" fmla="*/ 498 w 508"/>
                  <a:gd name="T5" fmla="*/ 235 h 266"/>
                  <a:gd name="T6" fmla="*/ 498 w 508"/>
                  <a:gd name="T7" fmla="*/ 235 h 266"/>
                  <a:gd name="T8" fmla="*/ 473 w 508"/>
                  <a:gd name="T9" fmla="*/ 187 h 266"/>
                  <a:gd name="T10" fmla="*/ 349 w 508"/>
                  <a:gd name="T11" fmla="*/ 172 h 266"/>
                  <a:gd name="T12" fmla="*/ 281 w 508"/>
                  <a:gd name="T13" fmla="*/ 135 h 266"/>
                  <a:gd name="T14" fmla="*/ 237 w 508"/>
                  <a:gd name="T15" fmla="*/ 82 h 266"/>
                  <a:gd name="T16" fmla="*/ 242 w 508"/>
                  <a:gd name="T17" fmla="*/ 32 h 266"/>
                  <a:gd name="T18" fmla="*/ 55 w 508"/>
                  <a:gd name="T19" fmla="*/ 0 h 266"/>
                  <a:gd name="T20" fmla="*/ 8 w 508"/>
                  <a:gd name="T21" fmla="*/ 196 h 266"/>
                  <a:gd name="T22" fmla="*/ 63 w 508"/>
                  <a:gd name="T23"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8" h="266">
                    <a:moveTo>
                      <a:pt x="63" y="266"/>
                    </a:moveTo>
                    <a:cubicBezTo>
                      <a:pt x="446" y="266"/>
                      <a:pt x="446" y="266"/>
                      <a:pt x="446" y="266"/>
                    </a:cubicBezTo>
                    <a:cubicBezTo>
                      <a:pt x="468" y="266"/>
                      <a:pt x="488" y="254"/>
                      <a:pt x="498" y="235"/>
                    </a:cubicBezTo>
                    <a:cubicBezTo>
                      <a:pt x="498" y="235"/>
                      <a:pt x="498" y="235"/>
                      <a:pt x="498" y="235"/>
                    </a:cubicBezTo>
                    <a:cubicBezTo>
                      <a:pt x="508" y="215"/>
                      <a:pt x="496" y="190"/>
                      <a:pt x="473" y="187"/>
                    </a:cubicBezTo>
                    <a:cubicBezTo>
                      <a:pt x="349" y="172"/>
                      <a:pt x="349" y="172"/>
                      <a:pt x="349" y="172"/>
                    </a:cubicBezTo>
                    <a:cubicBezTo>
                      <a:pt x="322" y="168"/>
                      <a:pt x="298" y="155"/>
                      <a:pt x="281" y="135"/>
                    </a:cubicBezTo>
                    <a:cubicBezTo>
                      <a:pt x="237" y="82"/>
                      <a:pt x="237" y="82"/>
                      <a:pt x="237" y="82"/>
                    </a:cubicBezTo>
                    <a:cubicBezTo>
                      <a:pt x="242" y="32"/>
                      <a:pt x="242" y="32"/>
                      <a:pt x="242" y="32"/>
                    </a:cubicBezTo>
                    <a:cubicBezTo>
                      <a:pt x="55" y="0"/>
                      <a:pt x="55" y="0"/>
                      <a:pt x="55" y="0"/>
                    </a:cubicBezTo>
                    <a:cubicBezTo>
                      <a:pt x="8" y="196"/>
                      <a:pt x="8" y="196"/>
                      <a:pt x="8" y="196"/>
                    </a:cubicBezTo>
                    <a:cubicBezTo>
                      <a:pt x="0" y="231"/>
                      <a:pt x="27" y="266"/>
                      <a:pt x="63" y="266"/>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IN" sz="1836" dirty="0"/>
              </a:p>
            </p:txBody>
          </p:sp>
          <p:sp>
            <p:nvSpPr>
              <p:cNvPr id="474" name="Freeform 42">
                <a:extLst>
                  <a:ext uri="{FF2B5EF4-FFF2-40B4-BE49-F238E27FC236}">
                    <a16:creationId xmlns:a16="http://schemas.microsoft.com/office/drawing/2014/main" id="{6EB250C8-519F-4218-8AFB-4F88BFCC52E1}"/>
                  </a:ext>
                </a:extLst>
              </p:cNvPr>
              <p:cNvSpPr>
                <a:spLocks/>
              </p:cNvSpPr>
              <p:nvPr/>
            </p:nvSpPr>
            <p:spPr bwMode="auto">
              <a:xfrm>
                <a:off x="7028085" y="4710691"/>
                <a:ext cx="235853" cy="425943"/>
              </a:xfrm>
              <a:custGeom>
                <a:avLst/>
                <a:gdLst>
                  <a:gd name="T0" fmla="*/ 0 w 484"/>
                  <a:gd name="T1" fmla="*/ 7 h 877"/>
                  <a:gd name="T2" fmla="*/ 291 w 484"/>
                  <a:gd name="T3" fmla="*/ 2 h 877"/>
                  <a:gd name="T4" fmla="*/ 452 w 484"/>
                  <a:gd name="T5" fmla="*/ 214 h 877"/>
                  <a:gd name="T6" fmla="*/ 254 w 484"/>
                  <a:gd name="T7" fmla="*/ 877 h 877"/>
                  <a:gd name="T8" fmla="*/ 32 w 484"/>
                  <a:gd name="T9" fmla="*/ 836 h 877"/>
                  <a:gd name="T10" fmla="*/ 137 w 484"/>
                  <a:gd name="T11" fmla="*/ 238 h 877"/>
                  <a:gd name="T12" fmla="*/ 26 w 484"/>
                  <a:gd name="T13" fmla="*/ 238 h 877"/>
                  <a:gd name="T14" fmla="*/ 0 w 484"/>
                  <a:gd name="T15" fmla="*/ 7 h 8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877">
                    <a:moveTo>
                      <a:pt x="0" y="7"/>
                    </a:moveTo>
                    <a:cubicBezTo>
                      <a:pt x="291" y="2"/>
                      <a:pt x="291" y="2"/>
                      <a:pt x="291" y="2"/>
                    </a:cubicBezTo>
                    <a:cubicBezTo>
                      <a:pt x="403" y="0"/>
                      <a:pt x="484" y="107"/>
                      <a:pt x="452" y="214"/>
                    </a:cubicBezTo>
                    <a:cubicBezTo>
                      <a:pt x="254" y="877"/>
                      <a:pt x="254" y="877"/>
                      <a:pt x="254" y="877"/>
                    </a:cubicBezTo>
                    <a:cubicBezTo>
                      <a:pt x="32" y="836"/>
                      <a:pt x="32" y="836"/>
                      <a:pt x="32" y="836"/>
                    </a:cubicBezTo>
                    <a:cubicBezTo>
                      <a:pt x="137" y="238"/>
                      <a:pt x="137" y="238"/>
                      <a:pt x="137" y="238"/>
                    </a:cubicBezTo>
                    <a:cubicBezTo>
                      <a:pt x="26" y="238"/>
                      <a:pt x="26" y="238"/>
                      <a:pt x="26" y="238"/>
                    </a:cubicBezTo>
                    <a:lnTo>
                      <a:pt x="0" y="7"/>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75" name="Freeform 43">
                <a:extLst>
                  <a:ext uri="{FF2B5EF4-FFF2-40B4-BE49-F238E27FC236}">
                    <a16:creationId xmlns:a16="http://schemas.microsoft.com/office/drawing/2014/main" id="{DC1CC592-52FA-478E-B344-886397CF4FF0}"/>
                  </a:ext>
                </a:extLst>
              </p:cNvPr>
              <p:cNvSpPr>
                <a:spLocks/>
              </p:cNvSpPr>
              <p:nvPr/>
            </p:nvSpPr>
            <p:spPr bwMode="auto">
              <a:xfrm>
                <a:off x="7105138" y="4117343"/>
                <a:ext cx="256974" cy="289438"/>
              </a:xfrm>
              <a:custGeom>
                <a:avLst/>
                <a:gdLst>
                  <a:gd name="T0" fmla="*/ 306 w 528"/>
                  <a:gd name="T1" fmla="*/ 13 h 596"/>
                  <a:gd name="T2" fmla="*/ 306 w 528"/>
                  <a:gd name="T3" fmla="*/ 13 h 596"/>
                  <a:gd name="T4" fmla="*/ 48 w 528"/>
                  <a:gd name="T5" fmla="*/ 216 h 596"/>
                  <a:gd name="T6" fmla="*/ 7 w 528"/>
                  <a:gd name="T7" fmla="*/ 249 h 596"/>
                  <a:gd name="T8" fmla="*/ 3 w 528"/>
                  <a:gd name="T9" fmla="*/ 291 h 596"/>
                  <a:gd name="T10" fmla="*/ 35 w 528"/>
                  <a:gd name="T11" fmla="*/ 348 h 596"/>
                  <a:gd name="T12" fmla="*/ 246 w 528"/>
                  <a:gd name="T13" fmla="*/ 577 h 596"/>
                  <a:gd name="T14" fmla="*/ 348 w 528"/>
                  <a:gd name="T15" fmla="*/ 588 h 596"/>
                  <a:gd name="T16" fmla="*/ 483 w 528"/>
                  <a:gd name="T17" fmla="*/ 454 h 596"/>
                  <a:gd name="T18" fmla="*/ 515 w 528"/>
                  <a:gd name="T19" fmla="*/ 272 h 596"/>
                  <a:gd name="T20" fmla="*/ 306 w 528"/>
                  <a:gd name="T21" fmla="*/ 13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8" h="596">
                    <a:moveTo>
                      <a:pt x="306" y="13"/>
                    </a:moveTo>
                    <a:cubicBezTo>
                      <a:pt x="306" y="13"/>
                      <a:pt x="306" y="13"/>
                      <a:pt x="306" y="13"/>
                    </a:cubicBezTo>
                    <a:cubicBezTo>
                      <a:pt x="179" y="0"/>
                      <a:pt x="65" y="90"/>
                      <a:pt x="48" y="216"/>
                    </a:cubicBezTo>
                    <a:cubicBezTo>
                      <a:pt x="27" y="214"/>
                      <a:pt x="9" y="229"/>
                      <a:pt x="7" y="249"/>
                    </a:cubicBezTo>
                    <a:cubicBezTo>
                      <a:pt x="3" y="291"/>
                      <a:pt x="3" y="291"/>
                      <a:pt x="3" y="291"/>
                    </a:cubicBezTo>
                    <a:cubicBezTo>
                      <a:pt x="0" y="315"/>
                      <a:pt x="14" y="338"/>
                      <a:pt x="35" y="348"/>
                    </a:cubicBezTo>
                    <a:cubicBezTo>
                      <a:pt x="38" y="465"/>
                      <a:pt x="126" y="564"/>
                      <a:pt x="246" y="577"/>
                    </a:cubicBezTo>
                    <a:cubicBezTo>
                      <a:pt x="348" y="588"/>
                      <a:pt x="348" y="588"/>
                      <a:pt x="348" y="588"/>
                    </a:cubicBezTo>
                    <a:cubicBezTo>
                      <a:pt x="421" y="596"/>
                      <a:pt x="476" y="527"/>
                      <a:pt x="483" y="454"/>
                    </a:cubicBezTo>
                    <a:cubicBezTo>
                      <a:pt x="515" y="272"/>
                      <a:pt x="515" y="272"/>
                      <a:pt x="515" y="272"/>
                    </a:cubicBezTo>
                    <a:cubicBezTo>
                      <a:pt x="528" y="143"/>
                      <a:pt x="435" y="27"/>
                      <a:pt x="306" y="13"/>
                    </a:cubicBez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76" name="Freeform 44">
                <a:extLst>
                  <a:ext uri="{FF2B5EF4-FFF2-40B4-BE49-F238E27FC236}">
                    <a16:creationId xmlns:a16="http://schemas.microsoft.com/office/drawing/2014/main" id="{9B607D1B-2880-4095-BC0C-264E56B32D65}"/>
                  </a:ext>
                </a:extLst>
              </p:cNvPr>
              <p:cNvSpPr>
                <a:spLocks/>
              </p:cNvSpPr>
              <p:nvPr/>
            </p:nvSpPr>
            <p:spPr bwMode="auto">
              <a:xfrm>
                <a:off x="7279192" y="4164670"/>
                <a:ext cx="79400" cy="192437"/>
              </a:xfrm>
              <a:custGeom>
                <a:avLst/>
                <a:gdLst>
                  <a:gd name="T0" fmla="*/ 19 w 163"/>
                  <a:gd name="T1" fmla="*/ 42 h 396"/>
                  <a:gd name="T2" fmla="*/ 48 w 163"/>
                  <a:gd name="T3" fmla="*/ 161 h 396"/>
                  <a:gd name="T4" fmla="*/ 73 w 163"/>
                  <a:gd name="T5" fmla="*/ 237 h 396"/>
                  <a:gd name="T6" fmla="*/ 108 w 163"/>
                  <a:gd name="T7" fmla="*/ 293 h 396"/>
                  <a:gd name="T8" fmla="*/ 85 w 163"/>
                  <a:gd name="T9" fmla="*/ 330 h 396"/>
                  <a:gd name="T10" fmla="*/ 62 w 163"/>
                  <a:gd name="T11" fmla="*/ 327 h 396"/>
                  <a:gd name="T12" fmla="*/ 32 w 163"/>
                  <a:gd name="T13" fmla="*/ 351 h 396"/>
                  <a:gd name="T14" fmla="*/ 29 w 163"/>
                  <a:gd name="T15" fmla="*/ 386 h 396"/>
                  <a:gd name="T16" fmla="*/ 116 w 163"/>
                  <a:gd name="T17" fmla="*/ 396 h 396"/>
                  <a:gd name="T18" fmla="*/ 125 w 163"/>
                  <a:gd name="T19" fmla="*/ 356 h 396"/>
                  <a:gd name="T20" fmla="*/ 157 w 163"/>
                  <a:gd name="T21" fmla="*/ 174 h 396"/>
                  <a:gd name="T22" fmla="*/ 114 w 163"/>
                  <a:gd name="T23" fmla="*/ 12 h 396"/>
                  <a:gd name="T24" fmla="*/ 0 w 163"/>
                  <a:gd name="T25" fmla="*/ 0 h 396"/>
                  <a:gd name="T26" fmla="*/ 19 w 163"/>
                  <a:gd name="T27" fmla="*/ 4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396">
                    <a:moveTo>
                      <a:pt x="19" y="42"/>
                    </a:moveTo>
                    <a:cubicBezTo>
                      <a:pt x="35" y="80"/>
                      <a:pt x="45" y="120"/>
                      <a:pt x="48" y="161"/>
                    </a:cubicBezTo>
                    <a:cubicBezTo>
                      <a:pt x="49" y="188"/>
                      <a:pt x="58" y="214"/>
                      <a:pt x="73" y="237"/>
                    </a:cubicBezTo>
                    <a:cubicBezTo>
                      <a:pt x="108" y="293"/>
                      <a:pt x="108" y="293"/>
                      <a:pt x="108" y="293"/>
                    </a:cubicBezTo>
                    <a:cubicBezTo>
                      <a:pt x="119" y="310"/>
                      <a:pt x="105" y="332"/>
                      <a:pt x="85" y="330"/>
                    </a:cubicBezTo>
                    <a:cubicBezTo>
                      <a:pt x="62" y="327"/>
                      <a:pt x="62" y="327"/>
                      <a:pt x="62" y="327"/>
                    </a:cubicBezTo>
                    <a:cubicBezTo>
                      <a:pt x="47" y="326"/>
                      <a:pt x="34" y="336"/>
                      <a:pt x="32" y="351"/>
                    </a:cubicBezTo>
                    <a:cubicBezTo>
                      <a:pt x="29" y="386"/>
                      <a:pt x="29" y="386"/>
                      <a:pt x="29" y="386"/>
                    </a:cubicBezTo>
                    <a:cubicBezTo>
                      <a:pt x="116" y="396"/>
                      <a:pt x="116" y="396"/>
                      <a:pt x="116" y="396"/>
                    </a:cubicBezTo>
                    <a:cubicBezTo>
                      <a:pt x="121" y="383"/>
                      <a:pt x="124" y="370"/>
                      <a:pt x="125" y="356"/>
                    </a:cubicBezTo>
                    <a:cubicBezTo>
                      <a:pt x="157" y="174"/>
                      <a:pt x="157" y="174"/>
                      <a:pt x="157" y="174"/>
                    </a:cubicBezTo>
                    <a:cubicBezTo>
                      <a:pt x="163" y="114"/>
                      <a:pt x="146" y="57"/>
                      <a:pt x="114" y="12"/>
                    </a:cubicBezTo>
                    <a:cubicBezTo>
                      <a:pt x="0" y="0"/>
                      <a:pt x="0" y="0"/>
                      <a:pt x="0" y="0"/>
                    </a:cubicBezTo>
                    <a:lnTo>
                      <a:pt x="19" y="42"/>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77" name="Freeform 45">
                <a:extLst>
                  <a:ext uri="{FF2B5EF4-FFF2-40B4-BE49-F238E27FC236}">
                    <a16:creationId xmlns:a16="http://schemas.microsoft.com/office/drawing/2014/main" id="{3779E8B9-0766-42D5-88D1-CE6C988AE6B9}"/>
                  </a:ext>
                </a:extLst>
              </p:cNvPr>
              <p:cNvSpPr>
                <a:spLocks/>
              </p:cNvSpPr>
              <p:nvPr/>
            </p:nvSpPr>
            <p:spPr bwMode="auto">
              <a:xfrm>
                <a:off x="7119219" y="4105609"/>
                <a:ext cx="254236" cy="319164"/>
              </a:xfrm>
              <a:custGeom>
                <a:avLst/>
                <a:gdLst>
                  <a:gd name="T0" fmla="*/ 509 w 522"/>
                  <a:gd name="T1" fmla="*/ 87 h 657"/>
                  <a:gd name="T2" fmla="*/ 492 w 522"/>
                  <a:gd name="T3" fmla="*/ 56 h 657"/>
                  <a:gd name="T4" fmla="*/ 475 w 522"/>
                  <a:gd name="T5" fmla="*/ 101 h 657"/>
                  <a:gd name="T6" fmla="*/ 432 w 522"/>
                  <a:gd name="T7" fmla="*/ 23 h 657"/>
                  <a:gd name="T8" fmla="*/ 425 w 522"/>
                  <a:gd name="T9" fmla="*/ 17 h 657"/>
                  <a:gd name="T10" fmla="*/ 390 w 522"/>
                  <a:gd name="T11" fmla="*/ 53 h 657"/>
                  <a:gd name="T12" fmla="*/ 269 w 522"/>
                  <a:gd name="T13" fmla="*/ 16 h 657"/>
                  <a:gd name="T14" fmla="*/ 114 w 522"/>
                  <a:gd name="T15" fmla="*/ 34 h 657"/>
                  <a:gd name="T16" fmla="*/ 17 w 522"/>
                  <a:gd name="T17" fmla="*/ 183 h 657"/>
                  <a:gd name="T18" fmla="*/ 10 w 522"/>
                  <a:gd name="T19" fmla="*/ 240 h 657"/>
                  <a:gd name="T20" fmla="*/ 19 w 522"/>
                  <a:gd name="T21" fmla="*/ 240 h 657"/>
                  <a:gd name="T22" fmla="*/ 53 w 522"/>
                  <a:gd name="T23" fmla="*/ 281 h 657"/>
                  <a:gd name="T24" fmla="*/ 44 w 522"/>
                  <a:gd name="T25" fmla="*/ 369 h 657"/>
                  <a:gd name="T26" fmla="*/ 33 w 522"/>
                  <a:gd name="T27" fmla="*/ 378 h 657"/>
                  <a:gd name="T28" fmla="*/ 24 w 522"/>
                  <a:gd name="T29" fmla="*/ 377 h 657"/>
                  <a:gd name="T30" fmla="*/ 0 w 522"/>
                  <a:gd name="T31" fmla="*/ 368 h 657"/>
                  <a:gd name="T32" fmla="*/ 1 w 522"/>
                  <a:gd name="T33" fmla="*/ 403 h 657"/>
                  <a:gd name="T34" fmla="*/ 370 w 522"/>
                  <a:gd name="T35" fmla="*/ 652 h 657"/>
                  <a:gd name="T36" fmla="*/ 449 w 522"/>
                  <a:gd name="T37" fmla="*/ 590 h 657"/>
                  <a:gd name="T38" fmla="*/ 447 w 522"/>
                  <a:gd name="T39" fmla="*/ 472 h 657"/>
                  <a:gd name="T40" fmla="*/ 378 w 522"/>
                  <a:gd name="T41" fmla="*/ 464 h 657"/>
                  <a:gd name="T42" fmla="*/ 375 w 522"/>
                  <a:gd name="T43" fmla="*/ 465 h 657"/>
                  <a:gd name="T44" fmla="*/ 235 w 522"/>
                  <a:gd name="T45" fmla="*/ 428 h 657"/>
                  <a:gd name="T46" fmla="*/ 141 w 522"/>
                  <a:gd name="T47" fmla="*/ 436 h 657"/>
                  <a:gd name="T48" fmla="*/ 75 w 522"/>
                  <a:gd name="T49" fmla="*/ 453 h 657"/>
                  <a:gd name="T50" fmla="*/ 85 w 522"/>
                  <a:gd name="T51" fmla="*/ 411 h 657"/>
                  <a:gd name="T52" fmla="*/ 98 w 522"/>
                  <a:gd name="T53" fmla="*/ 293 h 657"/>
                  <a:gd name="T54" fmla="*/ 97 w 522"/>
                  <a:gd name="T55" fmla="*/ 244 h 657"/>
                  <a:gd name="T56" fmla="*/ 115 w 522"/>
                  <a:gd name="T57" fmla="*/ 233 h 657"/>
                  <a:gd name="T58" fmla="*/ 157 w 522"/>
                  <a:gd name="T59" fmla="*/ 168 h 657"/>
                  <a:gd name="T60" fmla="*/ 160 w 522"/>
                  <a:gd name="T61" fmla="*/ 140 h 657"/>
                  <a:gd name="T62" fmla="*/ 345 w 522"/>
                  <a:gd name="T63" fmla="*/ 187 h 657"/>
                  <a:gd name="T64" fmla="*/ 454 w 522"/>
                  <a:gd name="T65" fmla="*/ 187 h 657"/>
                  <a:gd name="T66" fmla="*/ 483 w 522"/>
                  <a:gd name="T67" fmla="*/ 172 h 657"/>
                  <a:gd name="T68" fmla="*/ 495 w 522"/>
                  <a:gd name="T69" fmla="*/ 162 h 657"/>
                  <a:gd name="T70" fmla="*/ 509 w 522"/>
                  <a:gd name="T71" fmla="*/ 8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2" h="657">
                    <a:moveTo>
                      <a:pt x="509" y="87"/>
                    </a:moveTo>
                    <a:cubicBezTo>
                      <a:pt x="492" y="56"/>
                      <a:pt x="492" y="56"/>
                      <a:pt x="492" y="56"/>
                    </a:cubicBezTo>
                    <a:cubicBezTo>
                      <a:pt x="475" y="101"/>
                      <a:pt x="475" y="101"/>
                      <a:pt x="475" y="101"/>
                    </a:cubicBezTo>
                    <a:cubicBezTo>
                      <a:pt x="470" y="71"/>
                      <a:pt x="455" y="43"/>
                      <a:pt x="432" y="23"/>
                    </a:cubicBezTo>
                    <a:cubicBezTo>
                      <a:pt x="425" y="17"/>
                      <a:pt x="425" y="17"/>
                      <a:pt x="425" y="17"/>
                    </a:cubicBezTo>
                    <a:cubicBezTo>
                      <a:pt x="390" y="53"/>
                      <a:pt x="390" y="53"/>
                      <a:pt x="390" y="53"/>
                    </a:cubicBezTo>
                    <a:cubicBezTo>
                      <a:pt x="269" y="16"/>
                      <a:pt x="269" y="16"/>
                      <a:pt x="269" y="16"/>
                    </a:cubicBezTo>
                    <a:cubicBezTo>
                      <a:pt x="217" y="0"/>
                      <a:pt x="161" y="7"/>
                      <a:pt x="114" y="34"/>
                    </a:cubicBezTo>
                    <a:cubicBezTo>
                      <a:pt x="60" y="65"/>
                      <a:pt x="23" y="120"/>
                      <a:pt x="17" y="183"/>
                    </a:cubicBezTo>
                    <a:cubicBezTo>
                      <a:pt x="10" y="240"/>
                      <a:pt x="10" y="240"/>
                      <a:pt x="10" y="240"/>
                    </a:cubicBezTo>
                    <a:cubicBezTo>
                      <a:pt x="13" y="240"/>
                      <a:pt x="16" y="240"/>
                      <a:pt x="19" y="240"/>
                    </a:cubicBezTo>
                    <a:cubicBezTo>
                      <a:pt x="40" y="242"/>
                      <a:pt x="55" y="261"/>
                      <a:pt x="53" y="281"/>
                    </a:cubicBezTo>
                    <a:cubicBezTo>
                      <a:pt x="44" y="369"/>
                      <a:pt x="44" y="369"/>
                      <a:pt x="44" y="369"/>
                    </a:cubicBezTo>
                    <a:cubicBezTo>
                      <a:pt x="43" y="375"/>
                      <a:pt x="38" y="378"/>
                      <a:pt x="33" y="378"/>
                    </a:cubicBezTo>
                    <a:cubicBezTo>
                      <a:pt x="24" y="377"/>
                      <a:pt x="24" y="377"/>
                      <a:pt x="24" y="377"/>
                    </a:cubicBezTo>
                    <a:cubicBezTo>
                      <a:pt x="15" y="376"/>
                      <a:pt x="7" y="373"/>
                      <a:pt x="0" y="368"/>
                    </a:cubicBezTo>
                    <a:cubicBezTo>
                      <a:pt x="1" y="403"/>
                      <a:pt x="1" y="403"/>
                      <a:pt x="1" y="403"/>
                    </a:cubicBezTo>
                    <a:cubicBezTo>
                      <a:pt x="8" y="593"/>
                      <a:pt x="250" y="641"/>
                      <a:pt x="370" y="652"/>
                    </a:cubicBezTo>
                    <a:cubicBezTo>
                      <a:pt x="412" y="657"/>
                      <a:pt x="437" y="630"/>
                      <a:pt x="449" y="590"/>
                    </a:cubicBezTo>
                    <a:cubicBezTo>
                      <a:pt x="459" y="556"/>
                      <a:pt x="460" y="485"/>
                      <a:pt x="447" y="472"/>
                    </a:cubicBezTo>
                    <a:cubicBezTo>
                      <a:pt x="431" y="455"/>
                      <a:pt x="400" y="456"/>
                      <a:pt x="378" y="464"/>
                    </a:cubicBezTo>
                    <a:cubicBezTo>
                      <a:pt x="375" y="465"/>
                      <a:pt x="375" y="465"/>
                      <a:pt x="375" y="465"/>
                    </a:cubicBezTo>
                    <a:cubicBezTo>
                      <a:pt x="333" y="438"/>
                      <a:pt x="284" y="425"/>
                      <a:pt x="235" y="428"/>
                    </a:cubicBezTo>
                    <a:cubicBezTo>
                      <a:pt x="196" y="430"/>
                      <a:pt x="154" y="433"/>
                      <a:pt x="141" y="436"/>
                    </a:cubicBezTo>
                    <a:cubicBezTo>
                      <a:pt x="75" y="453"/>
                      <a:pt x="75" y="453"/>
                      <a:pt x="75" y="453"/>
                    </a:cubicBezTo>
                    <a:cubicBezTo>
                      <a:pt x="85" y="411"/>
                      <a:pt x="85" y="411"/>
                      <a:pt x="85" y="411"/>
                    </a:cubicBezTo>
                    <a:cubicBezTo>
                      <a:pt x="94" y="373"/>
                      <a:pt x="99" y="333"/>
                      <a:pt x="98" y="293"/>
                    </a:cubicBezTo>
                    <a:cubicBezTo>
                      <a:pt x="97" y="244"/>
                      <a:pt x="97" y="244"/>
                      <a:pt x="97" y="244"/>
                    </a:cubicBezTo>
                    <a:cubicBezTo>
                      <a:pt x="115" y="233"/>
                      <a:pt x="115" y="233"/>
                      <a:pt x="115" y="233"/>
                    </a:cubicBezTo>
                    <a:cubicBezTo>
                      <a:pt x="138" y="219"/>
                      <a:pt x="154" y="195"/>
                      <a:pt x="157" y="168"/>
                    </a:cubicBezTo>
                    <a:cubicBezTo>
                      <a:pt x="160" y="140"/>
                      <a:pt x="160" y="140"/>
                      <a:pt x="160" y="140"/>
                    </a:cubicBezTo>
                    <a:cubicBezTo>
                      <a:pt x="345" y="187"/>
                      <a:pt x="345" y="187"/>
                      <a:pt x="345" y="187"/>
                    </a:cubicBezTo>
                    <a:cubicBezTo>
                      <a:pt x="380" y="196"/>
                      <a:pt x="418" y="196"/>
                      <a:pt x="454" y="187"/>
                    </a:cubicBezTo>
                    <a:cubicBezTo>
                      <a:pt x="464" y="185"/>
                      <a:pt x="474" y="180"/>
                      <a:pt x="483" y="172"/>
                    </a:cubicBezTo>
                    <a:cubicBezTo>
                      <a:pt x="495" y="162"/>
                      <a:pt x="495" y="162"/>
                      <a:pt x="495" y="162"/>
                    </a:cubicBezTo>
                    <a:cubicBezTo>
                      <a:pt x="516" y="143"/>
                      <a:pt x="522" y="112"/>
                      <a:pt x="509" y="8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78" name="Freeform 46">
                <a:extLst>
                  <a:ext uri="{FF2B5EF4-FFF2-40B4-BE49-F238E27FC236}">
                    <a16:creationId xmlns:a16="http://schemas.microsoft.com/office/drawing/2014/main" id="{EF12BBCF-45E2-4A89-BDF0-F827C1E1A6EC}"/>
                  </a:ext>
                </a:extLst>
              </p:cNvPr>
              <p:cNvSpPr>
                <a:spLocks/>
              </p:cNvSpPr>
              <p:nvPr/>
            </p:nvSpPr>
            <p:spPr bwMode="auto">
              <a:xfrm>
                <a:off x="7238905" y="4255413"/>
                <a:ext cx="19166" cy="18383"/>
              </a:xfrm>
              <a:custGeom>
                <a:avLst/>
                <a:gdLst>
                  <a:gd name="T0" fmla="*/ 38 w 39"/>
                  <a:gd name="T1" fmla="*/ 21 h 38"/>
                  <a:gd name="T2" fmla="*/ 18 w 39"/>
                  <a:gd name="T3" fmla="*/ 37 h 38"/>
                  <a:gd name="T4" fmla="*/ 1 w 39"/>
                  <a:gd name="T5" fmla="*/ 17 h 38"/>
                  <a:gd name="T6" fmla="*/ 22 w 39"/>
                  <a:gd name="T7" fmla="*/ 1 h 38"/>
                  <a:gd name="T8" fmla="*/ 38 w 39"/>
                  <a:gd name="T9" fmla="*/ 21 h 38"/>
                </a:gdLst>
                <a:ahLst/>
                <a:cxnLst>
                  <a:cxn ang="0">
                    <a:pos x="T0" y="T1"/>
                  </a:cxn>
                  <a:cxn ang="0">
                    <a:pos x="T2" y="T3"/>
                  </a:cxn>
                  <a:cxn ang="0">
                    <a:pos x="T4" y="T5"/>
                  </a:cxn>
                  <a:cxn ang="0">
                    <a:pos x="T6" y="T7"/>
                  </a:cxn>
                  <a:cxn ang="0">
                    <a:pos x="T8" y="T9"/>
                  </a:cxn>
                </a:cxnLst>
                <a:rect l="0" t="0" r="r" b="b"/>
                <a:pathLst>
                  <a:path w="39" h="38">
                    <a:moveTo>
                      <a:pt x="38" y="21"/>
                    </a:moveTo>
                    <a:cubicBezTo>
                      <a:pt x="37" y="31"/>
                      <a:pt x="28" y="38"/>
                      <a:pt x="18" y="37"/>
                    </a:cubicBezTo>
                    <a:cubicBezTo>
                      <a:pt x="8" y="36"/>
                      <a:pt x="0" y="27"/>
                      <a:pt x="1" y="17"/>
                    </a:cubicBezTo>
                    <a:cubicBezTo>
                      <a:pt x="3" y="7"/>
                      <a:pt x="12" y="0"/>
                      <a:pt x="22" y="1"/>
                    </a:cubicBezTo>
                    <a:cubicBezTo>
                      <a:pt x="32" y="2"/>
                      <a:pt x="39" y="11"/>
                      <a:pt x="38"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79" name="Freeform 47">
                <a:extLst>
                  <a:ext uri="{FF2B5EF4-FFF2-40B4-BE49-F238E27FC236}">
                    <a16:creationId xmlns:a16="http://schemas.microsoft.com/office/drawing/2014/main" id="{ED83BA96-223C-410F-A3E9-C55DF97B5B1D}"/>
                  </a:ext>
                </a:extLst>
              </p:cNvPr>
              <p:cNvSpPr>
                <a:spLocks/>
              </p:cNvSpPr>
              <p:nvPr/>
            </p:nvSpPr>
            <p:spPr bwMode="auto">
              <a:xfrm>
                <a:off x="7331604" y="4264800"/>
                <a:ext cx="18383" cy="19166"/>
              </a:xfrm>
              <a:custGeom>
                <a:avLst/>
                <a:gdLst>
                  <a:gd name="T0" fmla="*/ 37 w 38"/>
                  <a:gd name="T1" fmla="*/ 21 h 39"/>
                  <a:gd name="T2" fmla="*/ 17 w 38"/>
                  <a:gd name="T3" fmla="*/ 38 h 39"/>
                  <a:gd name="T4" fmla="*/ 1 w 38"/>
                  <a:gd name="T5" fmla="*/ 17 h 39"/>
                  <a:gd name="T6" fmla="*/ 21 w 38"/>
                  <a:gd name="T7" fmla="*/ 1 h 39"/>
                  <a:gd name="T8" fmla="*/ 37 w 38"/>
                  <a:gd name="T9" fmla="*/ 21 h 39"/>
                </a:gdLst>
                <a:ahLst/>
                <a:cxnLst>
                  <a:cxn ang="0">
                    <a:pos x="T0" y="T1"/>
                  </a:cxn>
                  <a:cxn ang="0">
                    <a:pos x="T2" y="T3"/>
                  </a:cxn>
                  <a:cxn ang="0">
                    <a:pos x="T4" y="T5"/>
                  </a:cxn>
                  <a:cxn ang="0">
                    <a:pos x="T6" y="T7"/>
                  </a:cxn>
                  <a:cxn ang="0">
                    <a:pos x="T8" y="T9"/>
                  </a:cxn>
                </a:cxnLst>
                <a:rect l="0" t="0" r="r" b="b"/>
                <a:pathLst>
                  <a:path w="38" h="39">
                    <a:moveTo>
                      <a:pt x="37" y="21"/>
                    </a:moveTo>
                    <a:cubicBezTo>
                      <a:pt x="36" y="31"/>
                      <a:pt x="27" y="39"/>
                      <a:pt x="17" y="38"/>
                    </a:cubicBezTo>
                    <a:cubicBezTo>
                      <a:pt x="7" y="36"/>
                      <a:pt x="0" y="27"/>
                      <a:pt x="1" y="17"/>
                    </a:cubicBezTo>
                    <a:cubicBezTo>
                      <a:pt x="2" y="7"/>
                      <a:pt x="11" y="0"/>
                      <a:pt x="21" y="1"/>
                    </a:cubicBezTo>
                    <a:cubicBezTo>
                      <a:pt x="31" y="2"/>
                      <a:pt x="38" y="11"/>
                      <a:pt x="37"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80" name="Freeform 48">
                <a:extLst>
                  <a:ext uri="{FF2B5EF4-FFF2-40B4-BE49-F238E27FC236}">
                    <a16:creationId xmlns:a16="http://schemas.microsoft.com/office/drawing/2014/main" id="{7BBAC1CA-2EB3-4EB1-9E38-F431A10D3B5C}"/>
                  </a:ext>
                </a:extLst>
              </p:cNvPr>
              <p:cNvSpPr>
                <a:spLocks/>
              </p:cNvSpPr>
              <p:nvPr/>
            </p:nvSpPr>
            <p:spPr bwMode="auto">
              <a:xfrm>
                <a:off x="7265111" y="4342635"/>
                <a:ext cx="53194" cy="21121"/>
              </a:xfrm>
              <a:custGeom>
                <a:avLst/>
                <a:gdLst>
                  <a:gd name="T0" fmla="*/ 93 w 109"/>
                  <a:gd name="T1" fmla="*/ 42 h 43"/>
                  <a:gd name="T2" fmla="*/ 12 w 109"/>
                  <a:gd name="T3" fmla="*/ 33 h 43"/>
                  <a:gd name="T4" fmla="*/ 0 w 109"/>
                  <a:gd name="T5" fmla="*/ 19 h 43"/>
                  <a:gd name="T6" fmla="*/ 2 w 109"/>
                  <a:gd name="T7" fmla="*/ 0 h 43"/>
                  <a:gd name="T8" fmla="*/ 109 w 109"/>
                  <a:gd name="T9" fmla="*/ 11 h 43"/>
                  <a:gd name="T10" fmla="*/ 107 w 109"/>
                  <a:gd name="T11" fmla="*/ 31 h 43"/>
                  <a:gd name="T12" fmla="*/ 93 w 109"/>
                  <a:gd name="T13" fmla="*/ 42 h 43"/>
                </a:gdLst>
                <a:ahLst/>
                <a:cxnLst>
                  <a:cxn ang="0">
                    <a:pos x="T0" y="T1"/>
                  </a:cxn>
                  <a:cxn ang="0">
                    <a:pos x="T2" y="T3"/>
                  </a:cxn>
                  <a:cxn ang="0">
                    <a:pos x="T4" y="T5"/>
                  </a:cxn>
                  <a:cxn ang="0">
                    <a:pos x="T6" y="T7"/>
                  </a:cxn>
                  <a:cxn ang="0">
                    <a:pos x="T8" y="T9"/>
                  </a:cxn>
                  <a:cxn ang="0">
                    <a:pos x="T10" y="T11"/>
                  </a:cxn>
                  <a:cxn ang="0">
                    <a:pos x="T12" y="T13"/>
                  </a:cxn>
                </a:cxnLst>
                <a:rect l="0" t="0" r="r" b="b"/>
                <a:pathLst>
                  <a:path w="109" h="43">
                    <a:moveTo>
                      <a:pt x="93" y="42"/>
                    </a:moveTo>
                    <a:cubicBezTo>
                      <a:pt x="12" y="33"/>
                      <a:pt x="12" y="33"/>
                      <a:pt x="12" y="33"/>
                    </a:cubicBezTo>
                    <a:cubicBezTo>
                      <a:pt x="5" y="32"/>
                      <a:pt x="0" y="26"/>
                      <a:pt x="0" y="19"/>
                    </a:cubicBezTo>
                    <a:cubicBezTo>
                      <a:pt x="2" y="0"/>
                      <a:pt x="2" y="0"/>
                      <a:pt x="2" y="0"/>
                    </a:cubicBezTo>
                    <a:cubicBezTo>
                      <a:pt x="109" y="11"/>
                      <a:pt x="109" y="11"/>
                      <a:pt x="109" y="11"/>
                    </a:cubicBezTo>
                    <a:cubicBezTo>
                      <a:pt x="107" y="31"/>
                      <a:pt x="107" y="31"/>
                      <a:pt x="107" y="31"/>
                    </a:cubicBezTo>
                    <a:cubicBezTo>
                      <a:pt x="107" y="38"/>
                      <a:pt x="100" y="43"/>
                      <a:pt x="93"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81" name="Freeform 49">
                <a:extLst>
                  <a:ext uri="{FF2B5EF4-FFF2-40B4-BE49-F238E27FC236}">
                    <a16:creationId xmlns:a16="http://schemas.microsoft.com/office/drawing/2014/main" id="{095F55BD-CB52-4D06-920E-0BE109030C5F}"/>
                  </a:ext>
                </a:extLst>
              </p:cNvPr>
              <p:cNvSpPr>
                <a:spLocks noEditPoints="1"/>
              </p:cNvSpPr>
              <p:nvPr/>
            </p:nvSpPr>
            <p:spPr bwMode="auto">
              <a:xfrm>
                <a:off x="7142296" y="4229989"/>
                <a:ext cx="232333" cy="74706"/>
              </a:xfrm>
              <a:custGeom>
                <a:avLst/>
                <a:gdLst>
                  <a:gd name="T0" fmla="*/ 450 w 478"/>
                  <a:gd name="T1" fmla="*/ 48 h 154"/>
                  <a:gd name="T2" fmla="*/ 376 w 478"/>
                  <a:gd name="T3" fmla="*/ 40 h 154"/>
                  <a:gd name="T4" fmla="*/ 376 w 478"/>
                  <a:gd name="T5" fmla="*/ 40 h 154"/>
                  <a:gd name="T6" fmla="*/ 260 w 478"/>
                  <a:gd name="T7" fmla="*/ 28 h 154"/>
                  <a:gd name="T8" fmla="*/ 159 w 478"/>
                  <a:gd name="T9" fmla="*/ 17 h 154"/>
                  <a:gd name="T10" fmla="*/ 0 w 478"/>
                  <a:gd name="T11" fmla="*/ 0 h 154"/>
                  <a:gd name="T12" fmla="*/ 5 w 478"/>
                  <a:gd name="T13" fmla="*/ 13 h 154"/>
                  <a:gd name="T14" fmla="*/ 134 w 478"/>
                  <a:gd name="T15" fmla="*/ 27 h 154"/>
                  <a:gd name="T16" fmla="*/ 127 w 478"/>
                  <a:gd name="T17" fmla="*/ 43 h 154"/>
                  <a:gd name="T18" fmla="*/ 122 w 478"/>
                  <a:gd name="T19" fmla="*/ 91 h 154"/>
                  <a:gd name="T20" fmla="*/ 148 w 478"/>
                  <a:gd name="T21" fmla="*/ 123 h 154"/>
                  <a:gd name="T22" fmla="*/ 248 w 478"/>
                  <a:gd name="T23" fmla="*/ 134 h 154"/>
                  <a:gd name="T24" fmla="*/ 252 w 478"/>
                  <a:gd name="T25" fmla="*/ 134 h 154"/>
                  <a:gd name="T26" fmla="*/ 281 w 478"/>
                  <a:gd name="T27" fmla="*/ 108 h 154"/>
                  <a:gd name="T28" fmla="*/ 286 w 478"/>
                  <a:gd name="T29" fmla="*/ 60 h 154"/>
                  <a:gd name="T30" fmla="*/ 282 w 478"/>
                  <a:gd name="T31" fmla="*/ 43 h 154"/>
                  <a:gd name="T32" fmla="*/ 351 w 478"/>
                  <a:gd name="T33" fmla="*/ 50 h 154"/>
                  <a:gd name="T34" fmla="*/ 344 w 478"/>
                  <a:gd name="T35" fmla="*/ 66 h 154"/>
                  <a:gd name="T36" fmla="*/ 342 w 478"/>
                  <a:gd name="T37" fmla="*/ 80 h 154"/>
                  <a:gd name="T38" fmla="*/ 353 w 478"/>
                  <a:gd name="T39" fmla="*/ 100 h 154"/>
                  <a:gd name="T40" fmla="*/ 356 w 478"/>
                  <a:gd name="T41" fmla="*/ 67 h 154"/>
                  <a:gd name="T42" fmla="*/ 362 w 478"/>
                  <a:gd name="T43" fmla="*/ 56 h 154"/>
                  <a:gd name="T44" fmla="*/ 375 w 478"/>
                  <a:gd name="T45" fmla="*/ 52 h 154"/>
                  <a:gd name="T46" fmla="*/ 449 w 478"/>
                  <a:gd name="T47" fmla="*/ 60 h 154"/>
                  <a:gd name="T48" fmla="*/ 464 w 478"/>
                  <a:gd name="T49" fmla="*/ 79 h 154"/>
                  <a:gd name="T50" fmla="*/ 459 w 478"/>
                  <a:gd name="T51" fmla="*/ 127 h 154"/>
                  <a:gd name="T52" fmla="*/ 440 w 478"/>
                  <a:gd name="T53" fmla="*/ 142 h 154"/>
                  <a:gd name="T54" fmla="*/ 374 w 478"/>
                  <a:gd name="T55" fmla="*/ 135 h 154"/>
                  <a:gd name="T56" fmla="*/ 384 w 478"/>
                  <a:gd name="T57" fmla="*/ 148 h 154"/>
                  <a:gd name="T58" fmla="*/ 439 w 478"/>
                  <a:gd name="T59" fmla="*/ 154 h 154"/>
                  <a:gd name="T60" fmla="*/ 442 w 478"/>
                  <a:gd name="T61" fmla="*/ 154 h 154"/>
                  <a:gd name="T62" fmla="*/ 471 w 478"/>
                  <a:gd name="T63" fmla="*/ 128 h 154"/>
                  <a:gd name="T64" fmla="*/ 476 w 478"/>
                  <a:gd name="T65" fmla="*/ 80 h 154"/>
                  <a:gd name="T66" fmla="*/ 450 w 478"/>
                  <a:gd name="T67" fmla="*/ 48 h 154"/>
                  <a:gd name="T68" fmla="*/ 273 w 478"/>
                  <a:gd name="T69" fmla="*/ 59 h 154"/>
                  <a:gd name="T70" fmla="*/ 268 w 478"/>
                  <a:gd name="T71" fmla="*/ 107 h 154"/>
                  <a:gd name="T72" fmla="*/ 250 w 478"/>
                  <a:gd name="T73" fmla="*/ 121 h 154"/>
                  <a:gd name="T74" fmla="*/ 149 w 478"/>
                  <a:gd name="T75" fmla="*/ 111 h 154"/>
                  <a:gd name="T76" fmla="*/ 134 w 478"/>
                  <a:gd name="T77" fmla="*/ 92 h 154"/>
                  <a:gd name="T78" fmla="*/ 139 w 478"/>
                  <a:gd name="T79" fmla="*/ 44 h 154"/>
                  <a:gd name="T80" fmla="*/ 158 w 478"/>
                  <a:gd name="T81" fmla="*/ 29 h 154"/>
                  <a:gd name="T82" fmla="*/ 258 w 478"/>
                  <a:gd name="T83" fmla="*/ 40 h 154"/>
                  <a:gd name="T84" fmla="*/ 273 w 478"/>
                  <a:gd name="T85" fmla="*/ 5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8" h="154">
                    <a:moveTo>
                      <a:pt x="450" y="48"/>
                    </a:moveTo>
                    <a:cubicBezTo>
                      <a:pt x="376" y="40"/>
                      <a:pt x="376" y="40"/>
                      <a:pt x="376" y="40"/>
                    </a:cubicBezTo>
                    <a:cubicBezTo>
                      <a:pt x="376" y="40"/>
                      <a:pt x="376" y="40"/>
                      <a:pt x="376" y="40"/>
                    </a:cubicBezTo>
                    <a:cubicBezTo>
                      <a:pt x="260" y="28"/>
                      <a:pt x="260" y="28"/>
                      <a:pt x="260" y="28"/>
                    </a:cubicBezTo>
                    <a:cubicBezTo>
                      <a:pt x="159" y="17"/>
                      <a:pt x="159" y="17"/>
                      <a:pt x="159" y="17"/>
                    </a:cubicBezTo>
                    <a:cubicBezTo>
                      <a:pt x="0" y="0"/>
                      <a:pt x="0" y="0"/>
                      <a:pt x="0" y="0"/>
                    </a:cubicBezTo>
                    <a:cubicBezTo>
                      <a:pt x="5" y="13"/>
                      <a:pt x="5" y="13"/>
                      <a:pt x="5" y="13"/>
                    </a:cubicBezTo>
                    <a:cubicBezTo>
                      <a:pt x="134" y="27"/>
                      <a:pt x="134" y="27"/>
                      <a:pt x="134" y="27"/>
                    </a:cubicBezTo>
                    <a:cubicBezTo>
                      <a:pt x="130" y="31"/>
                      <a:pt x="128" y="37"/>
                      <a:pt x="127" y="43"/>
                    </a:cubicBezTo>
                    <a:cubicBezTo>
                      <a:pt x="122" y="91"/>
                      <a:pt x="122" y="91"/>
                      <a:pt x="122" y="91"/>
                    </a:cubicBezTo>
                    <a:cubicBezTo>
                      <a:pt x="120" y="107"/>
                      <a:pt x="132" y="121"/>
                      <a:pt x="148" y="123"/>
                    </a:cubicBezTo>
                    <a:cubicBezTo>
                      <a:pt x="248" y="134"/>
                      <a:pt x="248" y="134"/>
                      <a:pt x="248" y="134"/>
                    </a:cubicBezTo>
                    <a:cubicBezTo>
                      <a:pt x="249" y="134"/>
                      <a:pt x="251" y="134"/>
                      <a:pt x="252" y="134"/>
                    </a:cubicBezTo>
                    <a:cubicBezTo>
                      <a:pt x="266" y="134"/>
                      <a:pt x="279" y="123"/>
                      <a:pt x="281" y="108"/>
                    </a:cubicBezTo>
                    <a:cubicBezTo>
                      <a:pt x="286" y="60"/>
                      <a:pt x="286" y="60"/>
                      <a:pt x="286" y="60"/>
                    </a:cubicBezTo>
                    <a:cubicBezTo>
                      <a:pt x="286" y="54"/>
                      <a:pt x="285" y="48"/>
                      <a:pt x="282" y="43"/>
                    </a:cubicBezTo>
                    <a:cubicBezTo>
                      <a:pt x="351" y="50"/>
                      <a:pt x="351" y="50"/>
                      <a:pt x="351" y="50"/>
                    </a:cubicBezTo>
                    <a:cubicBezTo>
                      <a:pt x="347" y="54"/>
                      <a:pt x="344" y="60"/>
                      <a:pt x="344" y="66"/>
                    </a:cubicBezTo>
                    <a:cubicBezTo>
                      <a:pt x="342" y="80"/>
                      <a:pt x="342" y="80"/>
                      <a:pt x="342" y="80"/>
                    </a:cubicBezTo>
                    <a:cubicBezTo>
                      <a:pt x="353" y="100"/>
                      <a:pt x="353" y="100"/>
                      <a:pt x="353" y="100"/>
                    </a:cubicBezTo>
                    <a:cubicBezTo>
                      <a:pt x="356" y="67"/>
                      <a:pt x="356" y="67"/>
                      <a:pt x="356" y="67"/>
                    </a:cubicBezTo>
                    <a:cubicBezTo>
                      <a:pt x="357" y="63"/>
                      <a:pt x="359" y="59"/>
                      <a:pt x="362" y="56"/>
                    </a:cubicBezTo>
                    <a:cubicBezTo>
                      <a:pt x="366" y="53"/>
                      <a:pt x="370" y="52"/>
                      <a:pt x="375" y="52"/>
                    </a:cubicBezTo>
                    <a:cubicBezTo>
                      <a:pt x="449" y="60"/>
                      <a:pt x="449" y="60"/>
                      <a:pt x="449" y="60"/>
                    </a:cubicBezTo>
                    <a:cubicBezTo>
                      <a:pt x="458" y="61"/>
                      <a:pt x="465" y="70"/>
                      <a:pt x="464" y="79"/>
                    </a:cubicBezTo>
                    <a:cubicBezTo>
                      <a:pt x="459" y="127"/>
                      <a:pt x="459" y="127"/>
                      <a:pt x="459" y="127"/>
                    </a:cubicBezTo>
                    <a:cubicBezTo>
                      <a:pt x="458" y="136"/>
                      <a:pt x="449" y="143"/>
                      <a:pt x="440" y="142"/>
                    </a:cubicBezTo>
                    <a:cubicBezTo>
                      <a:pt x="374" y="135"/>
                      <a:pt x="374" y="135"/>
                      <a:pt x="374" y="135"/>
                    </a:cubicBezTo>
                    <a:cubicBezTo>
                      <a:pt x="384" y="148"/>
                      <a:pt x="384" y="148"/>
                      <a:pt x="384" y="148"/>
                    </a:cubicBezTo>
                    <a:cubicBezTo>
                      <a:pt x="439" y="154"/>
                      <a:pt x="439" y="154"/>
                      <a:pt x="439" y="154"/>
                    </a:cubicBezTo>
                    <a:cubicBezTo>
                      <a:pt x="440" y="154"/>
                      <a:pt x="441" y="154"/>
                      <a:pt x="442" y="154"/>
                    </a:cubicBezTo>
                    <a:cubicBezTo>
                      <a:pt x="457" y="154"/>
                      <a:pt x="469" y="143"/>
                      <a:pt x="471" y="128"/>
                    </a:cubicBezTo>
                    <a:cubicBezTo>
                      <a:pt x="476" y="80"/>
                      <a:pt x="476" y="80"/>
                      <a:pt x="476" y="80"/>
                    </a:cubicBezTo>
                    <a:cubicBezTo>
                      <a:pt x="478" y="64"/>
                      <a:pt x="466" y="50"/>
                      <a:pt x="450" y="48"/>
                    </a:cubicBezTo>
                    <a:close/>
                    <a:moveTo>
                      <a:pt x="273" y="59"/>
                    </a:moveTo>
                    <a:cubicBezTo>
                      <a:pt x="268" y="107"/>
                      <a:pt x="268" y="107"/>
                      <a:pt x="268" y="107"/>
                    </a:cubicBezTo>
                    <a:cubicBezTo>
                      <a:pt x="267" y="116"/>
                      <a:pt x="259" y="122"/>
                      <a:pt x="250" y="121"/>
                    </a:cubicBezTo>
                    <a:cubicBezTo>
                      <a:pt x="149" y="111"/>
                      <a:pt x="149" y="111"/>
                      <a:pt x="149" y="111"/>
                    </a:cubicBezTo>
                    <a:cubicBezTo>
                      <a:pt x="140" y="110"/>
                      <a:pt x="133" y="101"/>
                      <a:pt x="134" y="92"/>
                    </a:cubicBezTo>
                    <a:cubicBezTo>
                      <a:pt x="139" y="44"/>
                      <a:pt x="139" y="44"/>
                      <a:pt x="139" y="44"/>
                    </a:cubicBezTo>
                    <a:cubicBezTo>
                      <a:pt x="140" y="35"/>
                      <a:pt x="149" y="28"/>
                      <a:pt x="158" y="29"/>
                    </a:cubicBezTo>
                    <a:cubicBezTo>
                      <a:pt x="258" y="40"/>
                      <a:pt x="258" y="40"/>
                      <a:pt x="258" y="40"/>
                    </a:cubicBezTo>
                    <a:cubicBezTo>
                      <a:pt x="268" y="41"/>
                      <a:pt x="274" y="49"/>
                      <a:pt x="273" y="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82" name="Freeform 50">
                <a:extLst>
                  <a:ext uri="{FF2B5EF4-FFF2-40B4-BE49-F238E27FC236}">
                    <a16:creationId xmlns:a16="http://schemas.microsoft.com/office/drawing/2014/main" id="{C4C2FC74-DFAF-4629-9E90-8ED1729CEBA8}"/>
                  </a:ext>
                </a:extLst>
              </p:cNvPr>
              <p:cNvSpPr>
                <a:spLocks/>
              </p:cNvSpPr>
              <p:nvPr/>
            </p:nvSpPr>
            <p:spPr bwMode="auto">
              <a:xfrm>
                <a:off x="7112961" y="4230771"/>
                <a:ext cx="32073" cy="53194"/>
              </a:xfrm>
              <a:custGeom>
                <a:avLst/>
                <a:gdLst>
                  <a:gd name="T0" fmla="*/ 39 w 66"/>
                  <a:gd name="T1" fmla="*/ 1 h 109"/>
                  <a:gd name="T2" fmla="*/ 6 w 66"/>
                  <a:gd name="T3" fmla="*/ 27 h 109"/>
                  <a:gd name="T4" fmla="*/ 3 w 66"/>
                  <a:gd name="T5" fmla="*/ 59 h 109"/>
                  <a:gd name="T6" fmla="*/ 42 w 66"/>
                  <a:gd name="T7" fmla="*/ 108 h 109"/>
                  <a:gd name="T8" fmla="*/ 57 w 66"/>
                  <a:gd name="T9" fmla="*/ 109 h 109"/>
                  <a:gd name="T10" fmla="*/ 59 w 66"/>
                  <a:gd name="T11" fmla="*/ 84 h 109"/>
                  <a:gd name="T12" fmla="*/ 53 w 66"/>
                  <a:gd name="T13" fmla="*/ 75 h 109"/>
                  <a:gd name="T14" fmla="*/ 60 w 66"/>
                  <a:gd name="T15" fmla="*/ 47 h 109"/>
                  <a:gd name="T16" fmla="*/ 64 w 66"/>
                  <a:gd name="T17" fmla="*/ 45 h 109"/>
                  <a:gd name="T18" fmla="*/ 65 w 66"/>
                  <a:gd name="T19" fmla="*/ 33 h 109"/>
                  <a:gd name="T20" fmla="*/ 39 w 66"/>
                  <a:gd name="T21" fmla="*/ 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09">
                    <a:moveTo>
                      <a:pt x="39" y="1"/>
                    </a:moveTo>
                    <a:cubicBezTo>
                      <a:pt x="23" y="0"/>
                      <a:pt x="8" y="11"/>
                      <a:pt x="6" y="27"/>
                    </a:cubicBezTo>
                    <a:cubicBezTo>
                      <a:pt x="3" y="59"/>
                      <a:pt x="3" y="59"/>
                      <a:pt x="3" y="59"/>
                    </a:cubicBezTo>
                    <a:cubicBezTo>
                      <a:pt x="0" y="83"/>
                      <a:pt x="18" y="105"/>
                      <a:pt x="42" y="108"/>
                    </a:cubicBezTo>
                    <a:cubicBezTo>
                      <a:pt x="57" y="109"/>
                      <a:pt x="57" y="109"/>
                      <a:pt x="57" y="109"/>
                    </a:cubicBezTo>
                    <a:cubicBezTo>
                      <a:pt x="59" y="84"/>
                      <a:pt x="59" y="84"/>
                      <a:pt x="59" y="84"/>
                    </a:cubicBezTo>
                    <a:cubicBezTo>
                      <a:pt x="53" y="75"/>
                      <a:pt x="53" y="75"/>
                      <a:pt x="53" y="75"/>
                    </a:cubicBezTo>
                    <a:cubicBezTo>
                      <a:pt x="47" y="65"/>
                      <a:pt x="50" y="53"/>
                      <a:pt x="60" y="47"/>
                    </a:cubicBezTo>
                    <a:cubicBezTo>
                      <a:pt x="64" y="45"/>
                      <a:pt x="64" y="45"/>
                      <a:pt x="64" y="45"/>
                    </a:cubicBezTo>
                    <a:cubicBezTo>
                      <a:pt x="65" y="33"/>
                      <a:pt x="65" y="33"/>
                      <a:pt x="65" y="33"/>
                    </a:cubicBezTo>
                    <a:cubicBezTo>
                      <a:pt x="66" y="17"/>
                      <a:pt x="55" y="3"/>
                      <a:pt x="39" y="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83" name="Freeform 51">
                <a:extLst>
                  <a:ext uri="{FF2B5EF4-FFF2-40B4-BE49-F238E27FC236}">
                    <a16:creationId xmlns:a16="http://schemas.microsoft.com/office/drawing/2014/main" id="{330D3946-8CD5-4CF3-8204-5A4B21BCED21}"/>
                  </a:ext>
                </a:extLst>
              </p:cNvPr>
              <p:cNvSpPr>
                <a:spLocks/>
              </p:cNvSpPr>
              <p:nvPr/>
            </p:nvSpPr>
            <p:spPr bwMode="auto">
              <a:xfrm>
                <a:off x="7043730" y="5077573"/>
                <a:ext cx="119687" cy="59061"/>
              </a:xfrm>
              <a:custGeom>
                <a:avLst/>
                <a:gdLst>
                  <a:gd name="T0" fmla="*/ 276 w 306"/>
                  <a:gd name="T1" fmla="*/ 151 h 151"/>
                  <a:gd name="T2" fmla="*/ 0 w 306"/>
                  <a:gd name="T3" fmla="*/ 100 h 151"/>
                  <a:gd name="T4" fmla="*/ 18 w 306"/>
                  <a:gd name="T5" fmla="*/ 0 h 151"/>
                  <a:gd name="T6" fmla="*/ 306 w 306"/>
                  <a:gd name="T7" fmla="*/ 49 h 151"/>
                  <a:gd name="T8" fmla="*/ 276 w 306"/>
                  <a:gd name="T9" fmla="*/ 151 h 151"/>
                </a:gdLst>
                <a:ahLst/>
                <a:cxnLst>
                  <a:cxn ang="0">
                    <a:pos x="T0" y="T1"/>
                  </a:cxn>
                  <a:cxn ang="0">
                    <a:pos x="T2" y="T3"/>
                  </a:cxn>
                  <a:cxn ang="0">
                    <a:pos x="T4" y="T5"/>
                  </a:cxn>
                  <a:cxn ang="0">
                    <a:pos x="T6" y="T7"/>
                  </a:cxn>
                  <a:cxn ang="0">
                    <a:pos x="T8" y="T9"/>
                  </a:cxn>
                </a:cxnLst>
                <a:rect l="0" t="0" r="r" b="b"/>
                <a:pathLst>
                  <a:path w="306" h="151">
                    <a:moveTo>
                      <a:pt x="276" y="151"/>
                    </a:moveTo>
                    <a:lnTo>
                      <a:pt x="0" y="100"/>
                    </a:lnTo>
                    <a:lnTo>
                      <a:pt x="18" y="0"/>
                    </a:lnTo>
                    <a:lnTo>
                      <a:pt x="306" y="49"/>
                    </a:lnTo>
                    <a:lnTo>
                      <a:pt x="276" y="151"/>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84" name="Freeform 53">
                <a:extLst>
                  <a:ext uri="{FF2B5EF4-FFF2-40B4-BE49-F238E27FC236}">
                    <a16:creationId xmlns:a16="http://schemas.microsoft.com/office/drawing/2014/main" id="{CB0A23AD-2B49-4D99-92D4-6372F5934DF7}"/>
                  </a:ext>
                </a:extLst>
              </p:cNvPr>
              <p:cNvSpPr>
                <a:spLocks/>
              </p:cNvSpPr>
              <p:nvPr/>
            </p:nvSpPr>
            <p:spPr bwMode="auto">
              <a:xfrm>
                <a:off x="7423911" y="4787353"/>
                <a:ext cx="43807" cy="38722"/>
              </a:xfrm>
              <a:custGeom>
                <a:avLst/>
                <a:gdLst>
                  <a:gd name="T0" fmla="*/ 19 w 90"/>
                  <a:gd name="T1" fmla="*/ 80 h 80"/>
                  <a:gd name="T2" fmla="*/ 90 w 90"/>
                  <a:gd name="T3" fmla="*/ 0 h 80"/>
                  <a:gd name="T4" fmla="*/ 19 w 90"/>
                  <a:gd name="T5" fmla="*/ 80 h 80"/>
                </a:gdLst>
                <a:ahLst/>
                <a:cxnLst>
                  <a:cxn ang="0">
                    <a:pos x="T0" y="T1"/>
                  </a:cxn>
                  <a:cxn ang="0">
                    <a:pos x="T2" y="T3"/>
                  </a:cxn>
                  <a:cxn ang="0">
                    <a:pos x="T4" y="T5"/>
                  </a:cxn>
                </a:cxnLst>
                <a:rect l="0" t="0" r="r" b="b"/>
                <a:pathLst>
                  <a:path w="90" h="80">
                    <a:moveTo>
                      <a:pt x="19" y="80"/>
                    </a:moveTo>
                    <a:cubicBezTo>
                      <a:pt x="90" y="0"/>
                      <a:pt x="90" y="0"/>
                      <a:pt x="90" y="0"/>
                    </a:cubicBezTo>
                    <a:cubicBezTo>
                      <a:pt x="90" y="0"/>
                      <a:pt x="0" y="3"/>
                      <a:pt x="19" y="80"/>
                    </a:cubicBez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85" name="Freeform 54">
                <a:extLst>
                  <a:ext uri="{FF2B5EF4-FFF2-40B4-BE49-F238E27FC236}">
                    <a16:creationId xmlns:a16="http://schemas.microsoft.com/office/drawing/2014/main" id="{DD73A1E5-0B14-4A12-B631-2CD94A8DF6F7}"/>
                  </a:ext>
                </a:extLst>
              </p:cNvPr>
              <p:cNvSpPr>
                <a:spLocks/>
              </p:cNvSpPr>
              <p:nvPr/>
            </p:nvSpPr>
            <p:spPr bwMode="auto">
              <a:xfrm>
                <a:off x="7035908" y="4783050"/>
                <a:ext cx="68057" cy="43025"/>
              </a:xfrm>
              <a:custGeom>
                <a:avLst/>
                <a:gdLst>
                  <a:gd name="T0" fmla="*/ 151 w 174"/>
                  <a:gd name="T1" fmla="*/ 110 h 110"/>
                  <a:gd name="T2" fmla="*/ 174 w 174"/>
                  <a:gd name="T3" fmla="*/ 0 h 110"/>
                  <a:gd name="T4" fmla="*/ 0 w 174"/>
                  <a:gd name="T5" fmla="*/ 0 h 110"/>
                  <a:gd name="T6" fmla="*/ 13 w 174"/>
                  <a:gd name="T7" fmla="*/ 110 h 110"/>
                  <a:gd name="T8" fmla="*/ 151 w 174"/>
                  <a:gd name="T9" fmla="*/ 110 h 110"/>
                </a:gdLst>
                <a:ahLst/>
                <a:cxnLst>
                  <a:cxn ang="0">
                    <a:pos x="T0" y="T1"/>
                  </a:cxn>
                  <a:cxn ang="0">
                    <a:pos x="T2" y="T3"/>
                  </a:cxn>
                  <a:cxn ang="0">
                    <a:pos x="T4" y="T5"/>
                  </a:cxn>
                  <a:cxn ang="0">
                    <a:pos x="T6" y="T7"/>
                  </a:cxn>
                  <a:cxn ang="0">
                    <a:pos x="T8" y="T9"/>
                  </a:cxn>
                </a:cxnLst>
                <a:rect l="0" t="0" r="r" b="b"/>
                <a:pathLst>
                  <a:path w="174" h="110">
                    <a:moveTo>
                      <a:pt x="151" y="110"/>
                    </a:moveTo>
                    <a:lnTo>
                      <a:pt x="174" y="0"/>
                    </a:lnTo>
                    <a:lnTo>
                      <a:pt x="0" y="0"/>
                    </a:lnTo>
                    <a:lnTo>
                      <a:pt x="13" y="110"/>
                    </a:lnTo>
                    <a:lnTo>
                      <a:pt x="151" y="11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86" name="Freeform 55">
                <a:extLst>
                  <a:ext uri="{FF2B5EF4-FFF2-40B4-BE49-F238E27FC236}">
                    <a16:creationId xmlns:a16="http://schemas.microsoft.com/office/drawing/2014/main" id="{8972671A-4464-4F19-BB27-074B257E75F8}"/>
                  </a:ext>
                </a:extLst>
              </p:cNvPr>
              <p:cNvSpPr>
                <a:spLocks/>
              </p:cNvSpPr>
              <p:nvPr/>
            </p:nvSpPr>
            <p:spPr bwMode="auto">
              <a:xfrm>
                <a:off x="7001879" y="4415777"/>
                <a:ext cx="345762" cy="295305"/>
              </a:xfrm>
              <a:custGeom>
                <a:avLst/>
                <a:gdLst>
                  <a:gd name="T0" fmla="*/ 22 w 710"/>
                  <a:gd name="T1" fmla="*/ 157 h 608"/>
                  <a:gd name="T2" fmla="*/ 164 w 710"/>
                  <a:gd name="T3" fmla="*/ 562 h 608"/>
                  <a:gd name="T4" fmla="*/ 229 w 710"/>
                  <a:gd name="T5" fmla="*/ 608 h 608"/>
                  <a:gd name="T6" fmla="*/ 307 w 710"/>
                  <a:gd name="T7" fmla="*/ 608 h 608"/>
                  <a:gd name="T8" fmla="*/ 710 w 710"/>
                  <a:gd name="T9" fmla="*/ 342 h 608"/>
                  <a:gd name="T10" fmla="*/ 640 w 710"/>
                  <a:gd name="T11" fmla="*/ 240 h 608"/>
                  <a:gd name="T12" fmla="*/ 329 w 710"/>
                  <a:gd name="T13" fmla="*/ 373 h 608"/>
                  <a:gd name="T14" fmla="*/ 228 w 710"/>
                  <a:gd name="T15" fmla="*/ 80 h 608"/>
                  <a:gd name="T16" fmla="*/ 98 w 710"/>
                  <a:gd name="T17" fmla="*/ 14 h 608"/>
                  <a:gd name="T18" fmla="*/ 98 w 710"/>
                  <a:gd name="T19" fmla="*/ 14 h 608"/>
                  <a:gd name="T20" fmla="*/ 22 w 710"/>
                  <a:gd name="T21" fmla="*/ 157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0" h="608">
                    <a:moveTo>
                      <a:pt x="22" y="157"/>
                    </a:moveTo>
                    <a:cubicBezTo>
                      <a:pt x="164" y="562"/>
                      <a:pt x="164" y="562"/>
                      <a:pt x="164" y="562"/>
                    </a:cubicBezTo>
                    <a:cubicBezTo>
                      <a:pt x="173" y="590"/>
                      <a:pt x="200" y="608"/>
                      <a:pt x="229" y="608"/>
                    </a:cubicBezTo>
                    <a:cubicBezTo>
                      <a:pt x="307" y="608"/>
                      <a:pt x="307" y="608"/>
                      <a:pt x="307" y="608"/>
                    </a:cubicBezTo>
                    <a:cubicBezTo>
                      <a:pt x="710" y="342"/>
                      <a:pt x="710" y="342"/>
                      <a:pt x="710" y="342"/>
                    </a:cubicBezTo>
                    <a:cubicBezTo>
                      <a:pt x="640" y="240"/>
                      <a:pt x="640" y="240"/>
                      <a:pt x="640" y="240"/>
                    </a:cubicBezTo>
                    <a:cubicBezTo>
                      <a:pt x="329" y="373"/>
                      <a:pt x="329" y="373"/>
                      <a:pt x="329" y="373"/>
                    </a:cubicBezTo>
                    <a:cubicBezTo>
                      <a:pt x="228" y="80"/>
                      <a:pt x="228" y="80"/>
                      <a:pt x="228" y="80"/>
                    </a:cubicBezTo>
                    <a:cubicBezTo>
                      <a:pt x="208" y="29"/>
                      <a:pt x="152" y="0"/>
                      <a:pt x="98" y="14"/>
                    </a:cubicBezTo>
                    <a:cubicBezTo>
                      <a:pt x="98" y="14"/>
                      <a:pt x="98" y="14"/>
                      <a:pt x="98" y="14"/>
                    </a:cubicBezTo>
                    <a:cubicBezTo>
                      <a:pt x="36" y="30"/>
                      <a:pt x="0" y="96"/>
                      <a:pt x="22" y="157"/>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87" name="Freeform 56">
                <a:extLst>
                  <a:ext uri="{FF2B5EF4-FFF2-40B4-BE49-F238E27FC236}">
                    <a16:creationId xmlns:a16="http://schemas.microsoft.com/office/drawing/2014/main" id="{17121EED-FDB5-491D-8791-E6CE881590DC}"/>
                  </a:ext>
                </a:extLst>
              </p:cNvPr>
              <p:cNvSpPr>
                <a:spLocks/>
              </p:cNvSpPr>
              <p:nvPr/>
            </p:nvSpPr>
            <p:spPr bwMode="auto">
              <a:xfrm>
                <a:off x="7119610" y="4580835"/>
                <a:ext cx="42633" cy="34029"/>
              </a:xfrm>
              <a:custGeom>
                <a:avLst/>
                <a:gdLst>
                  <a:gd name="T0" fmla="*/ 87 w 87"/>
                  <a:gd name="T1" fmla="*/ 33 h 70"/>
                  <a:gd name="T2" fmla="*/ 0 w 87"/>
                  <a:gd name="T3" fmla="*/ 70 h 70"/>
                  <a:gd name="T4" fmla="*/ 87 w 87"/>
                  <a:gd name="T5" fmla="*/ 33 h 70"/>
                </a:gdLst>
                <a:ahLst/>
                <a:cxnLst>
                  <a:cxn ang="0">
                    <a:pos x="T0" y="T1"/>
                  </a:cxn>
                  <a:cxn ang="0">
                    <a:pos x="T2" y="T3"/>
                  </a:cxn>
                  <a:cxn ang="0">
                    <a:pos x="T4" y="T5"/>
                  </a:cxn>
                </a:cxnLst>
                <a:rect l="0" t="0" r="r" b="b"/>
                <a:pathLst>
                  <a:path w="87" h="70">
                    <a:moveTo>
                      <a:pt x="87" y="33"/>
                    </a:moveTo>
                    <a:cubicBezTo>
                      <a:pt x="0" y="70"/>
                      <a:pt x="0" y="70"/>
                      <a:pt x="0" y="70"/>
                    </a:cubicBezTo>
                    <a:cubicBezTo>
                      <a:pt x="0" y="70"/>
                      <a:pt x="20" y="0"/>
                      <a:pt x="87" y="33"/>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88" name="Freeform 57">
                <a:extLst>
                  <a:ext uri="{FF2B5EF4-FFF2-40B4-BE49-F238E27FC236}">
                    <a16:creationId xmlns:a16="http://schemas.microsoft.com/office/drawing/2014/main" id="{E9A5DAB6-B205-4AC9-8CCE-1B9C25770912}"/>
                  </a:ext>
                </a:extLst>
              </p:cNvPr>
              <p:cNvSpPr>
                <a:spLocks/>
              </p:cNvSpPr>
              <p:nvPr/>
            </p:nvSpPr>
            <p:spPr bwMode="auto">
              <a:xfrm>
                <a:off x="7317523" y="4428293"/>
                <a:ext cx="161538" cy="153324"/>
              </a:xfrm>
              <a:custGeom>
                <a:avLst/>
                <a:gdLst>
                  <a:gd name="T0" fmla="*/ 232 w 332"/>
                  <a:gd name="T1" fmla="*/ 0 h 316"/>
                  <a:gd name="T2" fmla="*/ 93 w 332"/>
                  <a:gd name="T3" fmla="*/ 53 h 316"/>
                  <a:gd name="T4" fmla="*/ 42 w 332"/>
                  <a:gd name="T5" fmla="*/ 102 h 316"/>
                  <a:gd name="T6" fmla="*/ 0 w 332"/>
                  <a:gd name="T7" fmla="*/ 227 h 316"/>
                  <a:gd name="T8" fmla="*/ 62 w 332"/>
                  <a:gd name="T9" fmla="*/ 316 h 316"/>
                  <a:gd name="T10" fmla="*/ 80 w 332"/>
                  <a:gd name="T11" fmla="*/ 314 h 316"/>
                  <a:gd name="T12" fmla="*/ 230 w 332"/>
                  <a:gd name="T13" fmla="*/ 263 h 316"/>
                  <a:gd name="T14" fmla="*/ 250 w 332"/>
                  <a:gd name="T15" fmla="*/ 252 h 316"/>
                  <a:gd name="T16" fmla="*/ 281 w 332"/>
                  <a:gd name="T17" fmla="*/ 231 h 316"/>
                  <a:gd name="T18" fmla="*/ 293 w 332"/>
                  <a:gd name="T19" fmla="*/ 208 h 316"/>
                  <a:gd name="T20" fmla="*/ 281 w 332"/>
                  <a:gd name="T21" fmla="*/ 185 h 316"/>
                  <a:gd name="T22" fmla="*/ 275 w 332"/>
                  <a:gd name="T23" fmla="*/ 181 h 316"/>
                  <a:gd name="T24" fmla="*/ 290 w 332"/>
                  <a:gd name="T25" fmla="*/ 178 h 316"/>
                  <a:gd name="T26" fmla="*/ 301 w 332"/>
                  <a:gd name="T27" fmla="*/ 166 h 316"/>
                  <a:gd name="T28" fmla="*/ 301 w 332"/>
                  <a:gd name="T29" fmla="*/ 150 h 316"/>
                  <a:gd name="T30" fmla="*/ 291 w 332"/>
                  <a:gd name="T31" fmla="*/ 138 h 316"/>
                  <a:gd name="T32" fmla="*/ 263 w 332"/>
                  <a:gd name="T33" fmla="*/ 130 h 316"/>
                  <a:gd name="T34" fmla="*/ 297 w 332"/>
                  <a:gd name="T35" fmla="*/ 126 h 316"/>
                  <a:gd name="T36" fmla="*/ 317 w 332"/>
                  <a:gd name="T37" fmla="*/ 103 h 316"/>
                  <a:gd name="T38" fmla="*/ 294 w 332"/>
                  <a:gd name="T39" fmla="*/ 81 h 316"/>
                  <a:gd name="T40" fmla="*/ 202 w 332"/>
                  <a:gd name="T41" fmla="*/ 84 h 316"/>
                  <a:gd name="T42" fmla="*/ 232 w 332"/>
                  <a:gd name="T43" fmla="*/ 58 h 316"/>
                  <a:gd name="T44" fmla="*/ 297 w 332"/>
                  <a:gd name="T45" fmla="*/ 58 h 316"/>
                  <a:gd name="T46" fmla="*/ 326 w 332"/>
                  <a:gd name="T47" fmla="*/ 37 h 316"/>
                  <a:gd name="T48" fmla="*/ 332 w 332"/>
                  <a:gd name="T49" fmla="*/ 24 h 316"/>
                  <a:gd name="T50" fmla="*/ 232 w 332"/>
                  <a:gd name="T51"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2" h="316">
                    <a:moveTo>
                      <a:pt x="232" y="0"/>
                    </a:moveTo>
                    <a:cubicBezTo>
                      <a:pt x="93" y="53"/>
                      <a:pt x="93" y="53"/>
                      <a:pt x="93" y="53"/>
                    </a:cubicBezTo>
                    <a:cubicBezTo>
                      <a:pt x="70" y="62"/>
                      <a:pt x="51" y="79"/>
                      <a:pt x="42" y="102"/>
                    </a:cubicBezTo>
                    <a:cubicBezTo>
                      <a:pt x="0" y="227"/>
                      <a:pt x="0" y="227"/>
                      <a:pt x="0" y="227"/>
                    </a:cubicBezTo>
                    <a:cubicBezTo>
                      <a:pt x="62" y="316"/>
                      <a:pt x="62" y="316"/>
                      <a:pt x="62" y="316"/>
                    </a:cubicBezTo>
                    <a:cubicBezTo>
                      <a:pt x="80" y="314"/>
                      <a:pt x="80" y="314"/>
                      <a:pt x="80" y="314"/>
                    </a:cubicBezTo>
                    <a:cubicBezTo>
                      <a:pt x="133" y="306"/>
                      <a:pt x="184" y="289"/>
                      <a:pt x="230" y="263"/>
                    </a:cubicBezTo>
                    <a:cubicBezTo>
                      <a:pt x="250" y="252"/>
                      <a:pt x="250" y="252"/>
                      <a:pt x="250" y="252"/>
                    </a:cubicBezTo>
                    <a:cubicBezTo>
                      <a:pt x="281" y="231"/>
                      <a:pt x="281" y="231"/>
                      <a:pt x="281" y="231"/>
                    </a:cubicBezTo>
                    <a:cubicBezTo>
                      <a:pt x="288" y="226"/>
                      <a:pt x="293" y="217"/>
                      <a:pt x="293" y="208"/>
                    </a:cubicBezTo>
                    <a:cubicBezTo>
                      <a:pt x="293" y="199"/>
                      <a:pt x="288" y="190"/>
                      <a:pt x="281" y="185"/>
                    </a:cubicBezTo>
                    <a:cubicBezTo>
                      <a:pt x="275" y="181"/>
                      <a:pt x="275" y="181"/>
                      <a:pt x="275" y="181"/>
                    </a:cubicBezTo>
                    <a:cubicBezTo>
                      <a:pt x="290" y="178"/>
                      <a:pt x="290" y="178"/>
                      <a:pt x="290" y="178"/>
                    </a:cubicBezTo>
                    <a:cubicBezTo>
                      <a:pt x="296" y="177"/>
                      <a:pt x="301" y="172"/>
                      <a:pt x="301" y="166"/>
                    </a:cubicBezTo>
                    <a:cubicBezTo>
                      <a:pt x="301" y="150"/>
                      <a:pt x="301" y="150"/>
                      <a:pt x="301" y="150"/>
                    </a:cubicBezTo>
                    <a:cubicBezTo>
                      <a:pt x="301" y="144"/>
                      <a:pt x="297" y="139"/>
                      <a:pt x="291" y="138"/>
                    </a:cubicBezTo>
                    <a:cubicBezTo>
                      <a:pt x="263" y="130"/>
                      <a:pt x="263" y="130"/>
                      <a:pt x="263" y="130"/>
                    </a:cubicBezTo>
                    <a:cubicBezTo>
                      <a:pt x="297" y="126"/>
                      <a:pt x="297" y="126"/>
                      <a:pt x="297" y="126"/>
                    </a:cubicBezTo>
                    <a:cubicBezTo>
                      <a:pt x="308" y="124"/>
                      <a:pt x="317" y="115"/>
                      <a:pt x="317" y="103"/>
                    </a:cubicBezTo>
                    <a:cubicBezTo>
                      <a:pt x="317" y="91"/>
                      <a:pt x="306" y="80"/>
                      <a:pt x="294" y="81"/>
                    </a:cubicBezTo>
                    <a:cubicBezTo>
                      <a:pt x="202" y="84"/>
                      <a:pt x="202" y="84"/>
                      <a:pt x="202" y="84"/>
                    </a:cubicBezTo>
                    <a:cubicBezTo>
                      <a:pt x="232" y="58"/>
                      <a:pt x="232" y="58"/>
                      <a:pt x="232" y="58"/>
                    </a:cubicBezTo>
                    <a:cubicBezTo>
                      <a:pt x="297" y="58"/>
                      <a:pt x="297" y="58"/>
                      <a:pt x="297" y="58"/>
                    </a:cubicBezTo>
                    <a:cubicBezTo>
                      <a:pt x="310" y="58"/>
                      <a:pt x="322" y="50"/>
                      <a:pt x="326" y="37"/>
                    </a:cubicBezTo>
                    <a:cubicBezTo>
                      <a:pt x="332" y="24"/>
                      <a:pt x="332" y="24"/>
                      <a:pt x="332" y="24"/>
                    </a:cubicBezTo>
                    <a:lnTo>
                      <a:pt x="232"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89" name="Freeform 58">
                <a:extLst>
                  <a:ext uri="{FF2B5EF4-FFF2-40B4-BE49-F238E27FC236}">
                    <a16:creationId xmlns:a16="http://schemas.microsoft.com/office/drawing/2014/main" id="{F88EFFD7-91F9-48C6-946B-AF3D15DC7D9A}"/>
                  </a:ext>
                </a:extLst>
              </p:cNvPr>
              <p:cNvSpPr>
                <a:spLocks/>
              </p:cNvSpPr>
              <p:nvPr/>
            </p:nvSpPr>
            <p:spPr bwMode="auto">
              <a:xfrm>
                <a:off x="7313612" y="4463104"/>
                <a:ext cx="114211" cy="114211"/>
              </a:xfrm>
              <a:custGeom>
                <a:avLst/>
                <a:gdLst>
                  <a:gd name="T0" fmla="*/ 0 w 235"/>
                  <a:gd name="T1" fmla="*/ 142 h 235"/>
                  <a:gd name="T2" fmla="*/ 55 w 235"/>
                  <a:gd name="T3" fmla="*/ 19 h 235"/>
                  <a:gd name="T4" fmla="*/ 143 w 235"/>
                  <a:gd name="T5" fmla="*/ 2 h 235"/>
                  <a:gd name="T6" fmla="*/ 170 w 235"/>
                  <a:gd name="T7" fmla="*/ 9 h 235"/>
                  <a:gd name="T8" fmla="*/ 190 w 235"/>
                  <a:gd name="T9" fmla="*/ 28 h 235"/>
                  <a:gd name="T10" fmla="*/ 200 w 235"/>
                  <a:gd name="T11" fmla="*/ 57 h 235"/>
                  <a:gd name="T12" fmla="*/ 198 w 235"/>
                  <a:gd name="T13" fmla="*/ 63 h 235"/>
                  <a:gd name="T14" fmla="*/ 212 w 235"/>
                  <a:gd name="T15" fmla="*/ 70 h 235"/>
                  <a:gd name="T16" fmla="*/ 228 w 235"/>
                  <a:gd name="T17" fmla="*/ 109 h 235"/>
                  <a:gd name="T18" fmla="*/ 223 w 235"/>
                  <a:gd name="T19" fmla="*/ 122 h 235"/>
                  <a:gd name="T20" fmla="*/ 223 w 235"/>
                  <a:gd name="T21" fmla="*/ 122 h 235"/>
                  <a:gd name="T22" fmla="*/ 221 w 235"/>
                  <a:gd name="T23" fmla="*/ 168 h 235"/>
                  <a:gd name="T24" fmla="*/ 178 w 235"/>
                  <a:gd name="T25" fmla="*/ 204 h 235"/>
                  <a:gd name="T26" fmla="*/ 64 w 235"/>
                  <a:gd name="T27" fmla="*/ 235 h 235"/>
                  <a:gd name="T28" fmla="*/ 0 w 235"/>
                  <a:gd name="T29" fmla="*/ 14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235">
                    <a:moveTo>
                      <a:pt x="0" y="142"/>
                    </a:moveTo>
                    <a:cubicBezTo>
                      <a:pt x="55" y="19"/>
                      <a:pt x="55" y="19"/>
                      <a:pt x="55" y="19"/>
                    </a:cubicBezTo>
                    <a:cubicBezTo>
                      <a:pt x="143" y="2"/>
                      <a:pt x="143" y="2"/>
                      <a:pt x="143" y="2"/>
                    </a:cubicBezTo>
                    <a:cubicBezTo>
                      <a:pt x="153" y="0"/>
                      <a:pt x="163" y="2"/>
                      <a:pt x="170" y="9"/>
                    </a:cubicBezTo>
                    <a:cubicBezTo>
                      <a:pt x="190" y="28"/>
                      <a:pt x="190" y="28"/>
                      <a:pt x="190" y="28"/>
                    </a:cubicBezTo>
                    <a:cubicBezTo>
                      <a:pt x="198" y="35"/>
                      <a:pt x="202" y="46"/>
                      <a:pt x="200" y="57"/>
                    </a:cubicBezTo>
                    <a:cubicBezTo>
                      <a:pt x="198" y="63"/>
                      <a:pt x="198" y="63"/>
                      <a:pt x="198" y="63"/>
                    </a:cubicBezTo>
                    <a:cubicBezTo>
                      <a:pt x="212" y="70"/>
                      <a:pt x="212" y="70"/>
                      <a:pt x="212" y="70"/>
                    </a:cubicBezTo>
                    <a:cubicBezTo>
                      <a:pt x="227" y="77"/>
                      <a:pt x="234" y="94"/>
                      <a:pt x="228" y="109"/>
                    </a:cubicBezTo>
                    <a:cubicBezTo>
                      <a:pt x="223" y="122"/>
                      <a:pt x="223" y="122"/>
                      <a:pt x="223" y="122"/>
                    </a:cubicBezTo>
                    <a:cubicBezTo>
                      <a:pt x="223" y="122"/>
                      <a:pt x="223" y="122"/>
                      <a:pt x="223" y="122"/>
                    </a:cubicBezTo>
                    <a:cubicBezTo>
                      <a:pt x="235" y="135"/>
                      <a:pt x="234" y="156"/>
                      <a:pt x="221" y="168"/>
                    </a:cubicBezTo>
                    <a:cubicBezTo>
                      <a:pt x="178" y="204"/>
                      <a:pt x="178" y="204"/>
                      <a:pt x="178" y="204"/>
                    </a:cubicBezTo>
                    <a:cubicBezTo>
                      <a:pt x="64" y="235"/>
                      <a:pt x="64" y="235"/>
                      <a:pt x="64" y="235"/>
                    </a:cubicBezTo>
                    <a:lnTo>
                      <a:pt x="0" y="142"/>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90" name="Freeform 35">
                <a:extLst>
                  <a:ext uri="{FF2B5EF4-FFF2-40B4-BE49-F238E27FC236}">
                    <a16:creationId xmlns:a16="http://schemas.microsoft.com/office/drawing/2014/main" id="{65C8163D-8A10-40D1-A1FF-9C6F3C9744EC}"/>
                  </a:ext>
                </a:extLst>
              </p:cNvPr>
              <p:cNvSpPr>
                <a:spLocks/>
              </p:cNvSpPr>
              <p:nvPr/>
            </p:nvSpPr>
            <p:spPr bwMode="auto">
              <a:xfrm>
                <a:off x="6751554" y="5063100"/>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91" name="Freeform 78">
                <a:extLst>
                  <a:ext uri="{FF2B5EF4-FFF2-40B4-BE49-F238E27FC236}">
                    <a16:creationId xmlns:a16="http://schemas.microsoft.com/office/drawing/2014/main" id="{8F49E4D1-A003-4F99-8786-922766FF938D}"/>
                  </a:ext>
                </a:extLst>
              </p:cNvPr>
              <p:cNvSpPr>
                <a:spLocks/>
              </p:cNvSpPr>
              <p:nvPr/>
            </p:nvSpPr>
            <p:spPr bwMode="auto">
              <a:xfrm>
                <a:off x="7243406" y="4917208"/>
                <a:ext cx="62971"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grpSp>
        <p:sp>
          <p:nvSpPr>
            <p:cNvPr id="450" name="Freeform 79">
              <a:extLst>
                <a:ext uri="{FF2B5EF4-FFF2-40B4-BE49-F238E27FC236}">
                  <a16:creationId xmlns:a16="http://schemas.microsoft.com/office/drawing/2014/main" id="{5F627D10-6898-4C09-AD7B-D4EDB8379E72}"/>
                </a:ext>
              </a:extLst>
            </p:cNvPr>
            <p:cNvSpPr>
              <a:spLocks/>
            </p:cNvSpPr>
            <p:nvPr/>
          </p:nvSpPr>
          <p:spPr bwMode="auto">
            <a:xfrm>
              <a:off x="6472677"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51" name="Rectangle 80">
              <a:extLst>
                <a:ext uri="{FF2B5EF4-FFF2-40B4-BE49-F238E27FC236}">
                  <a16:creationId xmlns:a16="http://schemas.microsoft.com/office/drawing/2014/main" id="{EA3269B5-E77B-43D6-9E4F-0857967C1EEF}"/>
                </a:ext>
              </a:extLst>
            </p:cNvPr>
            <p:cNvSpPr>
              <a:spLocks noChangeArrowheads="1"/>
            </p:cNvSpPr>
            <p:nvPr/>
          </p:nvSpPr>
          <p:spPr bwMode="auto">
            <a:xfrm>
              <a:off x="6100318" y="4871837"/>
              <a:ext cx="403649" cy="520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52" name="Rectangle 81">
              <a:extLst>
                <a:ext uri="{FF2B5EF4-FFF2-40B4-BE49-F238E27FC236}">
                  <a16:creationId xmlns:a16="http://schemas.microsoft.com/office/drawing/2014/main" id="{AAD8270F-8C36-418E-B3A1-7FF43E24B6EE}"/>
                </a:ext>
              </a:extLst>
            </p:cNvPr>
            <p:cNvSpPr>
              <a:spLocks noChangeArrowheads="1"/>
            </p:cNvSpPr>
            <p:nvPr/>
          </p:nvSpPr>
          <p:spPr bwMode="auto">
            <a:xfrm>
              <a:off x="6503967" y="4871837"/>
              <a:ext cx="395826" cy="52020"/>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53" name="Freeform 82">
              <a:extLst>
                <a:ext uri="{FF2B5EF4-FFF2-40B4-BE49-F238E27FC236}">
                  <a16:creationId xmlns:a16="http://schemas.microsoft.com/office/drawing/2014/main" id="{92159482-9852-4A07-8875-DF8483F4D119}"/>
                </a:ext>
              </a:extLst>
            </p:cNvPr>
            <p:cNvSpPr>
              <a:spLocks/>
            </p:cNvSpPr>
            <p:nvPr/>
          </p:nvSpPr>
          <p:spPr bwMode="auto">
            <a:xfrm>
              <a:off x="6565375" y="4699348"/>
              <a:ext cx="116557" cy="172489"/>
            </a:xfrm>
            <a:custGeom>
              <a:avLst/>
              <a:gdLst>
                <a:gd name="T0" fmla="*/ 298 w 298"/>
                <a:gd name="T1" fmla="*/ 0 h 441"/>
                <a:gd name="T2" fmla="*/ 0 w 298"/>
                <a:gd name="T3" fmla="*/ 0 h 441"/>
                <a:gd name="T4" fmla="*/ 55 w 298"/>
                <a:gd name="T5" fmla="*/ 441 h 441"/>
                <a:gd name="T6" fmla="*/ 244 w 298"/>
                <a:gd name="T7" fmla="*/ 441 h 441"/>
                <a:gd name="T8" fmla="*/ 298 w 298"/>
                <a:gd name="T9" fmla="*/ 0 h 441"/>
              </a:gdLst>
              <a:ahLst/>
              <a:cxnLst>
                <a:cxn ang="0">
                  <a:pos x="T0" y="T1"/>
                </a:cxn>
                <a:cxn ang="0">
                  <a:pos x="T2" y="T3"/>
                </a:cxn>
                <a:cxn ang="0">
                  <a:pos x="T4" y="T5"/>
                </a:cxn>
                <a:cxn ang="0">
                  <a:pos x="T6" y="T7"/>
                </a:cxn>
                <a:cxn ang="0">
                  <a:pos x="T8" y="T9"/>
                </a:cxn>
              </a:cxnLst>
              <a:rect l="0" t="0" r="r" b="b"/>
              <a:pathLst>
                <a:path w="298" h="441">
                  <a:moveTo>
                    <a:pt x="298" y="0"/>
                  </a:moveTo>
                  <a:lnTo>
                    <a:pt x="0" y="0"/>
                  </a:lnTo>
                  <a:lnTo>
                    <a:pt x="55" y="441"/>
                  </a:lnTo>
                  <a:lnTo>
                    <a:pt x="244" y="441"/>
                  </a:lnTo>
                  <a:lnTo>
                    <a:pt x="298"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54" name="Rectangle 83">
              <a:extLst>
                <a:ext uri="{FF2B5EF4-FFF2-40B4-BE49-F238E27FC236}">
                  <a16:creationId xmlns:a16="http://schemas.microsoft.com/office/drawing/2014/main" id="{FDDFC1F9-916B-4D29-9A7F-1E265796A199}"/>
                </a:ext>
              </a:extLst>
            </p:cNvPr>
            <p:cNvSpPr>
              <a:spLocks noChangeArrowheads="1"/>
            </p:cNvSpPr>
            <p:nvPr/>
          </p:nvSpPr>
          <p:spPr bwMode="auto">
            <a:xfrm>
              <a:off x="6293146" y="4818643"/>
              <a:ext cx="73142" cy="53194"/>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455" name="Rectangle 84">
              <a:extLst>
                <a:ext uri="{FF2B5EF4-FFF2-40B4-BE49-F238E27FC236}">
                  <a16:creationId xmlns:a16="http://schemas.microsoft.com/office/drawing/2014/main" id="{D350539B-2C3D-4E8D-802B-376932B2C062}"/>
                </a:ext>
              </a:extLst>
            </p:cNvPr>
            <p:cNvSpPr>
              <a:spLocks noChangeArrowheads="1"/>
            </p:cNvSpPr>
            <p:nvPr/>
          </p:nvSpPr>
          <p:spPr bwMode="auto">
            <a:xfrm>
              <a:off x="6366288" y="4818643"/>
              <a:ext cx="112646" cy="5319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grpSp>
      <p:sp>
        <p:nvSpPr>
          <p:cNvPr id="492" name="Rectangle 491">
            <a:extLst>
              <a:ext uri="{FF2B5EF4-FFF2-40B4-BE49-F238E27FC236}">
                <a16:creationId xmlns:a16="http://schemas.microsoft.com/office/drawing/2014/main" id="{63A96D69-4CC6-44FA-952B-77AD26419FC5}"/>
              </a:ext>
            </a:extLst>
          </p:cNvPr>
          <p:cNvSpPr/>
          <p:nvPr/>
        </p:nvSpPr>
        <p:spPr bwMode="auto">
          <a:xfrm>
            <a:off x="4726009" y="3584830"/>
            <a:ext cx="1462136" cy="24016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493" name="Picture 2" descr="Image result for menu icon">
            <a:extLst>
              <a:ext uri="{FF2B5EF4-FFF2-40B4-BE49-F238E27FC236}">
                <a16:creationId xmlns:a16="http://schemas.microsoft.com/office/drawing/2014/main" id="{F4E0F9A3-7DEC-441D-B2DC-27141A04AEF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066" t="14297" r="8454" b="9653"/>
          <a:stretch/>
        </p:blipFill>
        <p:spPr bwMode="auto">
          <a:xfrm>
            <a:off x="4870337" y="3679325"/>
            <a:ext cx="1173480" cy="499180"/>
          </a:xfrm>
          <a:prstGeom prst="rect">
            <a:avLst/>
          </a:prstGeom>
          <a:noFill/>
          <a:extLst>
            <a:ext uri="{909E8E84-426E-40DD-AFC4-6F175D3DCCD1}">
              <a14:hiddenFill xmlns:a14="http://schemas.microsoft.com/office/drawing/2010/main">
                <a:solidFill>
                  <a:srgbClr val="FFFFFF"/>
                </a:solidFill>
              </a14:hiddenFill>
            </a:ext>
          </a:extLst>
        </p:spPr>
      </p:pic>
      <p:grpSp>
        <p:nvGrpSpPr>
          <p:cNvPr id="494" name="Group 493">
            <a:extLst>
              <a:ext uri="{FF2B5EF4-FFF2-40B4-BE49-F238E27FC236}">
                <a16:creationId xmlns:a16="http://schemas.microsoft.com/office/drawing/2014/main" id="{BCD8DD85-C677-4A91-947F-2550BB5ED918}"/>
              </a:ext>
            </a:extLst>
          </p:cNvPr>
          <p:cNvGrpSpPr/>
          <p:nvPr/>
        </p:nvGrpSpPr>
        <p:grpSpPr>
          <a:xfrm>
            <a:off x="4823622" y="4213034"/>
            <a:ext cx="1331426" cy="484748"/>
            <a:chOff x="4764653" y="4548152"/>
            <a:chExt cx="1173534" cy="427262"/>
          </a:xfrm>
        </p:grpSpPr>
        <p:pic>
          <p:nvPicPr>
            <p:cNvPr id="495" name="Picture 4" descr="Image result for check icon">
              <a:extLst>
                <a:ext uri="{FF2B5EF4-FFF2-40B4-BE49-F238E27FC236}">
                  <a16:creationId xmlns:a16="http://schemas.microsoft.com/office/drawing/2014/main" id="{596CEA3F-54DC-4810-BC4B-2EF78F50CAB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348" t="19410" r="10348" b="19410"/>
            <a:stretch/>
          </p:blipFill>
          <p:spPr bwMode="auto">
            <a:xfrm>
              <a:off x="4764653" y="4557655"/>
              <a:ext cx="157510" cy="157510"/>
            </a:xfrm>
            <a:prstGeom prst="ellipse">
              <a:avLst/>
            </a:prstGeom>
            <a:noFill/>
            <a:extLst>
              <a:ext uri="{909E8E84-426E-40DD-AFC4-6F175D3DCCD1}">
                <a14:hiddenFill xmlns:a14="http://schemas.microsoft.com/office/drawing/2010/main">
                  <a:solidFill>
                    <a:srgbClr val="FFFFFF"/>
                  </a:solidFill>
                </a14:hiddenFill>
              </a:ext>
            </a:extLst>
          </p:spPr>
        </p:pic>
        <p:sp>
          <p:nvSpPr>
            <p:cNvPr id="496" name="TextBox 495">
              <a:extLst>
                <a:ext uri="{FF2B5EF4-FFF2-40B4-BE49-F238E27FC236}">
                  <a16:creationId xmlns:a16="http://schemas.microsoft.com/office/drawing/2014/main" id="{8A4B6526-2888-47D3-9E61-1D1883558E26}"/>
                </a:ext>
              </a:extLst>
            </p:cNvPr>
            <p:cNvSpPr txBox="1"/>
            <p:nvPr/>
          </p:nvSpPr>
          <p:spPr>
            <a:xfrm>
              <a:off x="4974716" y="4548152"/>
              <a:ext cx="963471" cy="427262"/>
            </a:xfrm>
            <a:prstGeom prst="rect">
              <a:avLst/>
            </a:prstGeom>
            <a:noFill/>
          </p:spPr>
          <p:txBody>
            <a:bodyPr wrap="square" lIns="0" tIns="0" rIns="0" bIns="0" rtlCol="0" anchor="ctr">
              <a:spAutoFit/>
            </a:bodyPr>
            <a:lstStyle>
              <a:defPPr>
                <a:defRPr lang="en-US"/>
              </a:defPPr>
              <a:lvl1pPr lvl="0" defTabSz="932509">
                <a:defRPr sz="1100"/>
              </a:lvl1pPr>
            </a:lstStyle>
            <a:p>
              <a:r>
                <a:rPr lang="en-US" sz="1050" dirty="0"/>
                <a:t>VM Deployment (e.g. Azure Update Management)</a:t>
              </a:r>
            </a:p>
          </p:txBody>
        </p:sp>
      </p:grpSp>
      <p:grpSp>
        <p:nvGrpSpPr>
          <p:cNvPr id="497" name="Group 496">
            <a:extLst>
              <a:ext uri="{FF2B5EF4-FFF2-40B4-BE49-F238E27FC236}">
                <a16:creationId xmlns:a16="http://schemas.microsoft.com/office/drawing/2014/main" id="{6FB78EE3-5897-4437-8636-C1F757D67F10}"/>
              </a:ext>
            </a:extLst>
          </p:cNvPr>
          <p:cNvGrpSpPr/>
          <p:nvPr/>
        </p:nvGrpSpPr>
        <p:grpSpPr>
          <a:xfrm>
            <a:off x="4823621" y="4734208"/>
            <a:ext cx="1410490" cy="484748"/>
            <a:chOff x="4764653" y="4883531"/>
            <a:chExt cx="1243222" cy="427262"/>
          </a:xfrm>
        </p:grpSpPr>
        <p:sp>
          <p:nvSpPr>
            <p:cNvPr id="498" name="TextBox 497">
              <a:extLst>
                <a:ext uri="{FF2B5EF4-FFF2-40B4-BE49-F238E27FC236}">
                  <a16:creationId xmlns:a16="http://schemas.microsoft.com/office/drawing/2014/main" id="{F36D8F03-8EB2-4713-9EC4-001CC30471FC}"/>
                </a:ext>
              </a:extLst>
            </p:cNvPr>
            <p:cNvSpPr txBox="1"/>
            <p:nvPr/>
          </p:nvSpPr>
          <p:spPr>
            <a:xfrm>
              <a:off x="4975824" y="4883531"/>
              <a:ext cx="1032051" cy="427262"/>
            </a:xfrm>
            <a:prstGeom prst="rect">
              <a:avLst/>
            </a:prstGeom>
            <a:noFill/>
          </p:spPr>
          <p:txBody>
            <a:bodyPr wrap="square" lIns="0" tIns="0" rIns="0" bIns="0" rtlCol="0" anchor="ctr">
              <a:spAutoFit/>
            </a:bodyPr>
            <a:lstStyle>
              <a:defPPr>
                <a:defRPr lang="en-US"/>
              </a:defPPr>
              <a:lvl1pPr lvl="0" defTabSz="932509">
                <a:defRPr sz="1100"/>
              </a:lvl1pPr>
            </a:lstStyle>
            <a:p>
              <a:pPr lvl="0">
                <a:defRPr/>
              </a:pPr>
              <a:r>
                <a:rPr lang="en-US" sz="1050" dirty="0"/>
                <a:t>Multiple OS and App Management tools at choice</a:t>
              </a:r>
            </a:p>
          </p:txBody>
        </p:sp>
        <p:pic>
          <p:nvPicPr>
            <p:cNvPr id="499" name="Picture 4" descr="Image result for check icon">
              <a:extLst>
                <a:ext uri="{FF2B5EF4-FFF2-40B4-BE49-F238E27FC236}">
                  <a16:creationId xmlns:a16="http://schemas.microsoft.com/office/drawing/2014/main" id="{ACFB5875-3CDD-4DDE-BB58-2D5AAA207AD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348" t="19410" r="10348" b="19410"/>
            <a:stretch/>
          </p:blipFill>
          <p:spPr bwMode="auto">
            <a:xfrm>
              <a:off x="4764653" y="4906467"/>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500" name="Group 499">
            <a:extLst>
              <a:ext uri="{FF2B5EF4-FFF2-40B4-BE49-F238E27FC236}">
                <a16:creationId xmlns:a16="http://schemas.microsoft.com/office/drawing/2014/main" id="{64D134CB-5654-4520-AE75-FC25A6883BD4}"/>
              </a:ext>
            </a:extLst>
          </p:cNvPr>
          <p:cNvGrpSpPr/>
          <p:nvPr/>
        </p:nvGrpSpPr>
        <p:grpSpPr>
          <a:xfrm>
            <a:off x="4823621" y="5264823"/>
            <a:ext cx="1232572" cy="323165"/>
            <a:chOff x="4764653" y="5250837"/>
            <a:chExt cx="1086403" cy="284841"/>
          </a:xfrm>
        </p:grpSpPr>
        <p:sp>
          <p:nvSpPr>
            <p:cNvPr id="501" name="TextBox 500">
              <a:extLst>
                <a:ext uri="{FF2B5EF4-FFF2-40B4-BE49-F238E27FC236}">
                  <a16:creationId xmlns:a16="http://schemas.microsoft.com/office/drawing/2014/main" id="{85F10D5F-5862-465E-88B0-3282701F4582}"/>
                </a:ext>
              </a:extLst>
            </p:cNvPr>
            <p:cNvSpPr txBox="1"/>
            <p:nvPr/>
          </p:nvSpPr>
          <p:spPr>
            <a:xfrm>
              <a:off x="4975824" y="5250837"/>
              <a:ext cx="875232" cy="284841"/>
            </a:xfrm>
            <a:prstGeom prst="rect">
              <a:avLst/>
            </a:prstGeom>
            <a:noFill/>
          </p:spPr>
          <p:txBody>
            <a:bodyPr wrap="square" lIns="0" tIns="0" rIns="0" bIns="0" rtlCol="0" anchor="ctr">
              <a:spAutoFit/>
            </a:bodyPr>
            <a:lstStyle>
              <a:defPPr>
                <a:defRPr lang="en-US"/>
              </a:defPPr>
              <a:lvl1pPr lvl="0" defTabSz="932509">
                <a:defRPr sz="1100"/>
              </a:lvl1pPr>
            </a:lstStyle>
            <a:p>
              <a:r>
                <a:rPr lang="en-US" sz="1050" dirty="0"/>
                <a:t>DR with Azure Site Recovery</a:t>
              </a:r>
            </a:p>
          </p:txBody>
        </p:sp>
        <p:pic>
          <p:nvPicPr>
            <p:cNvPr id="502" name="Picture 4" descr="Image result for check icon">
              <a:extLst>
                <a:ext uri="{FF2B5EF4-FFF2-40B4-BE49-F238E27FC236}">
                  <a16:creationId xmlns:a16="http://schemas.microsoft.com/office/drawing/2014/main" id="{2AB242DD-D35A-458A-8295-DE3C70930D0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348" t="19410" r="10348" b="19410"/>
            <a:stretch/>
          </p:blipFill>
          <p:spPr bwMode="auto">
            <a:xfrm>
              <a:off x="4764653" y="5265250"/>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503" name="Group 502">
            <a:extLst>
              <a:ext uri="{FF2B5EF4-FFF2-40B4-BE49-F238E27FC236}">
                <a16:creationId xmlns:a16="http://schemas.microsoft.com/office/drawing/2014/main" id="{9D644943-1030-49AD-827D-803BF00A0022}"/>
              </a:ext>
            </a:extLst>
          </p:cNvPr>
          <p:cNvGrpSpPr/>
          <p:nvPr/>
        </p:nvGrpSpPr>
        <p:grpSpPr>
          <a:xfrm>
            <a:off x="4823622" y="5703803"/>
            <a:ext cx="1232572" cy="178702"/>
            <a:chOff x="4764653" y="5626002"/>
            <a:chExt cx="1086403" cy="157510"/>
          </a:xfrm>
        </p:grpSpPr>
        <p:sp>
          <p:nvSpPr>
            <p:cNvPr id="504" name="TextBox 503">
              <a:extLst>
                <a:ext uri="{FF2B5EF4-FFF2-40B4-BE49-F238E27FC236}">
                  <a16:creationId xmlns:a16="http://schemas.microsoft.com/office/drawing/2014/main" id="{9CC21E8A-87E5-416B-885A-12FEAB5F4786}"/>
                </a:ext>
              </a:extLst>
            </p:cNvPr>
            <p:cNvSpPr txBox="1"/>
            <p:nvPr/>
          </p:nvSpPr>
          <p:spPr>
            <a:xfrm>
              <a:off x="4975824" y="5633547"/>
              <a:ext cx="875232" cy="142421"/>
            </a:xfrm>
            <a:prstGeom prst="rect">
              <a:avLst/>
            </a:prstGeom>
            <a:noFill/>
          </p:spPr>
          <p:txBody>
            <a:bodyPr wrap="square" lIns="0" tIns="0" rIns="0" bIns="0" rtlCol="0" anchor="ctr">
              <a:spAutoFit/>
            </a:bodyPr>
            <a:lstStyle/>
            <a:p>
              <a:pPr lvl="0" defTabSz="932509">
                <a:defRPr/>
              </a:pPr>
              <a:r>
                <a:rPr lang="en-US" sz="1050" dirty="0"/>
                <a:t>…</a:t>
              </a:r>
              <a:endParaRPr kumimoji="0" lang="en-US" sz="1050" b="0" i="0" u="none" strike="noStrike" kern="1200" cap="none" spc="0" normalizeH="0" baseline="0" noProof="0" dirty="0">
                <a:ln>
                  <a:noFill/>
                </a:ln>
                <a:effectLst/>
                <a:uLnTx/>
                <a:uFillTx/>
              </a:endParaRPr>
            </a:p>
          </p:txBody>
        </p:sp>
        <p:pic>
          <p:nvPicPr>
            <p:cNvPr id="505" name="Picture 4" descr="Image result for check icon">
              <a:extLst>
                <a:ext uri="{FF2B5EF4-FFF2-40B4-BE49-F238E27FC236}">
                  <a16:creationId xmlns:a16="http://schemas.microsoft.com/office/drawing/2014/main" id="{C45E742E-92C4-453A-B5E1-712664A27BD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348" t="19410" r="10348" b="19410"/>
            <a:stretch/>
          </p:blipFill>
          <p:spPr bwMode="auto">
            <a:xfrm>
              <a:off x="4764653" y="5626002"/>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pic>
        <p:nvPicPr>
          <p:cNvPr id="506" name="Graphic 505">
            <a:extLst>
              <a:ext uri="{FF2B5EF4-FFF2-40B4-BE49-F238E27FC236}">
                <a16:creationId xmlns:a16="http://schemas.microsoft.com/office/drawing/2014/main" id="{EEE24516-E31B-49E6-A0BE-D9009D7DFBD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02828" y="4135865"/>
            <a:ext cx="1601087" cy="1423466"/>
          </a:xfrm>
          <a:prstGeom prst="rect">
            <a:avLst/>
          </a:prstGeom>
        </p:spPr>
      </p:pic>
      <p:sp>
        <p:nvSpPr>
          <p:cNvPr id="507" name="Freeform: Shape 506">
            <a:extLst>
              <a:ext uri="{FF2B5EF4-FFF2-40B4-BE49-F238E27FC236}">
                <a16:creationId xmlns:a16="http://schemas.microsoft.com/office/drawing/2014/main" id="{A6D55263-F430-4195-8EB0-CE8FB6ED2327}"/>
              </a:ext>
            </a:extLst>
          </p:cNvPr>
          <p:cNvSpPr/>
          <p:nvPr/>
        </p:nvSpPr>
        <p:spPr bwMode="auto">
          <a:xfrm>
            <a:off x="725868" y="4507432"/>
            <a:ext cx="455720" cy="462666"/>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08" name="Freeform: Shape 507">
            <a:extLst>
              <a:ext uri="{FF2B5EF4-FFF2-40B4-BE49-F238E27FC236}">
                <a16:creationId xmlns:a16="http://schemas.microsoft.com/office/drawing/2014/main" id="{429F6F2F-8A81-409C-BB1C-72B6AB90C75F}"/>
              </a:ext>
            </a:extLst>
          </p:cNvPr>
          <p:cNvSpPr/>
          <p:nvPr/>
        </p:nvSpPr>
        <p:spPr bwMode="auto">
          <a:xfrm>
            <a:off x="725868" y="3832401"/>
            <a:ext cx="455720" cy="462666"/>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Shape 508">
            <a:extLst>
              <a:ext uri="{FF2B5EF4-FFF2-40B4-BE49-F238E27FC236}">
                <a16:creationId xmlns:a16="http://schemas.microsoft.com/office/drawing/2014/main" id="{E673C7E1-55C7-4B90-BD51-AFB0884B3B80}"/>
              </a:ext>
            </a:extLst>
          </p:cNvPr>
          <p:cNvSpPr/>
          <p:nvPr/>
        </p:nvSpPr>
        <p:spPr bwMode="auto">
          <a:xfrm>
            <a:off x="725868" y="5182462"/>
            <a:ext cx="455720" cy="462666"/>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10" name="TextBox 509">
            <a:extLst>
              <a:ext uri="{FF2B5EF4-FFF2-40B4-BE49-F238E27FC236}">
                <a16:creationId xmlns:a16="http://schemas.microsoft.com/office/drawing/2014/main" id="{30F5F1A1-E956-41E2-943A-423878695FE0}"/>
              </a:ext>
            </a:extLst>
          </p:cNvPr>
          <p:cNvSpPr txBox="1"/>
          <p:nvPr/>
        </p:nvSpPr>
        <p:spPr>
          <a:xfrm>
            <a:off x="4594884" y="2945859"/>
            <a:ext cx="3197836" cy="472272"/>
          </a:xfrm>
          <a:prstGeom prst="rect">
            <a:avLst/>
          </a:prstGeom>
          <a:solidFill>
            <a:schemeClr val="bg1">
              <a:lumMod val="85000"/>
            </a:schemeClr>
          </a:solidFill>
          <a:ln w="6350">
            <a:noFill/>
          </a:ln>
        </p:spPr>
        <p:txBody>
          <a:bodyPr wrap="square" lIns="0" tIns="0" rIns="0" bIns="0" rtlCol="0" anchor="ctr">
            <a:noAutofit/>
          </a:bodyPr>
          <a:lstStyle/>
          <a:p>
            <a:pPr algn="ctr"/>
            <a:r>
              <a:rPr lang="en-US" sz="1200" dirty="0">
                <a:solidFill>
                  <a:srgbClr val="002060"/>
                </a:solidFill>
                <a:latin typeface="+mj-lt"/>
              </a:rPr>
              <a:t>Readily-available, Built-in Tools</a:t>
            </a:r>
          </a:p>
          <a:p>
            <a:pPr algn="ctr"/>
            <a:r>
              <a:rPr lang="en-US" sz="1200" dirty="0">
                <a:solidFill>
                  <a:srgbClr val="002060"/>
                </a:solidFill>
                <a:latin typeface="+mj-lt"/>
              </a:rPr>
              <a:t>Easily Utilized by IT</a:t>
            </a:r>
          </a:p>
        </p:txBody>
      </p:sp>
      <p:sp>
        <p:nvSpPr>
          <p:cNvPr id="511" name="TextBox 510">
            <a:extLst>
              <a:ext uri="{FF2B5EF4-FFF2-40B4-BE49-F238E27FC236}">
                <a16:creationId xmlns:a16="http://schemas.microsoft.com/office/drawing/2014/main" id="{00F517EC-A218-4595-8B5A-C9F42780A487}"/>
              </a:ext>
            </a:extLst>
          </p:cNvPr>
          <p:cNvSpPr txBox="1"/>
          <p:nvPr/>
        </p:nvSpPr>
        <p:spPr>
          <a:xfrm>
            <a:off x="705647" y="2945859"/>
            <a:ext cx="3197836" cy="472272"/>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algn="ctr"/>
            <a:r>
              <a:rPr lang="en-US" sz="1200" dirty="0">
                <a:solidFill>
                  <a:srgbClr val="002060"/>
                </a:solidFill>
                <a:latin typeface="+mj-lt"/>
              </a:rPr>
              <a:t>Complicated VM Management</a:t>
            </a:r>
            <a:br>
              <a:rPr lang="en-US" sz="1200" dirty="0">
                <a:solidFill>
                  <a:srgbClr val="002060"/>
                </a:solidFill>
                <a:latin typeface="+mj-lt"/>
              </a:rPr>
            </a:br>
            <a:r>
              <a:rPr lang="en-US" sz="1200" dirty="0">
                <a:solidFill>
                  <a:srgbClr val="002060"/>
                </a:solidFill>
                <a:latin typeface="+mj-lt"/>
              </a:rPr>
              <a:t>Manually Conducted by IT</a:t>
            </a:r>
          </a:p>
        </p:txBody>
      </p:sp>
      <p:grpSp>
        <p:nvGrpSpPr>
          <p:cNvPr id="263" name="Group 262">
            <a:extLst>
              <a:ext uri="{FF2B5EF4-FFF2-40B4-BE49-F238E27FC236}">
                <a16:creationId xmlns:a16="http://schemas.microsoft.com/office/drawing/2014/main" id="{DDA50AD9-87A4-4E9C-AEE9-82D37568098A}"/>
              </a:ext>
            </a:extLst>
          </p:cNvPr>
          <p:cNvGrpSpPr/>
          <p:nvPr/>
        </p:nvGrpSpPr>
        <p:grpSpPr>
          <a:xfrm>
            <a:off x="10052458" y="146014"/>
            <a:ext cx="2033626" cy="1015650"/>
            <a:chOff x="10052458" y="146014"/>
            <a:chExt cx="2033626" cy="1015650"/>
          </a:xfrm>
        </p:grpSpPr>
        <p:pic>
          <p:nvPicPr>
            <p:cNvPr id="264" name="Picture 263">
              <a:extLst>
                <a:ext uri="{FF2B5EF4-FFF2-40B4-BE49-F238E27FC236}">
                  <a16:creationId xmlns:a16="http://schemas.microsoft.com/office/drawing/2014/main" id="{9A28811A-6B9C-4524-AAE7-E792A9C03721}"/>
                </a:ext>
              </a:extLst>
            </p:cNvPr>
            <p:cNvPicPr>
              <a:picLocks noChangeAspect="1"/>
            </p:cNvPicPr>
            <p:nvPr/>
          </p:nvPicPr>
          <p:blipFill>
            <a:blip r:embed="rId11"/>
            <a:stretch>
              <a:fillRect/>
            </a:stretch>
          </p:blipFill>
          <p:spPr>
            <a:xfrm>
              <a:off x="10052458" y="146014"/>
              <a:ext cx="2033626" cy="1015650"/>
            </a:xfrm>
            <a:prstGeom prst="rect">
              <a:avLst/>
            </a:prstGeom>
          </p:spPr>
        </p:pic>
        <p:sp>
          <p:nvSpPr>
            <p:cNvPr id="265" name="Rectangle 264">
              <a:extLst>
                <a:ext uri="{FF2B5EF4-FFF2-40B4-BE49-F238E27FC236}">
                  <a16:creationId xmlns:a16="http://schemas.microsoft.com/office/drawing/2014/main" id="{606638B7-59D7-4820-968E-C1D67C36A6ED}"/>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implified Management</a:t>
              </a:r>
            </a:p>
          </p:txBody>
        </p:sp>
      </p:grpSp>
    </p:spTree>
    <p:extLst>
      <p:ext uri="{BB962C8B-B14F-4D97-AF65-F5344CB8AC3E}">
        <p14:creationId xmlns:p14="http://schemas.microsoft.com/office/powerpoint/2010/main" val="841396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831182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540258" y="2411901"/>
            <a:ext cx="3307089" cy="3767695"/>
          </a:xfrm>
          <a:prstGeom prst="rect">
            <a:avLst/>
          </a:prstGeom>
          <a:noFill/>
          <a:ln w="6350">
            <a:solidFill>
              <a:schemeClr val="bg1">
                <a:lumMod val="75000"/>
              </a:schemeClr>
            </a:solidFill>
            <a:headEnd type="none" w="med" len="med"/>
            <a:tailEnd type="none"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b="1" dirty="0">
                <a:solidFill>
                  <a:schemeClr val="tx1"/>
                </a:solidFill>
              </a:rPr>
              <a:t>End-to-end diagnostic information</a:t>
            </a:r>
            <a:br>
              <a:rPr lang="en-US" sz="1200" b="1" dirty="0">
                <a:solidFill>
                  <a:schemeClr val="tx1"/>
                </a:solidFill>
              </a:rPr>
            </a:br>
            <a:r>
              <a:rPr lang="en-US" sz="1200" b="1" dirty="0">
                <a:solidFill>
                  <a:schemeClr val="tx1"/>
                </a:solidFill>
              </a:rPr>
              <a:t>provided by WVD service</a:t>
            </a:r>
          </a:p>
        </p:txBody>
      </p:sp>
      <p:sp>
        <p:nvSpPr>
          <p:cNvPr id="680" name="Freeform 13" title="Icon of a cloud">
            <a:extLst>
              <a:ext uri="{FF2B5EF4-FFF2-40B4-BE49-F238E27FC236}">
                <a16:creationId xmlns:a16="http://schemas.microsoft.com/office/drawing/2014/main" id="{2598E6F9-4AEC-4EC7-A98F-B0D3E4C7634D}"/>
              </a:ext>
            </a:extLst>
          </p:cNvPr>
          <p:cNvSpPr>
            <a:spLocks noChangeAspect="1"/>
          </p:cNvSpPr>
          <p:nvPr/>
        </p:nvSpPr>
        <p:spPr bwMode="auto">
          <a:xfrm>
            <a:off x="5232472" y="4801899"/>
            <a:ext cx="1862607" cy="878644"/>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solidFill>
            <a:schemeClr val="bg1"/>
          </a:solidFill>
          <a:ln w="15875" cap="sq">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51493" y="2411901"/>
            <a:ext cx="3307089" cy="376769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b="1" dirty="0">
                <a:solidFill>
                  <a:schemeClr val="tx1"/>
                </a:solidFill>
              </a:rPr>
              <a:t>Logs dispersed across client,</a:t>
            </a:r>
            <a:br>
              <a:rPr lang="en-US" sz="1200" b="1" dirty="0">
                <a:solidFill>
                  <a:schemeClr val="tx1"/>
                </a:solidFill>
              </a:rPr>
            </a:br>
            <a:r>
              <a:rPr lang="en-US" sz="1200" b="1" dirty="0">
                <a:solidFill>
                  <a:schemeClr val="tx1"/>
                </a:solidFill>
              </a:rPr>
              <a:t>RDS servers &amp; VM</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solidFill>
                  <a:schemeClr val="tx1"/>
                </a:solidFill>
              </a:rPr>
              <a:t>Simplified and Efficient Troubleshooting with Diagnostic Service</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4216154" cy="369332"/>
          </a:xfrm>
          <a:prstGeom prst="rect">
            <a:avLst/>
          </a:prstGeom>
        </p:spPr>
        <p:txBody>
          <a:bodyPr wrap="none">
            <a:spAutoFit/>
          </a:bodyPr>
          <a:lstStyle/>
          <a:p>
            <a:r>
              <a:rPr lang="en-US" b="1" i="1" dirty="0"/>
              <a:t>Efficient and Simplified Management</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on-prem virtualization to WVD</a:t>
            </a:r>
          </a:p>
          <a:p>
            <a:pPr marL="344488" indent="-176213" defTabSz="932472" fontAlgn="base">
              <a:spcBef>
                <a:spcPts val="200"/>
              </a:spcBef>
              <a:spcAft>
                <a:spcPct val="0"/>
              </a:spcAft>
              <a:buFont typeface="Arial" panose="020B0604020202020204" pitchFamily="34" charset="0"/>
              <a:buChar char="•"/>
            </a:pPr>
            <a:r>
              <a:rPr lang="en-US" altLang="zh-CN" sz="1400" dirty="0">
                <a:solidFill>
                  <a:schemeClr val="tx1"/>
                </a:solidFill>
                <a:cs typeface="Segoe UI" pitchFamily="34" charset="0"/>
              </a:rPr>
              <a:t>Advanced Diagnostic Service enables WVD customers to identify root cause and fix issues more efficiently</a:t>
            </a:r>
            <a:endParaRPr lang="en-US" sz="1400" dirty="0">
              <a:solidFill>
                <a:srgbClr val="002060"/>
              </a:solidFill>
              <a:cs typeface="Segoe UI" pitchFamily="34" charset="0"/>
            </a:endParaRP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302299" y="2428026"/>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400" fontAlgn="auto">
              <a:spcBef>
                <a:spcPts val="1200"/>
              </a:spcBef>
              <a:spcAft>
                <a:spcPts val="600"/>
              </a:spcAft>
            </a:pPr>
            <a:r>
              <a:rPr lang="en-US" altLang="zh-CN" sz="1600" b="1" i="1" dirty="0">
                <a:solidFill>
                  <a:schemeClr val="tx2"/>
                </a:solidFill>
              </a:rPr>
              <a:t>Fast root cause identification via advanced diagnostic services</a:t>
            </a:r>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777886" y="1372927"/>
            <a:ext cx="806355" cy="914400"/>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332" name="TextBox 331">
            <a:extLst>
              <a:ext uri="{FF2B5EF4-FFF2-40B4-BE49-F238E27FC236}">
                <a16:creationId xmlns:a16="http://schemas.microsoft.com/office/drawing/2014/main" id="{E4561C91-E707-474F-AE82-88F037E5ECCB}"/>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400" b="1" dirty="0">
                <a:solidFill>
                  <a:schemeClr val="bg1"/>
                </a:solidFill>
              </a:rPr>
              <a:t>Management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1400" b="1" dirty="0">
                <a:solidFill>
                  <a:schemeClr val="bg1"/>
                </a:solidFill>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400" b="1" dirty="0">
                <a:solidFill>
                  <a:schemeClr val="bg1"/>
                </a:solidFill>
              </a:rPr>
              <a:t>W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048759" y="2418080"/>
            <a:ext cx="401322" cy="3769360"/>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74" name="Group 473">
            <a:extLst>
              <a:ext uri="{FF2B5EF4-FFF2-40B4-BE49-F238E27FC236}">
                <a16:creationId xmlns:a16="http://schemas.microsoft.com/office/drawing/2014/main" id="{1C80C138-290C-42BA-A121-CD9C2BC70C68}"/>
              </a:ext>
            </a:extLst>
          </p:cNvPr>
          <p:cNvGrpSpPr/>
          <p:nvPr/>
        </p:nvGrpSpPr>
        <p:grpSpPr>
          <a:xfrm>
            <a:off x="2086445" y="5016595"/>
            <a:ext cx="424282" cy="543229"/>
            <a:chOff x="6635306" y="3569013"/>
            <a:chExt cx="959737" cy="1918227"/>
          </a:xfrm>
        </p:grpSpPr>
        <p:sp>
          <p:nvSpPr>
            <p:cNvPr id="475" name="Rectangle 474">
              <a:extLst>
                <a:ext uri="{FF2B5EF4-FFF2-40B4-BE49-F238E27FC236}">
                  <a16:creationId xmlns:a16="http://schemas.microsoft.com/office/drawing/2014/main" id="{62DECADE-C199-4707-9241-FADE488262F0}"/>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76" name="Group 475">
              <a:extLst>
                <a:ext uri="{FF2B5EF4-FFF2-40B4-BE49-F238E27FC236}">
                  <a16:creationId xmlns:a16="http://schemas.microsoft.com/office/drawing/2014/main" id="{EB8147C6-EA34-41D8-84A9-AEA39870ACC0}"/>
                </a:ext>
              </a:extLst>
            </p:cNvPr>
            <p:cNvGrpSpPr/>
            <p:nvPr/>
          </p:nvGrpSpPr>
          <p:grpSpPr>
            <a:xfrm>
              <a:off x="6680394" y="3606930"/>
              <a:ext cx="869560" cy="1842392"/>
              <a:chOff x="5094287" y="4557713"/>
              <a:chExt cx="460376" cy="971549"/>
            </a:xfrm>
          </p:grpSpPr>
          <p:sp>
            <p:nvSpPr>
              <p:cNvPr id="477" name="AutoShape 38">
                <a:extLst>
                  <a:ext uri="{FF2B5EF4-FFF2-40B4-BE49-F238E27FC236}">
                    <a16:creationId xmlns:a16="http://schemas.microsoft.com/office/drawing/2014/main" id="{D7D39471-983F-4F3E-8BC1-976A2DF4DEE6}"/>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Freeform 40">
                <a:extLst>
                  <a:ext uri="{FF2B5EF4-FFF2-40B4-BE49-F238E27FC236}">
                    <a16:creationId xmlns:a16="http://schemas.microsoft.com/office/drawing/2014/main" id="{4DC7345F-6B64-4C6A-9ACB-B16CD43138C8}"/>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Rectangle 41">
                <a:extLst>
                  <a:ext uri="{FF2B5EF4-FFF2-40B4-BE49-F238E27FC236}">
                    <a16:creationId xmlns:a16="http://schemas.microsoft.com/office/drawing/2014/main" id="{91A7A152-71F3-4E41-9B14-6207BE744D03}"/>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0" name="Rectangle 42">
                <a:extLst>
                  <a:ext uri="{FF2B5EF4-FFF2-40B4-BE49-F238E27FC236}">
                    <a16:creationId xmlns:a16="http://schemas.microsoft.com/office/drawing/2014/main" id="{EB5E41CD-7D53-4A00-AAA8-5C960480154D}"/>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1" name="Freeform 43">
                <a:extLst>
                  <a:ext uri="{FF2B5EF4-FFF2-40B4-BE49-F238E27FC236}">
                    <a16:creationId xmlns:a16="http://schemas.microsoft.com/office/drawing/2014/main" id="{25FCF23E-0A42-4927-803C-5BC8B8C30D3A}"/>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2" name="Rectangle 44">
                <a:extLst>
                  <a:ext uri="{FF2B5EF4-FFF2-40B4-BE49-F238E27FC236}">
                    <a16:creationId xmlns:a16="http://schemas.microsoft.com/office/drawing/2014/main" id="{63BC699D-72F1-429D-AE07-8C21883B7D65}"/>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3" name="Rectangle 45">
                <a:extLst>
                  <a:ext uri="{FF2B5EF4-FFF2-40B4-BE49-F238E27FC236}">
                    <a16:creationId xmlns:a16="http://schemas.microsoft.com/office/drawing/2014/main" id="{BE568BAD-E4D5-421A-B9F6-1DE76E4A4B08}"/>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4" name="Freeform 46">
                <a:extLst>
                  <a:ext uri="{FF2B5EF4-FFF2-40B4-BE49-F238E27FC236}">
                    <a16:creationId xmlns:a16="http://schemas.microsoft.com/office/drawing/2014/main" id="{4BE37B0B-837A-4312-97B6-01EA073A6E4A}"/>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5" name="Rectangle 47">
                <a:extLst>
                  <a:ext uri="{FF2B5EF4-FFF2-40B4-BE49-F238E27FC236}">
                    <a16:creationId xmlns:a16="http://schemas.microsoft.com/office/drawing/2014/main" id="{45EDDCD9-00F8-466C-93DD-598F769EBA62}"/>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6" name="Rectangle 48">
                <a:extLst>
                  <a:ext uri="{FF2B5EF4-FFF2-40B4-BE49-F238E27FC236}">
                    <a16:creationId xmlns:a16="http://schemas.microsoft.com/office/drawing/2014/main" id="{5F48D544-D15B-4CE2-8BA1-46F87DB5E8DD}"/>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7" name="Freeform 49">
                <a:extLst>
                  <a:ext uri="{FF2B5EF4-FFF2-40B4-BE49-F238E27FC236}">
                    <a16:creationId xmlns:a16="http://schemas.microsoft.com/office/drawing/2014/main" id="{3D8EBEFA-B0F3-4355-AEEB-CB89571C56F6}"/>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8" name="Rectangle 50">
                <a:extLst>
                  <a:ext uri="{FF2B5EF4-FFF2-40B4-BE49-F238E27FC236}">
                    <a16:creationId xmlns:a16="http://schemas.microsoft.com/office/drawing/2014/main" id="{9C5F9337-A3B0-4527-9A8A-215FFA16B65C}"/>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9" name="Rectangle 51">
                <a:extLst>
                  <a:ext uri="{FF2B5EF4-FFF2-40B4-BE49-F238E27FC236}">
                    <a16:creationId xmlns:a16="http://schemas.microsoft.com/office/drawing/2014/main" id="{19A4C82F-A600-482C-8FA3-CC395C7F2176}"/>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0" name="Freeform 52">
                <a:extLst>
                  <a:ext uri="{FF2B5EF4-FFF2-40B4-BE49-F238E27FC236}">
                    <a16:creationId xmlns:a16="http://schemas.microsoft.com/office/drawing/2014/main" id="{4B9E7F33-2A19-4B7B-B905-8026C48E8AA6}"/>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1" name="Rectangle 53">
                <a:extLst>
                  <a:ext uri="{FF2B5EF4-FFF2-40B4-BE49-F238E27FC236}">
                    <a16:creationId xmlns:a16="http://schemas.microsoft.com/office/drawing/2014/main" id="{4DF10583-F139-4D34-9B7C-2EA8FB1BCE7B}"/>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2" name="Rectangle 54">
                <a:extLst>
                  <a:ext uri="{FF2B5EF4-FFF2-40B4-BE49-F238E27FC236}">
                    <a16:creationId xmlns:a16="http://schemas.microsoft.com/office/drawing/2014/main" id="{6979D39C-0AD0-4ABC-8C48-051BDA21EEFB}"/>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3" name="Freeform 55">
                <a:extLst>
                  <a:ext uri="{FF2B5EF4-FFF2-40B4-BE49-F238E27FC236}">
                    <a16:creationId xmlns:a16="http://schemas.microsoft.com/office/drawing/2014/main" id="{1DDD3FD2-59DB-4AC8-86B9-09A084CD8A67}"/>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4" name="Rectangle 56">
                <a:extLst>
                  <a:ext uri="{FF2B5EF4-FFF2-40B4-BE49-F238E27FC236}">
                    <a16:creationId xmlns:a16="http://schemas.microsoft.com/office/drawing/2014/main" id="{34FA3AB4-831F-4DE1-866A-FE6CAF3994DA}"/>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5" name="Rectangle 57">
                <a:extLst>
                  <a:ext uri="{FF2B5EF4-FFF2-40B4-BE49-F238E27FC236}">
                    <a16:creationId xmlns:a16="http://schemas.microsoft.com/office/drawing/2014/main" id="{4E34F596-17E8-48C9-AA69-BBA20A3C0DA6}"/>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6" name="Freeform 58">
                <a:extLst>
                  <a:ext uri="{FF2B5EF4-FFF2-40B4-BE49-F238E27FC236}">
                    <a16:creationId xmlns:a16="http://schemas.microsoft.com/office/drawing/2014/main" id="{CB32033E-A4F0-47D4-B9E6-60F18C313DC0}"/>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7" name="Rectangle 59">
                <a:extLst>
                  <a:ext uri="{FF2B5EF4-FFF2-40B4-BE49-F238E27FC236}">
                    <a16:creationId xmlns:a16="http://schemas.microsoft.com/office/drawing/2014/main" id="{0C322656-5841-4F24-87A9-FD0991F188A1}"/>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8" name="Rectangle 60">
                <a:extLst>
                  <a:ext uri="{FF2B5EF4-FFF2-40B4-BE49-F238E27FC236}">
                    <a16:creationId xmlns:a16="http://schemas.microsoft.com/office/drawing/2014/main" id="{860AFABF-4123-47BC-A8F4-007723ABE2D4}"/>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9" name="Freeform 61">
                <a:extLst>
                  <a:ext uri="{FF2B5EF4-FFF2-40B4-BE49-F238E27FC236}">
                    <a16:creationId xmlns:a16="http://schemas.microsoft.com/office/drawing/2014/main" id="{A0F595C2-B077-4AE3-B7D0-FFE4335E38AA}"/>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0" name="Rectangle 62">
                <a:extLst>
                  <a:ext uri="{FF2B5EF4-FFF2-40B4-BE49-F238E27FC236}">
                    <a16:creationId xmlns:a16="http://schemas.microsoft.com/office/drawing/2014/main" id="{B1552FC8-E4B6-4FC5-8A02-26028615AD3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1" name="Rectangle 63">
                <a:extLst>
                  <a:ext uri="{FF2B5EF4-FFF2-40B4-BE49-F238E27FC236}">
                    <a16:creationId xmlns:a16="http://schemas.microsoft.com/office/drawing/2014/main" id="{5F37CC8A-668C-4CB0-900B-552640156E1B}"/>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2" name="Freeform 64">
                <a:extLst>
                  <a:ext uri="{FF2B5EF4-FFF2-40B4-BE49-F238E27FC236}">
                    <a16:creationId xmlns:a16="http://schemas.microsoft.com/office/drawing/2014/main" id="{85EF29E5-527D-4825-BD46-5EBEB736BE81}"/>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3" name="Rectangle 65">
                <a:extLst>
                  <a:ext uri="{FF2B5EF4-FFF2-40B4-BE49-F238E27FC236}">
                    <a16:creationId xmlns:a16="http://schemas.microsoft.com/office/drawing/2014/main" id="{0A48DB6A-BFB0-44DD-9A0D-AE1F12D8D545}"/>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4" name="Rectangle 66">
                <a:extLst>
                  <a:ext uri="{FF2B5EF4-FFF2-40B4-BE49-F238E27FC236}">
                    <a16:creationId xmlns:a16="http://schemas.microsoft.com/office/drawing/2014/main" id="{AEAB3CE2-F127-4A4B-90D2-07C3A5C8F9C7}"/>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5" name="Freeform 67">
                <a:extLst>
                  <a:ext uri="{FF2B5EF4-FFF2-40B4-BE49-F238E27FC236}">
                    <a16:creationId xmlns:a16="http://schemas.microsoft.com/office/drawing/2014/main" id="{FA1C58E0-9E46-4194-AB78-8DD948645647}"/>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6" name="Freeform 68">
                <a:extLst>
                  <a:ext uri="{FF2B5EF4-FFF2-40B4-BE49-F238E27FC236}">
                    <a16:creationId xmlns:a16="http://schemas.microsoft.com/office/drawing/2014/main" id="{AE00BD5C-BE50-49FB-B56A-4358E944E3A1}"/>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7" name="Freeform 69">
                <a:extLst>
                  <a:ext uri="{FF2B5EF4-FFF2-40B4-BE49-F238E27FC236}">
                    <a16:creationId xmlns:a16="http://schemas.microsoft.com/office/drawing/2014/main" id="{51C0BF69-D0D3-4D1D-A3E6-518192AAEC36}"/>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8" name="Freeform 70">
                <a:extLst>
                  <a:ext uri="{FF2B5EF4-FFF2-40B4-BE49-F238E27FC236}">
                    <a16:creationId xmlns:a16="http://schemas.microsoft.com/office/drawing/2014/main" id="{FB5235F1-381E-44F3-9EE3-18E014E5DE98}"/>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9" name="Freeform 71">
                <a:extLst>
                  <a:ext uri="{FF2B5EF4-FFF2-40B4-BE49-F238E27FC236}">
                    <a16:creationId xmlns:a16="http://schemas.microsoft.com/office/drawing/2014/main" id="{B8089BDF-7562-43D3-833B-BC10A525A491}"/>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0" name="Freeform 72">
                <a:extLst>
                  <a:ext uri="{FF2B5EF4-FFF2-40B4-BE49-F238E27FC236}">
                    <a16:creationId xmlns:a16="http://schemas.microsoft.com/office/drawing/2014/main" id="{C65DCF0A-07A4-4F0E-BD4A-91F0A5269029}"/>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1" name="Freeform 73">
                <a:extLst>
                  <a:ext uri="{FF2B5EF4-FFF2-40B4-BE49-F238E27FC236}">
                    <a16:creationId xmlns:a16="http://schemas.microsoft.com/office/drawing/2014/main" id="{8E689231-1798-4FBC-82D9-BD7935DAA195}"/>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2" name="Freeform 74">
                <a:extLst>
                  <a:ext uri="{FF2B5EF4-FFF2-40B4-BE49-F238E27FC236}">
                    <a16:creationId xmlns:a16="http://schemas.microsoft.com/office/drawing/2014/main" id="{AC7D5687-6333-4A85-A02B-4BC2D0F7415D}"/>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4" name="Freeform 75">
                <a:extLst>
                  <a:ext uri="{FF2B5EF4-FFF2-40B4-BE49-F238E27FC236}">
                    <a16:creationId xmlns:a16="http://schemas.microsoft.com/office/drawing/2014/main" id="{207FC7A6-D1C9-4201-9215-1319A9D3BD59}"/>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5" name="Freeform 76">
                <a:extLst>
                  <a:ext uri="{FF2B5EF4-FFF2-40B4-BE49-F238E27FC236}">
                    <a16:creationId xmlns:a16="http://schemas.microsoft.com/office/drawing/2014/main" id="{6AF07602-EE93-4AB0-A61E-546D2340C972}"/>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6" name="Rectangle 77">
                <a:extLst>
                  <a:ext uri="{FF2B5EF4-FFF2-40B4-BE49-F238E27FC236}">
                    <a16:creationId xmlns:a16="http://schemas.microsoft.com/office/drawing/2014/main" id="{5F50AD15-53FF-4826-B935-CFF3E42BD998}"/>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7" name="Freeform 78">
                <a:extLst>
                  <a:ext uri="{FF2B5EF4-FFF2-40B4-BE49-F238E27FC236}">
                    <a16:creationId xmlns:a16="http://schemas.microsoft.com/office/drawing/2014/main" id="{6C4935D6-0033-46A1-B902-C9F92B66750C}"/>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8" name="Rectangle 79">
                <a:extLst>
                  <a:ext uri="{FF2B5EF4-FFF2-40B4-BE49-F238E27FC236}">
                    <a16:creationId xmlns:a16="http://schemas.microsoft.com/office/drawing/2014/main" id="{3182EA02-F894-4757-A646-B31CDEE7EEB7}"/>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9" name="Freeform 80">
                <a:extLst>
                  <a:ext uri="{FF2B5EF4-FFF2-40B4-BE49-F238E27FC236}">
                    <a16:creationId xmlns:a16="http://schemas.microsoft.com/office/drawing/2014/main" id="{C4B337B1-E9B8-45B9-A601-28B2E87FB82E}"/>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0" name="Rectangle 81">
                <a:extLst>
                  <a:ext uri="{FF2B5EF4-FFF2-40B4-BE49-F238E27FC236}">
                    <a16:creationId xmlns:a16="http://schemas.microsoft.com/office/drawing/2014/main" id="{475D2065-74F5-4978-ACD3-DE41F2CAF569}"/>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1" name="Freeform 82">
                <a:extLst>
                  <a:ext uri="{FF2B5EF4-FFF2-40B4-BE49-F238E27FC236}">
                    <a16:creationId xmlns:a16="http://schemas.microsoft.com/office/drawing/2014/main" id="{C614AAE6-2891-466A-B970-CC678FBC93D1}"/>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2" name="Rectangle 83">
                <a:extLst>
                  <a:ext uri="{FF2B5EF4-FFF2-40B4-BE49-F238E27FC236}">
                    <a16:creationId xmlns:a16="http://schemas.microsoft.com/office/drawing/2014/main" id="{37AC43E6-7C79-45BB-8A75-97521B9D1CEA}"/>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3" name="Freeform 84">
                <a:extLst>
                  <a:ext uri="{FF2B5EF4-FFF2-40B4-BE49-F238E27FC236}">
                    <a16:creationId xmlns:a16="http://schemas.microsoft.com/office/drawing/2014/main" id="{F78B6151-9F24-4253-9F3D-DC4D26F3BBCD}"/>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24" name="Group 723">
            <a:extLst>
              <a:ext uri="{FF2B5EF4-FFF2-40B4-BE49-F238E27FC236}">
                <a16:creationId xmlns:a16="http://schemas.microsoft.com/office/drawing/2014/main" id="{700EAF53-CFA7-418D-B62D-DE6140BC0C2D}"/>
              </a:ext>
            </a:extLst>
          </p:cNvPr>
          <p:cNvGrpSpPr/>
          <p:nvPr/>
        </p:nvGrpSpPr>
        <p:grpSpPr>
          <a:xfrm>
            <a:off x="1451071" y="5016595"/>
            <a:ext cx="424282" cy="543229"/>
            <a:chOff x="6635306" y="3569013"/>
            <a:chExt cx="959737" cy="1918227"/>
          </a:xfrm>
        </p:grpSpPr>
        <p:sp>
          <p:nvSpPr>
            <p:cNvPr id="725" name="Rectangle 724">
              <a:extLst>
                <a:ext uri="{FF2B5EF4-FFF2-40B4-BE49-F238E27FC236}">
                  <a16:creationId xmlns:a16="http://schemas.microsoft.com/office/drawing/2014/main" id="{20D23F4E-0615-4757-B5B7-3CA8503CFA65}"/>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26" name="Group 725">
              <a:extLst>
                <a:ext uri="{FF2B5EF4-FFF2-40B4-BE49-F238E27FC236}">
                  <a16:creationId xmlns:a16="http://schemas.microsoft.com/office/drawing/2014/main" id="{24DC686A-7227-408D-99B1-EF74495B4BF3}"/>
                </a:ext>
              </a:extLst>
            </p:cNvPr>
            <p:cNvGrpSpPr/>
            <p:nvPr/>
          </p:nvGrpSpPr>
          <p:grpSpPr>
            <a:xfrm>
              <a:off x="6680394" y="3606930"/>
              <a:ext cx="869560" cy="1842392"/>
              <a:chOff x="5094287" y="4557713"/>
              <a:chExt cx="460376" cy="971549"/>
            </a:xfrm>
          </p:grpSpPr>
          <p:sp>
            <p:nvSpPr>
              <p:cNvPr id="727" name="AutoShape 38">
                <a:extLst>
                  <a:ext uri="{FF2B5EF4-FFF2-40B4-BE49-F238E27FC236}">
                    <a16:creationId xmlns:a16="http://schemas.microsoft.com/office/drawing/2014/main" id="{034B4EB8-8782-4D90-8EDA-322450263C79}"/>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8" name="Freeform 40">
                <a:extLst>
                  <a:ext uri="{FF2B5EF4-FFF2-40B4-BE49-F238E27FC236}">
                    <a16:creationId xmlns:a16="http://schemas.microsoft.com/office/drawing/2014/main" id="{BE4484F3-EDB7-4F8F-9F1B-BCF1823B51E2}"/>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9" name="Rectangle 41">
                <a:extLst>
                  <a:ext uri="{FF2B5EF4-FFF2-40B4-BE49-F238E27FC236}">
                    <a16:creationId xmlns:a16="http://schemas.microsoft.com/office/drawing/2014/main" id="{3902D284-339C-4AA0-B6F1-72C95CD059B4}"/>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0" name="Rectangle 42">
                <a:extLst>
                  <a:ext uri="{FF2B5EF4-FFF2-40B4-BE49-F238E27FC236}">
                    <a16:creationId xmlns:a16="http://schemas.microsoft.com/office/drawing/2014/main" id="{3D7FA9CE-AC7A-495B-8370-6BBC987BD47C}"/>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1" name="Freeform 43">
                <a:extLst>
                  <a:ext uri="{FF2B5EF4-FFF2-40B4-BE49-F238E27FC236}">
                    <a16:creationId xmlns:a16="http://schemas.microsoft.com/office/drawing/2014/main" id="{0A4891CA-E5BF-47F4-B5B7-49D7E90019FC}"/>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2" name="Rectangle 44">
                <a:extLst>
                  <a:ext uri="{FF2B5EF4-FFF2-40B4-BE49-F238E27FC236}">
                    <a16:creationId xmlns:a16="http://schemas.microsoft.com/office/drawing/2014/main" id="{BD88CF6C-EB97-45C0-B933-67929235E00D}"/>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3" name="Rectangle 45">
                <a:extLst>
                  <a:ext uri="{FF2B5EF4-FFF2-40B4-BE49-F238E27FC236}">
                    <a16:creationId xmlns:a16="http://schemas.microsoft.com/office/drawing/2014/main" id="{253B9B73-0CAF-473B-81D8-BADAEABD35AD}"/>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4" name="Freeform 46">
                <a:extLst>
                  <a:ext uri="{FF2B5EF4-FFF2-40B4-BE49-F238E27FC236}">
                    <a16:creationId xmlns:a16="http://schemas.microsoft.com/office/drawing/2014/main" id="{66374798-6E54-4E70-8E76-FFA73B206610}"/>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5" name="Rectangle 47">
                <a:extLst>
                  <a:ext uri="{FF2B5EF4-FFF2-40B4-BE49-F238E27FC236}">
                    <a16:creationId xmlns:a16="http://schemas.microsoft.com/office/drawing/2014/main" id="{6D87077C-AC68-478E-A784-9110C558817D}"/>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6" name="Rectangle 48">
                <a:extLst>
                  <a:ext uri="{FF2B5EF4-FFF2-40B4-BE49-F238E27FC236}">
                    <a16:creationId xmlns:a16="http://schemas.microsoft.com/office/drawing/2014/main" id="{6CA952B9-A6D1-4465-9322-74DED30F9C57}"/>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7" name="Freeform 49">
                <a:extLst>
                  <a:ext uri="{FF2B5EF4-FFF2-40B4-BE49-F238E27FC236}">
                    <a16:creationId xmlns:a16="http://schemas.microsoft.com/office/drawing/2014/main" id="{EC055DA0-A3DD-48C6-83DC-4317CE214BAF}"/>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8" name="Rectangle 50">
                <a:extLst>
                  <a:ext uri="{FF2B5EF4-FFF2-40B4-BE49-F238E27FC236}">
                    <a16:creationId xmlns:a16="http://schemas.microsoft.com/office/drawing/2014/main" id="{BEE765B1-FF6E-466F-808E-68F826D6F4B4}"/>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9" name="Rectangle 51">
                <a:extLst>
                  <a:ext uri="{FF2B5EF4-FFF2-40B4-BE49-F238E27FC236}">
                    <a16:creationId xmlns:a16="http://schemas.microsoft.com/office/drawing/2014/main" id="{11C369E2-C4FA-41C7-BD1A-01E2352BD7DD}"/>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0" name="Freeform 52">
                <a:extLst>
                  <a:ext uri="{FF2B5EF4-FFF2-40B4-BE49-F238E27FC236}">
                    <a16:creationId xmlns:a16="http://schemas.microsoft.com/office/drawing/2014/main" id="{2AA2E2A2-DFB9-484B-9CA3-43B2AA1353C1}"/>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1" name="Rectangle 53">
                <a:extLst>
                  <a:ext uri="{FF2B5EF4-FFF2-40B4-BE49-F238E27FC236}">
                    <a16:creationId xmlns:a16="http://schemas.microsoft.com/office/drawing/2014/main" id="{4A33B995-6034-4756-99D3-39536459E834}"/>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2" name="Rectangle 54">
                <a:extLst>
                  <a:ext uri="{FF2B5EF4-FFF2-40B4-BE49-F238E27FC236}">
                    <a16:creationId xmlns:a16="http://schemas.microsoft.com/office/drawing/2014/main" id="{793E149E-ABD5-487F-B1D9-3BE4CBB2BBDE}"/>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3" name="Freeform 55">
                <a:extLst>
                  <a:ext uri="{FF2B5EF4-FFF2-40B4-BE49-F238E27FC236}">
                    <a16:creationId xmlns:a16="http://schemas.microsoft.com/office/drawing/2014/main" id="{3B56CA5A-7FE8-4DA3-BCCE-335370F4FFE6}"/>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4" name="Rectangle 56">
                <a:extLst>
                  <a:ext uri="{FF2B5EF4-FFF2-40B4-BE49-F238E27FC236}">
                    <a16:creationId xmlns:a16="http://schemas.microsoft.com/office/drawing/2014/main" id="{D3D9D909-469E-4F11-A3DC-566F3091A63C}"/>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5" name="Rectangle 57">
                <a:extLst>
                  <a:ext uri="{FF2B5EF4-FFF2-40B4-BE49-F238E27FC236}">
                    <a16:creationId xmlns:a16="http://schemas.microsoft.com/office/drawing/2014/main" id="{AE84DEE3-0D7C-48B8-AC5D-62D8E4A04B4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6" name="Freeform 58">
                <a:extLst>
                  <a:ext uri="{FF2B5EF4-FFF2-40B4-BE49-F238E27FC236}">
                    <a16:creationId xmlns:a16="http://schemas.microsoft.com/office/drawing/2014/main" id="{76879ACD-C0B9-4E76-9F10-DB2108A3D60A}"/>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7" name="Rectangle 59">
                <a:extLst>
                  <a:ext uri="{FF2B5EF4-FFF2-40B4-BE49-F238E27FC236}">
                    <a16:creationId xmlns:a16="http://schemas.microsoft.com/office/drawing/2014/main" id="{1D04D99F-DB00-4C0F-A803-C6550B09B176}"/>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8" name="Rectangle 60">
                <a:extLst>
                  <a:ext uri="{FF2B5EF4-FFF2-40B4-BE49-F238E27FC236}">
                    <a16:creationId xmlns:a16="http://schemas.microsoft.com/office/drawing/2014/main" id="{78A53214-E258-490D-BAB7-44756251E7F5}"/>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9" name="Freeform 61">
                <a:extLst>
                  <a:ext uri="{FF2B5EF4-FFF2-40B4-BE49-F238E27FC236}">
                    <a16:creationId xmlns:a16="http://schemas.microsoft.com/office/drawing/2014/main" id="{0245464D-9EF5-405E-9B74-D065988E9D70}"/>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0" name="Rectangle 62">
                <a:extLst>
                  <a:ext uri="{FF2B5EF4-FFF2-40B4-BE49-F238E27FC236}">
                    <a16:creationId xmlns:a16="http://schemas.microsoft.com/office/drawing/2014/main" id="{636E4687-0E19-41A8-BDB7-0F88D7E6CC7A}"/>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1" name="Rectangle 63">
                <a:extLst>
                  <a:ext uri="{FF2B5EF4-FFF2-40B4-BE49-F238E27FC236}">
                    <a16:creationId xmlns:a16="http://schemas.microsoft.com/office/drawing/2014/main" id="{7064C932-84AB-4189-B7B8-EEB0EBC662FB}"/>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2" name="Freeform 64">
                <a:extLst>
                  <a:ext uri="{FF2B5EF4-FFF2-40B4-BE49-F238E27FC236}">
                    <a16:creationId xmlns:a16="http://schemas.microsoft.com/office/drawing/2014/main" id="{A7C9A635-CD46-4A58-B2B8-B47EC29ED122}"/>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3" name="Rectangle 65">
                <a:extLst>
                  <a:ext uri="{FF2B5EF4-FFF2-40B4-BE49-F238E27FC236}">
                    <a16:creationId xmlns:a16="http://schemas.microsoft.com/office/drawing/2014/main" id="{F4AC735B-B0D2-4C1E-BCB8-2A21398DBBC2}"/>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4" name="Rectangle 66">
                <a:extLst>
                  <a:ext uri="{FF2B5EF4-FFF2-40B4-BE49-F238E27FC236}">
                    <a16:creationId xmlns:a16="http://schemas.microsoft.com/office/drawing/2014/main" id="{A652AEAC-FA25-4304-9A4E-A66835AAD381}"/>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5" name="Freeform 67">
                <a:extLst>
                  <a:ext uri="{FF2B5EF4-FFF2-40B4-BE49-F238E27FC236}">
                    <a16:creationId xmlns:a16="http://schemas.microsoft.com/office/drawing/2014/main" id="{92D6B27D-E4B8-4632-8B78-BD34EA1957C1}"/>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6" name="Freeform 68">
                <a:extLst>
                  <a:ext uri="{FF2B5EF4-FFF2-40B4-BE49-F238E27FC236}">
                    <a16:creationId xmlns:a16="http://schemas.microsoft.com/office/drawing/2014/main" id="{187B9485-7F5B-4817-8982-F4FD15D6B27A}"/>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7" name="Freeform 69">
                <a:extLst>
                  <a:ext uri="{FF2B5EF4-FFF2-40B4-BE49-F238E27FC236}">
                    <a16:creationId xmlns:a16="http://schemas.microsoft.com/office/drawing/2014/main" id="{FFC6DCE0-6F0F-4012-BECF-701DE18025D2}"/>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8" name="Freeform 70">
                <a:extLst>
                  <a:ext uri="{FF2B5EF4-FFF2-40B4-BE49-F238E27FC236}">
                    <a16:creationId xmlns:a16="http://schemas.microsoft.com/office/drawing/2014/main" id="{C8E226BC-9FEF-46A2-BA3D-C8D1F7C8AF53}"/>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9" name="Freeform 71">
                <a:extLst>
                  <a:ext uri="{FF2B5EF4-FFF2-40B4-BE49-F238E27FC236}">
                    <a16:creationId xmlns:a16="http://schemas.microsoft.com/office/drawing/2014/main" id="{50906006-D598-489C-A9F7-135139EB5FFA}"/>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0" name="Freeform 72">
                <a:extLst>
                  <a:ext uri="{FF2B5EF4-FFF2-40B4-BE49-F238E27FC236}">
                    <a16:creationId xmlns:a16="http://schemas.microsoft.com/office/drawing/2014/main" id="{AAFA871C-A57E-47A0-83A0-1C92B2BA8FFF}"/>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1" name="Freeform 73">
                <a:extLst>
                  <a:ext uri="{FF2B5EF4-FFF2-40B4-BE49-F238E27FC236}">
                    <a16:creationId xmlns:a16="http://schemas.microsoft.com/office/drawing/2014/main" id="{B5BFDA66-7CF3-42A2-89FB-F7502A3A7B24}"/>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2" name="Freeform 74">
                <a:extLst>
                  <a:ext uri="{FF2B5EF4-FFF2-40B4-BE49-F238E27FC236}">
                    <a16:creationId xmlns:a16="http://schemas.microsoft.com/office/drawing/2014/main" id="{93CAF920-6048-4B77-BA5A-506CAFBE10F7}"/>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3" name="Freeform 75">
                <a:extLst>
                  <a:ext uri="{FF2B5EF4-FFF2-40B4-BE49-F238E27FC236}">
                    <a16:creationId xmlns:a16="http://schemas.microsoft.com/office/drawing/2014/main" id="{1B254176-FBCD-4114-A718-6DE7F33E5F2F}"/>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4" name="Freeform 76">
                <a:extLst>
                  <a:ext uri="{FF2B5EF4-FFF2-40B4-BE49-F238E27FC236}">
                    <a16:creationId xmlns:a16="http://schemas.microsoft.com/office/drawing/2014/main" id="{787C17DB-BF2F-4C65-B189-9A9C8C537BA4}"/>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5" name="Rectangle 77">
                <a:extLst>
                  <a:ext uri="{FF2B5EF4-FFF2-40B4-BE49-F238E27FC236}">
                    <a16:creationId xmlns:a16="http://schemas.microsoft.com/office/drawing/2014/main" id="{7F0B4E48-FB3C-41D3-BBBB-E52A2E3915F8}"/>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6" name="Freeform 78">
                <a:extLst>
                  <a:ext uri="{FF2B5EF4-FFF2-40B4-BE49-F238E27FC236}">
                    <a16:creationId xmlns:a16="http://schemas.microsoft.com/office/drawing/2014/main" id="{749846D5-E386-42DE-81FC-63102E5714C8}"/>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7" name="Rectangle 79">
                <a:extLst>
                  <a:ext uri="{FF2B5EF4-FFF2-40B4-BE49-F238E27FC236}">
                    <a16:creationId xmlns:a16="http://schemas.microsoft.com/office/drawing/2014/main" id="{89DC639C-8A2D-41CB-854D-43BAB5152D4F}"/>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8" name="Freeform 80">
                <a:extLst>
                  <a:ext uri="{FF2B5EF4-FFF2-40B4-BE49-F238E27FC236}">
                    <a16:creationId xmlns:a16="http://schemas.microsoft.com/office/drawing/2014/main" id="{DB04124E-8901-46D8-8E1D-8FFCD3AF92FE}"/>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9" name="Rectangle 81">
                <a:extLst>
                  <a:ext uri="{FF2B5EF4-FFF2-40B4-BE49-F238E27FC236}">
                    <a16:creationId xmlns:a16="http://schemas.microsoft.com/office/drawing/2014/main" id="{CE3F47D8-082C-4D95-891F-39AFA1539CF0}"/>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70" name="Freeform 82">
                <a:extLst>
                  <a:ext uri="{FF2B5EF4-FFF2-40B4-BE49-F238E27FC236}">
                    <a16:creationId xmlns:a16="http://schemas.microsoft.com/office/drawing/2014/main" id="{991D45CD-1B4B-414D-AABC-CA0159D3CA74}"/>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1" name="Rectangle 83">
                <a:extLst>
                  <a:ext uri="{FF2B5EF4-FFF2-40B4-BE49-F238E27FC236}">
                    <a16:creationId xmlns:a16="http://schemas.microsoft.com/office/drawing/2014/main" id="{7FAC8F23-FA40-49C4-894D-867F5CAF0995}"/>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72" name="Freeform 84">
                <a:extLst>
                  <a:ext uri="{FF2B5EF4-FFF2-40B4-BE49-F238E27FC236}">
                    <a16:creationId xmlns:a16="http://schemas.microsoft.com/office/drawing/2014/main" id="{FC73D205-0067-4FC2-A78E-B061639CA7F8}"/>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26" name="Group 825">
            <a:extLst>
              <a:ext uri="{FF2B5EF4-FFF2-40B4-BE49-F238E27FC236}">
                <a16:creationId xmlns:a16="http://schemas.microsoft.com/office/drawing/2014/main" id="{856F41DC-5C4F-4526-9540-DAB0EEFDD7F7}"/>
              </a:ext>
            </a:extLst>
          </p:cNvPr>
          <p:cNvGrpSpPr/>
          <p:nvPr/>
        </p:nvGrpSpPr>
        <p:grpSpPr>
          <a:xfrm>
            <a:off x="2721821" y="5045940"/>
            <a:ext cx="424282" cy="513884"/>
            <a:chOff x="6635306" y="3569013"/>
            <a:chExt cx="959737" cy="1918227"/>
          </a:xfrm>
        </p:grpSpPr>
        <p:sp>
          <p:nvSpPr>
            <p:cNvPr id="828" name="Rectangle 827">
              <a:extLst>
                <a:ext uri="{FF2B5EF4-FFF2-40B4-BE49-F238E27FC236}">
                  <a16:creationId xmlns:a16="http://schemas.microsoft.com/office/drawing/2014/main" id="{A83139A6-5306-4748-A34A-A9C9C9D852E2}"/>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29" name="Group 828">
              <a:extLst>
                <a:ext uri="{FF2B5EF4-FFF2-40B4-BE49-F238E27FC236}">
                  <a16:creationId xmlns:a16="http://schemas.microsoft.com/office/drawing/2014/main" id="{3E7927A5-3C96-4A78-9485-D8BDFE36FE76}"/>
                </a:ext>
              </a:extLst>
            </p:cNvPr>
            <p:cNvGrpSpPr/>
            <p:nvPr/>
          </p:nvGrpSpPr>
          <p:grpSpPr>
            <a:xfrm>
              <a:off x="6680394" y="3606930"/>
              <a:ext cx="869560" cy="1842392"/>
              <a:chOff x="5094287" y="4557713"/>
              <a:chExt cx="460376" cy="971549"/>
            </a:xfrm>
          </p:grpSpPr>
          <p:sp>
            <p:nvSpPr>
              <p:cNvPr id="830" name="AutoShape 38">
                <a:extLst>
                  <a:ext uri="{FF2B5EF4-FFF2-40B4-BE49-F238E27FC236}">
                    <a16:creationId xmlns:a16="http://schemas.microsoft.com/office/drawing/2014/main" id="{A930F50D-FF93-466E-AE67-72AA1078242D}"/>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1" name="Freeform 40">
                <a:extLst>
                  <a:ext uri="{FF2B5EF4-FFF2-40B4-BE49-F238E27FC236}">
                    <a16:creationId xmlns:a16="http://schemas.microsoft.com/office/drawing/2014/main" id="{D757ECB8-5C3E-457D-9EEB-BCD499FD3783}"/>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2" name="Rectangle 41">
                <a:extLst>
                  <a:ext uri="{FF2B5EF4-FFF2-40B4-BE49-F238E27FC236}">
                    <a16:creationId xmlns:a16="http://schemas.microsoft.com/office/drawing/2014/main" id="{285AE642-8283-45E1-B766-C2B30568ABBB}"/>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3" name="Rectangle 42">
                <a:extLst>
                  <a:ext uri="{FF2B5EF4-FFF2-40B4-BE49-F238E27FC236}">
                    <a16:creationId xmlns:a16="http://schemas.microsoft.com/office/drawing/2014/main" id="{72013D4B-0475-44AC-870D-A71DB75AB81F}"/>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4" name="Freeform 43">
                <a:extLst>
                  <a:ext uri="{FF2B5EF4-FFF2-40B4-BE49-F238E27FC236}">
                    <a16:creationId xmlns:a16="http://schemas.microsoft.com/office/drawing/2014/main" id="{E95F7BA4-230B-4286-8EC7-C47CB21DAC28}"/>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5" name="Rectangle 44">
                <a:extLst>
                  <a:ext uri="{FF2B5EF4-FFF2-40B4-BE49-F238E27FC236}">
                    <a16:creationId xmlns:a16="http://schemas.microsoft.com/office/drawing/2014/main" id="{7FAC782C-A525-4C4A-BE2C-5C906A9ADC69}"/>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6" name="Rectangle 45">
                <a:extLst>
                  <a:ext uri="{FF2B5EF4-FFF2-40B4-BE49-F238E27FC236}">
                    <a16:creationId xmlns:a16="http://schemas.microsoft.com/office/drawing/2014/main" id="{8ECC58A0-A35F-431C-A91C-AB7A9E5191C2}"/>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7" name="Freeform 46">
                <a:extLst>
                  <a:ext uri="{FF2B5EF4-FFF2-40B4-BE49-F238E27FC236}">
                    <a16:creationId xmlns:a16="http://schemas.microsoft.com/office/drawing/2014/main" id="{3C5B9794-6134-42D0-BE69-0A076298899D}"/>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8" name="Rectangle 47">
                <a:extLst>
                  <a:ext uri="{FF2B5EF4-FFF2-40B4-BE49-F238E27FC236}">
                    <a16:creationId xmlns:a16="http://schemas.microsoft.com/office/drawing/2014/main" id="{A770F327-FF98-4E52-87DD-43E46F713B74}"/>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9" name="Rectangle 48">
                <a:extLst>
                  <a:ext uri="{FF2B5EF4-FFF2-40B4-BE49-F238E27FC236}">
                    <a16:creationId xmlns:a16="http://schemas.microsoft.com/office/drawing/2014/main" id="{5F54EED4-3224-4509-B004-7D42A1E5297F}"/>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0" name="Freeform 49">
                <a:extLst>
                  <a:ext uri="{FF2B5EF4-FFF2-40B4-BE49-F238E27FC236}">
                    <a16:creationId xmlns:a16="http://schemas.microsoft.com/office/drawing/2014/main" id="{6DE1F7E6-6BE1-496E-A688-0B4FA270A5CD}"/>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1" name="Rectangle 50">
                <a:extLst>
                  <a:ext uri="{FF2B5EF4-FFF2-40B4-BE49-F238E27FC236}">
                    <a16:creationId xmlns:a16="http://schemas.microsoft.com/office/drawing/2014/main" id="{726D87EF-B005-46FE-B29A-D0DEADE5C94D}"/>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2" name="Rectangle 51">
                <a:extLst>
                  <a:ext uri="{FF2B5EF4-FFF2-40B4-BE49-F238E27FC236}">
                    <a16:creationId xmlns:a16="http://schemas.microsoft.com/office/drawing/2014/main" id="{A9D55462-431E-4ABD-A02B-9B09A044B62E}"/>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3" name="Freeform 52">
                <a:extLst>
                  <a:ext uri="{FF2B5EF4-FFF2-40B4-BE49-F238E27FC236}">
                    <a16:creationId xmlns:a16="http://schemas.microsoft.com/office/drawing/2014/main" id="{1736FA36-3C45-4E3C-8100-7E91160E09D9}"/>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4" name="Rectangle 53">
                <a:extLst>
                  <a:ext uri="{FF2B5EF4-FFF2-40B4-BE49-F238E27FC236}">
                    <a16:creationId xmlns:a16="http://schemas.microsoft.com/office/drawing/2014/main" id="{3EFB723A-CDA9-423B-8E61-D21926F98B2C}"/>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5" name="Rectangle 54">
                <a:extLst>
                  <a:ext uri="{FF2B5EF4-FFF2-40B4-BE49-F238E27FC236}">
                    <a16:creationId xmlns:a16="http://schemas.microsoft.com/office/drawing/2014/main" id="{92354142-1A7C-4678-9182-A29454FCE9AB}"/>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6" name="Freeform 55">
                <a:extLst>
                  <a:ext uri="{FF2B5EF4-FFF2-40B4-BE49-F238E27FC236}">
                    <a16:creationId xmlns:a16="http://schemas.microsoft.com/office/drawing/2014/main" id="{DFA52E43-A2F1-491F-95E9-6E13AF2BF50F}"/>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7" name="Rectangle 56">
                <a:extLst>
                  <a:ext uri="{FF2B5EF4-FFF2-40B4-BE49-F238E27FC236}">
                    <a16:creationId xmlns:a16="http://schemas.microsoft.com/office/drawing/2014/main" id="{248BA194-1A3C-4EAB-90E2-E420D724C4D8}"/>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8" name="Rectangle 57">
                <a:extLst>
                  <a:ext uri="{FF2B5EF4-FFF2-40B4-BE49-F238E27FC236}">
                    <a16:creationId xmlns:a16="http://schemas.microsoft.com/office/drawing/2014/main" id="{98539B6F-2030-49BA-8552-7A741BD1B2E3}"/>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9" name="Freeform 58">
                <a:extLst>
                  <a:ext uri="{FF2B5EF4-FFF2-40B4-BE49-F238E27FC236}">
                    <a16:creationId xmlns:a16="http://schemas.microsoft.com/office/drawing/2014/main" id="{C8136500-5A76-413E-895C-BF7AC75352FA}"/>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0" name="Rectangle 59">
                <a:extLst>
                  <a:ext uri="{FF2B5EF4-FFF2-40B4-BE49-F238E27FC236}">
                    <a16:creationId xmlns:a16="http://schemas.microsoft.com/office/drawing/2014/main" id="{17AD4124-EABB-4ECE-94D9-C5FB389FEC30}"/>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1" name="Rectangle 60">
                <a:extLst>
                  <a:ext uri="{FF2B5EF4-FFF2-40B4-BE49-F238E27FC236}">
                    <a16:creationId xmlns:a16="http://schemas.microsoft.com/office/drawing/2014/main" id="{F4CA5DD1-7210-4C71-A3DB-CD35E24C830C}"/>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2" name="Freeform 61">
                <a:extLst>
                  <a:ext uri="{FF2B5EF4-FFF2-40B4-BE49-F238E27FC236}">
                    <a16:creationId xmlns:a16="http://schemas.microsoft.com/office/drawing/2014/main" id="{1733D151-871E-4BD2-BD1A-5B2F632E026F}"/>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3" name="Rectangle 62">
                <a:extLst>
                  <a:ext uri="{FF2B5EF4-FFF2-40B4-BE49-F238E27FC236}">
                    <a16:creationId xmlns:a16="http://schemas.microsoft.com/office/drawing/2014/main" id="{807181D7-5587-4349-A442-F4A113C1001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4" name="Rectangle 63">
                <a:extLst>
                  <a:ext uri="{FF2B5EF4-FFF2-40B4-BE49-F238E27FC236}">
                    <a16:creationId xmlns:a16="http://schemas.microsoft.com/office/drawing/2014/main" id="{D32B013F-441B-41FD-AD24-3A6036CF6DF2}"/>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5" name="Freeform 64">
                <a:extLst>
                  <a:ext uri="{FF2B5EF4-FFF2-40B4-BE49-F238E27FC236}">
                    <a16:creationId xmlns:a16="http://schemas.microsoft.com/office/drawing/2014/main" id="{F9A4229E-6E54-4D03-A5FC-B77C1C1BDA17}"/>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6" name="Rectangle 65">
                <a:extLst>
                  <a:ext uri="{FF2B5EF4-FFF2-40B4-BE49-F238E27FC236}">
                    <a16:creationId xmlns:a16="http://schemas.microsoft.com/office/drawing/2014/main" id="{9E8AA7C9-AC49-42DA-B34A-0F8DF5CD267F}"/>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7" name="Rectangle 66">
                <a:extLst>
                  <a:ext uri="{FF2B5EF4-FFF2-40B4-BE49-F238E27FC236}">
                    <a16:creationId xmlns:a16="http://schemas.microsoft.com/office/drawing/2014/main" id="{2D8DC380-64D6-4E4A-A1CD-94B3D3F5748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8" name="Freeform 67">
                <a:extLst>
                  <a:ext uri="{FF2B5EF4-FFF2-40B4-BE49-F238E27FC236}">
                    <a16:creationId xmlns:a16="http://schemas.microsoft.com/office/drawing/2014/main" id="{7BB391D6-C7C0-4547-A76D-E2DCB5DC05F7}"/>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1" name="Freeform 68">
                <a:extLst>
                  <a:ext uri="{FF2B5EF4-FFF2-40B4-BE49-F238E27FC236}">
                    <a16:creationId xmlns:a16="http://schemas.microsoft.com/office/drawing/2014/main" id="{333EFFF2-08DD-4CBC-BF65-0406F9A10608}"/>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2" name="Freeform 69">
                <a:extLst>
                  <a:ext uri="{FF2B5EF4-FFF2-40B4-BE49-F238E27FC236}">
                    <a16:creationId xmlns:a16="http://schemas.microsoft.com/office/drawing/2014/main" id="{BF5F6C14-FBCF-44F6-ABFB-CC3FDB620614}"/>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3" name="Freeform 70">
                <a:extLst>
                  <a:ext uri="{FF2B5EF4-FFF2-40B4-BE49-F238E27FC236}">
                    <a16:creationId xmlns:a16="http://schemas.microsoft.com/office/drawing/2014/main" id="{B6F8B6F0-2585-422D-8C8C-658AD6729C01}"/>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4" name="Freeform 71">
                <a:extLst>
                  <a:ext uri="{FF2B5EF4-FFF2-40B4-BE49-F238E27FC236}">
                    <a16:creationId xmlns:a16="http://schemas.microsoft.com/office/drawing/2014/main" id="{CCE689CE-1BC1-41FE-9BA0-B84138A01B4C}"/>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5" name="Freeform 72">
                <a:extLst>
                  <a:ext uri="{FF2B5EF4-FFF2-40B4-BE49-F238E27FC236}">
                    <a16:creationId xmlns:a16="http://schemas.microsoft.com/office/drawing/2014/main" id="{29578C19-4E0E-4E57-8D3F-2D7A53399F6C}"/>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6" name="Freeform 73">
                <a:extLst>
                  <a:ext uri="{FF2B5EF4-FFF2-40B4-BE49-F238E27FC236}">
                    <a16:creationId xmlns:a16="http://schemas.microsoft.com/office/drawing/2014/main" id="{58E563F4-4638-4D14-A12F-4C3BEE52526F}"/>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71" name="Freeform 74">
                <a:extLst>
                  <a:ext uri="{FF2B5EF4-FFF2-40B4-BE49-F238E27FC236}">
                    <a16:creationId xmlns:a16="http://schemas.microsoft.com/office/drawing/2014/main" id="{B58727FA-518B-4065-B634-8E2147DA078E}"/>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4" name="Freeform 75">
                <a:extLst>
                  <a:ext uri="{FF2B5EF4-FFF2-40B4-BE49-F238E27FC236}">
                    <a16:creationId xmlns:a16="http://schemas.microsoft.com/office/drawing/2014/main" id="{0BD9D723-0E06-4EFB-9A31-F3FCD004087E}"/>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76" name="Freeform 76">
                <a:extLst>
                  <a:ext uri="{FF2B5EF4-FFF2-40B4-BE49-F238E27FC236}">
                    <a16:creationId xmlns:a16="http://schemas.microsoft.com/office/drawing/2014/main" id="{290CBB38-71E2-4581-ADC2-209F8FA3839E}"/>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77" name="Rectangle 77">
                <a:extLst>
                  <a:ext uri="{FF2B5EF4-FFF2-40B4-BE49-F238E27FC236}">
                    <a16:creationId xmlns:a16="http://schemas.microsoft.com/office/drawing/2014/main" id="{4A4AA641-A4AC-4159-9C3A-DC279E935A16}"/>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78" name="Freeform 78">
                <a:extLst>
                  <a:ext uri="{FF2B5EF4-FFF2-40B4-BE49-F238E27FC236}">
                    <a16:creationId xmlns:a16="http://schemas.microsoft.com/office/drawing/2014/main" id="{9C9E6534-C6D3-4E1C-9C5C-8BFBE8897148}"/>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9" name="Rectangle 79">
                <a:extLst>
                  <a:ext uri="{FF2B5EF4-FFF2-40B4-BE49-F238E27FC236}">
                    <a16:creationId xmlns:a16="http://schemas.microsoft.com/office/drawing/2014/main" id="{F8F39161-D0D7-4DA8-BAA3-D7133264F554}"/>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0" name="Freeform 80">
                <a:extLst>
                  <a:ext uri="{FF2B5EF4-FFF2-40B4-BE49-F238E27FC236}">
                    <a16:creationId xmlns:a16="http://schemas.microsoft.com/office/drawing/2014/main" id="{7BC233C5-3485-4257-9A53-C20FA9D4EC67}"/>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1" name="Rectangle 81">
                <a:extLst>
                  <a:ext uri="{FF2B5EF4-FFF2-40B4-BE49-F238E27FC236}">
                    <a16:creationId xmlns:a16="http://schemas.microsoft.com/office/drawing/2014/main" id="{7D075B9B-14E6-40F6-8219-1407F51DBFCD}"/>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3" name="Freeform 82">
                <a:extLst>
                  <a:ext uri="{FF2B5EF4-FFF2-40B4-BE49-F238E27FC236}">
                    <a16:creationId xmlns:a16="http://schemas.microsoft.com/office/drawing/2014/main" id="{C59760C2-E145-45C0-8A35-CFCB71DC6B51}"/>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4" name="Rectangle 83">
                <a:extLst>
                  <a:ext uri="{FF2B5EF4-FFF2-40B4-BE49-F238E27FC236}">
                    <a16:creationId xmlns:a16="http://schemas.microsoft.com/office/drawing/2014/main" id="{4E22C648-D3A4-41AB-83A7-05C29BA46A41}"/>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5" name="Freeform 84">
                <a:extLst>
                  <a:ext uri="{FF2B5EF4-FFF2-40B4-BE49-F238E27FC236}">
                    <a16:creationId xmlns:a16="http://schemas.microsoft.com/office/drawing/2014/main" id="{BE87BAA3-43F5-4AFE-B623-350D3CFCF8CD}"/>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0" name="Graphic 4">
            <a:extLst>
              <a:ext uri="{FF2B5EF4-FFF2-40B4-BE49-F238E27FC236}">
                <a16:creationId xmlns:a16="http://schemas.microsoft.com/office/drawing/2014/main" id="{47984691-16AE-4A38-9B97-B290DC802B30}"/>
              </a:ext>
            </a:extLst>
          </p:cNvPr>
          <p:cNvGrpSpPr/>
          <p:nvPr/>
        </p:nvGrpSpPr>
        <p:grpSpPr>
          <a:xfrm>
            <a:off x="1796484" y="3314466"/>
            <a:ext cx="1038156" cy="961350"/>
            <a:chOff x="1051169" y="2847480"/>
            <a:chExt cx="2314195" cy="2142984"/>
          </a:xfrm>
          <a:solidFill>
            <a:schemeClr val="accent1"/>
          </a:solidFill>
        </p:grpSpPr>
        <p:sp>
          <p:nvSpPr>
            <p:cNvPr id="21" name="Freeform: Shape 20">
              <a:extLst>
                <a:ext uri="{FF2B5EF4-FFF2-40B4-BE49-F238E27FC236}">
                  <a16:creationId xmlns:a16="http://schemas.microsoft.com/office/drawing/2014/main" id="{B01E46C1-9557-4FE9-A2AC-28A7C4616274}"/>
                </a:ext>
              </a:extLst>
            </p:cNvPr>
            <p:cNvSpPr/>
            <p:nvPr/>
          </p:nvSpPr>
          <p:spPr>
            <a:xfrm>
              <a:off x="1678943" y="4006826"/>
              <a:ext cx="1562100" cy="952500"/>
            </a:xfrm>
            <a:custGeom>
              <a:avLst/>
              <a:gdLst>
                <a:gd name="connsiteX0" fmla="*/ 1565454 w 1562100"/>
                <a:gd name="connsiteY0" fmla="*/ 878967 h 952500"/>
                <a:gd name="connsiteX1" fmla="*/ 1389241 w 1562100"/>
                <a:gd name="connsiteY1" fmla="*/ 246888 h 952500"/>
                <a:gd name="connsiteX2" fmla="*/ 1105111 w 1562100"/>
                <a:gd name="connsiteY2" fmla="*/ 0 h 952500"/>
                <a:gd name="connsiteX3" fmla="*/ 375210 w 1562100"/>
                <a:gd name="connsiteY3" fmla="*/ 0 h 952500"/>
                <a:gd name="connsiteX4" fmla="*/ 94032 w 1562100"/>
                <a:gd name="connsiteY4" fmla="*/ 246888 h 952500"/>
                <a:gd name="connsiteX5" fmla="*/ 60123 w 1562100"/>
                <a:gd name="connsiteY5" fmla="*/ 952595 h 952500"/>
                <a:gd name="connsiteX6" fmla="*/ 1480967 w 1562100"/>
                <a:gd name="connsiteY6" fmla="*/ 952595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100" h="952500">
                  <a:moveTo>
                    <a:pt x="1565454" y="878967"/>
                  </a:moveTo>
                  <a:cubicBezTo>
                    <a:pt x="1452487" y="500253"/>
                    <a:pt x="1389241" y="246888"/>
                    <a:pt x="1389241" y="246888"/>
                  </a:cubicBezTo>
                  <a:cubicBezTo>
                    <a:pt x="1368286" y="103632"/>
                    <a:pt x="1248652" y="0"/>
                    <a:pt x="1105111" y="0"/>
                  </a:cubicBezTo>
                  <a:cubicBezTo>
                    <a:pt x="375210" y="0"/>
                    <a:pt x="375210" y="0"/>
                    <a:pt x="375210" y="0"/>
                  </a:cubicBezTo>
                  <a:cubicBezTo>
                    <a:pt x="234621" y="0"/>
                    <a:pt x="152420" y="114395"/>
                    <a:pt x="94032" y="246888"/>
                  </a:cubicBezTo>
                  <a:cubicBezTo>
                    <a:pt x="-95516" y="676561"/>
                    <a:pt x="60123" y="952595"/>
                    <a:pt x="60123" y="952595"/>
                  </a:cubicBezTo>
                  <a:cubicBezTo>
                    <a:pt x="1480967" y="952595"/>
                    <a:pt x="1480967" y="952595"/>
                    <a:pt x="1480967" y="952595"/>
                  </a:cubicBezTo>
                </a:path>
              </a:pathLst>
            </a:custGeom>
            <a:solidFill>
              <a:srgbClr val="E2068C"/>
            </a:solidFill>
            <a:ln w="9525"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9B50E935-116A-4738-9722-14F896363BED}"/>
                </a:ext>
              </a:extLst>
            </p:cNvPr>
            <p:cNvSpPr/>
            <p:nvPr/>
          </p:nvSpPr>
          <p:spPr>
            <a:xfrm>
              <a:off x="2118351" y="3731363"/>
              <a:ext cx="600075" cy="581025"/>
            </a:xfrm>
            <a:custGeom>
              <a:avLst/>
              <a:gdLst>
                <a:gd name="connsiteX0" fmla="*/ 504730 w 600075"/>
                <a:gd name="connsiteY0" fmla="*/ 217742 h 581025"/>
                <a:gd name="connsiteX1" fmla="*/ 504730 w 600075"/>
                <a:gd name="connsiteY1" fmla="*/ 0 h 581025"/>
                <a:gd name="connsiteX2" fmla="*/ 96774 w 600075"/>
                <a:gd name="connsiteY2" fmla="*/ 0 h 581025"/>
                <a:gd name="connsiteX3" fmla="*/ 96774 w 600075"/>
                <a:gd name="connsiteY3" fmla="*/ 217742 h 581025"/>
                <a:gd name="connsiteX4" fmla="*/ 41053 w 600075"/>
                <a:gd name="connsiteY4" fmla="*/ 274415 h 581025"/>
                <a:gd name="connsiteX5" fmla="*/ 0 w 600075"/>
                <a:gd name="connsiteY5" fmla="*/ 274415 h 581025"/>
                <a:gd name="connsiteX6" fmla="*/ 302323 w 600075"/>
                <a:gd name="connsiteY6" fmla="*/ 581597 h 581025"/>
                <a:gd name="connsiteX7" fmla="*/ 604647 w 600075"/>
                <a:gd name="connsiteY7" fmla="*/ 274415 h 581025"/>
                <a:gd name="connsiteX8" fmla="*/ 560641 w 600075"/>
                <a:gd name="connsiteY8" fmla="*/ 274415 h 581025"/>
                <a:gd name="connsiteX9" fmla="*/ 504730 w 600075"/>
                <a:gd name="connsiteY9" fmla="*/ 217742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0075" h="581025">
                  <a:moveTo>
                    <a:pt x="504730" y="217742"/>
                  </a:moveTo>
                  <a:cubicBezTo>
                    <a:pt x="504730" y="0"/>
                    <a:pt x="504730" y="0"/>
                    <a:pt x="504730" y="0"/>
                  </a:cubicBezTo>
                  <a:cubicBezTo>
                    <a:pt x="96774" y="0"/>
                    <a:pt x="96774" y="0"/>
                    <a:pt x="96774" y="0"/>
                  </a:cubicBezTo>
                  <a:cubicBezTo>
                    <a:pt x="96774" y="217742"/>
                    <a:pt x="96774" y="217742"/>
                    <a:pt x="96774" y="217742"/>
                  </a:cubicBezTo>
                  <a:cubicBezTo>
                    <a:pt x="96774" y="247555"/>
                    <a:pt x="73247" y="274415"/>
                    <a:pt x="41053" y="274415"/>
                  </a:cubicBezTo>
                  <a:cubicBezTo>
                    <a:pt x="0" y="274415"/>
                    <a:pt x="0" y="274415"/>
                    <a:pt x="0" y="274415"/>
                  </a:cubicBezTo>
                  <a:cubicBezTo>
                    <a:pt x="0" y="441484"/>
                    <a:pt x="134969" y="581597"/>
                    <a:pt x="302323" y="581597"/>
                  </a:cubicBezTo>
                  <a:cubicBezTo>
                    <a:pt x="466725" y="581597"/>
                    <a:pt x="604647" y="441388"/>
                    <a:pt x="604647" y="274415"/>
                  </a:cubicBezTo>
                  <a:cubicBezTo>
                    <a:pt x="560641" y="274415"/>
                    <a:pt x="560641" y="274415"/>
                    <a:pt x="560641" y="274415"/>
                  </a:cubicBezTo>
                  <a:cubicBezTo>
                    <a:pt x="528257" y="274415"/>
                    <a:pt x="504730" y="247555"/>
                    <a:pt x="504730" y="217742"/>
                  </a:cubicBezTo>
                </a:path>
              </a:pathLst>
            </a:custGeom>
            <a:solidFill>
              <a:srgbClr val="83513B"/>
            </a:solidFill>
            <a:ln w="9525"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B4C30392-F2D6-47A3-986F-DB9076D2023E}"/>
                </a:ext>
              </a:extLst>
            </p:cNvPr>
            <p:cNvSpPr/>
            <p:nvPr/>
          </p:nvSpPr>
          <p:spPr>
            <a:xfrm>
              <a:off x="2208934" y="3731268"/>
              <a:ext cx="400050" cy="238125"/>
            </a:xfrm>
            <a:custGeom>
              <a:avLst/>
              <a:gdLst>
                <a:gd name="connsiteX0" fmla="*/ 408146 w 400050"/>
                <a:gd name="connsiteY0" fmla="*/ 61246 h 238125"/>
                <a:gd name="connsiteX1" fmla="*/ 408146 w 400050"/>
                <a:gd name="connsiteY1" fmla="*/ 0 h 238125"/>
                <a:gd name="connsiteX2" fmla="*/ 0 w 400050"/>
                <a:gd name="connsiteY2" fmla="*/ 0 h 238125"/>
                <a:gd name="connsiteX3" fmla="*/ 0 w 400050"/>
                <a:gd name="connsiteY3" fmla="*/ 239077 h 238125"/>
                <a:gd name="connsiteX4" fmla="*/ 408146 w 400050"/>
                <a:gd name="connsiteY4" fmla="*/ 61246 h 238125"/>
                <a:gd name="connsiteX5" fmla="*/ 408146 w 400050"/>
                <a:gd name="connsiteY5" fmla="*/ 6124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050" h="238125">
                  <a:moveTo>
                    <a:pt x="408146" y="61246"/>
                  </a:moveTo>
                  <a:cubicBezTo>
                    <a:pt x="408146" y="0"/>
                    <a:pt x="408146" y="0"/>
                    <a:pt x="408146" y="0"/>
                  </a:cubicBezTo>
                  <a:cubicBezTo>
                    <a:pt x="0" y="0"/>
                    <a:pt x="0" y="0"/>
                    <a:pt x="0" y="0"/>
                  </a:cubicBezTo>
                  <a:cubicBezTo>
                    <a:pt x="0" y="239077"/>
                    <a:pt x="0" y="239077"/>
                    <a:pt x="0" y="239077"/>
                  </a:cubicBezTo>
                  <a:cubicBezTo>
                    <a:pt x="278987" y="244983"/>
                    <a:pt x="408146" y="61246"/>
                    <a:pt x="408146" y="61246"/>
                  </a:cubicBezTo>
                  <a:lnTo>
                    <a:pt x="408146" y="61246"/>
                  </a:lnTo>
                  <a:close/>
                </a:path>
              </a:pathLst>
            </a:custGeom>
            <a:solidFill>
              <a:srgbClr val="995D45"/>
            </a:solidFill>
            <a:ln w="9525" cap="flat">
              <a:noFill/>
              <a:prstDash val="solid"/>
              <a:miter/>
            </a:ln>
          </p:spPr>
          <p:txBody>
            <a:bodyPr rtlCol="0" anchor="ctr"/>
            <a:lstStyle/>
            <a:p>
              <a:endParaRPr lang="en-US" dirty="0"/>
            </a:p>
          </p:txBody>
        </p:sp>
        <p:grpSp>
          <p:nvGrpSpPr>
            <p:cNvPr id="24" name="Graphic 4">
              <a:extLst>
                <a:ext uri="{FF2B5EF4-FFF2-40B4-BE49-F238E27FC236}">
                  <a16:creationId xmlns:a16="http://schemas.microsoft.com/office/drawing/2014/main" id="{47984691-16AE-4A38-9B97-B290DC802B30}"/>
                </a:ext>
              </a:extLst>
            </p:cNvPr>
            <p:cNvGrpSpPr/>
            <p:nvPr/>
          </p:nvGrpSpPr>
          <p:grpSpPr>
            <a:xfrm>
              <a:off x="2032731" y="2847480"/>
              <a:ext cx="1095375" cy="1285875"/>
              <a:chOff x="2032731" y="2847480"/>
              <a:chExt cx="1095375" cy="1285875"/>
            </a:xfrm>
            <a:solidFill>
              <a:schemeClr val="accent1"/>
            </a:solidFill>
          </p:grpSpPr>
          <p:sp>
            <p:nvSpPr>
              <p:cNvPr id="25" name="Freeform: Shape 24">
                <a:extLst>
                  <a:ext uri="{FF2B5EF4-FFF2-40B4-BE49-F238E27FC236}">
                    <a16:creationId xmlns:a16="http://schemas.microsoft.com/office/drawing/2014/main" id="{0E9BC3C2-0791-46DB-AEFA-AAFCF0EAB672}"/>
                  </a:ext>
                </a:extLst>
              </p:cNvPr>
              <p:cNvSpPr/>
              <p:nvPr/>
            </p:nvSpPr>
            <p:spPr>
              <a:xfrm>
                <a:off x="2688262" y="2847480"/>
                <a:ext cx="438150" cy="1285875"/>
              </a:xfrm>
              <a:custGeom>
                <a:avLst/>
                <a:gdLst>
                  <a:gd name="connsiteX0" fmla="*/ 435929 w 438150"/>
                  <a:gd name="connsiteY0" fmla="*/ 275711 h 1285875"/>
                  <a:gd name="connsiteX1" fmla="*/ 247239 w 438150"/>
                  <a:gd name="connsiteY1" fmla="*/ 1222497 h 1285875"/>
                  <a:gd name="connsiteX2" fmla="*/ 47024 w 438150"/>
                  <a:gd name="connsiteY2" fmla="*/ 1006279 h 1285875"/>
                  <a:gd name="connsiteX3" fmla="*/ 11019 w 438150"/>
                  <a:gd name="connsiteY3" fmla="*/ 164745 h 1285875"/>
                  <a:gd name="connsiteX4" fmla="*/ 279053 w 438150"/>
                  <a:gd name="connsiteY4" fmla="*/ 7106 h 1285875"/>
                  <a:gd name="connsiteX5" fmla="*/ 435929 w 438150"/>
                  <a:gd name="connsiteY5" fmla="*/ 275711 h 1285875"/>
                  <a:gd name="connsiteX6" fmla="*/ 435929 w 438150"/>
                  <a:gd name="connsiteY6" fmla="*/ 275711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1285875">
                    <a:moveTo>
                      <a:pt x="435929" y="275711"/>
                    </a:moveTo>
                    <a:cubicBezTo>
                      <a:pt x="405735" y="391726"/>
                      <a:pt x="153037" y="1032663"/>
                      <a:pt x="247239" y="1222497"/>
                    </a:cubicBezTo>
                    <a:cubicBezTo>
                      <a:pt x="341441" y="1412330"/>
                      <a:pt x="86362" y="1182492"/>
                      <a:pt x="47024" y="1006279"/>
                    </a:cubicBezTo>
                    <a:cubicBezTo>
                      <a:pt x="7590" y="829971"/>
                      <a:pt x="-14698" y="316764"/>
                      <a:pt x="11019" y="164745"/>
                    </a:cubicBezTo>
                    <a:cubicBezTo>
                      <a:pt x="41785" y="45968"/>
                      <a:pt x="163419" y="-23183"/>
                      <a:pt x="279053" y="7106"/>
                    </a:cubicBezTo>
                    <a:cubicBezTo>
                      <a:pt x="397449" y="37682"/>
                      <a:pt x="466695" y="156554"/>
                      <a:pt x="435929" y="275711"/>
                    </a:cubicBezTo>
                    <a:lnTo>
                      <a:pt x="435929" y="275711"/>
                    </a:lnTo>
                    <a:close/>
                  </a:path>
                </a:pathLst>
              </a:custGeom>
              <a:solidFill>
                <a:srgbClr val="191919"/>
              </a:solid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3A93941-FB4E-4076-AE41-8A3EEB22D6F7}"/>
                  </a:ext>
                </a:extLst>
              </p:cNvPr>
              <p:cNvSpPr/>
              <p:nvPr/>
            </p:nvSpPr>
            <p:spPr>
              <a:xfrm>
                <a:off x="2032731" y="2874483"/>
                <a:ext cx="952500" cy="971550"/>
              </a:xfrm>
              <a:custGeom>
                <a:avLst/>
                <a:gdLst>
                  <a:gd name="connsiteX0" fmla="*/ 943917 w 952500"/>
                  <a:gd name="connsiteY0" fmla="*/ 607420 h 971550"/>
                  <a:gd name="connsiteX1" fmla="*/ 358035 w 952500"/>
                  <a:gd name="connsiteY1" fmla="*/ 957369 h 971550"/>
                  <a:gd name="connsiteX2" fmla="*/ 16278 w 952500"/>
                  <a:gd name="connsiteY2" fmla="*/ 364818 h 971550"/>
                  <a:gd name="connsiteX3" fmla="*/ 602160 w 952500"/>
                  <a:gd name="connsiteY3" fmla="*/ 14870 h 971550"/>
                  <a:gd name="connsiteX4" fmla="*/ 943917 w 952500"/>
                  <a:gd name="connsiteY4" fmla="*/ 607420 h 971550"/>
                  <a:gd name="connsiteX5" fmla="*/ 943917 w 952500"/>
                  <a:gd name="connsiteY5" fmla="*/ 607420 h 97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971550">
                    <a:moveTo>
                      <a:pt x="943917" y="607420"/>
                    </a:moveTo>
                    <a:cubicBezTo>
                      <a:pt x="875337" y="867738"/>
                      <a:pt x="614257" y="1025568"/>
                      <a:pt x="358035" y="957369"/>
                    </a:cubicBezTo>
                    <a:cubicBezTo>
                      <a:pt x="101812" y="889265"/>
                      <a:pt x="-52207" y="625137"/>
                      <a:pt x="16278" y="364818"/>
                    </a:cubicBezTo>
                    <a:cubicBezTo>
                      <a:pt x="84762" y="104500"/>
                      <a:pt x="345462" y="-50281"/>
                      <a:pt x="602160" y="14870"/>
                    </a:cubicBezTo>
                    <a:cubicBezTo>
                      <a:pt x="858288" y="83069"/>
                      <a:pt x="1011926" y="350150"/>
                      <a:pt x="943917" y="607420"/>
                    </a:cubicBezTo>
                    <a:lnTo>
                      <a:pt x="943917" y="607420"/>
                    </a:lnTo>
                    <a:close/>
                  </a:path>
                </a:pathLst>
              </a:custGeom>
              <a:solidFill>
                <a:srgbClr val="191919"/>
              </a:solid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431B565A-9A78-42F3-9703-85BB44731D1D}"/>
                  </a:ext>
                </a:extLst>
              </p:cNvPr>
              <p:cNvSpPr/>
              <p:nvPr/>
            </p:nvSpPr>
            <p:spPr>
              <a:xfrm>
                <a:off x="2035225" y="3062613"/>
                <a:ext cx="771525" cy="828675"/>
              </a:xfrm>
              <a:custGeom>
                <a:avLst/>
                <a:gdLst>
                  <a:gd name="connsiteX0" fmla="*/ 227525 w 771525"/>
                  <a:gd name="connsiteY0" fmla="*/ 817436 h 828675"/>
                  <a:gd name="connsiteX1" fmla="*/ 227525 w 771525"/>
                  <a:gd name="connsiteY1" fmla="*/ 817436 h 828675"/>
                  <a:gd name="connsiteX2" fmla="*/ 10546 w 771525"/>
                  <a:gd name="connsiteY2" fmla="*/ 399383 h 828675"/>
                  <a:gd name="connsiteX3" fmla="*/ 114178 w 771525"/>
                  <a:gd name="connsiteY3" fmla="*/ 0 h 828675"/>
                  <a:gd name="connsiteX4" fmla="*/ 777022 w 771525"/>
                  <a:gd name="connsiteY4" fmla="*/ 172688 h 828675"/>
                  <a:gd name="connsiteX5" fmla="*/ 673390 w 771525"/>
                  <a:gd name="connsiteY5" fmla="*/ 572072 h 828675"/>
                  <a:gd name="connsiteX6" fmla="*/ 227525 w 771525"/>
                  <a:gd name="connsiteY6" fmla="*/ 817436 h 828675"/>
                  <a:gd name="connsiteX7" fmla="*/ 227525 w 771525"/>
                  <a:gd name="connsiteY7" fmla="*/ 817436 h 82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525" h="828675">
                    <a:moveTo>
                      <a:pt x="227525" y="817436"/>
                    </a:moveTo>
                    <a:lnTo>
                      <a:pt x="227525" y="817436"/>
                    </a:lnTo>
                    <a:cubicBezTo>
                      <a:pt x="59980" y="771620"/>
                      <a:pt x="-32603" y="568547"/>
                      <a:pt x="10546" y="399383"/>
                    </a:cubicBezTo>
                    <a:cubicBezTo>
                      <a:pt x="114178" y="0"/>
                      <a:pt x="114178" y="0"/>
                      <a:pt x="114178" y="0"/>
                    </a:cubicBezTo>
                    <a:cubicBezTo>
                      <a:pt x="777022" y="172688"/>
                      <a:pt x="777022" y="172688"/>
                      <a:pt x="777022" y="172688"/>
                    </a:cubicBezTo>
                    <a:cubicBezTo>
                      <a:pt x="673390" y="572072"/>
                      <a:pt x="673390" y="572072"/>
                      <a:pt x="673390" y="572072"/>
                    </a:cubicBezTo>
                    <a:cubicBezTo>
                      <a:pt x="619098" y="785051"/>
                      <a:pt x="395641" y="860298"/>
                      <a:pt x="227525" y="817436"/>
                    </a:cubicBezTo>
                    <a:lnTo>
                      <a:pt x="227525" y="817436"/>
                    </a:lnTo>
                    <a:close/>
                  </a:path>
                </a:pathLst>
              </a:custGeom>
              <a:solidFill>
                <a:srgbClr val="83513B"/>
              </a:solid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66F7420B-87EE-49E1-B22C-510F3AEDB3DA}"/>
                  </a:ext>
                </a:extLst>
              </p:cNvPr>
              <p:cNvSpPr/>
              <p:nvPr/>
            </p:nvSpPr>
            <p:spPr>
              <a:xfrm>
                <a:off x="2040500" y="3286450"/>
                <a:ext cx="333375" cy="523875"/>
              </a:xfrm>
              <a:custGeom>
                <a:avLst/>
                <a:gdLst>
                  <a:gd name="connsiteX0" fmla="*/ 221964 w 333375"/>
                  <a:gd name="connsiteY0" fmla="*/ 285845 h 523875"/>
                  <a:gd name="connsiteX1" fmla="*/ 207295 w 333375"/>
                  <a:gd name="connsiteY1" fmla="*/ 259651 h 523875"/>
                  <a:gd name="connsiteX2" fmla="*/ 218154 w 333375"/>
                  <a:gd name="connsiteY2" fmla="*/ 245936 h 523875"/>
                  <a:gd name="connsiteX3" fmla="*/ 279590 w 333375"/>
                  <a:gd name="connsiteY3" fmla="*/ 152781 h 523875"/>
                  <a:gd name="connsiteX4" fmla="*/ 285496 w 333375"/>
                  <a:gd name="connsiteY4" fmla="*/ 135636 h 523875"/>
                  <a:gd name="connsiteX5" fmla="*/ 235108 w 333375"/>
                  <a:gd name="connsiteY5" fmla="*/ 45529 h 523875"/>
                  <a:gd name="connsiteX6" fmla="*/ 56991 w 333375"/>
                  <a:gd name="connsiteY6" fmla="*/ 0 h 523875"/>
                  <a:gd name="connsiteX7" fmla="*/ 45085 w 333375"/>
                  <a:gd name="connsiteY7" fmla="*/ 50006 h 523875"/>
                  <a:gd name="connsiteX8" fmla="*/ 18605 w 333375"/>
                  <a:gd name="connsiteY8" fmla="*/ 149543 h 523875"/>
                  <a:gd name="connsiteX9" fmla="*/ 3556 w 333375"/>
                  <a:gd name="connsiteY9" fmla="*/ 201644 h 523875"/>
                  <a:gd name="connsiteX10" fmla="*/ 120713 w 333375"/>
                  <a:gd name="connsiteY10" fmla="*/ 525018 h 523875"/>
                  <a:gd name="connsiteX11" fmla="*/ 220726 w 333375"/>
                  <a:gd name="connsiteY11" fmla="*/ 368999 h 523875"/>
                  <a:gd name="connsiteX12" fmla="*/ 271684 w 333375"/>
                  <a:gd name="connsiteY12" fmla="*/ 333851 h 523875"/>
                  <a:gd name="connsiteX13" fmla="*/ 336454 w 333375"/>
                  <a:gd name="connsiteY13" fmla="*/ 314325 h 523875"/>
                  <a:gd name="connsiteX14" fmla="*/ 221964 w 333375"/>
                  <a:gd name="connsiteY14" fmla="*/ 285845 h 523875"/>
                  <a:gd name="connsiteX15" fmla="*/ 221964 w 333375"/>
                  <a:gd name="connsiteY15" fmla="*/ 285845 h 523875"/>
                  <a:gd name="connsiteX16" fmla="*/ 221964 w 333375"/>
                  <a:gd name="connsiteY16" fmla="*/ 28584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3375" h="523875">
                    <a:moveTo>
                      <a:pt x="221964" y="285845"/>
                    </a:moveTo>
                    <a:cubicBezTo>
                      <a:pt x="208534" y="283369"/>
                      <a:pt x="202247" y="271843"/>
                      <a:pt x="207295" y="259651"/>
                    </a:cubicBezTo>
                    <a:cubicBezTo>
                      <a:pt x="208248" y="254603"/>
                      <a:pt x="211867" y="250031"/>
                      <a:pt x="218154" y="245936"/>
                    </a:cubicBezTo>
                    <a:cubicBezTo>
                      <a:pt x="242538" y="218980"/>
                      <a:pt x="265112" y="186595"/>
                      <a:pt x="279590" y="152781"/>
                    </a:cubicBezTo>
                    <a:cubicBezTo>
                      <a:pt x="281590" y="147066"/>
                      <a:pt x="283495" y="141351"/>
                      <a:pt x="285496" y="135636"/>
                    </a:cubicBezTo>
                    <a:cubicBezTo>
                      <a:pt x="300450" y="99155"/>
                      <a:pt x="277304" y="58483"/>
                      <a:pt x="235108" y="45529"/>
                    </a:cubicBezTo>
                    <a:lnTo>
                      <a:pt x="56991" y="0"/>
                    </a:lnTo>
                    <a:lnTo>
                      <a:pt x="45085" y="50006"/>
                    </a:lnTo>
                    <a:cubicBezTo>
                      <a:pt x="36226" y="83153"/>
                      <a:pt x="27463" y="116396"/>
                      <a:pt x="18605" y="149543"/>
                    </a:cubicBezTo>
                    <a:cubicBezTo>
                      <a:pt x="3556" y="201644"/>
                      <a:pt x="16224" y="131636"/>
                      <a:pt x="3556" y="201644"/>
                    </a:cubicBezTo>
                    <a:cubicBezTo>
                      <a:pt x="-9684" y="274511"/>
                      <a:pt x="10795" y="489585"/>
                      <a:pt x="120713" y="525018"/>
                    </a:cubicBezTo>
                    <a:cubicBezTo>
                      <a:pt x="154051" y="473012"/>
                      <a:pt x="195580" y="400907"/>
                      <a:pt x="220726" y="368999"/>
                    </a:cubicBezTo>
                    <a:cubicBezTo>
                      <a:pt x="245872" y="337185"/>
                      <a:pt x="250920" y="340519"/>
                      <a:pt x="271684" y="333851"/>
                    </a:cubicBezTo>
                    <a:lnTo>
                      <a:pt x="336454" y="314325"/>
                    </a:lnTo>
                    <a:lnTo>
                      <a:pt x="221964" y="285845"/>
                    </a:lnTo>
                    <a:lnTo>
                      <a:pt x="221964" y="285845"/>
                    </a:lnTo>
                    <a:lnTo>
                      <a:pt x="221964" y="285845"/>
                    </a:lnTo>
                    <a:close/>
                  </a:path>
                </a:pathLst>
              </a:custGeom>
              <a:solidFill>
                <a:srgbClr val="995D45"/>
              </a:solid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8507F77F-CCD3-47B0-84CF-FDBF8AEB257F}"/>
                  </a:ext>
                </a:extLst>
              </p:cNvPr>
              <p:cNvSpPr/>
              <p:nvPr/>
            </p:nvSpPr>
            <p:spPr>
              <a:xfrm>
                <a:off x="2194456" y="3701292"/>
                <a:ext cx="200025" cy="47625"/>
              </a:xfrm>
              <a:custGeom>
                <a:avLst/>
                <a:gdLst>
                  <a:gd name="connsiteX0" fmla="*/ 0 w 200025"/>
                  <a:gd name="connsiteY0" fmla="*/ 15212 h 47625"/>
                  <a:gd name="connsiteX1" fmla="*/ 5144 w 200025"/>
                  <a:gd name="connsiteY1" fmla="*/ 15974 h 47625"/>
                  <a:gd name="connsiteX2" fmla="*/ 17431 w 200025"/>
                  <a:gd name="connsiteY2" fmla="*/ 9497 h 47625"/>
                  <a:gd name="connsiteX3" fmla="*/ 103727 w 200025"/>
                  <a:gd name="connsiteY3" fmla="*/ 10068 h 47625"/>
                  <a:gd name="connsiteX4" fmla="*/ 189167 w 200025"/>
                  <a:gd name="connsiteY4" fmla="*/ 35595 h 47625"/>
                  <a:gd name="connsiteX5" fmla="*/ 203740 w 200025"/>
                  <a:gd name="connsiteY5" fmla="*/ 46835 h 47625"/>
                  <a:gd name="connsiteX6" fmla="*/ 209264 w 200025"/>
                  <a:gd name="connsiteY6" fmla="*/ 47692 h 47625"/>
                  <a:gd name="connsiteX7" fmla="*/ 102679 w 200025"/>
                  <a:gd name="connsiteY7" fmla="*/ 2829 h 47625"/>
                  <a:gd name="connsiteX8" fmla="*/ 0 w 200025"/>
                  <a:gd name="connsiteY8" fmla="*/ 15212 h 47625"/>
                  <a:gd name="connsiteX9" fmla="*/ 0 w 200025"/>
                  <a:gd name="connsiteY9" fmla="*/ 1521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025" h="47625">
                    <a:moveTo>
                      <a:pt x="0" y="15212"/>
                    </a:moveTo>
                    <a:lnTo>
                      <a:pt x="5144" y="15974"/>
                    </a:lnTo>
                    <a:lnTo>
                      <a:pt x="17431" y="9497"/>
                    </a:lnTo>
                    <a:cubicBezTo>
                      <a:pt x="38671" y="2829"/>
                      <a:pt x="68866" y="4448"/>
                      <a:pt x="103727" y="10068"/>
                    </a:cubicBezTo>
                    <a:cubicBezTo>
                      <a:pt x="136970" y="14735"/>
                      <a:pt x="166878" y="22451"/>
                      <a:pt x="189167" y="35595"/>
                    </a:cubicBezTo>
                    <a:lnTo>
                      <a:pt x="203740" y="46835"/>
                    </a:lnTo>
                    <a:lnTo>
                      <a:pt x="209264" y="47692"/>
                    </a:lnTo>
                    <a:cubicBezTo>
                      <a:pt x="186595" y="27594"/>
                      <a:pt x="146780" y="10068"/>
                      <a:pt x="102679" y="2829"/>
                    </a:cubicBezTo>
                    <a:cubicBezTo>
                      <a:pt x="58388" y="-3648"/>
                      <a:pt x="19336" y="1210"/>
                      <a:pt x="0" y="15212"/>
                    </a:cubicBezTo>
                    <a:lnTo>
                      <a:pt x="0" y="15212"/>
                    </a:lnTo>
                    <a:close/>
                  </a:path>
                </a:pathLst>
              </a:custGeom>
              <a:solidFill>
                <a:srgbClr val="FFFFFF"/>
              </a:solid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6DACCA33-17BC-43C3-A42E-ACF1D2C2D81D}"/>
                  </a:ext>
                </a:extLst>
              </p:cNvPr>
              <p:cNvSpPr/>
              <p:nvPr/>
            </p:nvSpPr>
            <p:spPr>
              <a:xfrm>
                <a:off x="2194456" y="3701292"/>
                <a:ext cx="200025" cy="47625"/>
              </a:xfrm>
              <a:custGeom>
                <a:avLst/>
                <a:gdLst>
                  <a:gd name="connsiteX0" fmla="*/ 0 w 200025"/>
                  <a:gd name="connsiteY0" fmla="*/ 15212 h 47625"/>
                  <a:gd name="connsiteX1" fmla="*/ 5144 w 200025"/>
                  <a:gd name="connsiteY1" fmla="*/ 15974 h 47625"/>
                  <a:gd name="connsiteX2" fmla="*/ 17431 w 200025"/>
                  <a:gd name="connsiteY2" fmla="*/ 9497 h 47625"/>
                  <a:gd name="connsiteX3" fmla="*/ 103727 w 200025"/>
                  <a:gd name="connsiteY3" fmla="*/ 10068 h 47625"/>
                  <a:gd name="connsiteX4" fmla="*/ 189167 w 200025"/>
                  <a:gd name="connsiteY4" fmla="*/ 35595 h 47625"/>
                  <a:gd name="connsiteX5" fmla="*/ 203740 w 200025"/>
                  <a:gd name="connsiteY5" fmla="*/ 46835 h 47625"/>
                  <a:gd name="connsiteX6" fmla="*/ 209264 w 200025"/>
                  <a:gd name="connsiteY6" fmla="*/ 47692 h 47625"/>
                  <a:gd name="connsiteX7" fmla="*/ 102679 w 200025"/>
                  <a:gd name="connsiteY7" fmla="*/ 2829 h 47625"/>
                  <a:gd name="connsiteX8" fmla="*/ 0 w 200025"/>
                  <a:gd name="connsiteY8" fmla="*/ 15212 h 47625"/>
                  <a:gd name="connsiteX9" fmla="*/ 0 w 200025"/>
                  <a:gd name="connsiteY9" fmla="*/ 1521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025" h="47625">
                    <a:moveTo>
                      <a:pt x="0" y="15212"/>
                    </a:moveTo>
                    <a:lnTo>
                      <a:pt x="5144" y="15974"/>
                    </a:lnTo>
                    <a:lnTo>
                      <a:pt x="17431" y="9497"/>
                    </a:lnTo>
                    <a:cubicBezTo>
                      <a:pt x="38671" y="2829"/>
                      <a:pt x="68866" y="4448"/>
                      <a:pt x="103727" y="10068"/>
                    </a:cubicBezTo>
                    <a:cubicBezTo>
                      <a:pt x="136970" y="14735"/>
                      <a:pt x="166878" y="22451"/>
                      <a:pt x="189167" y="35595"/>
                    </a:cubicBezTo>
                    <a:lnTo>
                      <a:pt x="203740" y="46835"/>
                    </a:lnTo>
                    <a:lnTo>
                      <a:pt x="209264" y="47692"/>
                    </a:lnTo>
                    <a:cubicBezTo>
                      <a:pt x="186595" y="27594"/>
                      <a:pt x="146780" y="10068"/>
                      <a:pt x="102679" y="2829"/>
                    </a:cubicBezTo>
                    <a:cubicBezTo>
                      <a:pt x="58388" y="-3648"/>
                      <a:pt x="19336" y="1210"/>
                      <a:pt x="0" y="15212"/>
                    </a:cubicBezTo>
                    <a:lnTo>
                      <a:pt x="0" y="15212"/>
                    </a:lnTo>
                    <a:close/>
                  </a:path>
                </a:pathLst>
              </a:custGeom>
              <a:noFill/>
              <a:ln w="4903" cap="flat">
                <a:solidFill>
                  <a:srgbClr val="FFFFFF"/>
                </a:solidFill>
                <a:prstDash val="solid"/>
                <a:round/>
              </a:ln>
            </p:spPr>
            <p:txBody>
              <a:bodyPr rtlCol="0" anchor="ctr"/>
              <a:lstStyle/>
              <a:p>
                <a:endParaRPr lang="en-US" dirty="0"/>
              </a:p>
            </p:txBody>
          </p:sp>
          <p:sp>
            <p:nvSpPr>
              <p:cNvPr id="31" name="Freeform: Shape 30">
                <a:extLst>
                  <a:ext uri="{FF2B5EF4-FFF2-40B4-BE49-F238E27FC236}">
                    <a16:creationId xmlns:a16="http://schemas.microsoft.com/office/drawing/2014/main" id="{B1577F98-8923-44BF-976E-2DDEE0569223}"/>
                  </a:ext>
                </a:extLst>
              </p:cNvPr>
              <p:cNvSpPr/>
              <p:nvPr/>
            </p:nvSpPr>
            <p:spPr>
              <a:xfrm>
                <a:off x="2509586" y="3433759"/>
                <a:ext cx="66675" cy="76200"/>
              </a:xfrm>
              <a:custGeom>
                <a:avLst/>
                <a:gdLst>
                  <a:gd name="connsiteX0" fmla="*/ 2529 w 66675"/>
                  <a:gd name="connsiteY0" fmla="*/ 31095 h 76200"/>
                  <a:gd name="connsiteX1" fmla="*/ 46248 w 66675"/>
                  <a:gd name="connsiteY1" fmla="*/ 1853 h 76200"/>
                  <a:gd name="connsiteX2" fmla="*/ 69966 w 66675"/>
                  <a:gd name="connsiteY2" fmla="*/ 50145 h 76200"/>
                  <a:gd name="connsiteX3" fmla="*/ 50344 w 66675"/>
                  <a:gd name="connsiteY3" fmla="*/ 77005 h 76200"/>
                  <a:gd name="connsiteX4" fmla="*/ 5196 w 66675"/>
                  <a:gd name="connsiteY4" fmla="*/ 65385 h 76200"/>
                  <a:gd name="connsiteX5" fmla="*/ 2529 w 66675"/>
                  <a:gd name="connsiteY5" fmla="*/ 31095 h 76200"/>
                  <a:gd name="connsiteX6" fmla="*/ 2529 w 66675"/>
                  <a:gd name="connsiteY6" fmla="*/ 31095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76200">
                    <a:moveTo>
                      <a:pt x="2529" y="31095"/>
                    </a:moveTo>
                    <a:cubicBezTo>
                      <a:pt x="6720" y="8140"/>
                      <a:pt x="26817" y="-5100"/>
                      <a:pt x="46248" y="1853"/>
                    </a:cubicBezTo>
                    <a:cubicBezTo>
                      <a:pt x="66251" y="5473"/>
                      <a:pt x="77014" y="27761"/>
                      <a:pt x="69966" y="50145"/>
                    </a:cubicBezTo>
                    <a:cubicBezTo>
                      <a:pt x="67584" y="63194"/>
                      <a:pt x="60060" y="72052"/>
                      <a:pt x="50344" y="77005"/>
                    </a:cubicBezTo>
                    <a:cubicBezTo>
                      <a:pt x="5196" y="65385"/>
                      <a:pt x="5196" y="65385"/>
                      <a:pt x="5196" y="65385"/>
                    </a:cubicBezTo>
                    <a:cubicBezTo>
                      <a:pt x="1195" y="54622"/>
                      <a:pt x="-2710" y="43668"/>
                      <a:pt x="2529" y="31095"/>
                    </a:cubicBezTo>
                    <a:lnTo>
                      <a:pt x="2529" y="31095"/>
                    </a:lnTo>
                    <a:close/>
                  </a:path>
                </a:pathLst>
              </a:custGeom>
              <a:solidFill>
                <a:srgbClr val="000000"/>
              </a:solidFill>
              <a:ln w="9525" cap="flat">
                <a:noFill/>
                <a:prstDash val="solid"/>
                <a:miter/>
              </a:ln>
            </p:spPr>
            <p:txBody>
              <a:bodyPr rtlCol="0" anchor="ctr"/>
              <a:lstStyle/>
              <a:p>
                <a:endParaRPr lang="en-US" dirty="0"/>
              </a:p>
            </p:txBody>
          </p:sp>
          <p:sp>
            <p:nvSpPr>
              <p:cNvPr id="1403" name="Freeform: Shape 1402">
                <a:extLst>
                  <a:ext uri="{FF2B5EF4-FFF2-40B4-BE49-F238E27FC236}">
                    <a16:creationId xmlns:a16="http://schemas.microsoft.com/office/drawing/2014/main" id="{9A6B3833-D4E4-43FC-BE28-17AF5DE2F86A}"/>
                  </a:ext>
                </a:extLst>
              </p:cNvPr>
              <p:cNvSpPr/>
              <p:nvPr/>
            </p:nvSpPr>
            <p:spPr>
              <a:xfrm>
                <a:off x="2142059" y="3337312"/>
                <a:ext cx="85725" cy="76200"/>
              </a:xfrm>
              <a:custGeom>
                <a:avLst/>
                <a:gdLst>
                  <a:gd name="connsiteX0" fmla="*/ 961 w 85725"/>
                  <a:gd name="connsiteY0" fmla="*/ 29244 h 76200"/>
                  <a:gd name="connsiteX1" fmla="*/ 57445 w 85725"/>
                  <a:gd name="connsiteY1" fmla="*/ 2383 h 76200"/>
                  <a:gd name="connsiteX2" fmla="*/ 88973 w 85725"/>
                  <a:gd name="connsiteY2" fmla="*/ 52104 h 76200"/>
                  <a:gd name="connsiteX3" fmla="*/ 65731 w 85725"/>
                  <a:gd name="connsiteY3" fmla="*/ 78298 h 76200"/>
                  <a:gd name="connsiteX4" fmla="*/ 9820 w 85725"/>
                  <a:gd name="connsiteY4" fmla="*/ 61343 h 76200"/>
                  <a:gd name="connsiteX5" fmla="*/ 961 w 85725"/>
                  <a:gd name="connsiteY5" fmla="*/ 29244 h 76200"/>
                  <a:gd name="connsiteX6" fmla="*/ 961 w 85725"/>
                  <a:gd name="connsiteY6" fmla="*/ 2924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25" h="76200">
                    <a:moveTo>
                      <a:pt x="961" y="29244"/>
                    </a:moveTo>
                    <a:cubicBezTo>
                      <a:pt x="8677" y="6955"/>
                      <a:pt x="33061" y="-5522"/>
                      <a:pt x="57445" y="2383"/>
                    </a:cubicBezTo>
                    <a:cubicBezTo>
                      <a:pt x="78876" y="6289"/>
                      <a:pt x="93163" y="29149"/>
                      <a:pt x="88973" y="52104"/>
                    </a:cubicBezTo>
                    <a:cubicBezTo>
                      <a:pt x="87163" y="61915"/>
                      <a:pt x="77638" y="73726"/>
                      <a:pt x="65731" y="78298"/>
                    </a:cubicBezTo>
                    <a:cubicBezTo>
                      <a:pt x="9820" y="61343"/>
                      <a:pt x="9820" y="61343"/>
                      <a:pt x="9820" y="61343"/>
                    </a:cubicBezTo>
                    <a:cubicBezTo>
                      <a:pt x="295" y="52771"/>
                      <a:pt x="-1420" y="42293"/>
                      <a:pt x="961" y="29244"/>
                    </a:cubicBezTo>
                    <a:lnTo>
                      <a:pt x="961" y="29244"/>
                    </a:lnTo>
                    <a:close/>
                  </a:path>
                </a:pathLst>
              </a:custGeom>
              <a:solidFill>
                <a:srgbClr val="000000"/>
              </a:solidFill>
              <a:ln w="9525" cap="flat">
                <a:noFill/>
                <a:prstDash val="solid"/>
                <a:miter/>
              </a:ln>
            </p:spPr>
            <p:txBody>
              <a:bodyPr rtlCol="0" anchor="ctr"/>
              <a:lstStyle/>
              <a:p>
                <a:endParaRPr lang="en-US" dirty="0"/>
              </a:p>
            </p:txBody>
          </p:sp>
          <p:sp>
            <p:nvSpPr>
              <p:cNvPr id="1406" name="Freeform: Shape 1405">
                <a:extLst>
                  <a:ext uri="{FF2B5EF4-FFF2-40B4-BE49-F238E27FC236}">
                    <a16:creationId xmlns:a16="http://schemas.microsoft.com/office/drawing/2014/main" id="{403E689A-F7C2-4064-940D-256C48F3C994}"/>
                  </a:ext>
                </a:extLst>
              </p:cNvPr>
              <p:cNvSpPr/>
              <p:nvPr/>
            </p:nvSpPr>
            <p:spPr>
              <a:xfrm>
                <a:off x="2821677" y="3412657"/>
                <a:ext cx="85725" cy="190500"/>
              </a:xfrm>
              <a:custGeom>
                <a:avLst/>
                <a:gdLst>
                  <a:gd name="connsiteX0" fmla="*/ 53435 w 85725"/>
                  <a:gd name="connsiteY0" fmla="*/ 0 h 190500"/>
                  <a:gd name="connsiteX1" fmla="*/ 88392 w 85725"/>
                  <a:gd name="connsiteY1" fmla="*/ 111919 h 190500"/>
                  <a:gd name="connsiteX2" fmla="*/ 0 w 85725"/>
                  <a:gd name="connsiteY2" fmla="*/ 192500 h 190500"/>
                  <a:gd name="connsiteX3" fmla="*/ 53435 w 85725"/>
                  <a:gd name="connsiteY3" fmla="*/ 0 h 190500"/>
                  <a:gd name="connsiteX4" fmla="*/ 53435 w 85725"/>
                  <a:gd name="connsiteY4" fmla="*/ 0 h 190500"/>
                  <a:gd name="connsiteX5" fmla="*/ 53435 w 85725"/>
                  <a:gd name="connsiteY5"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90500">
                    <a:moveTo>
                      <a:pt x="53435" y="0"/>
                    </a:moveTo>
                    <a:cubicBezTo>
                      <a:pt x="85534" y="26384"/>
                      <a:pt x="99060" y="69914"/>
                      <a:pt x="88392" y="111919"/>
                    </a:cubicBezTo>
                    <a:cubicBezTo>
                      <a:pt x="77629" y="153924"/>
                      <a:pt x="41243" y="185357"/>
                      <a:pt x="0" y="192500"/>
                    </a:cubicBezTo>
                    <a:lnTo>
                      <a:pt x="53435" y="0"/>
                    </a:lnTo>
                    <a:lnTo>
                      <a:pt x="53435" y="0"/>
                    </a:lnTo>
                    <a:lnTo>
                      <a:pt x="53435" y="0"/>
                    </a:lnTo>
                    <a:close/>
                  </a:path>
                </a:pathLst>
              </a:custGeom>
              <a:solidFill>
                <a:srgbClr val="83513B"/>
              </a:solidFill>
              <a:ln w="9525" cap="flat">
                <a:noFill/>
                <a:prstDash val="solid"/>
                <a:miter/>
              </a:ln>
            </p:spPr>
            <p:txBody>
              <a:bodyPr rtlCol="0" anchor="ctr"/>
              <a:lstStyle/>
              <a:p>
                <a:endParaRPr lang="en-US" dirty="0"/>
              </a:p>
            </p:txBody>
          </p:sp>
          <p:sp>
            <p:nvSpPr>
              <p:cNvPr id="1407" name="Freeform: Shape 1406">
                <a:extLst>
                  <a:ext uri="{FF2B5EF4-FFF2-40B4-BE49-F238E27FC236}">
                    <a16:creationId xmlns:a16="http://schemas.microsoft.com/office/drawing/2014/main" id="{A86A3D82-410B-46BD-8099-24B467724138}"/>
                  </a:ext>
                </a:extLst>
              </p:cNvPr>
              <p:cNvSpPr/>
              <p:nvPr/>
            </p:nvSpPr>
            <p:spPr>
              <a:xfrm>
                <a:off x="2818820" y="3564330"/>
                <a:ext cx="57150" cy="66675"/>
              </a:xfrm>
              <a:custGeom>
                <a:avLst/>
                <a:gdLst>
                  <a:gd name="connsiteX0" fmla="*/ 60484 w 57150"/>
                  <a:gd name="connsiteY0" fmla="*/ 46542 h 66675"/>
                  <a:gd name="connsiteX1" fmla="*/ 19526 w 57150"/>
                  <a:gd name="connsiteY1" fmla="*/ 71973 h 66675"/>
                  <a:gd name="connsiteX2" fmla="*/ 0 w 57150"/>
                  <a:gd name="connsiteY2" fmla="*/ 56448 h 66675"/>
                  <a:gd name="connsiteX3" fmla="*/ 12192 w 57150"/>
                  <a:gd name="connsiteY3" fmla="*/ 4822 h 66675"/>
                  <a:gd name="connsiteX4" fmla="*/ 38100 w 57150"/>
                  <a:gd name="connsiteY4" fmla="*/ 536 h 66675"/>
                  <a:gd name="connsiteX5" fmla="*/ 57626 w 57150"/>
                  <a:gd name="connsiteY5" fmla="*/ 16062 h 66675"/>
                  <a:gd name="connsiteX6" fmla="*/ 60484 w 57150"/>
                  <a:gd name="connsiteY6" fmla="*/ 46542 h 66675"/>
                  <a:gd name="connsiteX7" fmla="*/ 60484 w 57150"/>
                  <a:gd name="connsiteY7" fmla="*/ 4654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66675">
                    <a:moveTo>
                      <a:pt x="60484" y="46542"/>
                    </a:moveTo>
                    <a:cubicBezTo>
                      <a:pt x="57341" y="63877"/>
                      <a:pt x="37909" y="78355"/>
                      <a:pt x="19526" y="71973"/>
                    </a:cubicBezTo>
                    <a:cubicBezTo>
                      <a:pt x="11430" y="70449"/>
                      <a:pt x="4381" y="63210"/>
                      <a:pt x="0" y="56448"/>
                    </a:cubicBezTo>
                    <a:cubicBezTo>
                      <a:pt x="12192" y="4822"/>
                      <a:pt x="12192" y="4822"/>
                      <a:pt x="12192" y="4822"/>
                    </a:cubicBezTo>
                    <a:cubicBezTo>
                      <a:pt x="21336" y="536"/>
                      <a:pt x="30004" y="-893"/>
                      <a:pt x="38100" y="536"/>
                    </a:cubicBezTo>
                    <a:cubicBezTo>
                      <a:pt x="46196" y="2060"/>
                      <a:pt x="53245" y="9299"/>
                      <a:pt x="57626" y="16062"/>
                    </a:cubicBezTo>
                    <a:cubicBezTo>
                      <a:pt x="62008" y="22920"/>
                      <a:pt x="65246" y="35493"/>
                      <a:pt x="60484" y="46542"/>
                    </a:cubicBezTo>
                    <a:lnTo>
                      <a:pt x="60484" y="46542"/>
                    </a:lnTo>
                    <a:close/>
                  </a:path>
                </a:pathLst>
              </a:custGeom>
              <a:solidFill>
                <a:srgbClr val="FCEE1D"/>
              </a:solidFill>
              <a:ln w="9525" cap="flat">
                <a:noFill/>
                <a:prstDash val="solid"/>
                <a:miter/>
              </a:ln>
            </p:spPr>
            <p:txBody>
              <a:bodyPr rtlCol="0" anchor="ctr"/>
              <a:lstStyle/>
              <a:p>
                <a:endParaRPr lang="en-US" dirty="0"/>
              </a:p>
            </p:txBody>
          </p:sp>
          <p:sp>
            <p:nvSpPr>
              <p:cNvPr id="320" name="Freeform: Shape 319">
                <a:extLst>
                  <a:ext uri="{FF2B5EF4-FFF2-40B4-BE49-F238E27FC236}">
                    <a16:creationId xmlns:a16="http://schemas.microsoft.com/office/drawing/2014/main" id="{71164BBD-328B-4699-8E16-3EEC8A42940F}"/>
                  </a:ext>
                </a:extLst>
              </p:cNvPr>
              <p:cNvSpPr/>
              <p:nvPr/>
            </p:nvSpPr>
            <p:spPr>
              <a:xfrm>
                <a:off x="2309137" y="3045087"/>
                <a:ext cx="523875" cy="400050"/>
              </a:xfrm>
              <a:custGeom>
                <a:avLst/>
                <a:gdLst>
                  <a:gd name="connsiteX0" fmla="*/ 0 w 523875"/>
                  <a:gd name="connsiteY0" fmla="*/ 0 h 400050"/>
                  <a:gd name="connsiteX1" fmla="*/ 436816 w 523875"/>
                  <a:gd name="connsiteY1" fmla="*/ 406337 h 400050"/>
                  <a:gd name="connsiteX2" fmla="*/ 527590 w 523875"/>
                  <a:gd name="connsiteY2" fmla="*/ 140589 h 400050"/>
                  <a:gd name="connsiteX3" fmla="*/ 0 w 523875"/>
                  <a:gd name="connsiteY3" fmla="*/ 0 h 400050"/>
                  <a:gd name="connsiteX4" fmla="*/ 0 w 523875"/>
                  <a:gd name="connsiteY4" fmla="*/ 0 h 400050"/>
                  <a:gd name="connsiteX5" fmla="*/ 0 w 523875"/>
                  <a:gd name="connsiteY5" fmla="*/ 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875" h="400050">
                    <a:moveTo>
                      <a:pt x="0" y="0"/>
                    </a:moveTo>
                    <a:cubicBezTo>
                      <a:pt x="0" y="0"/>
                      <a:pt x="63913" y="312992"/>
                      <a:pt x="436816" y="406337"/>
                    </a:cubicBezTo>
                    <a:cubicBezTo>
                      <a:pt x="527590" y="140589"/>
                      <a:pt x="527590" y="140589"/>
                      <a:pt x="527590" y="140589"/>
                    </a:cubicBezTo>
                    <a:lnTo>
                      <a:pt x="0" y="0"/>
                    </a:lnTo>
                    <a:lnTo>
                      <a:pt x="0" y="0"/>
                    </a:lnTo>
                    <a:lnTo>
                      <a:pt x="0" y="0"/>
                    </a:lnTo>
                    <a:close/>
                  </a:path>
                </a:pathLst>
              </a:custGeom>
              <a:solidFill>
                <a:srgbClr val="191919"/>
              </a:solidFill>
              <a:ln w="9525" cap="flat">
                <a:noFill/>
                <a:prstDash val="solid"/>
                <a:miter/>
              </a:ln>
            </p:spPr>
            <p:txBody>
              <a:bodyPr rtlCol="0" anchor="ctr"/>
              <a:lstStyle/>
              <a:p>
                <a:endParaRPr lang="en-US" dirty="0"/>
              </a:p>
            </p:txBody>
          </p:sp>
          <p:sp>
            <p:nvSpPr>
              <p:cNvPr id="321" name="Freeform: Shape 320">
                <a:extLst>
                  <a:ext uri="{FF2B5EF4-FFF2-40B4-BE49-F238E27FC236}">
                    <a16:creationId xmlns:a16="http://schemas.microsoft.com/office/drawing/2014/main" id="{1F77BE7E-183B-436B-9B8E-0E1D72F878C8}"/>
                  </a:ext>
                </a:extLst>
              </p:cNvPr>
              <p:cNvSpPr/>
              <p:nvPr/>
            </p:nvSpPr>
            <p:spPr>
              <a:xfrm>
                <a:off x="2083966" y="3024417"/>
                <a:ext cx="276225" cy="238125"/>
              </a:xfrm>
              <a:custGeom>
                <a:avLst/>
                <a:gdLst>
                  <a:gd name="connsiteX0" fmla="*/ 282035 w 276225"/>
                  <a:gd name="connsiteY0" fmla="*/ 45815 h 238125"/>
                  <a:gd name="connsiteX1" fmla="*/ 112109 w 276225"/>
                  <a:gd name="connsiteY1" fmla="*/ 0 h 238125"/>
                  <a:gd name="connsiteX2" fmla="*/ 62579 w 276225"/>
                  <a:gd name="connsiteY2" fmla="*/ 35528 h 238125"/>
                  <a:gd name="connsiteX3" fmla="*/ 46863 w 276225"/>
                  <a:gd name="connsiteY3" fmla="*/ 71342 h 238125"/>
                  <a:gd name="connsiteX4" fmla="*/ 0 w 276225"/>
                  <a:gd name="connsiteY4" fmla="*/ 244126 h 238125"/>
                  <a:gd name="connsiteX5" fmla="*/ 282035 w 276225"/>
                  <a:gd name="connsiteY5" fmla="*/ 45815 h 238125"/>
                  <a:gd name="connsiteX6" fmla="*/ 282035 w 276225"/>
                  <a:gd name="connsiteY6" fmla="*/ 4581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225" h="238125">
                    <a:moveTo>
                      <a:pt x="282035" y="45815"/>
                    </a:moveTo>
                    <a:cubicBezTo>
                      <a:pt x="112109" y="0"/>
                      <a:pt x="112109" y="0"/>
                      <a:pt x="112109" y="0"/>
                    </a:cubicBezTo>
                    <a:cubicBezTo>
                      <a:pt x="62579" y="35528"/>
                      <a:pt x="62579" y="35528"/>
                      <a:pt x="62579" y="35528"/>
                    </a:cubicBezTo>
                    <a:cubicBezTo>
                      <a:pt x="46863" y="71342"/>
                      <a:pt x="46863" y="71342"/>
                      <a:pt x="46863" y="71342"/>
                    </a:cubicBezTo>
                    <a:cubicBezTo>
                      <a:pt x="0" y="244126"/>
                      <a:pt x="0" y="244126"/>
                      <a:pt x="0" y="244126"/>
                    </a:cubicBezTo>
                    <a:cubicBezTo>
                      <a:pt x="264890" y="224028"/>
                      <a:pt x="282035" y="45815"/>
                      <a:pt x="282035" y="45815"/>
                    </a:cubicBezTo>
                    <a:lnTo>
                      <a:pt x="282035" y="45815"/>
                    </a:lnTo>
                    <a:close/>
                  </a:path>
                </a:pathLst>
              </a:custGeom>
              <a:solidFill>
                <a:srgbClr val="191919"/>
              </a:solidFill>
              <a:ln w="9525" cap="flat">
                <a:noFill/>
                <a:prstDash val="solid"/>
                <a:miter/>
              </a:ln>
            </p:spPr>
            <p:txBody>
              <a:bodyPr rtlCol="0" anchor="ctr"/>
              <a:lstStyle/>
              <a:p>
                <a:endParaRPr lang="en-US" dirty="0"/>
              </a:p>
            </p:txBody>
          </p:sp>
        </p:grpSp>
        <p:sp>
          <p:nvSpPr>
            <p:cNvPr id="322" name="Freeform: Shape 321">
              <a:extLst>
                <a:ext uri="{FF2B5EF4-FFF2-40B4-BE49-F238E27FC236}">
                  <a16:creationId xmlns:a16="http://schemas.microsoft.com/office/drawing/2014/main" id="{E2CE3539-8FE4-4B20-99B1-275550323CE1}"/>
                </a:ext>
              </a:extLst>
            </p:cNvPr>
            <p:cNvSpPr/>
            <p:nvPr/>
          </p:nvSpPr>
          <p:spPr>
            <a:xfrm>
              <a:off x="2541452" y="4006826"/>
              <a:ext cx="581025" cy="685800"/>
            </a:xfrm>
            <a:custGeom>
              <a:avLst/>
              <a:gdLst>
                <a:gd name="connsiteX0" fmla="*/ 269081 w 581025"/>
                <a:gd name="connsiteY0" fmla="*/ 0 h 685800"/>
                <a:gd name="connsiteX1" fmla="*/ 184404 w 581025"/>
                <a:gd name="connsiteY1" fmla="*/ 0 h 685800"/>
                <a:gd name="connsiteX2" fmla="*/ 0 w 581025"/>
                <a:gd name="connsiteY2" fmla="*/ 283464 h 685800"/>
                <a:gd name="connsiteX3" fmla="*/ 60484 w 581025"/>
                <a:gd name="connsiteY3" fmla="*/ 630936 h 685800"/>
                <a:gd name="connsiteX4" fmla="*/ 362807 w 581025"/>
                <a:gd name="connsiteY4" fmla="*/ 630936 h 685800"/>
                <a:gd name="connsiteX5" fmla="*/ 362807 w 581025"/>
                <a:gd name="connsiteY5" fmla="*/ 688848 h 685800"/>
                <a:gd name="connsiteX6" fmla="*/ 589502 w 581025"/>
                <a:gd name="connsiteY6" fmla="*/ 688848 h 685800"/>
                <a:gd name="connsiteX7" fmla="*/ 525970 w 581025"/>
                <a:gd name="connsiteY7" fmla="*/ 246888 h 685800"/>
                <a:gd name="connsiteX8" fmla="*/ 269081 w 581025"/>
                <a:gd name="connsiteY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1025" h="685800">
                  <a:moveTo>
                    <a:pt x="269081" y="0"/>
                  </a:moveTo>
                  <a:cubicBezTo>
                    <a:pt x="184404" y="0"/>
                    <a:pt x="184404" y="0"/>
                    <a:pt x="184404" y="0"/>
                  </a:cubicBezTo>
                  <a:cubicBezTo>
                    <a:pt x="181356" y="128016"/>
                    <a:pt x="108871" y="234696"/>
                    <a:pt x="0" y="283464"/>
                  </a:cubicBezTo>
                  <a:cubicBezTo>
                    <a:pt x="60484" y="630936"/>
                    <a:pt x="60484" y="630936"/>
                    <a:pt x="60484" y="630936"/>
                  </a:cubicBezTo>
                  <a:cubicBezTo>
                    <a:pt x="362807" y="630936"/>
                    <a:pt x="362807" y="630936"/>
                    <a:pt x="362807" y="630936"/>
                  </a:cubicBezTo>
                  <a:cubicBezTo>
                    <a:pt x="362807" y="688848"/>
                    <a:pt x="362807" y="688848"/>
                    <a:pt x="362807" y="688848"/>
                  </a:cubicBezTo>
                  <a:cubicBezTo>
                    <a:pt x="589502" y="688848"/>
                    <a:pt x="589502" y="688848"/>
                    <a:pt x="589502" y="688848"/>
                  </a:cubicBezTo>
                  <a:cubicBezTo>
                    <a:pt x="525970" y="246888"/>
                    <a:pt x="525970" y="246888"/>
                    <a:pt x="525970" y="246888"/>
                  </a:cubicBezTo>
                  <a:cubicBezTo>
                    <a:pt x="504920" y="115824"/>
                    <a:pt x="399097" y="15240"/>
                    <a:pt x="269081" y="0"/>
                  </a:cubicBezTo>
                </a:path>
              </a:pathLst>
            </a:custGeom>
            <a:solidFill>
              <a:srgbClr val="E2068C"/>
            </a:solidFill>
            <a:ln w="9525" cap="flat">
              <a:noFill/>
              <a:prstDash val="solid"/>
              <a:miter/>
            </a:ln>
          </p:spPr>
          <p:txBody>
            <a:bodyPr rtlCol="0" anchor="ctr"/>
            <a:lstStyle/>
            <a:p>
              <a:endParaRPr lang="en-US" dirty="0"/>
            </a:p>
          </p:txBody>
        </p:sp>
        <p:sp>
          <p:nvSpPr>
            <p:cNvPr id="323" name="Freeform: Shape 322">
              <a:extLst>
                <a:ext uri="{FF2B5EF4-FFF2-40B4-BE49-F238E27FC236}">
                  <a16:creationId xmlns:a16="http://schemas.microsoft.com/office/drawing/2014/main" id="{20E364F4-0890-4A9B-BE51-604C4018A913}"/>
                </a:ext>
              </a:extLst>
            </p:cNvPr>
            <p:cNvSpPr/>
            <p:nvPr/>
          </p:nvSpPr>
          <p:spPr>
            <a:xfrm>
              <a:off x="1051169" y="2920810"/>
              <a:ext cx="1419225" cy="781050"/>
            </a:xfrm>
            <a:custGeom>
              <a:avLst/>
              <a:gdLst>
                <a:gd name="connsiteX0" fmla="*/ 111539 w 1419225"/>
                <a:gd name="connsiteY0" fmla="*/ 780454 h 781050"/>
                <a:gd name="connsiteX1" fmla="*/ 1 w 1419225"/>
                <a:gd name="connsiteY1" fmla="*/ 551473 h 781050"/>
                <a:gd name="connsiteX2" fmla="*/ 837915 w 1419225"/>
                <a:gd name="connsiteY2" fmla="*/ 71984 h 781050"/>
                <a:gd name="connsiteX3" fmla="*/ 1180625 w 1419225"/>
                <a:gd name="connsiteY3" fmla="*/ 70 h 781050"/>
                <a:gd name="connsiteX4" fmla="*/ 1372553 w 1419225"/>
                <a:gd name="connsiteY4" fmla="*/ 24931 h 781050"/>
                <a:gd name="connsiteX5" fmla="*/ 1427989 w 1419225"/>
                <a:gd name="connsiteY5" fmla="*/ 89796 h 781050"/>
                <a:gd name="connsiteX6" fmla="*/ 1389032 w 1419225"/>
                <a:gd name="connsiteY6" fmla="*/ 80080 h 781050"/>
                <a:gd name="connsiteX7" fmla="*/ 1403605 w 1419225"/>
                <a:gd name="connsiteY7" fmla="*/ 103607 h 781050"/>
                <a:gd name="connsiteX8" fmla="*/ 1408463 w 1419225"/>
                <a:gd name="connsiteY8" fmla="*/ 180569 h 781050"/>
                <a:gd name="connsiteX9" fmla="*/ 1361790 w 1419225"/>
                <a:gd name="connsiteY9" fmla="*/ 151804 h 781050"/>
                <a:gd name="connsiteX10" fmla="*/ 1337120 w 1419225"/>
                <a:gd name="connsiteY10" fmla="*/ 103512 h 781050"/>
                <a:gd name="connsiteX11" fmla="*/ 1291686 w 1419225"/>
                <a:gd name="connsiteY11" fmla="*/ 88081 h 781050"/>
                <a:gd name="connsiteX12" fmla="*/ 1323785 w 1419225"/>
                <a:gd name="connsiteY12" fmla="*/ 141612 h 781050"/>
                <a:gd name="connsiteX13" fmla="*/ 1314641 w 1419225"/>
                <a:gd name="connsiteY13" fmla="*/ 198000 h 781050"/>
                <a:gd name="connsiteX14" fmla="*/ 1264064 w 1419225"/>
                <a:gd name="connsiteY14" fmla="*/ 152851 h 781050"/>
                <a:gd name="connsiteX15" fmla="*/ 1238156 w 1419225"/>
                <a:gd name="connsiteY15" fmla="*/ 131801 h 781050"/>
                <a:gd name="connsiteX16" fmla="*/ 1032701 w 1419225"/>
                <a:gd name="connsiteY16" fmla="*/ 199905 h 781050"/>
                <a:gd name="connsiteX17" fmla="*/ 938213 w 1419225"/>
                <a:gd name="connsiteY17" fmla="*/ 191809 h 781050"/>
                <a:gd name="connsiteX18" fmla="*/ 425864 w 1419225"/>
                <a:gd name="connsiteY18" fmla="*/ 587953 h 781050"/>
                <a:gd name="connsiteX19" fmla="*/ 466440 w 1419225"/>
                <a:gd name="connsiteY19" fmla="*/ 643389 h 781050"/>
                <a:gd name="connsiteX20" fmla="*/ 114777 w 1419225"/>
                <a:gd name="connsiteY20" fmla="*/ 787026 h 781050"/>
                <a:gd name="connsiteX21" fmla="*/ 111539 w 1419225"/>
                <a:gd name="connsiteY21" fmla="*/ 780454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19225" h="781050">
                  <a:moveTo>
                    <a:pt x="111539" y="780454"/>
                  </a:moveTo>
                  <a:cubicBezTo>
                    <a:pt x="111539" y="780454"/>
                    <a:pt x="1" y="680822"/>
                    <a:pt x="1" y="551473"/>
                  </a:cubicBezTo>
                  <a:cubicBezTo>
                    <a:pt x="1" y="551473"/>
                    <a:pt x="-5143" y="405931"/>
                    <a:pt x="837915" y="71984"/>
                  </a:cubicBezTo>
                  <a:lnTo>
                    <a:pt x="1180625" y="70"/>
                  </a:lnTo>
                  <a:cubicBezTo>
                    <a:pt x="1180625" y="70"/>
                    <a:pt x="1294448" y="-2597"/>
                    <a:pt x="1372553" y="24931"/>
                  </a:cubicBezTo>
                  <a:lnTo>
                    <a:pt x="1427989" y="89796"/>
                  </a:lnTo>
                  <a:lnTo>
                    <a:pt x="1389032" y="80080"/>
                  </a:lnTo>
                  <a:lnTo>
                    <a:pt x="1403605" y="103607"/>
                  </a:lnTo>
                  <a:lnTo>
                    <a:pt x="1408463" y="180569"/>
                  </a:lnTo>
                  <a:cubicBezTo>
                    <a:pt x="1408463" y="180569"/>
                    <a:pt x="1378268" y="191237"/>
                    <a:pt x="1361790" y="151804"/>
                  </a:cubicBezTo>
                  <a:cubicBezTo>
                    <a:pt x="1361790" y="151804"/>
                    <a:pt x="1363124" y="114085"/>
                    <a:pt x="1337120" y="103512"/>
                  </a:cubicBezTo>
                  <a:cubicBezTo>
                    <a:pt x="1311212" y="92939"/>
                    <a:pt x="1291686" y="88081"/>
                    <a:pt x="1291686" y="88081"/>
                  </a:cubicBezTo>
                  <a:lnTo>
                    <a:pt x="1323785" y="141612"/>
                  </a:lnTo>
                  <a:lnTo>
                    <a:pt x="1314641" y="198000"/>
                  </a:lnTo>
                  <a:cubicBezTo>
                    <a:pt x="1314641" y="198000"/>
                    <a:pt x="1283590" y="204763"/>
                    <a:pt x="1264064" y="152851"/>
                  </a:cubicBezTo>
                  <a:lnTo>
                    <a:pt x="1238156" y="131801"/>
                  </a:lnTo>
                  <a:cubicBezTo>
                    <a:pt x="1238156" y="131801"/>
                    <a:pt x="1112521" y="173997"/>
                    <a:pt x="1032701" y="199905"/>
                  </a:cubicBezTo>
                  <a:cubicBezTo>
                    <a:pt x="1032701" y="199905"/>
                    <a:pt x="998221" y="211240"/>
                    <a:pt x="938213" y="191809"/>
                  </a:cubicBezTo>
                  <a:cubicBezTo>
                    <a:pt x="938213" y="191809"/>
                    <a:pt x="626936" y="361449"/>
                    <a:pt x="425864" y="587953"/>
                  </a:cubicBezTo>
                  <a:lnTo>
                    <a:pt x="466440" y="643389"/>
                  </a:lnTo>
                  <a:lnTo>
                    <a:pt x="114777" y="787026"/>
                  </a:lnTo>
                  <a:lnTo>
                    <a:pt x="111539" y="780454"/>
                  </a:lnTo>
                  <a:close/>
                </a:path>
              </a:pathLst>
            </a:custGeom>
            <a:solidFill>
              <a:srgbClr val="995D45"/>
            </a:solidFill>
            <a:ln w="9525" cap="flat">
              <a:noFill/>
              <a:prstDash val="solid"/>
              <a:miter/>
            </a:ln>
          </p:spPr>
          <p:txBody>
            <a:bodyPr rtlCol="0" anchor="ctr"/>
            <a:lstStyle/>
            <a:p>
              <a:endParaRPr lang="en-US" dirty="0"/>
            </a:p>
          </p:txBody>
        </p:sp>
        <p:sp>
          <p:nvSpPr>
            <p:cNvPr id="324" name="Freeform: Shape 323">
              <a:extLst>
                <a:ext uri="{FF2B5EF4-FFF2-40B4-BE49-F238E27FC236}">
                  <a16:creationId xmlns:a16="http://schemas.microsoft.com/office/drawing/2014/main" id="{164F09F8-F317-4FF1-B98C-44287E59AFFA}"/>
                </a:ext>
              </a:extLst>
            </p:cNvPr>
            <p:cNvSpPr/>
            <p:nvPr/>
          </p:nvSpPr>
          <p:spPr>
            <a:xfrm>
              <a:off x="1088127" y="3510669"/>
              <a:ext cx="1028700" cy="1114425"/>
            </a:xfrm>
            <a:custGeom>
              <a:avLst/>
              <a:gdLst>
                <a:gd name="connsiteX0" fmla="*/ 1019842 w 1028700"/>
                <a:gd name="connsiteY0" fmla="*/ 521780 h 1114425"/>
                <a:gd name="connsiteX1" fmla="*/ 1030129 w 1028700"/>
                <a:gd name="connsiteY1" fmla="*/ 495014 h 1114425"/>
                <a:gd name="connsiteX2" fmla="*/ 868966 w 1028700"/>
                <a:gd name="connsiteY2" fmla="*/ 441865 h 1114425"/>
                <a:gd name="connsiteX3" fmla="*/ 693896 w 1028700"/>
                <a:gd name="connsiteY3" fmla="*/ 279368 h 1114425"/>
                <a:gd name="connsiteX4" fmla="*/ 411766 w 1028700"/>
                <a:gd name="connsiteY4" fmla="*/ 0 h 1114425"/>
                <a:gd name="connsiteX5" fmla="*/ 0 w 1028700"/>
                <a:gd name="connsiteY5" fmla="*/ 190500 h 1114425"/>
                <a:gd name="connsiteX6" fmla="*/ 596646 w 1028700"/>
                <a:gd name="connsiteY6" fmla="*/ 1035177 h 1114425"/>
                <a:gd name="connsiteX7" fmla="*/ 1019842 w 1028700"/>
                <a:gd name="connsiteY7" fmla="*/ 521780 h 111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8700" h="1114425">
                  <a:moveTo>
                    <a:pt x="1019842" y="521780"/>
                  </a:moveTo>
                  <a:cubicBezTo>
                    <a:pt x="1025843" y="506444"/>
                    <a:pt x="1030129" y="495014"/>
                    <a:pt x="1030129" y="495014"/>
                  </a:cubicBezTo>
                  <a:cubicBezTo>
                    <a:pt x="1006507" y="481203"/>
                    <a:pt x="911638" y="467963"/>
                    <a:pt x="868966" y="441865"/>
                  </a:cubicBezTo>
                  <a:cubicBezTo>
                    <a:pt x="795147" y="396716"/>
                    <a:pt x="740283" y="317754"/>
                    <a:pt x="693896" y="279368"/>
                  </a:cubicBezTo>
                  <a:cubicBezTo>
                    <a:pt x="640937" y="235744"/>
                    <a:pt x="457200" y="86678"/>
                    <a:pt x="411766" y="0"/>
                  </a:cubicBezTo>
                  <a:cubicBezTo>
                    <a:pt x="411766" y="0"/>
                    <a:pt x="61532" y="117539"/>
                    <a:pt x="0" y="190500"/>
                  </a:cubicBezTo>
                  <a:cubicBezTo>
                    <a:pt x="0" y="190500"/>
                    <a:pt x="499396" y="678561"/>
                    <a:pt x="596646" y="1035177"/>
                  </a:cubicBezTo>
                  <a:cubicBezTo>
                    <a:pt x="683800" y="1354931"/>
                    <a:pt x="962692" y="668274"/>
                    <a:pt x="1019842" y="521780"/>
                  </a:cubicBezTo>
                  <a:close/>
                </a:path>
              </a:pathLst>
            </a:custGeom>
            <a:solidFill>
              <a:srgbClr val="E2068C"/>
            </a:solidFill>
            <a:ln w="9525" cap="flat">
              <a:noFill/>
              <a:prstDash val="solid"/>
              <a:miter/>
            </a:ln>
          </p:spPr>
          <p:txBody>
            <a:bodyPr rtlCol="0" anchor="ctr"/>
            <a:lstStyle/>
            <a:p>
              <a:endParaRPr lang="en-US" dirty="0"/>
            </a:p>
          </p:txBody>
        </p:sp>
        <p:sp>
          <p:nvSpPr>
            <p:cNvPr id="325" name="Freeform: Shape 324">
              <a:extLst>
                <a:ext uri="{FF2B5EF4-FFF2-40B4-BE49-F238E27FC236}">
                  <a16:creationId xmlns:a16="http://schemas.microsoft.com/office/drawing/2014/main" id="{331C9602-D2BE-489F-A56C-2750A1D2804D}"/>
                </a:ext>
              </a:extLst>
            </p:cNvPr>
            <p:cNvSpPr/>
            <p:nvPr/>
          </p:nvSpPr>
          <p:spPr>
            <a:xfrm>
              <a:off x="2836631" y="4771017"/>
              <a:ext cx="123825" cy="180975"/>
            </a:xfrm>
            <a:custGeom>
              <a:avLst/>
              <a:gdLst>
                <a:gd name="connsiteX0" fmla="*/ 45053 w 123825"/>
                <a:gd name="connsiteY0" fmla="*/ 0 h 180975"/>
                <a:gd name="connsiteX1" fmla="*/ 128969 w 123825"/>
                <a:gd name="connsiteY1" fmla="*/ 188500 h 180975"/>
                <a:gd name="connsiteX2" fmla="*/ 0 w 123825"/>
                <a:gd name="connsiteY2" fmla="*/ 188500 h 180975"/>
                <a:gd name="connsiteX3" fmla="*/ 45053 w 123825"/>
                <a:gd name="connsiteY3" fmla="*/ 0 h 180975"/>
              </a:gdLst>
              <a:ahLst/>
              <a:cxnLst>
                <a:cxn ang="0">
                  <a:pos x="connsiteX0" y="connsiteY0"/>
                </a:cxn>
                <a:cxn ang="0">
                  <a:pos x="connsiteX1" y="connsiteY1"/>
                </a:cxn>
                <a:cxn ang="0">
                  <a:pos x="connsiteX2" y="connsiteY2"/>
                </a:cxn>
                <a:cxn ang="0">
                  <a:pos x="connsiteX3" y="connsiteY3"/>
                </a:cxn>
              </a:cxnLst>
              <a:rect l="l" t="t" r="r" b="b"/>
              <a:pathLst>
                <a:path w="123825" h="180975">
                  <a:moveTo>
                    <a:pt x="45053" y="0"/>
                  </a:moveTo>
                  <a:lnTo>
                    <a:pt x="128969" y="188500"/>
                  </a:lnTo>
                  <a:lnTo>
                    <a:pt x="0" y="188500"/>
                  </a:lnTo>
                  <a:cubicBezTo>
                    <a:pt x="0" y="188404"/>
                    <a:pt x="61627" y="133255"/>
                    <a:pt x="45053" y="0"/>
                  </a:cubicBezTo>
                  <a:close/>
                </a:path>
              </a:pathLst>
            </a:custGeom>
            <a:solidFill>
              <a:srgbClr val="BB1D7E"/>
            </a:solidFill>
            <a:ln w="9525" cap="flat">
              <a:noFill/>
              <a:prstDash val="solid"/>
              <a:miter/>
            </a:ln>
          </p:spPr>
          <p:txBody>
            <a:bodyPr rtlCol="0" anchor="ctr"/>
            <a:lstStyle/>
            <a:p>
              <a:endParaRPr lang="en-US" dirty="0"/>
            </a:p>
          </p:txBody>
        </p:sp>
        <p:sp>
          <p:nvSpPr>
            <p:cNvPr id="326" name="Freeform: Shape 325">
              <a:extLst>
                <a:ext uri="{FF2B5EF4-FFF2-40B4-BE49-F238E27FC236}">
                  <a16:creationId xmlns:a16="http://schemas.microsoft.com/office/drawing/2014/main" id="{D23E222B-B607-4004-94F8-6D4C78C45936}"/>
                </a:ext>
              </a:extLst>
            </p:cNvPr>
            <p:cNvSpPr/>
            <p:nvPr/>
          </p:nvSpPr>
          <p:spPr>
            <a:xfrm>
              <a:off x="1603239" y="4895214"/>
              <a:ext cx="1762125" cy="95250"/>
            </a:xfrm>
            <a:custGeom>
              <a:avLst/>
              <a:gdLst>
                <a:gd name="connsiteX0" fmla="*/ 0 w 1762125"/>
                <a:gd name="connsiteY0" fmla="*/ 0 h 95250"/>
                <a:gd name="connsiteX1" fmla="*/ 1770126 w 1762125"/>
                <a:gd name="connsiteY1" fmla="*/ 0 h 95250"/>
                <a:gd name="connsiteX2" fmla="*/ 1770126 w 1762125"/>
                <a:gd name="connsiteY2" fmla="*/ 102108 h 95250"/>
                <a:gd name="connsiteX3" fmla="*/ 0 w 1762125"/>
                <a:gd name="connsiteY3" fmla="*/ 102108 h 95250"/>
              </a:gdLst>
              <a:ahLst/>
              <a:cxnLst>
                <a:cxn ang="0">
                  <a:pos x="connsiteX0" y="connsiteY0"/>
                </a:cxn>
                <a:cxn ang="0">
                  <a:pos x="connsiteX1" y="connsiteY1"/>
                </a:cxn>
                <a:cxn ang="0">
                  <a:pos x="connsiteX2" y="connsiteY2"/>
                </a:cxn>
                <a:cxn ang="0">
                  <a:pos x="connsiteX3" y="connsiteY3"/>
                </a:cxn>
              </a:cxnLst>
              <a:rect l="l" t="t" r="r" b="b"/>
              <a:pathLst>
                <a:path w="1762125" h="95250">
                  <a:moveTo>
                    <a:pt x="0" y="0"/>
                  </a:moveTo>
                  <a:lnTo>
                    <a:pt x="1770126" y="0"/>
                  </a:lnTo>
                  <a:lnTo>
                    <a:pt x="1770126" y="102108"/>
                  </a:lnTo>
                  <a:lnTo>
                    <a:pt x="0" y="102108"/>
                  </a:lnTo>
                  <a:close/>
                </a:path>
              </a:pathLst>
            </a:custGeom>
            <a:solidFill>
              <a:schemeClr val="bg2">
                <a:lumMod val="75000"/>
              </a:schemeClr>
            </a:solidFill>
            <a:ln w="9525" cap="flat">
              <a:noFill/>
              <a:prstDash val="solid"/>
              <a:miter/>
            </a:ln>
          </p:spPr>
          <p:txBody>
            <a:bodyPr rtlCol="0" anchor="ctr"/>
            <a:lstStyle/>
            <a:p>
              <a:endParaRPr lang="en-US" dirty="0"/>
            </a:p>
          </p:txBody>
        </p:sp>
      </p:grpSp>
      <p:grpSp>
        <p:nvGrpSpPr>
          <p:cNvPr id="331" name="Group 330">
            <a:extLst>
              <a:ext uri="{FF2B5EF4-FFF2-40B4-BE49-F238E27FC236}">
                <a16:creationId xmlns:a16="http://schemas.microsoft.com/office/drawing/2014/main" id="{A33523C0-C5C8-463E-B2A4-F504DA5006C3}"/>
              </a:ext>
            </a:extLst>
          </p:cNvPr>
          <p:cNvGrpSpPr/>
          <p:nvPr/>
        </p:nvGrpSpPr>
        <p:grpSpPr>
          <a:xfrm>
            <a:off x="2813916" y="3314940"/>
            <a:ext cx="613820" cy="525035"/>
            <a:chOff x="1598659" y="3236890"/>
            <a:chExt cx="1888485" cy="1615327"/>
          </a:xfrm>
          <a:solidFill>
            <a:schemeClr val="bg2">
              <a:lumMod val="75000"/>
            </a:schemeClr>
          </a:solidFill>
        </p:grpSpPr>
        <p:sp>
          <p:nvSpPr>
            <p:cNvPr id="778" name="Freeform: Shape 777">
              <a:extLst>
                <a:ext uri="{FF2B5EF4-FFF2-40B4-BE49-F238E27FC236}">
                  <a16:creationId xmlns:a16="http://schemas.microsoft.com/office/drawing/2014/main" id="{6EDCA314-EACF-4EA0-9556-A1D4F4ACB40E}"/>
                </a:ext>
              </a:extLst>
            </p:cNvPr>
            <p:cNvSpPr/>
            <p:nvPr/>
          </p:nvSpPr>
          <p:spPr bwMode="auto">
            <a:xfrm>
              <a:off x="2313663" y="3236890"/>
              <a:ext cx="1173481" cy="1109880"/>
            </a:xfrm>
            <a:custGeom>
              <a:avLst/>
              <a:gdLst>
                <a:gd name="connsiteX0" fmla="*/ 442751 w 1173481"/>
                <a:gd name="connsiteY0" fmla="*/ 0 h 1109880"/>
                <a:gd name="connsiteX1" fmla="*/ 726847 w 1173481"/>
                <a:gd name="connsiteY1" fmla="*/ 0 h 1109880"/>
                <a:gd name="connsiteX2" fmla="*/ 1173481 w 1173481"/>
                <a:gd name="connsiteY2" fmla="*/ 446441 h 1109880"/>
                <a:gd name="connsiteX3" fmla="*/ 792290 w 1173481"/>
                <a:gd name="connsiteY3" fmla="*/ 887638 h 1109880"/>
                <a:gd name="connsiteX4" fmla="*/ 803359 w 1173481"/>
                <a:gd name="connsiteY4" fmla="*/ 1064155 h 1109880"/>
                <a:gd name="connsiteX5" fmla="*/ 779049 w 1173481"/>
                <a:gd name="connsiteY5" fmla="*/ 1108454 h 1109880"/>
                <a:gd name="connsiteX6" fmla="*/ 753453 w 1173481"/>
                <a:gd name="connsiteY6" fmla="*/ 1106293 h 1109880"/>
                <a:gd name="connsiteX7" fmla="*/ 572273 w 1173481"/>
                <a:gd name="connsiteY7" fmla="*/ 970361 h 1109880"/>
                <a:gd name="connsiteX8" fmla="*/ 572273 w 1173481"/>
                <a:gd name="connsiteY8" fmla="*/ 950942 h 1109880"/>
                <a:gd name="connsiteX9" fmla="*/ 15535 w 1173481"/>
                <a:gd name="connsiteY9" fmla="*/ 393815 h 1109880"/>
                <a:gd name="connsiteX10" fmla="*/ 0 w 1173481"/>
                <a:gd name="connsiteY10" fmla="*/ 393815 h 1109880"/>
                <a:gd name="connsiteX11" fmla="*/ 442751 w 1173481"/>
                <a:gd name="connsiteY11" fmla="*/ 0 h 110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3481" h="1109880">
                  <a:moveTo>
                    <a:pt x="442751" y="0"/>
                  </a:moveTo>
                  <a:lnTo>
                    <a:pt x="726847" y="0"/>
                  </a:lnTo>
                  <a:cubicBezTo>
                    <a:pt x="973441" y="0"/>
                    <a:pt x="1173375" y="199846"/>
                    <a:pt x="1173481" y="446441"/>
                  </a:cubicBezTo>
                  <a:cubicBezTo>
                    <a:pt x="1173176" y="667600"/>
                    <a:pt x="1011062" y="855232"/>
                    <a:pt x="792290" y="887638"/>
                  </a:cubicBezTo>
                  <a:cubicBezTo>
                    <a:pt x="782782" y="946567"/>
                    <a:pt x="786564" y="1006875"/>
                    <a:pt x="803359" y="1064155"/>
                  </a:cubicBezTo>
                  <a:cubicBezTo>
                    <a:pt x="808877" y="1083101"/>
                    <a:pt x="797995" y="1102933"/>
                    <a:pt x="779049" y="1108454"/>
                  </a:cubicBezTo>
                  <a:cubicBezTo>
                    <a:pt x="770543" y="1110931"/>
                    <a:pt x="761422" y="1110163"/>
                    <a:pt x="753453" y="1106293"/>
                  </a:cubicBezTo>
                  <a:cubicBezTo>
                    <a:pt x="685145" y="1072622"/>
                    <a:pt x="623706" y="1026526"/>
                    <a:pt x="572273" y="970361"/>
                  </a:cubicBezTo>
                  <a:cubicBezTo>
                    <a:pt x="572273" y="963760"/>
                    <a:pt x="572273" y="957156"/>
                    <a:pt x="572273" y="950942"/>
                  </a:cubicBezTo>
                  <a:cubicBezTo>
                    <a:pt x="571953" y="643535"/>
                    <a:pt x="322943" y="394349"/>
                    <a:pt x="15535" y="393815"/>
                  </a:cubicBezTo>
                  <a:lnTo>
                    <a:pt x="0" y="393815"/>
                  </a:lnTo>
                  <a:cubicBezTo>
                    <a:pt x="26720" y="169447"/>
                    <a:pt x="216796" y="379"/>
                    <a:pt x="44275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77" name="Freeform: Shape 776">
              <a:extLst>
                <a:ext uri="{FF2B5EF4-FFF2-40B4-BE49-F238E27FC236}">
                  <a16:creationId xmlns:a16="http://schemas.microsoft.com/office/drawing/2014/main" id="{8D3F96EF-EBA1-4245-A726-3D22F58666FA}"/>
                </a:ext>
              </a:extLst>
            </p:cNvPr>
            <p:cNvSpPr/>
            <p:nvPr/>
          </p:nvSpPr>
          <p:spPr bwMode="auto">
            <a:xfrm>
              <a:off x="1598659" y="3741781"/>
              <a:ext cx="1178727" cy="1110436"/>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14" name="Graphic 5">
            <a:extLst>
              <a:ext uri="{FF2B5EF4-FFF2-40B4-BE49-F238E27FC236}">
                <a16:creationId xmlns:a16="http://schemas.microsoft.com/office/drawing/2014/main" id="{1D247033-3905-48BF-B204-C89C96BB895C}"/>
              </a:ext>
            </a:extLst>
          </p:cNvPr>
          <p:cNvGrpSpPr/>
          <p:nvPr/>
        </p:nvGrpSpPr>
        <p:grpSpPr>
          <a:xfrm>
            <a:off x="5844059" y="3278465"/>
            <a:ext cx="838682" cy="954430"/>
            <a:chOff x="5778818" y="3415163"/>
            <a:chExt cx="1022853" cy="1166139"/>
          </a:xfrm>
        </p:grpSpPr>
        <p:sp>
          <p:nvSpPr>
            <p:cNvPr id="1615" name="Freeform: Shape 1614">
              <a:extLst>
                <a:ext uri="{FF2B5EF4-FFF2-40B4-BE49-F238E27FC236}">
                  <a16:creationId xmlns:a16="http://schemas.microsoft.com/office/drawing/2014/main" id="{24F6CF8F-F25E-4A3C-A07F-1427173A462E}"/>
                </a:ext>
              </a:extLst>
            </p:cNvPr>
            <p:cNvSpPr/>
            <p:nvPr/>
          </p:nvSpPr>
          <p:spPr>
            <a:xfrm>
              <a:off x="5959154" y="3415163"/>
              <a:ext cx="259860" cy="735348"/>
            </a:xfrm>
            <a:custGeom>
              <a:avLst/>
              <a:gdLst>
                <a:gd name="connsiteX0" fmla="*/ 8975 w 259859"/>
                <a:gd name="connsiteY0" fmla="*/ 137427 h 735348"/>
                <a:gd name="connsiteX1" fmla="*/ 18263 w 259859"/>
                <a:gd name="connsiteY1" fmla="*/ 697729 h 735348"/>
                <a:gd name="connsiteX2" fmla="*/ 155105 w 259859"/>
                <a:gd name="connsiteY2" fmla="*/ 595056 h 735348"/>
                <a:gd name="connsiteX3" fmla="*/ 263251 w 259859"/>
                <a:gd name="connsiteY3" fmla="*/ 118241 h 735348"/>
                <a:gd name="connsiteX4" fmla="*/ 126575 w 259859"/>
                <a:gd name="connsiteY4" fmla="*/ 364 h 735348"/>
                <a:gd name="connsiteX5" fmla="*/ 8975 w 259859"/>
                <a:gd name="connsiteY5" fmla="*/ 137427 h 735348"/>
                <a:gd name="connsiteX6" fmla="*/ 8975 w 259859"/>
                <a:gd name="connsiteY6" fmla="*/ 137427 h 73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859" h="735348">
                  <a:moveTo>
                    <a:pt x="8975" y="137427"/>
                  </a:moveTo>
                  <a:cubicBezTo>
                    <a:pt x="14117" y="206815"/>
                    <a:pt x="91743" y="599148"/>
                    <a:pt x="18263" y="697729"/>
                  </a:cubicBezTo>
                  <a:cubicBezTo>
                    <a:pt x="-55271" y="796310"/>
                    <a:pt x="114301" y="691647"/>
                    <a:pt x="155105" y="595056"/>
                  </a:cubicBezTo>
                  <a:cubicBezTo>
                    <a:pt x="195963" y="498466"/>
                    <a:pt x="262034" y="207699"/>
                    <a:pt x="263251" y="118241"/>
                  </a:cubicBezTo>
                  <a:cubicBezTo>
                    <a:pt x="257998" y="47250"/>
                    <a:pt x="195742" y="-4888"/>
                    <a:pt x="126575" y="364"/>
                  </a:cubicBezTo>
                  <a:cubicBezTo>
                    <a:pt x="55694" y="5506"/>
                    <a:pt x="3778" y="66214"/>
                    <a:pt x="8975" y="137427"/>
                  </a:cubicBezTo>
                  <a:lnTo>
                    <a:pt x="8975" y="137427"/>
                  </a:lnTo>
                  <a:close/>
                </a:path>
              </a:pathLst>
            </a:custGeom>
            <a:solidFill>
              <a:srgbClr val="191919"/>
            </a:solidFill>
            <a:ln w="5479" cap="flat">
              <a:noFill/>
              <a:prstDash val="solid"/>
              <a:miter/>
            </a:ln>
          </p:spPr>
          <p:txBody>
            <a:bodyPr rtlCol="0" anchor="ctr"/>
            <a:lstStyle/>
            <a:p>
              <a:endParaRPr lang="en-US" dirty="0"/>
            </a:p>
          </p:txBody>
        </p:sp>
        <p:sp>
          <p:nvSpPr>
            <p:cNvPr id="1616" name="Freeform: Shape 1615">
              <a:extLst>
                <a:ext uri="{FF2B5EF4-FFF2-40B4-BE49-F238E27FC236}">
                  <a16:creationId xmlns:a16="http://schemas.microsoft.com/office/drawing/2014/main" id="{43661AF2-43CD-4D18-B441-5CF13CB98C2B}"/>
                </a:ext>
              </a:extLst>
            </p:cNvPr>
            <p:cNvSpPr/>
            <p:nvPr/>
          </p:nvSpPr>
          <p:spPr>
            <a:xfrm>
              <a:off x="5897745" y="4134675"/>
              <a:ext cx="823811" cy="398083"/>
            </a:xfrm>
            <a:custGeom>
              <a:avLst/>
              <a:gdLst>
                <a:gd name="connsiteX0" fmla="*/ 0 w 823811"/>
                <a:gd name="connsiteY0" fmla="*/ 399853 h 398083"/>
                <a:gd name="connsiteX1" fmla="*/ 36436 w 823811"/>
                <a:gd name="connsiteY1" fmla="*/ 143310 h 398083"/>
                <a:gd name="connsiteX2" fmla="*/ 201364 w 823811"/>
                <a:gd name="connsiteY2" fmla="*/ 0 h 398083"/>
                <a:gd name="connsiteX3" fmla="*/ 625046 w 823811"/>
                <a:gd name="connsiteY3" fmla="*/ 0 h 398083"/>
                <a:gd name="connsiteX4" fmla="*/ 788260 w 823811"/>
                <a:gd name="connsiteY4" fmla="*/ 143310 h 398083"/>
                <a:gd name="connsiteX5" fmla="*/ 824696 w 823811"/>
                <a:gd name="connsiteY5" fmla="*/ 399853 h 398083"/>
                <a:gd name="connsiteX6" fmla="*/ 0 w 823811"/>
                <a:gd name="connsiteY6" fmla="*/ 399853 h 398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811" h="398083">
                  <a:moveTo>
                    <a:pt x="0" y="399853"/>
                  </a:moveTo>
                  <a:cubicBezTo>
                    <a:pt x="36436" y="143310"/>
                    <a:pt x="36436" y="143310"/>
                    <a:pt x="36436" y="143310"/>
                  </a:cubicBezTo>
                  <a:cubicBezTo>
                    <a:pt x="48599" y="60155"/>
                    <a:pt x="118043" y="0"/>
                    <a:pt x="201364" y="0"/>
                  </a:cubicBezTo>
                  <a:cubicBezTo>
                    <a:pt x="625046" y="0"/>
                    <a:pt x="625046" y="0"/>
                    <a:pt x="625046" y="0"/>
                  </a:cubicBezTo>
                  <a:cubicBezTo>
                    <a:pt x="706653" y="0"/>
                    <a:pt x="776097" y="60155"/>
                    <a:pt x="788260" y="143310"/>
                  </a:cubicBezTo>
                  <a:cubicBezTo>
                    <a:pt x="824696" y="399853"/>
                    <a:pt x="824696" y="399853"/>
                    <a:pt x="824696" y="399853"/>
                  </a:cubicBezTo>
                  <a:cubicBezTo>
                    <a:pt x="0" y="399853"/>
                    <a:pt x="0" y="399853"/>
                    <a:pt x="0" y="399853"/>
                  </a:cubicBezTo>
                </a:path>
              </a:pathLst>
            </a:custGeom>
            <a:solidFill>
              <a:srgbClr val="E2068C"/>
            </a:solidFill>
            <a:ln w="5479" cap="flat">
              <a:noFill/>
              <a:prstDash val="solid"/>
              <a:miter/>
            </a:ln>
          </p:spPr>
          <p:txBody>
            <a:bodyPr rtlCol="0" anchor="ctr"/>
            <a:lstStyle/>
            <a:p>
              <a:endParaRPr lang="en-US" dirty="0"/>
            </a:p>
          </p:txBody>
        </p:sp>
        <p:sp>
          <p:nvSpPr>
            <p:cNvPr id="1617" name="Freeform: Shape 1616">
              <a:extLst>
                <a:ext uri="{FF2B5EF4-FFF2-40B4-BE49-F238E27FC236}">
                  <a16:creationId xmlns:a16="http://schemas.microsoft.com/office/drawing/2014/main" id="{0CE20397-7AB9-45AC-9E79-58B81FCF8CFD}"/>
                </a:ext>
              </a:extLst>
            </p:cNvPr>
            <p:cNvSpPr/>
            <p:nvPr/>
          </p:nvSpPr>
          <p:spPr>
            <a:xfrm>
              <a:off x="6134550" y="3974834"/>
              <a:ext cx="348323" cy="337265"/>
            </a:xfrm>
            <a:custGeom>
              <a:avLst/>
              <a:gdLst>
                <a:gd name="connsiteX0" fmla="*/ 57999 w 348322"/>
                <a:gd name="connsiteY0" fmla="*/ 126391 h 337264"/>
                <a:gd name="connsiteX1" fmla="*/ 57999 w 348322"/>
                <a:gd name="connsiteY1" fmla="*/ 0 h 337264"/>
                <a:gd name="connsiteX2" fmla="*/ 294803 w 348322"/>
                <a:gd name="connsiteY2" fmla="*/ 0 h 337264"/>
                <a:gd name="connsiteX3" fmla="*/ 294803 w 348322"/>
                <a:gd name="connsiteY3" fmla="*/ 126391 h 337264"/>
                <a:gd name="connsiteX4" fmla="*/ 327147 w 348322"/>
                <a:gd name="connsiteY4" fmla="*/ 159289 h 337264"/>
                <a:gd name="connsiteX5" fmla="*/ 350977 w 348322"/>
                <a:gd name="connsiteY5" fmla="*/ 159289 h 337264"/>
                <a:gd name="connsiteX6" fmla="*/ 175488 w 348322"/>
                <a:gd name="connsiteY6" fmla="*/ 337597 h 337264"/>
                <a:gd name="connsiteX7" fmla="*/ 0 w 348322"/>
                <a:gd name="connsiteY7" fmla="*/ 159289 h 337264"/>
                <a:gd name="connsiteX8" fmla="*/ 25544 w 348322"/>
                <a:gd name="connsiteY8" fmla="*/ 159289 h 337264"/>
                <a:gd name="connsiteX9" fmla="*/ 57999 w 348322"/>
                <a:gd name="connsiteY9" fmla="*/ 126391 h 337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8322" h="337264">
                  <a:moveTo>
                    <a:pt x="57999" y="126391"/>
                  </a:moveTo>
                  <a:cubicBezTo>
                    <a:pt x="57999" y="0"/>
                    <a:pt x="57999" y="0"/>
                    <a:pt x="57999" y="0"/>
                  </a:cubicBezTo>
                  <a:cubicBezTo>
                    <a:pt x="294803" y="0"/>
                    <a:pt x="294803" y="0"/>
                    <a:pt x="294803" y="0"/>
                  </a:cubicBezTo>
                  <a:cubicBezTo>
                    <a:pt x="294803" y="126391"/>
                    <a:pt x="294803" y="126391"/>
                    <a:pt x="294803" y="126391"/>
                  </a:cubicBezTo>
                  <a:cubicBezTo>
                    <a:pt x="294803" y="143697"/>
                    <a:pt x="308459" y="159289"/>
                    <a:pt x="327147" y="159289"/>
                  </a:cubicBezTo>
                  <a:cubicBezTo>
                    <a:pt x="350977" y="159289"/>
                    <a:pt x="350977" y="159289"/>
                    <a:pt x="350977" y="159289"/>
                  </a:cubicBezTo>
                  <a:cubicBezTo>
                    <a:pt x="350977" y="256266"/>
                    <a:pt x="272632" y="337597"/>
                    <a:pt x="175488" y="337597"/>
                  </a:cubicBezTo>
                  <a:cubicBezTo>
                    <a:pt x="80059" y="337597"/>
                    <a:pt x="0" y="256211"/>
                    <a:pt x="0" y="159289"/>
                  </a:cubicBezTo>
                  <a:cubicBezTo>
                    <a:pt x="25544" y="159289"/>
                    <a:pt x="25544" y="159289"/>
                    <a:pt x="25544" y="159289"/>
                  </a:cubicBezTo>
                  <a:cubicBezTo>
                    <a:pt x="44397" y="159289"/>
                    <a:pt x="57999" y="143697"/>
                    <a:pt x="57999" y="126391"/>
                  </a:cubicBezTo>
                </a:path>
              </a:pathLst>
            </a:custGeom>
            <a:solidFill>
              <a:srgbClr val="83513B"/>
            </a:solidFill>
            <a:ln w="5479" cap="flat">
              <a:noFill/>
              <a:prstDash val="solid"/>
              <a:miter/>
            </a:ln>
          </p:spPr>
          <p:txBody>
            <a:bodyPr rtlCol="0" anchor="ctr"/>
            <a:lstStyle/>
            <a:p>
              <a:endParaRPr lang="en-US" dirty="0"/>
            </a:p>
          </p:txBody>
        </p:sp>
        <p:sp>
          <p:nvSpPr>
            <p:cNvPr id="1618" name="Freeform: Shape 1617">
              <a:extLst>
                <a:ext uri="{FF2B5EF4-FFF2-40B4-BE49-F238E27FC236}">
                  <a16:creationId xmlns:a16="http://schemas.microsoft.com/office/drawing/2014/main" id="{3560853B-9603-437D-93CA-F399EF058711}"/>
                </a:ext>
              </a:extLst>
            </p:cNvPr>
            <p:cNvSpPr/>
            <p:nvPr/>
          </p:nvSpPr>
          <p:spPr>
            <a:xfrm>
              <a:off x="6196031" y="3974779"/>
              <a:ext cx="232215" cy="138223"/>
            </a:xfrm>
            <a:custGeom>
              <a:avLst/>
              <a:gdLst>
                <a:gd name="connsiteX0" fmla="*/ 0 w 232215"/>
                <a:gd name="connsiteY0" fmla="*/ 35551 h 138223"/>
                <a:gd name="connsiteX1" fmla="*/ 0 w 232215"/>
                <a:gd name="connsiteY1" fmla="*/ 0 h 138223"/>
                <a:gd name="connsiteX2" fmla="*/ 236915 w 232215"/>
                <a:gd name="connsiteY2" fmla="*/ 0 h 138223"/>
                <a:gd name="connsiteX3" fmla="*/ 236915 w 232215"/>
                <a:gd name="connsiteY3" fmla="*/ 138776 h 138223"/>
                <a:gd name="connsiteX4" fmla="*/ 0 w 232215"/>
                <a:gd name="connsiteY4" fmla="*/ 35551 h 138223"/>
                <a:gd name="connsiteX5" fmla="*/ 0 w 232215"/>
                <a:gd name="connsiteY5" fmla="*/ 35551 h 13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215" h="138223">
                  <a:moveTo>
                    <a:pt x="0" y="35551"/>
                  </a:moveTo>
                  <a:cubicBezTo>
                    <a:pt x="0" y="0"/>
                    <a:pt x="0" y="0"/>
                    <a:pt x="0" y="0"/>
                  </a:cubicBezTo>
                  <a:cubicBezTo>
                    <a:pt x="236915" y="0"/>
                    <a:pt x="236915" y="0"/>
                    <a:pt x="236915" y="0"/>
                  </a:cubicBezTo>
                  <a:cubicBezTo>
                    <a:pt x="236915" y="138776"/>
                    <a:pt x="236915" y="138776"/>
                    <a:pt x="236915" y="138776"/>
                  </a:cubicBezTo>
                  <a:cubicBezTo>
                    <a:pt x="75028" y="142204"/>
                    <a:pt x="0" y="35551"/>
                    <a:pt x="0" y="35551"/>
                  </a:cubicBezTo>
                  <a:lnTo>
                    <a:pt x="0" y="35551"/>
                  </a:lnTo>
                  <a:close/>
                </a:path>
              </a:pathLst>
            </a:custGeom>
            <a:solidFill>
              <a:srgbClr val="995D45"/>
            </a:solidFill>
            <a:ln w="5479" cap="flat">
              <a:noFill/>
              <a:prstDash val="solid"/>
              <a:miter/>
            </a:ln>
          </p:spPr>
          <p:txBody>
            <a:bodyPr rtlCol="0" anchor="ctr"/>
            <a:lstStyle/>
            <a:p>
              <a:endParaRPr lang="en-US" dirty="0"/>
            </a:p>
          </p:txBody>
        </p:sp>
        <p:sp>
          <p:nvSpPr>
            <p:cNvPr id="1619" name="Freeform: Shape 1618">
              <a:extLst>
                <a:ext uri="{FF2B5EF4-FFF2-40B4-BE49-F238E27FC236}">
                  <a16:creationId xmlns:a16="http://schemas.microsoft.com/office/drawing/2014/main" id="{356C702F-251E-48F3-999A-EA598EE9D686}"/>
                </a:ext>
              </a:extLst>
            </p:cNvPr>
            <p:cNvSpPr/>
            <p:nvPr/>
          </p:nvSpPr>
          <p:spPr>
            <a:xfrm>
              <a:off x="6014205" y="3469324"/>
              <a:ext cx="552894" cy="563951"/>
            </a:xfrm>
            <a:custGeom>
              <a:avLst/>
              <a:gdLst>
                <a:gd name="connsiteX0" fmla="*/ 864 w 552893"/>
                <a:gd name="connsiteY0" fmla="*/ 303483 h 563951"/>
                <a:gd name="connsiteX1" fmla="*/ 299039 w 552893"/>
                <a:gd name="connsiteY1" fmla="*/ 564283 h 563951"/>
                <a:gd name="connsiteX2" fmla="*/ 555859 w 552893"/>
                <a:gd name="connsiteY2" fmla="*/ 261463 h 563951"/>
                <a:gd name="connsiteX3" fmla="*/ 257683 w 552893"/>
                <a:gd name="connsiteY3" fmla="*/ 663 h 563951"/>
                <a:gd name="connsiteX4" fmla="*/ 864 w 552893"/>
                <a:gd name="connsiteY4" fmla="*/ 303483 h 563951"/>
                <a:gd name="connsiteX5" fmla="*/ 864 w 552893"/>
                <a:gd name="connsiteY5" fmla="*/ 303483 h 56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2893" h="563951">
                  <a:moveTo>
                    <a:pt x="864" y="303483"/>
                  </a:moveTo>
                  <a:cubicBezTo>
                    <a:pt x="12917" y="459288"/>
                    <a:pt x="145611" y="576557"/>
                    <a:pt x="299039" y="564283"/>
                  </a:cubicBezTo>
                  <a:cubicBezTo>
                    <a:pt x="452412" y="552009"/>
                    <a:pt x="567912" y="417268"/>
                    <a:pt x="555859" y="261463"/>
                  </a:cubicBezTo>
                  <a:cubicBezTo>
                    <a:pt x="543805" y="105658"/>
                    <a:pt x="411056" y="-9842"/>
                    <a:pt x="257683" y="663"/>
                  </a:cubicBezTo>
                  <a:cubicBezTo>
                    <a:pt x="104310" y="12937"/>
                    <a:pt x="-11189" y="149447"/>
                    <a:pt x="864" y="303483"/>
                  </a:cubicBezTo>
                  <a:lnTo>
                    <a:pt x="864" y="303483"/>
                  </a:lnTo>
                  <a:close/>
                </a:path>
              </a:pathLst>
            </a:custGeom>
            <a:solidFill>
              <a:srgbClr val="191919"/>
            </a:solidFill>
            <a:ln w="5479" cap="flat">
              <a:noFill/>
              <a:prstDash val="solid"/>
              <a:miter/>
            </a:ln>
          </p:spPr>
          <p:txBody>
            <a:bodyPr rtlCol="0" anchor="ctr"/>
            <a:lstStyle/>
            <a:p>
              <a:endParaRPr lang="en-US" dirty="0"/>
            </a:p>
          </p:txBody>
        </p:sp>
        <p:sp>
          <p:nvSpPr>
            <p:cNvPr id="1620" name="Freeform: Shape 1619">
              <a:extLst>
                <a:ext uri="{FF2B5EF4-FFF2-40B4-BE49-F238E27FC236}">
                  <a16:creationId xmlns:a16="http://schemas.microsoft.com/office/drawing/2014/main" id="{40EE890C-1CC4-4542-BE35-9106568F4C65}"/>
                </a:ext>
              </a:extLst>
            </p:cNvPr>
            <p:cNvSpPr/>
            <p:nvPr/>
          </p:nvSpPr>
          <p:spPr>
            <a:xfrm>
              <a:off x="6134605" y="3619434"/>
              <a:ext cx="409141" cy="453373"/>
            </a:xfrm>
            <a:custGeom>
              <a:avLst/>
              <a:gdLst>
                <a:gd name="connsiteX0" fmla="*/ 246701 w 409141"/>
                <a:gd name="connsiteY0" fmla="*/ 455031 h 453372"/>
                <a:gd name="connsiteX1" fmla="*/ 246701 w 409141"/>
                <a:gd name="connsiteY1" fmla="*/ 455031 h 453372"/>
                <a:gd name="connsiteX2" fmla="*/ 414117 w 409141"/>
                <a:gd name="connsiteY2" fmla="*/ 238850 h 453372"/>
                <a:gd name="connsiteX3" fmla="*/ 396480 w 409141"/>
                <a:gd name="connsiteY3" fmla="*/ 0 h 453372"/>
                <a:gd name="connsiteX4" fmla="*/ 0 w 409141"/>
                <a:gd name="connsiteY4" fmla="*/ 29635 h 453372"/>
                <a:gd name="connsiteX5" fmla="*/ 17637 w 409141"/>
                <a:gd name="connsiteY5" fmla="*/ 268485 h 453372"/>
                <a:gd name="connsiteX6" fmla="*/ 246701 w 409141"/>
                <a:gd name="connsiteY6" fmla="*/ 455031 h 453372"/>
                <a:gd name="connsiteX7" fmla="*/ 246701 w 409141"/>
                <a:gd name="connsiteY7" fmla="*/ 455031 h 453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141" h="453372">
                  <a:moveTo>
                    <a:pt x="246701" y="455031"/>
                  </a:moveTo>
                  <a:lnTo>
                    <a:pt x="246701" y="455031"/>
                  </a:lnTo>
                  <a:cubicBezTo>
                    <a:pt x="347162" y="446296"/>
                    <a:pt x="421139" y="339974"/>
                    <a:pt x="414117" y="238850"/>
                  </a:cubicBezTo>
                  <a:cubicBezTo>
                    <a:pt x="396480" y="0"/>
                    <a:pt x="396480" y="0"/>
                    <a:pt x="396480" y="0"/>
                  </a:cubicBezTo>
                  <a:cubicBezTo>
                    <a:pt x="0" y="29635"/>
                    <a:pt x="0" y="29635"/>
                    <a:pt x="0" y="29635"/>
                  </a:cubicBezTo>
                  <a:cubicBezTo>
                    <a:pt x="17637" y="268485"/>
                    <a:pt x="17637" y="268485"/>
                    <a:pt x="17637" y="268485"/>
                  </a:cubicBezTo>
                  <a:cubicBezTo>
                    <a:pt x="26484" y="395761"/>
                    <a:pt x="146296" y="461998"/>
                    <a:pt x="246701" y="455031"/>
                  </a:cubicBezTo>
                  <a:lnTo>
                    <a:pt x="246701" y="455031"/>
                  </a:lnTo>
                  <a:close/>
                </a:path>
              </a:pathLst>
            </a:custGeom>
            <a:solidFill>
              <a:srgbClr val="83513B"/>
            </a:solidFill>
            <a:ln w="5479" cap="flat">
              <a:noFill/>
              <a:prstDash val="solid"/>
              <a:miter/>
            </a:ln>
          </p:spPr>
          <p:txBody>
            <a:bodyPr rtlCol="0" anchor="ctr"/>
            <a:lstStyle/>
            <a:p>
              <a:endParaRPr lang="en-US" dirty="0"/>
            </a:p>
          </p:txBody>
        </p:sp>
        <p:sp>
          <p:nvSpPr>
            <p:cNvPr id="1621" name="Freeform: Shape 1620">
              <a:extLst>
                <a:ext uri="{FF2B5EF4-FFF2-40B4-BE49-F238E27FC236}">
                  <a16:creationId xmlns:a16="http://schemas.microsoft.com/office/drawing/2014/main" id="{F11919E6-F183-40DD-8A26-8D00D6F80AB4}"/>
                </a:ext>
              </a:extLst>
            </p:cNvPr>
            <p:cNvSpPr/>
            <p:nvPr/>
          </p:nvSpPr>
          <p:spPr>
            <a:xfrm>
              <a:off x="6345257" y="3752626"/>
              <a:ext cx="199042" cy="293034"/>
            </a:xfrm>
            <a:custGeom>
              <a:avLst/>
              <a:gdLst>
                <a:gd name="connsiteX0" fmla="*/ 68282 w 199041"/>
                <a:gd name="connsiteY0" fmla="*/ 146074 h 293033"/>
                <a:gd name="connsiteX1" fmla="*/ 79396 w 199041"/>
                <a:gd name="connsiteY1" fmla="*/ 132694 h 293033"/>
                <a:gd name="connsiteX2" fmla="*/ 74641 w 199041"/>
                <a:gd name="connsiteY2" fmla="*/ 123738 h 293033"/>
                <a:gd name="connsiteX3" fmla="*/ 49208 w 199041"/>
                <a:gd name="connsiteY3" fmla="*/ 64136 h 293033"/>
                <a:gd name="connsiteX4" fmla="*/ 47604 w 199041"/>
                <a:gd name="connsiteY4" fmla="*/ 53686 h 293033"/>
                <a:gd name="connsiteX5" fmla="*/ 85754 w 199041"/>
                <a:gd name="connsiteY5" fmla="*/ 7464 h 293033"/>
                <a:gd name="connsiteX6" fmla="*/ 192241 w 199041"/>
                <a:gd name="connsiteY6" fmla="*/ 0 h 293033"/>
                <a:gd name="connsiteX7" fmla="*/ 193844 w 199041"/>
                <a:gd name="connsiteY7" fmla="*/ 29801 h 293033"/>
                <a:gd name="connsiteX8" fmla="*/ 198599 w 199041"/>
                <a:gd name="connsiteY8" fmla="*/ 89403 h 293033"/>
                <a:gd name="connsiteX9" fmla="*/ 201806 w 199041"/>
                <a:gd name="connsiteY9" fmla="*/ 120697 h 293033"/>
                <a:gd name="connsiteX10" fmla="*/ 101235 w 199041"/>
                <a:gd name="connsiteY10" fmla="*/ 293199 h 293033"/>
                <a:gd name="connsiteX11" fmla="*/ 60376 w 199041"/>
                <a:gd name="connsiteY11" fmla="*/ 193734 h 293033"/>
                <a:gd name="connsiteX12" fmla="*/ 34943 w 199041"/>
                <a:gd name="connsiteY12" fmla="*/ 168356 h 293033"/>
                <a:gd name="connsiteX13" fmla="*/ 0 w 199041"/>
                <a:gd name="connsiteY13" fmla="*/ 150498 h 293033"/>
                <a:gd name="connsiteX14" fmla="*/ 68282 w 199041"/>
                <a:gd name="connsiteY14" fmla="*/ 146074 h 293033"/>
                <a:gd name="connsiteX15" fmla="*/ 68282 w 199041"/>
                <a:gd name="connsiteY15" fmla="*/ 146074 h 293033"/>
                <a:gd name="connsiteX16" fmla="*/ 68282 w 199041"/>
                <a:gd name="connsiteY16" fmla="*/ 146074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9041" h="293033">
                  <a:moveTo>
                    <a:pt x="68282" y="146074"/>
                  </a:moveTo>
                  <a:cubicBezTo>
                    <a:pt x="76244" y="146074"/>
                    <a:pt x="80999" y="140103"/>
                    <a:pt x="79396" y="132694"/>
                  </a:cubicBezTo>
                  <a:cubicBezTo>
                    <a:pt x="79396" y="129709"/>
                    <a:pt x="77792" y="126723"/>
                    <a:pt x="74641" y="123738"/>
                  </a:cubicBezTo>
                  <a:cubicBezTo>
                    <a:pt x="63528" y="105824"/>
                    <a:pt x="53962" y="84980"/>
                    <a:pt x="49208" y="64136"/>
                  </a:cubicBezTo>
                  <a:cubicBezTo>
                    <a:pt x="48655" y="60652"/>
                    <a:pt x="48157" y="57169"/>
                    <a:pt x="47604" y="53686"/>
                  </a:cubicBezTo>
                  <a:cubicBezTo>
                    <a:pt x="42849" y="31294"/>
                    <a:pt x="60321" y="10450"/>
                    <a:pt x="85754" y="7464"/>
                  </a:cubicBezTo>
                  <a:lnTo>
                    <a:pt x="192241" y="0"/>
                  </a:lnTo>
                  <a:lnTo>
                    <a:pt x="193844" y="29801"/>
                  </a:lnTo>
                  <a:cubicBezTo>
                    <a:pt x="195448" y="49650"/>
                    <a:pt x="196996" y="69554"/>
                    <a:pt x="198599" y="89403"/>
                  </a:cubicBezTo>
                  <a:cubicBezTo>
                    <a:pt x="201806" y="120697"/>
                    <a:pt x="201806" y="79451"/>
                    <a:pt x="201806" y="120697"/>
                  </a:cubicBezTo>
                  <a:cubicBezTo>
                    <a:pt x="201806" y="163712"/>
                    <a:pt x="167693" y="284408"/>
                    <a:pt x="101235" y="293199"/>
                  </a:cubicBezTo>
                  <a:cubicBezTo>
                    <a:pt x="87634" y="260026"/>
                    <a:pt x="71434" y="214523"/>
                    <a:pt x="60376" y="193734"/>
                  </a:cubicBezTo>
                  <a:cubicBezTo>
                    <a:pt x="49318" y="172945"/>
                    <a:pt x="46111" y="174327"/>
                    <a:pt x="34943" y="168356"/>
                  </a:cubicBezTo>
                  <a:lnTo>
                    <a:pt x="0" y="150498"/>
                  </a:lnTo>
                  <a:lnTo>
                    <a:pt x="68282" y="146074"/>
                  </a:lnTo>
                  <a:lnTo>
                    <a:pt x="68282" y="146074"/>
                  </a:lnTo>
                  <a:lnTo>
                    <a:pt x="68282" y="146074"/>
                  </a:lnTo>
                  <a:close/>
                </a:path>
              </a:pathLst>
            </a:custGeom>
            <a:solidFill>
              <a:srgbClr val="995D45"/>
            </a:solidFill>
            <a:ln w="5479" cap="flat">
              <a:noFill/>
              <a:prstDash val="solid"/>
              <a:miter/>
            </a:ln>
          </p:spPr>
          <p:txBody>
            <a:bodyPr rtlCol="0" anchor="ctr"/>
            <a:lstStyle/>
            <a:p>
              <a:endParaRPr lang="en-US" dirty="0"/>
            </a:p>
          </p:txBody>
        </p:sp>
        <p:sp>
          <p:nvSpPr>
            <p:cNvPr id="1622" name="Freeform: Shape 1621">
              <a:extLst>
                <a:ext uri="{FF2B5EF4-FFF2-40B4-BE49-F238E27FC236}">
                  <a16:creationId xmlns:a16="http://schemas.microsoft.com/office/drawing/2014/main" id="{6904E028-10E6-48A1-8FDE-8623B4238A4C}"/>
                </a:ext>
              </a:extLst>
            </p:cNvPr>
            <p:cNvSpPr/>
            <p:nvPr/>
          </p:nvSpPr>
          <p:spPr>
            <a:xfrm>
              <a:off x="6301358" y="3939283"/>
              <a:ext cx="154810" cy="66347"/>
            </a:xfrm>
            <a:custGeom>
              <a:avLst/>
              <a:gdLst>
                <a:gd name="connsiteX0" fmla="*/ 0 w 154810"/>
                <a:gd name="connsiteY0" fmla="*/ 12440 h 66347"/>
                <a:gd name="connsiteX1" fmla="*/ 84206 w 154810"/>
                <a:gd name="connsiteY1" fmla="*/ 69278 h 66347"/>
                <a:gd name="connsiteX2" fmla="*/ 157906 w 154810"/>
                <a:gd name="connsiteY2" fmla="*/ 0 h 66347"/>
                <a:gd name="connsiteX3" fmla="*/ 0 w 154810"/>
                <a:gd name="connsiteY3" fmla="*/ 12440 h 66347"/>
                <a:gd name="connsiteX4" fmla="*/ 0 w 154810"/>
                <a:gd name="connsiteY4" fmla="*/ 12440 h 66347"/>
                <a:gd name="connsiteX5" fmla="*/ 0 w 154810"/>
                <a:gd name="connsiteY5" fmla="*/ 12440 h 66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0" h="66347">
                  <a:moveTo>
                    <a:pt x="0" y="12440"/>
                  </a:moveTo>
                  <a:cubicBezTo>
                    <a:pt x="19296" y="47991"/>
                    <a:pt x="50866" y="71102"/>
                    <a:pt x="84206" y="69278"/>
                  </a:cubicBezTo>
                  <a:cubicBezTo>
                    <a:pt x="117545" y="65739"/>
                    <a:pt x="145632" y="39090"/>
                    <a:pt x="157906" y="0"/>
                  </a:cubicBezTo>
                  <a:lnTo>
                    <a:pt x="0" y="12440"/>
                  </a:lnTo>
                  <a:lnTo>
                    <a:pt x="0" y="12440"/>
                  </a:lnTo>
                  <a:lnTo>
                    <a:pt x="0" y="12440"/>
                  </a:lnTo>
                  <a:close/>
                </a:path>
              </a:pathLst>
            </a:custGeom>
            <a:solidFill>
              <a:srgbClr val="EF4D5A"/>
            </a:solidFill>
            <a:ln w="5479" cap="flat">
              <a:noFill/>
              <a:prstDash val="solid"/>
              <a:miter/>
            </a:ln>
          </p:spPr>
          <p:txBody>
            <a:bodyPr rtlCol="0" anchor="ctr"/>
            <a:lstStyle/>
            <a:p>
              <a:endParaRPr lang="en-US" dirty="0"/>
            </a:p>
          </p:txBody>
        </p:sp>
        <p:sp>
          <p:nvSpPr>
            <p:cNvPr id="1623" name="Freeform: Shape 1622">
              <a:extLst>
                <a:ext uri="{FF2B5EF4-FFF2-40B4-BE49-F238E27FC236}">
                  <a16:creationId xmlns:a16="http://schemas.microsoft.com/office/drawing/2014/main" id="{A9D376C6-FA59-4A72-999B-AFBE103BA8C3}"/>
                </a:ext>
              </a:extLst>
            </p:cNvPr>
            <p:cNvSpPr/>
            <p:nvPr/>
          </p:nvSpPr>
          <p:spPr>
            <a:xfrm>
              <a:off x="6301358" y="3939228"/>
              <a:ext cx="154810" cy="55289"/>
            </a:xfrm>
            <a:custGeom>
              <a:avLst/>
              <a:gdLst>
                <a:gd name="connsiteX0" fmla="*/ 0 w 154810"/>
                <a:gd name="connsiteY0" fmla="*/ 13656 h 55289"/>
                <a:gd name="connsiteX1" fmla="*/ 82492 w 154810"/>
                <a:gd name="connsiteY1" fmla="*/ 58330 h 55289"/>
                <a:gd name="connsiteX2" fmla="*/ 157962 w 154810"/>
                <a:gd name="connsiteY2" fmla="*/ 0 h 55289"/>
                <a:gd name="connsiteX3" fmla="*/ 0 w 154810"/>
                <a:gd name="connsiteY3" fmla="*/ 13656 h 55289"/>
                <a:gd name="connsiteX4" fmla="*/ 0 w 154810"/>
                <a:gd name="connsiteY4" fmla="*/ 13656 h 55289"/>
                <a:gd name="connsiteX5" fmla="*/ 0 w 154810"/>
                <a:gd name="connsiteY5" fmla="*/ 13656 h 55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0" h="55289">
                  <a:moveTo>
                    <a:pt x="0" y="13656"/>
                  </a:moveTo>
                  <a:cubicBezTo>
                    <a:pt x="19296" y="52525"/>
                    <a:pt x="49152" y="62256"/>
                    <a:pt x="82492" y="58330"/>
                  </a:cubicBezTo>
                  <a:cubicBezTo>
                    <a:pt x="117600" y="56395"/>
                    <a:pt x="145687" y="42794"/>
                    <a:pt x="157962" y="0"/>
                  </a:cubicBezTo>
                  <a:lnTo>
                    <a:pt x="0" y="13656"/>
                  </a:lnTo>
                  <a:lnTo>
                    <a:pt x="0" y="13656"/>
                  </a:lnTo>
                  <a:lnTo>
                    <a:pt x="0" y="13656"/>
                  </a:lnTo>
                  <a:close/>
                </a:path>
              </a:pathLst>
            </a:custGeom>
            <a:solidFill>
              <a:srgbClr val="FFFFFF"/>
            </a:solidFill>
            <a:ln w="5479" cap="flat">
              <a:noFill/>
              <a:prstDash val="solid"/>
              <a:miter/>
            </a:ln>
          </p:spPr>
          <p:txBody>
            <a:bodyPr rtlCol="0" anchor="ctr"/>
            <a:lstStyle/>
            <a:p>
              <a:endParaRPr lang="en-US" dirty="0"/>
            </a:p>
          </p:txBody>
        </p:sp>
        <p:sp>
          <p:nvSpPr>
            <p:cNvPr id="1624" name="Freeform: Shape 1623">
              <a:extLst>
                <a:ext uri="{FF2B5EF4-FFF2-40B4-BE49-F238E27FC236}">
                  <a16:creationId xmlns:a16="http://schemas.microsoft.com/office/drawing/2014/main" id="{953C4EBD-F72A-492E-92E3-8248311000D9}"/>
                </a:ext>
              </a:extLst>
            </p:cNvPr>
            <p:cNvSpPr/>
            <p:nvPr/>
          </p:nvSpPr>
          <p:spPr>
            <a:xfrm>
              <a:off x="6241381" y="3789920"/>
              <a:ext cx="38703" cy="38703"/>
            </a:xfrm>
            <a:custGeom>
              <a:avLst/>
              <a:gdLst>
                <a:gd name="connsiteX0" fmla="*/ 40736 w 38702"/>
                <a:gd name="connsiteY0" fmla="*/ 21479 h 38702"/>
                <a:gd name="connsiteX1" fmla="*/ 18786 w 38702"/>
                <a:gd name="connsiteY1" fmla="*/ 248 h 38702"/>
                <a:gd name="connsiteX2" fmla="*/ 209 w 38702"/>
                <a:gd name="connsiteY2" fmla="*/ 25349 h 38702"/>
                <a:gd name="connsiteX3" fmla="*/ 8668 w 38702"/>
                <a:gd name="connsiteY3" fmla="*/ 42710 h 38702"/>
                <a:gd name="connsiteX4" fmla="*/ 35649 w 38702"/>
                <a:gd name="connsiteY4" fmla="*/ 40775 h 38702"/>
                <a:gd name="connsiteX5" fmla="*/ 40736 w 38702"/>
                <a:gd name="connsiteY5" fmla="*/ 21479 h 38702"/>
                <a:gd name="connsiteX6" fmla="*/ 40736 w 38702"/>
                <a:gd name="connsiteY6" fmla="*/ 21479 h 3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02" h="38702">
                  <a:moveTo>
                    <a:pt x="40736" y="21479"/>
                  </a:moveTo>
                  <a:cubicBezTo>
                    <a:pt x="40736" y="7933"/>
                    <a:pt x="30618" y="-1687"/>
                    <a:pt x="18786" y="248"/>
                  </a:cubicBezTo>
                  <a:cubicBezTo>
                    <a:pt x="6954" y="248"/>
                    <a:pt x="-1450" y="11858"/>
                    <a:pt x="209" y="25349"/>
                  </a:cubicBezTo>
                  <a:cubicBezTo>
                    <a:pt x="209" y="33090"/>
                    <a:pt x="3582" y="38895"/>
                    <a:pt x="8668" y="42710"/>
                  </a:cubicBezTo>
                  <a:cubicBezTo>
                    <a:pt x="35649" y="40775"/>
                    <a:pt x="35649" y="40775"/>
                    <a:pt x="35649" y="40775"/>
                  </a:cubicBezTo>
                  <a:cubicBezTo>
                    <a:pt x="39022" y="35025"/>
                    <a:pt x="42395" y="29219"/>
                    <a:pt x="40736" y="21479"/>
                  </a:cubicBezTo>
                  <a:lnTo>
                    <a:pt x="40736" y="21479"/>
                  </a:lnTo>
                  <a:close/>
                </a:path>
              </a:pathLst>
            </a:custGeom>
            <a:solidFill>
              <a:srgbClr val="000000"/>
            </a:solidFill>
            <a:ln w="5479" cap="flat">
              <a:noFill/>
              <a:prstDash val="solid"/>
              <a:miter/>
            </a:ln>
          </p:spPr>
          <p:txBody>
            <a:bodyPr rtlCol="0" anchor="ctr"/>
            <a:lstStyle/>
            <a:p>
              <a:endParaRPr lang="en-US" dirty="0"/>
            </a:p>
          </p:txBody>
        </p:sp>
        <p:sp>
          <p:nvSpPr>
            <p:cNvPr id="1625" name="Freeform: Shape 1624">
              <a:extLst>
                <a:ext uri="{FF2B5EF4-FFF2-40B4-BE49-F238E27FC236}">
                  <a16:creationId xmlns:a16="http://schemas.microsoft.com/office/drawing/2014/main" id="{0F5801C2-2729-4B8B-8850-F6294CAB165C}"/>
                </a:ext>
              </a:extLst>
            </p:cNvPr>
            <p:cNvSpPr/>
            <p:nvPr/>
          </p:nvSpPr>
          <p:spPr>
            <a:xfrm>
              <a:off x="6450528" y="3772172"/>
              <a:ext cx="49760" cy="38703"/>
            </a:xfrm>
            <a:custGeom>
              <a:avLst/>
              <a:gdLst>
                <a:gd name="connsiteX0" fmla="*/ 52635 w 49760"/>
                <a:gd name="connsiteY0" fmla="*/ 21479 h 38702"/>
                <a:gd name="connsiteX1" fmla="*/ 23166 w 49760"/>
                <a:gd name="connsiteY1" fmla="*/ 248 h 38702"/>
                <a:gd name="connsiteX2" fmla="*/ 0 w 49760"/>
                <a:gd name="connsiteY2" fmla="*/ 25349 h 38702"/>
                <a:gd name="connsiteX3" fmla="*/ 10505 w 49760"/>
                <a:gd name="connsiteY3" fmla="*/ 42710 h 38702"/>
                <a:gd name="connsiteX4" fmla="*/ 44176 w 49760"/>
                <a:gd name="connsiteY4" fmla="*/ 38840 h 38702"/>
                <a:gd name="connsiteX5" fmla="*/ 52635 w 49760"/>
                <a:gd name="connsiteY5" fmla="*/ 21479 h 38702"/>
                <a:gd name="connsiteX6" fmla="*/ 52635 w 49760"/>
                <a:gd name="connsiteY6" fmla="*/ 21479 h 3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760" h="38702">
                  <a:moveTo>
                    <a:pt x="52635" y="21479"/>
                  </a:moveTo>
                  <a:cubicBezTo>
                    <a:pt x="50535" y="7933"/>
                    <a:pt x="37873" y="-1687"/>
                    <a:pt x="23166" y="248"/>
                  </a:cubicBezTo>
                  <a:cubicBezTo>
                    <a:pt x="10505" y="248"/>
                    <a:pt x="0" y="11858"/>
                    <a:pt x="0" y="25349"/>
                  </a:cubicBezTo>
                  <a:cubicBezTo>
                    <a:pt x="0" y="31154"/>
                    <a:pt x="4202" y="38895"/>
                    <a:pt x="10505" y="42710"/>
                  </a:cubicBezTo>
                  <a:cubicBezTo>
                    <a:pt x="44176" y="38840"/>
                    <a:pt x="44176" y="38840"/>
                    <a:pt x="44176" y="38840"/>
                  </a:cubicBezTo>
                  <a:cubicBezTo>
                    <a:pt x="50479" y="34969"/>
                    <a:pt x="52635" y="29164"/>
                    <a:pt x="52635" y="21479"/>
                  </a:cubicBezTo>
                  <a:lnTo>
                    <a:pt x="52635" y="21479"/>
                  </a:lnTo>
                  <a:close/>
                </a:path>
              </a:pathLst>
            </a:custGeom>
            <a:solidFill>
              <a:srgbClr val="000000"/>
            </a:solidFill>
            <a:ln w="5479" cap="flat">
              <a:noFill/>
              <a:prstDash val="solid"/>
              <a:miter/>
            </a:ln>
          </p:spPr>
          <p:txBody>
            <a:bodyPr rtlCol="0" anchor="ctr"/>
            <a:lstStyle/>
            <a:p>
              <a:endParaRPr lang="en-US" dirty="0"/>
            </a:p>
          </p:txBody>
        </p:sp>
        <p:sp>
          <p:nvSpPr>
            <p:cNvPr id="1626" name="Freeform: Shape 1625">
              <a:extLst>
                <a:ext uri="{FF2B5EF4-FFF2-40B4-BE49-F238E27FC236}">
                  <a16:creationId xmlns:a16="http://schemas.microsoft.com/office/drawing/2014/main" id="{7014FC5C-ABCA-4A9C-9D90-87A868112FCC}"/>
                </a:ext>
              </a:extLst>
            </p:cNvPr>
            <p:cNvSpPr/>
            <p:nvPr/>
          </p:nvSpPr>
          <p:spPr>
            <a:xfrm>
              <a:off x="6048517" y="3743780"/>
              <a:ext cx="38703" cy="110579"/>
            </a:xfrm>
            <a:custGeom>
              <a:avLst/>
              <a:gdLst>
                <a:gd name="connsiteX0" fmla="*/ 31739 w 38702"/>
                <a:gd name="connsiteY0" fmla="*/ 0 h 110578"/>
                <a:gd name="connsiteX1" fmla="*/ 169 w 38702"/>
                <a:gd name="connsiteY1" fmla="*/ 60265 h 110578"/>
                <a:gd name="connsiteX2" fmla="*/ 42299 w 38702"/>
                <a:gd name="connsiteY2" fmla="*/ 115499 h 110578"/>
                <a:gd name="connsiteX3" fmla="*/ 31739 w 38702"/>
                <a:gd name="connsiteY3" fmla="*/ 0 h 110578"/>
                <a:gd name="connsiteX4" fmla="*/ 31739 w 38702"/>
                <a:gd name="connsiteY4" fmla="*/ 0 h 110578"/>
                <a:gd name="connsiteX5" fmla="*/ 31739 w 38702"/>
                <a:gd name="connsiteY5" fmla="*/ 0 h 11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02" h="110578">
                  <a:moveTo>
                    <a:pt x="31739" y="0"/>
                  </a:moveTo>
                  <a:cubicBezTo>
                    <a:pt x="10673" y="11721"/>
                    <a:pt x="-1601" y="35164"/>
                    <a:pt x="169" y="60265"/>
                  </a:cubicBezTo>
                  <a:cubicBezTo>
                    <a:pt x="1938" y="85367"/>
                    <a:pt x="19464" y="107151"/>
                    <a:pt x="42299" y="115499"/>
                  </a:cubicBezTo>
                  <a:lnTo>
                    <a:pt x="31739" y="0"/>
                  </a:lnTo>
                  <a:lnTo>
                    <a:pt x="31739" y="0"/>
                  </a:lnTo>
                  <a:lnTo>
                    <a:pt x="31739" y="0"/>
                  </a:lnTo>
                  <a:close/>
                </a:path>
              </a:pathLst>
            </a:custGeom>
            <a:solidFill>
              <a:srgbClr val="83513B"/>
            </a:solidFill>
            <a:ln w="5479" cap="flat">
              <a:noFill/>
              <a:prstDash val="solid"/>
              <a:miter/>
            </a:ln>
          </p:spPr>
          <p:txBody>
            <a:bodyPr rtlCol="0" anchor="ctr"/>
            <a:lstStyle/>
            <a:p>
              <a:endParaRPr lang="en-US" dirty="0"/>
            </a:p>
          </p:txBody>
        </p:sp>
        <p:sp>
          <p:nvSpPr>
            <p:cNvPr id="1627" name="Freeform: Shape 1626">
              <a:extLst>
                <a:ext uri="{FF2B5EF4-FFF2-40B4-BE49-F238E27FC236}">
                  <a16:creationId xmlns:a16="http://schemas.microsoft.com/office/drawing/2014/main" id="{028593EB-2E1A-4A26-80A1-5F0E19E5F95E}"/>
                </a:ext>
              </a:extLst>
            </p:cNvPr>
            <p:cNvSpPr/>
            <p:nvPr/>
          </p:nvSpPr>
          <p:spPr>
            <a:xfrm>
              <a:off x="6056824" y="3832630"/>
              <a:ext cx="33174" cy="38703"/>
            </a:xfrm>
            <a:custGeom>
              <a:avLst/>
              <a:gdLst>
                <a:gd name="connsiteX0" fmla="*/ 431 w 33173"/>
                <a:gd name="connsiteY0" fmla="*/ 23940 h 38702"/>
                <a:gd name="connsiteX1" fmla="*/ 21165 w 33173"/>
                <a:gd name="connsiteY1" fmla="*/ 42739 h 38702"/>
                <a:gd name="connsiteX2" fmla="*/ 33937 w 33173"/>
                <a:gd name="connsiteY2" fmla="*/ 35883 h 38702"/>
                <a:gd name="connsiteX3" fmla="*/ 32333 w 33173"/>
                <a:gd name="connsiteY3" fmla="*/ 5142 h 38702"/>
                <a:gd name="connsiteX4" fmla="*/ 17958 w 33173"/>
                <a:gd name="connsiteY4" fmla="*/ 0 h 38702"/>
                <a:gd name="connsiteX5" fmla="*/ 5186 w 33173"/>
                <a:gd name="connsiteY5" fmla="*/ 6856 h 38702"/>
                <a:gd name="connsiteX6" fmla="*/ 431 w 33173"/>
                <a:gd name="connsiteY6" fmla="*/ 23940 h 38702"/>
                <a:gd name="connsiteX7" fmla="*/ 431 w 33173"/>
                <a:gd name="connsiteY7" fmla="*/ 23940 h 3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73" h="38702">
                  <a:moveTo>
                    <a:pt x="431" y="23940"/>
                  </a:moveTo>
                  <a:cubicBezTo>
                    <a:pt x="431" y="34169"/>
                    <a:pt x="9996" y="44453"/>
                    <a:pt x="21165" y="42739"/>
                  </a:cubicBezTo>
                  <a:cubicBezTo>
                    <a:pt x="25975" y="42739"/>
                    <a:pt x="30730" y="39311"/>
                    <a:pt x="33937" y="35883"/>
                  </a:cubicBezTo>
                  <a:cubicBezTo>
                    <a:pt x="32333" y="5142"/>
                    <a:pt x="32333" y="5142"/>
                    <a:pt x="32333" y="5142"/>
                  </a:cubicBezTo>
                  <a:cubicBezTo>
                    <a:pt x="27523" y="1714"/>
                    <a:pt x="22768" y="0"/>
                    <a:pt x="17958" y="0"/>
                  </a:cubicBezTo>
                  <a:cubicBezTo>
                    <a:pt x="13148" y="0"/>
                    <a:pt x="8393" y="3428"/>
                    <a:pt x="5186" y="6856"/>
                  </a:cubicBezTo>
                  <a:cubicBezTo>
                    <a:pt x="1980" y="10284"/>
                    <a:pt x="-1172" y="17084"/>
                    <a:pt x="431" y="23940"/>
                  </a:cubicBezTo>
                  <a:lnTo>
                    <a:pt x="431" y="23940"/>
                  </a:lnTo>
                  <a:close/>
                </a:path>
              </a:pathLst>
            </a:custGeom>
            <a:solidFill>
              <a:srgbClr val="FCEE1D"/>
            </a:solidFill>
            <a:ln w="5479" cap="flat">
              <a:noFill/>
              <a:prstDash val="solid"/>
              <a:miter/>
            </a:ln>
          </p:spPr>
          <p:txBody>
            <a:bodyPr rtlCol="0" anchor="ctr"/>
            <a:lstStyle/>
            <a:p>
              <a:endParaRPr lang="en-US" dirty="0"/>
            </a:p>
          </p:txBody>
        </p:sp>
        <p:sp>
          <p:nvSpPr>
            <p:cNvPr id="1628" name="Freeform: Shape 1627">
              <a:extLst>
                <a:ext uri="{FF2B5EF4-FFF2-40B4-BE49-F238E27FC236}">
                  <a16:creationId xmlns:a16="http://schemas.microsoft.com/office/drawing/2014/main" id="{D344CBAA-27F8-4E86-865D-7931759EC3FF}"/>
                </a:ext>
              </a:extLst>
            </p:cNvPr>
            <p:cNvSpPr/>
            <p:nvPr/>
          </p:nvSpPr>
          <p:spPr>
            <a:xfrm>
              <a:off x="6125869" y="3592785"/>
              <a:ext cx="315149" cy="182455"/>
            </a:xfrm>
            <a:custGeom>
              <a:avLst/>
              <a:gdLst>
                <a:gd name="connsiteX0" fmla="*/ 315868 w 315149"/>
                <a:gd name="connsiteY0" fmla="*/ 0 h 182454"/>
                <a:gd name="connsiteX1" fmla="*/ 24161 w 315149"/>
                <a:gd name="connsiteY1" fmla="*/ 186602 h 182454"/>
                <a:gd name="connsiteX2" fmla="*/ 0 w 315149"/>
                <a:gd name="connsiteY2" fmla="*/ 25378 h 182454"/>
                <a:gd name="connsiteX3" fmla="*/ 315868 w 315149"/>
                <a:gd name="connsiteY3" fmla="*/ 0 h 182454"/>
                <a:gd name="connsiteX4" fmla="*/ 315868 w 315149"/>
                <a:gd name="connsiteY4" fmla="*/ 0 h 182454"/>
                <a:gd name="connsiteX5" fmla="*/ 315868 w 315149"/>
                <a:gd name="connsiteY5" fmla="*/ 0 h 1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149" h="182454">
                  <a:moveTo>
                    <a:pt x="315868" y="0"/>
                  </a:moveTo>
                  <a:cubicBezTo>
                    <a:pt x="315868" y="0"/>
                    <a:pt x="246812" y="172060"/>
                    <a:pt x="24161" y="186602"/>
                  </a:cubicBezTo>
                  <a:cubicBezTo>
                    <a:pt x="0" y="25378"/>
                    <a:pt x="0" y="25378"/>
                    <a:pt x="0" y="25378"/>
                  </a:cubicBezTo>
                  <a:lnTo>
                    <a:pt x="315868" y="0"/>
                  </a:lnTo>
                  <a:lnTo>
                    <a:pt x="315868" y="0"/>
                  </a:lnTo>
                  <a:lnTo>
                    <a:pt x="315868" y="0"/>
                  </a:lnTo>
                  <a:close/>
                </a:path>
              </a:pathLst>
            </a:custGeom>
            <a:solidFill>
              <a:srgbClr val="191919"/>
            </a:solidFill>
            <a:ln w="5479" cap="flat">
              <a:noFill/>
              <a:prstDash val="solid"/>
              <a:miter/>
            </a:ln>
          </p:spPr>
          <p:txBody>
            <a:bodyPr rtlCol="0" anchor="ctr"/>
            <a:lstStyle/>
            <a:p>
              <a:endParaRPr lang="en-US" dirty="0"/>
            </a:p>
          </p:txBody>
        </p:sp>
        <p:sp>
          <p:nvSpPr>
            <p:cNvPr id="1629" name="Freeform: Shape 1628">
              <a:extLst>
                <a:ext uri="{FF2B5EF4-FFF2-40B4-BE49-F238E27FC236}">
                  <a16:creationId xmlns:a16="http://schemas.microsoft.com/office/drawing/2014/main" id="{39C4F556-8A00-4BBE-A427-030F4D2D339D}"/>
                </a:ext>
              </a:extLst>
            </p:cNvPr>
            <p:cNvSpPr/>
            <p:nvPr/>
          </p:nvSpPr>
          <p:spPr>
            <a:xfrm>
              <a:off x="6406531" y="3592785"/>
              <a:ext cx="138223" cy="149281"/>
            </a:xfrm>
            <a:custGeom>
              <a:avLst/>
              <a:gdLst>
                <a:gd name="connsiteX0" fmla="*/ 98 w 138223"/>
                <a:gd name="connsiteY0" fmla="*/ 8459 h 149281"/>
                <a:gd name="connsiteX1" fmla="*/ 101885 w 138223"/>
                <a:gd name="connsiteY1" fmla="*/ 0 h 149281"/>
                <a:gd name="connsiteX2" fmla="*/ 126434 w 138223"/>
                <a:gd name="connsiteY2" fmla="*/ 25433 h 149281"/>
                <a:gd name="connsiteX3" fmla="*/ 131686 w 138223"/>
                <a:gd name="connsiteY3" fmla="*/ 47494 h 149281"/>
                <a:gd name="connsiteX4" fmla="*/ 140477 w 138223"/>
                <a:gd name="connsiteY4" fmla="*/ 150995 h 149281"/>
                <a:gd name="connsiteX5" fmla="*/ 98 w 138223"/>
                <a:gd name="connsiteY5" fmla="*/ 8459 h 149281"/>
                <a:gd name="connsiteX6" fmla="*/ 98 w 138223"/>
                <a:gd name="connsiteY6" fmla="*/ 8459 h 149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23" h="149281">
                  <a:moveTo>
                    <a:pt x="98" y="8459"/>
                  </a:moveTo>
                  <a:cubicBezTo>
                    <a:pt x="101885" y="0"/>
                    <a:pt x="101885" y="0"/>
                    <a:pt x="101885" y="0"/>
                  </a:cubicBezTo>
                  <a:cubicBezTo>
                    <a:pt x="126434" y="25433"/>
                    <a:pt x="126434" y="25433"/>
                    <a:pt x="126434" y="25433"/>
                  </a:cubicBezTo>
                  <a:cubicBezTo>
                    <a:pt x="131686" y="47494"/>
                    <a:pt x="131686" y="47494"/>
                    <a:pt x="131686" y="47494"/>
                  </a:cubicBezTo>
                  <a:cubicBezTo>
                    <a:pt x="140477" y="150995"/>
                    <a:pt x="140477" y="150995"/>
                    <a:pt x="140477" y="150995"/>
                  </a:cubicBezTo>
                  <a:cubicBezTo>
                    <a:pt x="-8693" y="112016"/>
                    <a:pt x="98" y="8459"/>
                    <a:pt x="98" y="8459"/>
                  </a:cubicBezTo>
                  <a:lnTo>
                    <a:pt x="98" y="8459"/>
                  </a:lnTo>
                  <a:close/>
                </a:path>
              </a:pathLst>
            </a:custGeom>
            <a:solidFill>
              <a:srgbClr val="191919"/>
            </a:solidFill>
            <a:ln w="5479" cap="flat">
              <a:noFill/>
              <a:prstDash val="solid"/>
              <a:miter/>
            </a:ln>
          </p:spPr>
          <p:txBody>
            <a:bodyPr rtlCol="0" anchor="ctr"/>
            <a:lstStyle/>
            <a:p>
              <a:endParaRPr lang="en-US" dirty="0"/>
            </a:p>
          </p:txBody>
        </p:sp>
        <p:sp>
          <p:nvSpPr>
            <p:cNvPr id="1630" name="Freeform: Shape 1629">
              <a:extLst>
                <a:ext uri="{FF2B5EF4-FFF2-40B4-BE49-F238E27FC236}">
                  <a16:creationId xmlns:a16="http://schemas.microsoft.com/office/drawing/2014/main" id="{3921EA05-8C29-4010-95C0-00D99EB99E55}"/>
                </a:ext>
              </a:extLst>
            </p:cNvPr>
            <p:cNvSpPr/>
            <p:nvPr/>
          </p:nvSpPr>
          <p:spPr>
            <a:xfrm>
              <a:off x="5897745" y="4134731"/>
              <a:ext cx="337265" cy="398083"/>
            </a:xfrm>
            <a:custGeom>
              <a:avLst/>
              <a:gdLst>
                <a:gd name="connsiteX0" fmla="*/ 185993 w 337265"/>
                <a:gd name="connsiteY0" fmla="*/ 0 h 398083"/>
                <a:gd name="connsiteX1" fmla="*/ 235146 w 337265"/>
                <a:gd name="connsiteY1" fmla="*/ 0 h 398083"/>
                <a:gd name="connsiteX2" fmla="*/ 342186 w 337265"/>
                <a:gd name="connsiteY2" fmla="*/ 164541 h 398083"/>
                <a:gd name="connsiteX3" fmla="*/ 307077 w 337265"/>
                <a:gd name="connsiteY3" fmla="*/ 366237 h 398083"/>
                <a:gd name="connsiteX4" fmla="*/ 131589 w 337265"/>
                <a:gd name="connsiteY4" fmla="*/ 366237 h 398083"/>
                <a:gd name="connsiteX5" fmla="*/ 131589 w 337265"/>
                <a:gd name="connsiteY5" fmla="*/ 399853 h 398083"/>
                <a:gd name="connsiteX6" fmla="*/ 0 w 337265"/>
                <a:gd name="connsiteY6" fmla="*/ 399853 h 398083"/>
                <a:gd name="connsiteX7" fmla="*/ 36878 w 337265"/>
                <a:gd name="connsiteY7" fmla="*/ 143310 h 398083"/>
                <a:gd name="connsiteX8" fmla="*/ 185993 w 337265"/>
                <a:gd name="connsiteY8" fmla="*/ 0 h 398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265" h="398083">
                  <a:moveTo>
                    <a:pt x="185993" y="0"/>
                  </a:moveTo>
                  <a:cubicBezTo>
                    <a:pt x="235146" y="0"/>
                    <a:pt x="235146" y="0"/>
                    <a:pt x="235146" y="0"/>
                  </a:cubicBezTo>
                  <a:cubicBezTo>
                    <a:pt x="236915" y="74309"/>
                    <a:pt x="278990" y="136233"/>
                    <a:pt x="342186" y="164541"/>
                  </a:cubicBezTo>
                  <a:cubicBezTo>
                    <a:pt x="307077" y="366237"/>
                    <a:pt x="307077" y="366237"/>
                    <a:pt x="307077" y="366237"/>
                  </a:cubicBezTo>
                  <a:cubicBezTo>
                    <a:pt x="131589" y="366237"/>
                    <a:pt x="131589" y="366237"/>
                    <a:pt x="131589" y="366237"/>
                  </a:cubicBezTo>
                  <a:cubicBezTo>
                    <a:pt x="131589" y="399853"/>
                    <a:pt x="131589" y="399853"/>
                    <a:pt x="131589" y="399853"/>
                  </a:cubicBezTo>
                  <a:cubicBezTo>
                    <a:pt x="0" y="399853"/>
                    <a:pt x="0" y="399853"/>
                    <a:pt x="0" y="399853"/>
                  </a:cubicBezTo>
                  <a:cubicBezTo>
                    <a:pt x="36878" y="143310"/>
                    <a:pt x="36878" y="143310"/>
                    <a:pt x="36878" y="143310"/>
                  </a:cubicBezTo>
                  <a:cubicBezTo>
                    <a:pt x="49097" y="67232"/>
                    <a:pt x="110523" y="8846"/>
                    <a:pt x="185993" y="0"/>
                  </a:cubicBezTo>
                </a:path>
              </a:pathLst>
            </a:custGeom>
            <a:solidFill>
              <a:srgbClr val="E2068C"/>
            </a:solidFill>
            <a:ln w="5479" cap="flat">
              <a:noFill/>
              <a:prstDash val="solid"/>
              <a:miter/>
            </a:ln>
          </p:spPr>
          <p:txBody>
            <a:bodyPr rtlCol="0" anchor="ctr"/>
            <a:lstStyle/>
            <a:p>
              <a:endParaRPr lang="en-US" dirty="0"/>
            </a:p>
          </p:txBody>
        </p:sp>
        <p:sp>
          <p:nvSpPr>
            <p:cNvPr id="1631" name="Freeform: Shape 1630">
              <a:extLst>
                <a:ext uri="{FF2B5EF4-FFF2-40B4-BE49-F238E27FC236}">
                  <a16:creationId xmlns:a16="http://schemas.microsoft.com/office/drawing/2014/main" id="{95080316-67D9-42FF-B239-4EC94AEB1428}"/>
                </a:ext>
              </a:extLst>
            </p:cNvPr>
            <p:cNvSpPr/>
            <p:nvPr/>
          </p:nvSpPr>
          <p:spPr>
            <a:xfrm>
              <a:off x="6134605" y="4134731"/>
              <a:ext cx="105050" cy="154810"/>
            </a:xfrm>
            <a:custGeom>
              <a:avLst/>
              <a:gdLst>
                <a:gd name="connsiteX0" fmla="*/ 0 w 105049"/>
                <a:gd name="connsiteY0" fmla="*/ 0 h 154810"/>
                <a:gd name="connsiteX1" fmla="*/ 1714 w 105049"/>
                <a:gd name="connsiteY1" fmla="*/ 0 h 154810"/>
                <a:gd name="connsiteX2" fmla="*/ 105271 w 105049"/>
                <a:gd name="connsiteY2" fmla="*/ 159952 h 154810"/>
                <a:gd name="connsiteX3" fmla="*/ 105271 w 105049"/>
                <a:gd name="connsiteY3" fmla="*/ 159952 h 154810"/>
                <a:gd name="connsiteX4" fmla="*/ 0 w 105049"/>
                <a:gd name="connsiteY4" fmla="*/ 0 h 154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049" h="154810">
                  <a:moveTo>
                    <a:pt x="0" y="0"/>
                  </a:moveTo>
                  <a:cubicBezTo>
                    <a:pt x="1714" y="0"/>
                    <a:pt x="1714" y="0"/>
                    <a:pt x="1714" y="0"/>
                  </a:cubicBezTo>
                  <a:cubicBezTo>
                    <a:pt x="1714" y="70494"/>
                    <a:pt x="44840" y="132418"/>
                    <a:pt x="105271" y="159952"/>
                  </a:cubicBezTo>
                  <a:lnTo>
                    <a:pt x="105271" y="159952"/>
                  </a:lnTo>
                  <a:cubicBezTo>
                    <a:pt x="43181" y="132418"/>
                    <a:pt x="1769" y="72208"/>
                    <a:pt x="0" y="0"/>
                  </a:cubicBezTo>
                </a:path>
              </a:pathLst>
            </a:custGeom>
            <a:solidFill>
              <a:srgbClr val="B08961"/>
            </a:solidFill>
            <a:ln w="5479" cap="flat">
              <a:noFill/>
              <a:prstDash val="solid"/>
              <a:miter/>
            </a:ln>
          </p:spPr>
          <p:txBody>
            <a:bodyPr rtlCol="0" anchor="ctr"/>
            <a:lstStyle/>
            <a:p>
              <a:endParaRPr lang="en-US" dirty="0"/>
            </a:p>
          </p:txBody>
        </p:sp>
        <p:grpSp>
          <p:nvGrpSpPr>
            <p:cNvPr id="10272" name="Graphic 5">
              <a:extLst>
                <a:ext uri="{FF2B5EF4-FFF2-40B4-BE49-F238E27FC236}">
                  <a16:creationId xmlns:a16="http://schemas.microsoft.com/office/drawing/2014/main" id="{1D247033-3905-48BF-B204-C89C96BB895C}"/>
                </a:ext>
              </a:extLst>
            </p:cNvPr>
            <p:cNvGrpSpPr/>
            <p:nvPr/>
          </p:nvGrpSpPr>
          <p:grpSpPr>
            <a:xfrm>
              <a:off x="6523777" y="3832550"/>
              <a:ext cx="254331" cy="696646"/>
              <a:chOff x="6523777" y="3832550"/>
              <a:chExt cx="254331" cy="696646"/>
            </a:xfrm>
            <a:solidFill>
              <a:schemeClr val="accent1"/>
            </a:solidFill>
          </p:grpSpPr>
          <p:sp>
            <p:nvSpPr>
              <p:cNvPr id="10273" name="Freeform: Shape 10272">
                <a:extLst>
                  <a:ext uri="{FF2B5EF4-FFF2-40B4-BE49-F238E27FC236}">
                    <a16:creationId xmlns:a16="http://schemas.microsoft.com/office/drawing/2014/main" id="{707DBB31-B609-4919-BE4B-F8B7ED0762D4}"/>
                  </a:ext>
                </a:extLst>
              </p:cNvPr>
              <p:cNvSpPr/>
              <p:nvPr/>
            </p:nvSpPr>
            <p:spPr>
              <a:xfrm>
                <a:off x="6523777" y="3832550"/>
                <a:ext cx="254331" cy="696646"/>
              </a:xfrm>
              <a:custGeom>
                <a:avLst/>
                <a:gdLst>
                  <a:gd name="connsiteX0" fmla="*/ 198720 w 254331"/>
                  <a:gd name="connsiteY0" fmla="*/ 701978 h 696645"/>
                  <a:gd name="connsiteX1" fmla="*/ 182354 w 254331"/>
                  <a:gd name="connsiteY1" fmla="*/ 411764 h 696645"/>
                  <a:gd name="connsiteX2" fmla="*/ 184953 w 254331"/>
                  <a:gd name="connsiteY2" fmla="*/ 353987 h 696645"/>
                  <a:gd name="connsiteX3" fmla="*/ 193412 w 254331"/>
                  <a:gd name="connsiteY3" fmla="*/ 303508 h 696645"/>
                  <a:gd name="connsiteX4" fmla="*/ 201539 w 254331"/>
                  <a:gd name="connsiteY4" fmla="*/ 251646 h 696645"/>
                  <a:gd name="connsiteX5" fmla="*/ 203917 w 254331"/>
                  <a:gd name="connsiteY5" fmla="*/ 207304 h 696645"/>
                  <a:gd name="connsiteX6" fmla="*/ 188325 w 254331"/>
                  <a:gd name="connsiteY6" fmla="*/ 162852 h 696645"/>
                  <a:gd name="connsiteX7" fmla="*/ 184013 w 254331"/>
                  <a:gd name="connsiteY7" fmla="*/ 127079 h 696645"/>
                  <a:gd name="connsiteX8" fmla="*/ 203530 w 254331"/>
                  <a:gd name="connsiteY8" fmla="*/ 88432 h 696645"/>
                  <a:gd name="connsiteX9" fmla="*/ 225756 w 254331"/>
                  <a:gd name="connsiteY9" fmla="*/ 54319 h 696645"/>
                  <a:gd name="connsiteX10" fmla="*/ 258432 w 254331"/>
                  <a:gd name="connsiteY10" fmla="*/ 9424 h 696645"/>
                  <a:gd name="connsiteX11" fmla="*/ 236150 w 254331"/>
                  <a:gd name="connsiteY11" fmla="*/ 3729 h 696645"/>
                  <a:gd name="connsiteX12" fmla="*/ 209943 w 254331"/>
                  <a:gd name="connsiteY12" fmla="*/ 25236 h 696645"/>
                  <a:gd name="connsiteX13" fmla="*/ 190260 w 254331"/>
                  <a:gd name="connsiteY13" fmla="*/ 42653 h 696645"/>
                  <a:gd name="connsiteX14" fmla="*/ 145697 w 254331"/>
                  <a:gd name="connsiteY14" fmla="*/ 103803 h 696645"/>
                  <a:gd name="connsiteX15" fmla="*/ 117610 w 254331"/>
                  <a:gd name="connsiteY15" fmla="*/ 138358 h 696645"/>
                  <a:gd name="connsiteX16" fmla="*/ 88086 w 254331"/>
                  <a:gd name="connsiteY16" fmla="*/ 130784 h 696645"/>
                  <a:gd name="connsiteX17" fmla="*/ 48830 w 254331"/>
                  <a:gd name="connsiteY17" fmla="*/ 161138 h 696645"/>
                  <a:gd name="connsiteX18" fmla="*/ 26051 w 254331"/>
                  <a:gd name="connsiteY18" fmla="*/ 134765 h 696645"/>
                  <a:gd name="connsiteX19" fmla="*/ 65 w 254331"/>
                  <a:gd name="connsiteY19" fmla="*/ 171090 h 696645"/>
                  <a:gd name="connsiteX20" fmla="*/ 14661 w 254331"/>
                  <a:gd name="connsiteY20" fmla="*/ 199232 h 696645"/>
                  <a:gd name="connsiteX21" fmla="*/ 15214 w 254331"/>
                  <a:gd name="connsiteY21" fmla="*/ 207083 h 696645"/>
                  <a:gd name="connsiteX22" fmla="*/ 12063 w 254331"/>
                  <a:gd name="connsiteY22" fmla="*/ 234507 h 696645"/>
                  <a:gd name="connsiteX23" fmla="*/ 23231 w 254331"/>
                  <a:gd name="connsiteY23" fmla="*/ 236055 h 696645"/>
                  <a:gd name="connsiteX24" fmla="*/ 66965 w 254331"/>
                  <a:gd name="connsiteY24" fmla="*/ 313404 h 696645"/>
                  <a:gd name="connsiteX25" fmla="*/ 83220 w 254331"/>
                  <a:gd name="connsiteY25" fmla="*/ 345196 h 696645"/>
                  <a:gd name="connsiteX26" fmla="*/ 86150 w 254331"/>
                  <a:gd name="connsiteY26" fmla="*/ 383843 h 696645"/>
                  <a:gd name="connsiteX27" fmla="*/ 46066 w 254331"/>
                  <a:gd name="connsiteY27" fmla="*/ 613017 h 696645"/>
                  <a:gd name="connsiteX28" fmla="*/ 26604 w 254331"/>
                  <a:gd name="connsiteY28" fmla="*/ 701923 h 696645"/>
                  <a:gd name="connsiteX29" fmla="*/ 198720 w 254331"/>
                  <a:gd name="connsiteY29" fmla="*/ 701923 h 69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4331" h="696645">
                    <a:moveTo>
                      <a:pt x="198720" y="701978"/>
                    </a:moveTo>
                    <a:cubicBezTo>
                      <a:pt x="198720" y="701978"/>
                      <a:pt x="175774" y="502549"/>
                      <a:pt x="182354" y="411764"/>
                    </a:cubicBezTo>
                    <a:cubicBezTo>
                      <a:pt x="182354" y="411764"/>
                      <a:pt x="185948" y="387658"/>
                      <a:pt x="184953" y="353987"/>
                    </a:cubicBezTo>
                    <a:cubicBezTo>
                      <a:pt x="183957" y="320316"/>
                      <a:pt x="193412" y="303508"/>
                      <a:pt x="193412" y="303508"/>
                    </a:cubicBezTo>
                    <a:lnTo>
                      <a:pt x="201539" y="251646"/>
                    </a:lnTo>
                    <a:cubicBezTo>
                      <a:pt x="201539" y="251646"/>
                      <a:pt x="213316" y="220629"/>
                      <a:pt x="203917" y="207304"/>
                    </a:cubicBezTo>
                    <a:cubicBezTo>
                      <a:pt x="203917" y="207304"/>
                      <a:pt x="216357" y="173909"/>
                      <a:pt x="188325" y="162852"/>
                    </a:cubicBezTo>
                    <a:cubicBezTo>
                      <a:pt x="188325" y="162852"/>
                      <a:pt x="176659" y="148311"/>
                      <a:pt x="184013" y="127079"/>
                    </a:cubicBezTo>
                    <a:lnTo>
                      <a:pt x="203530" y="88432"/>
                    </a:lnTo>
                    <a:lnTo>
                      <a:pt x="225756" y="54319"/>
                    </a:lnTo>
                    <a:cubicBezTo>
                      <a:pt x="225756" y="54319"/>
                      <a:pt x="252295" y="28388"/>
                      <a:pt x="258432" y="9424"/>
                    </a:cubicBezTo>
                    <a:cubicBezTo>
                      <a:pt x="258432" y="9424"/>
                      <a:pt x="253677" y="-7218"/>
                      <a:pt x="236150" y="3729"/>
                    </a:cubicBezTo>
                    <a:cubicBezTo>
                      <a:pt x="236150" y="3729"/>
                      <a:pt x="221941" y="10364"/>
                      <a:pt x="209943" y="25236"/>
                    </a:cubicBezTo>
                    <a:cubicBezTo>
                      <a:pt x="209943" y="25236"/>
                      <a:pt x="199051" y="35907"/>
                      <a:pt x="190260" y="42653"/>
                    </a:cubicBezTo>
                    <a:cubicBezTo>
                      <a:pt x="181469" y="49398"/>
                      <a:pt x="155926" y="81355"/>
                      <a:pt x="145697" y="103803"/>
                    </a:cubicBezTo>
                    <a:lnTo>
                      <a:pt x="117610" y="138358"/>
                    </a:lnTo>
                    <a:lnTo>
                      <a:pt x="88086" y="130784"/>
                    </a:lnTo>
                    <a:cubicBezTo>
                      <a:pt x="88086" y="130784"/>
                      <a:pt x="75258" y="128130"/>
                      <a:pt x="48830" y="161138"/>
                    </a:cubicBezTo>
                    <a:cubicBezTo>
                      <a:pt x="48830" y="161138"/>
                      <a:pt x="40371" y="141621"/>
                      <a:pt x="26051" y="134765"/>
                    </a:cubicBezTo>
                    <a:cubicBezTo>
                      <a:pt x="26051" y="134765"/>
                      <a:pt x="-599" y="126029"/>
                      <a:pt x="65" y="171090"/>
                    </a:cubicBezTo>
                    <a:cubicBezTo>
                      <a:pt x="65" y="171090"/>
                      <a:pt x="-1815" y="186018"/>
                      <a:pt x="14661" y="199232"/>
                    </a:cubicBezTo>
                    <a:lnTo>
                      <a:pt x="15214" y="207083"/>
                    </a:lnTo>
                    <a:cubicBezTo>
                      <a:pt x="15214" y="207083"/>
                      <a:pt x="2940" y="219965"/>
                      <a:pt x="12063" y="234507"/>
                    </a:cubicBezTo>
                    <a:cubicBezTo>
                      <a:pt x="12063" y="234507"/>
                      <a:pt x="15933" y="239372"/>
                      <a:pt x="23231" y="236055"/>
                    </a:cubicBezTo>
                    <a:cubicBezTo>
                      <a:pt x="23231" y="236055"/>
                      <a:pt x="31525" y="283769"/>
                      <a:pt x="66965" y="313404"/>
                    </a:cubicBezTo>
                    <a:lnTo>
                      <a:pt x="83220" y="345196"/>
                    </a:lnTo>
                    <a:cubicBezTo>
                      <a:pt x="83220" y="345196"/>
                      <a:pt x="83497" y="371569"/>
                      <a:pt x="86150" y="383843"/>
                    </a:cubicBezTo>
                    <a:cubicBezTo>
                      <a:pt x="86150" y="383843"/>
                      <a:pt x="78299" y="509571"/>
                      <a:pt x="46066" y="613017"/>
                    </a:cubicBezTo>
                    <a:lnTo>
                      <a:pt x="26604" y="701923"/>
                    </a:lnTo>
                    <a:lnTo>
                      <a:pt x="198720" y="701923"/>
                    </a:lnTo>
                    <a:close/>
                  </a:path>
                </a:pathLst>
              </a:custGeom>
              <a:solidFill>
                <a:srgbClr val="995D45"/>
              </a:solidFill>
              <a:ln w="5479" cap="flat">
                <a:noFill/>
                <a:prstDash val="solid"/>
                <a:miter/>
              </a:ln>
            </p:spPr>
            <p:txBody>
              <a:bodyPr rtlCol="0" anchor="ctr"/>
              <a:lstStyle/>
              <a:p>
                <a:endParaRPr lang="en-US" dirty="0"/>
              </a:p>
            </p:txBody>
          </p:sp>
          <p:sp>
            <p:nvSpPr>
              <p:cNvPr id="10274" name="Freeform: Shape 10273">
                <a:extLst>
                  <a:ext uri="{FF2B5EF4-FFF2-40B4-BE49-F238E27FC236}">
                    <a16:creationId xmlns:a16="http://schemas.microsoft.com/office/drawing/2014/main" id="{28CB56C8-7C70-4F16-A3AB-7E757F752A0F}"/>
                  </a:ext>
                </a:extLst>
              </p:cNvPr>
              <p:cNvSpPr/>
              <p:nvPr/>
            </p:nvSpPr>
            <p:spPr>
              <a:xfrm>
                <a:off x="6545294" y="4007178"/>
                <a:ext cx="143752" cy="138223"/>
              </a:xfrm>
              <a:custGeom>
                <a:avLst/>
                <a:gdLst>
                  <a:gd name="connsiteX0" fmla="*/ 139661 w 143752"/>
                  <a:gd name="connsiteY0" fmla="*/ 10892 h 138223"/>
                  <a:gd name="connsiteX1" fmla="*/ 68835 w 143752"/>
                  <a:gd name="connsiteY1" fmla="*/ 0 h 138223"/>
                  <a:gd name="connsiteX2" fmla="*/ 34998 w 143752"/>
                  <a:gd name="connsiteY2" fmla="*/ 21729 h 138223"/>
                  <a:gd name="connsiteX3" fmla="*/ 14375 w 143752"/>
                  <a:gd name="connsiteY3" fmla="*/ 43844 h 138223"/>
                  <a:gd name="connsiteX4" fmla="*/ 2820 w 143752"/>
                  <a:gd name="connsiteY4" fmla="*/ 28916 h 138223"/>
                  <a:gd name="connsiteX5" fmla="*/ 10947 w 143752"/>
                  <a:gd name="connsiteY5" fmla="*/ 45558 h 138223"/>
                  <a:gd name="connsiteX6" fmla="*/ 0 w 143752"/>
                  <a:gd name="connsiteY6" fmla="*/ 58164 h 138223"/>
                  <a:gd name="connsiteX7" fmla="*/ 13822 w 143752"/>
                  <a:gd name="connsiteY7" fmla="*/ 54405 h 138223"/>
                  <a:gd name="connsiteX8" fmla="*/ 14928 w 143752"/>
                  <a:gd name="connsiteY8" fmla="*/ 68393 h 138223"/>
                  <a:gd name="connsiteX9" fmla="*/ 19462 w 143752"/>
                  <a:gd name="connsiteY9" fmla="*/ 100792 h 138223"/>
                  <a:gd name="connsiteX10" fmla="*/ 43126 w 143752"/>
                  <a:gd name="connsiteY10" fmla="*/ 129543 h 138223"/>
                  <a:gd name="connsiteX11" fmla="*/ 55179 w 143752"/>
                  <a:gd name="connsiteY11" fmla="*/ 136454 h 138223"/>
                  <a:gd name="connsiteX12" fmla="*/ 99410 w 143752"/>
                  <a:gd name="connsiteY12" fmla="*/ 136454 h 138223"/>
                  <a:gd name="connsiteX13" fmla="*/ 144692 w 143752"/>
                  <a:gd name="connsiteY13" fmla="*/ 131589 h 138223"/>
                  <a:gd name="connsiteX14" fmla="*/ 107925 w 143752"/>
                  <a:gd name="connsiteY14" fmla="*/ 111463 h 138223"/>
                  <a:gd name="connsiteX15" fmla="*/ 82823 w 143752"/>
                  <a:gd name="connsiteY15" fmla="*/ 109307 h 138223"/>
                  <a:gd name="connsiteX16" fmla="*/ 64799 w 143752"/>
                  <a:gd name="connsiteY16" fmla="*/ 115389 h 138223"/>
                  <a:gd name="connsiteX17" fmla="*/ 57943 w 143752"/>
                  <a:gd name="connsiteY17" fmla="*/ 121305 h 138223"/>
                  <a:gd name="connsiteX18" fmla="*/ 42628 w 143752"/>
                  <a:gd name="connsiteY18" fmla="*/ 89126 h 138223"/>
                  <a:gd name="connsiteX19" fmla="*/ 77239 w 143752"/>
                  <a:gd name="connsiteY19" fmla="*/ 66734 h 138223"/>
                  <a:gd name="connsiteX20" fmla="*/ 124180 w 143752"/>
                  <a:gd name="connsiteY20" fmla="*/ 66347 h 138223"/>
                  <a:gd name="connsiteX21" fmla="*/ 143918 w 143752"/>
                  <a:gd name="connsiteY21" fmla="*/ 61150 h 138223"/>
                  <a:gd name="connsiteX22" fmla="*/ 110026 w 143752"/>
                  <a:gd name="connsiteY22" fmla="*/ 58054 h 138223"/>
                  <a:gd name="connsiteX23" fmla="*/ 73093 w 143752"/>
                  <a:gd name="connsiteY23" fmla="*/ 63583 h 138223"/>
                  <a:gd name="connsiteX24" fmla="*/ 67785 w 143752"/>
                  <a:gd name="connsiteY24" fmla="*/ 59215 h 138223"/>
                  <a:gd name="connsiteX25" fmla="*/ 71157 w 143752"/>
                  <a:gd name="connsiteY25" fmla="*/ 66071 h 138223"/>
                  <a:gd name="connsiteX26" fmla="*/ 42186 w 143752"/>
                  <a:gd name="connsiteY26" fmla="*/ 85588 h 138223"/>
                  <a:gd name="connsiteX27" fmla="*/ 36767 w 143752"/>
                  <a:gd name="connsiteY27" fmla="*/ 100018 h 138223"/>
                  <a:gd name="connsiteX28" fmla="*/ 23553 w 143752"/>
                  <a:gd name="connsiteY28" fmla="*/ 76520 h 138223"/>
                  <a:gd name="connsiteX29" fmla="*/ 37763 w 143752"/>
                  <a:gd name="connsiteY29" fmla="*/ 36104 h 138223"/>
                  <a:gd name="connsiteX30" fmla="*/ 44674 w 143752"/>
                  <a:gd name="connsiteY30" fmla="*/ 19075 h 138223"/>
                  <a:gd name="connsiteX31" fmla="*/ 65407 w 143752"/>
                  <a:gd name="connsiteY31" fmla="*/ 11555 h 138223"/>
                  <a:gd name="connsiteX32" fmla="*/ 139661 w 143752"/>
                  <a:gd name="connsiteY32" fmla="*/ 10892 h 13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3752" h="138223">
                    <a:moveTo>
                      <a:pt x="139661" y="10892"/>
                    </a:moveTo>
                    <a:lnTo>
                      <a:pt x="68835" y="0"/>
                    </a:lnTo>
                    <a:lnTo>
                      <a:pt x="34998" y="21729"/>
                    </a:lnTo>
                    <a:lnTo>
                      <a:pt x="14375" y="43844"/>
                    </a:lnTo>
                    <a:cubicBezTo>
                      <a:pt x="14375" y="43844"/>
                      <a:pt x="7962" y="40472"/>
                      <a:pt x="2820" y="28916"/>
                    </a:cubicBezTo>
                    <a:cubicBezTo>
                      <a:pt x="2820" y="28916"/>
                      <a:pt x="940" y="36159"/>
                      <a:pt x="10947" y="45558"/>
                    </a:cubicBezTo>
                    <a:cubicBezTo>
                      <a:pt x="10947" y="45558"/>
                      <a:pt x="9454" y="56285"/>
                      <a:pt x="0" y="58164"/>
                    </a:cubicBezTo>
                    <a:cubicBezTo>
                      <a:pt x="0" y="58164"/>
                      <a:pt x="8736" y="57390"/>
                      <a:pt x="13822" y="54405"/>
                    </a:cubicBezTo>
                    <a:cubicBezTo>
                      <a:pt x="18854" y="51419"/>
                      <a:pt x="14928" y="68393"/>
                      <a:pt x="14928" y="68393"/>
                    </a:cubicBezTo>
                    <a:cubicBezTo>
                      <a:pt x="14928" y="68393"/>
                      <a:pt x="9620" y="85864"/>
                      <a:pt x="19462" y="100792"/>
                    </a:cubicBezTo>
                    <a:cubicBezTo>
                      <a:pt x="29303" y="115721"/>
                      <a:pt x="43126" y="129543"/>
                      <a:pt x="43126" y="129543"/>
                    </a:cubicBezTo>
                    <a:lnTo>
                      <a:pt x="55179" y="136454"/>
                    </a:lnTo>
                    <a:cubicBezTo>
                      <a:pt x="55179" y="136454"/>
                      <a:pt x="84648" y="147236"/>
                      <a:pt x="99410" y="136454"/>
                    </a:cubicBezTo>
                    <a:cubicBezTo>
                      <a:pt x="114172" y="125673"/>
                      <a:pt x="105216" y="121913"/>
                      <a:pt x="144692" y="131589"/>
                    </a:cubicBezTo>
                    <a:cubicBezTo>
                      <a:pt x="144692" y="131589"/>
                      <a:pt x="112569" y="118209"/>
                      <a:pt x="107925" y="111463"/>
                    </a:cubicBezTo>
                    <a:lnTo>
                      <a:pt x="82823" y="109307"/>
                    </a:lnTo>
                    <a:lnTo>
                      <a:pt x="64799" y="115389"/>
                    </a:lnTo>
                    <a:lnTo>
                      <a:pt x="57943" y="121305"/>
                    </a:lnTo>
                    <a:cubicBezTo>
                      <a:pt x="57943" y="121305"/>
                      <a:pt x="33284" y="112403"/>
                      <a:pt x="42628" y="89126"/>
                    </a:cubicBezTo>
                    <a:lnTo>
                      <a:pt x="77239" y="66734"/>
                    </a:lnTo>
                    <a:lnTo>
                      <a:pt x="124180" y="66347"/>
                    </a:lnTo>
                    <a:lnTo>
                      <a:pt x="143918" y="61150"/>
                    </a:lnTo>
                    <a:lnTo>
                      <a:pt x="110026" y="58054"/>
                    </a:lnTo>
                    <a:lnTo>
                      <a:pt x="73093" y="63583"/>
                    </a:lnTo>
                    <a:lnTo>
                      <a:pt x="67785" y="59215"/>
                    </a:lnTo>
                    <a:lnTo>
                      <a:pt x="71157" y="66071"/>
                    </a:lnTo>
                    <a:lnTo>
                      <a:pt x="42186" y="85588"/>
                    </a:lnTo>
                    <a:lnTo>
                      <a:pt x="36767" y="100018"/>
                    </a:lnTo>
                    <a:cubicBezTo>
                      <a:pt x="36767" y="100018"/>
                      <a:pt x="23774" y="88961"/>
                      <a:pt x="23553" y="76520"/>
                    </a:cubicBezTo>
                    <a:lnTo>
                      <a:pt x="37763" y="36104"/>
                    </a:lnTo>
                    <a:lnTo>
                      <a:pt x="44674" y="19075"/>
                    </a:lnTo>
                    <a:cubicBezTo>
                      <a:pt x="44674" y="19075"/>
                      <a:pt x="46222" y="13048"/>
                      <a:pt x="65407" y="11555"/>
                    </a:cubicBezTo>
                    <a:cubicBezTo>
                      <a:pt x="65407" y="11555"/>
                      <a:pt x="129211" y="23222"/>
                      <a:pt x="139661" y="10892"/>
                    </a:cubicBezTo>
                    <a:close/>
                  </a:path>
                </a:pathLst>
              </a:custGeom>
              <a:solidFill>
                <a:srgbClr val="83513B"/>
              </a:solidFill>
              <a:ln w="5479" cap="flat">
                <a:noFill/>
                <a:prstDash val="solid"/>
                <a:miter/>
              </a:ln>
            </p:spPr>
            <p:txBody>
              <a:bodyPr rtlCol="0" anchor="ctr"/>
              <a:lstStyle/>
              <a:p>
                <a:endParaRPr lang="en-US" dirty="0"/>
              </a:p>
            </p:txBody>
          </p:sp>
          <p:sp>
            <p:nvSpPr>
              <p:cNvPr id="10275" name="Freeform: Shape 10274">
                <a:extLst>
                  <a:ext uri="{FF2B5EF4-FFF2-40B4-BE49-F238E27FC236}">
                    <a16:creationId xmlns:a16="http://schemas.microsoft.com/office/drawing/2014/main" id="{37E51F45-2350-471B-8687-5A1400FD33EF}"/>
                  </a:ext>
                </a:extLst>
              </p:cNvPr>
              <p:cNvSpPr/>
              <p:nvPr/>
            </p:nvSpPr>
            <p:spPr>
              <a:xfrm>
                <a:off x="6541403" y="3980916"/>
                <a:ext cx="27645" cy="49760"/>
              </a:xfrm>
              <a:custGeom>
                <a:avLst/>
                <a:gdLst>
                  <a:gd name="connsiteX0" fmla="*/ 29712 w 27644"/>
                  <a:gd name="connsiteY0" fmla="*/ 16974 h 49760"/>
                  <a:gd name="connsiteX1" fmla="*/ 21 w 27644"/>
                  <a:gd name="connsiteY1" fmla="*/ 54294 h 49760"/>
                  <a:gd name="connsiteX2" fmla="*/ 19428 w 27644"/>
                  <a:gd name="connsiteY2" fmla="*/ 17748 h 49760"/>
                  <a:gd name="connsiteX3" fmla="*/ 23574 w 27644"/>
                  <a:gd name="connsiteY3" fmla="*/ 0 h 49760"/>
                  <a:gd name="connsiteX4" fmla="*/ 29712 w 27644"/>
                  <a:gd name="connsiteY4" fmla="*/ 16974 h 49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44" h="49760">
                    <a:moveTo>
                      <a:pt x="29712" y="16974"/>
                    </a:moveTo>
                    <a:cubicBezTo>
                      <a:pt x="29712" y="16974"/>
                      <a:pt x="13014" y="31957"/>
                      <a:pt x="21" y="54294"/>
                    </a:cubicBezTo>
                    <a:cubicBezTo>
                      <a:pt x="21" y="54294"/>
                      <a:pt x="-1416" y="39808"/>
                      <a:pt x="19428" y="17748"/>
                    </a:cubicBezTo>
                    <a:cubicBezTo>
                      <a:pt x="19428" y="17748"/>
                      <a:pt x="28329" y="10671"/>
                      <a:pt x="23574" y="0"/>
                    </a:cubicBezTo>
                    <a:lnTo>
                      <a:pt x="29712" y="16974"/>
                    </a:lnTo>
                    <a:close/>
                  </a:path>
                </a:pathLst>
              </a:custGeom>
              <a:solidFill>
                <a:srgbClr val="83513B"/>
              </a:solidFill>
              <a:ln w="5479" cap="flat">
                <a:noFill/>
                <a:prstDash val="solid"/>
                <a:miter/>
              </a:ln>
            </p:spPr>
            <p:txBody>
              <a:bodyPr rtlCol="0" anchor="ctr"/>
              <a:lstStyle/>
              <a:p>
                <a:endParaRPr lang="en-US" dirty="0"/>
              </a:p>
            </p:txBody>
          </p:sp>
        </p:grpSp>
        <p:sp>
          <p:nvSpPr>
            <p:cNvPr id="10276" name="Freeform: Shape 10275">
              <a:extLst>
                <a:ext uri="{FF2B5EF4-FFF2-40B4-BE49-F238E27FC236}">
                  <a16:creationId xmlns:a16="http://schemas.microsoft.com/office/drawing/2014/main" id="{7ADC69A6-6582-42BA-AED5-D46A7AB231DC}"/>
                </a:ext>
              </a:extLst>
            </p:cNvPr>
            <p:cNvSpPr/>
            <p:nvPr/>
          </p:nvSpPr>
          <p:spPr>
            <a:xfrm>
              <a:off x="5778818" y="4526013"/>
              <a:ext cx="1022853" cy="55289"/>
            </a:xfrm>
            <a:custGeom>
              <a:avLst/>
              <a:gdLst>
                <a:gd name="connsiteX0" fmla="*/ 0 w 1022853"/>
                <a:gd name="connsiteY0" fmla="*/ 0 h 55289"/>
                <a:gd name="connsiteX1" fmla="*/ 1027497 w 1022853"/>
                <a:gd name="connsiteY1" fmla="*/ 0 h 55289"/>
                <a:gd name="connsiteX2" fmla="*/ 1027497 w 1022853"/>
                <a:gd name="connsiteY2" fmla="*/ 59270 h 55289"/>
                <a:gd name="connsiteX3" fmla="*/ 0 w 1022853"/>
                <a:gd name="connsiteY3" fmla="*/ 59270 h 55289"/>
              </a:gdLst>
              <a:ahLst/>
              <a:cxnLst>
                <a:cxn ang="0">
                  <a:pos x="connsiteX0" y="connsiteY0"/>
                </a:cxn>
                <a:cxn ang="0">
                  <a:pos x="connsiteX1" y="connsiteY1"/>
                </a:cxn>
                <a:cxn ang="0">
                  <a:pos x="connsiteX2" y="connsiteY2"/>
                </a:cxn>
                <a:cxn ang="0">
                  <a:pos x="connsiteX3" y="connsiteY3"/>
                </a:cxn>
              </a:cxnLst>
              <a:rect l="l" t="t" r="r" b="b"/>
              <a:pathLst>
                <a:path w="1022853" h="55289">
                  <a:moveTo>
                    <a:pt x="0" y="0"/>
                  </a:moveTo>
                  <a:lnTo>
                    <a:pt x="1027497" y="0"/>
                  </a:lnTo>
                  <a:lnTo>
                    <a:pt x="1027497" y="59270"/>
                  </a:lnTo>
                  <a:lnTo>
                    <a:pt x="0" y="59270"/>
                  </a:lnTo>
                  <a:close/>
                </a:path>
              </a:pathLst>
            </a:custGeom>
            <a:solidFill>
              <a:schemeClr val="bg2">
                <a:lumMod val="75000"/>
              </a:scheme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1690" name="Group 1689">
            <a:extLst>
              <a:ext uri="{FF2B5EF4-FFF2-40B4-BE49-F238E27FC236}">
                <a16:creationId xmlns:a16="http://schemas.microsoft.com/office/drawing/2014/main" id="{DEE75CD7-7F25-412F-8B89-9D9B81CB06A2}"/>
              </a:ext>
            </a:extLst>
          </p:cNvPr>
          <p:cNvGrpSpPr/>
          <p:nvPr/>
        </p:nvGrpSpPr>
        <p:grpSpPr>
          <a:xfrm>
            <a:off x="5981661" y="5059222"/>
            <a:ext cx="424282" cy="543229"/>
            <a:chOff x="6635306" y="3569013"/>
            <a:chExt cx="959737" cy="1918227"/>
          </a:xfrm>
        </p:grpSpPr>
        <p:sp>
          <p:nvSpPr>
            <p:cNvPr id="1691" name="Rectangle 1690">
              <a:extLst>
                <a:ext uri="{FF2B5EF4-FFF2-40B4-BE49-F238E27FC236}">
                  <a16:creationId xmlns:a16="http://schemas.microsoft.com/office/drawing/2014/main" id="{BD1F2AE7-A05D-42F2-8F89-65508F646942}"/>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92" name="Group 1691">
              <a:extLst>
                <a:ext uri="{FF2B5EF4-FFF2-40B4-BE49-F238E27FC236}">
                  <a16:creationId xmlns:a16="http://schemas.microsoft.com/office/drawing/2014/main" id="{E3169327-E6AB-4B0A-A75A-16CA784CE569}"/>
                </a:ext>
              </a:extLst>
            </p:cNvPr>
            <p:cNvGrpSpPr/>
            <p:nvPr/>
          </p:nvGrpSpPr>
          <p:grpSpPr>
            <a:xfrm>
              <a:off x="6680394" y="3606930"/>
              <a:ext cx="869560" cy="1842392"/>
              <a:chOff x="5094287" y="4557713"/>
              <a:chExt cx="460376" cy="971549"/>
            </a:xfrm>
          </p:grpSpPr>
          <p:sp>
            <p:nvSpPr>
              <p:cNvPr id="1693" name="AutoShape 38">
                <a:extLst>
                  <a:ext uri="{FF2B5EF4-FFF2-40B4-BE49-F238E27FC236}">
                    <a16:creationId xmlns:a16="http://schemas.microsoft.com/office/drawing/2014/main" id="{50D4AD98-9C13-4243-90E7-FBBB7E35802E}"/>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4" name="Freeform 40">
                <a:extLst>
                  <a:ext uri="{FF2B5EF4-FFF2-40B4-BE49-F238E27FC236}">
                    <a16:creationId xmlns:a16="http://schemas.microsoft.com/office/drawing/2014/main" id="{B8F40B9E-1F4B-4ECF-BEC3-CD6318CEB51E}"/>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5" name="Rectangle 41">
                <a:extLst>
                  <a:ext uri="{FF2B5EF4-FFF2-40B4-BE49-F238E27FC236}">
                    <a16:creationId xmlns:a16="http://schemas.microsoft.com/office/drawing/2014/main" id="{46CB3361-09F3-49D5-80FF-D0AA32B03BEC}"/>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96" name="Rectangle 42">
                <a:extLst>
                  <a:ext uri="{FF2B5EF4-FFF2-40B4-BE49-F238E27FC236}">
                    <a16:creationId xmlns:a16="http://schemas.microsoft.com/office/drawing/2014/main" id="{04CD94CB-8355-4D3E-9E4F-F21D04CA2A3F}"/>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97" name="Freeform 43">
                <a:extLst>
                  <a:ext uri="{FF2B5EF4-FFF2-40B4-BE49-F238E27FC236}">
                    <a16:creationId xmlns:a16="http://schemas.microsoft.com/office/drawing/2014/main" id="{D1745F9C-A5BB-4E57-8420-0523CEFF4AD8}"/>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8" name="Rectangle 44">
                <a:extLst>
                  <a:ext uri="{FF2B5EF4-FFF2-40B4-BE49-F238E27FC236}">
                    <a16:creationId xmlns:a16="http://schemas.microsoft.com/office/drawing/2014/main" id="{063525C5-5417-4A0E-9265-E592B991692E}"/>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99" name="Rectangle 45">
                <a:extLst>
                  <a:ext uri="{FF2B5EF4-FFF2-40B4-BE49-F238E27FC236}">
                    <a16:creationId xmlns:a16="http://schemas.microsoft.com/office/drawing/2014/main" id="{225C0E09-57E0-4938-88D4-BBE89D9E75AC}"/>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00" name="Freeform 46">
                <a:extLst>
                  <a:ext uri="{FF2B5EF4-FFF2-40B4-BE49-F238E27FC236}">
                    <a16:creationId xmlns:a16="http://schemas.microsoft.com/office/drawing/2014/main" id="{B683FD82-E512-421D-88D4-48A3FA2FC9D9}"/>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1" name="Rectangle 47">
                <a:extLst>
                  <a:ext uri="{FF2B5EF4-FFF2-40B4-BE49-F238E27FC236}">
                    <a16:creationId xmlns:a16="http://schemas.microsoft.com/office/drawing/2014/main" id="{074B5E36-E0E9-4BD0-BC59-F58B1CCD2322}"/>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02" name="Rectangle 48">
                <a:extLst>
                  <a:ext uri="{FF2B5EF4-FFF2-40B4-BE49-F238E27FC236}">
                    <a16:creationId xmlns:a16="http://schemas.microsoft.com/office/drawing/2014/main" id="{B0618EDF-BBE0-4BFA-B108-A3DB6383DB1D}"/>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03" name="Freeform 49">
                <a:extLst>
                  <a:ext uri="{FF2B5EF4-FFF2-40B4-BE49-F238E27FC236}">
                    <a16:creationId xmlns:a16="http://schemas.microsoft.com/office/drawing/2014/main" id="{2752DB61-0132-4486-A87A-1616BAF0B607}"/>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4" name="Rectangle 50">
                <a:extLst>
                  <a:ext uri="{FF2B5EF4-FFF2-40B4-BE49-F238E27FC236}">
                    <a16:creationId xmlns:a16="http://schemas.microsoft.com/office/drawing/2014/main" id="{ACE8A819-48CE-46AD-9270-31E67567D8A5}"/>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05" name="Rectangle 51">
                <a:extLst>
                  <a:ext uri="{FF2B5EF4-FFF2-40B4-BE49-F238E27FC236}">
                    <a16:creationId xmlns:a16="http://schemas.microsoft.com/office/drawing/2014/main" id="{3F216A7D-71C4-47EE-8ADB-62D2DF03F430}"/>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06" name="Freeform 52">
                <a:extLst>
                  <a:ext uri="{FF2B5EF4-FFF2-40B4-BE49-F238E27FC236}">
                    <a16:creationId xmlns:a16="http://schemas.microsoft.com/office/drawing/2014/main" id="{AB92A4F7-D13C-47B7-8EF0-CD4DAD8521F5}"/>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7" name="Rectangle 53">
                <a:extLst>
                  <a:ext uri="{FF2B5EF4-FFF2-40B4-BE49-F238E27FC236}">
                    <a16:creationId xmlns:a16="http://schemas.microsoft.com/office/drawing/2014/main" id="{56ED18C2-438A-41DB-AEB8-B6D843D14DBE}"/>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08" name="Rectangle 54">
                <a:extLst>
                  <a:ext uri="{FF2B5EF4-FFF2-40B4-BE49-F238E27FC236}">
                    <a16:creationId xmlns:a16="http://schemas.microsoft.com/office/drawing/2014/main" id="{8CB2F232-1389-44EA-99BA-E85F6EDE0AAE}"/>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09" name="Freeform 55">
                <a:extLst>
                  <a:ext uri="{FF2B5EF4-FFF2-40B4-BE49-F238E27FC236}">
                    <a16:creationId xmlns:a16="http://schemas.microsoft.com/office/drawing/2014/main" id="{9AA4BBB5-BE6B-4200-BF9B-A32089D3ABEB}"/>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0" name="Rectangle 56">
                <a:extLst>
                  <a:ext uri="{FF2B5EF4-FFF2-40B4-BE49-F238E27FC236}">
                    <a16:creationId xmlns:a16="http://schemas.microsoft.com/office/drawing/2014/main" id="{A6D8659B-D636-48D3-931A-C4023C3EF00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11" name="Rectangle 57">
                <a:extLst>
                  <a:ext uri="{FF2B5EF4-FFF2-40B4-BE49-F238E27FC236}">
                    <a16:creationId xmlns:a16="http://schemas.microsoft.com/office/drawing/2014/main" id="{3A25AA0B-C82A-491B-8F9D-381730A0002C}"/>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12" name="Freeform 58">
                <a:extLst>
                  <a:ext uri="{FF2B5EF4-FFF2-40B4-BE49-F238E27FC236}">
                    <a16:creationId xmlns:a16="http://schemas.microsoft.com/office/drawing/2014/main" id="{309AACEB-72C3-4106-9AF2-94212834BD7F}"/>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3" name="Rectangle 59">
                <a:extLst>
                  <a:ext uri="{FF2B5EF4-FFF2-40B4-BE49-F238E27FC236}">
                    <a16:creationId xmlns:a16="http://schemas.microsoft.com/office/drawing/2014/main" id="{A4356107-A1CE-4DF6-95FC-5FC8E344BEF4}"/>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14" name="Rectangle 60">
                <a:extLst>
                  <a:ext uri="{FF2B5EF4-FFF2-40B4-BE49-F238E27FC236}">
                    <a16:creationId xmlns:a16="http://schemas.microsoft.com/office/drawing/2014/main" id="{6F1A93A0-1F20-46F4-AC2C-58D37937DCF6}"/>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15" name="Freeform 61">
                <a:extLst>
                  <a:ext uri="{FF2B5EF4-FFF2-40B4-BE49-F238E27FC236}">
                    <a16:creationId xmlns:a16="http://schemas.microsoft.com/office/drawing/2014/main" id="{6ACB6409-2C85-4FFC-B8AD-B36A492682BF}"/>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6" name="Rectangle 62">
                <a:extLst>
                  <a:ext uri="{FF2B5EF4-FFF2-40B4-BE49-F238E27FC236}">
                    <a16:creationId xmlns:a16="http://schemas.microsoft.com/office/drawing/2014/main" id="{84FE2344-0C8D-4F97-ACA7-3046E207787C}"/>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17" name="Rectangle 63">
                <a:extLst>
                  <a:ext uri="{FF2B5EF4-FFF2-40B4-BE49-F238E27FC236}">
                    <a16:creationId xmlns:a16="http://schemas.microsoft.com/office/drawing/2014/main" id="{2C81FC0B-B0A3-48A8-BC0F-47D07163C06A}"/>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18" name="Freeform 64">
                <a:extLst>
                  <a:ext uri="{FF2B5EF4-FFF2-40B4-BE49-F238E27FC236}">
                    <a16:creationId xmlns:a16="http://schemas.microsoft.com/office/drawing/2014/main" id="{FC82E40B-BBDC-4D86-8C00-97D02ABBDCC2}"/>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9" name="Rectangle 65">
                <a:extLst>
                  <a:ext uri="{FF2B5EF4-FFF2-40B4-BE49-F238E27FC236}">
                    <a16:creationId xmlns:a16="http://schemas.microsoft.com/office/drawing/2014/main" id="{A3FC2812-BB39-444D-ACF7-9CB76240EAD5}"/>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0" name="Rectangle 66">
                <a:extLst>
                  <a:ext uri="{FF2B5EF4-FFF2-40B4-BE49-F238E27FC236}">
                    <a16:creationId xmlns:a16="http://schemas.microsoft.com/office/drawing/2014/main" id="{55C0E2F5-E1A3-4427-A062-6272C82CCE1E}"/>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1" name="Freeform 67">
                <a:extLst>
                  <a:ext uri="{FF2B5EF4-FFF2-40B4-BE49-F238E27FC236}">
                    <a16:creationId xmlns:a16="http://schemas.microsoft.com/office/drawing/2014/main" id="{AA243076-241A-4E40-924D-DA04C38F0F25}"/>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2" name="Freeform 68">
                <a:extLst>
                  <a:ext uri="{FF2B5EF4-FFF2-40B4-BE49-F238E27FC236}">
                    <a16:creationId xmlns:a16="http://schemas.microsoft.com/office/drawing/2014/main" id="{D3947000-DFC0-4B24-8289-8B40C0F96BD8}"/>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3" name="Freeform 69">
                <a:extLst>
                  <a:ext uri="{FF2B5EF4-FFF2-40B4-BE49-F238E27FC236}">
                    <a16:creationId xmlns:a16="http://schemas.microsoft.com/office/drawing/2014/main" id="{D2D9A0AC-DFA2-431A-84AB-B90CC0601B97}"/>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4" name="Freeform 70">
                <a:extLst>
                  <a:ext uri="{FF2B5EF4-FFF2-40B4-BE49-F238E27FC236}">
                    <a16:creationId xmlns:a16="http://schemas.microsoft.com/office/drawing/2014/main" id="{4D13FED8-B0C6-4223-813E-FCD7DA18B45C}"/>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5" name="Freeform 71">
                <a:extLst>
                  <a:ext uri="{FF2B5EF4-FFF2-40B4-BE49-F238E27FC236}">
                    <a16:creationId xmlns:a16="http://schemas.microsoft.com/office/drawing/2014/main" id="{5AC8508A-68D7-46F0-B17E-875AE0D77B9C}"/>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6" name="Freeform 72">
                <a:extLst>
                  <a:ext uri="{FF2B5EF4-FFF2-40B4-BE49-F238E27FC236}">
                    <a16:creationId xmlns:a16="http://schemas.microsoft.com/office/drawing/2014/main" id="{11120FD2-F974-46E8-AF2D-70F6024B1FFB}"/>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7" name="Freeform 73">
                <a:extLst>
                  <a:ext uri="{FF2B5EF4-FFF2-40B4-BE49-F238E27FC236}">
                    <a16:creationId xmlns:a16="http://schemas.microsoft.com/office/drawing/2014/main" id="{DE80490D-2CA4-4CDA-875D-4E4CC42A896B}"/>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8" name="Freeform 74">
                <a:extLst>
                  <a:ext uri="{FF2B5EF4-FFF2-40B4-BE49-F238E27FC236}">
                    <a16:creationId xmlns:a16="http://schemas.microsoft.com/office/drawing/2014/main" id="{5F97D060-8514-4A13-8C3F-DED4C54B43E9}"/>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9" name="Freeform 75">
                <a:extLst>
                  <a:ext uri="{FF2B5EF4-FFF2-40B4-BE49-F238E27FC236}">
                    <a16:creationId xmlns:a16="http://schemas.microsoft.com/office/drawing/2014/main" id="{2E4307F7-9868-4388-AD27-5D10500A639F}"/>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30" name="Freeform 76">
                <a:extLst>
                  <a:ext uri="{FF2B5EF4-FFF2-40B4-BE49-F238E27FC236}">
                    <a16:creationId xmlns:a16="http://schemas.microsoft.com/office/drawing/2014/main" id="{873959BF-42E3-42E0-99EE-73986944A1F5}"/>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31" name="Rectangle 77">
                <a:extLst>
                  <a:ext uri="{FF2B5EF4-FFF2-40B4-BE49-F238E27FC236}">
                    <a16:creationId xmlns:a16="http://schemas.microsoft.com/office/drawing/2014/main" id="{4C5790D3-DAF6-489D-927B-D2AE9B07E0E8}"/>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32" name="Freeform 78">
                <a:extLst>
                  <a:ext uri="{FF2B5EF4-FFF2-40B4-BE49-F238E27FC236}">
                    <a16:creationId xmlns:a16="http://schemas.microsoft.com/office/drawing/2014/main" id="{0FC7C0D1-4B7A-43CC-BF57-19ACFBCDBC68}"/>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3" name="Rectangle 79">
                <a:extLst>
                  <a:ext uri="{FF2B5EF4-FFF2-40B4-BE49-F238E27FC236}">
                    <a16:creationId xmlns:a16="http://schemas.microsoft.com/office/drawing/2014/main" id="{3DAC2C4E-41E0-4617-A59F-DB4DFE3950F7}"/>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34" name="Freeform 80">
                <a:extLst>
                  <a:ext uri="{FF2B5EF4-FFF2-40B4-BE49-F238E27FC236}">
                    <a16:creationId xmlns:a16="http://schemas.microsoft.com/office/drawing/2014/main" id="{9A1192B4-8A81-4458-9B4E-3DF82E174BD9}"/>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5" name="Rectangle 81">
                <a:extLst>
                  <a:ext uri="{FF2B5EF4-FFF2-40B4-BE49-F238E27FC236}">
                    <a16:creationId xmlns:a16="http://schemas.microsoft.com/office/drawing/2014/main" id="{CAA68213-398A-4FAD-AE75-53D333CB51CD}"/>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36" name="Freeform 82">
                <a:extLst>
                  <a:ext uri="{FF2B5EF4-FFF2-40B4-BE49-F238E27FC236}">
                    <a16:creationId xmlns:a16="http://schemas.microsoft.com/office/drawing/2014/main" id="{16C2ACC6-2644-44B8-A2D4-1A7A21713B8C}"/>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7" name="Rectangle 83">
                <a:extLst>
                  <a:ext uri="{FF2B5EF4-FFF2-40B4-BE49-F238E27FC236}">
                    <a16:creationId xmlns:a16="http://schemas.microsoft.com/office/drawing/2014/main" id="{F38CE109-A8BB-4060-A2DF-CC3D9A93CED4}"/>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38" name="Freeform 84">
                <a:extLst>
                  <a:ext uri="{FF2B5EF4-FFF2-40B4-BE49-F238E27FC236}">
                    <a16:creationId xmlns:a16="http://schemas.microsoft.com/office/drawing/2014/main" id="{B334FA12-BC8F-4DF3-BAC6-C24B4ECA6C1B}"/>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788" name="Group 1787">
            <a:extLst>
              <a:ext uri="{FF2B5EF4-FFF2-40B4-BE49-F238E27FC236}">
                <a16:creationId xmlns:a16="http://schemas.microsoft.com/office/drawing/2014/main" id="{5821757D-F59C-4B89-A568-4AB457E8FB86}"/>
              </a:ext>
            </a:extLst>
          </p:cNvPr>
          <p:cNvGrpSpPr/>
          <p:nvPr/>
        </p:nvGrpSpPr>
        <p:grpSpPr>
          <a:xfrm>
            <a:off x="5464610" y="5059222"/>
            <a:ext cx="424282" cy="543229"/>
            <a:chOff x="6635306" y="3569013"/>
            <a:chExt cx="959737" cy="1918227"/>
          </a:xfrm>
        </p:grpSpPr>
        <p:sp>
          <p:nvSpPr>
            <p:cNvPr id="1789" name="Rectangle 1788">
              <a:extLst>
                <a:ext uri="{FF2B5EF4-FFF2-40B4-BE49-F238E27FC236}">
                  <a16:creationId xmlns:a16="http://schemas.microsoft.com/office/drawing/2014/main" id="{3D71C297-A416-45E2-A828-F23CEBB961E1}"/>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90" name="Group 1789">
              <a:extLst>
                <a:ext uri="{FF2B5EF4-FFF2-40B4-BE49-F238E27FC236}">
                  <a16:creationId xmlns:a16="http://schemas.microsoft.com/office/drawing/2014/main" id="{FE138B8B-DFD7-4256-B898-6883751BEA47}"/>
                </a:ext>
              </a:extLst>
            </p:cNvPr>
            <p:cNvGrpSpPr/>
            <p:nvPr/>
          </p:nvGrpSpPr>
          <p:grpSpPr>
            <a:xfrm>
              <a:off x="6680394" y="3606930"/>
              <a:ext cx="869560" cy="1842392"/>
              <a:chOff x="5094287" y="4557713"/>
              <a:chExt cx="460376" cy="971549"/>
            </a:xfrm>
          </p:grpSpPr>
          <p:sp>
            <p:nvSpPr>
              <p:cNvPr id="1791" name="AutoShape 38">
                <a:extLst>
                  <a:ext uri="{FF2B5EF4-FFF2-40B4-BE49-F238E27FC236}">
                    <a16:creationId xmlns:a16="http://schemas.microsoft.com/office/drawing/2014/main" id="{1D64C779-3C78-453C-97CD-CEC64EE0C1F2}"/>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2" name="Freeform 40">
                <a:extLst>
                  <a:ext uri="{FF2B5EF4-FFF2-40B4-BE49-F238E27FC236}">
                    <a16:creationId xmlns:a16="http://schemas.microsoft.com/office/drawing/2014/main" id="{DF615D2E-6747-481A-8A12-96E6F9050A68}"/>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3" name="Rectangle 41">
                <a:extLst>
                  <a:ext uri="{FF2B5EF4-FFF2-40B4-BE49-F238E27FC236}">
                    <a16:creationId xmlns:a16="http://schemas.microsoft.com/office/drawing/2014/main" id="{91E647E3-A786-43BC-A3C4-A37BE216C424}"/>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94" name="Rectangle 42">
                <a:extLst>
                  <a:ext uri="{FF2B5EF4-FFF2-40B4-BE49-F238E27FC236}">
                    <a16:creationId xmlns:a16="http://schemas.microsoft.com/office/drawing/2014/main" id="{CD8593F4-DA8B-4C85-9B79-0F9CAA4074D0}"/>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95" name="Freeform 43">
                <a:extLst>
                  <a:ext uri="{FF2B5EF4-FFF2-40B4-BE49-F238E27FC236}">
                    <a16:creationId xmlns:a16="http://schemas.microsoft.com/office/drawing/2014/main" id="{518A5F69-EDF9-4862-A5DB-9AB7EA91E202}"/>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6" name="Rectangle 44">
                <a:extLst>
                  <a:ext uri="{FF2B5EF4-FFF2-40B4-BE49-F238E27FC236}">
                    <a16:creationId xmlns:a16="http://schemas.microsoft.com/office/drawing/2014/main" id="{30D9385F-25E5-45B6-83C5-AEF22C1ED141}"/>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97" name="Rectangle 45">
                <a:extLst>
                  <a:ext uri="{FF2B5EF4-FFF2-40B4-BE49-F238E27FC236}">
                    <a16:creationId xmlns:a16="http://schemas.microsoft.com/office/drawing/2014/main" id="{8582638D-808E-49C5-B914-9C69A5B21317}"/>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98" name="Freeform 46">
                <a:extLst>
                  <a:ext uri="{FF2B5EF4-FFF2-40B4-BE49-F238E27FC236}">
                    <a16:creationId xmlns:a16="http://schemas.microsoft.com/office/drawing/2014/main" id="{22958ABD-BEB9-428A-AD1F-9ADDF1BA2E4F}"/>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9" name="Rectangle 47">
                <a:extLst>
                  <a:ext uri="{FF2B5EF4-FFF2-40B4-BE49-F238E27FC236}">
                    <a16:creationId xmlns:a16="http://schemas.microsoft.com/office/drawing/2014/main" id="{D5904852-EED3-461F-BA9F-0D074BC427D6}"/>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0" name="Rectangle 48">
                <a:extLst>
                  <a:ext uri="{FF2B5EF4-FFF2-40B4-BE49-F238E27FC236}">
                    <a16:creationId xmlns:a16="http://schemas.microsoft.com/office/drawing/2014/main" id="{9C269C69-FFBF-4AC6-9E95-444C69FF6C2D}"/>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1" name="Freeform 49">
                <a:extLst>
                  <a:ext uri="{FF2B5EF4-FFF2-40B4-BE49-F238E27FC236}">
                    <a16:creationId xmlns:a16="http://schemas.microsoft.com/office/drawing/2014/main" id="{9193FBFF-06B8-4230-9D1B-D87C95DE3823}"/>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2" name="Rectangle 50">
                <a:extLst>
                  <a:ext uri="{FF2B5EF4-FFF2-40B4-BE49-F238E27FC236}">
                    <a16:creationId xmlns:a16="http://schemas.microsoft.com/office/drawing/2014/main" id="{913A56D9-1C3D-461F-9D3B-9A56DAD012E4}"/>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3" name="Rectangle 51">
                <a:extLst>
                  <a:ext uri="{FF2B5EF4-FFF2-40B4-BE49-F238E27FC236}">
                    <a16:creationId xmlns:a16="http://schemas.microsoft.com/office/drawing/2014/main" id="{DC37D20D-DA22-4D7F-BB98-0943468A8E75}"/>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4" name="Freeform 52">
                <a:extLst>
                  <a:ext uri="{FF2B5EF4-FFF2-40B4-BE49-F238E27FC236}">
                    <a16:creationId xmlns:a16="http://schemas.microsoft.com/office/drawing/2014/main" id="{3527552A-9C4D-403E-88A3-A062FB5BAF0F}"/>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5" name="Rectangle 53">
                <a:extLst>
                  <a:ext uri="{FF2B5EF4-FFF2-40B4-BE49-F238E27FC236}">
                    <a16:creationId xmlns:a16="http://schemas.microsoft.com/office/drawing/2014/main" id="{D48EC40C-6483-4DB7-B7A5-E6DD641C943E}"/>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6" name="Rectangle 54">
                <a:extLst>
                  <a:ext uri="{FF2B5EF4-FFF2-40B4-BE49-F238E27FC236}">
                    <a16:creationId xmlns:a16="http://schemas.microsoft.com/office/drawing/2014/main" id="{235BC5C4-9EA2-4395-8F8B-C4D905CA5CD6}"/>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7" name="Freeform 55">
                <a:extLst>
                  <a:ext uri="{FF2B5EF4-FFF2-40B4-BE49-F238E27FC236}">
                    <a16:creationId xmlns:a16="http://schemas.microsoft.com/office/drawing/2014/main" id="{156B44DA-8C61-4801-AABB-EB00D8E1A6FC}"/>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8" name="Rectangle 56">
                <a:extLst>
                  <a:ext uri="{FF2B5EF4-FFF2-40B4-BE49-F238E27FC236}">
                    <a16:creationId xmlns:a16="http://schemas.microsoft.com/office/drawing/2014/main" id="{645A7DDF-2B76-4038-A67D-516A3B30A01F}"/>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9" name="Rectangle 57">
                <a:extLst>
                  <a:ext uri="{FF2B5EF4-FFF2-40B4-BE49-F238E27FC236}">
                    <a16:creationId xmlns:a16="http://schemas.microsoft.com/office/drawing/2014/main" id="{8BA9F738-169D-48F0-B758-F73A4C6BF0D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10" name="Freeform 58">
                <a:extLst>
                  <a:ext uri="{FF2B5EF4-FFF2-40B4-BE49-F238E27FC236}">
                    <a16:creationId xmlns:a16="http://schemas.microsoft.com/office/drawing/2014/main" id="{2CC0FBC1-5A42-4DB9-92ED-AD3D32116E26}"/>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1" name="Rectangle 59">
                <a:extLst>
                  <a:ext uri="{FF2B5EF4-FFF2-40B4-BE49-F238E27FC236}">
                    <a16:creationId xmlns:a16="http://schemas.microsoft.com/office/drawing/2014/main" id="{733A053C-7609-45A4-AE03-979FAD07027C}"/>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12" name="Rectangle 60">
                <a:extLst>
                  <a:ext uri="{FF2B5EF4-FFF2-40B4-BE49-F238E27FC236}">
                    <a16:creationId xmlns:a16="http://schemas.microsoft.com/office/drawing/2014/main" id="{89A27722-5D31-48ED-B264-E3DF6B3916BA}"/>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13" name="Freeform 61">
                <a:extLst>
                  <a:ext uri="{FF2B5EF4-FFF2-40B4-BE49-F238E27FC236}">
                    <a16:creationId xmlns:a16="http://schemas.microsoft.com/office/drawing/2014/main" id="{5FBAE059-B48B-4E39-AA9E-C81AB1C5F2FA}"/>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4" name="Rectangle 62">
                <a:extLst>
                  <a:ext uri="{FF2B5EF4-FFF2-40B4-BE49-F238E27FC236}">
                    <a16:creationId xmlns:a16="http://schemas.microsoft.com/office/drawing/2014/main" id="{18912664-DDA8-411A-8398-10A269AD6FF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15" name="Rectangle 63">
                <a:extLst>
                  <a:ext uri="{FF2B5EF4-FFF2-40B4-BE49-F238E27FC236}">
                    <a16:creationId xmlns:a16="http://schemas.microsoft.com/office/drawing/2014/main" id="{87B7F480-3E77-44A9-B193-D9E8993BDA8C}"/>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16" name="Freeform 64">
                <a:extLst>
                  <a:ext uri="{FF2B5EF4-FFF2-40B4-BE49-F238E27FC236}">
                    <a16:creationId xmlns:a16="http://schemas.microsoft.com/office/drawing/2014/main" id="{0CF5AC63-A2EB-43D6-92A7-7DA73E70E10B}"/>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7" name="Rectangle 65">
                <a:extLst>
                  <a:ext uri="{FF2B5EF4-FFF2-40B4-BE49-F238E27FC236}">
                    <a16:creationId xmlns:a16="http://schemas.microsoft.com/office/drawing/2014/main" id="{4DE32033-437E-454B-88F6-7AFBF96D90FB}"/>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18" name="Rectangle 66">
                <a:extLst>
                  <a:ext uri="{FF2B5EF4-FFF2-40B4-BE49-F238E27FC236}">
                    <a16:creationId xmlns:a16="http://schemas.microsoft.com/office/drawing/2014/main" id="{603B21DA-7982-4C2D-8EC6-A5AB32B2B26D}"/>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19" name="Freeform 67">
                <a:extLst>
                  <a:ext uri="{FF2B5EF4-FFF2-40B4-BE49-F238E27FC236}">
                    <a16:creationId xmlns:a16="http://schemas.microsoft.com/office/drawing/2014/main" id="{862BC4EB-A3C0-4700-A087-4BC9019D6F84}"/>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0" name="Freeform 68">
                <a:extLst>
                  <a:ext uri="{FF2B5EF4-FFF2-40B4-BE49-F238E27FC236}">
                    <a16:creationId xmlns:a16="http://schemas.microsoft.com/office/drawing/2014/main" id="{9C07A486-9500-4C08-AAB6-0E0AC1F85396}"/>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1" name="Freeform 69">
                <a:extLst>
                  <a:ext uri="{FF2B5EF4-FFF2-40B4-BE49-F238E27FC236}">
                    <a16:creationId xmlns:a16="http://schemas.microsoft.com/office/drawing/2014/main" id="{666398BE-90D5-43F2-8DA7-36033A85984B}"/>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2" name="Freeform 70">
                <a:extLst>
                  <a:ext uri="{FF2B5EF4-FFF2-40B4-BE49-F238E27FC236}">
                    <a16:creationId xmlns:a16="http://schemas.microsoft.com/office/drawing/2014/main" id="{B078501E-4218-40F2-91D2-10282D230436}"/>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3" name="Freeform 71">
                <a:extLst>
                  <a:ext uri="{FF2B5EF4-FFF2-40B4-BE49-F238E27FC236}">
                    <a16:creationId xmlns:a16="http://schemas.microsoft.com/office/drawing/2014/main" id="{C6264BBA-22DA-42D8-93A6-BEED0943B07B}"/>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4" name="Freeform 72">
                <a:extLst>
                  <a:ext uri="{FF2B5EF4-FFF2-40B4-BE49-F238E27FC236}">
                    <a16:creationId xmlns:a16="http://schemas.microsoft.com/office/drawing/2014/main" id="{5A3C7CAE-A62A-40A5-A79A-44CE44760FFC}"/>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5" name="Freeform 73">
                <a:extLst>
                  <a:ext uri="{FF2B5EF4-FFF2-40B4-BE49-F238E27FC236}">
                    <a16:creationId xmlns:a16="http://schemas.microsoft.com/office/drawing/2014/main" id="{1CE0D84A-096F-40ED-9B18-9FCB0BEC0BCA}"/>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6" name="Freeform 74">
                <a:extLst>
                  <a:ext uri="{FF2B5EF4-FFF2-40B4-BE49-F238E27FC236}">
                    <a16:creationId xmlns:a16="http://schemas.microsoft.com/office/drawing/2014/main" id="{5023D9B6-17E0-42A6-BC9A-286B306E125A}"/>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7" name="Freeform 75">
                <a:extLst>
                  <a:ext uri="{FF2B5EF4-FFF2-40B4-BE49-F238E27FC236}">
                    <a16:creationId xmlns:a16="http://schemas.microsoft.com/office/drawing/2014/main" id="{EB6D1A84-5721-4B63-ABAD-728AAA9430A6}"/>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8" name="Freeform 76">
                <a:extLst>
                  <a:ext uri="{FF2B5EF4-FFF2-40B4-BE49-F238E27FC236}">
                    <a16:creationId xmlns:a16="http://schemas.microsoft.com/office/drawing/2014/main" id="{893E1EE8-375A-4809-A6E1-343B82BBE828}"/>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9" name="Rectangle 77">
                <a:extLst>
                  <a:ext uri="{FF2B5EF4-FFF2-40B4-BE49-F238E27FC236}">
                    <a16:creationId xmlns:a16="http://schemas.microsoft.com/office/drawing/2014/main" id="{5DB50300-2F52-4D06-87D8-893DA17796A4}"/>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30" name="Freeform 78">
                <a:extLst>
                  <a:ext uri="{FF2B5EF4-FFF2-40B4-BE49-F238E27FC236}">
                    <a16:creationId xmlns:a16="http://schemas.microsoft.com/office/drawing/2014/main" id="{1B718840-F63A-4DFD-91EA-A6559654BAC0}"/>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1" name="Rectangle 79">
                <a:extLst>
                  <a:ext uri="{FF2B5EF4-FFF2-40B4-BE49-F238E27FC236}">
                    <a16:creationId xmlns:a16="http://schemas.microsoft.com/office/drawing/2014/main" id="{EA1B741C-93A5-480F-91DF-331914BF5648}"/>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32" name="Freeform 80">
                <a:extLst>
                  <a:ext uri="{FF2B5EF4-FFF2-40B4-BE49-F238E27FC236}">
                    <a16:creationId xmlns:a16="http://schemas.microsoft.com/office/drawing/2014/main" id="{0AF54348-95EA-41F5-8518-C5BF2357428B}"/>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3" name="Rectangle 81">
                <a:extLst>
                  <a:ext uri="{FF2B5EF4-FFF2-40B4-BE49-F238E27FC236}">
                    <a16:creationId xmlns:a16="http://schemas.microsoft.com/office/drawing/2014/main" id="{45DE4D78-CDE5-4A7A-B67F-2B39D9FEFB20}"/>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34" name="Freeform 82">
                <a:extLst>
                  <a:ext uri="{FF2B5EF4-FFF2-40B4-BE49-F238E27FC236}">
                    <a16:creationId xmlns:a16="http://schemas.microsoft.com/office/drawing/2014/main" id="{74C5589C-80A1-45B5-9995-B84CF29DC6B7}"/>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5" name="Rectangle 83">
                <a:extLst>
                  <a:ext uri="{FF2B5EF4-FFF2-40B4-BE49-F238E27FC236}">
                    <a16:creationId xmlns:a16="http://schemas.microsoft.com/office/drawing/2014/main" id="{ADE138A5-8DDD-496D-A1F2-282512CC3A81}"/>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36" name="Freeform 84">
                <a:extLst>
                  <a:ext uri="{FF2B5EF4-FFF2-40B4-BE49-F238E27FC236}">
                    <a16:creationId xmlns:a16="http://schemas.microsoft.com/office/drawing/2014/main" id="{EF3158FF-2899-432F-984A-E63641C4C02B}"/>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837" name="Group 1836">
            <a:extLst>
              <a:ext uri="{FF2B5EF4-FFF2-40B4-BE49-F238E27FC236}">
                <a16:creationId xmlns:a16="http://schemas.microsoft.com/office/drawing/2014/main" id="{4EC75D5E-92A2-4E3D-ABD0-9DC30FB2930F}"/>
              </a:ext>
            </a:extLst>
          </p:cNvPr>
          <p:cNvGrpSpPr/>
          <p:nvPr/>
        </p:nvGrpSpPr>
        <p:grpSpPr>
          <a:xfrm>
            <a:off x="6498713" y="5088567"/>
            <a:ext cx="424282" cy="513884"/>
            <a:chOff x="6635306" y="3569013"/>
            <a:chExt cx="959737" cy="1918227"/>
          </a:xfrm>
        </p:grpSpPr>
        <p:sp>
          <p:nvSpPr>
            <p:cNvPr id="1838" name="Rectangle 1837">
              <a:extLst>
                <a:ext uri="{FF2B5EF4-FFF2-40B4-BE49-F238E27FC236}">
                  <a16:creationId xmlns:a16="http://schemas.microsoft.com/office/drawing/2014/main" id="{08A2896A-61A9-4D93-BCAF-939F7FFB59F3}"/>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839" name="Group 1838">
              <a:extLst>
                <a:ext uri="{FF2B5EF4-FFF2-40B4-BE49-F238E27FC236}">
                  <a16:creationId xmlns:a16="http://schemas.microsoft.com/office/drawing/2014/main" id="{9C7CAB38-CC68-42A6-B528-F77610EFA909}"/>
                </a:ext>
              </a:extLst>
            </p:cNvPr>
            <p:cNvGrpSpPr/>
            <p:nvPr/>
          </p:nvGrpSpPr>
          <p:grpSpPr>
            <a:xfrm>
              <a:off x="6680394" y="3606930"/>
              <a:ext cx="869560" cy="1842392"/>
              <a:chOff x="5094287" y="4557713"/>
              <a:chExt cx="460376" cy="971549"/>
            </a:xfrm>
          </p:grpSpPr>
          <p:sp>
            <p:nvSpPr>
              <p:cNvPr id="1840" name="AutoShape 38">
                <a:extLst>
                  <a:ext uri="{FF2B5EF4-FFF2-40B4-BE49-F238E27FC236}">
                    <a16:creationId xmlns:a16="http://schemas.microsoft.com/office/drawing/2014/main" id="{8C9DD5D9-590F-4C8A-B570-B811969C0DF6}"/>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1" name="Freeform 40">
                <a:extLst>
                  <a:ext uri="{FF2B5EF4-FFF2-40B4-BE49-F238E27FC236}">
                    <a16:creationId xmlns:a16="http://schemas.microsoft.com/office/drawing/2014/main" id="{1D487C89-0D5F-484B-871A-7569B3DF314A}"/>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2" name="Rectangle 41">
                <a:extLst>
                  <a:ext uri="{FF2B5EF4-FFF2-40B4-BE49-F238E27FC236}">
                    <a16:creationId xmlns:a16="http://schemas.microsoft.com/office/drawing/2014/main" id="{5A436FCD-911D-40B8-ADF7-E6D99CCA2483}"/>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43" name="Rectangle 42">
                <a:extLst>
                  <a:ext uri="{FF2B5EF4-FFF2-40B4-BE49-F238E27FC236}">
                    <a16:creationId xmlns:a16="http://schemas.microsoft.com/office/drawing/2014/main" id="{FC7C9F5B-7473-430F-AF9B-8C5B124558E2}"/>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44" name="Freeform 43">
                <a:extLst>
                  <a:ext uri="{FF2B5EF4-FFF2-40B4-BE49-F238E27FC236}">
                    <a16:creationId xmlns:a16="http://schemas.microsoft.com/office/drawing/2014/main" id="{1147732D-DB2A-4169-BBFB-E78036A34F97}"/>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5" name="Rectangle 44">
                <a:extLst>
                  <a:ext uri="{FF2B5EF4-FFF2-40B4-BE49-F238E27FC236}">
                    <a16:creationId xmlns:a16="http://schemas.microsoft.com/office/drawing/2014/main" id="{97170043-E73E-4282-8FDD-F516AF88CD8A}"/>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46" name="Rectangle 45">
                <a:extLst>
                  <a:ext uri="{FF2B5EF4-FFF2-40B4-BE49-F238E27FC236}">
                    <a16:creationId xmlns:a16="http://schemas.microsoft.com/office/drawing/2014/main" id="{67CB6107-8DEB-4C16-8EF0-51CBB0939564}"/>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47" name="Freeform 46">
                <a:extLst>
                  <a:ext uri="{FF2B5EF4-FFF2-40B4-BE49-F238E27FC236}">
                    <a16:creationId xmlns:a16="http://schemas.microsoft.com/office/drawing/2014/main" id="{8E02F557-7C7A-4F97-9499-C4D0E9DAD153}"/>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8" name="Rectangle 47">
                <a:extLst>
                  <a:ext uri="{FF2B5EF4-FFF2-40B4-BE49-F238E27FC236}">
                    <a16:creationId xmlns:a16="http://schemas.microsoft.com/office/drawing/2014/main" id="{465C041D-AA98-4A8C-B91D-1583DC8A156B}"/>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49" name="Rectangle 48">
                <a:extLst>
                  <a:ext uri="{FF2B5EF4-FFF2-40B4-BE49-F238E27FC236}">
                    <a16:creationId xmlns:a16="http://schemas.microsoft.com/office/drawing/2014/main" id="{78C87FDB-2E84-4E8D-921E-5B0D910D94C2}"/>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50" name="Freeform 49">
                <a:extLst>
                  <a:ext uri="{FF2B5EF4-FFF2-40B4-BE49-F238E27FC236}">
                    <a16:creationId xmlns:a16="http://schemas.microsoft.com/office/drawing/2014/main" id="{D388EC45-D73B-4F0B-8435-ABDBAEBA3BD0}"/>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1" name="Rectangle 50">
                <a:extLst>
                  <a:ext uri="{FF2B5EF4-FFF2-40B4-BE49-F238E27FC236}">
                    <a16:creationId xmlns:a16="http://schemas.microsoft.com/office/drawing/2014/main" id="{A9137267-F2FC-4043-BD7C-70300561AFAE}"/>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52" name="Rectangle 51">
                <a:extLst>
                  <a:ext uri="{FF2B5EF4-FFF2-40B4-BE49-F238E27FC236}">
                    <a16:creationId xmlns:a16="http://schemas.microsoft.com/office/drawing/2014/main" id="{BA799510-A148-4EA7-9364-554DEB3553B7}"/>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53" name="Freeform 52">
                <a:extLst>
                  <a:ext uri="{FF2B5EF4-FFF2-40B4-BE49-F238E27FC236}">
                    <a16:creationId xmlns:a16="http://schemas.microsoft.com/office/drawing/2014/main" id="{303EAC72-4258-4AE8-94B6-19AB46807BD3}"/>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4" name="Rectangle 53">
                <a:extLst>
                  <a:ext uri="{FF2B5EF4-FFF2-40B4-BE49-F238E27FC236}">
                    <a16:creationId xmlns:a16="http://schemas.microsoft.com/office/drawing/2014/main" id="{B269B9F6-F8F3-4AD6-8259-D230339B1E19}"/>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55" name="Rectangle 54">
                <a:extLst>
                  <a:ext uri="{FF2B5EF4-FFF2-40B4-BE49-F238E27FC236}">
                    <a16:creationId xmlns:a16="http://schemas.microsoft.com/office/drawing/2014/main" id="{47BBB6E7-9EB3-4121-BE40-D2E55392FCE7}"/>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56" name="Freeform 55">
                <a:extLst>
                  <a:ext uri="{FF2B5EF4-FFF2-40B4-BE49-F238E27FC236}">
                    <a16:creationId xmlns:a16="http://schemas.microsoft.com/office/drawing/2014/main" id="{191EC6F2-3EA7-495B-A472-F6B9005C80B1}"/>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7" name="Rectangle 56">
                <a:extLst>
                  <a:ext uri="{FF2B5EF4-FFF2-40B4-BE49-F238E27FC236}">
                    <a16:creationId xmlns:a16="http://schemas.microsoft.com/office/drawing/2014/main" id="{35936C8D-A563-44E7-A2D1-41A6E0F95584}"/>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58" name="Rectangle 57">
                <a:extLst>
                  <a:ext uri="{FF2B5EF4-FFF2-40B4-BE49-F238E27FC236}">
                    <a16:creationId xmlns:a16="http://schemas.microsoft.com/office/drawing/2014/main" id="{5E2839B1-BD79-449D-935B-5AEE6B30D207}"/>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59" name="Freeform 58">
                <a:extLst>
                  <a:ext uri="{FF2B5EF4-FFF2-40B4-BE49-F238E27FC236}">
                    <a16:creationId xmlns:a16="http://schemas.microsoft.com/office/drawing/2014/main" id="{AD4C56DF-AE24-491F-A174-C24F718553DC}"/>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0" name="Rectangle 59">
                <a:extLst>
                  <a:ext uri="{FF2B5EF4-FFF2-40B4-BE49-F238E27FC236}">
                    <a16:creationId xmlns:a16="http://schemas.microsoft.com/office/drawing/2014/main" id="{D909A402-64CE-4E79-A537-05102563496B}"/>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61" name="Rectangle 60">
                <a:extLst>
                  <a:ext uri="{FF2B5EF4-FFF2-40B4-BE49-F238E27FC236}">
                    <a16:creationId xmlns:a16="http://schemas.microsoft.com/office/drawing/2014/main" id="{40009CA3-6108-4B44-A7A0-9665488B4FF0}"/>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62" name="Freeform 61">
                <a:extLst>
                  <a:ext uri="{FF2B5EF4-FFF2-40B4-BE49-F238E27FC236}">
                    <a16:creationId xmlns:a16="http://schemas.microsoft.com/office/drawing/2014/main" id="{9C37F8B2-5336-41A7-BA96-E81B406B7492}"/>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3" name="Rectangle 62">
                <a:extLst>
                  <a:ext uri="{FF2B5EF4-FFF2-40B4-BE49-F238E27FC236}">
                    <a16:creationId xmlns:a16="http://schemas.microsoft.com/office/drawing/2014/main" id="{E752F308-B778-4880-9019-F9EA2E59355A}"/>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64" name="Rectangle 63">
                <a:extLst>
                  <a:ext uri="{FF2B5EF4-FFF2-40B4-BE49-F238E27FC236}">
                    <a16:creationId xmlns:a16="http://schemas.microsoft.com/office/drawing/2014/main" id="{37801C20-512F-4785-AE86-0C223E52A4BB}"/>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65" name="Freeform 64">
                <a:extLst>
                  <a:ext uri="{FF2B5EF4-FFF2-40B4-BE49-F238E27FC236}">
                    <a16:creationId xmlns:a16="http://schemas.microsoft.com/office/drawing/2014/main" id="{65889CD0-398A-4CB6-B6E9-CD93F6D38C40}"/>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6" name="Rectangle 65">
                <a:extLst>
                  <a:ext uri="{FF2B5EF4-FFF2-40B4-BE49-F238E27FC236}">
                    <a16:creationId xmlns:a16="http://schemas.microsoft.com/office/drawing/2014/main" id="{288FE51C-4D80-485E-83CB-B0B51073982C}"/>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67" name="Rectangle 66">
                <a:extLst>
                  <a:ext uri="{FF2B5EF4-FFF2-40B4-BE49-F238E27FC236}">
                    <a16:creationId xmlns:a16="http://schemas.microsoft.com/office/drawing/2014/main" id="{17B121E1-549E-4767-8C22-7398996930EF}"/>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68" name="Freeform 67">
                <a:extLst>
                  <a:ext uri="{FF2B5EF4-FFF2-40B4-BE49-F238E27FC236}">
                    <a16:creationId xmlns:a16="http://schemas.microsoft.com/office/drawing/2014/main" id="{CB8C10EE-9A15-4D62-8D8B-044E4073F139}"/>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9" name="Freeform 68">
                <a:extLst>
                  <a:ext uri="{FF2B5EF4-FFF2-40B4-BE49-F238E27FC236}">
                    <a16:creationId xmlns:a16="http://schemas.microsoft.com/office/drawing/2014/main" id="{59AFC380-D3D7-4FB6-ACC0-0249AF92EB65}"/>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0" name="Freeform 69">
                <a:extLst>
                  <a:ext uri="{FF2B5EF4-FFF2-40B4-BE49-F238E27FC236}">
                    <a16:creationId xmlns:a16="http://schemas.microsoft.com/office/drawing/2014/main" id="{22925291-96D8-4115-BB59-28779194D620}"/>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1" name="Freeform 70">
                <a:extLst>
                  <a:ext uri="{FF2B5EF4-FFF2-40B4-BE49-F238E27FC236}">
                    <a16:creationId xmlns:a16="http://schemas.microsoft.com/office/drawing/2014/main" id="{C94108B0-BE0B-449E-9849-4D47037C1E71}"/>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2" name="Freeform 71">
                <a:extLst>
                  <a:ext uri="{FF2B5EF4-FFF2-40B4-BE49-F238E27FC236}">
                    <a16:creationId xmlns:a16="http://schemas.microsoft.com/office/drawing/2014/main" id="{A6C27F2E-EAC9-4982-BC0E-5B730940D90D}"/>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3" name="Freeform 72">
                <a:extLst>
                  <a:ext uri="{FF2B5EF4-FFF2-40B4-BE49-F238E27FC236}">
                    <a16:creationId xmlns:a16="http://schemas.microsoft.com/office/drawing/2014/main" id="{A27489E8-BF84-4512-B68E-6B0F9B91B8DC}"/>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4" name="Freeform 73">
                <a:extLst>
                  <a:ext uri="{FF2B5EF4-FFF2-40B4-BE49-F238E27FC236}">
                    <a16:creationId xmlns:a16="http://schemas.microsoft.com/office/drawing/2014/main" id="{96B126AE-C1EB-441F-8531-692552F87435}"/>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5" name="Freeform 74">
                <a:extLst>
                  <a:ext uri="{FF2B5EF4-FFF2-40B4-BE49-F238E27FC236}">
                    <a16:creationId xmlns:a16="http://schemas.microsoft.com/office/drawing/2014/main" id="{9EA167BC-0A00-4CE8-82D8-FA6333876908}"/>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6" name="Freeform 75">
                <a:extLst>
                  <a:ext uri="{FF2B5EF4-FFF2-40B4-BE49-F238E27FC236}">
                    <a16:creationId xmlns:a16="http://schemas.microsoft.com/office/drawing/2014/main" id="{872180E7-B6B2-4DD8-88BE-907753FDFE75}"/>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7" name="Freeform 76">
                <a:extLst>
                  <a:ext uri="{FF2B5EF4-FFF2-40B4-BE49-F238E27FC236}">
                    <a16:creationId xmlns:a16="http://schemas.microsoft.com/office/drawing/2014/main" id="{1C358461-03CD-4012-9617-066CEBCB295F}"/>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8" name="Rectangle 77">
                <a:extLst>
                  <a:ext uri="{FF2B5EF4-FFF2-40B4-BE49-F238E27FC236}">
                    <a16:creationId xmlns:a16="http://schemas.microsoft.com/office/drawing/2014/main" id="{CCA8D821-7A95-4CD3-B3CF-07BD592ECAB0}"/>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9" name="Freeform 78">
                <a:extLst>
                  <a:ext uri="{FF2B5EF4-FFF2-40B4-BE49-F238E27FC236}">
                    <a16:creationId xmlns:a16="http://schemas.microsoft.com/office/drawing/2014/main" id="{195AC5F0-DE12-4C0B-A919-E19B8FD1B181}"/>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0" name="Rectangle 79">
                <a:extLst>
                  <a:ext uri="{FF2B5EF4-FFF2-40B4-BE49-F238E27FC236}">
                    <a16:creationId xmlns:a16="http://schemas.microsoft.com/office/drawing/2014/main" id="{CB2C3920-2B01-4E42-B14E-DA43F31F4C1B}"/>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81" name="Freeform 80">
                <a:extLst>
                  <a:ext uri="{FF2B5EF4-FFF2-40B4-BE49-F238E27FC236}">
                    <a16:creationId xmlns:a16="http://schemas.microsoft.com/office/drawing/2014/main" id="{ECF9C90E-9E52-4C6C-A7B5-9D1B58D93DBC}"/>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2" name="Rectangle 81">
                <a:extLst>
                  <a:ext uri="{FF2B5EF4-FFF2-40B4-BE49-F238E27FC236}">
                    <a16:creationId xmlns:a16="http://schemas.microsoft.com/office/drawing/2014/main" id="{46048347-03FB-45FA-BFC5-6D6C001D39A7}"/>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83" name="Freeform 82">
                <a:extLst>
                  <a:ext uri="{FF2B5EF4-FFF2-40B4-BE49-F238E27FC236}">
                    <a16:creationId xmlns:a16="http://schemas.microsoft.com/office/drawing/2014/main" id="{E3D856FB-5103-4278-88E2-3F6B986A9186}"/>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4" name="Rectangle 83">
                <a:extLst>
                  <a:ext uri="{FF2B5EF4-FFF2-40B4-BE49-F238E27FC236}">
                    <a16:creationId xmlns:a16="http://schemas.microsoft.com/office/drawing/2014/main" id="{10079AFE-0D66-41B5-AFE0-D63DEF5CA9A9}"/>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85" name="Freeform 84">
                <a:extLst>
                  <a:ext uri="{FF2B5EF4-FFF2-40B4-BE49-F238E27FC236}">
                    <a16:creationId xmlns:a16="http://schemas.microsoft.com/office/drawing/2014/main" id="{78EB81B3-0F80-4D4A-BCEA-FA0EA703435D}"/>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886" name="Group 1885">
            <a:extLst>
              <a:ext uri="{FF2B5EF4-FFF2-40B4-BE49-F238E27FC236}">
                <a16:creationId xmlns:a16="http://schemas.microsoft.com/office/drawing/2014/main" id="{B23F2102-4617-4328-9084-D0E93CF2B2C4}"/>
              </a:ext>
            </a:extLst>
          </p:cNvPr>
          <p:cNvGrpSpPr/>
          <p:nvPr/>
        </p:nvGrpSpPr>
        <p:grpSpPr>
          <a:xfrm>
            <a:off x="6651203" y="3261410"/>
            <a:ext cx="592064" cy="546931"/>
            <a:chOff x="6607627" y="1747838"/>
            <a:chExt cx="4471537" cy="4130674"/>
          </a:xfrm>
          <a:solidFill>
            <a:srgbClr val="505050"/>
          </a:solidFill>
        </p:grpSpPr>
        <p:sp>
          <p:nvSpPr>
            <p:cNvPr id="1887" name="Freeform 402">
              <a:extLst>
                <a:ext uri="{FF2B5EF4-FFF2-40B4-BE49-F238E27FC236}">
                  <a16:creationId xmlns:a16="http://schemas.microsoft.com/office/drawing/2014/main" id="{1522F287-ABAB-44F1-A1B5-148EBF7F9600}"/>
                </a:ext>
              </a:extLst>
            </p:cNvPr>
            <p:cNvSpPr>
              <a:spLocks/>
            </p:cNvSpPr>
            <p:nvPr/>
          </p:nvSpPr>
          <p:spPr bwMode="auto">
            <a:xfrm>
              <a:off x="8888413" y="2617788"/>
              <a:ext cx="1390650" cy="2371725"/>
            </a:xfrm>
            <a:custGeom>
              <a:avLst/>
              <a:gdLst>
                <a:gd name="T0" fmla="*/ 0 w 719"/>
                <a:gd name="T1" fmla="*/ 112 h 1232"/>
                <a:gd name="T2" fmla="*/ 0 w 719"/>
                <a:gd name="T3" fmla="*/ 1030 h 1232"/>
                <a:gd name="T4" fmla="*/ 154 w 719"/>
                <a:gd name="T5" fmla="*/ 1194 h 1232"/>
                <a:gd name="T6" fmla="*/ 381 w 719"/>
                <a:gd name="T7" fmla="*/ 1118 h 1232"/>
                <a:gd name="T8" fmla="*/ 570 w 719"/>
                <a:gd name="T9" fmla="*/ 950 h 1232"/>
                <a:gd name="T10" fmla="*/ 639 w 719"/>
                <a:gd name="T11" fmla="*/ 756 h 1232"/>
                <a:gd name="T12" fmla="*/ 639 w 719"/>
                <a:gd name="T13" fmla="*/ 559 h 1232"/>
                <a:gd name="T14" fmla="*/ 588 w 719"/>
                <a:gd name="T15" fmla="*/ 377 h 1232"/>
                <a:gd name="T16" fmla="*/ 460 w 719"/>
                <a:gd name="T17" fmla="*/ 197 h 1232"/>
                <a:gd name="T18" fmla="*/ 269 w 719"/>
                <a:gd name="T19" fmla="*/ 91 h 1232"/>
                <a:gd name="T20" fmla="*/ 133 w 719"/>
                <a:gd name="T21" fmla="*/ 4 h 1232"/>
                <a:gd name="T22" fmla="*/ 0 w 719"/>
                <a:gd name="T23" fmla="*/ 11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9" h="1232">
                  <a:moveTo>
                    <a:pt x="0" y="112"/>
                  </a:moveTo>
                  <a:cubicBezTo>
                    <a:pt x="0" y="1030"/>
                    <a:pt x="0" y="1030"/>
                    <a:pt x="0" y="1030"/>
                  </a:cubicBezTo>
                  <a:cubicBezTo>
                    <a:pt x="0" y="1030"/>
                    <a:pt x="19" y="1190"/>
                    <a:pt x="154" y="1194"/>
                  </a:cubicBezTo>
                  <a:cubicBezTo>
                    <a:pt x="154" y="1194"/>
                    <a:pt x="307" y="1232"/>
                    <a:pt x="381" y="1118"/>
                  </a:cubicBezTo>
                  <a:cubicBezTo>
                    <a:pt x="381" y="1118"/>
                    <a:pt x="528" y="1112"/>
                    <a:pt x="570" y="950"/>
                  </a:cubicBezTo>
                  <a:cubicBezTo>
                    <a:pt x="570" y="950"/>
                    <a:pt x="654" y="905"/>
                    <a:pt x="639" y="756"/>
                  </a:cubicBezTo>
                  <a:cubicBezTo>
                    <a:pt x="639" y="756"/>
                    <a:pt x="719" y="652"/>
                    <a:pt x="639" y="559"/>
                  </a:cubicBezTo>
                  <a:cubicBezTo>
                    <a:pt x="639" y="559"/>
                    <a:pt x="686" y="455"/>
                    <a:pt x="588" y="377"/>
                  </a:cubicBezTo>
                  <a:cubicBezTo>
                    <a:pt x="588" y="377"/>
                    <a:pt x="593" y="240"/>
                    <a:pt x="460" y="197"/>
                  </a:cubicBezTo>
                  <a:cubicBezTo>
                    <a:pt x="460" y="197"/>
                    <a:pt x="441" y="101"/>
                    <a:pt x="269" y="91"/>
                  </a:cubicBezTo>
                  <a:cubicBezTo>
                    <a:pt x="269" y="91"/>
                    <a:pt x="241" y="0"/>
                    <a:pt x="133" y="4"/>
                  </a:cubicBezTo>
                  <a:cubicBezTo>
                    <a:pt x="25" y="8"/>
                    <a:pt x="11" y="89"/>
                    <a:pt x="0" y="11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88" name="Freeform 403">
              <a:extLst>
                <a:ext uri="{FF2B5EF4-FFF2-40B4-BE49-F238E27FC236}">
                  <a16:creationId xmlns:a16="http://schemas.microsoft.com/office/drawing/2014/main" id="{CE866F1E-AB36-45B6-8686-A74E6684B82D}"/>
                </a:ext>
              </a:extLst>
            </p:cNvPr>
            <p:cNvSpPr>
              <a:spLocks/>
            </p:cNvSpPr>
            <p:nvPr/>
          </p:nvSpPr>
          <p:spPr bwMode="auto">
            <a:xfrm>
              <a:off x="8951913" y="2581275"/>
              <a:ext cx="1008063" cy="1179512"/>
            </a:xfrm>
            <a:custGeom>
              <a:avLst/>
              <a:gdLst>
                <a:gd name="T0" fmla="*/ 0 w 521"/>
                <a:gd name="T1" fmla="*/ 130 h 613"/>
                <a:gd name="T2" fmla="*/ 187 w 521"/>
                <a:gd name="T3" fmla="*/ 82 h 613"/>
                <a:gd name="T4" fmla="*/ 187 w 521"/>
                <a:gd name="T5" fmla="*/ 249 h 613"/>
                <a:gd name="T6" fmla="*/ 111 w 521"/>
                <a:gd name="T7" fmla="*/ 279 h 613"/>
                <a:gd name="T8" fmla="*/ 87 w 521"/>
                <a:gd name="T9" fmla="*/ 240 h 613"/>
                <a:gd name="T10" fmla="*/ 84 w 521"/>
                <a:gd name="T11" fmla="*/ 257 h 613"/>
                <a:gd name="T12" fmla="*/ 80 w 521"/>
                <a:gd name="T13" fmla="*/ 329 h 613"/>
                <a:gd name="T14" fmla="*/ 97 w 521"/>
                <a:gd name="T15" fmla="*/ 342 h 613"/>
                <a:gd name="T16" fmla="*/ 111 w 521"/>
                <a:gd name="T17" fmla="*/ 311 h 613"/>
                <a:gd name="T18" fmla="*/ 209 w 521"/>
                <a:gd name="T19" fmla="*/ 271 h 613"/>
                <a:gd name="T20" fmla="*/ 254 w 521"/>
                <a:gd name="T21" fmla="*/ 145 h 613"/>
                <a:gd name="T22" fmla="*/ 407 w 521"/>
                <a:gd name="T23" fmla="*/ 242 h 613"/>
                <a:gd name="T24" fmla="*/ 517 w 521"/>
                <a:gd name="T25" fmla="*/ 392 h 613"/>
                <a:gd name="T26" fmla="*/ 387 w 521"/>
                <a:gd name="T27" fmla="*/ 563 h 613"/>
                <a:gd name="T28" fmla="*/ 312 w 521"/>
                <a:gd name="T29" fmla="*/ 563 h 613"/>
                <a:gd name="T30" fmla="*/ 322 w 521"/>
                <a:gd name="T31" fmla="*/ 481 h 613"/>
                <a:gd name="T32" fmla="*/ 352 w 521"/>
                <a:gd name="T33" fmla="*/ 447 h 613"/>
                <a:gd name="T34" fmla="*/ 329 w 521"/>
                <a:gd name="T35" fmla="*/ 441 h 613"/>
                <a:gd name="T36" fmla="*/ 258 w 521"/>
                <a:gd name="T37" fmla="*/ 454 h 613"/>
                <a:gd name="T38" fmla="*/ 258 w 521"/>
                <a:gd name="T39" fmla="*/ 474 h 613"/>
                <a:gd name="T40" fmla="*/ 285 w 521"/>
                <a:gd name="T41" fmla="*/ 480 h 613"/>
                <a:gd name="T42" fmla="*/ 186 w 521"/>
                <a:gd name="T43" fmla="*/ 613 h 613"/>
                <a:gd name="T44" fmla="*/ 0 w 521"/>
                <a:gd name="T45" fmla="*/ 375 h 613"/>
                <a:gd name="T46" fmla="*/ 0 w 521"/>
                <a:gd name="T47" fmla="*/ 130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1" h="613">
                  <a:moveTo>
                    <a:pt x="0" y="130"/>
                  </a:moveTo>
                  <a:cubicBezTo>
                    <a:pt x="0" y="130"/>
                    <a:pt x="64" y="0"/>
                    <a:pt x="187" y="82"/>
                  </a:cubicBezTo>
                  <a:cubicBezTo>
                    <a:pt x="187" y="82"/>
                    <a:pt x="268" y="170"/>
                    <a:pt x="187" y="249"/>
                  </a:cubicBezTo>
                  <a:cubicBezTo>
                    <a:pt x="187" y="249"/>
                    <a:pt x="172" y="269"/>
                    <a:pt x="111" y="279"/>
                  </a:cubicBezTo>
                  <a:cubicBezTo>
                    <a:pt x="111" y="279"/>
                    <a:pt x="115" y="228"/>
                    <a:pt x="87" y="240"/>
                  </a:cubicBezTo>
                  <a:cubicBezTo>
                    <a:pt x="87" y="240"/>
                    <a:pt x="78" y="244"/>
                    <a:pt x="84" y="257"/>
                  </a:cubicBezTo>
                  <a:cubicBezTo>
                    <a:pt x="84" y="257"/>
                    <a:pt x="103" y="286"/>
                    <a:pt x="80" y="329"/>
                  </a:cubicBezTo>
                  <a:cubicBezTo>
                    <a:pt x="80" y="329"/>
                    <a:pt x="74" y="358"/>
                    <a:pt x="97" y="342"/>
                  </a:cubicBezTo>
                  <a:cubicBezTo>
                    <a:pt x="97" y="342"/>
                    <a:pt x="114" y="317"/>
                    <a:pt x="111" y="311"/>
                  </a:cubicBezTo>
                  <a:cubicBezTo>
                    <a:pt x="111" y="311"/>
                    <a:pt x="167" y="307"/>
                    <a:pt x="209" y="271"/>
                  </a:cubicBezTo>
                  <a:cubicBezTo>
                    <a:pt x="209" y="271"/>
                    <a:pt x="260" y="238"/>
                    <a:pt x="254" y="145"/>
                  </a:cubicBezTo>
                  <a:cubicBezTo>
                    <a:pt x="254" y="145"/>
                    <a:pt x="356" y="131"/>
                    <a:pt x="407" y="242"/>
                  </a:cubicBezTo>
                  <a:cubicBezTo>
                    <a:pt x="407" y="242"/>
                    <a:pt x="521" y="263"/>
                    <a:pt x="517" y="392"/>
                  </a:cubicBezTo>
                  <a:cubicBezTo>
                    <a:pt x="517" y="392"/>
                    <a:pt x="511" y="536"/>
                    <a:pt x="387" y="563"/>
                  </a:cubicBezTo>
                  <a:cubicBezTo>
                    <a:pt x="387" y="563"/>
                    <a:pt x="341" y="568"/>
                    <a:pt x="312" y="563"/>
                  </a:cubicBezTo>
                  <a:cubicBezTo>
                    <a:pt x="312" y="563"/>
                    <a:pt x="323" y="503"/>
                    <a:pt x="322" y="481"/>
                  </a:cubicBezTo>
                  <a:cubicBezTo>
                    <a:pt x="322" y="481"/>
                    <a:pt x="352" y="454"/>
                    <a:pt x="352" y="447"/>
                  </a:cubicBezTo>
                  <a:cubicBezTo>
                    <a:pt x="352" y="447"/>
                    <a:pt x="351" y="429"/>
                    <a:pt x="329" y="441"/>
                  </a:cubicBezTo>
                  <a:cubicBezTo>
                    <a:pt x="329" y="441"/>
                    <a:pt x="325" y="472"/>
                    <a:pt x="258" y="454"/>
                  </a:cubicBezTo>
                  <a:cubicBezTo>
                    <a:pt x="258" y="454"/>
                    <a:pt x="228" y="454"/>
                    <a:pt x="258" y="474"/>
                  </a:cubicBezTo>
                  <a:cubicBezTo>
                    <a:pt x="258" y="474"/>
                    <a:pt x="275" y="480"/>
                    <a:pt x="285" y="480"/>
                  </a:cubicBezTo>
                  <a:cubicBezTo>
                    <a:pt x="285" y="480"/>
                    <a:pt x="314" y="609"/>
                    <a:pt x="186" y="613"/>
                  </a:cubicBezTo>
                  <a:cubicBezTo>
                    <a:pt x="186" y="613"/>
                    <a:pt x="45" y="563"/>
                    <a:pt x="0" y="375"/>
                  </a:cubicBezTo>
                  <a:lnTo>
                    <a:pt x="0" y="130"/>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89" name="Freeform 404">
              <a:extLst>
                <a:ext uri="{FF2B5EF4-FFF2-40B4-BE49-F238E27FC236}">
                  <a16:creationId xmlns:a16="http://schemas.microsoft.com/office/drawing/2014/main" id="{774A2DF6-C792-4FB8-843D-EA3AD3F6FD8B}"/>
                </a:ext>
              </a:extLst>
            </p:cNvPr>
            <p:cNvSpPr>
              <a:spLocks/>
            </p:cNvSpPr>
            <p:nvPr/>
          </p:nvSpPr>
          <p:spPr bwMode="auto">
            <a:xfrm>
              <a:off x="8951913" y="3422650"/>
              <a:ext cx="1295400" cy="1455737"/>
            </a:xfrm>
            <a:custGeom>
              <a:avLst/>
              <a:gdLst>
                <a:gd name="T0" fmla="*/ 369 w 670"/>
                <a:gd name="T1" fmla="*/ 344 h 756"/>
                <a:gd name="T2" fmla="*/ 542 w 670"/>
                <a:gd name="T3" fmla="*/ 352 h 756"/>
                <a:gd name="T4" fmla="*/ 571 w 670"/>
                <a:gd name="T5" fmla="*/ 151 h 756"/>
                <a:gd name="T6" fmla="*/ 548 w 670"/>
                <a:gd name="T7" fmla="*/ 0 h 756"/>
                <a:gd name="T8" fmla="*/ 294 w 670"/>
                <a:gd name="T9" fmla="*/ 159 h 756"/>
                <a:gd name="T10" fmla="*/ 242 w 670"/>
                <a:gd name="T11" fmla="*/ 199 h 756"/>
                <a:gd name="T12" fmla="*/ 304 w 670"/>
                <a:gd name="T13" fmla="*/ 205 h 756"/>
                <a:gd name="T14" fmla="*/ 294 w 670"/>
                <a:gd name="T15" fmla="*/ 244 h 756"/>
                <a:gd name="T16" fmla="*/ 0 w 670"/>
                <a:gd name="T17" fmla="*/ 52 h 756"/>
                <a:gd name="T18" fmla="*/ 0 w 670"/>
                <a:gd name="T19" fmla="*/ 612 h 756"/>
                <a:gd name="T20" fmla="*/ 167 w 670"/>
                <a:gd name="T21" fmla="*/ 754 h 756"/>
                <a:gd name="T22" fmla="*/ 354 w 670"/>
                <a:gd name="T23" fmla="*/ 612 h 756"/>
                <a:gd name="T24" fmla="*/ 300 w 670"/>
                <a:gd name="T25" fmla="*/ 449 h 756"/>
                <a:gd name="T26" fmla="*/ 333 w 670"/>
                <a:gd name="T27" fmla="*/ 427 h 756"/>
                <a:gd name="T28" fmla="*/ 374 w 670"/>
                <a:gd name="T29" fmla="*/ 661 h 756"/>
                <a:gd name="T30" fmla="*/ 517 w 670"/>
                <a:gd name="T31" fmla="*/ 514 h 756"/>
                <a:gd name="T32" fmla="*/ 583 w 670"/>
                <a:gd name="T33" fmla="*/ 369 h 756"/>
                <a:gd name="T34" fmla="*/ 438 w 670"/>
                <a:gd name="T35" fmla="*/ 403 h 756"/>
                <a:gd name="T36" fmla="*/ 362 w 670"/>
                <a:gd name="T37" fmla="*/ 369 h 756"/>
                <a:gd name="T38" fmla="*/ 169 w 670"/>
                <a:gd name="T39" fmla="*/ 391 h 756"/>
                <a:gd name="T40" fmla="*/ 126 w 670"/>
                <a:gd name="T41" fmla="*/ 403 h 756"/>
                <a:gd name="T42" fmla="*/ 167 w 670"/>
                <a:gd name="T43" fmla="*/ 367 h 756"/>
                <a:gd name="T44" fmla="*/ 165 w 670"/>
                <a:gd name="T45" fmla="*/ 321 h 756"/>
                <a:gd name="T46" fmla="*/ 186 w 670"/>
                <a:gd name="T47" fmla="*/ 330 h 756"/>
                <a:gd name="T48" fmla="*/ 188 w 670"/>
                <a:gd name="T49" fmla="*/ 366 h 756"/>
                <a:gd name="T50" fmla="*/ 352 w 670"/>
                <a:gd name="T51" fmla="*/ 330 h 756"/>
                <a:gd name="T52" fmla="*/ 369 w 670"/>
                <a:gd name="T53" fmla="*/ 344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0" h="756">
                  <a:moveTo>
                    <a:pt x="369" y="344"/>
                  </a:moveTo>
                  <a:cubicBezTo>
                    <a:pt x="369" y="344"/>
                    <a:pt x="451" y="404"/>
                    <a:pt x="542" y="352"/>
                  </a:cubicBezTo>
                  <a:cubicBezTo>
                    <a:pt x="542" y="352"/>
                    <a:pt x="670" y="300"/>
                    <a:pt x="571" y="151"/>
                  </a:cubicBezTo>
                  <a:cubicBezTo>
                    <a:pt x="571" y="151"/>
                    <a:pt x="616" y="54"/>
                    <a:pt x="548" y="0"/>
                  </a:cubicBezTo>
                  <a:cubicBezTo>
                    <a:pt x="548" y="0"/>
                    <a:pt x="500" y="193"/>
                    <a:pt x="294" y="159"/>
                  </a:cubicBezTo>
                  <a:cubicBezTo>
                    <a:pt x="294" y="159"/>
                    <a:pt x="267" y="190"/>
                    <a:pt x="242" y="199"/>
                  </a:cubicBezTo>
                  <a:cubicBezTo>
                    <a:pt x="304" y="205"/>
                    <a:pt x="304" y="205"/>
                    <a:pt x="304" y="205"/>
                  </a:cubicBezTo>
                  <a:cubicBezTo>
                    <a:pt x="304" y="205"/>
                    <a:pt x="337" y="232"/>
                    <a:pt x="294" y="244"/>
                  </a:cubicBezTo>
                  <a:cubicBezTo>
                    <a:pt x="294" y="244"/>
                    <a:pt x="107" y="240"/>
                    <a:pt x="0" y="52"/>
                  </a:cubicBezTo>
                  <a:cubicBezTo>
                    <a:pt x="0" y="612"/>
                    <a:pt x="0" y="612"/>
                    <a:pt x="0" y="612"/>
                  </a:cubicBezTo>
                  <a:cubicBezTo>
                    <a:pt x="0" y="612"/>
                    <a:pt x="31" y="756"/>
                    <a:pt x="167" y="754"/>
                  </a:cubicBezTo>
                  <a:cubicBezTo>
                    <a:pt x="167" y="754"/>
                    <a:pt x="329" y="753"/>
                    <a:pt x="354" y="612"/>
                  </a:cubicBezTo>
                  <a:cubicBezTo>
                    <a:pt x="354" y="612"/>
                    <a:pt x="380" y="507"/>
                    <a:pt x="300" y="449"/>
                  </a:cubicBezTo>
                  <a:cubicBezTo>
                    <a:pt x="300" y="449"/>
                    <a:pt x="302" y="408"/>
                    <a:pt x="333" y="427"/>
                  </a:cubicBezTo>
                  <a:cubicBezTo>
                    <a:pt x="333" y="427"/>
                    <a:pt x="432" y="518"/>
                    <a:pt x="374" y="661"/>
                  </a:cubicBezTo>
                  <a:cubicBezTo>
                    <a:pt x="374" y="661"/>
                    <a:pt x="465" y="660"/>
                    <a:pt x="517" y="514"/>
                  </a:cubicBezTo>
                  <a:cubicBezTo>
                    <a:pt x="517" y="514"/>
                    <a:pt x="590" y="456"/>
                    <a:pt x="583" y="369"/>
                  </a:cubicBezTo>
                  <a:cubicBezTo>
                    <a:pt x="583" y="369"/>
                    <a:pt x="503" y="416"/>
                    <a:pt x="438" y="403"/>
                  </a:cubicBezTo>
                  <a:cubicBezTo>
                    <a:pt x="438" y="403"/>
                    <a:pt x="376" y="389"/>
                    <a:pt x="362" y="369"/>
                  </a:cubicBezTo>
                  <a:cubicBezTo>
                    <a:pt x="362" y="369"/>
                    <a:pt x="281" y="453"/>
                    <a:pt x="169" y="391"/>
                  </a:cubicBezTo>
                  <a:cubicBezTo>
                    <a:pt x="169" y="391"/>
                    <a:pt x="146" y="420"/>
                    <a:pt x="126" y="403"/>
                  </a:cubicBezTo>
                  <a:cubicBezTo>
                    <a:pt x="126" y="403"/>
                    <a:pt x="140" y="393"/>
                    <a:pt x="167" y="367"/>
                  </a:cubicBezTo>
                  <a:cubicBezTo>
                    <a:pt x="165" y="321"/>
                    <a:pt x="165" y="321"/>
                    <a:pt x="165" y="321"/>
                  </a:cubicBezTo>
                  <a:cubicBezTo>
                    <a:pt x="165" y="321"/>
                    <a:pt x="188" y="304"/>
                    <a:pt x="186" y="330"/>
                  </a:cubicBezTo>
                  <a:cubicBezTo>
                    <a:pt x="188" y="366"/>
                    <a:pt x="188" y="366"/>
                    <a:pt x="188" y="366"/>
                  </a:cubicBezTo>
                  <a:cubicBezTo>
                    <a:pt x="188" y="366"/>
                    <a:pt x="281" y="418"/>
                    <a:pt x="352" y="330"/>
                  </a:cubicBezTo>
                  <a:cubicBezTo>
                    <a:pt x="369" y="344"/>
                    <a:pt x="369" y="344"/>
                    <a:pt x="369" y="344"/>
                  </a:cubicBezTo>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0" name="Freeform 405">
              <a:extLst>
                <a:ext uri="{FF2B5EF4-FFF2-40B4-BE49-F238E27FC236}">
                  <a16:creationId xmlns:a16="http://schemas.microsoft.com/office/drawing/2014/main" id="{5762AC83-8C13-4CA6-8EDB-38BEECB61CFB}"/>
                </a:ext>
              </a:extLst>
            </p:cNvPr>
            <p:cNvSpPr>
              <a:spLocks/>
            </p:cNvSpPr>
            <p:nvPr/>
          </p:nvSpPr>
          <p:spPr bwMode="auto">
            <a:xfrm>
              <a:off x="7461251" y="2617788"/>
              <a:ext cx="1390650" cy="2371725"/>
            </a:xfrm>
            <a:custGeom>
              <a:avLst/>
              <a:gdLst>
                <a:gd name="T0" fmla="*/ 719 w 719"/>
                <a:gd name="T1" fmla="*/ 112 h 1232"/>
                <a:gd name="T2" fmla="*/ 719 w 719"/>
                <a:gd name="T3" fmla="*/ 1030 h 1232"/>
                <a:gd name="T4" fmla="*/ 564 w 719"/>
                <a:gd name="T5" fmla="*/ 1194 h 1232"/>
                <a:gd name="T6" fmla="*/ 338 w 719"/>
                <a:gd name="T7" fmla="*/ 1118 h 1232"/>
                <a:gd name="T8" fmla="*/ 148 w 719"/>
                <a:gd name="T9" fmla="*/ 950 h 1232"/>
                <a:gd name="T10" fmla="*/ 80 w 719"/>
                <a:gd name="T11" fmla="*/ 756 h 1232"/>
                <a:gd name="T12" fmla="*/ 80 w 719"/>
                <a:gd name="T13" fmla="*/ 559 h 1232"/>
                <a:gd name="T14" fmla="*/ 131 w 719"/>
                <a:gd name="T15" fmla="*/ 377 h 1232"/>
                <a:gd name="T16" fmla="*/ 259 w 719"/>
                <a:gd name="T17" fmla="*/ 197 h 1232"/>
                <a:gd name="T18" fmla="*/ 450 w 719"/>
                <a:gd name="T19" fmla="*/ 91 h 1232"/>
                <a:gd name="T20" fmla="*/ 586 w 719"/>
                <a:gd name="T21" fmla="*/ 4 h 1232"/>
                <a:gd name="T22" fmla="*/ 719 w 719"/>
                <a:gd name="T23" fmla="*/ 11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9" h="1232">
                  <a:moveTo>
                    <a:pt x="719" y="112"/>
                  </a:moveTo>
                  <a:cubicBezTo>
                    <a:pt x="719" y="1030"/>
                    <a:pt x="719" y="1030"/>
                    <a:pt x="719" y="1030"/>
                  </a:cubicBezTo>
                  <a:cubicBezTo>
                    <a:pt x="719" y="1030"/>
                    <a:pt x="700" y="1190"/>
                    <a:pt x="564" y="1194"/>
                  </a:cubicBezTo>
                  <a:cubicBezTo>
                    <a:pt x="564" y="1194"/>
                    <a:pt x="411" y="1232"/>
                    <a:pt x="338" y="1118"/>
                  </a:cubicBezTo>
                  <a:cubicBezTo>
                    <a:pt x="338" y="1118"/>
                    <a:pt x="191" y="1112"/>
                    <a:pt x="148" y="950"/>
                  </a:cubicBezTo>
                  <a:cubicBezTo>
                    <a:pt x="148" y="950"/>
                    <a:pt x="65" y="905"/>
                    <a:pt x="80" y="756"/>
                  </a:cubicBezTo>
                  <a:cubicBezTo>
                    <a:pt x="80" y="756"/>
                    <a:pt x="0" y="652"/>
                    <a:pt x="80" y="559"/>
                  </a:cubicBezTo>
                  <a:cubicBezTo>
                    <a:pt x="80" y="559"/>
                    <a:pt x="32" y="455"/>
                    <a:pt x="131" y="377"/>
                  </a:cubicBezTo>
                  <a:cubicBezTo>
                    <a:pt x="131" y="377"/>
                    <a:pt x="125" y="240"/>
                    <a:pt x="259" y="197"/>
                  </a:cubicBezTo>
                  <a:cubicBezTo>
                    <a:pt x="259" y="197"/>
                    <a:pt x="278" y="101"/>
                    <a:pt x="450" y="91"/>
                  </a:cubicBezTo>
                  <a:cubicBezTo>
                    <a:pt x="450" y="91"/>
                    <a:pt x="477" y="0"/>
                    <a:pt x="586" y="4"/>
                  </a:cubicBezTo>
                  <a:cubicBezTo>
                    <a:pt x="694" y="8"/>
                    <a:pt x="707" y="89"/>
                    <a:pt x="719" y="1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1" name="Freeform 406">
              <a:extLst>
                <a:ext uri="{FF2B5EF4-FFF2-40B4-BE49-F238E27FC236}">
                  <a16:creationId xmlns:a16="http://schemas.microsoft.com/office/drawing/2014/main" id="{AB6D15F0-06B2-45AB-B187-70DC80D8812C}"/>
                </a:ext>
              </a:extLst>
            </p:cNvPr>
            <p:cNvSpPr>
              <a:spLocks/>
            </p:cNvSpPr>
            <p:nvPr/>
          </p:nvSpPr>
          <p:spPr bwMode="auto">
            <a:xfrm>
              <a:off x="7780338" y="2581275"/>
              <a:ext cx="1008063" cy="1179512"/>
            </a:xfrm>
            <a:custGeom>
              <a:avLst/>
              <a:gdLst>
                <a:gd name="T0" fmla="*/ 521 w 521"/>
                <a:gd name="T1" fmla="*/ 130 h 613"/>
                <a:gd name="T2" fmla="*/ 334 w 521"/>
                <a:gd name="T3" fmla="*/ 82 h 613"/>
                <a:gd name="T4" fmla="*/ 334 w 521"/>
                <a:gd name="T5" fmla="*/ 249 h 613"/>
                <a:gd name="T6" fmla="*/ 409 w 521"/>
                <a:gd name="T7" fmla="*/ 279 h 613"/>
                <a:gd name="T8" fmla="*/ 433 w 521"/>
                <a:gd name="T9" fmla="*/ 240 h 613"/>
                <a:gd name="T10" fmla="*/ 437 w 521"/>
                <a:gd name="T11" fmla="*/ 257 h 613"/>
                <a:gd name="T12" fmla="*/ 441 w 521"/>
                <a:gd name="T13" fmla="*/ 329 h 613"/>
                <a:gd name="T14" fmla="*/ 424 w 521"/>
                <a:gd name="T15" fmla="*/ 342 h 613"/>
                <a:gd name="T16" fmla="*/ 409 w 521"/>
                <a:gd name="T17" fmla="*/ 311 h 613"/>
                <a:gd name="T18" fmla="*/ 311 w 521"/>
                <a:gd name="T19" fmla="*/ 271 h 613"/>
                <a:gd name="T20" fmla="*/ 267 w 521"/>
                <a:gd name="T21" fmla="*/ 145 h 613"/>
                <a:gd name="T22" fmla="*/ 114 w 521"/>
                <a:gd name="T23" fmla="*/ 242 h 613"/>
                <a:gd name="T24" fmla="*/ 4 w 521"/>
                <a:gd name="T25" fmla="*/ 392 h 613"/>
                <a:gd name="T26" fmla="*/ 133 w 521"/>
                <a:gd name="T27" fmla="*/ 563 h 613"/>
                <a:gd name="T28" fmla="*/ 209 w 521"/>
                <a:gd name="T29" fmla="*/ 563 h 613"/>
                <a:gd name="T30" fmla="*/ 199 w 521"/>
                <a:gd name="T31" fmla="*/ 481 h 613"/>
                <a:gd name="T32" fmla="*/ 168 w 521"/>
                <a:gd name="T33" fmla="*/ 447 h 613"/>
                <a:gd name="T34" fmla="*/ 191 w 521"/>
                <a:gd name="T35" fmla="*/ 441 h 613"/>
                <a:gd name="T36" fmla="*/ 262 w 521"/>
                <a:gd name="T37" fmla="*/ 454 h 613"/>
                <a:gd name="T38" fmla="*/ 262 w 521"/>
                <a:gd name="T39" fmla="*/ 474 h 613"/>
                <a:gd name="T40" fmla="*/ 236 w 521"/>
                <a:gd name="T41" fmla="*/ 480 h 613"/>
                <a:gd name="T42" fmla="*/ 335 w 521"/>
                <a:gd name="T43" fmla="*/ 613 h 613"/>
                <a:gd name="T44" fmla="*/ 521 w 521"/>
                <a:gd name="T45" fmla="*/ 375 h 613"/>
                <a:gd name="T46" fmla="*/ 521 w 521"/>
                <a:gd name="T47" fmla="*/ 130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1" h="613">
                  <a:moveTo>
                    <a:pt x="521" y="130"/>
                  </a:moveTo>
                  <a:cubicBezTo>
                    <a:pt x="521" y="130"/>
                    <a:pt x="457" y="0"/>
                    <a:pt x="334" y="82"/>
                  </a:cubicBezTo>
                  <a:cubicBezTo>
                    <a:pt x="334" y="82"/>
                    <a:pt x="252" y="170"/>
                    <a:pt x="334" y="249"/>
                  </a:cubicBezTo>
                  <a:cubicBezTo>
                    <a:pt x="334" y="249"/>
                    <a:pt x="349" y="269"/>
                    <a:pt x="409" y="279"/>
                  </a:cubicBezTo>
                  <a:cubicBezTo>
                    <a:pt x="409" y="279"/>
                    <a:pt x="406" y="228"/>
                    <a:pt x="433" y="240"/>
                  </a:cubicBezTo>
                  <a:cubicBezTo>
                    <a:pt x="433" y="240"/>
                    <a:pt x="443" y="244"/>
                    <a:pt x="437" y="257"/>
                  </a:cubicBezTo>
                  <a:cubicBezTo>
                    <a:pt x="437" y="257"/>
                    <a:pt x="418" y="286"/>
                    <a:pt x="441" y="329"/>
                  </a:cubicBezTo>
                  <a:cubicBezTo>
                    <a:pt x="441" y="329"/>
                    <a:pt x="447" y="358"/>
                    <a:pt x="424" y="342"/>
                  </a:cubicBezTo>
                  <a:cubicBezTo>
                    <a:pt x="424" y="342"/>
                    <a:pt x="407" y="317"/>
                    <a:pt x="409" y="311"/>
                  </a:cubicBezTo>
                  <a:cubicBezTo>
                    <a:pt x="409" y="311"/>
                    <a:pt x="354" y="307"/>
                    <a:pt x="311" y="271"/>
                  </a:cubicBezTo>
                  <a:cubicBezTo>
                    <a:pt x="311" y="271"/>
                    <a:pt x="261" y="238"/>
                    <a:pt x="267" y="145"/>
                  </a:cubicBezTo>
                  <a:cubicBezTo>
                    <a:pt x="267" y="145"/>
                    <a:pt x="164" y="131"/>
                    <a:pt x="114" y="242"/>
                  </a:cubicBezTo>
                  <a:cubicBezTo>
                    <a:pt x="114" y="242"/>
                    <a:pt x="0" y="263"/>
                    <a:pt x="4" y="392"/>
                  </a:cubicBezTo>
                  <a:cubicBezTo>
                    <a:pt x="4" y="392"/>
                    <a:pt x="10" y="536"/>
                    <a:pt x="133" y="563"/>
                  </a:cubicBezTo>
                  <a:cubicBezTo>
                    <a:pt x="133" y="563"/>
                    <a:pt x="180" y="568"/>
                    <a:pt x="209" y="563"/>
                  </a:cubicBezTo>
                  <a:cubicBezTo>
                    <a:pt x="209" y="563"/>
                    <a:pt x="197" y="503"/>
                    <a:pt x="199" y="481"/>
                  </a:cubicBezTo>
                  <a:cubicBezTo>
                    <a:pt x="199" y="481"/>
                    <a:pt x="168" y="454"/>
                    <a:pt x="168" y="447"/>
                  </a:cubicBezTo>
                  <a:cubicBezTo>
                    <a:pt x="168" y="447"/>
                    <a:pt x="170" y="429"/>
                    <a:pt x="191" y="441"/>
                  </a:cubicBezTo>
                  <a:cubicBezTo>
                    <a:pt x="191" y="441"/>
                    <a:pt x="196" y="472"/>
                    <a:pt x="262" y="454"/>
                  </a:cubicBezTo>
                  <a:cubicBezTo>
                    <a:pt x="262" y="454"/>
                    <a:pt x="293" y="454"/>
                    <a:pt x="262" y="474"/>
                  </a:cubicBezTo>
                  <a:cubicBezTo>
                    <a:pt x="262" y="474"/>
                    <a:pt x="246" y="480"/>
                    <a:pt x="236" y="480"/>
                  </a:cubicBezTo>
                  <a:cubicBezTo>
                    <a:pt x="236" y="480"/>
                    <a:pt x="207" y="609"/>
                    <a:pt x="335" y="613"/>
                  </a:cubicBezTo>
                  <a:cubicBezTo>
                    <a:pt x="335" y="613"/>
                    <a:pt x="476" y="563"/>
                    <a:pt x="521" y="375"/>
                  </a:cubicBezTo>
                  <a:lnTo>
                    <a:pt x="521" y="130"/>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2" name="Freeform 407">
              <a:extLst>
                <a:ext uri="{FF2B5EF4-FFF2-40B4-BE49-F238E27FC236}">
                  <a16:creationId xmlns:a16="http://schemas.microsoft.com/office/drawing/2014/main" id="{B1C0FB80-8DF3-4720-9CA2-1360635AEEC0}"/>
                </a:ext>
              </a:extLst>
            </p:cNvPr>
            <p:cNvSpPr>
              <a:spLocks/>
            </p:cNvSpPr>
            <p:nvPr/>
          </p:nvSpPr>
          <p:spPr bwMode="auto">
            <a:xfrm>
              <a:off x="7493001" y="3422650"/>
              <a:ext cx="1295400" cy="1455737"/>
            </a:xfrm>
            <a:custGeom>
              <a:avLst/>
              <a:gdLst>
                <a:gd name="T0" fmla="*/ 300 w 670"/>
                <a:gd name="T1" fmla="*/ 344 h 756"/>
                <a:gd name="T2" fmla="*/ 128 w 670"/>
                <a:gd name="T3" fmla="*/ 352 h 756"/>
                <a:gd name="T4" fmla="*/ 99 w 670"/>
                <a:gd name="T5" fmla="*/ 151 h 756"/>
                <a:gd name="T6" fmla="*/ 122 w 670"/>
                <a:gd name="T7" fmla="*/ 0 h 756"/>
                <a:gd name="T8" fmla="*/ 375 w 670"/>
                <a:gd name="T9" fmla="*/ 159 h 756"/>
                <a:gd name="T10" fmla="*/ 427 w 670"/>
                <a:gd name="T11" fmla="*/ 199 h 756"/>
                <a:gd name="T12" fmla="*/ 366 w 670"/>
                <a:gd name="T13" fmla="*/ 205 h 756"/>
                <a:gd name="T14" fmla="*/ 375 w 670"/>
                <a:gd name="T15" fmla="*/ 244 h 756"/>
                <a:gd name="T16" fmla="*/ 670 w 670"/>
                <a:gd name="T17" fmla="*/ 52 h 756"/>
                <a:gd name="T18" fmla="*/ 670 w 670"/>
                <a:gd name="T19" fmla="*/ 612 h 756"/>
                <a:gd name="T20" fmla="*/ 503 w 670"/>
                <a:gd name="T21" fmla="*/ 754 h 756"/>
                <a:gd name="T22" fmla="*/ 315 w 670"/>
                <a:gd name="T23" fmla="*/ 612 h 756"/>
                <a:gd name="T24" fmla="*/ 369 w 670"/>
                <a:gd name="T25" fmla="*/ 449 h 756"/>
                <a:gd name="T26" fmla="*/ 337 w 670"/>
                <a:gd name="T27" fmla="*/ 427 h 756"/>
                <a:gd name="T28" fmla="*/ 296 w 670"/>
                <a:gd name="T29" fmla="*/ 661 h 756"/>
                <a:gd name="T30" fmla="*/ 153 w 670"/>
                <a:gd name="T31" fmla="*/ 514 h 756"/>
                <a:gd name="T32" fmla="*/ 87 w 670"/>
                <a:gd name="T33" fmla="*/ 369 h 756"/>
                <a:gd name="T34" fmla="*/ 232 w 670"/>
                <a:gd name="T35" fmla="*/ 403 h 756"/>
                <a:gd name="T36" fmla="*/ 307 w 670"/>
                <a:gd name="T37" fmla="*/ 369 h 756"/>
                <a:gd name="T38" fmla="*/ 501 w 670"/>
                <a:gd name="T39" fmla="*/ 391 h 756"/>
                <a:gd name="T40" fmla="*/ 543 w 670"/>
                <a:gd name="T41" fmla="*/ 403 h 756"/>
                <a:gd name="T42" fmla="*/ 503 w 670"/>
                <a:gd name="T43" fmla="*/ 367 h 756"/>
                <a:gd name="T44" fmla="*/ 505 w 670"/>
                <a:gd name="T45" fmla="*/ 321 h 756"/>
                <a:gd name="T46" fmla="*/ 484 w 670"/>
                <a:gd name="T47" fmla="*/ 330 h 756"/>
                <a:gd name="T48" fmla="*/ 482 w 670"/>
                <a:gd name="T49" fmla="*/ 366 h 756"/>
                <a:gd name="T50" fmla="*/ 317 w 670"/>
                <a:gd name="T51" fmla="*/ 33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0" h="756">
                  <a:moveTo>
                    <a:pt x="300" y="344"/>
                  </a:moveTo>
                  <a:cubicBezTo>
                    <a:pt x="300" y="344"/>
                    <a:pt x="219" y="404"/>
                    <a:pt x="128" y="352"/>
                  </a:cubicBezTo>
                  <a:cubicBezTo>
                    <a:pt x="128" y="352"/>
                    <a:pt x="0" y="300"/>
                    <a:pt x="99" y="151"/>
                  </a:cubicBezTo>
                  <a:cubicBezTo>
                    <a:pt x="99" y="151"/>
                    <a:pt x="54" y="54"/>
                    <a:pt x="122" y="0"/>
                  </a:cubicBezTo>
                  <a:cubicBezTo>
                    <a:pt x="122" y="0"/>
                    <a:pt x="170" y="193"/>
                    <a:pt x="375" y="159"/>
                  </a:cubicBezTo>
                  <a:cubicBezTo>
                    <a:pt x="375" y="159"/>
                    <a:pt x="402" y="190"/>
                    <a:pt x="427" y="199"/>
                  </a:cubicBezTo>
                  <a:cubicBezTo>
                    <a:pt x="366" y="205"/>
                    <a:pt x="366" y="205"/>
                    <a:pt x="366" y="205"/>
                  </a:cubicBezTo>
                  <a:cubicBezTo>
                    <a:pt x="366" y="205"/>
                    <a:pt x="333" y="232"/>
                    <a:pt x="375" y="244"/>
                  </a:cubicBezTo>
                  <a:cubicBezTo>
                    <a:pt x="375" y="244"/>
                    <a:pt x="563" y="240"/>
                    <a:pt x="670" y="52"/>
                  </a:cubicBezTo>
                  <a:cubicBezTo>
                    <a:pt x="670" y="612"/>
                    <a:pt x="670" y="612"/>
                    <a:pt x="670" y="612"/>
                  </a:cubicBezTo>
                  <a:cubicBezTo>
                    <a:pt x="670" y="612"/>
                    <a:pt x="638" y="756"/>
                    <a:pt x="503" y="754"/>
                  </a:cubicBezTo>
                  <a:cubicBezTo>
                    <a:pt x="503" y="754"/>
                    <a:pt x="340" y="753"/>
                    <a:pt x="315" y="612"/>
                  </a:cubicBezTo>
                  <a:cubicBezTo>
                    <a:pt x="315" y="612"/>
                    <a:pt x="290" y="507"/>
                    <a:pt x="369" y="449"/>
                  </a:cubicBezTo>
                  <a:cubicBezTo>
                    <a:pt x="369" y="449"/>
                    <a:pt x="367" y="408"/>
                    <a:pt x="337" y="427"/>
                  </a:cubicBezTo>
                  <a:cubicBezTo>
                    <a:pt x="337" y="427"/>
                    <a:pt x="238" y="518"/>
                    <a:pt x="296" y="661"/>
                  </a:cubicBezTo>
                  <a:cubicBezTo>
                    <a:pt x="296" y="661"/>
                    <a:pt x="205" y="660"/>
                    <a:pt x="153" y="514"/>
                  </a:cubicBezTo>
                  <a:cubicBezTo>
                    <a:pt x="153" y="514"/>
                    <a:pt x="79" y="456"/>
                    <a:pt x="87" y="369"/>
                  </a:cubicBezTo>
                  <a:cubicBezTo>
                    <a:pt x="87" y="369"/>
                    <a:pt x="166" y="416"/>
                    <a:pt x="232" y="403"/>
                  </a:cubicBezTo>
                  <a:cubicBezTo>
                    <a:pt x="232" y="403"/>
                    <a:pt x="294" y="389"/>
                    <a:pt x="307" y="369"/>
                  </a:cubicBezTo>
                  <a:cubicBezTo>
                    <a:pt x="307" y="369"/>
                    <a:pt x="389" y="453"/>
                    <a:pt x="501" y="391"/>
                  </a:cubicBezTo>
                  <a:cubicBezTo>
                    <a:pt x="501" y="391"/>
                    <a:pt x="524" y="420"/>
                    <a:pt x="543" y="403"/>
                  </a:cubicBezTo>
                  <a:cubicBezTo>
                    <a:pt x="543" y="403"/>
                    <a:pt x="530" y="393"/>
                    <a:pt x="503" y="367"/>
                  </a:cubicBezTo>
                  <a:cubicBezTo>
                    <a:pt x="505" y="321"/>
                    <a:pt x="505" y="321"/>
                    <a:pt x="505" y="321"/>
                  </a:cubicBezTo>
                  <a:cubicBezTo>
                    <a:pt x="505" y="321"/>
                    <a:pt x="482" y="304"/>
                    <a:pt x="484" y="330"/>
                  </a:cubicBezTo>
                  <a:cubicBezTo>
                    <a:pt x="482" y="366"/>
                    <a:pt x="482" y="366"/>
                    <a:pt x="482" y="366"/>
                  </a:cubicBezTo>
                  <a:cubicBezTo>
                    <a:pt x="482" y="366"/>
                    <a:pt x="389" y="418"/>
                    <a:pt x="317" y="330"/>
                  </a:cubicBezTo>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3" name="Freeform 408">
              <a:extLst>
                <a:ext uri="{FF2B5EF4-FFF2-40B4-BE49-F238E27FC236}">
                  <a16:creationId xmlns:a16="http://schemas.microsoft.com/office/drawing/2014/main" id="{E0D2D158-A004-4EE2-84D6-20FE308A845E}"/>
                </a:ext>
              </a:extLst>
            </p:cNvPr>
            <p:cNvSpPr>
              <a:spLocks/>
            </p:cNvSpPr>
            <p:nvPr/>
          </p:nvSpPr>
          <p:spPr bwMode="auto">
            <a:xfrm>
              <a:off x="8343901" y="5013325"/>
              <a:ext cx="1050925" cy="149225"/>
            </a:xfrm>
            <a:custGeom>
              <a:avLst/>
              <a:gdLst>
                <a:gd name="T0" fmla="*/ 509 w 544"/>
                <a:gd name="T1" fmla="*/ 0 h 78"/>
                <a:gd name="T2" fmla="*/ 36 w 544"/>
                <a:gd name="T3" fmla="*/ 0 h 78"/>
                <a:gd name="T4" fmla="*/ 0 w 544"/>
                <a:gd name="T5" fmla="*/ 29 h 78"/>
                <a:gd name="T6" fmla="*/ 0 w 544"/>
                <a:gd name="T7" fmla="*/ 49 h 78"/>
                <a:gd name="T8" fmla="*/ 36 w 544"/>
                <a:gd name="T9" fmla="*/ 78 h 78"/>
                <a:gd name="T10" fmla="*/ 509 w 544"/>
                <a:gd name="T11" fmla="*/ 78 h 78"/>
                <a:gd name="T12" fmla="*/ 544 w 544"/>
                <a:gd name="T13" fmla="*/ 49 h 78"/>
                <a:gd name="T14" fmla="*/ 544 w 544"/>
                <a:gd name="T15" fmla="*/ 29 h 78"/>
                <a:gd name="T16" fmla="*/ 509 w 544"/>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4" h="78">
                  <a:moveTo>
                    <a:pt x="509" y="0"/>
                  </a:moveTo>
                  <a:cubicBezTo>
                    <a:pt x="36" y="0"/>
                    <a:pt x="36" y="0"/>
                    <a:pt x="36" y="0"/>
                  </a:cubicBezTo>
                  <a:cubicBezTo>
                    <a:pt x="16" y="0"/>
                    <a:pt x="0" y="13"/>
                    <a:pt x="0" y="29"/>
                  </a:cubicBezTo>
                  <a:cubicBezTo>
                    <a:pt x="0" y="49"/>
                    <a:pt x="0" y="49"/>
                    <a:pt x="0" y="49"/>
                  </a:cubicBezTo>
                  <a:cubicBezTo>
                    <a:pt x="0" y="65"/>
                    <a:pt x="16" y="78"/>
                    <a:pt x="36" y="78"/>
                  </a:cubicBezTo>
                  <a:cubicBezTo>
                    <a:pt x="509" y="78"/>
                    <a:pt x="509" y="78"/>
                    <a:pt x="509" y="78"/>
                  </a:cubicBezTo>
                  <a:cubicBezTo>
                    <a:pt x="528" y="78"/>
                    <a:pt x="544" y="65"/>
                    <a:pt x="544" y="49"/>
                  </a:cubicBezTo>
                  <a:cubicBezTo>
                    <a:pt x="544" y="29"/>
                    <a:pt x="544" y="29"/>
                    <a:pt x="544" y="29"/>
                  </a:cubicBezTo>
                  <a:cubicBezTo>
                    <a:pt x="544" y="13"/>
                    <a:pt x="528"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4" name="Freeform 409">
              <a:extLst>
                <a:ext uri="{FF2B5EF4-FFF2-40B4-BE49-F238E27FC236}">
                  <a16:creationId xmlns:a16="http://schemas.microsoft.com/office/drawing/2014/main" id="{DDB7737D-B667-409D-9AAF-2B10898F2849}"/>
                </a:ext>
              </a:extLst>
            </p:cNvPr>
            <p:cNvSpPr>
              <a:spLocks/>
            </p:cNvSpPr>
            <p:nvPr/>
          </p:nvSpPr>
          <p:spPr bwMode="auto">
            <a:xfrm>
              <a:off x="8343901" y="5237163"/>
              <a:ext cx="1050925" cy="150812"/>
            </a:xfrm>
            <a:custGeom>
              <a:avLst/>
              <a:gdLst>
                <a:gd name="T0" fmla="*/ 509 w 544"/>
                <a:gd name="T1" fmla="*/ 0 h 78"/>
                <a:gd name="T2" fmla="*/ 36 w 544"/>
                <a:gd name="T3" fmla="*/ 0 h 78"/>
                <a:gd name="T4" fmla="*/ 0 w 544"/>
                <a:gd name="T5" fmla="*/ 29 h 78"/>
                <a:gd name="T6" fmla="*/ 0 w 544"/>
                <a:gd name="T7" fmla="*/ 49 h 78"/>
                <a:gd name="T8" fmla="*/ 36 w 544"/>
                <a:gd name="T9" fmla="*/ 78 h 78"/>
                <a:gd name="T10" fmla="*/ 509 w 544"/>
                <a:gd name="T11" fmla="*/ 78 h 78"/>
                <a:gd name="T12" fmla="*/ 544 w 544"/>
                <a:gd name="T13" fmla="*/ 49 h 78"/>
                <a:gd name="T14" fmla="*/ 544 w 544"/>
                <a:gd name="T15" fmla="*/ 29 h 78"/>
                <a:gd name="T16" fmla="*/ 509 w 544"/>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4" h="78">
                  <a:moveTo>
                    <a:pt x="509" y="0"/>
                  </a:moveTo>
                  <a:cubicBezTo>
                    <a:pt x="36" y="0"/>
                    <a:pt x="36" y="0"/>
                    <a:pt x="36" y="0"/>
                  </a:cubicBezTo>
                  <a:cubicBezTo>
                    <a:pt x="16" y="0"/>
                    <a:pt x="0" y="13"/>
                    <a:pt x="0" y="29"/>
                  </a:cubicBezTo>
                  <a:cubicBezTo>
                    <a:pt x="0" y="49"/>
                    <a:pt x="0" y="49"/>
                    <a:pt x="0" y="49"/>
                  </a:cubicBezTo>
                  <a:cubicBezTo>
                    <a:pt x="0" y="65"/>
                    <a:pt x="16" y="78"/>
                    <a:pt x="36" y="78"/>
                  </a:cubicBezTo>
                  <a:cubicBezTo>
                    <a:pt x="509" y="78"/>
                    <a:pt x="509" y="78"/>
                    <a:pt x="509" y="78"/>
                  </a:cubicBezTo>
                  <a:cubicBezTo>
                    <a:pt x="528" y="78"/>
                    <a:pt x="544" y="65"/>
                    <a:pt x="544" y="49"/>
                  </a:cubicBezTo>
                  <a:cubicBezTo>
                    <a:pt x="544" y="29"/>
                    <a:pt x="544" y="29"/>
                    <a:pt x="544" y="29"/>
                  </a:cubicBezTo>
                  <a:cubicBezTo>
                    <a:pt x="544" y="13"/>
                    <a:pt x="528"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5" name="Freeform 410">
              <a:extLst>
                <a:ext uri="{FF2B5EF4-FFF2-40B4-BE49-F238E27FC236}">
                  <a16:creationId xmlns:a16="http://schemas.microsoft.com/office/drawing/2014/main" id="{B0DB36E3-7DE3-425F-A993-E257471A888F}"/>
                </a:ext>
              </a:extLst>
            </p:cNvPr>
            <p:cNvSpPr>
              <a:spLocks/>
            </p:cNvSpPr>
            <p:nvPr/>
          </p:nvSpPr>
          <p:spPr bwMode="auto">
            <a:xfrm>
              <a:off x="8343901" y="5462588"/>
              <a:ext cx="1050925" cy="152400"/>
            </a:xfrm>
            <a:custGeom>
              <a:avLst/>
              <a:gdLst>
                <a:gd name="T0" fmla="*/ 509 w 544"/>
                <a:gd name="T1" fmla="*/ 0 h 79"/>
                <a:gd name="T2" fmla="*/ 36 w 544"/>
                <a:gd name="T3" fmla="*/ 0 h 79"/>
                <a:gd name="T4" fmla="*/ 0 w 544"/>
                <a:gd name="T5" fmla="*/ 30 h 79"/>
                <a:gd name="T6" fmla="*/ 0 w 544"/>
                <a:gd name="T7" fmla="*/ 49 h 79"/>
                <a:gd name="T8" fmla="*/ 36 w 544"/>
                <a:gd name="T9" fmla="*/ 79 h 79"/>
                <a:gd name="T10" fmla="*/ 509 w 544"/>
                <a:gd name="T11" fmla="*/ 79 h 79"/>
                <a:gd name="T12" fmla="*/ 544 w 544"/>
                <a:gd name="T13" fmla="*/ 49 h 79"/>
                <a:gd name="T14" fmla="*/ 544 w 544"/>
                <a:gd name="T15" fmla="*/ 30 h 79"/>
                <a:gd name="T16" fmla="*/ 509 w 544"/>
                <a:gd name="T1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4" h="79">
                  <a:moveTo>
                    <a:pt x="509" y="0"/>
                  </a:moveTo>
                  <a:cubicBezTo>
                    <a:pt x="36" y="0"/>
                    <a:pt x="36" y="0"/>
                    <a:pt x="36" y="0"/>
                  </a:cubicBezTo>
                  <a:cubicBezTo>
                    <a:pt x="16" y="0"/>
                    <a:pt x="0" y="14"/>
                    <a:pt x="0" y="30"/>
                  </a:cubicBezTo>
                  <a:cubicBezTo>
                    <a:pt x="0" y="49"/>
                    <a:pt x="0" y="49"/>
                    <a:pt x="0" y="49"/>
                  </a:cubicBezTo>
                  <a:cubicBezTo>
                    <a:pt x="0" y="66"/>
                    <a:pt x="16" y="79"/>
                    <a:pt x="36" y="79"/>
                  </a:cubicBezTo>
                  <a:cubicBezTo>
                    <a:pt x="509" y="79"/>
                    <a:pt x="509" y="79"/>
                    <a:pt x="509" y="79"/>
                  </a:cubicBezTo>
                  <a:cubicBezTo>
                    <a:pt x="528" y="79"/>
                    <a:pt x="544" y="66"/>
                    <a:pt x="544" y="49"/>
                  </a:cubicBezTo>
                  <a:cubicBezTo>
                    <a:pt x="544" y="30"/>
                    <a:pt x="544" y="30"/>
                    <a:pt x="544" y="30"/>
                  </a:cubicBezTo>
                  <a:cubicBezTo>
                    <a:pt x="544" y="14"/>
                    <a:pt x="528"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6" name="Freeform 411">
              <a:extLst>
                <a:ext uri="{FF2B5EF4-FFF2-40B4-BE49-F238E27FC236}">
                  <a16:creationId xmlns:a16="http://schemas.microsoft.com/office/drawing/2014/main" id="{26AE16D7-9432-42C2-8212-03B0EBAD7D34}"/>
                </a:ext>
              </a:extLst>
            </p:cNvPr>
            <p:cNvSpPr>
              <a:spLocks/>
            </p:cNvSpPr>
            <p:nvPr/>
          </p:nvSpPr>
          <p:spPr bwMode="auto">
            <a:xfrm>
              <a:off x="8526463" y="5689600"/>
              <a:ext cx="687388" cy="188912"/>
            </a:xfrm>
            <a:custGeom>
              <a:avLst/>
              <a:gdLst>
                <a:gd name="T0" fmla="*/ 0 w 355"/>
                <a:gd name="T1" fmla="*/ 0 h 98"/>
                <a:gd name="T2" fmla="*/ 355 w 355"/>
                <a:gd name="T3" fmla="*/ 0 h 98"/>
                <a:gd name="T4" fmla="*/ 177 w 355"/>
                <a:gd name="T5" fmla="*/ 98 h 98"/>
                <a:gd name="T6" fmla="*/ 0 w 355"/>
                <a:gd name="T7" fmla="*/ 0 h 98"/>
              </a:gdLst>
              <a:ahLst/>
              <a:cxnLst>
                <a:cxn ang="0">
                  <a:pos x="T0" y="T1"/>
                </a:cxn>
                <a:cxn ang="0">
                  <a:pos x="T2" y="T3"/>
                </a:cxn>
                <a:cxn ang="0">
                  <a:pos x="T4" y="T5"/>
                </a:cxn>
                <a:cxn ang="0">
                  <a:pos x="T6" y="T7"/>
                </a:cxn>
              </a:cxnLst>
              <a:rect l="0" t="0" r="r" b="b"/>
              <a:pathLst>
                <a:path w="355" h="98">
                  <a:moveTo>
                    <a:pt x="0" y="0"/>
                  </a:moveTo>
                  <a:cubicBezTo>
                    <a:pt x="355" y="0"/>
                    <a:pt x="355" y="0"/>
                    <a:pt x="355" y="0"/>
                  </a:cubicBezTo>
                  <a:cubicBezTo>
                    <a:pt x="355" y="58"/>
                    <a:pt x="260" y="98"/>
                    <a:pt x="177" y="98"/>
                  </a:cubicBezTo>
                  <a:cubicBezTo>
                    <a:pt x="95" y="98"/>
                    <a:pt x="0" y="58"/>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7" name="Freeform 412">
              <a:extLst>
                <a:ext uri="{FF2B5EF4-FFF2-40B4-BE49-F238E27FC236}">
                  <a16:creationId xmlns:a16="http://schemas.microsoft.com/office/drawing/2014/main" id="{6082F1D2-E357-4C04-98EE-EB56B66527AD}"/>
                </a:ext>
              </a:extLst>
            </p:cNvPr>
            <p:cNvSpPr>
              <a:spLocks/>
            </p:cNvSpPr>
            <p:nvPr/>
          </p:nvSpPr>
          <p:spPr bwMode="auto">
            <a:xfrm>
              <a:off x="8782051" y="1747838"/>
              <a:ext cx="174625" cy="769937"/>
            </a:xfrm>
            <a:custGeom>
              <a:avLst/>
              <a:gdLst>
                <a:gd name="T0" fmla="*/ 90 w 90"/>
                <a:gd name="T1" fmla="*/ 355 h 400"/>
                <a:gd name="T2" fmla="*/ 45 w 90"/>
                <a:gd name="T3" fmla="*/ 400 h 400"/>
                <a:gd name="T4" fmla="*/ 0 w 90"/>
                <a:gd name="T5" fmla="*/ 355 h 400"/>
                <a:gd name="T6" fmla="*/ 0 w 90"/>
                <a:gd name="T7" fmla="*/ 45 h 400"/>
                <a:gd name="T8" fmla="*/ 45 w 90"/>
                <a:gd name="T9" fmla="*/ 0 h 400"/>
                <a:gd name="T10" fmla="*/ 90 w 90"/>
                <a:gd name="T11" fmla="*/ 45 h 400"/>
                <a:gd name="T12" fmla="*/ 90 w 90"/>
                <a:gd name="T13" fmla="*/ 355 h 400"/>
              </a:gdLst>
              <a:ahLst/>
              <a:cxnLst>
                <a:cxn ang="0">
                  <a:pos x="T0" y="T1"/>
                </a:cxn>
                <a:cxn ang="0">
                  <a:pos x="T2" y="T3"/>
                </a:cxn>
                <a:cxn ang="0">
                  <a:pos x="T4" y="T5"/>
                </a:cxn>
                <a:cxn ang="0">
                  <a:pos x="T6" y="T7"/>
                </a:cxn>
                <a:cxn ang="0">
                  <a:pos x="T8" y="T9"/>
                </a:cxn>
                <a:cxn ang="0">
                  <a:pos x="T10" y="T11"/>
                </a:cxn>
                <a:cxn ang="0">
                  <a:pos x="T12" y="T13"/>
                </a:cxn>
              </a:cxnLst>
              <a:rect l="0" t="0" r="r" b="b"/>
              <a:pathLst>
                <a:path w="90" h="400">
                  <a:moveTo>
                    <a:pt x="90" y="355"/>
                  </a:moveTo>
                  <a:cubicBezTo>
                    <a:pt x="90" y="380"/>
                    <a:pt x="70" y="400"/>
                    <a:pt x="45" y="400"/>
                  </a:cubicBezTo>
                  <a:cubicBezTo>
                    <a:pt x="21" y="400"/>
                    <a:pt x="0" y="380"/>
                    <a:pt x="0" y="355"/>
                  </a:cubicBezTo>
                  <a:cubicBezTo>
                    <a:pt x="0" y="45"/>
                    <a:pt x="0" y="45"/>
                    <a:pt x="0" y="45"/>
                  </a:cubicBezTo>
                  <a:cubicBezTo>
                    <a:pt x="0" y="20"/>
                    <a:pt x="21" y="0"/>
                    <a:pt x="45" y="0"/>
                  </a:cubicBezTo>
                  <a:cubicBezTo>
                    <a:pt x="70" y="0"/>
                    <a:pt x="90" y="20"/>
                    <a:pt x="90" y="45"/>
                  </a:cubicBezTo>
                  <a:lnTo>
                    <a:pt x="90"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8" name="Freeform 413">
              <a:extLst>
                <a:ext uri="{FF2B5EF4-FFF2-40B4-BE49-F238E27FC236}">
                  <a16:creationId xmlns:a16="http://schemas.microsoft.com/office/drawing/2014/main" id="{849FF4FA-B153-4FC5-B994-96BE5DAF0D3D}"/>
                </a:ext>
              </a:extLst>
            </p:cNvPr>
            <p:cNvSpPr>
              <a:spLocks/>
            </p:cNvSpPr>
            <p:nvPr/>
          </p:nvSpPr>
          <p:spPr bwMode="auto">
            <a:xfrm>
              <a:off x="10306051" y="3817938"/>
              <a:ext cx="773113" cy="169862"/>
            </a:xfrm>
            <a:custGeom>
              <a:avLst/>
              <a:gdLst>
                <a:gd name="T0" fmla="*/ 45 w 400"/>
                <a:gd name="T1" fmla="*/ 89 h 89"/>
                <a:gd name="T2" fmla="*/ 0 w 400"/>
                <a:gd name="T3" fmla="*/ 44 h 89"/>
                <a:gd name="T4" fmla="*/ 45 w 400"/>
                <a:gd name="T5" fmla="*/ 0 h 89"/>
                <a:gd name="T6" fmla="*/ 355 w 400"/>
                <a:gd name="T7" fmla="*/ 0 h 89"/>
                <a:gd name="T8" fmla="*/ 400 w 400"/>
                <a:gd name="T9" fmla="*/ 44 h 89"/>
                <a:gd name="T10" fmla="*/ 355 w 400"/>
                <a:gd name="T11" fmla="*/ 89 h 89"/>
                <a:gd name="T12" fmla="*/ 45 w 400"/>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400" h="89">
                  <a:moveTo>
                    <a:pt x="45" y="89"/>
                  </a:moveTo>
                  <a:cubicBezTo>
                    <a:pt x="20" y="89"/>
                    <a:pt x="0" y="69"/>
                    <a:pt x="0" y="44"/>
                  </a:cubicBezTo>
                  <a:cubicBezTo>
                    <a:pt x="0" y="20"/>
                    <a:pt x="20" y="0"/>
                    <a:pt x="45" y="0"/>
                  </a:cubicBezTo>
                  <a:cubicBezTo>
                    <a:pt x="355" y="0"/>
                    <a:pt x="355" y="0"/>
                    <a:pt x="355" y="0"/>
                  </a:cubicBezTo>
                  <a:cubicBezTo>
                    <a:pt x="380" y="0"/>
                    <a:pt x="400" y="20"/>
                    <a:pt x="400" y="44"/>
                  </a:cubicBezTo>
                  <a:cubicBezTo>
                    <a:pt x="400" y="69"/>
                    <a:pt x="380" y="89"/>
                    <a:pt x="355" y="89"/>
                  </a:cubicBezTo>
                  <a:lnTo>
                    <a:pt x="45"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9" name="Freeform 415">
              <a:extLst>
                <a:ext uri="{FF2B5EF4-FFF2-40B4-BE49-F238E27FC236}">
                  <a16:creationId xmlns:a16="http://schemas.microsoft.com/office/drawing/2014/main" id="{014F51B9-F4E6-47E1-BB49-43942B2DEB63}"/>
                </a:ext>
              </a:extLst>
            </p:cNvPr>
            <p:cNvSpPr>
              <a:spLocks/>
            </p:cNvSpPr>
            <p:nvPr/>
          </p:nvSpPr>
          <p:spPr bwMode="auto">
            <a:xfrm>
              <a:off x="9777413" y="2211388"/>
              <a:ext cx="612775" cy="612775"/>
            </a:xfrm>
            <a:custGeom>
              <a:avLst/>
              <a:gdLst>
                <a:gd name="T0" fmla="*/ 81 w 317"/>
                <a:gd name="T1" fmla="*/ 300 h 318"/>
                <a:gd name="T2" fmla="*/ 17 w 317"/>
                <a:gd name="T3" fmla="*/ 300 h 318"/>
                <a:gd name="T4" fmla="*/ 17 w 317"/>
                <a:gd name="T5" fmla="*/ 237 h 318"/>
                <a:gd name="T6" fmla="*/ 236 w 317"/>
                <a:gd name="T7" fmla="*/ 18 h 318"/>
                <a:gd name="T8" fmla="*/ 300 w 317"/>
                <a:gd name="T9" fmla="*/ 18 h 318"/>
                <a:gd name="T10" fmla="*/ 300 w 317"/>
                <a:gd name="T11" fmla="*/ 81 h 318"/>
                <a:gd name="T12" fmla="*/ 81 w 317"/>
                <a:gd name="T13" fmla="*/ 300 h 318"/>
              </a:gdLst>
              <a:ahLst/>
              <a:cxnLst>
                <a:cxn ang="0">
                  <a:pos x="T0" y="T1"/>
                </a:cxn>
                <a:cxn ang="0">
                  <a:pos x="T2" y="T3"/>
                </a:cxn>
                <a:cxn ang="0">
                  <a:pos x="T4" y="T5"/>
                </a:cxn>
                <a:cxn ang="0">
                  <a:pos x="T6" y="T7"/>
                </a:cxn>
                <a:cxn ang="0">
                  <a:pos x="T8" y="T9"/>
                </a:cxn>
                <a:cxn ang="0">
                  <a:pos x="T10" y="T11"/>
                </a:cxn>
                <a:cxn ang="0">
                  <a:pos x="T12" y="T13"/>
                </a:cxn>
              </a:cxnLst>
              <a:rect l="0" t="0" r="r" b="b"/>
              <a:pathLst>
                <a:path w="317" h="318">
                  <a:moveTo>
                    <a:pt x="81" y="300"/>
                  </a:moveTo>
                  <a:cubicBezTo>
                    <a:pt x="63" y="318"/>
                    <a:pt x="35" y="318"/>
                    <a:pt x="17" y="300"/>
                  </a:cubicBezTo>
                  <a:cubicBezTo>
                    <a:pt x="0" y="283"/>
                    <a:pt x="0" y="254"/>
                    <a:pt x="17" y="237"/>
                  </a:cubicBezTo>
                  <a:cubicBezTo>
                    <a:pt x="236" y="18"/>
                    <a:pt x="236" y="18"/>
                    <a:pt x="236" y="18"/>
                  </a:cubicBezTo>
                  <a:cubicBezTo>
                    <a:pt x="254" y="0"/>
                    <a:pt x="282" y="0"/>
                    <a:pt x="300" y="18"/>
                  </a:cubicBezTo>
                  <a:cubicBezTo>
                    <a:pt x="317" y="35"/>
                    <a:pt x="317" y="64"/>
                    <a:pt x="300" y="81"/>
                  </a:cubicBezTo>
                  <a:lnTo>
                    <a:pt x="81"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900" name="Freeform 416">
              <a:extLst>
                <a:ext uri="{FF2B5EF4-FFF2-40B4-BE49-F238E27FC236}">
                  <a16:creationId xmlns:a16="http://schemas.microsoft.com/office/drawing/2014/main" id="{0ADAADD3-21D7-4DC5-9232-AB6A4DD97A9D}"/>
                </a:ext>
              </a:extLst>
            </p:cNvPr>
            <p:cNvSpPr>
              <a:spLocks/>
            </p:cNvSpPr>
            <p:nvPr/>
          </p:nvSpPr>
          <p:spPr bwMode="auto">
            <a:xfrm>
              <a:off x="7346951" y="2211388"/>
              <a:ext cx="615950" cy="612775"/>
            </a:xfrm>
            <a:custGeom>
              <a:avLst/>
              <a:gdLst>
                <a:gd name="T0" fmla="*/ 237 w 318"/>
                <a:gd name="T1" fmla="*/ 300 h 318"/>
                <a:gd name="T2" fmla="*/ 301 w 318"/>
                <a:gd name="T3" fmla="*/ 300 h 318"/>
                <a:gd name="T4" fmla="*/ 301 w 318"/>
                <a:gd name="T5" fmla="*/ 237 h 318"/>
                <a:gd name="T6" fmla="*/ 81 w 318"/>
                <a:gd name="T7" fmla="*/ 18 h 318"/>
                <a:gd name="T8" fmla="*/ 18 w 318"/>
                <a:gd name="T9" fmla="*/ 18 h 318"/>
                <a:gd name="T10" fmla="*/ 18 w 318"/>
                <a:gd name="T11" fmla="*/ 81 h 318"/>
                <a:gd name="T12" fmla="*/ 237 w 318"/>
                <a:gd name="T13" fmla="*/ 300 h 318"/>
              </a:gdLst>
              <a:ahLst/>
              <a:cxnLst>
                <a:cxn ang="0">
                  <a:pos x="T0" y="T1"/>
                </a:cxn>
                <a:cxn ang="0">
                  <a:pos x="T2" y="T3"/>
                </a:cxn>
                <a:cxn ang="0">
                  <a:pos x="T4" y="T5"/>
                </a:cxn>
                <a:cxn ang="0">
                  <a:pos x="T6" y="T7"/>
                </a:cxn>
                <a:cxn ang="0">
                  <a:pos x="T8" y="T9"/>
                </a:cxn>
                <a:cxn ang="0">
                  <a:pos x="T10" y="T11"/>
                </a:cxn>
                <a:cxn ang="0">
                  <a:pos x="T12" y="T13"/>
                </a:cxn>
              </a:cxnLst>
              <a:rect l="0" t="0" r="r" b="b"/>
              <a:pathLst>
                <a:path w="318" h="318">
                  <a:moveTo>
                    <a:pt x="237" y="300"/>
                  </a:moveTo>
                  <a:cubicBezTo>
                    <a:pt x="255" y="318"/>
                    <a:pt x="283" y="318"/>
                    <a:pt x="301" y="300"/>
                  </a:cubicBezTo>
                  <a:cubicBezTo>
                    <a:pt x="318" y="283"/>
                    <a:pt x="318" y="254"/>
                    <a:pt x="301" y="237"/>
                  </a:cubicBezTo>
                  <a:cubicBezTo>
                    <a:pt x="81" y="18"/>
                    <a:pt x="81" y="18"/>
                    <a:pt x="81" y="18"/>
                  </a:cubicBezTo>
                  <a:cubicBezTo>
                    <a:pt x="64" y="0"/>
                    <a:pt x="36" y="0"/>
                    <a:pt x="18" y="18"/>
                  </a:cubicBezTo>
                  <a:cubicBezTo>
                    <a:pt x="0" y="35"/>
                    <a:pt x="0" y="64"/>
                    <a:pt x="18" y="81"/>
                  </a:cubicBezTo>
                  <a:lnTo>
                    <a:pt x="237"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901" name="Freeform 413">
              <a:extLst>
                <a:ext uri="{FF2B5EF4-FFF2-40B4-BE49-F238E27FC236}">
                  <a16:creationId xmlns:a16="http://schemas.microsoft.com/office/drawing/2014/main" id="{291C50EA-468E-487C-A327-4E10CA1D4789}"/>
                </a:ext>
              </a:extLst>
            </p:cNvPr>
            <p:cNvSpPr>
              <a:spLocks/>
            </p:cNvSpPr>
            <p:nvPr/>
          </p:nvSpPr>
          <p:spPr bwMode="auto">
            <a:xfrm>
              <a:off x="6607627" y="3817938"/>
              <a:ext cx="773113" cy="169862"/>
            </a:xfrm>
            <a:custGeom>
              <a:avLst/>
              <a:gdLst>
                <a:gd name="T0" fmla="*/ 45 w 400"/>
                <a:gd name="T1" fmla="*/ 89 h 89"/>
                <a:gd name="T2" fmla="*/ 0 w 400"/>
                <a:gd name="T3" fmla="*/ 44 h 89"/>
                <a:gd name="T4" fmla="*/ 45 w 400"/>
                <a:gd name="T5" fmla="*/ 0 h 89"/>
                <a:gd name="T6" fmla="*/ 355 w 400"/>
                <a:gd name="T7" fmla="*/ 0 h 89"/>
                <a:gd name="T8" fmla="*/ 400 w 400"/>
                <a:gd name="T9" fmla="*/ 44 h 89"/>
                <a:gd name="T10" fmla="*/ 355 w 400"/>
                <a:gd name="T11" fmla="*/ 89 h 89"/>
                <a:gd name="T12" fmla="*/ 45 w 400"/>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400" h="89">
                  <a:moveTo>
                    <a:pt x="45" y="89"/>
                  </a:moveTo>
                  <a:cubicBezTo>
                    <a:pt x="20" y="89"/>
                    <a:pt x="0" y="69"/>
                    <a:pt x="0" y="44"/>
                  </a:cubicBezTo>
                  <a:cubicBezTo>
                    <a:pt x="0" y="20"/>
                    <a:pt x="20" y="0"/>
                    <a:pt x="45" y="0"/>
                  </a:cubicBezTo>
                  <a:cubicBezTo>
                    <a:pt x="355" y="0"/>
                    <a:pt x="355" y="0"/>
                    <a:pt x="355" y="0"/>
                  </a:cubicBezTo>
                  <a:cubicBezTo>
                    <a:pt x="380" y="0"/>
                    <a:pt x="400" y="20"/>
                    <a:pt x="400" y="44"/>
                  </a:cubicBezTo>
                  <a:cubicBezTo>
                    <a:pt x="400" y="69"/>
                    <a:pt x="380" y="89"/>
                    <a:pt x="355" y="89"/>
                  </a:cubicBezTo>
                  <a:lnTo>
                    <a:pt x="45"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grpSp>
      <p:sp>
        <p:nvSpPr>
          <p:cNvPr id="1010" name="TextBox 1009">
            <a:extLst>
              <a:ext uri="{FF2B5EF4-FFF2-40B4-BE49-F238E27FC236}">
                <a16:creationId xmlns:a16="http://schemas.microsoft.com/office/drawing/2014/main" id="{706A6E1B-EA1C-464D-BF19-C1DF863E0508}"/>
              </a:ext>
            </a:extLst>
          </p:cNvPr>
          <p:cNvSpPr txBox="1"/>
          <p:nvPr/>
        </p:nvSpPr>
        <p:spPr>
          <a:xfrm>
            <a:off x="703499" y="2924464"/>
            <a:ext cx="3197836" cy="296690"/>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algn="ctr"/>
            <a:r>
              <a:rPr lang="en-US" sz="1400" dirty="0">
                <a:solidFill>
                  <a:schemeClr val="accent1"/>
                </a:solidFill>
              </a:rPr>
              <a:t>Issue Investigation</a:t>
            </a:r>
          </a:p>
        </p:txBody>
      </p:sp>
      <p:sp>
        <p:nvSpPr>
          <p:cNvPr id="1011" name="TextBox 1010">
            <a:extLst>
              <a:ext uri="{FF2B5EF4-FFF2-40B4-BE49-F238E27FC236}">
                <a16:creationId xmlns:a16="http://schemas.microsoft.com/office/drawing/2014/main" id="{FD4E7394-E78C-4633-8383-7C9A824ABFD1}"/>
              </a:ext>
            </a:extLst>
          </p:cNvPr>
          <p:cNvSpPr txBox="1"/>
          <p:nvPr/>
        </p:nvSpPr>
        <p:spPr>
          <a:xfrm>
            <a:off x="4594884" y="2928291"/>
            <a:ext cx="3197836" cy="296690"/>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algn="ctr"/>
            <a:r>
              <a:rPr lang="en-US" sz="1400" dirty="0">
                <a:solidFill>
                  <a:schemeClr val="accent1"/>
                </a:solidFill>
              </a:rPr>
              <a:t>Issue Investigation</a:t>
            </a:r>
          </a:p>
        </p:txBody>
      </p:sp>
      <p:pic>
        <p:nvPicPr>
          <p:cNvPr id="7" name="Graphic 6">
            <a:extLst>
              <a:ext uri="{FF2B5EF4-FFF2-40B4-BE49-F238E27FC236}">
                <a16:creationId xmlns:a16="http://schemas.microsoft.com/office/drawing/2014/main" id="{AE6ECB7F-F195-445D-9D9D-B143BAA60AA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0168184">
            <a:off x="6770928" y="3784820"/>
            <a:ext cx="769889" cy="791275"/>
          </a:xfrm>
          <a:prstGeom prst="rect">
            <a:avLst/>
          </a:prstGeom>
        </p:spPr>
      </p:pic>
      <p:grpSp>
        <p:nvGrpSpPr>
          <p:cNvPr id="10" name="Group 9">
            <a:extLst>
              <a:ext uri="{FF2B5EF4-FFF2-40B4-BE49-F238E27FC236}">
                <a16:creationId xmlns:a16="http://schemas.microsoft.com/office/drawing/2014/main" id="{284B1C2C-8C19-4FAB-A9BE-4C00B176B941}"/>
              </a:ext>
            </a:extLst>
          </p:cNvPr>
          <p:cNvGrpSpPr/>
          <p:nvPr/>
        </p:nvGrpSpPr>
        <p:grpSpPr>
          <a:xfrm>
            <a:off x="6474238" y="4241028"/>
            <a:ext cx="379955" cy="379955"/>
            <a:chOff x="6194309" y="4387995"/>
            <a:chExt cx="379955" cy="379955"/>
          </a:xfrm>
        </p:grpSpPr>
        <p:pic>
          <p:nvPicPr>
            <p:cNvPr id="1018" name="Picture 6" descr="Image result for magnifying glass icon">
              <a:extLst>
                <a:ext uri="{FF2B5EF4-FFF2-40B4-BE49-F238E27FC236}">
                  <a16:creationId xmlns:a16="http://schemas.microsoft.com/office/drawing/2014/main" id="{4404DF16-B1E0-407B-9ABE-D984B9D5A10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94309" y="4387995"/>
              <a:ext cx="379955" cy="379955"/>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DE971800-658A-41BE-9400-9C6702749CE9}"/>
                </a:ext>
              </a:extLst>
            </p:cNvPr>
            <p:cNvSpPr/>
            <p:nvPr/>
          </p:nvSpPr>
          <p:spPr bwMode="auto">
            <a:xfrm>
              <a:off x="6216364" y="4409169"/>
              <a:ext cx="220632" cy="220630"/>
            </a:xfrm>
            <a:prstGeom prst="ellips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12" name="Group 1011">
            <a:extLst>
              <a:ext uri="{FF2B5EF4-FFF2-40B4-BE49-F238E27FC236}">
                <a16:creationId xmlns:a16="http://schemas.microsoft.com/office/drawing/2014/main" id="{BD0877BF-BD89-48E1-A71C-6CC1F3D4C175}"/>
              </a:ext>
            </a:extLst>
          </p:cNvPr>
          <p:cNvGrpSpPr/>
          <p:nvPr/>
        </p:nvGrpSpPr>
        <p:grpSpPr>
          <a:xfrm>
            <a:off x="3271113" y="5009104"/>
            <a:ext cx="585318" cy="584606"/>
            <a:chOff x="5251407" y="3773172"/>
            <a:chExt cx="585318" cy="584606"/>
          </a:xfrm>
        </p:grpSpPr>
        <p:sp>
          <p:nvSpPr>
            <p:cNvPr id="1013" name="Oval 5">
              <a:extLst>
                <a:ext uri="{FF2B5EF4-FFF2-40B4-BE49-F238E27FC236}">
                  <a16:creationId xmlns:a16="http://schemas.microsoft.com/office/drawing/2014/main" id="{2B03AA0C-98E5-4746-A636-6A829805E675}"/>
                </a:ext>
              </a:extLst>
            </p:cNvPr>
            <p:cNvSpPr>
              <a:spLocks noChangeArrowheads="1"/>
            </p:cNvSpPr>
            <p:nvPr/>
          </p:nvSpPr>
          <p:spPr bwMode="auto">
            <a:xfrm>
              <a:off x="5251407" y="3773172"/>
              <a:ext cx="585318" cy="584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14" name="desktop" title="a desktop PC">
              <a:extLst>
                <a:ext uri="{FF2B5EF4-FFF2-40B4-BE49-F238E27FC236}">
                  <a16:creationId xmlns:a16="http://schemas.microsoft.com/office/drawing/2014/main" id="{C6449D95-D019-4874-8266-A2D43F366590}"/>
                </a:ext>
              </a:extLst>
            </p:cNvPr>
            <p:cNvSpPr>
              <a:spLocks noChangeAspect="1" noEditPoints="1"/>
            </p:cNvSpPr>
            <p:nvPr/>
          </p:nvSpPr>
          <p:spPr bwMode="auto">
            <a:xfrm>
              <a:off x="5392827" y="3918711"/>
              <a:ext cx="302477" cy="297538"/>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1016" name="Group 1015">
            <a:extLst>
              <a:ext uri="{FF2B5EF4-FFF2-40B4-BE49-F238E27FC236}">
                <a16:creationId xmlns:a16="http://schemas.microsoft.com/office/drawing/2014/main" id="{C0B7F0F2-089B-4007-9C87-F3C8634821C1}"/>
              </a:ext>
            </a:extLst>
          </p:cNvPr>
          <p:cNvGrpSpPr/>
          <p:nvPr/>
        </p:nvGrpSpPr>
        <p:grpSpPr>
          <a:xfrm>
            <a:off x="7163628" y="5069225"/>
            <a:ext cx="585318" cy="584606"/>
            <a:chOff x="5251407" y="3773172"/>
            <a:chExt cx="585318" cy="584606"/>
          </a:xfrm>
        </p:grpSpPr>
        <p:sp>
          <p:nvSpPr>
            <p:cNvPr id="1017" name="Oval 5">
              <a:extLst>
                <a:ext uri="{FF2B5EF4-FFF2-40B4-BE49-F238E27FC236}">
                  <a16:creationId xmlns:a16="http://schemas.microsoft.com/office/drawing/2014/main" id="{9BD704A9-5D63-4B92-AA94-9A22D6F92D24}"/>
                </a:ext>
              </a:extLst>
            </p:cNvPr>
            <p:cNvSpPr>
              <a:spLocks noChangeArrowheads="1"/>
            </p:cNvSpPr>
            <p:nvPr/>
          </p:nvSpPr>
          <p:spPr bwMode="auto">
            <a:xfrm>
              <a:off x="5251407" y="3773172"/>
              <a:ext cx="585318" cy="584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0" name="desktop" title="a desktop PC">
              <a:extLst>
                <a:ext uri="{FF2B5EF4-FFF2-40B4-BE49-F238E27FC236}">
                  <a16:creationId xmlns:a16="http://schemas.microsoft.com/office/drawing/2014/main" id="{D460BE3F-50C8-485D-B8AA-98E3E3B69E20}"/>
                </a:ext>
              </a:extLst>
            </p:cNvPr>
            <p:cNvSpPr>
              <a:spLocks noChangeAspect="1" noEditPoints="1"/>
            </p:cNvSpPr>
            <p:nvPr/>
          </p:nvSpPr>
          <p:spPr bwMode="auto">
            <a:xfrm>
              <a:off x="5392827" y="3918711"/>
              <a:ext cx="302477" cy="297538"/>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
        <p:nvSpPr>
          <p:cNvPr id="997" name="Oval 996">
            <a:extLst>
              <a:ext uri="{FF2B5EF4-FFF2-40B4-BE49-F238E27FC236}">
                <a16:creationId xmlns:a16="http://schemas.microsoft.com/office/drawing/2014/main" id="{FD5EF898-4682-43A2-A9DF-8B3CD0F4E71D}"/>
              </a:ext>
            </a:extLst>
          </p:cNvPr>
          <p:cNvSpPr/>
          <p:nvPr/>
        </p:nvSpPr>
        <p:spPr bwMode="auto">
          <a:xfrm>
            <a:off x="5622036" y="5036362"/>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98" name="Oval 997">
            <a:extLst>
              <a:ext uri="{FF2B5EF4-FFF2-40B4-BE49-F238E27FC236}">
                <a16:creationId xmlns:a16="http://schemas.microsoft.com/office/drawing/2014/main" id="{38A615B1-9F2C-4AEE-AC9F-5EB8BACDD315}"/>
              </a:ext>
            </a:extLst>
          </p:cNvPr>
          <p:cNvSpPr/>
          <p:nvPr/>
        </p:nvSpPr>
        <p:spPr bwMode="auto">
          <a:xfrm>
            <a:off x="6139087" y="5036362"/>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99" name="Oval 998">
            <a:extLst>
              <a:ext uri="{FF2B5EF4-FFF2-40B4-BE49-F238E27FC236}">
                <a16:creationId xmlns:a16="http://schemas.microsoft.com/office/drawing/2014/main" id="{626A01DB-EA0C-4052-8E44-D4AFC3C0FD4C}"/>
              </a:ext>
            </a:extLst>
          </p:cNvPr>
          <p:cNvSpPr/>
          <p:nvPr/>
        </p:nvSpPr>
        <p:spPr bwMode="auto">
          <a:xfrm>
            <a:off x="6656139" y="5036362"/>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000" name="Oval 999">
            <a:extLst>
              <a:ext uri="{FF2B5EF4-FFF2-40B4-BE49-F238E27FC236}">
                <a16:creationId xmlns:a16="http://schemas.microsoft.com/office/drawing/2014/main" id="{205C7249-A089-4C06-986A-610C70E29F77}"/>
              </a:ext>
            </a:extLst>
          </p:cNvPr>
          <p:cNvSpPr/>
          <p:nvPr/>
        </p:nvSpPr>
        <p:spPr bwMode="auto">
          <a:xfrm>
            <a:off x="7395266" y="5036362"/>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37" name="Straight Connector 36">
            <a:extLst>
              <a:ext uri="{FF2B5EF4-FFF2-40B4-BE49-F238E27FC236}">
                <a16:creationId xmlns:a16="http://schemas.microsoft.com/office/drawing/2014/main" id="{FBB80113-5148-4951-B29D-6471334E65F5}"/>
              </a:ext>
            </a:extLst>
          </p:cNvPr>
          <p:cNvCxnSpPr>
            <a:cxnSpLocks/>
          </p:cNvCxnSpPr>
          <p:nvPr/>
        </p:nvCxnSpPr>
        <p:spPr>
          <a:xfrm flipV="1">
            <a:off x="6193802" y="4938448"/>
            <a:ext cx="0" cy="9791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Freeform: Shape 17">
            <a:extLst>
              <a:ext uri="{FF2B5EF4-FFF2-40B4-BE49-F238E27FC236}">
                <a16:creationId xmlns:a16="http://schemas.microsoft.com/office/drawing/2014/main" id="{EDAA373E-9064-46A1-AEED-5881F0EE941D}"/>
              </a:ext>
            </a:extLst>
          </p:cNvPr>
          <p:cNvSpPr/>
          <p:nvPr/>
        </p:nvSpPr>
        <p:spPr bwMode="auto">
          <a:xfrm>
            <a:off x="5676900" y="4635500"/>
            <a:ext cx="215265" cy="397902"/>
          </a:xfrm>
          <a:custGeom>
            <a:avLst/>
            <a:gdLst>
              <a:gd name="connsiteX0" fmla="*/ 0 w 373380"/>
              <a:gd name="connsiteY0" fmla="*/ 508000 h 508000"/>
              <a:gd name="connsiteX1" fmla="*/ 0 w 373380"/>
              <a:gd name="connsiteY1" fmla="*/ 0 h 508000"/>
              <a:gd name="connsiteX2" fmla="*/ 373380 w 373380"/>
              <a:gd name="connsiteY2" fmla="*/ 0 h 508000"/>
            </a:gdLst>
            <a:ahLst/>
            <a:cxnLst>
              <a:cxn ang="0">
                <a:pos x="connsiteX0" y="connsiteY0"/>
              </a:cxn>
              <a:cxn ang="0">
                <a:pos x="connsiteX1" y="connsiteY1"/>
              </a:cxn>
              <a:cxn ang="0">
                <a:pos x="connsiteX2" y="connsiteY2"/>
              </a:cxn>
            </a:cxnLst>
            <a:rect l="l" t="t" r="r" b="b"/>
            <a:pathLst>
              <a:path w="373380" h="508000">
                <a:moveTo>
                  <a:pt x="0" y="508000"/>
                </a:moveTo>
                <a:lnTo>
                  <a:pt x="0" y="0"/>
                </a:lnTo>
                <a:lnTo>
                  <a:pt x="373380" y="0"/>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28" name="Freeform: Shape 1027">
            <a:extLst>
              <a:ext uri="{FF2B5EF4-FFF2-40B4-BE49-F238E27FC236}">
                <a16:creationId xmlns:a16="http://schemas.microsoft.com/office/drawing/2014/main" id="{81BD41E5-D408-4AE9-B1B9-9A897B31C6EE}"/>
              </a:ext>
            </a:extLst>
          </p:cNvPr>
          <p:cNvSpPr/>
          <p:nvPr/>
        </p:nvSpPr>
        <p:spPr bwMode="auto">
          <a:xfrm>
            <a:off x="4907736" y="4635500"/>
            <a:ext cx="1005384" cy="397902"/>
          </a:xfrm>
          <a:custGeom>
            <a:avLst/>
            <a:gdLst>
              <a:gd name="connsiteX0" fmla="*/ 0 w 373380"/>
              <a:gd name="connsiteY0" fmla="*/ 508000 h 508000"/>
              <a:gd name="connsiteX1" fmla="*/ 0 w 373380"/>
              <a:gd name="connsiteY1" fmla="*/ 0 h 508000"/>
              <a:gd name="connsiteX2" fmla="*/ 373380 w 373380"/>
              <a:gd name="connsiteY2" fmla="*/ 0 h 508000"/>
            </a:gdLst>
            <a:ahLst/>
            <a:cxnLst>
              <a:cxn ang="0">
                <a:pos x="connsiteX0" y="connsiteY0"/>
              </a:cxn>
              <a:cxn ang="0">
                <a:pos x="connsiteX1" y="connsiteY1"/>
              </a:cxn>
              <a:cxn ang="0">
                <a:pos x="connsiteX2" y="connsiteY2"/>
              </a:cxn>
            </a:cxnLst>
            <a:rect l="l" t="t" r="r" b="b"/>
            <a:pathLst>
              <a:path w="373380" h="508000">
                <a:moveTo>
                  <a:pt x="0" y="508000"/>
                </a:moveTo>
                <a:lnTo>
                  <a:pt x="0" y="0"/>
                </a:lnTo>
                <a:lnTo>
                  <a:pt x="373380" y="0"/>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31" name="Freeform: Shape 1030">
            <a:extLst>
              <a:ext uri="{FF2B5EF4-FFF2-40B4-BE49-F238E27FC236}">
                <a16:creationId xmlns:a16="http://schemas.microsoft.com/office/drawing/2014/main" id="{598849DE-E7F4-4711-8361-6E0243B68886}"/>
              </a:ext>
            </a:extLst>
          </p:cNvPr>
          <p:cNvSpPr/>
          <p:nvPr/>
        </p:nvSpPr>
        <p:spPr bwMode="auto">
          <a:xfrm flipH="1">
            <a:off x="6482715" y="4635500"/>
            <a:ext cx="221263" cy="397902"/>
          </a:xfrm>
          <a:custGeom>
            <a:avLst/>
            <a:gdLst>
              <a:gd name="connsiteX0" fmla="*/ 0 w 373380"/>
              <a:gd name="connsiteY0" fmla="*/ 508000 h 508000"/>
              <a:gd name="connsiteX1" fmla="*/ 0 w 373380"/>
              <a:gd name="connsiteY1" fmla="*/ 0 h 508000"/>
              <a:gd name="connsiteX2" fmla="*/ 373380 w 373380"/>
              <a:gd name="connsiteY2" fmla="*/ 0 h 508000"/>
            </a:gdLst>
            <a:ahLst/>
            <a:cxnLst>
              <a:cxn ang="0">
                <a:pos x="connsiteX0" y="connsiteY0"/>
              </a:cxn>
              <a:cxn ang="0">
                <a:pos x="connsiteX1" y="connsiteY1"/>
              </a:cxn>
              <a:cxn ang="0">
                <a:pos x="connsiteX2" y="connsiteY2"/>
              </a:cxn>
            </a:cxnLst>
            <a:rect l="l" t="t" r="r" b="b"/>
            <a:pathLst>
              <a:path w="373380" h="508000">
                <a:moveTo>
                  <a:pt x="0" y="508000"/>
                </a:moveTo>
                <a:lnTo>
                  <a:pt x="0" y="0"/>
                </a:lnTo>
                <a:lnTo>
                  <a:pt x="373380" y="0"/>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32" name="Freeform: Shape 1031">
            <a:extLst>
              <a:ext uri="{FF2B5EF4-FFF2-40B4-BE49-F238E27FC236}">
                <a16:creationId xmlns:a16="http://schemas.microsoft.com/office/drawing/2014/main" id="{6FF4422C-0BD0-44FA-9837-47D0BD75271C}"/>
              </a:ext>
            </a:extLst>
          </p:cNvPr>
          <p:cNvSpPr/>
          <p:nvPr/>
        </p:nvSpPr>
        <p:spPr bwMode="auto">
          <a:xfrm flipH="1">
            <a:off x="6480627" y="4635500"/>
            <a:ext cx="962197" cy="397902"/>
          </a:xfrm>
          <a:custGeom>
            <a:avLst/>
            <a:gdLst>
              <a:gd name="connsiteX0" fmla="*/ 0 w 373380"/>
              <a:gd name="connsiteY0" fmla="*/ 508000 h 508000"/>
              <a:gd name="connsiteX1" fmla="*/ 0 w 373380"/>
              <a:gd name="connsiteY1" fmla="*/ 0 h 508000"/>
              <a:gd name="connsiteX2" fmla="*/ 373380 w 373380"/>
              <a:gd name="connsiteY2" fmla="*/ 0 h 508000"/>
            </a:gdLst>
            <a:ahLst/>
            <a:cxnLst>
              <a:cxn ang="0">
                <a:pos x="connsiteX0" y="connsiteY0"/>
              </a:cxn>
              <a:cxn ang="0">
                <a:pos x="connsiteX1" y="connsiteY1"/>
              </a:cxn>
              <a:cxn ang="0">
                <a:pos x="connsiteX2" y="connsiteY2"/>
              </a:cxn>
            </a:cxnLst>
            <a:rect l="l" t="t" r="r" b="b"/>
            <a:pathLst>
              <a:path w="373380" h="508000">
                <a:moveTo>
                  <a:pt x="0" y="508000"/>
                </a:moveTo>
                <a:lnTo>
                  <a:pt x="0" y="0"/>
                </a:lnTo>
                <a:lnTo>
                  <a:pt x="373380" y="0"/>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B8590E81-BB8E-4774-96E4-280C913B4073}"/>
              </a:ext>
            </a:extLst>
          </p:cNvPr>
          <p:cNvGrpSpPr/>
          <p:nvPr/>
        </p:nvGrpSpPr>
        <p:grpSpPr>
          <a:xfrm>
            <a:off x="4633821" y="5069225"/>
            <a:ext cx="585318" cy="584606"/>
            <a:chOff x="4135692" y="5229245"/>
            <a:chExt cx="585318" cy="584606"/>
          </a:xfrm>
        </p:grpSpPr>
        <p:sp>
          <p:nvSpPr>
            <p:cNvPr id="685" name="Oval 5">
              <a:extLst>
                <a:ext uri="{FF2B5EF4-FFF2-40B4-BE49-F238E27FC236}">
                  <a16:creationId xmlns:a16="http://schemas.microsoft.com/office/drawing/2014/main" id="{27EE4B5B-78E6-4FA3-AD77-DD95EF16818D}"/>
                </a:ext>
              </a:extLst>
            </p:cNvPr>
            <p:cNvSpPr>
              <a:spLocks noChangeArrowheads="1"/>
            </p:cNvSpPr>
            <p:nvPr/>
          </p:nvSpPr>
          <p:spPr bwMode="auto">
            <a:xfrm>
              <a:off x="4135692" y="5229245"/>
              <a:ext cx="585318" cy="584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87" name="Laptop_E770" title="Icon of a laptop">
              <a:extLst>
                <a:ext uri="{FF2B5EF4-FFF2-40B4-BE49-F238E27FC236}">
                  <a16:creationId xmlns:a16="http://schemas.microsoft.com/office/drawing/2014/main" id="{D6DA3B18-DB4B-4645-BEE2-B4615389DF18}"/>
                </a:ext>
              </a:extLst>
            </p:cNvPr>
            <p:cNvSpPr>
              <a:spLocks noChangeAspect="1" noEditPoints="1"/>
            </p:cNvSpPr>
            <p:nvPr/>
          </p:nvSpPr>
          <p:spPr bwMode="auto">
            <a:xfrm>
              <a:off x="4240257" y="5396037"/>
              <a:ext cx="376189" cy="25102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35" name="Oval 34">
            <a:extLst>
              <a:ext uri="{FF2B5EF4-FFF2-40B4-BE49-F238E27FC236}">
                <a16:creationId xmlns:a16="http://schemas.microsoft.com/office/drawing/2014/main" id="{E18496CB-E2EB-4156-94DD-19AF73E282DD}"/>
              </a:ext>
            </a:extLst>
          </p:cNvPr>
          <p:cNvSpPr/>
          <p:nvPr/>
        </p:nvSpPr>
        <p:spPr bwMode="auto">
          <a:xfrm>
            <a:off x="4853172" y="5036362"/>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91" name="Group 690">
            <a:extLst>
              <a:ext uri="{FF2B5EF4-FFF2-40B4-BE49-F238E27FC236}">
                <a16:creationId xmlns:a16="http://schemas.microsoft.com/office/drawing/2014/main" id="{45C627DA-DAB1-4691-812D-815D99BEE473}"/>
              </a:ext>
            </a:extLst>
          </p:cNvPr>
          <p:cNvGrpSpPr/>
          <p:nvPr/>
        </p:nvGrpSpPr>
        <p:grpSpPr>
          <a:xfrm>
            <a:off x="734162" y="5069225"/>
            <a:ext cx="585318" cy="584606"/>
            <a:chOff x="4135692" y="5229245"/>
            <a:chExt cx="585318" cy="584606"/>
          </a:xfrm>
        </p:grpSpPr>
        <p:sp>
          <p:nvSpPr>
            <p:cNvPr id="692" name="Oval 5">
              <a:extLst>
                <a:ext uri="{FF2B5EF4-FFF2-40B4-BE49-F238E27FC236}">
                  <a16:creationId xmlns:a16="http://schemas.microsoft.com/office/drawing/2014/main" id="{2E4FEC98-3C6D-406C-9CE9-93FED2BC764B}"/>
                </a:ext>
              </a:extLst>
            </p:cNvPr>
            <p:cNvSpPr>
              <a:spLocks noChangeArrowheads="1"/>
            </p:cNvSpPr>
            <p:nvPr/>
          </p:nvSpPr>
          <p:spPr bwMode="auto">
            <a:xfrm>
              <a:off x="4135692" y="5229245"/>
              <a:ext cx="585318" cy="584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93" name="Laptop_E770" title="Icon of a laptop">
              <a:extLst>
                <a:ext uri="{FF2B5EF4-FFF2-40B4-BE49-F238E27FC236}">
                  <a16:creationId xmlns:a16="http://schemas.microsoft.com/office/drawing/2014/main" id="{221C9E6C-A2C4-464D-8065-DA467DF5F232}"/>
                </a:ext>
              </a:extLst>
            </p:cNvPr>
            <p:cNvSpPr>
              <a:spLocks noChangeAspect="1" noEditPoints="1"/>
            </p:cNvSpPr>
            <p:nvPr/>
          </p:nvSpPr>
          <p:spPr bwMode="auto">
            <a:xfrm>
              <a:off x="4240257" y="5396037"/>
              <a:ext cx="376189" cy="25102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0241" name="Group 10240">
            <a:extLst>
              <a:ext uri="{FF2B5EF4-FFF2-40B4-BE49-F238E27FC236}">
                <a16:creationId xmlns:a16="http://schemas.microsoft.com/office/drawing/2014/main" id="{F41C17F4-139A-4363-AA98-AA846600AC82}"/>
              </a:ext>
            </a:extLst>
          </p:cNvPr>
          <p:cNvGrpSpPr/>
          <p:nvPr/>
        </p:nvGrpSpPr>
        <p:grpSpPr>
          <a:xfrm>
            <a:off x="797334" y="4460161"/>
            <a:ext cx="461004" cy="446194"/>
            <a:chOff x="626478" y="4470459"/>
            <a:chExt cx="984185" cy="952566"/>
          </a:xfrm>
        </p:grpSpPr>
        <p:sp>
          <p:nvSpPr>
            <p:cNvPr id="345" name="Freeform: Shape 344">
              <a:extLst>
                <a:ext uri="{FF2B5EF4-FFF2-40B4-BE49-F238E27FC236}">
                  <a16:creationId xmlns:a16="http://schemas.microsoft.com/office/drawing/2014/main" id="{1EDADAE1-ECCB-4633-87E3-9FB410DC4232}"/>
                </a:ext>
              </a:extLst>
            </p:cNvPr>
            <p:cNvSpPr/>
            <p:nvPr/>
          </p:nvSpPr>
          <p:spPr>
            <a:xfrm>
              <a:off x="943238" y="4705251"/>
              <a:ext cx="295256" cy="476250"/>
            </a:xfrm>
            <a:custGeom>
              <a:avLst/>
              <a:gdLst>
                <a:gd name="connsiteX0" fmla="*/ 281429 w 285750"/>
                <a:gd name="connsiteY0" fmla="*/ 22858 h 476250"/>
                <a:gd name="connsiteX1" fmla="*/ 22859 w 285750"/>
                <a:gd name="connsiteY1" fmla="*/ 22858 h 476250"/>
                <a:gd name="connsiteX2" fmla="*/ 22859 w 285750"/>
                <a:gd name="connsiteY2" fmla="*/ 233401 h 476250"/>
                <a:gd name="connsiteX3" fmla="*/ 11430 w 285750"/>
                <a:gd name="connsiteY3" fmla="*/ 244830 h 476250"/>
                <a:gd name="connsiteX4" fmla="*/ 1 w 285750"/>
                <a:gd name="connsiteY4" fmla="*/ 233401 h 476250"/>
                <a:gd name="connsiteX5" fmla="*/ 1 w 285750"/>
                <a:gd name="connsiteY5" fmla="*/ 11429 h 476250"/>
                <a:gd name="connsiteX6" fmla="*/ 11430 w 285750"/>
                <a:gd name="connsiteY6" fmla="*/ 0 h 476250"/>
                <a:gd name="connsiteX7" fmla="*/ 289049 w 285750"/>
                <a:gd name="connsiteY7" fmla="*/ 0 h 476250"/>
                <a:gd name="connsiteX8" fmla="*/ 297162 w 285750"/>
                <a:gd name="connsiteY8" fmla="*/ 3381 h 476250"/>
                <a:gd name="connsiteX9" fmla="*/ 371269 w 285750"/>
                <a:gd name="connsiteY9" fmla="*/ 77487 h 476250"/>
                <a:gd name="connsiteX10" fmla="*/ 374617 w 285750"/>
                <a:gd name="connsiteY10" fmla="*/ 85568 h 476250"/>
                <a:gd name="connsiteX11" fmla="*/ 374617 w 285750"/>
                <a:gd name="connsiteY11" fmla="*/ 233401 h 476250"/>
                <a:gd name="connsiteX12" fmla="*/ 363188 w 285750"/>
                <a:gd name="connsiteY12" fmla="*/ 244830 h 476250"/>
                <a:gd name="connsiteX13" fmla="*/ 351759 w 285750"/>
                <a:gd name="connsiteY13" fmla="*/ 233401 h 476250"/>
                <a:gd name="connsiteX14" fmla="*/ 351759 w 285750"/>
                <a:gd name="connsiteY14" fmla="*/ 93187 h 476250"/>
                <a:gd name="connsiteX15" fmla="*/ 326118 w 285750"/>
                <a:gd name="connsiteY15" fmla="*/ 93187 h 476250"/>
                <a:gd name="connsiteX16" fmla="*/ 294551 w 285750"/>
                <a:gd name="connsiteY16" fmla="*/ 80066 h 476250"/>
                <a:gd name="connsiteX17" fmla="*/ 281430 w 285750"/>
                <a:gd name="connsiteY17" fmla="*/ 48498 h 476250"/>
                <a:gd name="connsiteX18" fmla="*/ 281430 w 285750"/>
                <a:gd name="connsiteY18" fmla="*/ 22858 h 476250"/>
                <a:gd name="connsiteX19" fmla="*/ 22859 w 285750"/>
                <a:gd name="connsiteY19" fmla="*/ 495300 h 476250"/>
                <a:gd name="connsiteX20" fmla="*/ 351758 w 285750"/>
                <a:gd name="connsiteY20" fmla="*/ 495300 h 476250"/>
                <a:gd name="connsiteX21" fmla="*/ 351758 w 285750"/>
                <a:gd name="connsiteY21" fmla="*/ 435748 h 476250"/>
                <a:gd name="connsiteX22" fmla="*/ 363188 w 285750"/>
                <a:gd name="connsiteY22" fmla="*/ 424319 h 476250"/>
                <a:gd name="connsiteX23" fmla="*/ 374617 w 285750"/>
                <a:gd name="connsiteY23" fmla="*/ 435748 h 476250"/>
                <a:gd name="connsiteX24" fmla="*/ 374617 w 285750"/>
                <a:gd name="connsiteY24" fmla="*/ 506730 h 476250"/>
                <a:gd name="connsiteX25" fmla="*/ 363188 w 285750"/>
                <a:gd name="connsiteY25" fmla="*/ 518159 h 476250"/>
                <a:gd name="connsiteX26" fmla="*/ 11429 w 285750"/>
                <a:gd name="connsiteY26" fmla="*/ 518159 h 476250"/>
                <a:gd name="connsiteX27" fmla="*/ 0 w 285750"/>
                <a:gd name="connsiteY27" fmla="*/ 506730 h 476250"/>
                <a:gd name="connsiteX28" fmla="*/ 0 w 285750"/>
                <a:gd name="connsiteY28" fmla="*/ 435748 h 476250"/>
                <a:gd name="connsiteX29" fmla="*/ 11429 w 285750"/>
                <a:gd name="connsiteY29" fmla="*/ 424319 h 476250"/>
                <a:gd name="connsiteX30" fmla="*/ 22858 w 285750"/>
                <a:gd name="connsiteY30" fmla="*/ 435748 h 476250"/>
                <a:gd name="connsiteX31" fmla="*/ 22858 w 285750"/>
                <a:gd name="connsiteY31" fmla="*/ 49530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476250">
                  <a:moveTo>
                    <a:pt x="281429" y="22858"/>
                  </a:moveTo>
                  <a:lnTo>
                    <a:pt x="22859" y="22858"/>
                  </a:lnTo>
                  <a:lnTo>
                    <a:pt x="22859" y="233401"/>
                  </a:lnTo>
                  <a:cubicBezTo>
                    <a:pt x="22859" y="239711"/>
                    <a:pt x="17740" y="244830"/>
                    <a:pt x="11430" y="244830"/>
                  </a:cubicBezTo>
                  <a:cubicBezTo>
                    <a:pt x="5119" y="244830"/>
                    <a:pt x="1" y="239711"/>
                    <a:pt x="1" y="233401"/>
                  </a:cubicBezTo>
                  <a:lnTo>
                    <a:pt x="1" y="11429"/>
                  </a:lnTo>
                  <a:cubicBezTo>
                    <a:pt x="1" y="5119"/>
                    <a:pt x="5119" y="0"/>
                    <a:pt x="11430" y="0"/>
                  </a:cubicBezTo>
                  <a:lnTo>
                    <a:pt x="289049" y="0"/>
                  </a:lnTo>
                  <a:cubicBezTo>
                    <a:pt x="292106" y="0"/>
                    <a:pt x="295004" y="1222"/>
                    <a:pt x="297162" y="3381"/>
                  </a:cubicBezTo>
                  <a:lnTo>
                    <a:pt x="371269" y="77487"/>
                  </a:lnTo>
                  <a:cubicBezTo>
                    <a:pt x="373417" y="79635"/>
                    <a:pt x="374617" y="82530"/>
                    <a:pt x="374617" y="85568"/>
                  </a:cubicBezTo>
                  <a:lnTo>
                    <a:pt x="374617" y="233401"/>
                  </a:lnTo>
                  <a:cubicBezTo>
                    <a:pt x="374617" y="239711"/>
                    <a:pt x="369498" y="244830"/>
                    <a:pt x="363188" y="244830"/>
                  </a:cubicBezTo>
                  <a:cubicBezTo>
                    <a:pt x="356877" y="244830"/>
                    <a:pt x="351759" y="239711"/>
                    <a:pt x="351759" y="233401"/>
                  </a:cubicBezTo>
                  <a:lnTo>
                    <a:pt x="351759" y="93187"/>
                  </a:lnTo>
                  <a:lnTo>
                    <a:pt x="326118" y="93187"/>
                  </a:lnTo>
                  <a:cubicBezTo>
                    <a:pt x="313821" y="93187"/>
                    <a:pt x="302647" y="88161"/>
                    <a:pt x="294551" y="80066"/>
                  </a:cubicBezTo>
                  <a:cubicBezTo>
                    <a:pt x="286456" y="71970"/>
                    <a:pt x="281430" y="60796"/>
                    <a:pt x="281430" y="48498"/>
                  </a:cubicBezTo>
                  <a:lnTo>
                    <a:pt x="281430" y="22858"/>
                  </a:lnTo>
                  <a:close/>
                  <a:moveTo>
                    <a:pt x="22859" y="495300"/>
                  </a:moveTo>
                  <a:lnTo>
                    <a:pt x="351758" y="495300"/>
                  </a:lnTo>
                  <a:lnTo>
                    <a:pt x="351758" y="435748"/>
                  </a:lnTo>
                  <a:cubicBezTo>
                    <a:pt x="351758" y="429437"/>
                    <a:pt x="356877" y="424319"/>
                    <a:pt x="363188" y="424319"/>
                  </a:cubicBezTo>
                  <a:cubicBezTo>
                    <a:pt x="369498" y="424319"/>
                    <a:pt x="374617" y="429438"/>
                    <a:pt x="374617" y="435748"/>
                  </a:cubicBezTo>
                  <a:lnTo>
                    <a:pt x="374617" y="506730"/>
                  </a:lnTo>
                  <a:cubicBezTo>
                    <a:pt x="374617" y="513040"/>
                    <a:pt x="369498" y="518159"/>
                    <a:pt x="363188" y="518159"/>
                  </a:cubicBezTo>
                  <a:lnTo>
                    <a:pt x="11429" y="518159"/>
                  </a:lnTo>
                  <a:cubicBezTo>
                    <a:pt x="5119" y="518159"/>
                    <a:pt x="0" y="513040"/>
                    <a:pt x="0" y="506730"/>
                  </a:cubicBezTo>
                  <a:lnTo>
                    <a:pt x="0" y="435748"/>
                  </a:lnTo>
                  <a:cubicBezTo>
                    <a:pt x="0" y="429437"/>
                    <a:pt x="5119" y="424319"/>
                    <a:pt x="11429" y="424319"/>
                  </a:cubicBezTo>
                  <a:cubicBezTo>
                    <a:pt x="17740" y="424319"/>
                    <a:pt x="22858" y="429438"/>
                    <a:pt x="22858" y="435748"/>
                  </a:cubicBezTo>
                  <a:lnTo>
                    <a:pt x="22858" y="495300"/>
                  </a:lnTo>
                  <a:close/>
                </a:path>
              </a:pathLst>
            </a:custGeom>
            <a:solidFill>
              <a:schemeClr val="accent4"/>
            </a:solidFill>
            <a:ln w="95250" cap="flat">
              <a:noFill/>
              <a:prstDash val="solid"/>
              <a:miter/>
            </a:ln>
          </p:spPr>
          <p:txBody>
            <a:bodyPr rtlCol="0" anchor="ctr"/>
            <a:lstStyle/>
            <a:p>
              <a:endParaRPr lang="en-US" dirty="0"/>
            </a:p>
          </p:txBody>
        </p:sp>
        <p:sp>
          <p:nvSpPr>
            <p:cNvPr id="346" name="Freeform: Shape 345">
              <a:extLst>
                <a:ext uri="{FF2B5EF4-FFF2-40B4-BE49-F238E27FC236}">
                  <a16:creationId xmlns:a16="http://schemas.microsoft.com/office/drawing/2014/main" id="{B7CAD6C9-8007-49BF-9F7F-4C1C3EB49E32}"/>
                </a:ext>
              </a:extLst>
            </p:cNvPr>
            <p:cNvSpPr/>
            <p:nvPr/>
          </p:nvSpPr>
          <p:spPr>
            <a:xfrm>
              <a:off x="1022469" y="4836528"/>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347" name="Freeform: Shape 346">
              <a:extLst>
                <a:ext uri="{FF2B5EF4-FFF2-40B4-BE49-F238E27FC236}">
                  <a16:creationId xmlns:a16="http://schemas.microsoft.com/office/drawing/2014/main" id="{7279FCB8-733E-4D5B-AD66-54A501188A74}"/>
                </a:ext>
              </a:extLst>
            </p:cNvPr>
            <p:cNvSpPr/>
            <p:nvPr/>
          </p:nvSpPr>
          <p:spPr>
            <a:xfrm>
              <a:off x="1022469" y="4881732"/>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348" name="Freeform: Shape 347">
              <a:extLst>
                <a:ext uri="{FF2B5EF4-FFF2-40B4-BE49-F238E27FC236}">
                  <a16:creationId xmlns:a16="http://schemas.microsoft.com/office/drawing/2014/main" id="{F64B361C-E356-499A-ADEE-D560CAC99D3F}"/>
                </a:ext>
              </a:extLst>
            </p:cNvPr>
            <p:cNvSpPr/>
            <p:nvPr/>
          </p:nvSpPr>
          <p:spPr>
            <a:xfrm>
              <a:off x="1022469" y="4791322"/>
              <a:ext cx="98419" cy="95250"/>
            </a:xfrm>
            <a:custGeom>
              <a:avLst/>
              <a:gdLst>
                <a:gd name="connsiteX0" fmla="*/ 0 w 95250"/>
                <a:gd name="connsiteY0" fmla="*/ 0 h 0"/>
                <a:gd name="connsiteX1" fmla="*/ 156437 w 95250"/>
                <a:gd name="connsiteY1" fmla="*/ 0 h 0"/>
                <a:gd name="connsiteX2" fmla="*/ 156437 w 95250"/>
                <a:gd name="connsiteY2" fmla="*/ 19049 h 0"/>
                <a:gd name="connsiteX3" fmla="*/ 0 w 95250"/>
                <a:gd name="connsiteY3" fmla="*/ 19049 h 0"/>
              </a:gdLst>
              <a:ahLst/>
              <a:cxnLst>
                <a:cxn ang="0">
                  <a:pos x="connsiteX0" y="connsiteY0"/>
                </a:cxn>
                <a:cxn ang="0">
                  <a:pos x="connsiteX1" y="connsiteY1"/>
                </a:cxn>
                <a:cxn ang="0">
                  <a:pos x="connsiteX2" y="connsiteY2"/>
                </a:cxn>
                <a:cxn ang="0">
                  <a:pos x="connsiteX3" y="connsiteY3"/>
                </a:cxn>
              </a:cxnLst>
              <a:rect l="l" t="t" r="r" b="b"/>
              <a:pathLst>
                <a:path w="95250">
                  <a:moveTo>
                    <a:pt x="0" y="0"/>
                  </a:moveTo>
                  <a:lnTo>
                    <a:pt x="156437" y="0"/>
                  </a:lnTo>
                  <a:lnTo>
                    <a:pt x="156437"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349" name="Freeform: Shape 348">
              <a:extLst>
                <a:ext uri="{FF2B5EF4-FFF2-40B4-BE49-F238E27FC236}">
                  <a16:creationId xmlns:a16="http://schemas.microsoft.com/office/drawing/2014/main" id="{9370F138-1095-4E70-904F-0C559E81A38A}"/>
                </a:ext>
              </a:extLst>
            </p:cNvPr>
            <p:cNvSpPr/>
            <p:nvPr/>
          </p:nvSpPr>
          <p:spPr>
            <a:xfrm>
              <a:off x="895835" y="4931032"/>
              <a:ext cx="393674" cy="190500"/>
            </a:xfrm>
            <a:custGeom>
              <a:avLst/>
              <a:gdLst>
                <a:gd name="connsiteX0" fmla="*/ 96110 w 381000"/>
                <a:gd name="connsiteY0" fmla="*/ 157146 h 190500"/>
                <a:gd name="connsiteX1" fmla="*/ 96110 w 381000"/>
                <a:gd name="connsiteY1" fmla="*/ 61229 h 190500"/>
                <a:gd name="connsiteX2" fmla="*/ 115632 w 381000"/>
                <a:gd name="connsiteY2" fmla="*/ 61229 h 190500"/>
                <a:gd name="connsiteX3" fmla="*/ 115632 w 381000"/>
                <a:gd name="connsiteY3" fmla="*/ 140845 h 190500"/>
                <a:gd name="connsiteX4" fmla="*/ 164175 w 381000"/>
                <a:gd name="connsiteY4" fmla="*/ 140845 h 190500"/>
                <a:gd name="connsiteX5" fmla="*/ 164175 w 381000"/>
                <a:gd name="connsiteY5" fmla="*/ 157146 h 190500"/>
                <a:gd name="connsiteX6" fmla="*/ 96110 w 381000"/>
                <a:gd name="connsiteY6" fmla="*/ 157146 h 190500"/>
                <a:gd name="connsiteX7" fmla="*/ 174150 w 381000"/>
                <a:gd name="connsiteY7" fmla="*/ 109390 h 190500"/>
                <a:gd name="connsiteX8" fmla="*/ 178563 w 381000"/>
                <a:gd name="connsiteY8" fmla="*/ 84578 h 190500"/>
                <a:gd name="connsiteX9" fmla="*/ 187569 w 381000"/>
                <a:gd name="connsiteY9" fmla="*/ 71316 h 190500"/>
                <a:gd name="connsiteX10" fmla="*/ 200066 w 381000"/>
                <a:gd name="connsiteY10" fmla="*/ 62625 h 190500"/>
                <a:gd name="connsiteX11" fmla="*/ 220915 w 381000"/>
                <a:gd name="connsiteY11" fmla="*/ 58797 h 190500"/>
                <a:gd name="connsiteX12" fmla="*/ 255117 w 381000"/>
                <a:gd name="connsiteY12" fmla="*/ 72059 h 190500"/>
                <a:gd name="connsiteX13" fmla="*/ 267951 w 381000"/>
                <a:gd name="connsiteY13" fmla="*/ 108917 h 190500"/>
                <a:gd name="connsiteX14" fmla="*/ 255207 w 381000"/>
                <a:gd name="connsiteY14" fmla="*/ 145573 h 190500"/>
                <a:gd name="connsiteX15" fmla="*/ 221185 w 381000"/>
                <a:gd name="connsiteY15" fmla="*/ 158790 h 190500"/>
                <a:gd name="connsiteX16" fmla="*/ 186871 w 381000"/>
                <a:gd name="connsiteY16" fmla="*/ 145641 h 190500"/>
                <a:gd name="connsiteX17" fmla="*/ 174150 w 381000"/>
                <a:gd name="connsiteY17" fmla="*/ 109390 h 190500"/>
                <a:gd name="connsiteX18" fmla="*/ 279817 w 381000"/>
                <a:gd name="connsiteY18" fmla="*/ 108467 h 190500"/>
                <a:gd name="connsiteX19" fmla="*/ 286144 w 381000"/>
                <a:gd name="connsiteY19" fmla="*/ 81606 h 190500"/>
                <a:gd name="connsiteX20" fmla="*/ 304697 w 381000"/>
                <a:gd name="connsiteY20" fmla="*/ 63615 h 190500"/>
                <a:gd name="connsiteX21" fmla="*/ 327844 w 381000"/>
                <a:gd name="connsiteY21" fmla="*/ 58797 h 190500"/>
                <a:gd name="connsiteX22" fmla="*/ 355966 w 381000"/>
                <a:gd name="connsiteY22" fmla="*/ 66340 h 190500"/>
                <a:gd name="connsiteX23" fmla="*/ 369002 w 381000"/>
                <a:gd name="connsiteY23" fmla="*/ 87235 h 190500"/>
                <a:gd name="connsiteX24" fmla="*/ 349616 w 381000"/>
                <a:gd name="connsiteY24" fmla="*/ 90860 h 190500"/>
                <a:gd name="connsiteX25" fmla="*/ 341916 w 381000"/>
                <a:gd name="connsiteY25" fmla="*/ 79602 h 190500"/>
                <a:gd name="connsiteX26" fmla="*/ 327844 w 381000"/>
                <a:gd name="connsiteY26" fmla="*/ 75481 h 190500"/>
                <a:gd name="connsiteX27" fmla="*/ 307489 w 381000"/>
                <a:gd name="connsiteY27" fmla="*/ 83587 h 190500"/>
                <a:gd name="connsiteX28" fmla="*/ 299947 w 381000"/>
                <a:gd name="connsiteY28" fmla="*/ 107679 h 190500"/>
                <a:gd name="connsiteX29" fmla="*/ 307602 w 381000"/>
                <a:gd name="connsiteY29" fmla="*/ 133505 h 190500"/>
                <a:gd name="connsiteX30" fmla="*/ 327641 w 381000"/>
                <a:gd name="connsiteY30" fmla="*/ 142106 h 190500"/>
                <a:gd name="connsiteX31" fmla="*/ 339957 w 381000"/>
                <a:gd name="connsiteY31" fmla="*/ 139697 h 190500"/>
                <a:gd name="connsiteX32" fmla="*/ 350539 w 381000"/>
                <a:gd name="connsiteY32" fmla="*/ 133865 h 190500"/>
                <a:gd name="connsiteX33" fmla="*/ 350539 w 381000"/>
                <a:gd name="connsiteY33" fmla="*/ 121594 h 190500"/>
                <a:gd name="connsiteX34" fmla="*/ 328181 w 381000"/>
                <a:gd name="connsiteY34" fmla="*/ 121594 h 190500"/>
                <a:gd name="connsiteX35" fmla="*/ 328181 w 381000"/>
                <a:gd name="connsiteY35" fmla="*/ 105292 h 190500"/>
                <a:gd name="connsiteX36" fmla="*/ 370263 w 381000"/>
                <a:gd name="connsiteY36" fmla="*/ 105292 h 190500"/>
                <a:gd name="connsiteX37" fmla="*/ 370263 w 381000"/>
                <a:gd name="connsiteY37" fmla="*/ 143817 h 190500"/>
                <a:gd name="connsiteX38" fmla="*/ 352476 w 381000"/>
                <a:gd name="connsiteY38" fmla="*/ 154287 h 190500"/>
                <a:gd name="connsiteX39" fmla="*/ 328902 w 381000"/>
                <a:gd name="connsiteY39" fmla="*/ 158790 h 190500"/>
                <a:gd name="connsiteX40" fmla="*/ 302446 w 381000"/>
                <a:gd name="connsiteY40" fmla="*/ 152440 h 190500"/>
                <a:gd name="connsiteX41" fmla="*/ 285491 w 381000"/>
                <a:gd name="connsiteY41" fmla="*/ 134225 h 190500"/>
                <a:gd name="connsiteX42" fmla="*/ 279817 w 381000"/>
                <a:gd name="connsiteY42" fmla="*/ 108467 h 190500"/>
                <a:gd name="connsiteX43" fmla="*/ 68737 w 381000"/>
                <a:gd name="connsiteY43" fmla="*/ 217587 h 190500"/>
                <a:gd name="connsiteX44" fmla="*/ 397636 w 381000"/>
                <a:gd name="connsiteY44" fmla="*/ 217587 h 190500"/>
                <a:gd name="connsiteX45" fmla="*/ 420494 w 381000"/>
                <a:gd name="connsiteY45" fmla="*/ 217587 h 190500"/>
                <a:gd name="connsiteX46" fmla="*/ 458753 w 381000"/>
                <a:gd name="connsiteY46" fmla="*/ 217587 h 190500"/>
                <a:gd name="connsiteX47" fmla="*/ 466373 w 381000"/>
                <a:gd name="connsiteY47" fmla="*/ 209967 h 190500"/>
                <a:gd name="connsiteX48" fmla="*/ 466373 w 381000"/>
                <a:gd name="connsiteY48" fmla="*/ 7620 h 190500"/>
                <a:gd name="connsiteX49" fmla="*/ 458753 w 381000"/>
                <a:gd name="connsiteY49" fmla="*/ 0 h 190500"/>
                <a:gd name="connsiteX50" fmla="*/ 420494 w 381000"/>
                <a:gd name="connsiteY50" fmla="*/ 0 h 190500"/>
                <a:gd name="connsiteX51" fmla="*/ 397636 w 381000"/>
                <a:gd name="connsiteY51" fmla="*/ 0 h 190500"/>
                <a:gd name="connsiteX52" fmla="*/ 68737 w 381000"/>
                <a:gd name="connsiteY52" fmla="*/ 0 h 190500"/>
                <a:gd name="connsiteX53" fmla="*/ 45878 w 381000"/>
                <a:gd name="connsiteY53" fmla="*/ 0 h 190500"/>
                <a:gd name="connsiteX54" fmla="*/ 7620 w 381000"/>
                <a:gd name="connsiteY54" fmla="*/ 0 h 190500"/>
                <a:gd name="connsiteX55" fmla="*/ 0 w 381000"/>
                <a:gd name="connsiteY55" fmla="*/ 7620 h 190500"/>
                <a:gd name="connsiteX56" fmla="*/ 0 w 381000"/>
                <a:gd name="connsiteY56" fmla="*/ 209967 h 190500"/>
                <a:gd name="connsiteX57" fmla="*/ 7620 w 381000"/>
                <a:gd name="connsiteY57" fmla="*/ 217587 h 190500"/>
                <a:gd name="connsiteX58" fmla="*/ 45878 w 381000"/>
                <a:gd name="connsiteY58" fmla="*/ 217587 h 190500"/>
                <a:gd name="connsiteX59" fmla="*/ 68737 w 381000"/>
                <a:gd name="connsiteY59" fmla="*/ 21758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1000" h="190500">
                  <a:moveTo>
                    <a:pt x="96110" y="157146"/>
                  </a:moveTo>
                  <a:lnTo>
                    <a:pt x="96110" y="61229"/>
                  </a:lnTo>
                  <a:lnTo>
                    <a:pt x="115632" y="61229"/>
                  </a:lnTo>
                  <a:lnTo>
                    <a:pt x="115632" y="140845"/>
                  </a:lnTo>
                  <a:lnTo>
                    <a:pt x="164175" y="140845"/>
                  </a:lnTo>
                  <a:lnTo>
                    <a:pt x="164175" y="157146"/>
                  </a:lnTo>
                  <a:lnTo>
                    <a:pt x="96110" y="157146"/>
                  </a:lnTo>
                  <a:close/>
                  <a:moveTo>
                    <a:pt x="174150" y="109390"/>
                  </a:moveTo>
                  <a:cubicBezTo>
                    <a:pt x="174150" y="99528"/>
                    <a:pt x="175613" y="91265"/>
                    <a:pt x="178563" y="84578"/>
                  </a:cubicBezTo>
                  <a:cubicBezTo>
                    <a:pt x="180769" y="79669"/>
                    <a:pt x="183764" y="75234"/>
                    <a:pt x="187569" y="71316"/>
                  </a:cubicBezTo>
                  <a:cubicBezTo>
                    <a:pt x="191374" y="67421"/>
                    <a:pt x="195540" y="64516"/>
                    <a:pt x="200066" y="62625"/>
                  </a:cubicBezTo>
                  <a:cubicBezTo>
                    <a:pt x="206100" y="60058"/>
                    <a:pt x="213035" y="58797"/>
                    <a:pt x="220915" y="58797"/>
                  </a:cubicBezTo>
                  <a:cubicBezTo>
                    <a:pt x="235168" y="58797"/>
                    <a:pt x="246561" y="63210"/>
                    <a:pt x="255117" y="72059"/>
                  </a:cubicBezTo>
                  <a:cubicBezTo>
                    <a:pt x="263673" y="80885"/>
                    <a:pt x="267951" y="93179"/>
                    <a:pt x="267951" y="108917"/>
                  </a:cubicBezTo>
                  <a:cubicBezTo>
                    <a:pt x="267951" y="124544"/>
                    <a:pt x="263695" y="136747"/>
                    <a:pt x="255207" y="145573"/>
                  </a:cubicBezTo>
                  <a:cubicBezTo>
                    <a:pt x="246718" y="154377"/>
                    <a:pt x="235371" y="158790"/>
                    <a:pt x="221185" y="158790"/>
                  </a:cubicBezTo>
                  <a:cubicBezTo>
                    <a:pt x="206798" y="158790"/>
                    <a:pt x="195360" y="154400"/>
                    <a:pt x="186871" y="145641"/>
                  </a:cubicBezTo>
                  <a:cubicBezTo>
                    <a:pt x="178383" y="136860"/>
                    <a:pt x="174150" y="124769"/>
                    <a:pt x="174150" y="109390"/>
                  </a:cubicBezTo>
                  <a:close/>
                  <a:moveTo>
                    <a:pt x="279817" y="108467"/>
                  </a:moveTo>
                  <a:cubicBezTo>
                    <a:pt x="279817" y="98403"/>
                    <a:pt x="281934" y="89441"/>
                    <a:pt x="286144" y="81606"/>
                  </a:cubicBezTo>
                  <a:cubicBezTo>
                    <a:pt x="290377" y="73793"/>
                    <a:pt x="296547" y="67781"/>
                    <a:pt x="304697" y="63615"/>
                  </a:cubicBezTo>
                  <a:cubicBezTo>
                    <a:pt x="310889" y="60396"/>
                    <a:pt x="318612" y="58797"/>
                    <a:pt x="327844" y="58797"/>
                  </a:cubicBezTo>
                  <a:cubicBezTo>
                    <a:pt x="339845" y="58797"/>
                    <a:pt x="349234" y="61319"/>
                    <a:pt x="355966" y="66340"/>
                  </a:cubicBezTo>
                  <a:cubicBezTo>
                    <a:pt x="362720" y="71384"/>
                    <a:pt x="367066" y="78341"/>
                    <a:pt x="369002" y="87235"/>
                  </a:cubicBezTo>
                  <a:lnTo>
                    <a:pt x="349616" y="90860"/>
                  </a:lnTo>
                  <a:cubicBezTo>
                    <a:pt x="348243" y="86109"/>
                    <a:pt x="345676" y="82348"/>
                    <a:pt x="341916" y="79602"/>
                  </a:cubicBezTo>
                  <a:cubicBezTo>
                    <a:pt x="338156" y="76855"/>
                    <a:pt x="333473" y="75481"/>
                    <a:pt x="327844" y="75481"/>
                  </a:cubicBezTo>
                  <a:cubicBezTo>
                    <a:pt x="319310" y="75481"/>
                    <a:pt x="312533" y="78183"/>
                    <a:pt x="307489" y="83587"/>
                  </a:cubicBezTo>
                  <a:cubicBezTo>
                    <a:pt x="302446" y="89013"/>
                    <a:pt x="299947" y="97029"/>
                    <a:pt x="299947" y="107679"/>
                  </a:cubicBezTo>
                  <a:cubicBezTo>
                    <a:pt x="299947" y="119140"/>
                    <a:pt x="302491" y="127763"/>
                    <a:pt x="307602" y="133505"/>
                  </a:cubicBezTo>
                  <a:cubicBezTo>
                    <a:pt x="312691" y="139246"/>
                    <a:pt x="319378" y="142106"/>
                    <a:pt x="327641" y="142106"/>
                  </a:cubicBezTo>
                  <a:cubicBezTo>
                    <a:pt x="331739" y="142106"/>
                    <a:pt x="335837" y="141295"/>
                    <a:pt x="339957" y="139697"/>
                  </a:cubicBezTo>
                  <a:cubicBezTo>
                    <a:pt x="344055" y="138098"/>
                    <a:pt x="347590" y="136139"/>
                    <a:pt x="350539" y="133865"/>
                  </a:cubicBezTo>
                  <a:lnTo>
                    <a:pt x="350539" y="121594"/>
                  </a:lnTo>
                  <a:lnTo>
                    <a:pt x="328181" y="121594"/>
                  </a:lnTo>
                  <a:lnTo>
                    <a:pt x="328181" y="105292"/>
                  </a:lnTo>
                  <a:lnTo>
                    <a:pt x="370263" y="105292"/>
                  </a:lnTo>
                  <a:lnTo>
                    <a:pt x="370263" y="143817"/>
                  </a:lnTo>
                  <a:cubicBezTo>
                    <a:pt x="366165" y="147780"/>
                    <a:pt x="360244" y="151270"/>
                    <a:pt x="352476" y="154287"/>
                  </a:cubicBezTo>
                  <a:cubicBezTo>
                    <a:pt x="344708" y="157281"/>
                    <a:pt x="336850" y="158790"/>
                    <a:pt x="328902" y="158790"/>
                  </a:cubicBezTo>
                  <a:cubicBezTo>
                    <a:pt x="318792" y="158790"/>
                    <a:pt x="309966" y="156673"/>
                    <a:pt x="302446" y="152440"/>
                  </a:cubicBezTo>
                  <a:cubicBezTo>
                    <a:pt x="294926" y="148185"/>
                    <a:pt x="289274" y="142128"/>
                    <a:pt x="285491" y="134225"/>
                  </a:cubicBezTo>
                  <a:cubicBezTo>
                    <a:pt x="281709" y="126322"/>
                    <a:pt x="279817" y="117744"/>
                    <a:pt x="279817" y="108467"/>
                  </a:cubicBezTo>
                  <a:close/>
                  <a:moveTo>
                    <a:pt x="68737" y="217587"/>
                  </a:moveTo>
                  <a:lnTo>
                    <a:pt x="397636" y="217587"/>
                  </a:lnTo>
                  <a:lnTo>
                    <a:pt x="420494" y="217587"/>
                  </a:lnTo>
                  <a:lnTo>
                    <a:pt x="458753" y="217587"/>
                  </a:lnTo>
                  <a:cubicBezTo>
                    <a:pt x="462961" y="217587"/>
                    <a:pt x="466373" y="214175"/>
                    <a:pt x="466373" y="209967"/>
                  </a:cubicBezTo>
                  <a:lnTo>
                    <a:pt x="466373" y="7620"/>
                  </a:lnTo>
                  <a:cubicBezTo>
                    <a:pt x="466373" y="3412"/>
                    <a:pt x="462961" y="0"/>
                    <a:pt x="458753" y="0"/>
                  </a:cubicBezTo>
                  <a:lnTo>
                    <a:pt x="420494" y="0"/>
                  </a:lnTo>
                  <a:lnTo>
                    <a:pt x="397636" y="0"/>
                  </a:lnTo>
                  <a:lnTo>
                    <a:pt x="68737" y="0"/>
                  </a:lnTo>
                  <a:lnTo>
                    <a:pt x="45878" y="0"/>
                  </a:lnTo>
                  <a:lnTo>
                    <a:pt x="7620" y="0"/>
                  </a:lnTo>
                  <a:cubicBezTo>
                    <a:pt x="3412" y="0"/>
                    <a:pt x="0" y="3412"/>
                    <a:pt x="0" y="7620"/>
                  </a:cubicBezTo>
                  <a:lnTo>
                    <a:pt x="0" y="209967"/>
                  </a:lnTo>
                  <a:cubicBezTo>
                    <a:pt x="0" y="214175"/>
                    <a:pt x="3412" y="217587"/>
                    <a:pt x="7620" y="217587"/>
                  </a:cubicBezTo>
                  <a:lnTo>
                    <a:pt x="45878" y="217587"/>
                  </a:lnTo>
                  <a:lnTo>
                    <a:pt x="68737" y="217587"/>
                  </a:lnTo>
                  <a:close/>
                </a:path>
              </a:pathLst>
            </a:custGeom>
            <a:solidFill>
              <a:schemeClr val="accent2"/>
            </a:solidFill>
            <a:ln w="95250" cap="flat">
              <a:noFill/>
              <a:prstDash val="solid"/>
              <a:miter/>
            </a:ln>
          </p:spPr>
          <p:txBody>
            <a:bodyPr rtlCol="0" anchor="ctr"/>
            <a:lstStyle/>
            <a:p>
              <a:endParaRPr lang="en-US" dirty="0"/>
            </a:p>
          </p:txBody>
        </p:sp>
        <p:sp>
          <p:nvSpPr>
            <p:cNvPr id="796" name="Freeform: Shape 795">
              <a:extLst>
                <a:ext uri="{FF2B5EF4-FFF2-40B4-BE49-F238E27FC236}">
                  <a16:creationId xmlns:a16="http://schemas.microsoft.com/office/drawing/2014/main" id="{FA48E60F-530D-48C6-8D28-110BC59C0BC8}"/>
                </a:ext>
              </a:extLst>
            </p:cNvPr>
            <p:cNvSpPr/>
            <p:nvPr/>
          </p:nvSpPr>
          <p:spPr>
            <a:xfrm>
              <a:off x="1096554" y="5006513"/>
              <a:ext cx="53497" cy="66625"/>
            </a:xfrm>
            <a:custGeom>
              <a:avLst/>
              <a:gdLst>
                <a:gd name="connsiteX0" fmla="*/ 26861 w 53497"/>
                <a:gd name="connsiteY0" fmla="*/ 0 h 66625"/>
                <a:gd name="connsiteX1" fmla="*/ 46225 w 53497"/>
                <a:gd name="connsiteY1" fmla="*/ 8174 h 66625"/>
                <a:gd name="connsiteX2" fmla="*/ 53497 w 53497"/>
                <a:gd name="connsiteY2" fmla="*/ 32986 h 66625"/>
                <a:gd name="connsiteX3" fmla="*/ 46022 w 53497"/>
                <a:gd name="connsiteY3" fmla="*/ 58204 h 66625"/>
                <a:gd name="connsiteX4" fmla="*/ 26861 w 53497"/>
                <a:gd name="connsiteY4" fmla="*/ 66625 h 66625"/>
                <a:gd name="connsiteX5" fmla="*/ 7588 w 53497"/>
                <a:gd name="connsiteY5" fmla="*/ 58159 h 66625"/>
                <a:gd name="connsiteX6" fmla="*/ 0 w 53497"/>
                <a:gd name="connsiteY6" fmla="*/ 33256 h 66625"/>
                <a:gd name="connsiteX7" fmla="*/ 7385 w 53497"/>
                <a:gd name="connsiteY7" fmla="*/ 8286 h 66625"/>
                <a:gd name="connsiteX8" fmla="*/ 26861 w 53497"/>
                <a:gd name="connsiteY8" fmla="*/ 0 h 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97" h="66625">
                  <a:moveTo>
                    <a:pt x="26861" y="0"/>
                  </a:moveTo>
                  <a:cubicBezTo>
                    <a:pt x="34899" y="0"/>
                    <a:pt x="41362" y="2725"/>
                    <a:pt x="46225" y="8174"/>
                  </a:cubicBezTo>
                  <a:cubicBezTo>
                    <a:pt x="51066" y="13645"/>
                    <a:pt x="53497" y="21908"/>
                    <a:pt x="53497" y="32986"/>
                  </a:cubicBezTo>
                  <a:cubicBezTo>
                    <a:pt x="53497" y="44199"/>
                    <a:pt x="50998" y="52597"/>
                    <a:pt x="46022" y="58204"/>
                  </a:cubicBezTo>
                  <a:cubicBezTo>
                    <a:pt x="41024" y="63832"/>
                    <a:pt x="34629" y="66625"/>
                    <a:pt x="26861" y="66625"/>
                  </a:cubicBezTo>
                  <a:cubicBezTo>
                    <a:pt x="19071" y="66625"/>
                    <a:pt x="12654" y="63810"/>
                    <a:pt x="7588" y="58159"/>
                  </a:cubicBezTo>
                  <a:cubicBezTo>
                    <a:pt x="2544" y="52507"/>
                    <a:pt x="0" y="44199"/>
                    <a:pt x="0" y="33256"/>
                  </a:cubicBezTo>
                  <a:cubicBezTo>
                    <a:pt x="0" y="22111"/>
                    <a:pt x="2477" y="13802"/>
                    <a:pt x="7385" y="8286"/>
                  </a:cubicBezTo>
                  <a:cubicBezTo>
                    <a:pt x="12316" y="2770"/>
                    <a:pt x="18801" y="0"/>
                    <a:pt x="26861" y="0"/>
                  </a:cubicBezTo>
                  <a:close/>
                </a:path>
              </a:pathLst>
            </a:custGeom>
            <a:solidFill>
              <a:schemeClr val="accent2"/>
            </a:solidFill>
            <a:ln w="95250" cap="flat">
              <a:noFill/>
              <a:prstDash val="solid"/>
              <a:miter/>
            </a:ln>
          </p:spPr>
          <p:txBody>
            <a:bodyPr rtlCol="0" anchor="ctr"/>
            <a:lstStyle/>
            <a:p>
              <a:endParaRPr lang="en-US" dirty="0"/>
            </a:p>
          </p:txBody>
        </p:sp>
        <p:sp>
          <p:nvSpPr>
            <p:cNvPr id="351" name="Freeform: Shape 350">
              <a:extLst>
                <a:ext uri="{FF2B5EF4-FFF2-40B4-BE49-F238E27FC236}">
                  <a16:creationId xmlns:a16="http://schemas.microsoft.com/office/drawing/2014/main" id="{274BD12A-E342-441B-80B0-6A570625BE55}"/>
                </a:ext>
              </a:extLst>
            </p:cNvPr>
            <p:cNvSpPr/>
            <p:nvPr/>
          </p:nvSpPr>
          <p:spPr>
            <a:xfrm>
              <a:off x="626478" y="4470459"/>
              <a:ext cx="984185" cy="952500"/>
            </a:xfrm>
            <a:custGeom>
              <a:avLst/>
              <a:gdLst>
                <a:gd name="connsiteX0" fmla="*/ 0 w 952500"/>
                <a:gd name="connsiteY0" fmla="*/ 0 h 952500"/>
                <a:gd name="connsiteX1" fmla="*/ 987743 w 952500"/>
                <a:gd name="connsiteY1" fmla="*/ 0 h 952500"/>
                <a:gd name="connsiteX2" fmla="*/ 987743 w 952500"/>
                <a:gd name="connsiteY2" fmla="*/ 987743 h 952500"/>
                <a:gd name="connsiteX3" fmla="*/ 0 w 952500"/>
                <a:gd name="connsiteY3" fmla="*/ 987743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87743" y="0"/>
                  </a:lnTo>
                  <a:lnTo>
                    <a:pt x="987743" y="987743"/>
                  </a:lnTo>
                  <a:lnTo>
                    <a:pt x="0" y="987743"/>
                  </a:lnTo>
                  <a:close/>
                </a:path>
              </a:pathLst>
            </a:custGeom>
            <a:noFill/>
            <a:ln w="95250" cap="flat">
              <a:noFill/>
              <a:prstDash val="solid"/>
              <a:miter/>
            </a:ln>
          </p:spPr>
          <p:txBody>
            <a:bodyPr rtlCol="0" anchor="ctr"/>
            <a:lstStyle/>
            <a:p>
              <a:endParaRPr lang="en-US" dirty="0"/>
            </a:p>
          </p:txBody>
        </p:sp>
        <p:sp>
          <p:nvSpPr>
            <p:cNvPr id="384" name="Freeform: Shape 383">
              <a:extLst>
                <a:ext uri="{FF2B5EF4-FFF2-40B4-BE49-F238E27FC236}">
                  <a16:creationId xmlns:a16="http://schemas.microsoft.com/office/drawing/2014/main" id="{1BD589BB-006A-4229-8E3C-811E790DACE6}"/>
                </a:ext>
              </a:extLst>
            </p:cNvPr>
            <p:cNvSpPr/>
            <p:nvPr/>
          </p:nvSpPr>
          <p:spPr>
            <a:xfrm>
              <a:off x="694867" y="4470525"/>
              <a:ext cx="787348" cy="952500"/>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dirty="0"/>
            </a:p>
          </p:txBody>
        </p:sp>
      </p:grpSp>
      <p:grpSp>
        <p:nvGrpSpPr>
          <p:cNvPr id="799" name="Group 798">
            <a:extLst>
              <a:ext uri="{FF2B5EF4-FFF2-40B4-BE49-F238E27FC236}">
                <a16:creationId xmlns:a16="http://schemas.microsoft.com/office/drawing/2014/main" id="{6EA8CB65-431C-45D5-9729-EFAE1C423CD1}"/>
              </a:ext>
            </a:extLst>
          </p:cNvPr>
          <p:cNvGrpSpPr/>
          <p:nvPr/>
        </p:nvGrpSpPr>
        <p:grpSpPr>
          <a:xfrm>
            <a:off x="1430805" y="4460161"/>
            <a:ext cx="461004" cy="446194"/>
            <a:chOff x="626478" y="4470459"/>
            <a:chExt cx="984185" cy="952566"/>
          </a:xfrm>
        </p:grpSpPr>
        <p:sp>
          <p:nvSpPr>
            <p:cNvPr id="800" name="Freeform: Shape 799">
              <a:extLst>
                <a:ext uri="{FF2B5EF4-FFF2-40B4-BE49-F238E27FC236}">
                  <a16:creationId xmlns:a16="http://schemas.microsoft.com/office/drawing/2014/main" id="{3603A330-4DF8-4E83-918A-0FE8FE45F319}"/>
                </a:ext>
              </a:extLst>
            </p:cNvPr>
            <p:cNvSpPr/>
            <p:nvPr/>
          </p:nvSpPr>
          <p:spPr>
            <a:xfrm>
              <a:off x="943238" y="4705251"/>
              <a:ext cx="295256" cy="476250"/>
            </a:xfrm>
            <a:custGeom>
              <a:avLst/>
              <a:gdLst>
                <a:gd name="connsiteX0" fmla="*/ 281429 w 285750"/>
                <a:gd name="connsiteY0" fmla="*/ 22858 h 476250"/>
                <a:gd name="connsiteX1" fmla="*/ 22859 w 285750"/>
                <a:gd name="connsiteY1" fmla="*/ 22858 h 476250"/>
                <a:gd name="connsiteX2" fmla="*/ 22859 w 285750"/>
                <a:gd name="connsiteY2" fmla="*/ 233401 h 476250"/>
                <a:gd name="connsiteX3" fmla="*/ 11430 w 285750"/>
                <a:gd name="connsiteY3" fmla="*/ 244830 h 476250"/>
                <a:gd name="connsiteX4" fmla="*/ 1 w 285750"/>
                <a:gd name="connsiteY4" fmla="*/ 233401 h 476250"/>
                <a:gd name="connsiteX5" fmla="*/ 1 w 285750"/>
                <a:gd name="connsiteY5" fmla="*/ 11429 h 476250"/>
                <a:gd name="connsiteX6" fmla="*/ 11430 w 285750"/>
                <a:gd name="connsiteY6" fmla="*/ 0 h 476250"/>
                <a:gd name="connsiteX7" fmla="*/ 289049 w 285750"/>
                <a:gd name="connsiteY7" fmla="*/ 0 h 476250"/>
                <a:gd name="connsiteX8" fmla="*/ 297162 w 285750"/>
                <a:gd name="connsiteY8" fmla="*/ 3381 h 476250"/>
                <a:gd name="connsiteX9" fmla="*/ 371269 w 285750"/>
                <a:gd name="connsiteY9" fmla="*/ 77487 h 476250"/>
                <a:gd name="connsiteX10" fmla="*/ 374617 w 285750"/>
                <a:gd name="connsiteY10" fmla="*/ 85568 h 476250"/>
                <a:gd name="connsiteX11" fmla="*/ 374617 w 285750"/>
                <a:gd name="connsiteY11" fmla="*/ 233401 h 476250"/>
                <a:gd name="connsiteX12" fmla="*/ 363188 w 285750"/>
                <a:gd name="connsiteY12" fmla="*/ 244830 h 476250"/>
                <a:gd name="connsiteX13" fmla="*/ 351759 w 285750"/>
                <a:gd name="connsiteY13" fmla="*/ 233401 h 476250"/>
                <a:gd name="connsiteX14" fmla="*/ 351759 w 285750"/>
                <a:gd name="connsiteY14" fmla="*/ 93187 h 476250"/>
                <a:gd name="connsiteX15" fmla="*/ 326118 w 285750"/>
                <a:gd name="connsiteY15" fmla="*/ 93187 h 476250"/>
                <a:gd name="connsiteX16" fmla="*/ 294551 w 285750"/>
                <a:gd name="connsiteY16" fmla="*/ 80066 h 476250"/>
                <a:gd name="connsiteX17" fmla="*/ 281430 w 285750"/>
                <a:gd name="connsiteY17" fmla="*/ 48498 h 476250"/>
                <a:gd name="connsiteX18" fmla="*/ 281430 w 285750"/>
                <a:gd name="connsiteY18" fmla="*/ 22858 h 476250"/>
                <a:gd name="connsiteX19" fmla="*/ 22859 w 285750"/>
                <a:gd name="connsiteY19" fmla="*/ 495300 h 476250"/>
                <a:gd name="connsiteX20" fmla="*/ 351758 w 285750"/>
                <a:gd name="connsiteY20" fmla="*/ 495300 h 476250"/>
                <a:gd name="connsiteX21" fmla="*/ 351758 w 285750"/>
                <a:gd name="connsiteY21" fmla="*/ 435748 h 476250"/>
                <a:gd name="connsiteX22" fmla="*/ 363188 w 285750"/>
                <a:gd name="connsiteY22" fmla="*/ 424319 h 476250"/>
                <a:gd name="connsiteX23" fmla="*/ 374617 w 285750"/>
                <a:gd name="connsiteY23" fmla="*/ 435748 h 476250"/>
                <a:gd name="connsiteX24" fmla="*/ 374617 w 285750"/>
                <a:gd name="connsiteY24" fmla="*/ 506730 h 476250"/>
                <a:gd name="connsiteX25" fmla="*/ 363188 w 285750"/>
                <a:gd name="connsiteY25" fmla="*/ 518159 h 476250"/>
                <a:gd name="connsiteX26" fmla="*/ 11429 w 285750"/>
                <a:gd name="connsiteY26" fmla="*/ 518159 h 476250"/>
                <a:gd name="connsiteX27" fmla="*/ 0 w 285750"/>
                <a:gd name="connsiteY27" fmla="*/ 506730 h 476250"/>
                <a:gd name="connsiteX28" fmla="*/ 0 w 285750"/>
                <a:gd name="connsiteY28" fmla="*/ 435748 h 476250"/>
                <a:gd name="connsiteX29" fmla="*/ 11429 w 285750"/>
                <a:gd name="connsiteY29" fmla="*/ 424319 h 476250"/>
                <a:gd name="connsiteX30" fmla="*/ 22858 w 285750"/>
                <a:gd name="connsiteY30" fmla="*/ 435748 h 476250"/>
                <a:gd name="connsiteX31" fmla="*/ 22858 w 285750"/>
                <a:gd name="connsiteY31" fmla="*/ 49530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476250">
                  <a:moveTo>
                    <a:pt x="281429" y="22858"/>
                  </a:moveTo>
                  <a:lnTo>
                    <a:pt x="22859" y="22858"/>
                  </a:lnTo>
                  <a:lnTo>
                    <a:pt x="22859" y="233401"/>
                  </a:lnTo>
                  <a:cubicBezTo>
                    <a:pt x="22859" y="239711"/>
                    <a:pt x="17740" y="244830"/>
                    <a:pt x="11430" y="244830"/>
                  </a:cubicBezTo>
                  <a:cubicBezTo>
                    <a:pt x="5119" y="244830"/>
                    <a:pt x="1" y="239711"/>
                    <a:pt x="1" y="233401"/>
                  </a:cubicBezTo>
                  <a:lnTo>
                    <a:pt x="1" y="11429"/>
                  </a:lnTo>
                  <a:cubicBezTo>
                    <a:pt x="1" y="5119"/>
                    <a:pt x="5119" y="0"/>
                    <a:pt x="11430" y="0"/>
                  </a:cubicBezTo>
                  <a:lnTo>
                    <a:pt x="289049" y="0"/>
                  </a:lnTo>
                  <a:cubicBezTo>
                    <a:pt x="292106" y="0"/>
                    <a:pt x="295004" y="1222"/>
                    <a:pt x="297162" y="3381"/>
                  </a:cubicBezTo>
                  <a:lnTo>
                    <a:pt x="371269" y="77487"/>
                  </a:lnTo>
                  <a:cubicBezTo>
                    <a:pt x="373417" y="79635"/>
                    <a:pt x="374617" y="82530"/>
                    <a:pt x="374617" y="85568"/>
                  </a:cubicBezTo>
                  <a:lnTo>
                    <a:pt x="374617" y="233401"/>
                  </a:lnTo>
                  <a:cubicBezTo>
                    <a:pt x="374617" y="239711"/>
                    <a:pt x="369498" y="244830"/>
                    <a:pt x="363188" y="244830"/>
                  </a:cubicBezTo>
                  <a:cubicBezTo>
                    <a:pt x="356877" y="244830"/>
                    <a:pt x="351759" y="239711"/>
                    <a:pt x="351759" y="233401"/>
                  </a:cubicBezTo>
                  <a:lnTo>
                    <a:pt x="351759" y="93187"/>
                  </a:lnTo>
                  <a:lnTo>
                    <a:pt x="326118" y="93187"/>
                  </a:lnTo>
                  <a:cubicBezTo>
                    <a:pt x="313821" y="93187"/>
                    <a:pt x="302647" y="88161"/>
                    <a:pt x="294551" y="80066"/>
                  </a:cubicBezTo>
                  <a:cubicBezTo>
                    <a:pt x="286456" y="71970"/>
                    <a:pt x="281430" y="60796"/>
                    <a:pt x="281430" y="48498"/>
                  </a:cubicBezTo>
                  <a:lnTo>
                    <a:pt x="281430" y="22858"/>
                  </a:lnTo>
                  <a:close/>
                  <a:moveTo>
                    <a:pt x="22859" y="495300"/>
                  </a:moveTo>
                  <a:lnTo>
                    <a:pt x="351758" y="495300"/>
                  </a:lnTo>
                  <a:lnTo>
                    <a:pt x="351758" y="435748"/>
                  </a:lnTo>
                  <a:cubicBezTo>
                    <a:pt x="351758" y="429437"/>
                    <a:pt x="356877" y="424319"/>
                    <a:pt x="363188" y="424319"/>
                  </a:cubicBezTo>
                  <a:cubicBezTo>
                    <a:pt x="369498" y="424319"/>
                    <a:pt x="374617" y="429438"/>
                    <a:pt x="374617" y="435748"/>
                  </a:cubicBezTo>
                  <a:lnTo>
                    <a:pt x="374617" y="506730"/>
                  </a:lnTo>
                  <a:cubicBezTo>
                    <a:pt x="374617" y="513040"/>
                    <a:pt x="369498" y="518159"/>
                    <a:pt x="363188" y="518159"/>
                  </a:cubicBezTo>
                  <a:lnTo>
                    <a:pt x="11429" y="518159"/>
                  </a:lnTo>
                  <a:cubicBezTo>
                    <a:pt x="5119" y="518159"/>
                    <a:pt x="0" y="513040"/>
                    <a:pt x="0" y="506730"/>
                  </a:cubicBezTo>
                  <a:lnTo>
                    <a:pt x="0" y="435748"/>
                  </a:lnTo>
                  <a:cubicBezTo>
                    <a:pt x="0" y="429437"/>
                    <a:pt x="5119" y="424319"/>
                    <a:pt x="11429" y="424319"/>
                  </a:cubicBezTo>
                  <a:cubicBezTo>
                    <a:pt x="17740" y="424319"/>
                    <a:pt x="22858" y="429438"/>
                    <a:pt x="22858" y="435748"/>
                  </a:cubicBezTo>
                  <a:lnTo>
                    <a:pt x="22858" y="495300"/>
                  </a:lnTo>
                  <a:close/>
                </a:path>
              </a:pathLst>
            </a:custGeom>
            <a:solidFill>
              <a:schemeClr val="accent4"/>
            </a:solidFill>
            <a:ln w="95250" cap="flat">
              <a:noFill/>
              <a:prstDash val="solid"/>
              <a:miter/>
            </a:ln>
          </p:spPr>
          <p:txBody>
            <a:bodyPr rtlCol="0" anchor="ctr"/>
            <a:lstStyle/>
            <a:p>
              <a:endParaRPr lang="en-US" dirty="0"/>
            </a:p>
          </p:txBody>
        </p:sp>
        <p:sp>
          <p:nvSpPr>
            <p:cNvPr id="801" name="Freeform: Shape 800">
              <a:extLst>
                <a:ext uri="{FF2B5EF4-FFF2-40B4-BE49-F238E27FC236}">
                  <a16:creationId xmlns:a16="http://schemas.microsoft.com/office/drawing/2014/main" id="{67796247-1590-42CF-8797-E51E95BF26A9}"/>
                </a:ext>
              </a:extLst>
            </p:cNvPr>
            <p:cNvSpPr/>
            <p:nvPr/>
          </p:nvSpPr>
          <p:spPr>
            <a:xfrm>
              <a:off x="1022469" y="4836528"/>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02" name="Freeform: Shape 801">
              <a:extLst>
                <a:ext uri="{FF2B5EF4-FFF2-40B4-BE49-F238E27FC236}">
                  <a16:creationId xmlns:a16="http://schemas.microsoft.com/office/drawing/2014/main" id="{B30859C2-2321-447B-8F85-434D449277D1}"/>
                </a:ext>
              </a:extLst>
            </p:cNvPr>
            <p:cNvSpPr/>
            <p:nvPr/>
          </p:nvSpPr>
          <p:spPr>
            <a:xfrm>
              <a:off x="1022469" y="4881732"/>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03" name="Freeform: Shape 802">
              <a:extLst>
                <a:ext uri="{FF2B5EF4-FFF2-40B4-BE49-F238E27FC236}">
                  <a16:creationId xmlns:a16="http://schemas.microsoft.com/office/drawing/2014/main" id="{75516344-0B19-4806-9C4E-1D15AF13E292}"/>
                </a:ext>
              </a:extLst>
            </p:cNvPr>
            <p:cNvSpPr/>
            <p:nvPr/>
          </p:nvSpPr>
          <p:spPr>
            <a:xfrm>
              <a:off x="1022469" y="4791322"/>
              <a:ext cx="98419" cy="95250"/>
            </a:xfrm>
            <a:custGeom>
              <a:avLst/>
              <a:gdLst>
                <a:gd name="connsiteX0" fmla="*/ 0 w 95250"/>
                <a:gd name="connsiteY0" fmla="*/ 0 h 0"/>
                <a:gd name="connsiteX1" fmla="*/ 156437 w 95250"/>
                <a:gd name="connsiteY1" fmla="*/ 0 h 0"/>
                <a:gd name="connsiteX2" fmla="*/ 156437 w 95250"/>
                <a:gd name="connsiteY2" fmla="*/ 19049 h 0"/>
                <a:gd name="connsiteX3" fmla="*/ 0 w 95250"/>
                <a:gd name="connsiteY3" fmla="*/ 19049 h 0"/>
              </a:gdLst>
              <a:ahLst/>
              <a:cxnLst>
                <a:cxn ang="0">
                  <a:pos x="connsiteX0" y="connsiteY0"/>
                </a:cxn>
                <a:cxn ang="0">
                  <a:pos x="connsiteX1" y="connsiteY1"/>
                </a:cxn>
                <a:cxn ang="0">
                  <a:pos x="connsiteX2" y="connsiteY2"/>
                </a:cxn>
                <a:cxn ang="0">
                  <a:pos x="connsiteX3" y="connsiteY3"/>
                </a:cxn>
              </a:cxnLst>
              <a:rect l="l" t="t" r="r" b="b"/>
              <a:pathLst>
                <a:path w="95250">
                  <a:moveTo>
                    <a:pt x="0" y="0"/>
                  </a:moveTo>
                  <a:lnTo>
                    <a:pt x="156437" y="0"/>
                  </a:lnTo>
                  <a:lnTo>
                    <a:pt x="156437"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04" name="Freeform: Shape 803">
              <a:extLst>
                <a:ext uri="{FF2B5EF4-FFF2-40B4-BE49-F238E27FC236}">
                  <a16:creationId xmlns:a16="http://schemas.microsoft.com/office/drawing/2014/main" id="{29408AE3-87F6-41EA-8C72-90947C2059FE}"/>
                </a:ext>
              </a:extLst>
            </p:cNvPr>
            <p:cNvSpPr/>
            <p:nvPr/>
          </p:nvSpPr>
          <p:spPr>
            <a:xfrm>
              <a:off x="895835" y="4931032"/>
              <a:ext cx="393674" cy="190500"/>
            </a:xfrm>
            <a:custGeom>
              <a:avLst/>
              <a:gdLst>
                <a:gd name="connsiteX0" fmla="*/ 96110 w 381000"/>
                <a:gd name="connsiteY0" fmla="*/ 157146 h 190500"/>
                <a:gd name="connsiteX1" fmla="*/ 96110 w 381000"/>
                <a:gd name="connsiteY1" fmla="*/ 61229 h 190500"/>
                <a:gd name="connsiteX2" fmla="*/ 115632 w 381000"/>
                <a:gd name="connsiteY2" fmla="*/ 61229 h 190500"/>
                <a:gd name="connsiteX3" fmla="*/ 115632 w 381000"/>
                <a:gd name="connsiteY3" fmla="*/ 140845 h 190500"/>
                <a:gd name="connsiteX4" fmla="*/ 164175 w 381000"/>
                <a:gd name="connsiteY4" fmla="*/ 140845 h 190500"/>
                <a:gd name="connsiteX5" fmla="*/ 164175 w 381000"/>
                <a:gd name="connsiteY5" fmla="*/ 157146 h 190500"/>
                <a:gd name="connsiteX6" fmla="*/ 96110 w 381000"/>
                <a:gd name="connsiteY6" fmla="*/ 157146 h 190500"/>
                <a:gd name="connsiteX7" fmla="*/ 174150 w 381000"/>
                <a:gd name="connsiteY7" fmla="*/ 109390 h 190500"/>
                <a:gd name="connsiteX8" fmla="*/ 178563 w 381000"/>
                <a:gd name="connsiteY8" fmla="*/ 84578 h 190500"/>
                <a:gd name="connsiteX9" fmla="*/ 187569 w 381000"/>
                <a:gd name="connsiteY9" fmla="*/ 71316 h 190500"/>
                <a:gd name="connsiteX10" fmla="*/ 200066 w 381000"/>
                <a:gd name="connsiteY10" fmla="*/ 62625 h 190500"/>
                <a:gd name="connsiteX11" fmla="*/ 220915 w 381000"/>
                <a:gd name="connsiteY11" fmla="*/ 58797 h 190500"/>
                <a:gd name="connsiteX12" fmla="*/ 255117 w 381000"/>
                <a:gd name="connsiteY12" fmla="*/ 72059 h 190500"/>
                <a:gd name="connsiteX13" fmla="*/ 267951 w 381000"/>
                <a:gd name="connsiteY13" fmla="*/ 108917 h 190500"/>
                <a:gd name="connsiteX14" fmla="*/ 255207 w 381000"/>
                <a:gd name="connsiteY14" fmla="*/ 145573 h 190500"/>
                <a:gd name="connsiteX15" fmla="*/ 221185 w 381000"/>
                <a:gd name="connsiteY15" fmla="*/ 158790 h 190500"/>
                <a:gd name="connsiteX16" fmla="*/ 186871 w 381000"/>
                <a:gd name="connsiteY16" fmla="*/ 145641 h 190500"/>
                <a:gd name="connsiteX17" fmla="*/ 174150 w 381000"/>
                <a:gd name="connsiteY17" fmla="*/ 109390 h 190500"/>
                <a:gd name="connsiteX18" fmla="*/ 279817 w 381000"/>
                <a:gd name="connsiteY18" fmla="*/ 108467 h 190500"/>
                <a:gd name="connsiteX19" fmla="*/ 286144 w 381000"/>
                <a:gd name="connsiteY19" fmla="*/ 81606 h 190500"/>
                <a:gd name="connsiteX20" fmla="*/ 304697 w 381000"/>
                <a:gd name="connsiteY20" fmla="*/ 63615 h 190500"/>
                <a:gd name="connsiteX21" fmla="*/ 327844 w 381000"/>
                <a:gd name="connsiteY21" fmla="*/ 58797 h 190500"/>
                <a:gd name="connsiteX22" fmla="*/ 355966 w 381000"/>
                <a:gd name="connsiteY22" fmla="*/ 66340 h 190500"/>
                <a:gd name="connsiteX23" fmla="*/ 369002 w 381000"/>
                <a:gd name="connsiteY23" fmla="*/ 87235 h 190500"/>
                <a:gd name="connsiteX24" fmla="*/ 349616 w 381000"/>
                <a:gd name="connsiteY24" fmla="*/ 90860 h 190500"/>
                <a:gd name="connsiteX25" fmla="*/ 341916 w 381000"/>
                <a:gd name="connsiteY25" fmla="*/ 79602 h 190500"/>
                <a:gd name="connsiteX26" fmla="*/ 327844 w 381000"/>
                <a:gd name="connsiteY26" fmla="*/ 75481 h 190500"/>
                <a:gd name="connsiteX27" fmla="*/ 307489 w 381000"/>
                <a:gd name="connsiteY27" fmla="*/ 83587 h 190500"/>
                <a:gd name="connsiteX28" fmla="*/ 299947 w 381000"/>
                <a:gd name="connsiteY28" fmla="*/ 107679 h 190500"/>
                <a:gd name="connsiteX29" fmla="*/ 307602 w 381000"/>
                <a:gd name="connsiteY29" fmla="*/ 133505 h 190500"/>
                <a:gd name="connsiteX30" fmla="*/ 327641 w 381000"/>
                <a:gd name="connsiteY30" fmla="*/ 142106 h 190500"/>
                <a:gd name="connsiteX31" fmla="*/ 339957 w 381000"/>
                <a:gd name="connsiteY31" fmla="*/ 139697 h 190500"/>
                <a:gd name="connsiteX32" fmla="*/ 350539 w 381000"/>
                <a:gd name="connsiteY32" fmla="*/ 133865 h 190500"/>
                <a:gd name="connsiteX33" fmla="*/ 350539 w 381000"/>
                <a:gd name="connsiteY33" fmla="*/ 121594 h 190500"/>
                <a:gd name="connsiteX34" fmla="*/ 328181 w 381000"/>
                <a:gd name="connsiteY34" fmla="*/ 121594 h 190500"/>
                <a:gd name="connsiteX35" fmla="*/ 328181 w 381000"/>
                <a:gd name="connsiteY35" fmla="*/ 105292 h 190500"/>
                <a:gd name="connsiteX36" fmla="*/ 370263 w 381000"/>
                <a:gd name="connsiteY36" fmla="*/ 105292 h 190500"/>
                <a:gd name="connsiteX37" fmla="*/ 370263 w 381000"/>
                <a:gd name="connsiteY37" fmla="*/ 143817 h 190500"/>
                <a:gd name="connsiteX38" fmla="*/ 352476 w 381000"/>
                <a:gd name="connsiteY38" fmla="*/ 154287 h 190500"/>
                <a:gd name="connsiteX39" fmla="*/ 328902 w 381000"/>
                <a:gd name="connsiteY39" fmla="*/ 158790 h 190500"/>
                <a:gd name="connsiteX40" fmla="*/ 302446 w 381000"/>
                <a:gd name="connsiteY40" fmla="*/ 152440 h 190500"/>
                <a:gd name="connsiteX41" fmla="*/ 285491 w 381000"/>
                <a:gd name="connsiteY41" fmla="*/ 134225 h 190500"/>
                <a:gd name="connsiteX42" fmla="*/ 279817 w 381000"/>
                <a:gd name="connsiteY42" fmla="*/ 108467 h 190500"/>
                <a:gd name="connsiteX43" fmla="*/ 68737 w 381000"/>
                <a:gd name="connsiteY43" fmla="*/ 217587 h 190500"/>
                <a:gd name="connsiteX44" fmla="*/ 397636 w 381000"/>
                <a:gd name="connsiteY44" fmla="*/ 217587 h 190500"/>
                <a:gd name="connsiteX45" fmla="*/ 420494 w 381000"/>
                <a:gd name="connsiteY45" fmla="*/ 217587 h 190500"/>
                <a:gd name="connsiteX46" fmla="*/ 458753 w 381000"/>
                <a:gd name="connsiteY46" fmla="*/ 217587 h 190500"/>
                <a:gd name="connsiteX47" fmla="*/ 466373 w 381000"/>
                <a:gd name="connsiteY47" fmla="*/ 209967 h 190500"/>
                <a:gd name="connsiteX48" fmla="*/ 466373 w 381000"/>
                <a:gd name="connsiteY48" fmla="*/ 7620 h 190500"/>
                <a:gd name="connsiteX49" fmla="*/ 458753 w 381000"/>
                <a:gd name="connsiteY49" fmla="*/ 0 h 190500"/>
                <a:gd name="connsiteX50" fmla="*/ 420494 w 381000"/>
                <a:gd name="connsiteY50" fmla="*/ 0 h 190500"/>
                <a:gd name="connsiteX51" fmla="*/ 397636 w 381000"/>
                <a:gd name="connsiteY51" fmla="*/ 0 h 190500"/>
                <a:gd name="connsiteX52" fmla="*/ 68737 w 381000"/>
                <a:gd name="connsiteY52" fmla="*/ 0 h 190500"/>
                <a:gd name="connsiteX53" fmla="*/ 45878 w 381000"/>
                <a:gd name="connsiteY53" fmla="*/ 0 h 190500"/>
                <a:gd name="connsiteX54" fmla="*/ 7620 w 381000"/>
                <a:gd name="connsiteY54" fmla="*/ 0 h 190500"/>
                <a:gd name="connsiteX55" fmla="*/ 0 w 381000"/>
                <a:gd name="connsiteY55" fmla="*/ 7620 h 190500"/>
                <a:gd name="connsiteX56" fmla="*/ 0 w 381000"/>
                <a:gd name="connsiteY56" fmla="*/ 209967 h 190500"/>
                <a:gd name="connsiteX57" fmla="*/ 7620 w 381000"/>
                <a:gd name="connsiteY57" fmla="*/ 217587 h 190500"/>
                <a:gd name="connsiteX58" fmla="*/ 45878 w 381000"/>
                <a:gd name="connsiteY58" fmla="*/ 217587 h 190500"/>
                <a:gd name="connsiteX59" fmla="*/ 68737 w 381000"/>
                <a:gd name="connsiteY59" fmla="*/ 21758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1000" h="190500">
                  <a:moveTo>
                    <a:pt x="96110" y="157146"/>
                  </a:moveTo>
                  <a:lnTo>
                    <a:pt x="96110" y="61229"/>
                  </a:lnTo>
                  <a:lnTo>
                    <a:pt x="115632" y="61229"/>
                  </a:lnTo>
                  <a:lnTo>
                    <a:pt x="115632" y="140845"/>
                  </a:lnTo>
                  <a:lnTo>
                    <a:pt x="164175" y="140845"/>
                  </a:lnTo>
                  <a:lnTo>
                    <a:pt x="164175" y="157146"/>
                  </a:lnTo>
                  <a:lnTo>
                    <a:pt x="96110" y="157146"/>
                  </a:lnTo>
                  <a:close/>
                  <a:moveTo>
                    <a:pt x="174150" y="109390"/>
                  </a:moveTo>
                  <a:cubicBezTo>
                    <a:pt x="174150" y="99528"/>
                    <a:pt x="175613" y="91265"/>
                    <a:pt x="178563" y="84578"/>
                  </a:cubicBezTo>
                  <a:cubicBezTo>
                    <a:pt x="180769" y="79669"/>
                    <a:pt x="183764" y="75234"/>
                    <a:pt x="187569" y="71316"/>
                  </a:cubicBezTo>
                  <a:cubicBezTo>
                    <a:pt x="191374" y="67421"/>
                    <a:pt x="195540" y="64516"/>
                    <a:pt x="200066" y="62625"/>
                  </a:cubicBezTo>
                  <a:cubicBezTo>
                    <a:pt x="206100" y="60058"/>
                    <a:pt x="213035" y="58797"/>
                    <a:pt x="220915" y="58797"/>
                  </a:cubicBezTo>
                  <a:cubicBezTo>
                    <a:pt x="235168" y="58797"/>
                    <a:pt x="246561" y="63210"/>
                    <a:pt x="255117" y="72059"/>
                  </a:cubicBezTo>
                  <a:cubicBezTo>
                    <a:pt x="263673" y="80885"/>
                    <a:pt x="267951" y="93179"/>
                    <a:pt x="267951" y="108917"/>
                  </a:cubicBezTo>
                  <a:cubicBezTo>
                    <a:pt x="267951" y="124544"/>
                    <a:pt x="263695" y="136747"/>
                    <a:pt x="255207" y="145573"/>
                  </a:cubicBezTo>
                  <a:cubicBezTo>
                    <a:pt x="246718" y="154377"/>
                    <a:pt x="235371" y="158790"/>
                    <a:pt x="221185" y="158790"/>
                  </a:cubicBezTo>
                  <a:cubicBezTo>
                    <a:pt x="206798" y="158790"/>
                    <a:pt x="195360" y="154400"/>
                    <a:pt x="186871" y="145641"/>
                  </a:cubicBezTo>
                  <a:cubicBezTo>
                    <a:pt x="178383" y="136860"/>
                    <a:pt x="174150" y="124769"/>
                    <a:pt x="174150" y="109390"/>
                  </a:cubicBezTo>
                  <a:close/>
                  <a:moveTo>
                    <a:pt x="279817" y="108467"/>
                  </a:moveTo>
                  <a:cubicBezTo>
                    <a:pt x="279817" y="98403"/>
                    <a:pt x="281934" y="89441"/>
                    <a:pt x="286144" y="81606"/>
                  </a:cubicBezTo>
                  <a:cubicBezTo>
                    <a:pt x="290377" y="73793"/>
                    <a:pt x="296547" y="67781"/>
                    <a:pt x="304697" y="63615"/>
                  </a:cubicBezTo>
                  <a:cubicBezTo>
                    <a:pt x="310889" y="60396"/>
                    <a:pt x="318612" y="58797"/>
                    <a:pt x="327844" y="58797"/>
                  </a:cubicBezTo>
                  <a:cubicBezTo>
                    <a:pt x="339845" y="58797"/>
                    <a:pt x="349234" y="61319"/>
                    <a:pt x="355966" y="66340"/>
                  </a:cubicBezTo>
                  <a:cubicBezTo>
                    <a:pt x="362720" y="71384"/>
                    <a:pt x="367066" y="78341"/>
                    <a:pt x="369002" y="87235"/>
                  </a:cubicBezTo>
                  <a:lnTo>
                    <a:pt x="349616" y="90860"/>
                  </a:lnTo>
                  <a:cubicBezTo>
                    <a:pt x="348243" y="86109"/>
                    <a:pt x="345676" y="82348"/>
                    <a:pt x="341916" y="79602"/>
                  </a:cubicBezTo>
                  <a:cubicBezTo>
                    <a:pt x="338156" y="76855"/>
                    <a:pt x="333473" y="75481"/>
                    <a:pt x="327844" y="75481"/>
                  </a:cubicBezTo>
                  <a:cubicBezTo>
                    <a:pt x="319310" y="75481"/>
                    <a:pt x="312533" y="78183"/>
                    <a:pt x="307489" y="83587"/>
                  </a:cubicBezTo>
                  <a:cubicBezTo>
                    <a:pt x="302446" y="89013"/>
                    <a:pt x="299947" y="97029"/>
                    <a:pt x="299947" y="107679"/>
                  </a:cubicBezTo>
                  <a:cubicBezTo>
                    <a:pt x="299947" y="119140"/>
                    <a:pt x="302491" y="127763"/>
                    <a:pt x="307602" y="133505"/>
                  </a:cubicBezTo>
                  <a:cubicBezTo>
                    <a:pt x="312691" y="139246"/>
                    <a:pt x="319378" y="142106"/>
                    <a:pt x="327641" y="142106"/>
                  </a:cubicBezTo>
                  <a:cubicBezTo>
                    <a:pt x="331739" y="142106"/>
                    <a:pt x="335837" y="141295"/>
                    <a:pt x="339957" y="139697"/>
                  </a:cubicBezTo>
                  <a:cubicBezTo>
                    <a:pt x="344055" y="138098"/>
                    <a:pt x="347590" y="136139"/>
                    <a:pt x="350539" y="133865"/>
                  </a:cubicBezTo>
                  <a:lnTo>
                    <a:pt x="350539" y="121594"/>
                  </a:lnTo>
                  <a:lnTo>
                    <a:pt x="328181" y="121594"/>
                  </a:lnTo>
                  <a:lnTo>
                    <a:pt x="328181" y="105292"/>
                  </a:lnTo>
                  <a:lnTo>
                    <a:pt x="370263" y="105292"/>
                  </a:lnTo>
                  <a:lnTo>
                    <a:pt x="370263" y="143817"/>
                  </a:lnTo>
                  <a:cubicBezTo>
                    <a:pt x="366165" y="147780"/>
                    <a:pt x="360244" y="151270"/>
                    <a:pt x="352476" y="154287"/>
                  </a:cubicBezTo>
                  <a:cubicBezTo>
                    <a:pt x="344708" y="157281"/>
                    <a:pt x="336850" y="158790"/>
                    <a:pt x="328902" y="158790"/>
                  </a:cubicBezTo>
                  <a:cubicBezTo>
                    <a:pt x="318792" y="158790"/>
                    <a:pt x="309966" y="156673"/>
                    <a:pt x="302446" y="152440"/>
                  </a:cubicBezTo>
                  <a:cubicBezTo>
                    <a:pt x="294926" y="148185"/>
                    <a:pt x="289274" y="142128"/>
                    <a:pt x="285491" y="134225"/>
                  </a:cubicBezTo>
                  <a:cubicBezTo>
                    <a:pt x="281709" y="126322"/>
                    <a:pt x="279817" y="117744"/>
                    <a:pt x="279817" y="108467"/>
                  </a:cubicBezTo>
                  <a:close/>
                  <a:moveTo>
                    <a:pt x="68737" y="217587"/>
                  </a:moveTo>
                  <a:lnTo>
                    <a:pt x="397636" y="217587"/>
                  </a:lnTo>
                  <a:lnTo>
                    <a:pt x="420494" y="217587"/>
                  </a:lnTo>
                  <a:lnTo>
                    <a:pt x="458753" y="217587"/>
                  </a:lnTo>
                  <a:cubicBezTo>
                    <a:pt x="462961" y="217587"/>
                    <a:pt x="466373" y="214175"/>
                    <a:pt x="466373" y="209967"/>
                  </a:cubicBezTo>
                  <a:lnTo>
                    <a:pt x="466373" y="7620"/>
                  </a:lnTo>
                  <a:cubicBezTo>
                    <a:pt x="466373" y="3412"/>
                    <a:pt x="462961" y="0"/>
                    <a:pt x="458753" y="0"/>
                  </a:cubicBezTo>
                  <a:lnTo>
                    <a:pt x="420494" y="0"/>
                  </a:lnTo>
                  <a:lnTo>
                    <a:pt x="397636" y="0"/>
                  </a:lnTo>
                  <a:lnTo>
                    <a:pt x="68737" y="0"/>
                  </a:lnTo>
                  <a:lnTo>
                    <a:pt x="45878" y="0"/>
                  </a:lnTo>
                  <a:lnTo>
                    <a:pt x="7620" y="0"/>
                  </a:lnTo>
                  <a:cubicBezTo>
                    <a:pt x="3412" y="0"/>
                    <a:pt x="0" y="3412"/>
                    <a:pt x="0" y="7620"/>
                  </a:cubicBezTo>
                  <a:lnTo>
                    <a:pt x="0" y="209967"/>
                  </a:lnTo>
                  <a:cubicBezTo>
                    <a:pt x="0" y="214175"/>
                    <a:pt x="3412" y="217587"/>
                    <a:pt x="7620" y="217587"/>
                  </a:cubicBezTo>
                  <a:lnTo>
                    <a:pt x="45878" y="217587"/>
                  </a:lnTo>
                  <a:lnTo>
                    <a:pt x="68737" y="217587"/>
                  </a:lnTo>
                  <a:close/>
                </a:path>
              </a:pathLst>
            </a:custGeom>
            <a:solidFill>
              <a:schemeClr val="accent2"/>
            </a:solidFill>
            <a:ln w="95250" cap="flat">
              <a:noFill/>
              <a:prstDash val="solid"/>
              <a:miter/>
            </a:ln>
          </p:spPr>
          <p:txBody>
            <a:bodyPr rtlCol="0" anchor="ctr"/>
            <a:lstStyle/>
            <a:p>
              <a:endParaRPr lang="en-US" dirty="0"/>
            </a:p>
          </p:txBody>
        </p:sp>
        <p:sp>
          <p:nvSpPr>
            <p:cNvPr id="805" name="Freeform: Shape 804">
              <a:extLst>
                <a:ext uri="{FF2B5EF4-FFF2-40B4-BE49-F238E27FC236}">
                  <a16:creationId xmlns:a16="http://schemas.microsoft.com/office/drawing/2014/main" id="{12E801AF-D7AD-4595-8176-165911727E75}"/>
                </a:ext>
              </a:extLst>
            </p:cNvPr>
            <p:cNvSpPr/>
            <p:nvPr/>
          </p:nvSpPr>
          <p:spPr>
            <a:xfrm>
              <a:off x="1096554" y="5006513"/>
              <a:ext cx="53497" cy="66625"/>
            </a:xfrm>
            <a:custGeom>
              <a:avLst/>
              <a:gdLst>
                <a:gd name="connsiteX0" fmla="*/ 26861 w 53497"/>
                <a:gd name="connsiteY0" fmla="*/ 0 h 66625"/>
                <a:gd name="connsiteX1" fmla="*/ 46225 w 53497"/>
                <a:gd name="connsiteY1" fmla="*/ 8174 h 66625"/>
                <a:gd name="connsiteX2" fmla="*/ 53497 w 53497"/>
                <a:gd name="connsiteY2" fmla="*/ 32986 h 66625"/>
                <a:gd name="connsiteX3" fmla="*/ 46022 w 53497"/>
                <a:gd name="connsiteY3" fmla="*/ 58204 h 66625"/>
                <a:gd name="connsiteX4" fmla="*/ 26861 w 53497"/>
                <a:gd name="connsiteY4" fmla="*/ 66625 h 66625"/>
                <a:gd name="connsiteX5" fmla="*/ 7588 w 53497"/>
                <a:gd name="connsiteY5" fmla="*/ 58159 h 66625"/>
                <a:gd name="connsiteX6" fmla="*/ 0 w 53497"/>
                <a:gd name="connsiteY6" fmla="*/ 33256 h 66625"/>
                <a:gd name="connsiteX7" fmla="*/ 7385 w 53497"/>
                <a:gd name="connsiteY7" fmla="*/ 8286 h 66625"/>
                <a:gd name="connsiteX8" fmla="*/ 26861 w 53497"/>
                <a:gd name="connsiteY8" fmla="*/ 0 h 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97" h="66625">
                  <a:moveTo>
                    <a:pt x="26861" y="0"/>
                  </a:moveTo>
                  <a:cubicBezTo>
                    <a:pt x="34899" y="0"/>
                    <a:pt x="41362" y="2725"/>
                    <a:pt x="46225" y="8174"/>
                  </a:cubicBezTo>
                  <a:cubicBezTo>
                    <a:pt x="51066" y="13645"/>
                    <a:pt x="53497" y="21908"/>
                    <a:pt x="53497" y="32986"/>
                  </a:cubicBezTo>
                  <a:cubicBezTo>
                    <a:pt x="53497" y="44199"/>
                    <a:pt x="50998" y="52597"/>
                    <a:pt x="46022" y="58204"/>
                  </a:cubicBezTo>
                  <a:cubicBezTo>
                    <a:pt x="41024" y="63832"/>
                    <a:pt x="34629" y="66625"/>
                    <a:pt x="26861" y="66625"/>
                  </a:cubicBezTo>
                  <a:cubicBezTo>
                    <a:pt x="19071" y="66625"/>
                    <a:pt x="12654" y="63810"/>
                    <a:pt x="7588" y="58159"/>
                  </a:cubicBezTo>
                  <a:cubicBezTo>
                    <a:pt x="2544" y="52507"/>
                    <a:pt x="0" y="44199"/>
                    <a:pt x="0" y="33256"/>
                  </a:cubicBezTo>
                  <a:cubicBezTo>
                    <a:pt x="0" y="22111"/>
                    <a:pt x="2477" y="13802"/>
                    <a:pt x="7385" y="8286"/>
                  </a:cubicBezTo>
                  <a:cubicBezTo>
                    <a:pt x="12316" y="2770"/>
                    <a:pt x="18801" y="0"/>
                    <a:pt x="26861" y="0"/>
                  </a:cubicBezTo>
                  <a:close/>
                </a:path>
              </a:pathLst>
            </a:custGeom>
            <a:solidFill>
              <a:schemeClr val="accent2"/>
            </a:solidFill>
            <a:ln w="95250" cap="flat">
              <a:noFill/>
              <a:prstDash val="solid"/>
              <a:miter/>
            </a:ln>
          </p:spPr>
          <p:txBody>
            <a:bodyPr rtlCol="0" anchor="ctr"/>
            <a:lstStyle/>
            <a:p>
              <a:endParaRPr lang="en-US" dirty="0"/>
            </a:p>
          </p:txBody>
        </p:sp>
        <p:sp>
          <p:nvSpPr>
            <p:cNvPr id="806" name="Freeform: Shape 805">
              <a:extLst>
                <a:ext uri="{FF2B5EF4-FFF2-40B4-BE49-F238E27FC236}">
                  <a16:creationId xmlns:a16="http://schemas.microsoft.com/office/drawing/2014/main" id="{DC3E0E6A-162F-46F3-8DDD-5C2E2198CC71}"/>
                </a:ext>
              </a:extLst>
            </p:cNvPr>
            <p:cNvSpPr/>
            <p:nvPr/>
          </p:nvSpPr>
          <p:spPr>
            <a:xfrm>
              <a:off x="626478" y="4470459"/>
              <a:ext cx="984185" cy="952500"/>
            </a:xfrm>
            <a:custGeom>
              <a:avLst/>
              <a:gdLst>
                <a:gd name="connsiteX0" fmla="*/ 0 w 952500"/>
                <a:gd name="connsiteY0" fmla="*/ 0 h 952500"/>
                <a:gd name="connsiteX1" fmla="*/ 987743 w 952500"/>
                <a:gd name="connsiteY1" fmla="*/ 0 h 952500"/>
                <a:gd name="connsiteX2" fmla="*/ 987743 w 952500"/>
                <a:gd name="connsiteY2" fmla="*/ 987743 h 952500"/>
                <a:gd name="connsiteX3" fmla="*/ 0 w 952500"/>
                <a:gd name="connsiteY3" fmla="*/ 987743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87743" y="0"/>
                  </a:lnTo>
                  <a:lnTo>
                    <a:pt x="987743" y="987743"/>
                  </a:lnTo>
                  <a:lnTo>
                    <a:pt x="0" y="987743"/>
                  </a:lnTo>
                  <a:close/>
                </a:path>
              </a:pathLst>
            </a:custGeom>
            <a:noFill/>
            <a:ln w="95250" cap="flat">
              <a:noFill/>
              <a:prstDash val="solid"/>
              <a:miter/>
            </a:ln>
          </p:spPr>
          <p:txBody>
            <a:bodyPr rtlCol="0" anchor="ctr"/>
            <a:lstStyle/>
            <a:p>
              <a:endParaRPr lang="en-US" dirty="0"/>
            </a:p>
          </p:txBody>
        </p:sp>
        <p:sp>
          <p:nvSpPr>
            <p:cNvPr id="807" name="Freeform: Shape 806">
              <a:extLst>
                <a:ext uri="{FF2B5EF4-FFF2-40B4-BE49-F238E27FC236}">
                  <a16:creationId xmlns:a16="http://schemas.microsoft.com/office/drawing/2014/main" id="{9E644240-EA86-4FF6-B08F-EF831AFC9D6C}"/>
                </a:ext>
              </a:extLst>
            </p:cNvPr>
            <p:cNvSpPr/>
            <p:nvPr/>
          </p:nvSpPr>
          <p:spPr>
            <a:xfrm>
              <a:off x="694867" y="4470525"/>
              <a:ext cx="787348" cy="952500"/>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dirty="0"/>
            </a:p>
          </p:txBody>
        </p:sp>
      </p:grpSp>
      <p:grpSp>
        <p:nvGrpSpPr>
          <p:cNvPr id="808" name="Group 807">
            <a:extLst>
              <a:ext uri="{FF2B5EF4-FFF2-40B4-BE49-F238E27FC236}">
                <a16:creationId xmlns:a16="http://schemas.microsoft.com/office/drawing/2014/main" id="{A4307CE7-A4AE-43DA-A613-361F2A4359E9}"/>
              </a:ext>
            </a:extLst>
          </p:cNvPr>
          <p:cNvGrpSpPr/>
          <p:nvPr/>
        </p:nvGrpSpPr>
        <p:grpSpPr>
          <a:xfrm>
            <a:off x="2068085" y="4460161"/>
            <a:ext cx="461004" cy="446194"/>
            <a:chOff x="626478" y="4470459"/>
            <a:chExt cx="984185" cy="952566"/>
          </a:xfrm>
        </p:grpSpPr>
        <p:sp>
          <p:nvSpPr>
            <p:cNvPr id="809" name="Freeform: Shape 808">
              <a:extLst>
                <a:ext uri="{FF2B5EF4-FFF2-40B4-BE49-F238E27FC236}">
                  <a16:creationId xmlns:a16="http://schemas.microsoft.com/office/drawing/2014/main" id="{B05CDCD5-AD4C-478F-81DB-405EC0205121}"/>
                </a:ext>
              </a:extLst>
            </p:cNvPr>
            <p:cNvSpPr/>
            <p:nvPr/>
          </p:nvSpPr>
          <p:spPr>
            <a:xfrm>
              <a:off x="943238" y="4705251"/>
              <a:ext cx="295256" cy="476250"/>
            </a:xfrm>
            <a:custGeom>
              <a:avLst/>
              <a:gdLst>
                <a:gd name="connsiteX0" fmla="*/ 281429 w 285750"/>
                <a:gd name="connsiteY0" fmla="*/ 22858 h 476250"/>
                <a:gd name="connsiteX1" fmla="*/ 22859 w 285750"/>
                <a:gd name="connsiteY1" fmla="*/ 22858 h 476250"/>
                <a:gd name="connsiteX2" fmla="*/ 22859 w 285750"/>
                <a:gd name="connsiteY2" fmla="*/ 233401 h 476250"/>
                <a:gd name="connsiteX3" fmla="*/ 11430 w 285750"/>
                <a:gd name="connsiteY3" fmla="*/ 244830 h 476250"/>
                <a:gd name="connsiteX4" fmla="*/ 1 w 285750"/>
                <a:gd name="connsiteY4" fmla="*/ 233401 h 476250"/>
                <a:gd name="connsiteX5" fmla="*/ 1 w 285750"/>
                <a:gd name="connsiteY5" fmla="*/ 11429 h 476250"/>
                <a:gd name="connsiteX6" fmla="*/ 11430 w 285750"/>
                <a:gd name="connsiteY6" fmla="*/ 0 h 476250"/>
                <a:gd name="connsiteX7" fmla="*/ 289049 w 285750"/>
                <a:gd name="connsiteY7" fmla="*/ 0 h 476250"/>
                <a:gd name="connsiteX8" fmla="*/ 297162 w 285750"/>
                <a:gd name="connsiteY8" fmla="*/ 3381 h 476250"/>
                <a:gd name="connsiteX9" fmla="*/ 371269 w 285750"/>
                <a:gd name="connsiteY9" fmla="*/ 77487 h 476250"/>
                <a:gd name="connsiteX10" fmla="*/ 374617 w 285750"/>
                <a:gd name="connsiteY10" fmla="*/ 85568 h 476250"/>
                <a:gd name="connsiteX11" fmla="*/ 374617 w 285750"/>
                <a:gd name="connsiteY11" fmla="*/ 233401 h 476250"/>
                <a:gd name="connsiteX12" fmla="*/ 363188 w 285750"/>
                <a:gd name="connsiteY12" fmla="*/ 244830 h 476250"/>
                <a:gd name="connsiteX13" fmla="*/ 351759 w 285750"/>
                <a:gd name="connsiteY13" fmla="*/ 233401 h 476250"/>
                <a:gd name="connsiteX14" fmla="*/ 351759 w 285750"/>
                <a:gd name="connsiteY14" fmla="*/ 93187 h 476250"/>
                <a:gd name="connsiteX15" fmla="*/ 326118 w 285750"/>
                <a:gd name="connsiteY15" fmla="*/ 93187 h 476250"/>
                <a:gd name="connsiteX16" fmla="*/ 294551 w 285750"/>
                <a:gd name="connsiteY16" fmla="*/ 80066 h 476250"/>
                <a:gd name="connsiteX17" fmla="*/ 281430 w 285750"/>
                <a:gd name="connsiteY17" fmla="*/ 48498 h 476250"/>
                <a:gd name="connsiteX18" fmla="*/ 281430 w 285750"/>
                <a:gd name="connsiteY18" fmla="*/ 22858 h 476250"/>
                <a:gd name="connsiteX19" fmla="*/ 22859 w 285750"/>
                <a:gd name="connsiteY19" fmla="*/ 495300 h 476250"/>
                <a:gd name="connsiteX20" fmla="*/ 351758 w 285750"/>
                <a:gd name="connsiteY20" fmla="*/ 495300 h 476250"/>
                <a:gd name="connsiteX21" fmla="*/ 351758 w 285750"/>
                <a:gd name="connsiteY21" fmla="*/ 435748 h 476250"/>
                <a:gd name="connsiteX22" fmla="*/ 363188 w 285750"/>
                <a:gd name="connsiteY22" fmla="*/ 424319 h 476250"/>
                <a:gd name="connsiteX23" fmla="*/ 374617 w 285750"/>
                <a:gd name="connsiteY23" fmla="*/ 435748 h 476250"/>
                <a:gd name="connsiteX24" fmla="*/ 374617 w 285750"/>
                <a:gd name="connsiteY24" fmla="*/ 506730 h 476250"/>
                <a:gd name="connsiteX25" fmla="*/ 363188 w 285750"/>
                <a:gd name="connsiteY25" fmla="*/ 518159 h 476250"/>
                <a:gd name="connsiteX26" fmla="*/ 11429 w 285750"/>
                <a:gd name="connsiteY26" fmla="*/ 518159 h 476250"/>
                <a:gd name="connsiteX27" fmla="*/ 0 w 285750"/>
                <a:gd name="connsiteY27" fmla="*/ 506730 h 476250"/>
                <a:gd name="connsiteX28" fmla="*/ 0 w 285750"/>
                <a:gd name="connsiteY28" fmla="*/ 435748 h 476250"/>
                <a:gd name="connsiteX29" fmla="*/ 11429 w 285750"/>
                <a:gd name="connsiteY29" fmla="*/ 424319 h 476250"/>
                <a:gd name="connsiteX30" fmla="*/ 22858 w 285750"/>
                <a:gd name="connsiteY30" fmla="*/ 435748 h 476250"/>
                <a:gd name="connsiteX31" fmla="*/ 22858 w 285750"/>
                <a:gd name="connsiteY31" fmla="*/ 49530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476250">
                  <a:moveTo>
                    <a:pt x="281429" y="22858"/>
                  </a:moveTo>
                  <a:lnTo>
                    <a:pt x="22859" y="22858"/>
                  </a:lnTo>
                  <a:lnTo>
                    <a:pt x="22859" y="233401"/>
                  </a:lnTo>
                  <a:cubicBezTo>
                    <a:pt x="22859" y="239711"/>
                    <a:pt x="17740" y="244830"/>
                    <a:pt x="11430" y="244830"/>
                  </a:cubicBezTo>
                  <a:cubicBezTo>
                    <a:pt x="5119" y="244830"/>
                    <a:pt x="1" y="239711"/>
                    <a:pt x="1" y="233401"/>
                  </a:cubicBezTo>
                  <a:lnTo>
                    <a:pt x="1" y="11429"/>
                  </a:lnTo>
                  <a:cubicBezTo>
                    <a:pt x="1" y="5119"/>
                    <a:pt x="5119" y="0"/>
                    <a:pt x="11430" y="0"/>
                  </a:cubicBezTo>
                  <a:lnTo>
                    <a:pt x="289049" y="0"/>
                  </a:lnTo>
                  <a:cubicBezTo>
                    <a:pt x="292106" y="0"/>
                    <a:pt x="295004" y="1222"/>
                    <a:pt x="297162" y="3381"/>
                  </a:cubicBezTo>
                  <a:lnTo>
                    <a:pt x="371269" y="77487"/>
                  </a:lnTo>
                  <a:cubicBezTo>
                    <a:pt x="373417" y="79635"/>
                    <a:pt x="374617" y="82530"/>
                    <a:pt x="374617" y="85568"/>
                  </a:cubicBezTo>
                  <a:lnTo>
                    <a:pt x="374617" y="233401"/>
                  </a:lnTo>
                  <a:cubicBezTo>
                    <a:pt x="374617" y="239711"/>
                    <a:pt x="369498" y="244830"/>
                    <a:pt x="363188" y="244830"/>
                  </a:cubicBezTo>
                  <a:cubicBezTo>
                    <a:pt x="356877" y="244830"/>
                    <a:pt x="351759" y="239711"/>
                    <a:pt x="351759" y="233401"/>
                  </a:cubicBezTo>
                  <a:lnTo>
                    <a:pt x="351759" y="93187"/>
                  </a:lnTo>
                  <a:lnTo>
                    <a:pt x="326118" y="93187"/>
                  </a:lnTo>
                  <a:cubicBezTo>
                    <a:pt x="313821" y="93187"/>
                    <a:pt x="302647" y="88161"/>
                    <a:pt x="294551" y="80066"/>
                  </a:cubicBezTo>
                  <a:cubicBezTo>
                    <a:pt x="286456" y="71970"/>
                    <a:pt x="281430" y="60796"/>
                    <a:pt x="281430" y="48498"/>
                  </a:cubicBezTo>
                  <a:lnTo>
                    <a:pt x="281430" y="22858"/>
                  </a:lnTo>
                  <a:close/>
                  <a:moveTo>
                    <a:pt x="22859" y="495300"/>
                  </a:moveTo>
                  <a:lnTo>
                    <a:pt x="351758" y="495300"/>
                  </a:lnTo>
                  <a:lnTo>
                    <a:pt x="351758" y="435748"/>
                  </a:lnTo>
                  <a:cubicBezTo>
                    <a:pt x="351758" y="429437"/>
                    <a:pt x="356877" y="424319"/>
                    <a:pt x="363188" y="424319"/>
                  </a:cubicBezTo>
                  <a:cubicBezTo>
                    <a:pt x="369498" y="424319"/>
                    <a:pt x="374617" y="429438"/>
                    <a:pt x="374617" y="435748"/>
                  </a:cubicBezTo>
                  <a:lnTo>
                    <a:pt x="374617" y="506730"/>
                  </a:lnTo>
                  <a:cubicBezTo>
                    <a:pt x="374617" y="513040"/>
                    <a:pt x="369498" y="518159"/>
                    <a:pt x="363188" y="518159"/>
                  </a:cubicBezTo>
                  <a:lnTo>
                    <a:pt x="11429" y="518159"/>
                  </a:lnTo>
                  <a:cubicBezTo>
                    <a:pt x="5119" y="518159"/>
                    <a:pt x="0" y="513040"/>
                    <a:pt x="0" y="506730"/>
                  </a:cubicBezTo>
                  <a:lnTo>
                    <a:pt x="0" y="435748"/>
                  </a:lnTo>
                  <a:cubicBezTo>
                    <a:pt x="0" y="429437"/>
                    <a:pt x="5119" y="424319"/>
                    <a:pt x="11429" y="424319"/>
                  </a:cubicBezTo>
                  <a:cubicBezTo>
                    <a:pt x="17740" y="424319"/>
                    <a:pt x="22858" y="429438"/>
                    <a:pt x="22858" y="435748"/>
                  </a:cubicBezTo>
                  <a:lnTo>
                    <a:pt x="22858" y="495300"/>
                  </a:lnTo>
                  <a:close/>
                </a:path>
              </a:pathLst>
            </a:custGeom>
            <a:solidFill>
              <a:schemeClr val="accent4"/>
            </a:solidFill>
            <a:ln w="95250" cap="flat">
              <a:noFill/>
              <a:prstDash val="solid"/>
              <a:miter/>
            </a:ln>
          </p:spPr>
          <p:txBody>
            <a:bodyPr rtlCol="0" anchor="ctr"/>
            <a:lstStyle/>
            <a:p>
              <a:endParaRPr lang="en-US" dirty="0"/>
            </a:p>
          </p:txBody>
        </p:sp>
        <p:sp>
          <p:nvSpPr>
            <p:cNvPr id="810" name="Freeform: Shape 809">
              <a:extLst>
                <a:ext uri="{FF2B5EF4-FFF2-40B4-BE49-F238E27FC236}">
                  <a16:creationId xmlns:a16="http://schemas.microsoft.com/office/drawing/2014/main" id="{7FF42DC2-CD35-4A65-AA03-B302281E2006}"/>
                </a:ext>
              </a:extLst>
            </p:cNvPr>
            <p:cNvSpPr/>
            <p:nvPr/>
          </p:nvSpPr>
          <p:spPr>
            <a:xfrm>
              <a:off x="1022469" y="4836528"/>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11" name="Freeform: Shape 810">
              <a:extLst>
                <a:ext uri="{FF2B5EF4-FFF2-40B4-BE49-F238E27FC236}">
                  <a16:creationId xmlns:a16="http://schemas.microsoft.com/office/drawing/2014/main" id="{05243868-0BC7-4FF0-BD90-063FE1E9FB3E}"/>
                </a:ext>
              </a:extLst>
            </p:cNvPr>
            <p:cNvSpPr/>
            <p:nvPr/>
          </p:nvSpPr>
          <p:spPr>
            <a:xfrm>
              <a:off x="1022469" y="4881732"/>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12" name="Freeform: Shape 811">
              <a:extLst>
                <a:ext uri="{FF2B5EF4-FFF2-40B4-BE49-F238E27FC236}">
                  <a16:creationId xmlns:a16="http://schemas.microsoft.com/office/drawing/2014/main" id="{A4A106F1-1A35-4747-9211-04A808D375BD}"/>
                </a:ext>
              </a:extLst>
            </p:cNvPr>
            <p:cNvSpPr/>
            <p:nvPr/>
          </p:nvSpPr>
          <p:spPr>
            <a:xfrm>
              <a:off x="1022469" y="4791322"/>
              <a:ext cx="98419" cy="95250"/>
            </a:xfrm>
            <a:custGeom>
              <a:avLst/>
              <a:gdLst>
                <a:gd name="connsiteX0" fmla="*/ 0 w 95250"/>
                <a:gd name="connsiteY0" fmla="*/ 0 h 0"/>
                <a:gd name="connsiteX1" fmla="*/ 156437 w 95250"/>
                <a:gd name="connsiteY1" fmla="*/ 0 h 0"/>
                <a:gd name="connsiteX2" fmla="*/ 156437 w 95250"/>
                <a:gd name="connsiteY2" fmla="*/ 19049 h 0"/>
                <a:gd name="connsiteX3" fmla="*/ 0 w 95250"/>
                <a:gd name="connsiteY3" fmla="*/ 19049 h 0"/>
              </a:gdLst>
              <a:ahLst/>
              <a:cxnLst>
                <a:cxn ang="0">
                  <a:pos x="connsiteX0" y="connsiteY0"/>
                </a:cxn>
                <a:cxn ang="0">
                  <a:pos x="connsiteX1" y="connsiteY1"/>
                </a:cxn>
                <a:cxn ang="0">
                  <a:pos x="connsiteX2" y="connsiteY2"/>
                </a:cxn>
                <a:cxn ang="0">
                  <a:pos x="connsiteX3" y="connsiteY3"/>
                </a:cxn>
              </a:cxnLst>
              <a:rect l="l" t="t" r="r" b="b"/>
              <a:pathLst>
                <a:path w="95250">
                  <a:moveTo>
                    <a:pt x="0" y="0"/>
                  </a:moveTo>
                  <a:lnTo>
                    <a:pt x="156437" y="0"/>
                  </a:lnTo>
                  <a:lnTo>
                    <a:pt x="156437"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13" name="Freeform: Shape 812">
              <a:extLst>
                <a:ext uri="{FF2B5EF4-FFF2-40B4-BE49-F238E27FC236}">
                  <a16:creationId xmlns:a16="http://schemas.microsoft.com/office/drawing/2014/main" id="{08D67961-9E4E-42BD-B844-7B6E47449EA6}"/>
                </a:ext>
              </a:extLst>
            </p:cNvPr>
            <p:cNvSpPr/>
            <p:nvPr/>
          </p:nvSpPr>
          <p:spPr>
            <a:xfrm>
              <a:off x="895835" y="4931032"/>
              <a:ext cx="393674" cy="190500"/>
            </a:xfrm>
            <a:custGeom>
              <a:avLst/>
              <a:gdLst>
                <a:gd name="connsiteX0" fmla="*/ 96110 w 381000"/>
                <a:gd name="connsiteY0" fmla="*/ 157146 h 190500"/>
                <a:gd name="connsiteX1" fmla="*/ 96110 w 381000"/>
                <a:gd name="connsiteY1" fmla="*/ 61229 h 190500"/>
                <a:gd name="connsiteX2" fmla="*/ 115632 w 381000"/>
                <a:gd name="connsiteY2" fmla="*/ 61229 h 190500"/>
                <a:gd name="connsiteX3" fmla="*/ 115632 w 381000"/>
                <a:gd name="connsiteY3" fmla="*/ 140845 h 190500"/>
                <a:gd name="connsiteX4" fmla="*/ 164175 w 381000"/>
                <a:gd name="connsiteY4" fmla="*/ 140845 h 190500"/>
                <a:gd name="connsiteX5" fmla="*/ 164175 w 381000"/>
                <a:gd name="connsiteY5" fmla="*/ 157146 h 190500"/>
                <a:gd name="connsiteX6" fmla="*/ 96110 w 381000"/>
                <a:gd name="connsiteY6" fmla="*/ 157146 h 190500"/>
                <a:gd name="connsiteX7" fmla="*/ 174150 w 381000"/>
                <a:gd name="connsiteY7" fmla="*/ 109390 h 190500"/>
                <a:gd name="connsiteX8" fmla="*/ 178563 w 381000"/>
                <a:gd name="connsiteY8" fmla="*/ 84578 h 190500"/>
                <a:gd name="connsiteX9" fmla="*/ 187569 w 381000"/>
                <a:gd name="connsiteY9" fmla="*/ 71316 h 190500"/>
                <a:gd name="connsiteX10" fmla="*/ 200066 w 381000"/>
                <a:gd name="connsiteY10" fmla="*/ 62625 h 190500"/>
                <a:gd name="connsiteX11" fmla="*/ 220915 w 381000"/>
                <a:gd name="connsiteY11" fmla="*/ 58797 h 190500"/>
                <a:gd name="connsiteX12" fmla="*/ 255117 w 381000"/>
                <a:gd name="connsiteY12" fmla="*/ 72059 h 190500"/>
                <a:gd name="connsiteX13" fmla="*/ 267951 w 381000"/>
                <a:gd name="connsiteY13" fmla="*/ 108917 h 190500"/>
                <a:gd name="connsiteX14" fmla="*/ 255207 w 381000"/>
                <a:gd name="connsiteY14" fmla="*/ 145573 h 190500"/>
                <a:gd name="connsiteX15" fmla="*/ 221185 w 381000"/>
                <a:gd name="connsiteY15" fmla="*/ 158790 h 190500"/>
                <a:gd name="connsiteX16" fmla="*/ 186871 w 381000"/>
                <a:gd name="connsiteY16" fmla="*/ 145641 h 190500"/>
                <a:gd name="connsiteX17" fmla="*/ 174150 w 381000"/>
                <a:gd name="connsiteY17" fmla="*/ 109390 h 190500"/>
                <a:gd name="connsiteX18" fmla="*/ 279817 w 381000"/>
                <a:gd name="connsiteY18" fmla="*/ 108467 h 190500"/>
                <a:gd name="connsiteX19" fmla="*/ 286144 w 381000"/>
                <a:gd name="connsiteY19" fmla="*/ 81606 h 190500"/>
                <a:gd name="connsiteX20" fmla="*/ 304697 w 381000"/>
                <a:gd name="connsiteY20" fmla="*/ 63615 h 190500"/>
                <a:gd name="connsiteX21" fmla="*/ 327844 w 381000"/>
                <a:gd name="connsiteY21" fmla="*/ 58797 h 190500"/>
                <a:gd name="connsiteX22" fmla="*/ 355966 w 381000"/>
                <a:gd name="connsiteY22" fmla="*/ 66340 h 190500"/>
                <a:gd name="connsiteX23" fmla="*/ 369002 w 381000"/>
                <a:gd name="connsiteY23" fmla="*/ 87235 h 190500"/>
                <a:gd name="connsiteX24" fmla="*/ 349616 w 381000"/>
                <a:gd name="connsiteY24" fmla="*/ 90860 h 190500"/>
                <a:gd name="connsiteX25" fmla="*/ 341916 w 381000"/>
                <a:gd name="connsiteY25" fmla="*/ 79602 h 190500"/>
                <a:gd name="connsiteX26" fmla="*/ 327844 w 381000"/>
                <a:gd name="connsiteY26" fmla="*/ 75481 h 190500"/>
                <a:gd name="connsiteX27" fmla="*/ 307489 w 381000"/>
                <a:gd name="connsiteY27" fmla="*/ 83587 h 190500"/>
                <a:gd name="connsiteX28" fmla="*/ 299947 w 381000"/>
                <a:gd name="connsiteY28" fmla="*/ 107679 h 190500"/>
                <a:gd name="connsiteX29" fmla="*/ 307602 w 381000"/>
                <a:gd name="connsiteY29" fmla="*/ 133505 h 190500"/>
                <a:gd name="connsiteX30" fmla="*/ 327641 w 381000"/>
                <a:gd name="connsiteY30" fmla="*/ 142106 h 190500"/>
                <a:gd name="connsiteX31" fmla="*/ 339957 w 381000"/>
                <a:gd name="connsiteY31" fmla="*/ 139697 h 190500"/>
                <a:gd name="connsiteX32" fmla="*/ 350539 w 381000"/>
                <a:gd name="connsiteY32" fmla="*/ 133865 h 190500"/>
                <a:gd name="connsiteX33" fmla="*/ 350539 w 381000"/>
                <a:gd name="connsiteY33" fmla="*/ 121594 h 190500"/>
                <a:gd name="connsiteX34" fmla="*/ 328181 w 381000"/>
                <a:gd name="connsiteY34" fmla="*/ 121594 h 190500"/>
                <a:gd name="connsiteX35" fmla="*/ 328181 w 381000"/>
                <a:gd name="connsiteY35" fmla="*/ 105292 h 190500"/>
                <a:gd name="connsiteX36" fmla="*/ 370263 w 381000"/>
                <a:gd name="connsiteY36" fmla="*/ 105292 h 190500"/>
                <a:gd name="connsiteX37" fmla="*/ 370263 w 381000"/>
                <a:gd name="connsiteY37" fmla="*/ 143817 h 190500"/>
                <a:gd name="connsiteX38" fmla="*/ 352476 w 381000"/>
                <a:gd name="connsiteY38" fmla="*/ 154287 h 190500"/>
                <a:gd name="connsiteX39" fmla="*/ 328902 w 381000"/>
                <a:gd name="connsiteY39" fmla="*/ 158790 h 190500"/>
                <a:gd name="connsiteX40" fmla="*/ 302446 w 381000"/>
                <a:gd name="connsiteY40" fmla="*/ 152440 h 190500"/>
                <a:gd name="connsiteX41" fmla="*/ 285491 w 381000"/>
                <a:gd name="connsiteY41" fmla="*/ 134225 h 190500"/>
                <a:gd name="connsiteX42" fmla="*/ 279817 w 381000"/>
                <a:gd name="connsiteY42" fmla="*/ 108467 h 190500"/>
                <a:gd name="connsiteX43" fmla="*/ 68737 w 381000"/>
                <a:gd name="connsiteY43" fmla="*/ 217587 h 190500"/>
                <a:gd name="connsiteX44" fmla="*/ 397636 w 381000"/>
                <a:gd name="connsiteY44" fmla="*/ 217587 h 190500"/>
                <a:gd name="connsiteX45" fmla="*/ 420494 w 381000"/>
                <a:gd name="connsiteY45" fmla="*/ 217587 h 190500"/>
                <a:gd name="connsiteX46" fmla="*/ 458753 w 381000"/>
                <a:gd name="connsiteY46" fmla="*/ 217587 h 190500"/>
                <a:gd name="connsiteX47" fmla="*/ 466373 w 381000"/>
                <a:gd name="connsiteY47" fmla="*/ 209967 h 190500"/>
                <a:gd name="connsiteX48" fmla="*/ 466373 w 381000"/>
                <a:gd name="connsiteY48" fmla="*/ 7620 h 190500"/>
                <a:gd name="connsiteX49" fmla="*/ 458753 w 381000"/>
                <a:gd name="connsiteY49" fmla="*/ 0 h 190500"/>
                <a:gd name="connsiteX50" fmla="*/ 420494 w 381000"/>
                <a:gd name="connsiteY50" fmla="*/ 0 h 190500"/>
                <a:gd name="connsiteX51" fmla="*/ 397636 w 381000"/>
                <a:gd name="connsiteY51" fmla="*/ 0 h 190500"/>
                <a:gd name="connsiteX52" fmla="*/ 68737 w 381000"/>
                <a:gd name="connsiteY52" fmla="*/ 0 h 190500"/>
                <a:gd name="connsiteX53" fmla="*/ 45878 w 381000"/>
                <a:gd name="connsiteY53" fmla="*/ 0 h 190500"/>
                <a:gd name="connsiteX54" fmla="*/ 7620 w 381000"/>
                <a:gd name="connsiteY54" fmla="*/ 0 h 190500"/>
                <a:gd name="connsiteX55" fmla="*/ 0 w 381000"/>
                <a:gd name="connsiteY55" fmla="*/ 7620 h 190500"/>
                <a:gd name="connsiteX56" fmla="*/ 0 w 381000"/>
                <a:gd name="connsiteY56" fmla="*/ 209967 h 190500"/>
                <a:gd name="connsiteX57" fmla="*/ 7620 w 381000"/>
                <a:gd name="connsiteY57" fmla="*/ 217587 h 190500"/>
                <a:gd name="connsiteX58" fmla="*/ 45878 w 381000"/>
                <a:gd name="connsiteY58" fmla="*/ 217587 h 190500"/>
                <a:gd name="connsiteX59" fmla="*/ 68737 w 381000"/>
                <a:gd name="connsiteY59" fmla="*/ 21758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1000" h="190500">
                  <a:moveTo>
                    <a:pt x="96110" y="157146"/>
                  </a:moveTo>
                  <a:lnTo>
                    <a:pt x="96110" y="61229"/>
                  </a:lnTo>
                  <a:lnTo>
                    <a:pt x="115632" y="61229"/>
                  </a:lnTo>
                  <a:lnTo>
                    <a:pt x="115632" y="140845"/>
                  </a:lnTo>
                  <a:lnTo>
                    <a:pt x="164175" y="140845"/>
                  </a:lnTo>
                  <a:lnTo>
                    <a:pt x="164175" y="157146"/>
                  </a:lnTo>
                  <a:lnTo>
                    <a:pt x="96110" y="157146"/>
                  </a:lnTo>
                  <a:close/>
                  <a:moveTo>
                    <a:pt x="174150" y="109390"/>
                  </a:moveTo>
                  <a:cubicBezTo>
                    <a:pt x="174150" y="99528"/>
                    <a:pt x="175613" y="91265"/>
                    <a:pt x="178563" y="84578"/>
                  </a:cubicBezTo>
                  <a:cubicBezTo>
                    <a:pt x="180769" y="79669"/>
                    <a:pt x="183764" y="75234"/>
                    <a:pt x="187569" y="71316"/>
                  </a:cubicBezTo>
                  <a:cubicBezTo>
                    <a:pt x="191374" y="67421"/>
                    <a:pt x="195540" y="64516"/>
                    <a:pt x="200066" y="62625"/>
                  </a:cubicBezTo>
                  <a:cubicBezTo>
                    <a:pt x="206100" y="60058"/>
                    <a:pt x="213035" y="58797"/>
                    <a:pt x="220915" y="58797"/>
                  </a:cubicBezTo>
                  <a:cubicBezTo>
                    <a:pt x="235168" y="58797"/>
                    <a:pt x="246561" y="63210"/>
                    <a:pt x="255117" y="72059"/>
                  </a:cubicBezTo>
                  <a:cubicBezTo>
                    <a:pt x="263673" y="80885"/>
                    <a:pt x="267951" y="93179"/>
                    <a:pt x="267951" y="108917"/>
                  </a:cubicBezTo>
                  <a:cubicBezTo>
                    <a:pt x="267951" y="124544"/>
                    <a:pt x="263695" y="136747"/>
                    <a:pt x="255207" y="145573"/>
                  </a:cubicBezTo>
                  <a:cubicBezTo>
                    <a:pt x="246718" y="154377"/>
                    <a:pt x="235371" y="158790"/>
                    <a:pt x="221185" y="158790"/>
                  </a:cubicBezTo>
                  <a:cubicBezTo>
                    <a:pt x="206798" y="158790"/>
                    <a:pt x="195360" y="154400"/>
                    <a:pt x="186871" y="145641"/>
                  </a:cubicBezTo>
                  <a:cubicBezTo>
                    <a:pt x="178383" y="136860"/>
                    <a:pt x="174150" y="124769"/>
                    <a:pt x="174150" y="109390"/>
                  </a:cubicBezTo>
                  <a:close/>
                  <a:moveTo>
                    <a:pt x="279817" y="108467"/>
                  </a:moveTo>
                  <a:cubicBezTo>
                    <a:pt x="279817" y="98403"/>
                    <a:pt x="281934" y="89441"/>
                    <a:pt x="286144" y="81606"/>
                  </a:cubicBezTo>
                  <a:cubicBezTo>
                    <a:pt x="290377" y="73793"/>
                    <a:pt x="296547" y="67781"/>
                    <a:pt x="304697" y="63615"/>
                  </a:cubicBezTo>
                  <a:cubicBezTo>
                    <a:pt x="310889" y="60396"/>
                    <a:pt x="318612" y="58797"/>
                    <a:pt x="327844" y="58797"/>
                  </a:cubicBezTo>
                  <a:cubicBezTo>
                    <a:pt x="339845" y="58797"/>
                    <a:pt x="349234" y="61319"/>
                    <a:pt x="355966" y="66340"/>
                  </a:cubicBezTo>
                  <a:cubicBezTo>
                    <a:pt x="362720" y="71384"/>
                    <a:pt x="367066" y="78341"/>
                    <a:pt x="369002" y="87235"/>
                  </a:cubicBezTo>
                  <a:lnTo>
                    <a:pt x="349616" y="90860"/>
                  </a:lnTo>
                  <a:cubicBezTo>
                    <a:pt x="348243" y="86109"/>
                    <a:pt x="345676" y="82348"/>
                    <a:pt x="341916" y="79602"/>
                  </a:cubicBezTo>
                  <a:cubicBezTo>
                    <a:pt x="338156" y="76855"/>
                    <a:pt x="333473" y="75481"/>
                    <a:pt x="327844" y="75481"/>
                  </a:cubicBezTo>
                  <a:cubicBezTo>
                    <a:pt x="319310" y="75481"/>
                    <a:pt x="312533" y="78183"/>
                    <a:pt x="307489" y="83587"/>
                  </a:cubicBezTo>
                  <a:cubicBezTo>
                    <a:pt x="302446" y="89013"/>
                    <a:pt x="299947" y="97029"/>
                    <a:pt x="299947" y="107679"/>
                  </a:cubicBezTo>
                  <a:cubicBezTo>
                    <a:pt x="299947" y="119140"/>
                    <a:pt x="302491" y="127763"/>
                    <a:pt x="307602" y="133505"/>
                  </a:cubicBezTo>
                  <a:cubicBezTo>
                    <a:pt x="312691" y="139246"/>
                    <a:pt x="319378" y="142106"/>
                    <a:pt x="327641" y="142106"/>
                  </a:cubicBezTo>
                  <a:cubicBezTo>
                    <a:pt x="331739" y="142106"/>
                    <a:pt x="335837" y="141295"/>
                    <a:pt x="339957" y="139697"/>
                  </a:cubicBezTo>
                  <a:cubicBezTo>
                    <a:pt x="344055" y="138098"/>
                    <a:pt x="347590" y="136139"/>
                    <a:pt x="350539" y="133865"/>
                  </a:cubicBezTo>
                  <a:lnTo>
                    <a:pt x="350539" y="121594"/>
                  </a:lnTo>
                  <a:lnTo>
                    <a:pt x="328181" y="121594"/>
                  </a:lnTo>
                  <a:lnTo>
                    <a:pt x="328181" y="105292"/>
                  </a:lnTo>
                  <a:lnTo>
                    <a:pt x="370263" y="105292"/>
                  </a:lnTo>
                  <a:lnTo>
                    <a:pt x="370263" y="143817"/>
                  </a:lnTo>
                  <a:cubicBezTo>
                    <a:pt x="366165" y="147780"/>
                    <a:pt x="360244" y="151270"/>
                    <a:pt x="352476" y="154287"/>
                  </a:cubicBezTo>
                  <a:cubicBezTo>
                    <a:pt x="344708" y="157281"/>
                    <a:pt x="336850" y="158790"/>
                    <a:pt x="328902" y="158790"/>
                  </a:cubicBezTo>
                  <a:cubicBezTo>
                    <a:pt x="318792" y="158790"/>
                    <a:pt x="309966" y="156673"/>
                    <a:pt x="302446" y="152440"/>
                  </a:cubicBezTo>
                  <a:cubicBezTo>
                    <a:pt x="294926" y="148185"/>
                    <a:pt x="289274" y="142128"/>
                    <a:pt x="285491" y="134225"/>
                  </a:cubicBezTo>
                  <a:cubicBezTo>
                    <a:pt x="281709" y="126322"/>
                    <a:pt x="279817" y="117744"/>
                    <a:pt x="279817" y="108467"/>
                  </a:cubicBezTo>
                  <a:close/>
                  <a:moveTo>
                    <a:pt x="68737" y="217587"/>
                  </a:moveTo>
                  <a:lnTo>
                    <a:pt x="397636" y="217587"/>
                  </a:lnTo>
                  <a:lnTo>
                    <a:pt x="420494" y="217587"/>
                  </a:lnTo>
                  <a:lnTo>
                    <a:pt x="458753" y="217587"/>
                  </a:lnTo>
                  <a:cubicBezTo>
                    <a:pt x="462961" y="217587"/>
                    <a:pt x="466373" y="214175"/>
                    <a:pt x="466373" y="209967"/>
                  </a:cubicBezTo>
                  <a:lnTo>
                    <a:pt x="466373" y="7620"/>
                  </a:lnTo>
                  <a:cubicBezTo>
                    <a:pt x="466373" y="3412"/>
                    <a:pt x="462961" y="0"/>
                    <a:pt x="458753" y="0"/>
                  </a:cubicBezTo>
                  <a:lnTo>
                    <a:pt x="420494" y="0"/>
                  </a:lnTo>
                  <a:lnTo>
                    <a:pt x="397636" y="0"/>
                  </a:lnTo>
                  <a:lnTo>
                    <a:pt x="68737" y="0"/>
                  </a:lnTo>
                  <a:lnTo>
                    <a:pt x="45878" y="0"/>
                  </a:lnTo>
                  <a:lnTo>
                    <a:pt x="7620" y="0"/>
                  </a:lnTo>
                  <a:cubicBezTo>
                    <a:pt x="3412" y="0"/>
                    <a:pt x="0" y="3412"/>
                    <a:pt x="0" y="7620"/>
                  </a:cubicBezTo>
                  <a:lnTo>
                    <a:pt x="0" y="209967"/>
                  </a:lnTo>
                  <a:cubicBezTo>
                    <a:pt x="0" y="214175"/>
                    <a:pt x="3412" y="217587"/>
                    <a:pt x="7620" y="217587"/>
                  </a:cubicBezTo>
                  <a:lnTo>
                    <a:pt x="45878" y="217587"/>
                  </a:lnTo>
                  <a:lnTo>
                    <a:pt x="68737" y="217587"/>
                  </a:lnTo>
                  <a:close/>
                </a:path>
              </a:pathLst>
            </a:custGeom>
            <a:solidFill>
              <a:schemeClr val="accent2"/>
            </a:solidFill>
            <a:ln w="95250" cap="flat">
              <a:noFill/>
              <a:prstDash val="solid"/>
              <a:miter/>
            </a:ln>
          </p:spPr>
          <p:txBody>
            <a:bodyPr rtlCol="0" anchor="ctr"/>
            <a:lstStyle/>
            <a:p>
              <a:endParaRPr lang="en-US" dirty="0"/>
            </a:p>
          </p:txBody>
        </p:sp>
        <p:sp>
          <p:nvSpPr>
            <p:cNvPr id="814" name="Freeform: Shape 813">
              <a:extLst>
                <a:ext uri="{FF2B5EF4-FFF2-40B4-BE49-F238E27FC236}">
                  <a16:creationId xmlns:a16="http://schemas.microsoft.com/office/drawing/2014/main" id="{87F8FBD8-0D6A-478A-9E7A-AAB35F5651E1}"/>
                </a:ext>
              </a:extLst>
            </p:cNvPr>
            <p:cNvSpPr/>
            <p:nvPr/>
          </p:nvSpPr>
          <p:spPr>
            <a:xfrm>
              <a:off x="1096554" y="5006513"/>
              <a:ext cx="53497" cy="66625"/>
            </a:xfrm>
            <a:custGeom>
              <a:avLst/>
              <a:gdLst>
                <a:gd name="connsiteX0" fmla="*/ 26861 w 53497"/>
                <a:gd name="connsiteY0" fmla="*/ 0 h 66625"/>
                <a:gd name="connsiteX1" fmla="*/ 46225 w 53497"/>
                <a:gd name="connsiteY1" fmla="*/ 8174 h 66625"/>
                <a:gd name="connsiteX2" fmla="*/ 53497 w 53497"/>
                <a:gd name="connsiteY2" fmla="*/ 32986 h 66625"/>
                <a:gd name="connsiteX3" fmla="*/ 46022 w 53497"/>
                <a:gd name="connsiteY3" fmla="*/ 58204 h 66625"/>
                <a:gd name="connsiteX4" fmla="*/ 26861 w 53497"/>
                <a:gd name="connsiteY4" fmla="*/ 66625 h 66625"/>
                <a:gd name="connsiteX5" fmla="*/ 7588 w 53497"/>
                <a:gd name="connsiteY5" fmla="*/ 58159 h 66625"/>
                <a:gd name="connsiteX6" fmla="*/ 0 w 53497"/>
                <a:gd name="connsiteY6" fmla="*/ 33256 h 66625"/>
                <a:gd name="connsiteX7" fmla="*/ 7385 w 53497"/>
                <a:gd name="connsiteY7" fmla="*/ 8286 h 66625"/>
                <a:gd name="connsiteX8" fmla="*/ 26861 w 53497"/>
                <a:gd name="connsiteY8" fmla="*/ 0 h 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97" h="66625">
                  <a:moveTo>
                    <a:pt x="26861" y="0"/>
                  </a:moveTo>
                  <a:cubicBezTo>
                    <a:pt x="34899" y="0"/>
                    <a:pt x="41362" y="2725"/>
                    <a:pt x="46225" y="8174"/>
                  </a:cubicBezTo>
                  <a:cubicBezTo>
                    <a:pt x="51066" y="13645"/>
                    <a:pt x="53497" y="21908"/>
                    <a:pt x="53497" y="32986"/>
                  </a:cubicBezTo>
                  <a:cubicBezTo>
                    <a:pt x="53497" y="44199"/>
                    <a:pt x="50998" y="52597"/>
                    <a:pt x="46022" y="58204"/>
                  </a:cubicBezTo>
                  <a:cubicBezTo>
                    <a:pt x="41024" y="63832"/>
                    <a:pt x="34629" y="66625"/>
                    <a:pt x="26861" y="66625"/>
                  </a:cubicBezTo>
                  <a:cubicBezTo>
                    <a:pt x="19071" y="66625"/>
                    <a:pt x="12654" y="63810"/>
                    <a:pt x="7588" y="58159"/>
                  </a:cubicBezTo>
                  <a:cubicBezTo>
                    <a:pt x="2544" y="52507"/>
                    <a:pt x="0" y="44199"/>
                    <a:pt x="0" y="33256"/>
                  </a:cubicBezTo>
                  <a:cubicBezTo>
                    <a:pt x="0" y="22111"/>
                    <a:pt x="2477" y="13802"/>
                    <a:pt x="7385" y="8286"/>
                  </a:cubicBezTo>
                  <a:cubicBezTo>
                    <a:pt x="12316" y="2770"/>
                    <a:pt x="18801" y="0"/>
                    <a:pt x="26861" y="0"/>
                  </a:cubicBezTo>
                  <a:close/>
                </a:path>
              </a:pathLst>
            </a:custGeom>
            <a:solidFill>
              <a:schemeClr val="accent2"/>
            </a:solidFill>
            <a:ln w="95250" cap="flat">
              <a:noFill/>
              <a:prstDash val="solid"/>
              <a:miter/>
            </a:ln>
          </p:spPr>
          <p:txBody>
            <a:bodyPr rtlCol="0" anchor="ctr"/>
            <a:lstStyle/>
            <a:p>
              <a:endParaRPr lang="en-US" dirty="0"/>
            </a:p>
          </p:txBody>
        </p:sp>
        <p:sp>
          <p:nvSpPr>
            <p:cNvPr id="815" name="Freeform: Shape 814">
              <a:extLst>
                <a:ext uri="{FF2B5EF4-FFF2-40B4-BE49-F238E27FC236}">
                  <a16:creationId xmlns:a16="http://schemas.microsoft.com/office/drawing/2014/main" id="{7D0496A9-EAB7-4C55-976A-82B35A267233}"/>
                </a:ext>
              </a:extLst>
            </p:cNvPr>
            <p:cNvSpPr/>
            <p:nvPr/>
          </p:nvSpPr>
          <p:spPr>
            <a:xfrm>
              <a:off x="626478" y="4470459"/>
              <a:ext cx="984185" cy="952500"/>
            </a:xfrm>
            <a:custGeom>
              <a:avLst/>
              <a:gdLst>
                <a:gd name="connsiteX0" fmla="*/ 0 w 952500"/>
                <a:gd name="connsiteY0" fmla="*/ 0 h 952500"/>
                <a:gd name="connsiteX1" fmla="*/ 987743 w 952500"/>
                <a:gd name="connsiteY1" fmla="*/ 0 h 952500"/>
                <a:gd name="connsiteX2" fmla="*/ 987743 w 952500"/>
                <a:gd name="connsiteY2" fmla="*/ 987743 h 952500"/>
                <a:gd name="connsiteX3" fmla="*/ 0 w 952500"/>
                <a:gd name="connsiteY3" fmla="*/ 987743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87743" y="0"/>
                  </a:lnTo>
                  <a:lnTo>
                    <a:pt x="987743" y="987743"/>
                  </a:lnTo>
                  <a:lnTo>
                    <a:pt x="0" y="987743"/>
                  </a:lnTo>
                  <a:close/>
                </a:path>
              </a:pathLst>
            </a:custGeom>
            <a:noFill/>
            <a:ln w="95250" cap="flat">
              <a:noFill/>
              <a:prstDash val="solid"/>
              <a:miter/>
            </a:ln>
          </p:spPr>
          <p:txBody>
            <a:bodyPr rtlCol="0" anchor="ctr"/>
            <a:lstStyle/>
            <a:p>
              <a:endParaRPr lang="en-US" dirty="0"/>
            </a:p>
          </p:txBody>
        </p:sp>
        <p:sp>
          <p:nvSpPr>
            <p:cNvPr id="816" name="Freeform: Shape 815">
              <a:extLst>
                <a:ext uri="{FF2B5EF4-FFF2-40B4-BE49-F238E27FC236}">
                  <a16:creationId xmlns:a16="http://schemas.microsoft.com/office/drawing/2014/main" id="{8EE53E40-3364-4304-B74E-85FC8AF296FD}"/>
                </a:ext>
              </a:extLst>
            </p:cNvPr>
            <p:cNvSpPr/>
            <p:nvPr/>
          </p:nvSpPr>
          <p:spPr>
            <a:xfrm>
              <a:off x="694867" y="4470525"/>
              <a:ext cx="787348" cy="952500"/>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dirty="0"/>
            </a:p>
          </p:txBody>
        </p:sp>
      </p:grpSp>
      <p:grpSp>
        <p:nvGrpSpPr>
          <p:cNvPr id="817" name="Group 816">
            <a:extLst>
              <a:ext uri="{FF2B5EF4-FFF2-40B4-BE49-F238E27FC236}">
                <a16:creationId xmlns:a16="http://schemas.microsoft.com/office/drawing/2014/main" id="{DB4E4241-6028-4EDA-8DE5-A468F768E0A8}"/>
              </a:ext>
            </a:extLst>
          </p:cNvPr>
          <p:cNvGrpSpPr/>
          <p:nvPr/>
        </p:nvGrpSpPr>
        <p:grpSpPr>
          <a:xfrm>
            <a:off x="2703461" y="4460161"/>
            <a:ext cx="461004" cy="446194"/>
            <a:chOff x="626478" y="4470459"/>
            <a:chExt cx="984185" cy="952566"/>
          </a:xfrm>
        </p:grpSpPr>
        <p:sp>
          <p:nvSpPr>
            <p:cNvPr id="818" name="Freeform: Shape 817">
              <a:extLst>
                <a:ext uri="{FF2B5EF4-FFF2-40B4-BE49-F238E27FC236}">
                  <a16:creationId xmlns:a16="http://schemas.microsoft.com/office/drawing/2014/main" id="{4DB0021C-8F2F-4569-8779-5C7D8FBE4AD5}"/>
                </a:ext>
              </a:extLst>
            </p:cNvPr>
            <p:cNvSpPr/>
            <p:nvPr/>
          </p:nvSpPr>
          <p:spPr>
            <a:xfrm>
              <a:off x="943238" y="4705251"/>
              <a:ext cx="295256" cy="476250"/>
            </a:xfrm>
            <a:custGeom>
              <a:avLst/>
              <a:gdLst>
                <a:gd name="connsiteX0" fmla="*/ 281429 w 285750"/>
                <a:gd name="connsiteY0" fmla="*/ 22858 h 476250"/>
                <a:gd name="connsiteX1" fmla="*/ 22859 w 285750"/>
                <a:gd name="connsiteY1" fmla="*/ 22858 h 476250"/>
                <a:gd name="connsiteX2" fmla="*/ 22859 w 285750"/>
                <a:gd name="connsiteY2" fmla="*/ 233401 h 476250"/>
                <a:gd name="connsiteX3" fmla="*/ 11430 w 285750"/>
                <a:gd name="connsiteY3" fmla="*/ 244830 h 476250"/>
                <a:gd name="connsiteX4" fmla="*/ 1 w 285750"/>
                <a:gd name="connsiteY4" fmla="*/ 233401 h 476250"/>
                <a:gd name="connsiteX5" fmla="*/ 1 w 285750"/>
                <a:gd name="connsiteY5" fmla="*/ 11429 h 476250"/>
                <a:gd name="connsiteX6" fmla="*/ 11430 w 285750"/>
                <a:gd name="connsiteY6" fmla="*/ 0 h 476250"/>
                <a:gd name="connsiteX7" fmla="*/ 289049 w 285750"/>
                <a:gd name="connsiteY7" fmla="*/ 0 h 476250"/>
                <a:gd name="connsiteX8" fmla="*/ 297162 w 285750"/>
                <a:gd name="connsiteY8" fmla="*/ 3381 h 476250"/>
                <a:gd name="connsiteX9" fmla="*/ 371269 w 285750"/>
                <a:gd name="connsiteY9" fmla="*/ 77487 h 476250"/>
                <a:gd name="connsiteX10" fmla="*/ 374617 w 285750"/>
                <a:gd name="connsiteY10" fmla="*/ 85568 h 476250"/>
                <a:gd name="connsiteX11" fmla="*/ 374617 w 285750"/>
                <a:gd name="connsiteY11" fmla="*/ 233401 h 476250"/>
                <a:gd name="connsiteX12" fmla="*/ 363188 w 285750"/>
                <a:gd name="connsiteY12" fmla="*/ 244830 h 476250"/>
                <a:gd name="connsiteX13" fmla="*/ 351759 w 285750"/>
                <a:gd name="connsiteY13" fmla="*/ 233401 h 476250"/>
                <a:gd name="connsiteX14" fmla="*/ 351759 w 285750"/>
                <a:gd name="connsiteY14" fmla="*/ 93187 h 476250"/>
                <a:gd name="connsiteX15" fmla="*/ 326118 w 285750"/>
                <a:gd name="connsiteY15" fmla="*/ 93187 h 476250"/>
                <a:gd name="connsiteX16" fmla="*/ 294551 w 285750"/>
                <a:gd name="connsiteY16" fmla="*/ 80066 h 476250"/>
                <a:gd name="connsiteX17" fmla="*/ 281430 w 285750"/>
                <a:gd name="connsiteY17" fmla="*/ 48498 h 476250"/>
                <a:gd name="connsiteX18" fmla="*/ 281430 w 285750"/>
                <a:gd name="connsiteY18" fmla="*/ 22858 h 476250"/>
                <a:gd name="connsiteX19" fmla="*/ 22859 w 285750"/>
                <a:gd name="connsiteY19" fmla="*/ 495300 h 476250"/>
                <a:gd name="connsiteX20" fmla="*/ 351758 w 285750"/>
                <a:gd name="connsiteY20" fmla="*/ 495300 h 476250"/>
                <a:gd name="connsiteX21" fmla="*/ 351758 w 285750"/>
                <a:gd name="connsiteY21" fmla="*/ 435748 h 476250"/>
                <a:gd name="connsiteX22" fmla="*/ 363188 w 285750"/>
                <a:gd name="connsiteY22" fmla="*/ 424319 h 476250"/>
                <a:gd name="connsiteX23" fmla="*/ 374617 w 285750"/>
                <a:gd name="connsiteY23" fmla="*/ 435748 h 476250"/>
                <a:gd name="connsiteX24" fmla="*/ 374617 w 285750"/>
                <a:gd name="connsiteY24" fmla="*/ 506730 h 476250"/>
                <a:gd name="connsiteX25" fmla="*/ 363188 w 285750"/>
                <a:gd name="connsiteY25" fmla="*/ 518159 h 476250"/>
                <a:gd name="connsiteX26" fmla="*/ 11429 w 285750"/>
                <a:gd name="connsiteY26" fmla="*/ 518159 h 476250"/>
                <a:gd name="connsiteX27" fmla="*/ 0 w 285750"/>
                <a:gd name="connsiteY27" fmla="*/ 506730 h 476250"/>
                <a:gd name="connsiteX28" fmla="*/ 0 w 285750"/>
                <a:gd name="connsiteY28" fmla="*/ 435748 h 476250"/>
                <a:gd name="connsiteX29" fmla="*/ 11429 w 285750"/>
                <a:gd name="connsiteY29" fmla="*/ 424319 h 476250"/>
                <a:gd name="connsiteX30" fmla="*/ 22858 w 285750"/>
                <a:gd name="connsiteY30" fmla="*/ 435748 h 476250"/>
                <a:gd name="connsiteX31" fmla="*/ 22858 w 285750"/>
                <a:gd name="connsiteY31" fmla="*/ 49530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476250">
                  <a:moveTo>
                    <a:pt x="281429" y="22858"/>
                  </a:moveTo>
                  <a:lnTo>
                    <a:pt x="22859" y="22858"/>
                  </a:lnTo>
                  <a:lnTo>
                    <a:pt x="22859" y="233401"/>
                  </a:lnTo>
                  <a:cubicBezTo>
                    <a:pt x="22859" y="239711"/>
                    <a:pt x="17740" y="244830"/>
                    <a:pt x="11430" y="244830"/>
                  </a:cubicBezTo>
                  <a:cubicBezTo>
                    <a:pt x="5119" y="244830"/>
                    <a:pt x="1" y="239711"/>
                    <a:pt x="1" y="233401"/>
                  </a:cubicBezTo>
                  <a:lnTo>
                    <a:pt x="1" y="11429"/>
                  </a:lnTo>
                  <a:cubicBezTo>
                    <a:pt x="1" y="5119"/>
                    <a:pt x="5119" y="0"/>
                    <a:pt x="11430" y="0"/>
                  </a:cubicBezTo>
                  <a:lnTo>
                    <a:pt x="289049" y="0"/>
                  </a:lnTo>
                  <a:cubicBezTo>
                    <a:pt x="292106" y="0"/>
                    <a:pt x="295004" y="1222"/>
                    <a:pt x="297162" y="3381"/>
                  </a:cubicBezTo>
                  <a:lnTo>
                    <a:pt x="371269" y="77487"/>
                  </a:lnTo>
                  <a:cubicBezTo>
                    <a:pt x="373417" y="79635"/>
                    <a:pt x="374617" y="82530"/>
                    <a:pt x="374617" y="85568"/>
                  </a:cubicBezTo>
                  <a:lnTo>
                    <a:pt x="374617" y="233401"/>
                  </a:lnTo>
                  <a:cubicBezTo>
                    <a:pt x="374617" y="239711"/>
                    <a:pt x="369498" y="244830"/>
                    <a:pt x="363188" y="244830"/>
                  </a:cubicBezTo>
                  <a:cubicBezTo>
                    <a:pt x="356877" y="244830"/>
                    <a:pt x="351759" y="239711"/>
                    <a:pt x="351759" y="233401"/>
                  </a:cubicBezTo>
                  <a:lnTo>
                    <a:pt x="351759" y="93187"/>
                  </a:lnTo>
                  <a:lnTo>
                    <a:pt x="326118" y="93187"/>
                  </a:lnTo>
                  <a:cubicBezTo>
                    <a:pt x="313821" y="93187"/>
                    <a:pt x="302647" y="88161"/>
                    <a:pt x="294551" y="80066"/>
                  </a:cubicBezTo>
                  <a:cubicBezTo>
                    <a:pt x="286456" y="71970"/>
                    <a:pt x="281430" y="60796"/>
                    <a:pt x="281430" y="48498"/>
                  </a:cubicBezTo>
                  <a:lnTo>
                    <a:pt x="281430" y="22858"/>
                  </a:lnTo>
                  <a:close/>
                  <a:moveTo>
                    <a:pt x="22859" y="495300"/>
                  </a:moveTo>
                  <a:lnTo>
                    <a:pt x="351758" y="495300"/>
                  </a:lnTo>
                  <a:lnTo>
                    <a:pt x="351758" y="435748"/>
                  </a:lnTo>
                  <a:cubicBezTo>
                    <a:pt x="351758" y="429437"/>
                    <a:pt x="356877" y="424319"/>
                    <a:pt x="363188" y="424319"/>
                  </a:cubicBezTo>
                  <a:cubicBezTo>
                    <a:pt x="369498" y="424319"/>
                    <a:pt x="374617" y="429438"/>
                    <a:pt x="374617" y="435748"/>
                  </a:cubicBezTo>
                  <a:lnTo>
                    <a:pt x="374617" y="506730"/>
                  </a:lnTo>
                  <a:cubicBezTo>
                    <a:pt x="374617" y="513040"/>
                    <a:pt x="369498" y="518159"/>
                    <a:pt x="363188" y="518159"/>
                  </a:cubicBezTo>
                  <a:lnTo>
                    <a:pt x="11429" y="518159"/>
                  </a:lnTo>
                  <a:cubicBezTo>
                    <a:pt x="5119" y="518159"/>
                    <a:pt x="0" y="513040"/>
                    <a:pt x="0" y="506730"/>
                  </a:cubicBezTo>
                  <a:lnTo>
                    <a:pt x="0" y="435748"/>
                  </a:lnTo>
                  <a:cubicBezTo>
                    <a:pt x="0" y="429437"/>
                    <a:pt x="5119" y="424319"/>
                    <a:pt x="11429" y="424319"/>
                  </a:cubicBezTo>
                  <a:cubicBezTo>
                    <a:pt x="17740" y="424319"/>
                    <a:pt x="22858" y="429438"/>
                    <a:pt x="22858" y="435748"/>
                  </a:cubicBezTo>
                  <a:lnTo>
                    <a:pt x="22858" y="495300"/>
                  </a:lnTo>
                  <a:close/>
                </a:path>
              </a:pathLst>
            </a:custGeom>
            <a:solidFill>
              <a:schemeClr val="accent4"/>
            </a:solidFill>
            <a:ln w="95250" cap="flat">
              <a:noFill/>
              <a:prstDash val="solid"/>
              <a:miter/>
            </a:ln>
          </p:spPr>
          <p:txBody>
            <a:bodyPr rtlCol="0" anchor="ctr"/>
            <a:lstStyle/>
            <a:p>
              <a:endParaRPr lang="en-US" dirty="0"/>
            </a:p>
          </p:txBody>
        </p:sp>
        <p:sp>
          <p:nvSpPr>
            <p:cNvPr id="819" name="Freeform: Shape 818">
              <a:extLst>
                <a:ext uri="{FF2B5EF4-FFF2-40B4-BE49-F238E27FC236}">
                  <a16:creationId xmlns:a16="http://schemas.microsoft.com/office/drawing/2014/main" id="{5B1F87AB-2DF6-468C-9AA1-5D7BDCD71085}"/>
                </a:ext>
              </a:extLst>
            </p:cNvPr>
            <p:cNvSpPr/>
            <p:nvPr/>
          </p:nvSpPr>
          <p:spPr>
            <a:xfrm>
              <a:off x="1022469" y="4836528"/>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20" name="Freeform: Shape 819">
              <a:extLst>
                <a:ext uri="{FF2B5EF4-FFF2-40B4-BE49-F238E27FC236}">
                  <a16:creationId xmlns:a16="http://schemas.microsoft.com/office/drawing/2014/main" id="{D4054C36-5F26-4A5E-B306-5ABA34CC9A9A}"/>
                </a:ext>
              </a:extLst>
            </p:cNvPr>
            <p:cNvSpPr/>
            <p:nvPr/>
          </p:nvSpPr>
          <p:spPr>
            <a:xfrm>
              <a:off x="1022469" y="4881732"/>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21" name="Freeform: Shape 820">
              <a:extLst>
                <a:ext uri="{FF2B5EF4-FFF2-40B4-BE49-F238E27FC236}">
                  <a16:creationId xmlns:a16="http://schemas.microsoft.com/office/drawing/2014/main" id="{09D509D0-5F7B-4F4F-BE9B-C3A4D95B9C74}"/>
                </a:ext>
              </a:extLst>
            </p:cNvPr>
            <p:cNvSpPr/>
            <p:nvPr/>
          </p:nvSpPr>
          <p:spPr>
            <a:xfrm>
              <a:off x="1022469" y="4791322"/>
              <a:ext cx="98419" cy="95250"/>
            </a:xfrm>
            <a:custGeom>
              <a:avLst/>
              <a:gdLst>
                <a:gd name="connsiteX0" fmla="*/ 0 w 95250"/>
                <a:gd name="connsiteY0" fmla="*/ 0 h 0"/>
                <a:gd name="connsiteX1" fmla="*/ 156437 w 95250"/>
                <a:gd name="connsiteY1" fmla="*/ 0 h 0"/>
                <a:gd name="connsiteX2" fmla="*/ 156437 w 95250"/>
                <a:gd name="connsiteY2" fmla="*/ 19049 h 0"/>
                <a:gd name="connsiteX3" fmla="*/ 0 w 95250"/>
                <a:gd name="connsiteY3" fmla="*/ 19049 h 0"/>
              </a:gdLst>
              <a:ahLst/>
              <a:cxnLst>
                <a:cxn ang="0">
                  <a:pos x="connsiteX0" y="connsiteY0"/>
                </a:cxn>
                <a:cxn ang="0">
                  <a:pos x="connsiteX1" y="connsiteY1"/>
                </a:cxn>
                <a:cxn ang="0">
                  <a:pos x="connsiteX2" y="connsiteY2"/>
                </a:cxn>
                <a:cxn ang="0">
                  <a:pos x="connsiteX3" y="connsiteY3"/>
                </a:cxn>
              </a:cxnLst>
              <a:rect l="l" t="t" r="r" b="b"/>
              <a:pathLst>
                <a:path w="95250">
                  <a:moveTo>
                    <a:pt x="0" y="0"/>
                  </a:moveTo>
                  <a:lnTo>
                    <a:pt x="156437" y="0"/>
                  </a:lnTo>
                  <a:lnTo>
                    <a:pt x="156437"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22" name="Freeform: Shape 821">
              <a:extLst>
                <a:ext uri="{FF2B5EF4-FFF2-40B4-BE49-F238E27FC236}">
                  <a16:creationId xmlns:a16="http://schemas.microsoft.com/office/drawing/2014/main" id="{F57E41ED-BF77-4178-BF22-31434F6DEC2E}"/>
                </a:ext>
              </a:extLst>
            </p:cNvPr>
            <p:cNvSpPr/>
            <p:nvPr/>
          </p:nvSpPr>
          <p:spPr>
            <a:xfrm>
              <a:off x="895835" y="4931032"/>
              <a:ext cx="393674" cy="190500"/>
            </a:xfrm>
            <a:custGeom>
              <a:avLst/>
              <a:gdLst>
                <a:gd name="connsiteX0" fmla="*/ 96110 w 381000"/>
                <a:gd name="connsiteY0" fmla="*/ 157146 h 190500"/>
                <a:gd name="connsiteX1" fmla="*/ 96110 w 381000"/>
                <a:gd name="connsiteY1" fmla="*/ 61229 h 190500"/>
                <a:gd name="connsiteX2" fmla="*/ 115632 w 381000"/>
                <a:gd name="connsiteY2" fmla="*/ 61229 h 190500"/>
                <a:gd name="connsiteX3" fmla="*/ 115632 w 381000"/>
                <a:gd name="connsiteY3" fmla="*/ 140845 h 190500"/>
                <a:gd name="connsiteX4" fmla="*/ 164175 w 381000"/>
                <a:gd name="connsiteY4" fmla="*/ 140845 h 190500"/>
                <a:gd name="connsiteX5" fmla="*/ 164175 w 381000"/>
                <a:gd name="connsiteY5" fmla="*/ 157146 h 190500"/>
                <a:gd name="connsiteX6" fmla="*/ 96110 w 381000"/>
                <a:gd name="connsiteY6" fmla="*/ 157146 h 190500"/>
                <a:gd name="connsiteX7" fmla="*/ 174150 w 381000"/>
                <a:gd name="connsiteY7" fmla="*/ 109390 h 190500"/>
                <a:gd name="connsiteX8" fmla="*/ 178563 w 381000"/>
                <a:gd name="connsiteY8" fmla="*/ 84578 h 190500"/>
                <a:gd name="connsiteX9" fmla="*/ 187569 w 381000"/>
                <a:gd name="connsiteY9" fmla="*/ 71316 h 190500"/>
                <a:gd name="connsiteX10" fmla="*/ 200066 w 381000"/>
                <a:gd name="connsiteY10" fmla="*/ 62625 h 190500"/>
                <a:gd name="connsiteX11" fmla="*/ 220915 w 381000"/>
                <a:gd name="connsiteY11" fmla="*/ 58797 h 190500"/>
                <a:gd name="connsiteX12" fmla="*/ 255117 w 381000"/>
                <a:gd name="connsiteY12" fmla="*/ 72059 h 190500"/>
                <a:gd name="connsiteX13" fmla="*/ 267951 w 381000"/>
                <a:gd name="connsiteY13" fmla="*/ 108917 h 190500"/>
                <a:gd name="connsiteX14" fmla="*/ 255207 w 381000"/>
                <a:gd name="connsiteY14" fmla="*/ 145573 h 190500"/>
                <a:gd name="connsiteX15" fmla="*/ 221185 w 381000"/>
                <a:gd name="connsiteY15" fmla="*/ 158790 h 190500"/>
                <a:gd name="connsiteX16" fmla="*/ 186871 w 381000"/>
                <a:gd name="connsiteY16" fmla="*/ 145641 h 190500"/>
                <a:gd name="connsiteX17" fmla="*/ 174150 w 381000"/>
                <a:gd name="connsiteY17" fmla="*/ 109390 h 190500"/>
                <a:gd name="connsiteX18" fmla="*/ 279817 w 381000"/>
                <a:gd name="connsiteY18" fmla="*/ 108467 h 190500"/>
                <a:gd name="connsiteX19" fmla="*/ 286144 w 381000"/>
                <a:gd name="connsiteY19" fmla="*/ 81606 h 190500"/>
                <a:gd name="connsiteX20" fmla="*/ 304697 w 381000"/>
                <a:gd name="connsiteY20" fmla="*/ 63615 h 190500"/>
                <a:gd name="connsiteX21" fmla="*/ 327844 w 381000"/>
                <a:gd name="connsiteY21" fmla="*/ 58797 h 190500"/>
                <a:gd name="connsiteX22" fmla="*/ 355966 w 381000"/>
                <a:gd name="connsiteY22" fmla="*/ 66340 h 190500"/>
                <a:gd name="connsiteX23" fmla="*/ 369002 w 381000"/>
                <a:gd name="connsiteY23" fmla="*/ 87235 h 190500"/>
                <a:gd name="connsiteX24" fmla="*/ 349616 w 381000"/>
                <a:gd name="connsiteY24" fmla="*/ 90860 h 190500"/>
                <a:gd name="connsiteX25" fmla="*/ 341916 w 381000"/>
                <a:gd name="connsiteY25" fmla="*/ 79602 h 190500"/>
                <a:gd name="connsiteX26" fmla="*/ 327844 w 381000"/>
                <a:gd name="connsiteY26" fmla="*/ 75481 h 190500"/>
                <a:gd name="connsiteX27" fmla="*/ 307489 w 381000"/>
                <a:gd name="connsiteY27" fmla="*/ 83587 h 190500"/>
                <a:gd name="connsiteX28" fmla="*/ 299947 w 381000"/>
                <a:gd name="connsiteY28" fmla="*/ 107679 h 190500"/>
                <a:gd name="connsiteX29" fmla="*/ 307602 w 381000"/>
                <a:gd name="connsiteY29" fmla="*/ 133505 h 190500"/>
                <a:gd name="connsiteX30" fmla="*/ 327641 w 381000"/>
                <a:gd name="connsiteY30" fmla="*/ 142106 h 190500"/>
                <a:gd name="connsiteX31" fmla="*/ 339957 w 381000"/>
                <a:gd name="connsiteY31" fmla="*/ 139697 h 190500"/>
                <a:gd name="connsiteX32" fmla="*/ 350539 w 381000"/>
                <a:gd name="connsiteY32" fmla="*/ 133865 h 190500"/>
                <a:gd name="connsiteX33" fmla="*/ 350539 w 381000"/>
                <a:gd name="connsiteY33" fmla="*/ 121594 h 190500"/>
                <a:gd name="connsiteX34" fmla="*/ 328181 w 381000"/>
                <a:gd name="connsiteY34" fmla="*/ 121594 h 190500"/>
                <a:gd name="connsiteX35" fmla="*/ 328181 w 381000"/>
                <a:gd name="connsiteY35" fmla="*/ 105292 h 190500"/>
                <a:gd name="connsiteX36" fmla="*/ 370263 w 381000"/>
                <a:gd name="connsiteY36" fmla="*/ 105292 h 190500"/>
                <a:gd name="connsiteX37" fmla="*/ 370263 w 381000"/>
                <a:gd name="connsiteY37" fmla="*/ 143817 h 190500"/>
                <a:gd name="connsiteX38" fmla="*/ 352476 w 381000"/>
                <a:gd name="connsiteY38" fmla="*/ 154287 h 190500"/>
                <a:gd name="connsiteX39" fmla="*/ 328902 w 381000"/>
                <a:gd name="connsiteY39" fmla="*/ 158790 h 190500"/>
                <a:gd name="connsiteX40" fmla="*/ 302446 w 381000"/>
                <a:gd name="connsiteY40" fmla="*/ 152440 h 190500"/>
                <a:gd name="connsiteX41" fmla="*/ 285491 w 381000"/>
                <a:gd name="connsiteY41" fmla="*/ 134225 h 190500"/>
                <a:gd name="connsiteX42" fmla="*/ 279817 w 381000"/>
                <a:gd name="connsiteY42" fmla="*/ 108467 h 190500"/>
                <a:gd name="connsiteX43" fmla="*/ 68737 w 381000"/>
                <a:gd name="connsiteY43" fmla="*/ 217587 h 190500"/>
                <a:gd name="connsiteX44" fmla="*/ 397636 w 381000"/>
                <a:gd name="connsiteY44" fmla="*/ 217587 h 190500"/>
                <a:gd name="connsiteX45" fmla="*/ 420494 w 381000"/>
                <a:gd name="connsiteY45" fmla="*/ 217587 h 190500"/>
                <a:gd name="connsiteX46" fmla="*/ 458753 w 381000"/>
                <a:gd name="connsiteY46" fmla="*/ 217587 h 190500"/>
                <a:gd name="connsiteX47" fmla="*/ 466373 w 381000"/>
                <a:gd name="connsiteY47" fmla="*/ 209967 h 190500"/>
                <a:gd name="connsiteX48" fmla="*/ 466373 w 381000"/>
                <a:gd name="connsiteY48" fmla="*/ 7620 h 190500"/>
                <a:gd name="connsiteX49" fmla="*/ 458753 w 381000"/>
                <a:gd name="connsiteY49" fmla="*/ 0 h 190500"/>
                <a:gd name="connsiteX50" fmla="*/ 420494 w 381000"/>
                <a:gd name="connsiteY50" fmla="*/ 0 h 190500"/>
                <a:gd name="connsiteX51" fmla="*/ 397636 w 381000"/>
                <a:gd name="connsiteY51" fmla="*/ 0 h 190500"/>
                <a:gd name="connsiteX52" fmla="*/ 68737 w 381000"/>
                <a:gd name="connsiteY52" fmla="*/ 0 h 190500"/>
                <a:gd name="connsiteX53" fmla="*/ 45878 w 381000"/>
                <a:gd name="connsiteY53" fmla="*/ 0 h 190500"/>
                <a:gd name="connsiteX54" fmla="*/ 7620 w 381000"/>
                <a:gd name="connsiteY54" fmla="*/ 0 h 190500"/>
                <a:gd name="connsiteX55" fmla="*/ 0 w 381000"/>
                <a:gd name="connsiteY55" fmla="*/ 7620 h 190500"/>
                <a:gd name="connsiteX56" fmla="*/ 0 w 381000"/>
                <a:gd name="connsiteY56" fmla="*/ 209967 h 190500"/>
                <a:gd name="connsiteX57" fmla="*/ 7620 w 381000"/>
                <a:gd name="connsiteY57" fmla="*/ 217587 h 190500"/>
                <a:gd name="connsiteX58" fmla="*/ 45878 w 381000"/>
                <a:gd name="connsiteY58" fmla="*/ 217587 h 190500"/>
                <a:gd name="connsiteX59" fmla="*/ 68737 w 381000"/>
                <a:gd name="connsiteY59" fmla="*/ 21758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1000" h="190500">
                  <a:moveTo>
                    <a:pt x="96110" y="157146"/>
                  </a:moveTo>
                  <a:lnTo>
                    <a:pt x="96110" y="61229"/>
                  </a:lnTo>
                  <a:lnTo>
                    <a:pt x="115632" y="61229"/>
                  </a:lnTo>
                  <a:lnTo>
                    <a:pt x="115632" y="140845"/>
                  </a:lnTo>
                  <a:lnTo>
                    <a:pt x="164175" y="140845"/>
                  </a:lnTo>
                  <a:lnTo>
                    <a:pt x="164175" y="157146"/>
                  </a:lnTo>
                  <a:lnTo>
                    <a:pt x="96110" y="157146"/>
                  </a:lnTo>
                  <a:close/>
                  <a:moveTo>
                    <a:pt x="174150" y="109390"/>
                  </a:moveTo>
                  <a:cubicBezTo>
                    <a:pt x="174150" y="99528"/>
                    <a:pt x="175613" y="91265"/>
                    <a:pt x="178563" y="84578"/>
                  </a:cubicBezTo>
                  <a:cubicBezTo>
                    <a:pt x="180769" y="79669"/>
                    <a:pt x="183764" y="75234"/>
                    <a:pt x="187569" y="71316"/>
                  </a:cubicBezTo>
                  <a:cubicBezTo>
                    <a:pt x="191374" y="67421"/>
                    <a:pt x="195540" y="64516"/>
                    <a:pt x="200066" y="62625"/>
                  </a:cubicBezTo>
                  <a:cubicBezTo>
                    <a:pt x="206100" y="60058"/>
                    <a:pt x="213035" y="58797"/>
                    <a:pt x="220915" y="58797"/>
                  </a:cubicBezTo>
                  <a:cubicBezTo>
                    <a:pt x="235168" y="58797"/>
                    <a:pt x="246561" y="63210"/>
                    <a:pt x="255117" y="72059"/>
                  </a:cubicBezTo>
                  <a:cubicBezTo>
                    <a:pt x="263673" y="80885"/>
                    <a:pt x="267951" y="93179"/>
                    <a:pt x="267951" y="108917"/>
                  </a:cubicBezTo>
                  <a:cubicBezTo>
                    <a:pt x="267951" y="124544"/>
                    <a:pt x="263695" y="136747"/>
                    <a:pt x="255207" y="145573"/>
                  </a:cubicBezTo>
                  <a:cubicBezTo>
                    <a:pt x="246718" y="154377"/>
                    <a:pt x="235371" y="158790"/>
                    <a:pt x="221185" y="158790"/>
                  </a:cubicBezTo>
                  <a:cubicBezTo>
                    <a:pt x="206798" y="158790"/>
                    <a:pt x="195360" y="154400"/>
                    <a:pt x="186871" y="145641"/>
                  </a:cubicBezTo>
                  <a:cubicBezTo>
                    <a:pt x="178383" y="136860"/>
                    <a:pt x="174150" y="124769"/>
                    <a:pt x="174150" y="109390"/>
                  </a:cubicBezTo>
                  <a:close/>
                  <a:moveTo>
                    <a:pt x="279817" y="108467"/>
                  </a:moveTo>
                  <a:cubicBezTo>
                    <a:pt x="279817" y="98403"/>
                    <a:pt x="281934" y="89441"/>
                    <a:pt x="286144" y="81606"/>
                  </a:cubicBezTo>
                  <a:cubicBezTo>
                    <a:pt x="290377" y="73793"/>
                    <a:pt x="296547" y="67781"/>
                    <a:pt x="304697" y="63615"/>
                  </a:cubicBezTo>
                  <a:cubicBezTo>
                    <a:pt x="310889" y="60396"/>
                    <a:pt x="318612" y="58797"/>
                    <a:pt x="327844" y="58797"/>
                  </a:cubicBezTo>
                  <a:cubicBezTo>
                    <a:pt x="339845" y="58797"/>
                    <a:pt x="349234" y="61319"/>
                    <a:pt x="355966" y="66340"/>
                  </a:cubicBezTo>
                  <a:cubicBezTo>
                    <a:pt x="362720" y="71384"/>
                    <a:pt x="367066" y="78341"/>
                    <a:pt x="369002" y="87235"/>
                  </a:cubicBezTo>
                  <a:lnTo>
                    <a:pt x="349616" y="90860"/>
                  </a:lnTo>
                  <a:cubicBezTo>
                    <a:pt x="348243" y="86109"/>
                    <a:pt x="345676" y="82348"/>
                    <a:pt x="341916" y="79602"/>
                  </a:cubicBezTo>
                  <a:cubicBezTo>
                    <a:pt x="338156" y="76855"/>
                    <a:pt x="333473" y="75481"/>
                    <a:pt x="327844" y="75481"/>
                  </a:cubicBezTo>
                  <a:cubicBezTo>
                    <a:pt x="319310" y="75481"/>
                    <a:pt x="312533" y="78183"/>
                    <a:pt x="307489" y="83587"/>
                  </a:cubicBezTo>
                  <a:cubicBezTo>
                    <a:pt x="302446" y="89013"/>
                    <a:pt x="299947" y="97029"/>
                    <a:pt x="299947" y="107679"/>
                  </a:cubicBezTo>
                  <a:cubicBezTo>
                    <a:pt x="299947" y="119140"/>
                    <a:pt x="302491" y="127763"/>
                    <a:pt x="307602" y="133505"/>
                  </a:cubicBezTo>
                  <a:cubicBezTo>
                    <a:pt x="312691" y="139246"/>
                    <a:pt x="319378" y="142106"/>
                    <a:pt x="327641" y="142106"/>
                  </a:cubicBezTo>
                  <a:cubicBezTo>
                    <a:pt x="331739" y="142106"/>
                    <a:pt x="335837" y="141295"/>
                    <a:pt x="339957" y="139697"/>
                  </a:cubicBezTo>
                  <a:cubicBezTo>
                    <a:pt x="344055" y="138098"/>
                    <a:pt x="347590" y="136139"/>
                    <a:pt x="350539" y="133865"/>
                  </a:cubicBezTo>
                  <a:lnTo>
                    <a:pt x="350539" y="121594"/>
                  </a:lnTo>
                  <a:lnTo>
                    <a:pt x="328181" y="121594"/>
                  </a:lnTo>
                  <a:lnTo>
                    <a:pt x="328181" y="105292"/>
                  </a:lnTo>
                  <a:lnTo>
                    <a:pt x="370263" y="105292"/>
                  </a:lnTo>
                  <a:lnTo>
                    <a:pt x="370263" y="143817"/>
                  </a:lnTo>
                  <a:cubicBezTo>
                    <a:pt x="366165" y="147780"/>
                    <a:pt x="360244" y="151270"/>
                    <a:pt x="352476" y="154287"/>
                  </a:cubicBezTo>
                  <a:cubicBezTo>
                    <a:pt x="344708" y="157281"/>
                    <a:pt x="336850" y="158790"/>
                    <a:pt x="328902" y="158790"/>
                  </a:cubicBezTo>
                  <a:cubicBezTo>
                    <a:pt x="318792" y="158790"/>
                    <a:pt x="309966" y="156673"/>
                    <a:pt x="302446" y="152440"/>
                  </a:cubicBezTo>
                  <a:cubicBezTo>
                    <a:pt x="294926" y="148185"/>
                    <a:pt x="289274" y="142128"/>
                    <a:pt x="285491" y="134225"/>
                  </a:cubicBezTo>
                  <a:cubicBezTo>
                    <a:pt x="281709" y="126322"/>
                    <a:pt x="279817" y="117744"/>
                    <a:pt x="279817" y="108467"/>
                  </a:cubicBezTo>
                  <a:close/>
                  <a:moveTo>
                    <a:pt x="68737" y="217587"/>
                  </a:moveTo>
                  <a:lnTo>
                    <a:pt x="397636" y="217587"/>
                  </a:lnTo>
                  <a:lnTo>
                    <a:pt x="420494" y="217587"/>
                  </a:lnTo>
                  <a:lnTo>
                    <a:pt x="458753" y="217587"/>
                  </a:lnTo>
                  <a:cubicBezTo>
                    <a:pt x="462961" y="217587"/>
                    <a:pt x="466373" y="214175"/>
                    <a:pt x="466373" y="209967"/>
                  </a:cubicBezTo>
                  <a:lnTo>
                    <a:pt x="466373" y="7620"/>
                  </a:lnTo>
                  <a:cubicBezTo>
                    <a:pt x="466373" y="3412"/>
                    <a:pt x="462961" y="0"/>
                    <a:pt x="458753" y="0"/>
                  </a:cubicBezTo>
                  <a:lnTo>
                    <a:pt x="420494" y="0"/>
                  </a:lnTo>
                  <a:lnTo>
                    <a:pt x="397636" y="0"/>
                  </a:lnTo>
                  <a:lnTo>
                    <a:pt x="68737" y="0"/>
                  </a:lnTo>
                  <a:lnTo>
                    <a:pt x="45878" y="0"/>
                  </a:lnTo>
                  <a:lnTo>
                    <a:pt x="7620" y="0"/>
                  </a:lnTo>
                  <a:cubicBezTo>
                    <a:pt x="3412" y="0"/>
                    <a:pt x="0" y="3412"/>
                    <a:pt x="0" y="7620"/>
                  </a:cubicBezTo>
                  <a:lnTo>
                    <a:pt x="0" y="209967"/>
                  </a:lnTo>
                  <a:cubicBezTo>
                    <a:pt x="0" y="214175"/>
                    <a:pt x="3412" y="217587"/>
                    <a:pt x="7620" y="217587"/>
                  </a:cubicBezTo>
                  <a:lnTo>
                    <a:pt x="45878" y="217587"/>
                  </a:lnTo>
                  <a:lnTo>
                    <a:pt x="68737" y="217587"/>
                  </a:lnTo>
                  <a:close/>
                </a:path>
              </a:pathLst>
            </a:custGeom>
            <a:solidFill>
              <a:schemeClr val="accent2"/>
            </a:solidFill>
            <a:ln w="95250" cap="flat">
              <a:noFill/>
              <a:prstDash val="solid"/>
              <a:miter/>
            </a:ln>
          </p:spPr>
          <p:txBody>
            <a:bodyPr rtlCol="0" anchor="ctr"/>
            <a:lstStyle/>
            <a:p>
              <a:endParaRPr lang="en-US" dirty="0"/>
            </a:p>
          </p:txBody>
        </p:sp>
        <p:sp>
          <p:nvSpPr>
            <p:cNvPr id="823" name="Freeform: Shape 822">
              <a:extLst>
                <a:ext uri="{FF2B5EF4-FFF2-40B4-BE49-F238E27FC236}">
                  <a16:creationId xmlns:a16="http://schemas.microsoft.com/office/drawing/2014/main" id="{1562EA87-7E45-4EEA-90DA-CC4569D9BCA1}"/>
                </a:ext>
              </a:extLst>
            </p:cNvPr>
            <p:cNvSpPr/>
            <p:nvPr/>
          </p:nvSpPr>
          <p:spPr>
            <a:xfrm>
              <a:off x="1096554" y="5006513"/>
              <a:ext cx="53497" cy="66625"/>
            </a:xfrm>
            <a:custGeom>
              <a:avLst/>
              <a:gdLst>
                <a:gd name="connsiteX0" fmla="*/ 26861 w 53497"/>
                <a:gd name="connsiteY0" fmla="*/ 0 h 66625"/>
                <a:gd name="connsiteX1" fmla="*/ 46225 w 53497"/>
                <a:gd name="connsiteY1" fmla="*/ 8174 h 66625"/>
                <a:gd name="connsiteX2" fmla="*/ 53497 w 53497"/>
                <a:gd name="connsiteY2" fmla="*/ 32986 h 66625"/>
                <a:gd name="connsiteX3" fmla="*/ 46022 w 53497"/>
                <a:gd name="connsiteY3" fmla="*/ 58204 h 66625"/>
                <a:gd name="connsiteX4" fmla="*/ 26861 w 53497"/>
                <a:gd name="connsiteY4" fmla="*/ 66625 h 66625"/>
                <a:gd name="connsiteX5" fmla="*/ 7588 w 53497"/>
                <a:gd name="connsiteY5" fmla="*/ 58159 h 66625"/>
                <a:gd name="connsiteX6" fmla="*/ 0 w 53497"/>
                <a:gd name="connsiteY6" fmla="*/ 33256 h 66625"/>
                <a:gd name="connsiteX7" fmla="*/ 7385 w 53497"/>
                <a:gd name="connsiteY7" fmla="*/ 8286 h 66625"/>
                <a:gd name="connsiteX8" fmla="*/ 26861 w 53497"/>
                <a:gd name="connsiteY8" fmla="*/ 0 h 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97" h="66625">
                  <a:moveTo>
                    <a:pt x="26861" y="0"/>
                  </a:moveTo>
                  <a:cubicBezTo>
                    <a:pt x="34899" y="0"/>
                    <a:pt x="41362" y="2725"/>
                    <a:pt x="46225" y="8174"/>
                  </a:cubicBezTo>
                  <a:cubicBezTo>
                    <a:pt x="51066" y="13645"/>
                    <a:pt x="53497" y="21908"/>
                    <a:pt x="53497" y="32986"/>
                  </a:cubicBezTo>
                  <a:cubicBezTo>
                    <a:pt x="53497" y="44199"/>
                    <a:pt x="50998" y="52597"/>
                    <a:pt x="46022" y="58204"/>
                  </a:cubicBezTo>
                  <a:cubicBezTo>
                    <a:pt x="41024" y="63832"/>
                    <a:pt x="34629" y="66625"/>
                    <a:pt x="26861" y="66625"/>
                  </a:cubicBezTo>
                  <a:cubicBezTo>
                    <a:pt x="19071" y="66625"/>
                    <a:pt x="12654" y="63810"/>
                    <a:pt x="7588" y="58159"/>
                  </a:cubicBezTo>
                  <a:cubicBezTo>
                    <a:pt x="2544" y="52507"/>
                    <a:pt x="0" y="44199"/>
                    <a:pt x="0" y="33256"/>
                  </a:cubicBezTo>
                  <a:cubicBezTo>
                    <a:pt x="0" y="22111"/>
                    <a:pt x="2477" y="13802"/>
                    <a:pt x="7385" y="8286"/>
                  </a:cubicBezTo>
                  <a:cubicBezTo>
                    <a:pt x="12316" y="2770"/>
                    <a:pt x="18801" y="0"/>
                    <a:pt x="26861" y="0"/>
                  </a:cubicBezTo>
                  <a:close/>
                </a:path>
              </a:pathLst>
            </a:custGeom>
            <a:solidFill>
              <a:schemeClr val="accent2"/>
            </a:solidFill>
            <a:ln w="95250" cap="flat">
              <a:noFill/>
              <a:prstDash val="solid"/>
              <a:miter/>
            </a:ln>
          </p:spPr>
          <p:txBody>
            <a:bodyPr rtlCol="0" anchor="ctr"/>
            <a:lstStyle/>
            <a:p>
              <a:endParaRPr lang="en-US" dirty="0"/>
            </a:p>
          </p:txBody>
        </p:sp>
        <p:sp>
          <p:nvSpPr>
            <p:cNvPr id="824" name="Freeform: Shape 823">
              <a:extLst>
                <a:ext uri="{FF2B5EF4-FFF2-40B4-BE49-F238E27FC236}">
                  <a16:creationId xmlns:a16="http://schemas.microsoft.com/office/drawing/2014/main" id="{C5ACF8FB-5853-4CBA-A261-5B91416E59D4}"/>
                </a:ext>
              </a:extLst>
            </p:cNvPr>
            <p:cNvSpPr/>
            <p:nvPr/>
          </p:nvSpPr>
          <p:spPr>
            <a:xfrm>
              <a:off x="626478" y="4470459"/>
              <a:ext cx="984185" cy="952500"/>
            </a:xfrm>
            <a:custGeom>
              <a:avLst/>
              <a:gdLst>
                <a:gd name="connsiteX0" fmla="*/ 0 w 952500"/>
                <a:gd name="connsiteY0" fmla="*/ 0 h 952500"/>
                <a:gd name="connsiteX1" fmla="*/ 987743 w 952500"/>
                <a:gd name="connsiteY1" fmla="*/ 0 h 952500"/>
                <a:gd name="connsiteX2" fmla="*/ 987743 w 952500"/>
                <a:gd name="connsiteY2" fmla="*/ 987743 h 952500"/>
                <a:gd name="connsiteX3" fmla="*/ 0 w 952500"/>
                <a:gd name="connsiteY3" fmla="*/ 987743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87743" y="0"/>
                  </a:lnTo>
                  <a:lnTo>
                    <a:pt x="987743" y="987743"/>
                  </a:lnTo>
                  <a:lnTo>
                    <a:pt x="0" y="987743"/>
                  </a:lnTo>
                  <a:close/>
                </a:path>
              </a:pathLst>
            </a:custGeom>
            <a:noFill/>
            <a:ln w="95250" cap="flat">
              <a:noFill/>
              <a:prstDash val="solid"/>
              <a:miter/>
            </a:ln>
          </p:spPr>
          <p:txBody>
            <a:bodyPr rtlCol="0" anchor="ctr"/>
            <a:lstStyle/>
            <a:p>
              <a:endParaRPr lang="en-US" dirty="0"/>
            </a:p>
          </p:txBody>
        </p:sp>
        <p:sp>
          <p:nvSpPr>
            <p:cNvPr id="825" name="Freeform: Shape 824">
              <a:extLst>
                <a:ext uri="{FF2B5EF4-FFF2-40B4-BE49-F238E27FC236}">
                  <a16:creationId xmlns:a16="http://schemas.microsoft.com/office/drawing/2014/main" id="{E3450BA4-50FD-42FF-BACB-16062D0AED34}"/>
                </a:ext>
              </a:extLst>
            </p:cNvPr>
            <p:cNvSpPr/>
            <p:nvPr/>
          </p:nvSpPr>
          <p:spPr>
            <a:xfrm>
              <a:off x="694867" y="4470525"/>
              <a:ext cx="787348" cy="952500"/>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dirty="0"/>
            </a:p>
          </p:txBody>
        </p:sp>
      </p:grpSp>
      <p:grpSp>
        <p:nvGrpSpPr>
          <p:cNvPr id="827" name="Group 826">
            <a:extLst>
              <a:ext uri="{FF2B5EF4-FFF2-40B4-BE49-F238E27FC236}">
                <a16:creationId xmlns:a16="http://schemas.microsoft.com/office/drawing/2014/main" id="{473F0E63-6A02-4A0C-9DF8-E0AC48681481}"/>
              </a:ext>
            </a:extLst>
          </p:cNvPr>
          <p:cNvGrpSpPr/>
          <p:nvPr/>
        </p:nvGrpSpPr>
        <p:grpSpPr>
          <a:xfrm>
            <a:off x="3338836" y="4460161"/>
            <a:ext cx="461004" cy="446194"/>
            <a:chOff x="626478" y="4470459"/>
            <a:chExt cx="984185" cy="952566"/>
          </a:xfrm>
        </p:grpSpPr>
        <p:sp>
          <p:nvSpPr>
            <p:cNvPr id="859" name="Freeform: Shape 858">
              <a:extLst>
                <a:ext uri="{FF2B5EF4-FFF2-40B4-BE49-F238E27FC236}">
                  <a16:creationId xmlns:a16="http://schemas.microsoft.com/office/drawing/2014/main" id="{A8CFEC7F-80EB-4FE7-8439-8AD521DA0D61}"/>
                </a:ext>
              </a:extLst>
            </p:cNvPr>
            <p:cNvSpPr/>
            <p:nvPr/>
          </p:nvSpPr>
          <p:spPr>
            <a:xfrm>
              <a:off x="943238" y="4705251"/>
              <a:ext cx="295256" cy="476250"/>
            </a:xfrm>
            <a:custGeom>
              <a:avLst/>
              <a:gdLst>
                <a:gd name="connsiteX0" fmla="*/ 281429 w 285750"/>
                <a:gd name="connsiteY0" fmla="*/ 22858 h 476250"/>
                <a:gd name="connsiteX1" fmla="*/ 22859 w 285750"/>
                <a:gd name="connsiteY1" fmla="*/ 22858 h 476250"/>
                <a:gd name="connsiteX2" fmla="*/ 22859 w 285750"/>
                <a:gd name="connsiteY2" fmla="*/ 233401 h 476250"/>
                <a:gd name="connsiteX3" fmla="*/ 11430 w 285750"/>
                <a:gd name="connsiteY3" fmla="*/ 244830 h 476250"/>
                <a:gd name="connsiteX4" fmla="*/ 1 w 285750"/>
                <a:gd name="connsiteY4" fmla="*/ 233401 h 476250"/>
                <a:gd name="connsiteX5" fmla="*/ 1 w 285750"/>
                <a:gd name="connsiteY5" fmla="*/ 11429 h 476250"/>
                <a:gd name="connsiteX6" fmla="*/ 11430 w 285750"/>
                <a:gd name="connsiteY6" fmla="*/ 0 h 476250"/>
                <a:gd name="connsiteX7" fmla="*/ 289049 w 285750"/>
                <a:gd name="connsiteY7" fmla="*/ 0 h 476250"/>
                <a:gd name="connsiteX8" fmla="*/ 297162 w 285750"/>
                <a:gd name="connsiteY8" fmla="*/ 3381 h 476250"/>
                <a:gd name="connsiteX9" fmla="*/ 371269 w 285750"/>
                <a:gd name="connsiteY9" fmla="*/ 77487 h 476250"/>
                <a:gd name="connsiteX10" fmla="*/ 374617 w 285750"/>
                <a:gd name="connsiteY10" fmla="*/ 85568 h 476250"/>
                <a:gd name="connsiteX11" fmla="*/ 374617 w 285750"/>
                <a:gd name="connsiteY11" fmla="*/ 233401 h 476250"/>
                <a:gd name="connsiteX12" fmla="*/ 363188 w 285750"/>
                <a:gd name="connsiteY12" fmla="*/ 244830 h 476250"/>
                <a:gd name="connsiteX13" fmla="*/ 351759 w 285750"/>
                <a:gd name="connsiteY13" fmla="*/ 233401 h 476250"/>
                <a:gd name="connsiteX14" fmla="*/ 351759 w 285750"/>
                <a:gd name="connsiteY14" fmla="*/ 93187 h 476250"/>
                <a:gd name="connsiteX15" fmla="*/ 326118 w 285750"/>
                <a:gd name="connsiteY15" fmla="*/ 93187 h 476250"/>
                <a:gd name="connsiteX16" fmla="*/ 294551 w 285750"/>
                <a:gd name="connsiteY16" fmla="*/ 80066 h 476250"/>
                <a:gd name="connsiteX17" fmla="*/ 281430 w 285750"/>
                <a:gd name="connsiteY17" fmla="*/ 48498 h 476250"/>
                <a:gd name="connsiteX18" fmla="*/ 281430 w 285750"/>
                <a:gd name="connsiteY18" fmla="*/ 22858 h 476250"/>
                <a:gd name="connsiteX19" fmla="*/ 22859 w 285750"/>
                <a:gd name="connsiteY19" fmla="*/ 495300 h 476250"/>
                <a:gd name="connsiteX20" fmla="*/ 351758 w 285750"/>
                <a:gd name="connsiteY20" fmla="*/ 495300 h 476250"/>
                <a:gd name="connsiteX21" fmla="*/ 351758 w 285750"/>
                <a:gd name="connsiteY21" fmla="*/ 435748 h 476250"/>
                <a:gd name="connsiteX22" fmla="*/ 363188 w 285750"/>
                <a:gd name="connsiteY22" fmla="*/ 424319 h 476250"/>
                <a:gd name="connsiteX23" fmla="*/ 374617 w 285750"/>
                <a:gd name="connsiteY23" fmla="*/ 435748 h 476250"/>
                <a:gd name="connsiteX24" fmla="*/ 374617 w 285750"/>
                <a:gd name="connsiteY24" fmla="*/ 506730 h 476250"/>
                <a:gd name="connsiteX25" fmla="*/ 363188 w 285750"/>
                <a:gd name="connsiteY25" fmla="*/ 518159 h 476250"/>
                <a:gd name="connsiteX26" fmla="*/ 11429 w 285750"/>
                <a:gd name="connsiteY26" fmla="*/ 518159 h 476250"/>
                <a:gd name="connsiteX27" fmla="*/ 0 w 285750"/>
                <a:gd name="connsiteY27" fmla="*/ 506730 h 476250"/>
                <a:gd name="connsiteX28" fmla="*/ 0 w 285750"/>
                <a:gd name="connsiteY28" fmla="*/ 435748 h 476250"/>
                <a:gd name="connsiteX29" fmla="*/ 11429 w 285750"/>
                <a:gd name="connsiteY29" fmla="*/ 424319 h 476250"/>
                <a:gd name="connsiteX30" fmla="*/ 22858 w 285750"/>
                <a:gd name="connsiteY30" fmla="*/ 435748 h 476250"/>
                <a:gd name="connsiteX31" fmla="*/ 22858 w 285750"/>
                <a:gd name="connsiteY31" fmla="*/ 49530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476250">
                  <a:moveTo>
                    <a:pt x="281429" y="22858"/>
                  </a:moveTo>
                  <a:lnTo>
                    <a:pt x="22859" y="22858"/>
                  </a:lnTo>
                  <a:lnTo>
                    <a:pt x="22859" y="233401"/>
                  </a:lnTo>
                  <a:cubicBezTo>
                    <a:pt x="22859" y="239711"/>
                    <a:pt x="17740" y="244830"/>
                    <a:pt x="11430" y="244830"/>
                  </a:cubicBezTo>
                  <a:cubicBezTo>
                    <a:pt x="5119" y="244830"/>
                    <a:pt x="1" y="239711"/>
                    <a:pt x="1" y="233401"/>
                  </a:cubicBezTo>
                  <a:lnTo>
                    <a:pt x="1" y="11429"/>
                  </a:lnTo>
                  <a:cubicBezTo>
                    <a:pt x="1" y="5119"/>
                    <a:pt x="5119" y="0"/>
                    <a:pt x="11430" y="0"/>
                  </a:cubicBezTo>
                  <a:lnTo>
                    <a:pt x="289049" y="0"/>
                  </a:lnTo>
                  <a:cubicBezTo>
                    <a:pt x="292106" y="0"/>
                    <a:pt x="295004" y="1222"/>
                    <a:pt x="297162" y="3381"/>
                  </a:cubicBezTo>
                  <a:lnTo>
                    <a:pt x="371269" y="77487"/>
                  </a:lnTo>
                  <a:cubicBezTo>
                    <a:pt x="373417" y="79635"/>
                    <a:pt x="374617" y="82530"/>
                    <a:pt x="374617" y="85568"/>
                  </a:cubicBezTo>
                  <a:lnTo>
                    <a:pt x="374617" y="233401"/>
                  </a:lnTo>
                  <a:cubicBezTo>
                    <a:pt x="374617" y="239711"/>
                    <a:pt x="369498" y="244830"/>
                    <a:pt x="363188" y="244830"/>
                  </a:cubicBezTo>
                  <a:cubicBezTo>
                    <a:pt x="356877" y="244830"/>
                    <a:pt x="351759" y="239711"/>
                    <a:pt x="351759" y="233401"/>
                  </a:cubicBezTo>
                  <a:lnTo>
                    <a:pt x="351759" y="93187"/>
                  </a:lnTo>
                  <a:lnTo>
                    <a:pt x="326118" y="93187"/>
                  </a:lnTo>
                  <a:cubicBezTo>
                    <a:pt x="313821" y="93187"/>
                    <a:pt x="302647" y="88161"/>
                    <a:pt x="294551" y="80066"/>
                  </a:cubicBezTo>
                  <a:cubicBezTo>
                    <a:pt x="286456" y="71970"/>
                    <a:pt x="281430" y="60796"/>
                    <a:pt x="281430" y="48498"/>
                  </a:cubicBezTo>
                  <a:lnTo>
                    <a:pt x="281430" y="22858"/>
                  </a:lnTo>
                  <a:close/>
                  <a:moveTo>
                    <a:pt x="22859" y="495300"/>
                  </a:moveTo>
                  <a:lnTo>
                    <a:pt x="351758" y="495300"/>
                  </a:lnTo>
                  <a:lnTo>
                    <a:pt x="351758" y="435748"/>
                  </a:lnTo>
                  <a:cubicBezTo>
                    <a:pt x="351758" y="429437"/>
                    <a:pt x="356877" y="424319"/>
                    <a:pt x="363188" y="424319"/>
                  </a:cubicBezTo>
                  <a:cubicBezTo>
                    <a:pt x="369498" y="424319"/>
                    <a:pt x="374617" y="429438"/>
                    <a:pt x="374617" y="435748"/>
                  </a:cubicBezTo>
                  <a:lnTo>
                    <a:pt x="374617" y="506730"/>
                  </a:lnTo>
                  <a:cubicBezTo>
                    <a:pt x="374617" y="513040"/>
                    <a:pt x="369498" y="518159"/>
                    <a:pt x="363188" y="518159"/>
                  </a:cubicBezTo>
                  <a:lnTo>
                    <a:pt x="11429" y="518159"/>
                  </a:lnTo>
                  <a:cubicBezTo>
                    <a:pt x="5119" y="518159"/>
                    <a:pt x="0" y="513040"/>
                    <a:pt x="0" y="506730"/>
                  </a:cubicBezTo>
                  <a:lnTo>
                    <a:pt x="0" y="435748"/>
                  </a:lnTo>
                  <a:cubicBezTo>
                    <a:pt x="0" y="429437"/>
                    <a:pt x="5119" y="424319"/>
                    <a:pt x="11429" y="424319"/>
                  </a:cubicBezTo>
                  <a:cubicBezTo>
                    <a:pt x="17740" y="424319"/>
                    <a:pt x="22858" y="429438"/>
                    <a:pt x="22858" y="435748"/>
                  </a:cubicBezTo>
                  <a:lnTo>
                    <a:pt x="22858" y="495300"/>
                  </a:lnTo>
                  <a:close/>
                </a:path>
              </a:pathLst>
            </a:custGeom>
            <a:solidFill>
              <a:schemeClr val="accent4"/>
            </a:solidFill>
            <a:ln w="95250" cap="flat">
              <a:noFill/>
              <a:prstDash val="solid"/>
              <a:miter/>
            </a:ln>
          </p:spPr>
          <p:txBody>
            <a:bodyPr rtlCol="0" anchor="ctr"/>
            <a:lstStyle/>
            <a:p>
              <a:endParaRPr lang="en-US" dirty="0"/>
            </a:p>
          </p:txBody>
        </p:sp>
        <p:sp>
          <p:nvSpPr>
            <p:cNvPr id="860" name="Freeform: Shape 859">
              <a:extLst>
                <a:ext uri="{FF2B5EF4-FFF2-40B4-BE49-F238E27FC236}">
                  <a16:creationId xmlns:a16="http://schemas.microsoft.com/office/drawing/2014/main" id="{5AD7E9C8-D42E-4791-8058-32024D2CC991}"/>
                </a:ext>
              </a:extLst>
            </p:cNvPr>
            <p:cNvSpPr/>
            <p:nvPr/>
          </p:nvSpPr>
          <p:spPr>
            <a:xfrm>
              <a:off x="1022469" y="4836528"/>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67" name="Freeform: Shape 866">
              <a:extLst>
                <a:ext uri="{FF2B5EF4-FFF2-40B4-BE49-F238E27FC236}">
                  <a16:creationId xmlns:a16="http://schemas.microsoft.com/office/drawing/2014/main" id="{6CC2A3E7-8EB4-4DC8-ADF4-3F988E31FC4C}"/>
                </a:ext>
              </a:extLst>
            </p:cNvPr>
            <p:cNvSpPr/>
            <p:nvPr/>
          </p:nvSpPr>
          <p:spPr>
            <a:xfrm>
              <a:off x="1022469" y="4881732"/>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68" name="Freeform: Shape 867">
              <a:extLst>
                <a:ext uri="{FF2B5EF4-FFF2-40B4-BE49-F238E27FC236}">
                  <a16:creationId xmlns:a16="http://schemas.microsoft.com/office/drawing/2014/main" id="{7A6825EF-3097-44F8-9643-390E4038119B}"/>
                </a:ext>
              </a:extLst>
            </p:cNvPr>
            <p:cNvSpPr/>
            <p:nvPr/>
          </p:nvSpPr>
          <p:spPr>
            <a:xfrm>
              <a:off x="1022469" y="4791322"/>
              <a:ext cx="98419" cy="95250"/>
            </a:xfrm>
            <a:custGeom>
              <a:avLst/>
              <a:gdLst>
                <a:gd name="connsiteX0" fmla="*/ 0 w 95250"/>
                <a:gd name="connsiteY0" fmla="*/ 0 h 0"/>
                <a:gd name="connsiteX1" fmla="*/ 156437 w 95250"/>
                <a:gd name="connsiteY1" fmla="*/ 0 h 0"/>
                <a:gd name="connsiteX2" fmla="*/ 156437 w 95250"/>
                <a:gd name="connsiteY2" fmla="*/ 19049 h 0"/>
                <a:gd name="connsiteX3" fmla="*/ 0 w 95250"/>
                <a:gd name="connsiteY3" fmla="*/ 19049 h 0"/>
              </a:gdLst>
              <a:ahLst/>
              <a:cxnLst>
                <a:cxn ang="0">
                  <a:pos x="connsiteX0" y="connsiteY0"/>
                </a:cxn>
                <a:cxn ang="0">
                  <a:pos x="connsiteX1" y="connsiteY1"/>
                </a:cxn>
                <a:cxn ang="0">
                  <a:pos x="connsiteX2" y="connsiteY2"/>
                </a:cxn>
                <a:cxn ang="0">
                  <a:pos x="connsiteX3" y="connsiteY3"/>
                </a:cxn>
              </a:cxnLst>
              <a:rect l="l" t="t" r="r" b="b"/>
              <a:pathLst>
                <a:path w="95250">
                  <a:moveTo>
                    <a:pt x="0" y="0"/>
                  </a:moveTo>
                  <a:lnTo>
                    <a:pt x="156437" y="0"/>
                  </a:lnTo>
                  <a:lnTo>
                    <a:pt x="156437"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1019" name="Freeform: Shape 1018">
              <a:extLst>
                <a:ext uri="{FF2B5EF4-FFF2-40B4-BE49-F238E27FC236}">
                  <a16:creationId xmlns:a16="http://schemas.microsoft.com/office/drawing/2014/main" id="{A10444EE-A5A3-486E-8AF4-87D42A61DBC1}"/>
                </a:ext>
              </a:extLst>
            </p:cNvPr>
            <p:cNvSpPr/>
            <p:nvPr/>
          </p:nvSpPr>
          <p:spPr>
            <a:xfrm>
              <a:off x="895835" y="4931032"/>
              <a:ext cx="393674" cy="190500"/>
            </a:xfrm>
            <a:custGeom>
              <a:avLst/>
              <a:gdLst>
                <a:gd name="connsiteX0" fmla="*/ 96110 w 381000"/>
                <a:gd name="connsiteY0" fmla="*/ 157146 h 190500"/>
                <a:gd name="connsiteX1" fmla="*/ 96110 w 381000"/>
                <a:gd name="connsiteY1" fmla="*/ 61229 h 190500"/>
                <a:gd name="connsiteX2" fmla="*/ 115632 w 381000"/>
                <a:gd name="connsiteY2" fmla="*/ 61229 h 190500"/>
                <a:gd name="connsiteX3" fmla="*/ 115632 w 381000"/>
                <a:gd name="connsiteY3" fmla="*/ 140845 h 190500"/>
                <a:gd name="connsiteX4" fmla="*/ 164175 w 381000"/>
                <a:gd name="connsiteY4" fmla="*/ 140845 h 190500"/>
                <a:gd name="connsiteX5" fmla="*/ 164175 w 381000"/>
                <a:gd name="connsiteY5" fmla="*/ 157146 h 190500"/>
                <a:gd name="connsiteX6" fmla="*/ 96110 w 381000"/>
                <a:gd name="connsiteY6" fmla="*/ 157146 h 190500"/>
                <a:gd name="connsiteX7" fmla="*/ 174150 w 381000"/>
                <a:gd name="connsiteY7" fmla="*/ 109390 h 190500"/>
                <a:gd name="connsiteX8" fmla="*/ 178563 w 381000"/>
                <a:gd name="connsiteY8" fmla="*/ 84578 h 190500"/>
                <a:gd name="connsiteX9" fmla="*/ 187569 w 381000"/>
                <a:gd name="connsiteY9" fmla="*/ 71316 h 190500"/>
                <a:gd name="connsiteX10" fmla="*/ 200066 w 381000"/>
                <a:gd name="connsiteY10" fmla="*/ 62625 h 190500"/>
                <a:gd name="connsiteX11" fmla="*/ 220915 w 381000"/>
                <a:gd name="connsiteY11" fmla="*/ 58797 h 190500"/>
                <a:gd name="connsiteX12" fmla="*/ 255117 w 381000"/>
                <a:gd name="connsiteY12" fmla="*/ 72059 h 190500"/>
                <a:gd name="connsiteX13" fmla="*/ 267951 w 381000"/>
                <a:gd name="connsiteY13" fmla="*/ 108917 h 190500"/>
                <a:gd name="connsiteX14" fmla="*/ 255207 w 381000"/>
                <a:gd name="connsiteY14" fmla="*/ 145573 h 190500"/>
                <a:gd name="connsiteX15" fmla="*/ 221185 w 381000"/>
                <a:gd name="connsiteY15" fmla="*/ 158790 h 190500"/>
                <a:gd name="connsiteX16" fmla="*/ 186871 w 381000"/>
                <a:gd name="connsiteY16" fmla="*/ 145641 h 190500"/>
                <a:gd name="connsiteX17" fmla="*/ 174150 w 381000"/>
                <a:gd name="connsiteY17" fmla="*/ 109390 h 190500"/>
                <a:gd name="connsiteX18" fmla="*/ 279817 w 381000"/>
                <a:gd name="connsiteY18" fmla="*/ 108467 h 190500"/>
                <a:gd name="connsiteX19" fmla="*/ 286144 w 381000"/>
                <a:gd name="connsiteY19" fmla="*/ 81606 h 190500"/>
                <a:gd name="connsiteX20" fmla="*/ 304697 w 381000"/>
                <a:gd name="connsiteY20" fmla="*/ 63615 h 190500"/>
                <a:gd name="connsiteX21" fmla="*/ 327844 w 381000"/>
                <a:gd name="connsiteY21" fmla="*/ 58797 h 190500"/>
                <a:gd name="connsiteX22" fmla="*/ 355966 w 381000"/>
                <a:gd name="connsiteY22" fmla="*/ 66340 h 190500"/>
                <a:gd name="connsiteX23" fmla="*/ 369002 w 381000"/>
                <a:gd name="connsiteY23" fmla="*/ 87235 h 190500"/>
                <a:gd name="connsiteX24" fmla="*/ 349616 w 381000"/>
                <a:gd name="connsiteY24" fmla="*/ 90860 h 190500"/>
                <a:gd name="connsiteX25" fmla="*/ 341916 w 381000"/>
                <a:gd name="connsiteY25" fmla="*/ 79602 h 190500"/>
                <a:gd name="connsiteX26" fmla="*/ 327844 w 381000"/>
                <a:gd name="connsiteY26" fmla="*/ 75481 h 190500"/>
                <a:gd name="connsiteX27" fmla="*/ 307489 w 381000"/>
                <a:gd name="connsiteY27" fmla="*/ 83587 h 190500"/>
                <a:gd name="connsiteX28" fmla="*/ 299947 w 381000"/>
                <a:gd name="connsiteY28" fmla="*/ 107679 h 190500"/>
                <a:gd name="connsiteX29" fmla="*/ 307602 w 381000"/>
                <a:gd name="connsiteY29" fmla="*/ 133505 h 190500"/>
                <a:gd name="connsiteX30" fmla="*/ 327641 w 381000"/>
                <a:gd name="connsiteY30" fmla="*/ 142106 h 190500"/>
                <a:gd name="connsiteX31" fmla="*/ 339957 w 381000"/>
                <a:gd name="connsiteY31" fmla="*/ 139697 h 190500"/>
                <a:gd name="connsiteX32" fmla="*/ 350539 w 381000"/>
                <a:gd name="connsiteY32" fmla="*/ 133865 h 190500"/>
                <a:gd name="connsiteX33" fmla="*/ 350539 w 381000"/>
                <a:gd name="connsiteY33" fmla="*/ 121594 h 190500"/>
                <a:gd name="connsiteX34" fmla="*/ 328181 w 381000"/>
                <a:gd name="connsiteY34" fmla="*/ 121594 h 190500"/>
                <a:gd name="connsiteX35" fmla="*/ 328181 w 381000"/>
                <a:gd name="connsiteY35" fmla="*/ 105292 h 190500"/>
                <a:gd name="connsiteX36" fmla="*/ 370263 w 381000"/>
                <a:gd name="connsiteY36" fmla="*/ 105292 h 190500"/>
                <a:gd name="connsiteX37" fmla="*/ 370263 w 381000"/>
                <a:gd name="connsiteY37" fmla="*/ 143817 h 190500"/>
                <a:gd name="connsiteX38" fmla="*/ 352476 w 381000"/>
                <a:gd name="connsiteY38" fmla="*/ 154287 h 190500"/>
                <a:gd name="connsiteX39" fmla="*/ 328902 w 381000"/>
                <a:gd name="connsiteY39" fmla="*/ 158790 h 190500"/>
                <a:gd name="connsiteX40" fmla="*/ 302446 w 381000"/>
                <a:gd name="connsiteY40" fmla="*/ 152440 h 190500"/>
                <a:gd name="connsiteX41" fmla="*/ 285491 w 381000"/>
                <a:gd name="connsiteY41" fmla="*/ 134225 h 190500"/>
                <a:gd name="connsiteX42" fmla="*/ 279817 w 381000"/>
                <a:gd name="connsiteY42" fmla="*/ 108467 h 190500"/>
                <a:gd name="connsiteX43" fmla="*/ 68737 w 381000"/>
                <a:gd name="connsiteY43" fmla="*/ 217587 h 190500"/>
                <a:gd name="connsiteX44" fmla="*/ 397636 w 381000"/>
                <a:gd name="connsiteY44" fmla="*/ 217587 h 190500"/>
                <a:gd name="connsiteX45" fmla="*/ 420494 w 381000"/>
                <a:gd name="connsiteY45" fmla="*/ 217587 h 190500"/>
                <a:gd name="connsiteX46" fmla="*/ 458753 w 381000"/>
                <a:gd name="connsiteY46" fmla="*/ 217587 h 190500"/>
                <a:gd name="connsiteX47" fmla="*/ 466373 w 381000"/>
                <a:gd name="connsiteY47" fmla="*/ 209967 h 190500"/>
                <a:gd name="connsiteX48" fmla="*/ 466373 w 381000"/>
                <a:gd name="connsiteY48" fmla="*/ 7620 h 190500"/>
                <a:gd name="connsiteX49" fmla="*/ 458753 w 381000"/>
                <a:gd name="connsiteY49" fmla="*/ 0 h 190500"/>
                <a:gd name="connsiteX50" fmla="*/ 420494 w 381000"/>
                <a:gd name="connsiteY50" fmla="*/ 0 h 190500"/>
                <a:gd name="connsiteX51" fmla="*/ 397636 w 381000"/>
                <a:gd name="connsiteY51" fmla="*/ 0 h 190500"/>
                <a:gd name="connsiteX52" fmla="*/ 68737 w 381000"/>
                <a:gd name="connsiteY52" fmla="*/ 0 h 190500"/>
                <a:gd name="connsiteX53" fmla="*/ 45878 w 381000"/>
                <a:gd name="connsiteY53" fmla="*/ 0 h 190500"/>
                <a:gd name="connsiteX54" fmla="*/ 7620 w 381000"/>
                <a:gd name="connsiteY54" fmla="*/ 0 h 190500"/>
                <a:gd name="connsiteX55" fmla="*/ 0 w 381000"/>
                <a:gd name="connsiteY55" fmla="*/ 7620 h 190500"/>
                <a:gd name="connsiteX56" fmla="*/ 0 w 381000"/>
                <a:gd name="connsiteY56" fmla="*/ 209967 h 190500"/>
                <a:gd name="connsiteX57" fmla="*/ 7620 w 381000"/>
                <a:gd name="connsiteY57" fmla="*/ 217587 h 190500"/>
                <a:gd name="connsiteX58" fmla="*/ 45878 w 381000"/>
                <a:gd name="connsiteY58" fmla="*/ 217587 h 190500"/>
                <a:gd name="connsiteX59" fmla="*/ 68737 w 381000"/>
                <a:gd name="connsiteY59" fmla="*/ 21758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1000" h="190500">
                  <a:moveTo>
                    <a:pt x="96110" y="157146"/>
                  </a:moveTo>
                  <a:lnTo>
                    <a:pt x="96110" y="61229"/>
                  </a:lnTo>
                  <a:lnTo>
                    <a:pt x="115632" y="61229"/>
                  </a:lnTo>
                  <a:lnTo>
                    <a:pt x="115632" y="140845"/>
                  </a:lnTo>
                  <a:lnTo>
                    <a:pt x="164175" y="140845"/>
                  </a:lnTo>
                  <a:lnTo>
                    <a:pt x="164175" y="157146"/>
                  </a:lnTo>
                  <a:lnTo>
                    <a:pt x="96110" y="157146"/>
                  </a:lnTo>
                  <a:close/>
                  <a:moveTo>
                    <a:pt x="174150" y="109390"/>
                  </a:moveTo>
                  <a:cubicBezTo>
                    <a:pt x="174150" y="99528"/>
                    <a:pt x="175613" y="91265"/>
                    <a:pt x="178563" y="84578"/>
                  </a:cubicBezTo>
                  <a:cubicBezTo>
                    <a:pt x="180769" y="79669"/>
                    <a:pt x="183764" y="75234"/>
                    <a:pt x="187569" y="71316"/>
                  </a:cubicBezTo>
                  <a:cubicBezTo>
                    <a:pt x="191374" y="67421"/>
                    <a:pt x="195540" y="64516"/>
                    <a:pt x="200066" y="62625"/>
                  </a:cubicBezTo>
                  <a:cubicBezTo>
                    <a:pt x="206100" y="60058"/>
                    <a:pt x="213035" y="58797"/>
                    <a:pt x="220915" y="58797"/>
                  </a:cubicBezTo>
                  <a:cubicBezTo>
                    <a:pt x="235168" y="58797"/>
                    <a:pt x="246561" y="63210"/>
                    <a:pt x="255117" y="72059"/>
                  </a:cubicBezTo>
                  <a:cubicBezTo>
                    <a:pt x="263673" y="80885"/>
                    <a:pt x="267951" y="93179"/>
                    <a:pt x="267951" y="108917"/>
                  </a:cubicBezTo>
                  <a:cubicBezTo>
                    <a:pt x="267951" y="124544"/>
                    <a:pt x="263695" y="136747"/>
                    <a:pt x="255207" y="145573"/>
                  </a:cubicBezTo>
                  <a:cubicBezTo>
                    <a:pt x="246718" y="154377"/>
                    <a:pt x="235371" y="158790"/>
                    <a:pt x="221185" y="158790"/>
                  </a:cubicBezTo>
                  <a:cubicBezTo>
                    <a:pt x="206798" y="158790"/>
                    <a:pt x="195360" y="154400"/>
                    <a:pt x="186871" y="145641"/>
                  </a:cubicBezTo>
                  <a:cubicBezTo>
                    <a:pt x="178383" y="136860"/>
                    <a:pt x="174150" y="124769"/>
                    <a:pt x="174150" y="109390"/>
                  </a:cubicBezTo>
                  <a:close/>
                  <a:moveTo>
                    <a:pt x="279817" y="108467"/>
                  </a:moveTo>
                  <a:cubicBezTo>
                    <a:pt x="279817" y="98403"/>
                    <a:pt x="281934" y="89441"/>
                    <a:pt x="286144" y="81606"/>
                  </a:cubicBezTo>
                  <a:cubicBezTo>
                    <a:pt x="290377" y="73793"/>
                    <a:pt x="296547" y="67781"/>
                    <a:pt x="304697" y="63615"/>
                  </a:cubicBezTo>
                  <a:cubicBezTo>
                    <a:pt x="310889" y="60396"/>
                    <a:pt x="318612" y="58797"/>
                    <a:pt x="327844" y="58797"/>
                  </a:cubicBezTo>
                  <a:cubicBezTo>
                    <a:pt x="339845" y="58797"/>
                    <a:pt x="349234" y="61319"/>
                    <a:pt x="355966" y="66340"/>
                  </a:cubicBezTo>
                  <a:cubicBezTo>
                    <a:pt x="362720" y="71384"/>
                    <a:pt x="367066" y="78341"/>
                    <a:pt x="369002" y="87235"/>
                  </a:cubicBezTo>
                  <a:lnTo>
                    <a:pt x="349616" y="90860"/>
                  </a:lnTo>
                  <a:cubicBezTo>
                    <a:pt x="348243" y="86109"/>
                    <a:pt x="345676" y="82348"/>
                    <a:pt x="341916" y="79602"/>
                  </a:cubicBezTo>
                  <a:cubicBezTo>
                    <a:pt x="338156" y="76855"/>
                    <a:pt x="333473" y="75481"/>
                    <a:pt x="327844" y="75481"/>
                  </a:cubicBezTo>
                  <a:cubicBezTo>
                    <a:pt x="319310" y="75481"/>
                    <a:pt x="312533" y="78183"/>
                    <a:pt x="307489" y="83587"/>
                  </a:cubicBezTo>
                  <a:cubicBezTo>
                    <a:pt x="302446" y="89013"/>
                    <a:pt x="299947" y="97029"/>
                    <a:pt x="299947" y="107679"/>
                  </a:cubicBezTo>
                  <a:cubicBezTo>
                    <a:pt x="299947" y="119140"/>
                    <a:pt x="302491" y="127763"/>
                    <a:pt x="307602" y="133505"/>
                  </a:cubicBezTo>
                  <a:cubicBezTo>
                    <a:pt x="312691" y="139246"/>
                    <a:pt x="319378" y="142106"/>
                    <a:pt x="327641" y="142106"/>
                  </a:cubicBezTo>
                  <a:cubicBezTo>
                    <a:pt x="331739" y="142106"/>
                    <a:pt x="335837" y="141295"/>
                    <a:pt x="339957" y="139697"/>
                  </a:cubicBezTo>
                  <a:cubicBezTo>
                    <a:pt x="344055" y="138098"/>
                    <a:pt x="347590" y="136139"/>
                    <a:pt x="350539" y="133865"/>
                  </a:cubicBezTo>
                  <a:lnTo>
                    <a:pt x="350539" y="121594"/>
                  </a:lnTo>
                  <a:lnTo>
                    <a:pt x="328181" y="121594"/>
                  </a:lnTo>
                  <a:lnTo>
                    <a:pt x="328181" y="105292"/>
                  </a:lnTo>
                  <a:lnTo>
                    <a:pt x="370263" y="105292"/>
                  </a:lnTo>
                  <a:lnTo>
                    <a:pt x="370263" y="143817"/>
                  </a:lnTo>
                  <a:cubicBezTo>
                    <a:pt x="366165" y="147780"/>
                    <a:pt x="360244" y="151270"/>
                    <a:pt x="352476" y="154287"/>
                  </a:cubicBezTo>
                  <a:cubicBezTo>
                    <a:pt x="344708" y="157281"/>
                    <a:pt x="336850" y="158790"/>
                    <a:pt x="328902" y="158790"/>
                  </a:cubicBezTo>
                  <a:cubicBezTo>
                    <a:pt x="318792" y="158790"/>
                    <a:pt x="309966" y="156673"/>
                    <a:pt x="302446" y="152440"/>
                  </a:cubicBezTo>
                  <a:cubicBezTo>
                    <a:pt x="294926" y="148185"/>
                    <a:pt x="289274" y="142128"/>
                    <a:pt x="285491" y="134225"/>
                  </a:cubicBezTo>
                  <a:cubicBezTo>
                    <a:pt x="281709" y="126322"/>
                    <a:pt x="279817" y="117744"/>
                    <a:pt x="279817" y="108467"/>
                  </a:cubicBezTo>
                  <a:close/>
                  <a:moveTo>
                    <a:pt x="68737" y="217587"/>
                  </a:moveTo>
                  <a:lnTo>
                    <a:pt x="397636" y="217587"/>
                  </a:lnTo>
                  <a:lnTo>
                    <a:pt x="420494" y="217587"/>
                  </a:lnTo>
                  <a:lnTo>
                    <a:pt x="458753" y="217587"/>
                  </a:lnTo>
                  <a:cubicBezTo>
                    <a:pt x="462961" y="217587"/>
                    <a:pt x="466373" y="214175"/>
                    <a:pt x="466373" y="209967"/>
                  </a:cubicBezTo>
                  <a:lnTo>
                    <a:pt x="466373" y="7620"/>
                  </a:lnTo>
                  <a:cubicBezTo>
                    <a:pt x="466373" y="3412"/>
                    <a:pt x="462961" y="0"/>
                    <a:pt x="458753" y="0"/>
                  </a:cubicBezTo>
                  <a:lnTo>
                    <a:pt x="420494" y="0"/>
                  </a:lnTo>
                  <a:lnTo>
                    <a:pt x="397636" y="0"/>
                  </a:lnTo>
                  <a:lnTo>
                    <a:pt x="68737" y="0"/>
                  </a:lnTo>
                  <a:lnTo>
                    <a:pt x="45878" y="0"/>
                  </a:lnTo>
                  <a:lnTo>
                    <a:pt x="7620" y="0"/>
                  </a:lnTo>
                  <a:cubicBezTo>
                    <a:pt x="3412" y="0"/>
                    <a:pt x="0" y="3412"/>
                    <a:pt x="0" y="7620"/>
                  </a:cubicBezTo>
                  <a:lnTo>
                    <a:pt x="0" y="209967"/>
                  </a:lnTo>
                  <a:cubicBezTo>
                    <a:pt x="0" y="214175"/>
                    <a:pt x="3412" y="217587"/>
                    <a:pt x="7620" y="217587"/>
                  </a:cubicBezTo>
                  <a:lnTo>
                    <a:pt x="45878" y="217587"/>
                  </a:lnTo>
                  <a:lnTo>
                    <a:pt x="68737" y="217587"/>
                  </a:lnTo>
                  <a:close/>
                </a:path>
              </a:pathLst>
            </a:custGeom>
            <a:solidFill>
              <a:schemeClr val="accent2"/>
            </a:solidFill>
            <a:ln w="95250" cap="flat">
              <a:noFill/>
              <a:prstDash val="solid"/>
              <a:miter/>
            </a:ln>
          </p:spPr>
          <p:txBody>
            <a:bodyPr rtlCol="0" anchor="ctr"/>
            <a:lstStyle/>
            <a:p>
              <a:endParaRPr lang="en-US" dirty="0"/>
            </a:p>
          </p:txBody>
        </p:sp>
        <p:sp>
          <p:nvSpPr>
            <p:cNvPr id="1022" name="Freeform: Shape 1021">
              <a:extLst>
                <a:ext uri="{FF2B5EF4-FFF2-40B4-BE49-F238E27FC236}">
                  <a16:creationId xmlns:a16="http://schemas.microsoft.com/office/drawing/2014/main" id="{06FF1B0E-CD65-41C4-88D1-53858617E82D}"/>
                </a:ext>
              </a:extLst>
            </p:cNvPr>
            <p:cNvSpPr/>
            <p:nvPr/>
          </p:nvSpPr>
          <p:spPr>
            <a:xfrm>
              <a:off x="1096554" y="5006513"/>
              <a:ext cx="53497" cy="66625"/>
            </a:xfrm>
            <a:custGeom>
              <a:avLst/>
              <a:gdLst>
                <a:gd name="connsiteX0" fmla="*/ 26861 w 53497"/>
                <a:gd name="connsiteY0" fmla="*/ 0 h 66625"/>
                <a:gd name="connsiteX1" fmla="*/ 46225 w 53497"/>
                <a:gd name="connsiteY1" fmla="*/ 8174 h 66625"/>
                <a:gd name="connsiteX2" fmla="*/ 53497 w 53497"/>
                <a:gd name="connsiteY2" fmla="*/ 32986 h 66625"/>
                <a:gd name="connsiteX3" fmla="*/ 46022 w 53497"/>
                <a:gd name="connsiteY3" fmla="*/ 58204 h 66625"/>
                <a:gd name="connsiteX4" fmla="*/ 26861 w 53497"/>
                <a:gd name="connsiteY4" fmla="*/ 66625 h 66625"/>
                <a:gd name="connsiteX5" fmla="*/ 7588 w 53497"/>
                <a:gd name="connsiteY5" fmla="*/ 58159 h 66625"/>
                <a:gd name="connsiteX6" fmla="*/ 0 w 53497"/>
                <a:gd name="connsiteY6" fmla="*/ 33256 h 66625"/>
                <a:gd name="connsiteX7" fmla="*/ 7385 w 53497"/>
                <a:gd name="connsiteY7" fmla="*/ 8286 h 66625"/>
                <a:gd name="connsiteX8" fmla="*/ 26861 w 53497"/>
                <a:gd name="connsiteY8" fmla="*/ 0 h 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97" h="66625">
                  <a:moveTo>
                    <a:pt x="26861" y="0"/>
                  </a:moveTo>
                  <a:cubicBezTo>
                    <a:pt x="34899" y="0"/>
                    <a:pt x="41362" y="2725"/>
                    <a:pt x="46225" y="8174"/>
                  </a:cubicBezTo>
                  <a:cubicBezTo>
                    <a:pt x="51066" y="13645"/>
                    <a:pt x="53497" y="21908"/>
                    <a:pt x="53497" y="32986"/>
                  </a:cubicBezTo>
                  <a:cubicBezTo>
                    <a:pt x="53497" y="44199"/>
                    <a:pt x="50998" y="52597"/>
                    <a:pt x="46022" y="58204"/>
                  </a:cubicBezTo>
                  <a:cubicBezTo>
                    <a:pt x="41024" y="63832"/>
                    <a:pt x="34629" y="66625"/>
                    <a:pt x="26861" y="66625"/>
                  </a:cubicBezTo>
                  <a:cubicBezTo>
                    <a:pt x="19071" y="66625"/>
                    <a:pt x="12654" y="63810"/>
                    <a:pt x="7588" y="58159"/>
                  </a:cubicBezTo>
                  <a:cubicBezTo>
                    <a:pt x="2544" y="52507"/>
                    <a:pt x="0" y="44199"/>
                    <a:pt x="0" y="33256"/>
                  </a:cubicBezTo>
                  <a:cubicBezTo>
                    <a:pt x="0" y="22111"/>
                    <a:pt x="2477" y="13802"/>
                    <a:pt x="7385" y="8286"/>
                  </a:cubicBezTo>
                  <a:cubicBezTo>
                    <a:pt x="12316" y="2770"/>
                    <a:pt x="18801" y="0"/>
                    <a:pt x="26861" y="0"/>
                  </a:cubicBezTo>
                  <a:close/>
                </a:path>
              </a:pathLst>
            </a:custGeom>
            <a:solidFill>
              <a:schemeClr val="accent2"/>
            </a:solidFill>
            <a:ln w="95250" cap="flat">
              <a:noFill/>
              <a:prstDash val="solid"/>
              <a:miter/>
            </a:ln>
          </p:spPr>
          <p:txBody>
            <a:bodyPr rtlCol="0" anchor="ctr"/>
            <a:lstStyle/>
            <a:p>
              <a:endParaRPr lang="en-US" dirty="0"/>
            </a:p>
          </p:txBody>
        </p:sp>
        <p:sp>
          <p:nvSpPr>
            <p:cNvPr id="1023" name="Freeform: Shape 1022">
              <a:extLst>
                <a:ext uri="{FF2B5EF4-FFF2-40B4-BE49-F238E27FC236}">
                  <a16:creationId xmlns:a16="http://schemas.microsoft.com/office/drawing/2014/main" id="{7A88B4F8-D3F6-4D0C-8ABD-8D342CA4D942}"/>
                </a:ext>
              </a:extLst>
            </p:cNvPr>
            <p:cNvSpPr/>
            <p:nvPr/>
          </p:nvSpPr>
          <p:spPr>
            <a:xfrm>
              <a:off x="626478" y="4470459"/>
              <a:ext cx="984185" cy="952500"/>
            </a:xfrm>
            <a:custGeom>
              <a:avLst/>
              <a:gdLst>
                <a:gd name="connsiteX0" fmla="*/ 0 w 952500"/>
                <a:gd name="connsiteY0" fmla="*/ 0 h 952500"/>
                <a:gd name="connsiteX1" fmla="*/ 987743 w 952500"/>
                <a:gd name="connsiteY1" fmla="*/ 0 h 952500"/>
                <a:gd name="connsiteX2" fmla="*/ 987743 w 952500"/>
                <a:gd name="connsiteY2" fmla="*/ 987743 h 952500"/>
                <a:gd name="connsiteX3" fmla="*/ 0 w 952500"/>
                <a:gd name="connsiteY3" fmla="*/ 987743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87743" y="0"/>
                  </a:lnTo>
                  <a:lnTo>
                    <a:pt x="987743" y="987743"/>
                  </a:lnTo>
                  <a:lnTo>
                    <a:pt x="0" y="987743"/>
                  </a:lnTo>
                  <a:close/>
                </a:path>
              </a:pathLst>
            </a:custGeom>
            <a:noFill/>
            <a:ln w="95250" cap="flat">
              <a:noFill/>
              <a:prstDash val="solid"/>
              <a:miter/>
            </a:ln>
          </p:spPr>
          <p:txBody>
            <a:bodyPr rtlCol="0" anchor="ctr"/>
            <a:lstStyle/>
            <a:p>
              <a:endParaRPr lang="en-US" dirty="0"/>
            </a:p>
          </p:txBody>
        </p:sp>
        <p:sp>
          <p:nvSpPr>
            <p:cNvPr id="1024" name="Freeform: Shape 1023">
              <a:extLst>
                <a:ext uri="{FF2B5EF4-FFF2-40B4-BE49-F238E27FC236}">
                  <a16:creationId xmlns:a16="http://schemas.microsoft.com/office/drawing/2014/main" id="{EC724B5E-80F5-4BDD-9FF7-C237DECBA0E9}"/>
                </a:ext>
              </a:extLst>
            </p:cNvPr>
            <p:cNvSpPr/>
            <p:nvPr/>
          </p:nvSpPr>
          <p:spPr>
            <a:xfrm>
              <a:off x="694867" y="4470525"/>
              <a:ext cx="787348" cy="952500"/>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dirty="0"/>
            </a:p>
          </p:txBody>
        </p:sp>
      </p:grpSp>
      <p:cxnSp>
        <p:nvCxnSpPr>
          <p:cNvPr id="41" name="Straight Connector 40">
            <a:extLst>
              <a:ext uri="{FF2B5EF4-FFF2-40B4-BE49-F238E27FC236}">
                <a16:creationId xmlns:a16="http://schemas.microsoft.com/office/drawing/2014/main" id="{EFF99C29-3672-4A36-8830-2B221A7FCBE3}"/>
              </a:ext>
            </a:extLst>
          </p:cNvPr>
          <p:cNvCxnSpPr>
            <a:cxnSpLocks/>
            <a:stCxn id="384" idx="13"/>
          </p:cNvCxnSpPr>
          <p:nvPr/>
        </p:nvCxnSpPr>
        <p:spPr>
          <a:xfrm>
            <a:off x="1036365" y="4922801"/>
            <a:ext cx="0" cy="7093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1" name="Oval 1000">
            <a:extLst>
              <a:ext uri="{FF2B5EF4-FFF2-40B4-BE49-F238E27FC236}">
                <a16:creationId xmlns:a16="http://schemas.microsoft.com/office/drawing/2014/main" id="{3DF53E54-E61D-4E1A-998D-3910C7B18DC0}"/>
              </a:ext>
            </a:extLst>
          </p:cNvPr>
          <p:cNvSpPr/>
          <p:nvPr/>
        </p:nvSpPr>
        <p:spPr bwMode="auto">
          <a:xfrm>
            <a:off x="980709" y="4993735"/>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02" name="Straight Connector 1001">
            <a:extLst>
              <a:ext uri="{FF2B5EF4-FFF2-40B4-BE49-F238E27FC236}">
                <a16:creationId xmlns:a16="http://schemas.microsoft.com/office/drawing/2014/main" id="{C26C5B46-57E8-46B9-B4A1-2F2D02ACDA62}"/>
              </a:ext>
            </a:extLst>
          </p:cNvPr>
          <p:cNvCxnSpPr>
            <a:cxnSpLocks/>
            <a:stCxn id="1003" idx="0"/>
            <a:endCxn id="807" idx="14"/>
          </p:cNvCxnSpPr>
          <p:nvPr/>
        </p:nvCxnSpPr>
        <p:spPr>
          <a:xfrm flipV="1">
            <a:off x="1663213" y="4920740"/>
            <a:ext cx="0" cy="7299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3" name="Oval 1002">
            <a:extLst>
              <a:ext uri="{FF2B5EF4-FFF2-40B4-BE49-F238E27FC236}">
                <a16:creationId xmlns:a16="http://schemas.microsoft.com/office/drawing/2014/main" id="{379D6BC6-AA67-4F1C-B003-C207C0AB8F0A}"/>
              </a:ext>
            </a:extLst>
          </p:cNvPr>
          <p:cNvSpPr/>
          <p:nvPr/>
        </p:nvSpPr>
        <p:spPr bwMode="auto">
          <a:xfrm>
            <a:off x="1608497" y="4993735"/>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04" name="Straight Connector 1003">
            <a:extLst>
              <a:ext uri="{FF2B5EF4-FFF2-40B4-BE49-F238E27FC236}">
                <a16:creationId xmlns:a16="http://schemas.microsoft.com/office/drawing/2014/main" id="{811344DA-3400-426A-A2B6-C80B7DC0906A}"/>
              </a:ext>
            </a:extLst>
          </p:cNvPr>
          <p:cNvCxnSpPr>
            <a:cxnSpLocks/>
            <a:stCxn id="816" idx="12"/>
          </p:cNvCxnSpPr>
          <p:nvPr/>
        </p:nvCxnSpPr>
        <p:spPr>
          <a:xfrm flipH="1">
            <a:off x="2310274" y="4920740"/>
            <a:ext cx="0" cy="7299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5" name="Oval 1004">
            <a:extLst>
              <a:ext uri="{FF2B5EF4-FFF2-40B4-BE49-F238E27FC236}">
                <a16:creationId xmlns:a16="http://schemas.microsoft.com/office/drawing/2014/main" id="{8BE77DC3-1B75-47DB-8B88-1925D7062A55}"/>
              </a:ext>
            </a:extLst>
          </p:cNvPr>
          <p:cNvSpPr/>
          <p:nvPr/>
        </p:nvSpPr>
        <p:spPr bwMode="auto">
          <a:xfrm>
            <a:off x="2254618" y="4993735"/>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06" name="Straight Connector 1005">
            <a:extLst>
              <a:ext uri="{FF2B5EF4-FFF2-40B4-BE49-F238E27FC236}">
                <a16:creationId xmlns:a16="http://schemas.microsoft.com/office/drawing/2014/main" id="{EA9975F6-B3AA-4AAA-8428-FFB346F033DD}"/>
              </a:ext>
            </a:extLst>
          </p:cNvPr>
          <p:cNvCxnSpPr>
            <a:cxnSpLocks/>
            <a:stCxn id="825" idx="14"/>
          </p:cNvCxnSpPr>
          <p:nvPr/>
        </p:nvCxnSpPr>
        <p:spPr>
          <a:xfrm>
            <a:off x="2938804" y="4920740"/>
            <a:ext cx="0" cy="7299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7" name="Oval 1006">
            <a:extLst>
              <a:ext uri="{FF2B5EF4-FFF2-40B4-BE49-F238E27FC236}">
                <a16:creationId xmlns:a16="http://schemas.microsoft.com/office/drawing/2014/main" id="{EC86751C-4148-4BC0-8A37-436C7F384E8A}"/>
              </a:ext>
            </a:extLst>
          </p:cNvPr>
          <p:cNvSpPr/>
          <p:nvPr/>
        </p:nvSpPr>
        <p:spPr bwMode="auto">
          <a:xfrm>
            <a:off x="2884915" y="4993735"/>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08" name="Straight Connector 1007">
            <a:extLst>
              <a:ext uri="{FF2B5EF4-FFF2-40B4-BE49-F238E27FC236}">
                <a16:creationId xmlns:a16="http://schemas.microsoft.com/office/drawing/2014/main" id="{6315C7B5-94A5-46A3-897B-48D2760C647C}"/>
              </a:ext>
            </a:extLst>
          </p:cNvPr>
          <p:cNvCxnSpPr>
            <a:cxnSpLocks/>
            <a:stCxn id="1024" idx="14"/>
            <a:endCxn id="1009" idx="0"/>
          </p:cNvCxnSpPr>
          <p:nvPr/>
        </p:nvCxnSpPr>
        <p:spPr>
          <a:xfrm flipH="1">
            <a:off x="3569339" y="4920740"/>
            <a:ext cx="0" cy="7299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9" name="Oval 1008">
            <a:extLst>
              <a:ext uri="{FF2B5EF4-FFF2-40B4-BE49-F238E27FC236}">
                <a16:creationId xmlns:a16="http://schemas.microsoft.com/office/drawing/2014/main" id="{7A4AE26F-606F-4B28-9124-2F96966BEFA5}"/>
              </a:ext>
            </a:extLst>
          </p:cNvPr>
          <p:cNvSpPr/>
          <p:nvPr/>
        </p:nvSpPr>
        <p:spPr bwMode="auto">
          <a:xfrm>
            <a:off x="3514623" y="4993735"/>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a:extLst>
              <a:ext uri="{FF2B5EF4-FFF2-40B4-BE49-F238E27FC236}">
                <a16:creationId xmlns:a16="http://schemas.microsoft.com/office/drawing/2014/main" id="{70690E29-7A1C-453B-A28C-CFC3613FD129}"/>
              </a:ext>
            </a:extLst>
          </p:cNvPr>
          <p:cNvGrpSpPr/>
          <p:nvPr/>
        </p:nvGrpSpPr>
        <p:grpSpPr>
          <a:xfrm>
            <a:off x="5904269" y="4302203"/>
            <a:ext cx="563024" cy="616372"/>
            <a:chOff x="5911889" y="4302203"/>
            <a:chExt cx="563024" cy="616372"/>
          </a:xfrm>
        </p:grpSpPr>
        <p:sp>
          <p:nvSpPr>
            <p:cNvPr id="695" name="Hexagon 694">
              <a:extLst>
                <a:ext uri="{FF2B5EF4-FFF2-40B4-BE49-F238E27FC236}">
                  <a16:creationId xmlns:a16="http://schemas.microsoft.com/office/drawing/2014/main" id="{A189819D-1267-42CA-89F8-B3B18F34B31E}"/>
                </a:ext>
              </a:extLst>
            </p:cNvPr>
            <p:cNvSpPr/>
            <p:nvPr/>
          </p:nvSpPr>
          <p:spPr>
            <a:xfrm rot="16200000">
              <a:off x="5911063" y="4352954"/>
              <a:ext cx="588645" cy="539055"/>
            </a:xfrm>
            <a:prstGeom prst="hexagon">
              <a:avLst/>
            </a:prstGeom>
            <a:solidFill>
              <a:schemeClr val="bg1"/>
            </a:solidFill>
            <a:ln w="95250" cap="flat">
              <a:noFill/>
              <a:prstDash val="solid"/>
              <a:miter/>
            </a:ln>
          </p:spPr>
          <p:txBody>
            <a:bodyPr rtlCol="0" anchor="ctr"/>
            <a:lstStyle/>
            <a:p>
              <a:endParaRPr lang="en-US" dirty="0"/>
            </a:p>
          </p:txBody>
        </p:sp>
        <p:sp>
          <p:nvSpPr>
            <p:cNvPr id="996" name="Freeform: Shape 995">
              <a:extLst>
                <a:ext uri="{FF2B5EF4-FFF2-40B4-BE49-F238E27FC236}">
                  <a16:creationId xmlns:a16="http://schemas.microsoft.com/office/drawing/2014/main" id="{BA0CE599-C311-44A4-BAFA-6BA9F2E308F7}"/>
                </a:ext>
              </a:extLst>
            </p:cNvPr>
            <p:cNvSpPr/>
            <p:nvPr/>
          </p:nvSpPr>
          <p:spPr>
            <a:xfrm>
              <a:off x="5911889" y="4302203"/>
              <a:ext cx="523866" cy="616372"/>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dirty="0"/>
            </a:p>
          </p:txBody>
        </p:sp>
      </p:grpSp>
      <p:grpSp>
        <p:nvGrpSpPr>
          <p:cNvPr id="1669" name="Group 1668">
            <a:extLst>
              <a:ext uri="{FF2B5EF4-FFF2-40B4-BE49-F238E27FC236}">
                <a16:creationId xmlns:a16="http://schemas.microsoft.com/office/drawing/2014/main" id="{8D7B1F8B-4DD1-4E8B-8550-E4F940D1402C}"/>
              </a:ext>
            </a:extLst>
          </p:cNvPr>
          <p:cNvGrpSpPr/>
          <p:nvPr/>
        </p:nvGrpSpPr>
        <p:grpSpPr>
          <a:xfrm>
            <a:off x="6014577" y="4442260"/>
            <a:ext cx="369078" cy="355308"/>
            <a:chOff x="-329203" y="5129626"/>
            <a:chExt cx="556664" cy="535896"/>
          </a:xfrm>
        </p:grpSpPr>
        <p:sp>
          <p:nvSpPr>
            <p:cNvPr id="709" name="Rectangle 16">
              <a:extLst>
                <a:ext uri="{FF2B5EF4-FFF2-40B4-BE49-F238E27FC236}">
                  <a16:creationId xmlns:a16="http://schemas.microsoft.com/office/drawing/2014/main" id="{157691DA-CB6C-4D44-95D1-3D5EB0329345}"/>
                </a:ext>
              </a:extLst>
            </p:cNvPr>
            <p:cNvSpPr>
              <a:spLocks noChangeArrowheads="1"/>
            </p:cNvSpPr>
            <p:nvPr/>
          </p:nvSpPr>
          <p:spPr bwMode="auto">
            <a:xfrm>
              <a:off x="-329203" y="5129626"/>
              <a:ext cx="220271" cy="25618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10" name="Rectangle 17">
              <a:extLst>
                <a:ext uri="{FF2B5EF4-FFF2-40B4-BE49-F238E27FC236}">
                  <a16:creationId xmlns:a16="http://schemas.microsoft.com/office/drawing/2014/main" id="{9D491008-9655-4BEF-9E2C-B90732D5315A}"/>
                </a:ext>
              </a:extLst>
            </p:cNvPr>
            <p:cNvSpPr>
              <a:spLocks noChangeArrowheads="1"/>
            </p:cNvSpPr>
            <p:nvPr/>
          </p:nvSpPr>
          <p:spPr bwMode="auto">
            <a:xfrm>
              <a:off x="-108932" y="5129626"/>
              <a:ext cx="336393" cy="256185"/>
            </a:xfrm>
            <a:prstGeom prst="rect">
              <a:avLst/>
            </a:prstGeom>
            <a:solidFill>
              <a:srgbClr val="52C9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11" name="Rectangle 18">
              <a:extLst>
                <a:ext uri="{FF2B5EF4-FFF2-40B4-BE49-F238E27FC236}">
                  <a16:creationId xmlns:a16="http://schemas.microsoft.com/office/drawing/2014/main" id="{DC68AC32-6DCF-4429-9356-A2305C38A27F}"/>
                </a:ext>
              </a:extLst>
            </p:cNvPr>
            <p:cNvSpPr>
              <a:spLocks noChangeArrowheads="1"/>
            </p:cNvSpPr>
            <p:nvPr/>
          </p:nvSpPr>
          <p:spPr bwMode="auto">
            <a:xfrm>
              <a:off x="-75412" y="5167934"/>
              <a:ext cx="264565" cy="34717"/>
            </a:xfrm>
            <a:prstGeom prst="rect">
              <a:avLst/>
            </a:prstGeom>
            <a:solidFill>
              <a:srgbClr val="065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12" name="Rectangle 19">
              <a:extLst>
                <a:ext uri="{FF2B5EF4-FFF2-40B4-BE49-F238E27FC236}">
                  <a16:creationId xmlns:a16="http://schemas.microsoft.com/office/drawing/2014/main" id="{67A7F94C-9798-46B2-95C0-63CF50785EA8}"/>
                </a:ext>
              </a:extLst>
            </p:cNvPr>
            <p:cNvSpPr>
              <a:spLocks noChangeArrowheads="1"/>
            </p:cNvSpPr>
            <p:nvPr/>
          </p:nvSpPr>
          <p:spPr bwMode="auto">
            <a:xfrm>
              <a:off x="-75412" y="5293632"/>
              <a:ext cx="211892" cy="34717"/>
            </a:xfrm>
            <a:prstGeom prst="rect">
              <a:avLst/>
            </a:prstGeom>
            <a:solidFill>
              <a:srgbClr val="065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13" name="Rectangle 20">
              <a:extLst>
                <a:ext uri="{FF2B5EF4-FFF2-40B4-BE49-F238E27FC236}">
                  <a16:creationId xmlns:a16="http://schemas.microsoft.com/office/drawing/2014/main" id="{045974D6-B5DF-4946-8BFB-5044AEF6E4DD}"/>
                </a:ext>
              </a:extLst>
            </p:cNvPr>
            <p:cNvSpPr>
              <a:spLocks noChangeArrowheads="1"/>
            </p:cNvSpPr>
            <p:nvPr/>
          </p:nvSpPr>
          <p:spPr bwMode="auto">
            <a:xfrm>
              <a:off x="-75412" y="5231381"/>
              <a:ext cx="264565" cy="33520"/>
            </a:xfrm>
            <a:prstGeom prst="rect">
              <a:avLst/>
            </a:prstGeom>
            <a:solidFill>
              <a:srgbClr val="065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nvGrpSpPr>
            <p:cNvPr id="45" name="Group 44">
              <a:extLst>
                <a:ext uri="{FF2B5EF4-FFF2-40B4-BE49-F238E27FC236}">
                  <a16:creationId xmlns:a16="http://schemas.microsoft.com/office/drawing/2014/main" id="{AA99E632-A7DC-4262-88AC-54140745A7D7}"/>
                </a:ext>
              </a:extLst>
            </p:cNvPr>
            <p:cNvGrpSpPr/>
            <p:nvPr/>
          </p:nvGrpSpPr>
          <p:grpSpPr>
            <a:xfrm>
              <a:off x="-316940" y="5143501"/>
              <a:ext cx="197332" cy="217570"/>
              <a:chOff x="-669925" y="4933951"/>
              <a:chExt cx="804863" cy="887413"/>
            </a:xfrm>
          </p:grpSpPr>
          <p:sp>
            <p:nvSpPr>
              <p:cNvPr id="1378" name="Freeform 42">
                <a:extLst>
                  <a:ext uri="{FF2B5EF4-FFF2-40B4-BE49-F238E27FC236}">
                    <a16:creationId xmlns:a16="http://schemas.microsoft.com/office/drawing/2014/main" id="{DDD825CB-DD99-4AB0-A63A-49CBAA8D3B1B}"/>
                  </a:ext>
                </a:extLst>
              </p:cNvPr>
              <p:cNvSpPr>
                <a:spLocks/>
              </p:cNvSpPr>
              <p:nvPr/>
            </p:nvSpPr>
            <p:spPr bwMode="auto">
              <a:xfrm>
                <a:off x="-265112" y="5432426"/>
                <a:ext cx="344488" cy="273050"/>
              </a:xfrm>
              <a:custGeom>
                <a:avLst/>
                <a:gdLst>
                  <a:gd name="T0" fmla="*/ 178 w 217"/>
                  <a:gd name="T1" fmla="*/ 172 h 172"/>
                  <a:gd name="T2" fmla="*/ 0 w 217"/>
                  <a:gd name="T3" fmla="*/ 104 h 172"/>
                  <a:gd name="T4" fmla="*/ 40 w 217"/>
                  <a:gd name="T5" fmla="*/ 0 h 172"/>
                  <a:gd name="T6" fmla="*/ 217 w 217"/>
                  <a:gd name="T7" fmla="*/ 68 h 172"/>
                  <a:gd name="T8" fmla="*/ 178 w 217"/>
                  <a:gd name="T9" fmla="*/ 172 h 172"/>
                </a:gdLst>
                <a:ahLst/>
                <a:cxnLst>
                  <a:cxn ang="0">
                    <a:pos x="T0" y="T1"/>
                  </a:cxn>
                  <a:cxn ang="0">
                    <a:pos x="T2" y="T3"/>
                  </a:cxn>
                  <a:cxn ang="0">
                    <a:pos x="T4" y="T5"/>
                  </a:cxn>
                  <a:cxn ang="0">
                    <a:pos x="T6" y="T7"/>
                  </a:cxn>
                  <a:cxn ang="0">
                    <a:pos x="T8" y="T9"/>
                  </a:cxn>
                </a:cxnLst>
                <a:rect l="0" t="0" r="r" b="b"/>
                <a:pathLst>
                  <a:path w="217" h="172">
                    <a:moveTo>
                      <a:pt x="178" y="172"/>
                    </a:moveTo>
                    <a:lnTo>
                      <a:pt x="0" y="104"/>
                    </a:lnTo>
                    <a:lnTo>
                      <a:pt x="40" y="0"/>
                    </a:lnTo>
                    <a:lnTo>
                      <a:pt x="217" y="68"/>
                    </a:lnTo>
                    <a:lnTo>
                      <a:pt x="178" y="172"/>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9" name="Freeform 43">
                <a:extLst>
                  <a:ext uri="{FF2B5EF4-FFF2-40B4-BE49-F238E27FC236}">
                    <a16:creationId xmlns:a16="http://schemas.microsoft.com/office/drawing/2014/main" id="{5C89D1CD-3FAA-4A8B-A0DD-F492FDF757E2}"/>
                  </a:ext>
                </a:extLst>
              </p:cNvPr>
              <p:cNvSpPr>
                <a:spLocks/>
              </p:cNvSpPr>
              <p:nvPr/>
            </p:nvSpPr>
            <p:spPr bwMode="auto">
              <a:xfrm>
                <a:off x="-23812" y="5551488"/>
                <a:ext cx="146050" cy="192088"/>
              </a:xfrm>
              <a:custGeom>
                <a:avLst/>
                <a:gdLst>
                  <a:gd name="T0" fmla="*/ 46 w 98"/>
                  <a:gd name="T1" fmla="*/ 106 h 128"/>
                  <a:gd name="T2" fmla="*/ 32 w 98"/>
                  <a:gd name="T3" fmla="*/ 116 h 128"/>
                  <a:gd name="T4" fmla="*/ 14 w 98"/>
                  <a:gd name="T5" fmla="*/ 128 h 128"/>
                  <a:gd name="T6" fmla="*/ 9 w 98"/>
                  <a:gd name="T7" fmla="*/ 99 h 128"/>
                  <a:gd name="T8" fmla="*/ 9 w 98"/>
                  <a:gd name="T9" fmla="*/ 95 h 128"/>
                  <a:gd name="T10" fmla="*/ 7 w 98"/>
                  <a:gd name="T11" fmla="*/ 90 h 128"/>
                  <a:gd name="T12" fmla="*/ 2 w 98"/>
                  <a:gd name="T13" fmla="*/ 56 h 128"/>
                  <a:gd name="T14" fmla="*/ 7 w 98"/>
                  <a:gd name="T15" fmla="*/ 25 h 128"/>
                  <a:gd name="T16" fmla="*/ 41 w 98"/>
                  <a:gd name="T17" fmla="*/ 1 h 128"/>
                  <a:gd name="T18" fmla="*/ 65 w 98"/>
                  <a:gd name="T19" fmla="*/ 3 h 128"/>
                  <a:gd name="T20" fmla="*/ 95 w 98"/>
                  <a:gd name="T21" fmla="*/ 40 h 128"/>
                  <a:gd name="T22" fmla="*/ 95 w 98"/>
                  <a:gd name="T23" fmla="*/ 40 h 128"/>
                  <a:gd name="T24" fmla="*/ 98 w 98"/>
                  <a:gd name="T25" fmla="*/ 57 h 128"/>
                  <a:gd name="T26" fmla="*/ 46 w 9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28">
                    <a:moveTo>
                      <a:pt x="46" y="106"/>
                    </a:moveTo>
                    <a:cubicBezTo>
                      <a:pt x="41" y="110"/>
                      <a:pt x="37" y="113"/>
                      <a:pt x="32" y="116"/>
                    </a:cubicBezTo>
                    <a:cubicBezTo>
                      <a:pt x="26" y="120"/>
                      <a:pt x="20" y="124"/>
                      <a:pt x="14" y="128"/>
                    </a:cubicBezTo>
                    <a:cubicBezTo>
                      <a:pt x="12" y="118"/>
                      <a:pt x="11" y="108"/>
                      <a:pt x="9" y="99"/>
                    </a:cubicBezTo>
                    <a:cubicBezTo>
                      <a:pt x="9" y="98"/>
                      <a:pt x="9" y="97"/>
                      <a:pt x="9" y="95"/>
                    </a:cubicBezTo>
                    <a:cubicBezTo>
                      <a:pt x="8" y="93"/>
                      <a:pt x="8" y="92"/>
                      <a:pt x="7" y="90"/>
                    </a:cubicBezTo>
                    <a:cubicBezTo>
                      <a:pt x="5" y="77"/>
                      <a:pt x="3" y="66"/>
                      <a:pt x="2" y="56"/>
                    </a:cubicBezTo>
                    <a:cubicBezTo>
                      <a:pt x="0" y="45"/>
                      <a:pt x="2" y="34"/>
                      <a:pt x="7" y="25"/>
                    </a:cubicBezTo>
                    <a:cubicBezTo>
                      <a:pt x="14" y="13"/>
                      <a:pt x="26" y="3"/>
                      <a:pt x="41" y="1"/>
                    </a:cubicBezTo>
                    <a:cubicBezTo>
                      <a:pt x="49" y="0"/>
                      <a:pt x="58" y="1"/>
                      <a:pt x="65" y="3"/>
                    </a:cubicBezTo>
                    <a:cubicBezTo>
                      <a:pt x="81" y="9"/>
                      <a:pt x="93" y="23"/>
                      <a:pt x="95" y="40"/>
                    </a:cubicBezTo>
                    <a:cubicBezTo>
                      <a:pt x="95" y="40"/>
                      <a:pt x="95" y="40"/>
                      <a:pt x="95" y="40"/>
                    </a:cubicBezTo>
                    <a:cubicBezTo>
                      <a:pt x="96" y="45"/>
                      <a:pt x="97" y="51"/>
                      <a:pt x="98" y="57"/>
                    </a:cubicBezTo>
                    <a:cubicBezTo>
                      <a:pt x="82" y="75"/>
                      <a:pt x="65" y="92"/>
                      <a:pt x="46" y="10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0" name="Freeform 44">
                <a:extLst>
                  <a:ext uri="{FF2B5EF4-FFF2-40B4-BE49-F238E27FC236}">
                    <a16:creationId xmlns:a16="http://schemas.microsoft.com/office/drawing/2014/main" id="{60FF149F-0C42-4A3A-9BB9-AFCA3EE795A4}"/>
                  </a:ext>
                </a:extLst>
              </p:cNvPr>
              <p:cNvSpPr>
                <a:spLocks/>
              </p:cNvSpPr>
              <p:nvPr/>
            </p:nvSpPr>
            <p:spPr bwMode="auto">
              <a:xfrm>
                <a:off x="-39687" y="5527676"/>
                <a:ext cx="174625" cy="182563"/>
              </a:xfrm>
              <a:custGeom>
                <a:avLst/>
                <a:gdLst>
                  <a:gd name="T0" fmla="*/ 118 w 118"/>
                  <a:gd name="T1" fmla="*/ 62 h 122"/>
                  <a:gd name="T2" fmla="*/ 109 w 118"/>
                  <a:gd name="T3" fmla="*/ 73 h 122"/>
                  <a:gd name="T4" fmla="*/ 57 w 118"/>
                  <a:gd name="T5" fmla="*/ 122 h 122"/>
                  <a:gd name="T6" fmla="*/ 45 w 118"/>
                  <a:gd name="T7" fmla="*/ 121 h 122"/>
                  <a:gd name="T8" fmla="*/ 44 w 118"/>
                  <a:gd name="T9" fmla="*/ 120 h 122"/>
                  <a:gd name="T10" fmla="*/ 39 w 118"/>
                  <a:gd name="T11" fmla="*/ 119 h 122"/>
                  <a:gd name="T12" fmla="*/ 37 w 118"/>
                  <a:gd name="T13" fmla="*/ 118 h 122"/>
                  <a:gd name="T14" fmla="*/ 18 w 118"/>
                  <a:gd name="T15" fmla="*/ 106 h 122"/>
                  <a:gd name="T16" fmla="*/ 2 w 118"/>
                  <a:gd name="T17" fmla="*/ 75 h 122"/>
                  <a:gd name="T18" fmla="*/ 2 w 118"/>
                  <a:gd name="T19" fmla="*/ 74 h 122"/>
                  <a:gd name="T20" fmla="*/ 3 w 118"/>
                  <a:gd name="T21" fmla="*/ 49 h 122"/>
                  <a:gd name="T22" fmla="*/ 6 w 118"/>
                  <a:gd name="T23" fmla="*/ 40 h 122"/>
                  <a:gd name="T24" fmla="*/ 75 w 118"/>
                  <a:gd name="T25" fmla="*/ 7 h 122"/>
                  <a:gd name="T26" fmla="*/ 79 w 118"/>
                  <a:gd name="T27" fmla="*/ 9 h 122"/>
                  <a:gd name="T28" fmla="*/ 80 w 118"/>
                  <a:gd name="T29" fmla="*/ 9 h 122"/>
                  <a:gd name="T30" fmla="*/ 117 w 118"/>
                  <a:gd name="T31" fmla="*/ 54 h 122"/>
                  <a:gd name="T32" fmla="*/ 118 w 118"/>
                  <a:gd name="T33" fmla="*/ 57 h 122"/>
                  <a:gd name="T34" fmla="*/ 118 w 118"/>
                  <a:gd name="T35" fmla="*/ 6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122">
                    <a:moveTo>
                      <a:pt x="118" y="62"/>
                    </a:moveTo>
                    <a:cubicBezTo>
                      <a:pt x="115" y="66"/>
                      <a:pt x="112" y="69"/>
                      <a:pt x="109" y="73"/>
                    </a:cubicBezTo>
                    <a:cubicBezTo>
                      <a:pt x="93" y="91"/>
                      <a:pt x="76" y="108"/>
                      <a:pt x="57" y="122"/>
                    </a:cubicBezTo>
                    <a:cubicBezTo>
                      <a:pt x="53" y="122"/>
                      <a:pt x="49" y="122"/>
                      <a:pt x="45" y="121"/>
                    </a:cubicBezTo>
                    <a:cubicBezTo>
                      <a:pt x="44" y="120"/>
                      <a:pt x="44" y="120"/>
                      <a:pt x="44" y="120"/>
                    </a:cubicBezTo>
                    <a:cubicBezTo>
                      <a:pt x="42" y="120"/>
                      <a:pt x="40" y="119"/>
                      <a:pt x="39" y="119"/>
                    </a:cubicBezTo>
                    <a:cubicBezTo>
                      <a:pt x="38" y="119"/>
                      <a:pt x="38" y="118"/>
                      <a:pt x="37" y="118"/>
                    </a:cubicBezTo>
                    <a:cubicBezTo>
                      <a:pt x="30" y="115"/>
                      <a:pt x="24" y="111"/>
                      <a:pt x="18" y="106"/>
                    </a:cubicBezTo>
                    <a:cubicBezTo>
                      <a:pt x="10" y="97"/>
                      <a:pt x="4" y="87"/>
                      <a:pt x="2" y="75"/>
                    </a:cubicBezTo>
                    <a:cubicBezTo>
                      <a:pt x="2" y="74"/>
                      <a:pt x="2" y="74"/>
                      <a:pt x="2" y="74"/>
                    </a:cubicBezTo>
                    <a:cubicBezTo>
                      <a:pt x="0" y="66"/>
                      <a:pt x="1" y="57"/>
                      <a:pt x="3" y="49"/>
                    </a:cubicBezTo>
                    <a:cubicBezTo>
                      <a:pt x="4" y="46"/>
                      <a:pt x="5" y="43"/>
                      <a:pt x="6" y="40"/>
                    </a:cubicBezTo>
                    <a:cubicBezTo>
                      <a:pt x="18" y="14"/>
                      <a:pt x="46" y="0"/>
                      <a:pt x="75" y="7"/>
                    </a:cubicBezTo>
                    <a:cubicBezTo>
                      <a:pt x="76" y="8"/>
                      <a:pt x="78" y="8"/>
                      <a:pt x="79" y="9"/>
                    </a:cubicBezTo>
                    <a:cubicBezTo>
                      <a:pt x="80" y="9"/>
                      <a:pt x="80" y="9"/>
                      <a:pt x="80" y="9"/>
                    </a:cubicBezTo>
                    <a:cubicBezTo>
                      <a:pt x="100" y="17"/>
                      <a:pt x="114" y="34"/>
                      <a:pt x="117" y="54"/>
                    </a:cubicBezTo>
                    <a:cubicBezTo>
                      <a:pt x="117" y="55"/>
                      <a:pt x="118" y="56"/>
                      <a:pt x="118" y="57"/>
                    </a:cubicBezTo>
                    <a:cubicBezTo>
                      <a:pt x="118" y="59"/>
                      <a:pt x="118" y="60"/>
                      <a:pt x="118" y="62"/>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1" name="Freeform 45">
                <a:extLst>
                  <a:ext uri="{FF2B5EF4-FFF2-40B4-BE49-F238E27FC236}">
                    <a16:creationId xmlns:a16="http://schemas.microsoft.com/office/drawing/2014/main" id="{FDEF2014-3F5F-45CE-9432-1D1F17BCC8C8}"/>
                  </a:ext>
                </a:extLst>
              </p:cNvPr>
              <p:cNvSpPr>
                <a:spLocks/>
              </p:cNvSpPr>
              <p:nvPr/>
            </p:nvSpPr>
            <p:spPr bwMode="auto">
              <a:xfrm>
                <a:off x="-561975" y="5568951"/>
                <a:ext cx="296863" cy="252413"/>
              </a:xfrm>
              <a:custGeom>
                <a:avLst/>
                <a:gdLst>
                  <a:gd name="T0" fmla="*/ 198 w 200"/>
                  <a:gd name="T1" fmla="*/ 168 h 168"/>
                  <a:gd name="T2" fmla="*/ 191 w 200"/>
                  <a:gd name="T3" fmla="*/ 168 h 168"/>
                  <a:gd name="T4" fmla="*/ 159 w 200"/>
                  <a:gd name="T5" fmla="*/ 166 h 168"/>
                  <a:gd name="T6" fmla="*/ 139 w 200"/>
                  <a:gd name="T7" fmla="*/ 164 h 168"/>
                  <a:gd name="T8" fmla="*/ 32 w 200"/>
                  <a:gd name="T9" fmla="*/ 130 h 168"/>
                  <a:gd name="T10" fmla="*/ 5 w 200"/>
                  <a:gd name="T11" fmla="*/ 115 h 168"/>
                  <a:gd name="T12" fmla="*/ 4 w 200"/>
                  <a:gd name="T13" fmla="*/ 90 h 168"/>
                  <a:gd name="T14" fmla="*/ 3 w 200"/>
                  <a:gd name="T15" fmla="*/ 70 h 168"/>
                  <a:gd name="T16" fmla="*/ 1 w 200"/>
                  <a:gd name="T17" fmla="*/ 35 h 168"/>
                  <a:gd name="T18" fmla="*/ 0 w 200"/>
                  <a:gd name="T19" fmla="*/ 15 h 168"/>
                  <a:gd name="T20" fmla="*/ 43 w 200"/>
                  <a:gd name="T21" fmla="*/ 12 h 168"/>
                  <a:gd name="T22" fmla="*/ 113 w 200"/>
                  <a:gd name="T23" fmla="*/ 7 h 168"/>
                  <a:gd name="T24" fmla="*/ 115 w 200"/>
                  <a:gd name="T25" fmla="*/ 7 h 168"/>
                  <a:gd name="T26" fmla="*/ 135 w 200"/>
                  <a:gd name="T27" fmla="*/ 5 h 168"/>
                  <a:gd name="T28" fmla="*/ 146 w 200"/>
                  <a:gd name="T29" fmla="*/ 4 h 168"/>
                  <a:gd name="T30" fmla="*/ 167 w 200"/>
                  <a:gd name="T31" fmla="*/ 3 h 168"/>
                  <a:gd name="T32" fmla="*/ 172 w 200"/>
                  <a:gd name="T33" fmla="*/ 2 h 168"/>
                  <a:gd name="T34" fmla="*/ 181 w 200"/>
                  <a:gd name="T35" fmla="*/ 2 h 168"/>
                  <a:gd name="T36" fmla="*/ 194 w 200"/>
                  <a:gd name="T37" fmla="*/ 1 h 168"/>
                  <a:gd name="T38" fmla="*/ 198 w 200"/>
                  <a:gd name="T39" fmla="*/ 0 h 168"/>
                  <a:gd name="T40" fmla="*/ 200 w 200"/>
                  <a:gd name="T41" fmla="*/ 0 h 168"/>
                  <a:gd name="T42" fmla="*/ 200 w 200"/>
                  <a:gd name="T43" fmla="*/ 167 h 168"/>
                  <a:gd name="T44" fmla="*/ 198 w 200"/>
                  <a:gd name="T4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168">
                    <a:moveTo>
                      <a:pt x="198" y="168"/>
                    </a:moveTo>
                    <a:cubicBezTo>
                      <a:pt x="196" y="168"/>
                      <a:pt x="194" y="168"/>
                      <a:pt x="191" y="168"/>
                    </a:cubicBezTo>
                    <a:cubicBezTo>
                      <a:pt x="180" y="168"/>
                      <a:pt x="170" y="167"/>
                      <a:pt x="159" y="166"/>
                    </a:cubicBezTo>
                    <a:cubicBezTo>
                      <a:pt x="152" y="166"/>
                      <a:pt x="145" y="165"/>
                      <a:pt x="139" y="164"/>
                    </a:cubicBezTo>
                    <a:cubicBezTo>
                      <a:pt x="101" y="158"/>
                      <a:pt x="65" y="146"/>
                      <a:pt x="32" y="130"/>
                    </a:cubicBezTo>
                    <a:cubicBezTo>
                      <a:pt x="22" y="125"/>
                      <a:pt x="14" y="120"/>
                      <a:pt x="5" y="115"/>
                    </a:cubicBezTo>
                    <a:cubicBezTo>
                      <a:pt x="4" y="90"/>
                      <a:pt x="4" y="90"/>
                      <a:pt x="4" y="90"/>
                    </a:cubicBezTo>
                    <a:cubicBezTo>
                      <a:pt x="3" y="70"/>
                      <a:pt x="3" y="70"/>
                      <a:pt x="3" y="70"/>
                    </a:cubicBezTo>
                    <a:cubicBezTo>
                      <a:pt x="1" y="35"/>
                      <a:pt x="1" y="35"/>
                      <a:pt x="1" y="35"/>
                    </a:cubicBezTo>
                    <a:cubicBezTo>
                      <a:pt x="0" y="15"/>
                      <a:pt x="0" y="15"/>
                      <a:pt x="0" y="15"/>
                    </a:cubicBezTo>
                    <a:cubicBezTo>
                      <a:pt x="43" y="12"/>
                      <a:pt x="43" y="12"/>
                      <a:pt x="43" y="12"/>
                    </a:cubicBezTo>
                    <a:cubicBezTo>
                      <a:pt x="113" y="7"/>
                      <a:pt x="113" y="7"/>
                      <a:pt x="113" y="7"/>
                    </a:cubicBezTo>
                    <a:cubicBezTo>
                      <a:pt x="115" y="7"/>
                      <a:pt x="115" y="7"/>
                      <a:pt x="115" y="7"/>
                    </a:cubicBezTo>
                    <a:cubicBezTo>
                      <a:pt x="135" y="5"/>
                      <a:pt x="135" y="5"/>
                      <a:pt x="135" y="5"/>
                    </a:cubicBezTo>
                    <a:cubicBezTo>
                      <a:pt x="146" y="4"/>
                      <a:pt x="146" y="4"/>
                      <a:pt x="146" y="4"/>
                    </a:cubicBezTo>
                    <a:cubicBezTo>
                      <a:pt x="167" y="3"/>
                      <a:pt x="167" y="3"/>
                      <a:pt x="167" y="3"/>
                    </a:cubicBezTo>
                    <a:cubicBezTo>
                      <a:pt x="172" y="2"/>
                      <a:pt x="172" y="2"/>
                      <a:pt x="172" y="2"/>
                    </a:cubicBezTo>
                    <a:cubicBezTo>
                      <a:pt x="181" y="2"/>
                      <a:pt x="181" y="2"/>
                      <a:pt x="181" y="2"/>
                    </a:cubicBezTo>
                    <a:cubicBezTo>
                      <a:pt x="194" y="1"/>
                      <a:pt x="194" y="1"/>
                      <a:pt x="194" y="1"/>
                    </a:cubicBezTo>
                    <a:cubicBezTo>
                      <a:pt x="198" y="0"/>
                      <a:pt x="198" y="0"/>
                      <a:pt x="198" y="0"/>
                    </a:cubicBezTo>
                    <a:cubicBezTo>
                      <a:pt x="200" y="0"/>
                      <a:pt x="200" y="0"/>
                      <a:pt x="200" y="0"/>
                    </a:cubicBezTo>
                    <a:cubicBezTo>
                      <a:pt x="200" y="167"/>
                      <a:pt x="200" y="167"/>
                      <a:pt x="200" y="167"/>
                    </a:cubicBezTo>
                    <a:cubicBezTo>
                      <a:pt x="200" y="168"/>
                      <a:pt x="199" y="168"/>
                      <a:pt x="198" y="168"/>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2" name="Freeform 46">
                <a:extLst>
                  <a:ext uri="{FF2B5EF4-FFF2-40B4-BE49-F238E27FC236}">
                    <a16:creationId xmlns:a16="http://schemas.microsoft.com/office/drawing/2014/main" id="{02C76F2A-05E3-435B-AD45-FAFB556A22E6}"/>
                  </a:ext>
                </a:extLst>
              </p:cNvPr>
              <p:cNvSpPr>
                <a:spLocks/>
              </p:cNvSpPr>
              <p:nvPr/>
            </p:nvSpPr>
            <p:spPr bwMode="auto">
              <a:xfrm>
                <a:off x="-608012" y="5427663"/>
                <a:ext cx="342900" cy="273050"/>
              </a:xfrm>
              <a:custGeom>
                <a:avLst/>
                <a:gdLst>
                  <a:gd name="T0" fmla="*/ 39 w 216"/>
                  <a:gd name="T1" fmla="*/ 172 h 172"/>
                  <a:gd name="T2" fmla="*/ 0 w 216"/>
                  <a:gd name="T3" fmla="*/ 69 h 172"/>
                  <a:gd name="T4" fmla="*/ 177 w 216"/>
                  <a:gd name="T5" fmla="*/ 0 h 172"/>
                  <a:gd name="T6" fmla="*/ 216 w 216"/>
                  <a:gd name="T7" fmla="*/ 104 h 172"/>
                  <a:gd name="T8" fmla="*/ 39 w 216"/>
                  <a:gd name="T9" fmla="*/ 172 h 172"/>
                </a:gdLst>
                <a:ahLst/>
                <a:cxnLst>
                  <a:cxn ang="0">
                    <a:pos x="T0" y="T1"/>
                  </a:cxn>
                  <a:cxn ang="0">
                    <a:pos x="T2" y="T3"/>
                  </a:cxn>
                  <a:cxn ang="0">
                    <a:pos x="T4" y="T5"/>
                  </a:cxn>
                  <a:cxn ang="0">
                    <a:pos x="T6" y="T7"/>
                  </a:cxn>
                  <a:cxn ang="0">
                    <a:pos x="T8" y="T9"/>
                  </a:cxn>
                </a:cxnLst>
                <a:rect l="0" t="0" r="r" b="b"/>
                <a:pathLst>
                  <a:path w="216" h="172">
                    <a:moveTo>
                      <a:pt x="39" y="172"/>
                    </a:moveTo>
                    <a:lnTo>
                      <a:pt x="0" y="69"/>
                    </a:lnTo>
                    <a:lnTo>
                      <a:pt x="177" y="0"/>
                    </a:lnTo>
                    <a:lnTo>
                      <a:pt x="216" y="104"/>
                    </a:lnTo>
                    <a:lnTo>
                      <a:pt x="39" y="172"/>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3" name="Freeform 47">
                <a:extLst>
                  <a:ext uri="{FF2B5EF4-FFF2-40B4-BE49-F238E27FC236}">
                    <a16:creationId xmlns:a16="http://schemas.microsoft.com/office/drawing/2014/main" id="{1BC6B7B3-D332-4A60-9A7C-17AA93512DD8}"/>
                  </a:ext>
                </a:extLst>
              </p:cNvPr>
              <p:cNvSpPr>
                <a:spLocks/>
              </p:cNvSpPr>
              <p:nvPr/>
            </p:nvSpPr>
            <p:spPr bwMode="auto">
              <a:xfrm>
                <a:off x="-266700" y="5568951"/>
                <a:ext cx="296863" cy="252413"/>
              </a:xfrm>
              <a:custGeom>
                <a:avLst/>
                <a:gdLst>
                  <a:gd name="T0" fmla="*/ 200 w 200"/>
                  <a:gd name="T1" fmla="*/ 15 h 168"/>
                  <a:gd name="T2" fmla="*/ 199 w 200"/>
                  <a:gd name="T3" fmla="*/ 38 h 168"/>
                  <a:gd name="T4" fmla="*/ 197 w 200"/>
                  <a:gd name="T5" fmla="*/ 76 h 168"/>
                  <a:gd name="T6" fmla="*/ 197 w 200"/>
                  <a:gd name="T7" fmla="*/ 92 h 168"/>
                  <a:gd name="T8" fmla="*/ 196 w 200"/>
                  <a:gd name="T9" fmla="*/ 104 h 168"/>
                  <a:gd name="T10" fmla="*/ 178 w 200"/>
                  <a:gd name="T11" fmla="*/ 116 h 168"/>
                  <a:gd name="T12" fmla="*/ 165 w 200"/>
                  <a:gd name="T13" fmla="*/ 124 h 168"/>
                  <a:gd name="T14" fmla="*/ 56 w 200"/>
                  <a:gd name="T15" fmla="*/ 162 h 168"/>
                  <a:gd name="T16" fmla="*/ 35 w 200"/>
                  <a:gd name="T17" fmla="*/ 165 h 168"/>
                  <a:gd name="T18" fmla="*/ 2 w 200"/>
                  <a:gd name="T19" fmla="*/ 167 h 168"/>
                  <a:gd name="T20" fmla="*/ 0 w 200"/>
                  <a:gd name="T21" fmla="*/ 168 h 168"/>
                  <a:gd name="T22" fmla="*/ 0 w 200"/>
                  <a:gd name="T23" fmla="*/ 0 h 168"/>
                  <a:gd name="T24" fmla="*/ 2 w 200"/>
                  <a:gd name="T25" fmla="*/ 0 h 168"/>
                  <a:gd name="T26" fmla="*/ 9 w 200"/>
                  <a:gd name="T27" fmla="*/ 1 h 168"/>
                  <a:gd name="T28" fmla="*/ 12 w 200"/>
                  <a:gd name="T29" fmla="*/ 1 h 168"/>
                  <a:gd name="T30" fmla="*/ 21 w 200"/>
                  <a:gd name="T31" fmla="*/ 2 h 168"/>
                  <a:gd name="T32" fmla="*/ 28 w 200"/>
                  <a:gd name="T33" fmla="*/ 2 h 168"/>
                  <a:gd name="T34" fmla="*/ 37 w 200"/>
                  <a:gd name="T35" fmla="*/ 3 h 168"/>
                  <a:gd name="T36" fmla="*/ 59 w 200"/>
                  <a:gd name="T37" fmla="*/ 5 h 168"/>
                  <a:gd name="T38" fmla="*/ 80 w 200"/>
                  <a:gd name="T39" fmla="*/ 6 h 168"/>
                  <a:gd name="T40" fmla="*/ 81 w 200"/>
                  <a:gd name="T41" fmla="*/ 6 h 168"/>
                  <a:gd name="T42" fmla="*/ 159 w 200"/>
                  <a:gd name="T43" fmla="*/ 12 h 168"/>
                  <a:gd name="T44" fmla="*/ 171 w 200"/>
                  <a:gd name="T45" fmla="*/ 13 h 168"/>
                  <a:gd name="T46" fmla="*/ 200 w 200"/>
                  <a:gd name="T47" fmla="*/ 15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 h="168">
                    <a:moveTo>
                      <a:pt x="200" y="15"/>
                    </a:moveTo>
                    <a:cubicBezTo>
                      <a:pt x="199" y="38"/>
                      <a:pt x="199" y="38"/>
                      <a:pt x="199" y="38"/>
                    </a:cubicBezTo>
                    <a:cubicBezTo>
                      <a:pt x="197" y="76"/>
                      <a:pt x="197" y="76"/>
                      <a:pt x="197" y="76"/>
                    </a:cubicBezTo>
                    <a:cubicBezTo>
                      <a:pt x="197" y="92"/>
                      <a:pt x="197" y="92"/>
                      <a:pt x="197" y="92"/>
                    </a:cubicBezTo>
                    <a:cubicBezTo>
                      <a:pt x="196" y="104"/>
                      <a:pt x="196" y="104"/>
                      <a:pt x="196" y="104"/>
                    </a:cubicBezTo>
                    <a:cubicBezTo>
                      <a:pt x="190" y="108"/>
                      <a:pt x="184" y="112"/>
                      <a:pt x="178" y="116"/>
                    </a:cubicBezTo>
                    <a:cubicBezTo>
                      <a:pt x="174" y="119"/>
                      <a:pt x="169" y="121"/>
                      <a:pt x="165" y="124"/>
                    </a:cubicBezTo>
                    <a:cubicBezTo>
                      <a:pt x="131" y="142"/>
                      <a:pt x="95" y="155"/>
                      <a:pt x="56" y="162"/>
                    </a:cubicBezTo>
                    <a:cubicBezTo>
                      <a:pt x="49" y="163"/>
                      <a:pt x="42" y="164"/>
                      <a:pt x="35" y="165"/>
                    </a:cubicBezTo>
                    <a:cubicBezTo>
                      <a:pt x="24" y="166"/>
                      <a:pt x="13" y="167"/>
                      <a:pt x="2" y="167"/>
                    </a:cubicBezTo>
                    <a:cubicBezTo>
                      <a:pt x="2" y="168"/>
                      <a:pt x="1" y="168"/>
                      <a:pt x="0" y="168"/>
                    </a:cubicBezTo>
                    <a:cubicBezTo>
                      <a:pt x="0" y="0"/>
                      <a:pt x="0" y="0"/>
                      <a:pt x="0" y="0"/>
                    </a:cubicBezTo>
                    <a:cubicBezTo>
                      <a:pt x="2" y="0"/>
                      <a:pt x="2" y="0"/>
                      <a:pt x="2" y="0"/>
                    </a:cubicBezTo>
                    <a:cubicBezTo>
                      <a:pt x="9" y="1"/>
                      <a:pt x="9" y="1"/>
                      <a:pt x="9" y="1"/>
                    </a:cubicBezTo>
                    <a:cubicBezTo>
                      <a:pt x="12" y="1"/>
                      <a:pt x="12" y="1"/>
                      <a:pt x="12" y="1"/>
                    </a:cubicBezTo>
                    <a:cubicBezTo>
                      <a:pt x="21" y="2"/>
                      <a:pt x="21" y="2"/>
                      <a:pt x="21" y="2"/>
                    </a:cubicBezTo>
                    <a:cubicBezTo>
                      <a:pt x="28" y="2"/>
                      <a:pt x="28" y="2"/>
                      <a:pt x="28" y="2"/>
                    </a:cubicBezTo>
                    <a:cubicBezTo>
                      <a:pt x="37" y="3"/>
                      <a:pt x="37" y="3"/>
                      <a:pt x="37" y="3"/>
                    </a:cubicBezTo>
                    <a:cubicBezTo>
                      <a:pt x="59" y="5"/>
                      <a:pt x="59" y="5"/>
                      <a:pt x="59" y="5"/>
                    </a:cubicBezTo>
                    <a:cubicBezTo>
                      <a:pt x="80" y="6"/>
                      <a:pt x="80" y="6"/>
                      <a:pt x="80" y="6"/>
                    </a:cubicBezTo>
                    <a:cubicBezTo>
                      <a:pt x="81" y="6"/>
                      <a:pt x="81" y="6"/>
                      <a:pt x="81" y="6"/>
                    </a:cubicBezTo>
                    <a:cubicBezTo>
                      <a:pt x="159" y="12"/>
                      <a:pt x="159" y="12"/>
                      <a:pt x="159" y="12"/>
                    </a:cubicBezTo>
                    <a:cubicBezTo>
                      <a:pt x="171" y="13"/>
                      <a:pt x="171" y="13"/>
                      <a:pt x="171" y="13"/>
                    </a:cubicBezTo>
                    <a:lnTo>
                      <a:pt x="200" y="15"/>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4" name="Freeform 48">
                <a:extLst>
                  <a:ext uri="{FF2B5EF4-FFF2-40B4-BE49-F238E27FC236}">
                    <a16:creationId xmlns:a16="http://schemas.microsoft.com/office/drawing/2014/main" id="{2DE10B39-99EA-4A71-9C19-2AB0EAB29425}"/>
                  </a:ext>
                </a:extLst>
              </p:cNvPr>
              <p:cNvSpPr>
                <a:spLocks/>
              </p:cNvSpPr>
              <p:nvPr/>
            </p:nvSpPr>
            <p:spPr bwMode="auto">
              <a:xfrm>
                <a:off x="-593725" y="5618163"/>
                <a:ext cx="15875" cy="98425"/>
              </a:xfrm>
              <a:custGeom>
                <a:avLst/>
                <a:gdLst>
                  <a:gd name="T0" fmla="*/ 11 w 11"/>
                  <a:gd name="T1" fmla="*/ 0 h 65"/>
                  <a:gd name="T2" fmla="*/ 3 w 11"/>
                  <a:gd name="T3" fmla="*/ 58 h 65"/>
                  <a:gd name="T4" fmla="*/ 3 w 11"/>
                  <a:gd name="T5" fmla="*/ 65 h 65"/>
                  <a:gd name="T6" fmla="*/ 2 w 11"/>
                  <a:gd name="T7" fmla="*/ 65 h 65"/>
                  <a:gd name="T8" fmla="*/ 0 w 11"/>
                  <a:gd name="T9" fmla="*/ 64 h 65"/>
                  <a:gd name="T10" fmla="*/ 0 w 11"/>
                  <a:gd name="T11" fmla="*/ 63 h 65"/>
                  <a:gd name="T12" fmla="*/ 1 w 11"/>
                  <a:gd name="T13" fmla="*/ 59 h 65"/>
                  <a:gd name="T14" fmla="*/ 1 w 11"/>
                  <a:gd name="T15" fmla="*/ 58 h 65"/>
                  <a:gd name="T16" fmla="*/ 1 w 11"/>
                  <a:gd name="T17" fmla="*/ 58 h 65"/>
                  <a:gd name="T18" fmla="*/ 11 w 11"/>
                  <a:gd name="T19" fmla="*/ 2 h 65"/>
                  <a:gd name="T20" fmla="*/ 11 w 11"/>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5">
                    <a:moveTo>
                      <a:pt x="11" y="0"/>
                    </a:moveTo>
                    <a:cubicBezTo>
                      <a:pt x="3" y="58"/>
                      <a:pt x="3" y="58"/>
                      <a:pt x="3" y="58"/>
                    </a:cubicBezTo>
                    <a:cubicBezTo>
                      <a:pt x="3" y="65"/>
                      <a:pt x="3" y="65"/>
                      <a:pt x="3" y="65"/>
                    </a:cubicBezTo>
                    <a:cubicBezTo>
                      <a:pt x="2" y="65"/>
                      <a:pt x="2" y="65"/>
                      <a:pt x="2" y="65"/>
                    </a:cubicBezTo>
                    <a:cubicBezTo>
                      <a:pt x="1" y="64"/>
                      <a:pt x="1" y="64"/>
                      <a:pt x="0" y="64"/>
                    </a:cubicBezTo>
                    <a:cubicBezTo>
                      <a:pt x="0" y="63"/>
                      <a:pt x="0" y="63"/>
                      <a:pt x="0" y="63"/>
                    </a:cubicBezTo>
                    <a:cubicBezTo>
                      <a:pt x="0" y="62"/>
                      <a:pt x="0" y="60"/>
                      <a:pt x="1" y="59"/>
                    </a:cubicBezTo>
                    <a:cubicBezTo>
                      <a:pt x="1" y="58"/>
                      <a:pt x="1" y="58"/>
                      <a:pt x="1" y="58"/>
                    </a:cubicBezTo>
                    <a:cubicBezTo>
                      <a:pt x="1" y="58"/>
                      <a:pt x="1" y="58"/>
                      <a:pt x="1" y="58"/>
                    </a:cubicBezTo>
                    <a:cubicBezTo>
                      <a:pt x="5" y="37"/>
                      <a:pt x="8" y="19"/>
                      <a:pt x="11" y="2"/>
                    </a:cubicBezTo>
                    <a:cubicBezTo>
                      <a:pt x="11" y="1"/>
                      <a:pt x="11" y="1"/>
                      <a:pt x="11" y="0"/>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5" name="Freeform 49">
                <a:extLst>
                  <a:ext uri="{FF2B5EF4-FFF2-40B4-BE49-F238E27FC236}">
                    <a16:creationId xmlns:a16="http://schemas.microsoft.com/office/drawing/2014/main" id="{868955EF-A941-4A11-AA7D-33D389DAE3BF}"/>
                  </a:ext>
                </a:extLst>
              </p:cNvPr>
              <p:cNvSpPr>
                <a:spLocks/>
              </p:cNvSpPr>
              <p:nvPr/>
            </p:nvSpPr>
            <p:spPr bwMode="auto">
              <a:xfrm>
                <a:off x="-669925" y="5605463"/>
                <a:ext cx="177800" cy="158750"/>
              </a:xfrm>
              <a:custGeom>
                <a:avLst/>
                <a:gdLst>
                  <a:gd name="T0" fmla="*/ 120 w 120"/>
                  <a:gd name="T1" fmla="*/ 19 h 106"/>
                  <a:gd name="T2" fmla="*/ 120 w 120"/>
                  <a:gd name="T3" fmla="*/ 19 h 106"/>
                  <a:gd name="T4" fmla="*/ 114 w 120"/>
                  <a:gd name="T5" fmla="*/ 52 h 106"/>
                  <a:gd name="T6" fmla="*/ 112 w 120"/>
                  <a:gd name="T7" fmla="*/ 62 h 106"/>
                  <a:gd name="T8" fmla="*/ 105 w 120"/>
                  <a:gd name="T9" fmla="*/ 106 h 106"/>
                  <a:gd name="T10" fmla="*/ 78 w 120"/>
                  <a:gd name="T11" fmla="*/ 91 h 106"/>
                  <a:gd name="T12" fmla="*/ 55 w 120"/>
                  <a:gd name="T13" fmla="*/ 75 h 106"/>
                  <a:gd name="T14" fmla="*/ 54 w 120"/>
                  <a:gd name="T15" fmla="*/ 74 h 106"/>
                  <a:gd name="T16" fmla="*/ 53 w 120"/>
                  <a:gd name="T17" fmla="*/ 74 h 106"/>
                  <a:gd name="T18" fmla="*/ 51 w 120"/>
                  <a:gd name="T19" fmla="*/ 73 h 106"/>
                  <a:gd name="T20" fmla="*/ 51 w 120"/>
                  <a:gd name="T21" fmla="*/ 72 h 106"/>
                  <a:gd name="T22" fmla="*/ 39 w 120"/>
                  <a:gd name="T23" fmla="*/ 63 h 106"/>
                  <a:gd name="T24" fmla="*/ 10 w 120"/>
                  <a:gd name="T25" fmla="*/ 37 h 106"/>
                  <a:gd name="T26" fmla="*/ 0 w 120"/>
                  <a:gd name="T27" fmla="*/ 25 h 106"/>
                  <a:gd name="T28" fmla="*/ 4 w 120"/>
                  <a:gd name="T29" fmla="*/ 0 h 106"/>
                  <a:gd name="T30" fmla="*/ 4 w 120"/>
                  <a:gd name="T31" fmla="*/ 0 h 106"/>
                  <a:gd name="T32" fmla="*/ 60 w 120"/>
                  <a:gd name="T33" fmla="*/ 9 h 106"/>
                  <a:gd name="T34" fmla="*/ 61 w 120"/>
                  <a:gd name="T35" fmla="*/ 9 h 106"/>
                  <a:gd name="T36" fmla="*/ 62 w 120"/>
                  <a:gd name="T37" fmla="*/ 9 h 106"/>
                  <a:gd name="T38" fmla="*/ 62 w 120"/>
                  <a:gd name="T39" fmla="*/ 9 h 106"/>
                  <a:gd name="T40" fmla="*/ 64 w 120"/>
                  <a:gd name="T41" fmla="*/ 10 h 106"/>
                  <a:gd name="T42" fmla="*/ 74 w 120"/>
                  <a:gd name="T43" fmla="*/ 11 h 106"/>
                  <a:gd name="T44" fmla="*/ 120 w 120"/>
                  <a:gd name="T45" fmla="*/ 1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06">
                    <a:moveTo>
                      <a:pt x="120" y="19"/>
                    </a:moveTo>
                    <a:cubicBezTo>
                      <a:pt x="120" y="19"/>
                      <a:pt x="120" y="19"/>
                      <a:pt x="120" y="19"/>
                    </a:cubicBezTo>
                    <a:cubicBezTo>
                      <a:pt x="118" y="29"/>
                      <a:pt x="116" y="40"/>
                      <a:pt x="114" y="52"/>
                    </a:cubicBezTo>
                    <a:cubicBezTo>
                      <a:pt x="113" y="55"/>
                      <a:pt x="113" y="59"/>
                      <a:pt x="112" y="62"/>
                    </a:cubicBezTo>
                    <a:cubicBezTo>
                      <a:pt x="110" y="76"/>
                      <a:pt x="107" y="90"/>
                      <a:pt x="105" y="106"/>
                    </a:cubicBezTo>
                    <a:cubicBezTo>
                      <a:pt x="95" y="101"/>
                      <a:pt x="87" y="96"/>
                      <a:pt x="78" y="91"/>
                    </a:cubicBezTo>
                    <a:cubicBezTo>
                      <a:pt x="70" y="86"/>
                      <a:pt x="62" y="81"/>
                      <a:pt x="55" y="75"/>
                    </a:cubicBezTo>
                    <a:cubicBezTo>
                      <a:pt x="54" y="75"/>
                      <a:pt x="54" y="75"/>
                      <a:pt x="54" y="74"/>
                    </a:cubicBezTo>
                    <a:cubicBezTo>
                      <a:pt x="53" y="74"/>
                      <a:pt x="53" y="74"/>
                      <a:pt x="53" y="74"/>
                    </a:cubicBezTo>
                    <a:cubicBezTo>
                      <a:pt x="52" y="73"/>
                      <a:pt x="52" y="73"/>
                      <a:pt x="51" y="73"/>
                    </a:cubicBezTo>
                    <a:cubicBezTo>
                      <a:pt x="51" y="72"/>
                      <a:pt x="51" y="72"/>
                      <a:pt x="51" y="72"/>
                    </a:cubicBezTo>
                    <a:cubicBezTo>
                      <a:pt x="47" y="69"/>
                      <a:pt x="43" y="66"/>
                      <a:pt x="39" y="63"/>
                    </a:cubicBezTo>
                    <a:cubicBezTo>
                      <a:pt x="29" y="55"/>
                      <a:pt x="19" y="46"/>
                      <a:pt x="10" y="37"/>
                    </a:cubicBezTo>
                    <a:cubicBezTo>
                      <a:pt x="7" y="33"/>
                      <a:pt x="3" y="29"/>
                      <a:pt x="0" y="25"/>
                    </a:cubicBezTo>
                    <a:cubicBezTo>
                      <a:pt x="1" y="16"/>
                      <a:pt x="3" y="8"/>
                      <a:pt x="4" y="0"/>
                    </a:cubicBezTo>
                    <a:cubicBezTo>
                      <a:pt x="4" y="0"/>
                      <a:pt x="4" y="0"/>
                      <a:pt x="4" y="0"/>
                    </a:cubicBezTo>
                    <a:cubicBezTo>
                      <a:pt x="60" y="9"/>
                      <a:pt x="60" y="9"/>
                      <a:pt x="60" y="9"/>
                    </a:cubicBezTo>
                    <a:cubicBezTo>
                      <a:pt x="61" y="9"/>
                      <a:pt x="61" y="9"/>
                      <a:pt x="61" y="9"/>
                    </a:cubicBezTo>
                    <a:cubicBezTo>
                      <a:pt x="62" y="9"/>
                      <a:pt x="62" y="9"/>
                      <a:pt x="62" y="9"/>
                    </a:cubicBezTo>
                    <a:cubicBezTo>
                      <a:pt x="62" y="9"/>
                      <a:pt x="62" y="9"/>
                      <a:pt x="62" y="9"/>
                    </a:cubicBezTo>
                    <a:cubicBezTo>
                      <a:pt x="64" y="10"/>
                      <a:pt x="64" y="10"/>
                      <a:pt x="64" y="10"/>
                    </a:cubicBezTo>
                    <a:cubicBezTo>
                      <a:pt x="74" y="11"/>
                      <a:pt x="74" y="11"/>
                      <a:pt x="74" y="11"/>
                    </a:cubicBezTo>
                    <a:lnTo>
                      <a:pt x="120" y="19"/>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6" name="Freeform 50">
                <a:extLst>
                  <a:ext uri="{FF2B5EF4-FFF2-40B4-BE49-F238E27FC236}">
                    <a16:creationId xmlns:a16="http://schemas.microsoft.com/office/drawing/2014/main" id="{515E5D15-C94F-40BE-B2B1-D38D18CC7FDF}"/>
                  </a:ext>
                </a:extLst>
              </p:cNvPr>
              <p:cNvSpPr>
                <a:spLocks/>
              </p:cNvSpPr>
              <p:nvPr/>
            </p:nvSpPr>
            <p:spPr bwMode="auto">
              <a:xfrm>
                <a:off x="-590550" y="5618163"/>
                <a:ext cx="12700" cy="98425"/>
              </a:xfrm>
              <a:custGeom>
                <a:avLst/>
                <a:gdLst>
                  <a:gd name="T0" fmla="*/ 9 w 9"/>
                  <a:gd name="T1" fmla="*/ 0 h 65"/>
                  <a:gd name="T2" fmla="*/ 1 w 9"/>
                  <a:gd name="T3" fmla="*/ 58 h 65"/>
                  <a:gd name="T4" fmla="*/ 1 w 9"/>
                  <a:gd name="T5" fmla="*/ 65 h 65"/>
                  <a:gd name="T6" fmla="*/ 0 w 9"/>
                  <a:gd name="T7" fmla="*/ 65 h 65"/>
                  <a:gd name="T8" fmla="*/ 1 w 9"/>
                  <a:gd name="T9" fmla="*/ 58 h 65"/>
                  <a:gd name="T10" fmla="*/ 9 w 9"/>
                  <a:gd name="T11" fmla="*/ 2 h 65"/>
                  <a:gd name="T12" fmla="*/ 9 w 9"/>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9" h="65">
                    <a:moveTo>
                      <a:pt x="9" y="0"/>
                    </a:moveTo>
                    <a:cubicBezTo>
                      <a:pt x="1" y="58"/>
                      <a:pt x="1" y="58"/>
                      <a:pt x="1" y="58"/>
                    </a:cubicBezTo>
                    <a:cubicBezTo>
                      <a:pt x="1" y="65"/>
                      <a:pt x="1" y="65"/>
                      <a:pt x="1" y="65"/>
                    </a:cubicBezTo>
                    <a:cubicBezTo>
                      <a:pt x="0" y="65"/>
                      <a:pt x="0" y="65"/>
                      <a:pt x="0" y="65"/>
                    </a:cubicBezTo>
                    <a:cubicBezTo>
                      <a:pt x="0" y="63"/>
                      <a:pt x="1" y="60"/>
                      <a:pt x="1" y="58"/>
                    </a:cubicBezTo>
                    <a:cubicBezTo>
                      <a:pt x="4" y="32"/>
                      <a:pt x="7" y="12"/>
                      <a:pt x="9" y="2"/>
                    </a:cubicBezTo>
                    <a:cubicBezTo>
                      <a:pt x="9" y="1"/>
                      <a:pt x="9" y="1"/>
                      <a:pt x="9" y="0"/>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7" name="Freeform 51">
                <a:extLst>
                  <a:ext uri="{FF2B5EF4-FFF2-40B4-BE49-F238E27FC236}">
                    <a16:creationId xmlns:a16="http://schemas.microsoft.com/office/drawing/2014/main" id="{89011010-1101-4724-8C2B-7F64C28E5836}"/>
                  </a:ext>
                </a:extLst>
              </p:cNvPr>
              <p:cNvSpPr>
                <a:spLocks/>
              </p:cNvSpPr>
              <p:nvPr/>
            </p:nvSpPr>
            <p:spPr bwMode="auto">
              <a:xfrm>
                <a:off x="-593725" y="5618163"/>
                <a:ext cx="19050" cy="100013"/>
              </a:xfrm>
              <a:custGeom>
                <a:avLst/>
                <a:gdLst>
                  <a:gd name="T0" fmla="*/ 13 w 13"/>
                  <a:gd name="T1" fmla="*/ 1 h 66"/>
                  <a:gd name="T2" fmla="*/ 12 w 13"/>
                  <a:gd name="T3" fmla="*/ 4 h 66"/>
                  <a:gd name="T4" fmla="*/ 5 w 13"/>
                  <a:gd name="T5" fmla="*/ 59 h 66"/>
                  <a:gd name="T6" fmla="*/ 4 w 13"/>
                  <a:gd name="T7" fmla="*/ 66 h 66"/>
                  <a:gd name="T8" fmla="*/ 3 w 13"/>
                  <a:gd name="T9" fmla="*/ 65 h 66"/>
                  <a:gd name="T10" fmla="*/ 2 w 13"/>
                  <a:gd name="T11" fmla="*/ 65 h 66"/>
                  <a:gd name="T12" fmla="*/ 0 w 13"/>
                  <a:gd name="T13" fmla="*/ 64 h 66"/>
                  <a:gd name="T14" fmla="*/ 1 w 13"/>
                  <a:gd name="T15" fmla="*/ 59 h 66"/>
                  <a:gd name="T16" fmla="*/ 1 w 13"/>
                  <a:gd name="T17" fmla="*/ 58 h 66"/>
                  <a:gd name="T18" fmla="*/ 9 w 13"/>
                  <a:gd name="T19" fmla="*/ 0 h 66"/>
                  <a:gd name="T20" fmla="*/ 10 w 13"/>
                  <a:gd name="T21" fmla="*/ 0 h 66"/>
                  <a:gd name="T22" fmla="*/ 11 w 13"/>
                  <a:gd name="T23" fmla="*/ 0 h 66"/>
                  <a:gd name="T24" fmla="*/ 13 w 13"/>
                  <a:gd name="T25" fmla="*/ 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66">
                    <a:moveTo>
                      <a:pt x="13" y="1"/>
                    </a:moveTo>
                    <a:cubicBezTo>
                      <a:pt x="13" y="2"/>
                      <a:pt x="13" y="3"/>
                      <a:pt x="12" y="4"/>
                    </a:cubicBezTo>
                    <a:cubicBezTo>
                      <a:pt x="11" y="14"/>
                      <a:pt x="8" y="34"/>
                      <a:pt x="5" y="59"/>
                    </a:cubicBezTo>
                    <a:cubicBezTo>
                      <a:pt x="5" y="61"/>
                      <a:pt x="4" y="64"/>
                      <a:pt x="4" y="66"/>
                    </a:cubicBezTo>
                    <a:cubicBezTo>
                      <a:pt x="3" y="66"/>
                      <a:pt x="3" y="66"/>
                      <a:pt x="3" y="65"/>
                    </a:cubicBezTo>
                    <a:cubicBezTo>
                      <a:pt x="2" y="65"/>
                      <a:pt x="2" y="65"/>
                      <a:pt x="2" y="65"/>
                    </a:cubicBezTo>
                    <a:cubicBezTo>
                      <a:pt x="1" y="64"/>
                      <a:pt x="1" y="64"/>
                      <a:pt x="0" y="64"/>
                    </a:cubicBezTo>
                    <a:cubicBezTo>
                      <a:pt x="0" y="62"/>
                      <a:pt x="1" y="60"/>
                      <a:pt x="1" y="59"/>
                    </a:cubicBezTo>
                    <a:cubicBezTo>
                      <a:pt x="1" y="58"/>
                      <a:pt x="1" y="58"/>
                      <a:pt x="1" y="58"/>
                    </a:cubicBezTo>
                    <a:cubicBezTo>
                      <a:pt x="5" y="30"/>
                      <a:pt x="8" y="9"/>
                      <a:pt x="9" y="0"/>
                    </a:cubicBezTo>
                    <a:cubicBezTo>
                      <a:pt x="10" y="0"/>
                      <a:pt x="10" y="0"/>
                      <a:pt x="10" y="0"/>
                    </a:cubicBezTo>
                    <a:cubicBezTo>
                      <a:pt x="11" y="0"/>
                      <a:pt x="11" y="0"/>
                      <a:pt x="11" y="0"/>
                    </a:cubicBezTo>
                    <a:lnTo>
                      <a:pt x="13" y="1"/>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8" name="Freeform 52">
                <a:extLst>
                  <a:ext uri="{FF2B5EF4-FFF2-40B4-BE49-F238E27FC236}">
                    <a16:creationId xmlns:a16="http://schemas.microsoft.com/office/drawing/2014/main" id="{A60D92A1-B205-410E-A1AA-36EAB97C4D66}"/>
                  </a:ext>
                </a:extLst>
              </p:cNvPr>
              <p:cNvSpPr>
                <a:spLocks/>
              </p:cNvSpPr>
              <p:nvPr/>
            </p:nvSpPr>
            <p:spPr bwMode="auto">
              <a:xfrm>
                <a:off x="-665162" y="5522913"/>
                <a:ext cx="174625" cy="184150"/>
              </a:xfrm>
              <a:custGeom>
                <a:avLst/>
                <a:gdLst>
                  <a:gd name="T0" fmla="*/ 117 w 118"/>
                  <a:gd name="T1" fmla="*/ 74 h 123"/>
                  <a:gd name="T2" fmla="*/ 117 w 118"/>
                  <a:gd name="T3" fmla="*/ 74 h 123"/>
                  <a:gd name="T4" fmla="*/ 80 w 118"/>
                  <a:gd name="T5" fmla="*/ 119 h 123"/>
                  <a:gd name="T6" fmla="*/ 74 w 118"/>
                  <a:gd name="T7" fmla="*/ 121 h 123"/>
                  <a:gd name="T8" fmla="*/ 74 w 118"/>
                  <a:gd name="T9" fmla="*/ 121 h 123"/>
                  <a:gd name="T10" fmla="*/ 53 w 118"/>
                  <a:gd name="T11" fmla="*/ 123 h 123"/>
                  <a:gd name="T12" fmla="*/ 51 w 118"/>
                  <a:gd name="T13" fmla="*/ 122 h 123"/>
                  <a:gd name="T14" fmla="*/ 51 w 118"/>
                  <a:gd name="T15" fmla="*/ 122 h 123"/>
                  <a:gd name="T16" fmla="*/ 49 w 118"/>
                  <a:gd name="T17" fmla="*/ 122 h 123"/>
                  <a:gd name="T18" fmla="*/ 49 w 118"/>
                  <a:gd name="T19" fmla="*/ 122 h 123"/>
                  <a:gd name="T20" fmla="*/ 36 w 118"/>
                  <a:gd name="T21" fmla="*/ 118 h 123"/>
                  <a:gd name="T22" fmla="*/ 7 w 118"/>
                  <a:gd name="T23" fmla="*/ 92 h 123"/>
                  <a:gd name="T24" fmla="*/ 2 w 118"/>
                  <a:gd name="T25" fmla="*/ 79 h 123"/>
                  <a:gd name="T26" fmla="*/ 1 w 118"/>
                  <a:gd name="T27" fmla="*/ 55 h 123"/>
                  <a:gd name="T28" fmla="*/ 1 w 118"/>
                  <a:gd name="T29" fmla="*/ 55 h 123"/>
                  <a:gd name="T30" fmla="*/ 38 w 118"/>
                  <a:gd name="T31" fmla="*/ 10 h 123"/>
                  <a:gd name="T32" fmla="*/ 39 w 118"/>
                  <a:gd name="T33" fmla="*/ 9 h 123"/>
                  <a:gd name="T34" fmla="*/ 44 w 118"/>
                  <a:gd name="T35" fmla="*/ 8 h 123"/>
                  <a:gd name="T36" fmla="*/ 113 w 118"/>
                  <a:gd name="T37" fmla="*/ 43 h 123"/>
                  <a:gd name="T38" fmla="*/ 116 w 118"/>
                  <a:gd name="T39" fmla="*/ 49 h 123"/>
                  <a:gd name="T40" fmla="*/ 117 w 118"/>
                  <a:gd name="T41" fmla="*/ 7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3">
                    <a:moveTo>
                      <a:pt x="117" y="74"/>
                    </a:moveTo>
                    <a:cubicBezTo>
                      <a:pt x="117" y="74"/>
                      <a:pt x="117" y="74"/>
                      <a:pt x="117" y="74"/>
                    </a:cubicBezTo>
                    <a:cubicBezTo>
                      <a:pt x="113" y="94"/>
                      <a:pt x="100" y="112"/>
                      <a:pt x="80" y="119"/>
                    </a:cubicBezTo>
                    <a:cubicBezTo>
                      <a:pt x="78" y="120"/>
                      <a:pt x="76" y="120"/>
                      <a:pt x="74" y="121"/>
                    </a:cubicBezTo>
                    <a:cubicBezTo>
                      <a:pt x="74" y="121"/>
                      <a:pt x="74" y="121"/>
                      <a:pt x="74" y="121"/>
                    </a:cubicBezTo>
                    <a:cubicBezTo>
                      <a:pt x="67" y="123"/>
                      <a:pt x="60" y="123"/>
                      <a:pt x="53" y="123"/>
                    </a:cubicBezTo>
                    <a:cubicBezTo>
                      <a:pt x="52" y="123"/>
                      <a:pt x="52" y="122"/>
                      <a:pt x="51" y="122"/>
                    </a:cubicBezTo>
                    <a:cubicBezTo>
                      <a:pt x="51" y="122"/>
                      <a:pt x="51" y="122"/>
                      <a:pt x="51" y="122"/>
                    </a:cubicBezTo>
                    <a:cubicBezTo>
                      <a:pt x="50" y="122"/>
                      <a:pt x="50" y="122"/>
                      <a:pt x="49" y="122"/>
                    </a:cubicBezTo>
                    <a:cubicBezTo>
                      <a:pt x="49" y="122"/>
                      <a:pt x="49" y="122"/>
                      <a:pt x="49" y="122"/>
                    </a:cubicBezTo>
                    <a:cubicBezTo>
                      <a:pt x="45" y="121"/>
                      <a:pt x="40" y="120"/>
                      <a:pt x="36" y="118"/>
                    </a:cubicBezTo>
                    <a:cubicBezTo>
                      <a:pt x="26" y="110"/>
                      <a:pt x="16" y="101"/>
                      <a:pt x="7" y="92"/>
                    </a:cubicBezTo>
                    <a:cubicBezTo>
                      <a:pt x="5" y="88"/>
                      <a:pt x="4" y="84"/>
                      <a:pt x="2" y="79"/>
                    </a:cubicBezTo>
                    <a:cubicBezTo>
                      <a:pt x="0" y="71"/>
                      <a:pt x="0" y="63"/>
                      <a:pt x="1" y="55"/>
                    </a:cubicBezTo>
                    <a:cubicBezTo>
                      <a:pt x="1" y="55"/>
                      <a:pt x="1" y="55"/>
                      <a:pt x="1" y="55"/>
                    </a:cubicBezTo>
                    <a:cubicBezTo>
                      <a:pt x="5" y="35"/>
                      <a:pt x="18" y="17"/>
                      <a:pt x="38" y="10"/>
                    </a:cubicBezTo>
                    <a:cubicBezTo>
                      <a:pt x="39" y="9"/>
                      <a:pt x="39" y="9"/>
                      <a:pt x="39" y="9"/>
                    </a:cubicBezTo>
                    <a:cubicBezTo>
                      <a:pt x="41" y="9"/>
                      <a:pt x="42" y="8"/>
                      <a:pt x="44" y="8"/>
                    </a:cubicBezTo>
                    <a:cubicBezTo>
                      <a:pt x="73" y="0"/>
                      <a:pt x="103" y="15"/>
                      <a:pt x="113" y="43"/>
                    </a:cubicBezTo>
                    <a:cubicBezTo>
                      <a:pt x="114" y="45"/>
                      <a:pt x="115" y="47"/>
                      <a:pt x="116" y="49"/>
                    </a:cubicBezTo>
                    <a:cubicBezTo>
                      <a:pt x="118" y="58"/>
                      <a:pt x="118" y="66"/>
                      <a:pt x="117" y="74"/>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9" name="Freeform 53">
                <a:extLst>
                  <a:ext uri="{FF2B5EF4-FFF2-40B4-BE49-F238E27FC236}">
                    <a16:creationId xmlns:a16="http://schemas.microsoft.com/office/drawing/2014/main" id="{A93844F7-D847-4F4B-A773-946C79165BC5}"/>
                  </a:ext>
                </a:extLst>
              </p:cNvPr>
              <p:cNvSpPr>
                <a:spLocks/>
              </p:cNvSpPr>
              <p:nvPr/>
            </p:nvSpPr>
            <p:spPr bwMode="auto">
              <a:xfrm>
                <a:off x="-493712" y="5465763"/>
                <a:ext cx="88900" cy="34925"/>
              </a:xfrm>
              <a:custGeom>
                <a:avLst/>
                <a:gdLst>
                  <a:gd name="T0" fmla="*/ 0 w 56"/>
                  <a:gd name="T1" fmla="*/ 17 h 22"/>
                  <a:gd name="T2" fmla="*/ 46 w 56"/>
                  <a:gd name="T3" fmla="*/ 0 h 22"/>
                  <a:gd name="T4" fmla="*/ 56 w 56"/>
                  <a:gd name="T5" fmla="*/ 22 h 22"/>
                  <a:gd name="T6" fmla="*/ 0 w 56"/>
                  <a:gd name="T7" fmla="*/ 17 h 22"/>
                </a:gdLst>
                <a:ahLst/>
                <a:cxnLst>
                  <a:cxn ang="0">
                    <a:pos x="T0" y="T1"/>
                  </a:cxn>
                  <a:cxn ang="0">
                    <a:pos x="T2" y="T3"/>
                  </a:cxn>
                  <a:cxn ang="0">
                    <a:pos x="T4" y="T5"/>
                  </a:cxn>
                  <a:cxn ang="0">
                    <a:pos x="T6" y="T7"/>
                  </a:cxn>
                </a:cxnLst>
                <a:rect l="0" t="0" r="r" b="b"/>
                <a:pathLst>
                  <a:path w="56" h="22">
                    <a:moveTo>
                      <a:pt x="0" y="17"/>
                    </a:moveTo>
                    <a:lnTo>
                      <a:pt x="46" y="0"/>
                    </a:lnTo>
                    <a:lnTo>
                      <a:pt x="56" y="22"/>
                    </a:lnTo>
                    <a:lnTo>
                      <a:pt x="0" y="17"/>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0" name="Freeform 54">
                <a:extLst>
                  <a:ext uri="{FF2B5EF4-FFF2-40B4-BE49-F238E27FC236}">
                    <a16:creationId xmlns:a16="http://schemas.microsoft.com/office/drawing/2014/main" id="{A3900CC5-59D2-416B-82B2-BE653069A47C}"/>
                  </a:ext>
                </a:extLst>
              </p:cNvPr>
              <p:cNvSpPr>
                <a:spLocks/>
              </p:cNvSpPr>
              <p:nvPr/>
            </p:nvSpPr>
            <p:spPr bwMode="auto">
              <a:xfrm>
                <a:off x="-388937" y="5491163"/>
                <a:ext cx="231775" cy="112713"/>
              </a:xfrm>
              <a:custGeom>
                <a:avLst/>
                <a:gdLst>
                  <a:gd name="T0" fmla="*/ 0 w 156"/>
                  <a:gd name="T1" fmla="*/ 17 h 75"/>
                  <a:gd name="T2" fmla="*/ 156 w 156"/>
                  <a:gd name="T3" fmla="*/ 18 h 75"/>
                  <a:gd name="T4" fmla="*/ 14 w 156"/>
                  <a:gd name="T5" fmla="*/ 0 h 75"/>
                  <a:gd name="T6" fmla="*/ 0 w 156"/>
                  <a:gd name="T7" fmla="*/ 17 h 75"/>
                </a:gdLst>
                <a:ahLst/>
                <a:cxnLst>
                  <a:cxn ang="0">
                    <a:pos x="T0" y="T1"/>
                  </a:cxn>
                  <a:cxn ang="0">
                    <a:pos x="T2" y="T3"/>
                  </a:cxn>
                  <a:cxn ang="0">
                    <a:pos x="T4" y="T5"/>
                  </a:cxn>
                  <a:cxn ang="0">
                    <a:pos x="T6" y="T7"/>
                  </a:cxn>
                </a:cxnLst>
                <a:rect l="0" t="0" r="r" b="b"/>
                <a:pathLst>
                  <a:path w="156" h="75">
                    <a:moveTo>
                      <a:pt x="0" y="17"/>
                    </a:moveTo>
                    <a:cubicBezTo>
                      <a:pt x="0" y="17"/>
                      <a:pt x="63" y="75"/>
                      <a:pt x="156" y="18"/>
                    </a:cubicBezTo>
                    <a:cubicBezTo>
                      <a:pt x="14" y="0"/>
                      <a:pt x="14" y="0"/>
                      <a:pt x="14" y="0"/>
                    </a:cubicBezTo>
                    <a:lnTo>
                      <a:pt x="0" y="17"/>
                    </a:lnTo>
                    <a:close/>
                  </a:path>
                </a:pathLst>
              </a:custGeom>
              <a:solidFill>
                <a:srgbClr val="F9D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1" name="Freeform 55">
                <a:extLst>
                  <a:ext uri="{FF2B5EF4-FFF2-40B4-BE49-F238E27FC236}">
                    <a16:creationId xmlns:a16="http://schemas.microsoft.com/office/drawing/2014/main" id="{CF71841A-2DEE-4F6F-BF54-7DA73DF7A873}"/>
                  </a:ext>
                </a:extLst>
              </p:cNvPr>
              <p:cNvSpPr>
                <a:spLocks/>
              </p:cNvSpPr>
              <p:nvPr/>
            </p:nvSpPr>
            <p:spPr bwMode="auto">
              <a:xfrm>
                <a:off x="-396875" y="5467351"/>
                <a:ext cx="239713" cy="173038"/>
              </a:xfrm>
              <a:custGeom>
                <a:avLst/>
                <a:gdLst>
                  <a:gd name="T0" fmla="*/ 50 w 161"/>
                  <a:gd name="T1" fmla="*/ 0 h 115"/>
                  <a:gd name="T2" fmla="*/ 0 w 161"/>
                  <a:gd name="T3" fmla="*/ 20 h 115"/>
                  <a:gd name="T4" fmla="*/ 6 w 161"/>
                  <a:gd name="T5" fmla="*/ 44 h 115"/>
                  <a:gd name="T6" fmla="*/ 8 w 161"/>
                  <a:gd name="T7" fmla="*/ 48 h 115"/>
                  <a:gd name="T8" fmla="*/ 81 w 161"/>
                  <a:gd name="T9" fmla="*/ 115 h 115"/>
                  <a:gd name="T10" fmla="*/ 161 w 161"/>
                  <a:gd name="T11" fmla="*/ 34 h 115"/>
                  <a:gd name="T12" fmla="*/ 50 w 161"/>
                  <a:gd name="T13" fmla="*/ 0 h 115"/>
                </a:gdLst>
                <a:ahLst/>
                <a:cxnLst>
                  <a:cxn ang="0">
                    <a:pos x="T0" y="T1"/>
                  </a:cxn>
                  <a:cxn ang="0">
                    <a:pos x="T2" y="T3"/>
                  </a:cxn>
                  <a:cxn ang="0">
                    <a:pos x="T4" y="T5"/>
                  </a:cxn>
                  <a:cxn ang="0">
                    <a:pos x="T6" y="T7"/>
                  </a:cxn>
                  <a:cxn ang="0">
                    <a:pos x="T8" y="T9"/>
                  </a:cxn>
                  <a:cxn ang="0">
                    <a:pos x="T10" y="T11"/>
                  </a:cxn>
                  <a:cxn ang="0">
                    <a:pos x="T12" y="T13"/>
                  </a:cxn>
                </a:cxnLst>
                <a:rect l="0" t="0" r="r" b="b"/>
                <a:pathLst>
                  <a:path w="161" h="115">
                    <a:moveTo>
                      <a:pt x="50" y="0"/>
                    </a:moveTo>
                    <a:cubicBezTo>
                      <a:pt x="0" y="20"/>
                      <a:pt x="0" y="20"/>
                      <a:pt x="0" y="20"/>
                    </a:cubicBezTo>
                    <a:cubicBezTo>
                      <a:pt x="0" y="28"/>
                      <a:pt x="1" y="36"/>
                      <a:pt x="6" y="44"/>
                    </a:cubicBezTo>
                    <a:cubicBezTo>
                      <a:pt x="7" y="45"/>
                      <a:pt x="8" y="46"/>
                      <a:pt x="8" y="48"/>
                    </a:cubicBezTo>
                    <a:cubicBezTo>
                      <a:pt x="81" y="115"/>
                      <a:pt x="81" y="115"/>
                      <a:pt x="81" y="115"/>
                    </a:cubicBezTo>
                    <a:cubicBezTo>
                      <a:pt x="161" y="34"/>
                      <a:pt x="161" y="34"/>
                      <a:pt x="161" y="34"/>
                    </a:cubicBezTo>
                    <a:lnTo>
                      <a:pt x="50"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2" name="Freeform 56">
                <a:extLst>
                  <a:ext uri="{FF2B5EF4-FFF2-40B4-BE49-F238E27FC236}">
                    <a16:creationId xmlns:a16="http://schemas.microsoft.com/office/drawing/2014/main" id="{F5ADD062-FDB3-4F6D-9518-40DDBD293C21}"/>
                  </a:ext>
                </a:extLst>
              </p:cNvPr>
              <p:cNvSpPr>
                <a:spLocks/>
              </p:cNvSpPr>
              <p:nvPr/>
            </p:nvSpPr>
            <p:spPr bwMode="auto">
              <a:xfrm>
                <a:off x="-404812" y="5461001"/>
                <a:ext cx="269875" cy="360363"/>
              </a:xfrm>
              <a:custGeom>
                <a:avLst/>
                <a:gdLst>
                  <a:gd name="T0" fmla="*/ 182 w 182"/>
                  <a:gd name="T1" fmla="*/ 0 h 240"/>
                  <a:gd name="T2" fmla="*/ 182 w 182"/>
                  <a:gd name="T3" fmla="*/ 2 h 240"/>
                  <a:gd name="T4" fmla="*/ 173 w 182"/>
                  <a:gd name="T5" fmla="*/ 78 h 240"/>
                  <a:gd name="T6" fmla="*/ 170 w 182"/>
                  <a:gd name="T7" fmla="*/ 97 h 240"/>
                  <a:gd name="T8" fmla="*/ 168 w 182"/>
                  <a:gd name="T9" fmla="*/ 112 h 240"/>
                  <a:gd name="T10" fmla="*/ 168 w 182"/>
                  <a:gd name="T11" fmla="*/ 117 h 240"/>
                  <a:gd name="T12" fmla="*/ 168 w 182"/>
                  <a:gd name="T13" fmla="*/ 117 h 240"/>
                  <a:gd name="T14" fmla="*/ 167 w 182"/>
                  <a:gd name="T15" fmla="*/ 118 h 240"/>
                  <a:gd name="T16" fmla="*/ 149 w 182"/>
                  <a:gd name="T17" fmla="*/ 234 h 240"/>
                  <a:gd name="T18" fmla="*/ 128 w 182"/>
                  <a:gd name="T19" fmla="*/ 237 h 240"/>
                  <a:gd name="T20" fmla="*/ 95 w 182"/>
                  <a:gd name="T21" fmla="*/ 239 h 240"/>
                  <a:gd name="T22" fmla="*/ 93 w 182"/>
                  <a:gd name="T23" fmla="*/ 240 h 240"/>
                  <a:gd name="T24" fmla="*/ 86 w 182"/>
                  <a:gd name="T25" fmla="*/ 240 h 240"/>
                  <a:gd name="T26" fmla="*/ 54 w 182"/>
                  <a:gd name="T27" fmla="*/ 238 h 240"/>
                  <a:gd name="T28" fmla="*/ 34 w 182"/>
                  <a:gd name="T29" fmla="*/ 236 h 240"/>
                  <a:gd name="T30" fmla="*/ 15 w 182"/>
                  <a:gd name="T31" fmla="*/ 118 h 240"/>
                  <a:gd name="T32" fmla="*/ 15 w 182"/>
                  <a:gd name="T33" fmla="*/ 117 h 240"/>
                  <a:gd name="T34" fmla="*/ 14 w 182"/>
                  <a:gd name="T35" fmla="*/ 112 h 240"/>
                  <a:gd name="T36" fmla="*/ 14 w 182"/>
                  <a:gd name="T37" fmla="*/ 112 h 240"/>
                  <a:gd name="T38" fmla="*/ 10 w 182"/>
                  <a:gd name="T39" fmla="*/ 79 h 240"/>
                  <a:gd name="T40" fmla="*/ 0 w 182"/>
                  <a:gd name="T41" fmla="*/ 3 h 240"/>
                  <a:gd name="T42" fmla="*/ 0 w 182"/>
                  <a:gd name="T43" fmla="*/ 3 h 240"/>
                  <a:gd name="T44" fmla="*/ 0 w 182"/>
                  <a:gd name="T45" fmla="*/ 0 h 240"/>
                  <a:gd name="T46" fmla="*/ 0 w 182"/>
                  <a:gd name="T47" fmla="*/ 1 h 240"/>
                  <a:gd name="T48" fmla="*/ 15 w 182"/>
                  <a:gd name="T49" fmla="*/ 20 h 240"/>
                  <a:gd name="T50" fmla="*/ 20 w 182"/>
                  <a:gd name="T51" fmla="*/ 26 h 240"/>
                  <a:gd name="T52" fmla="*/ 42 w 182"/>
                  <a:gd name="T53" fmla="*/ 55 h 240"/>
                  <a:gd name="T54" fmla="*/ 45 w 182"/>
                  <a:gd name="T55" fmla="*/ 59 h 240"/>
                  <a:gd name="T56" fmla="*/ 47 w 182"/>
                  <a:gd name="T57" fmla="*/ 61 h 240"/>
                  <a:gd name="T58" fmla="*/ 132 w 182"/>
                  <a:gd name="T59" fmla="*/ 61 h 240"/>
                  <a:gd name="T60" fmla="*/ 135 w 182"/>
                  <a:gd name="T61" fmla="*/ 58 h 240"/>
                  <a:gd name="T62" fmla="*/ 140 w 182"/>
                  <a:gd name="T63" fmla="*/ 52 h 240"/>
                  <a:gd name="T64" fmla="*/ 153 w 182"/>
                  <a:gd name="T65" fmla="*/ 36 h 240"/>
                  <a:gd name="T66" fmla="*/ 154 w 182"/>
                  <a:gd name="T67" fmla="*/ 34 h 240"/>
                  <a:gd name="T68" fmla="*/ 182 w 182"/>
                  <a:gd name="T69" fmla="*/ 1 h 240"/>
                  <a:gd name="T70" fmla="*/ 182 w 182"/>
                  <a:gd name="T7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240">
                    <a:moveTo>
                      <a:pt x="182" y="0"/>
                    </a:moveTo>
                    <a:cubicBezTo>
                      <a:pt x="182" y="0"/>
                      <a:pt x="182" y="1"/>
                      <a:pt x="182" y="2"/>
                    </a:cubicBezTo>
                    <a:cubicBezTo>
                      <a:pt x="181" y="8"/>
                      <a:pt x="178" y="38"/>
                      <a:pt x="173" y="78"/>
                    </a:cubicBezTo>
                    <a:cubicBezTo>
                      <a:pt x="172" y="84"/>
                      <a:pt x="171" y="91"/>
                      <a:pt x="170" y="97"/>
                    </a:cubicBezTo>
                    <a:cubicBezTo>
                      <a:pt x="170" y="102"/>
                      <a:pt x="169" y="107"/>
                      <a:pt x="168" y="112"/>
                    </a:cubicBezTo>
                    <a:cubicBezTo>
                      <a:pt x="168" y="113"/>
                      <a:pt x="168" y="115"/>
                      <a:pt x="168" y="117"/>
                    </a:cubicBezTo>
                    <a:cubicBezTo>
                      <a:pt x="168" y="117"/>
                      <a:pt x="168" y="117"/>
                      <a:pt x="168" y="117"/>
                    </a:cubicBezTo>
                    <a:cubicBezTo>
                      <a:pt x="167" y="117"/>
                      <a:pt x="167" y="118"/>
                      <a:pt x="167" y="118"/>
                    </a:cubicBezTo>
                    <a:cubicBezTo>
                      <a:pt x="162" y="157"/>
                      <a:pt x="156" y="199"/>
                      <a:pt x="149" y="234"/>
                    </a:cubicBezTo>
                    <a:cubicBezTo>
                      <a:pt x="142" y="235"/>
                      <a:pt x="135" y="236"/>
                      <a:pt x="128" y="237"/>
                    </a:cubicBezTo>
                    <a:cubicBezTo>
                      <a:pt x="117" y="238"/>
                      <a:pt x="106" y="239"/>
                      <a:pt x="95" y="239"/>
                    </a:cubicBezTo>
                    <a:cubicBezTo>
                      <a:pt x="95" y="240"/>
                      <a:pt x="94" y="240"/>
                      <a:pt x="93" y="240"/>
                    </a:cubicBezTo>
                    <a:cubicBezTo>
                      <a:pt x="91" y="240"/>
                      <a:pt x="89" y="240"/>
                      <a:pt x="86" y="240"/>
                    </a:cubicBezTo>
                    <a:cubicBezTo>
                      <a:pt x="75" y="240"/>
                      <a:pt x="65" y="239"/>
                      <a:pt x="54" y="238"/>
                    </a:cubicBezTo>
                    <a:cubicBezTo>
                      <a:pt x="47" y="238"/>
                      <a:pt x="40" y="237"/>
                      <a:pt x="34" y="236"/>
                    </a:cubicBezTo>
                    <a:cubicBezTo>
                      <a:pt x="27" y="200"/>
                      <a:pt x="20" y="157"/>
                      <a:pt x="15" y="118"/>
                    </a:cubicBezTo>
                    <a:cubicBezTo>
                      <a:pt x="15" y="118"/>
                      <a:pt x="15" y="117"/>
                      <a:pt x="15" y="117"/>
                    </a:cubicBezTo>
                    <a:cubicBezTo>
                      <a:pt x="14" y="115"/>
                      <a:pt x="14" y="114"/>
                      <a:pt x="14" y="112"/>
                    </a:cubicBezTo>
                    <a:cubicBezTo>
                      <a:pt x="14" y="112"/>
                      <a:pt x="14" y="112"/>
                      <a:pt x="14" y="112"/>
                    </a:cubicBezTo>
                    <a:cubicBezTo>
                      <a:pt x="12" y="100"/>
                      <a:pt x="11" y="89"/>
                      <a:pt x="10" y="79"/>
                    </a:cubicBezTo>
                    <a:cubicBezTo>
                      <a:pt x="5" y="41"/>
                      <a:pt x="1" y="12"/>
                      <a:pt x="0" y="3"/>
                    </a:cubicBezTo>
                    <a:cubicBezTo>
                      <a:pt x="0" y="3"/>
                      <a:pt x="0" y="3"/>
                      <a:pt x="0" y="3"/>
                    </a:cubicBezTo>
                    <a:cubicBezTo>
                      <a:pt x="0" y="1"/>
                      <a:pt x="0" y="0"/>
                      <a:pt x="0" y="0"/>
                    </a:cubicBezTo>
                    <a:cubicBezTo>
                      <a:pt x="0" y="1"/>
                      <a:pt x="0" y="1"/>
                      <a:pt x="0" y="1"/>
                    </a:cubicBezTo>
                    <a:cubicBezTo>
                      <a:pt x="15" y="20"/>
                      <a:pt x="15" y="20"/>
                      <a:pt x="15" y="20"/>
                    </a:cubicBezTo>
                    <a:cubicBezTo>
                      <a:pt x="20" y="26"/>
                      <a:pt x="20" y="26"/>
                      <a:pt x="20" y="26"/>
                    </a:cubicBezTo>
                    <a:cubicBezTo>
                      <a:pt x="42" y="55"/>
                      <a:pt x="42" y="55"/>
                      <a:pt x="42" y="55"/>
                    </a:cubicBezTo>
                    <a:cubicBezTo>
                      <a:pt x="45" y="59"/>
                      <a:pt x="45" y="59"/>
                      <a:pt x="45" y="59"/>
                    </a:cubicBezTo>
                    <a:cubicBezTo>
                      <a:pt x="47" y="61"/>
                      <a:pt x="47" y="61"/>
                      <a:pt x="47" y="61"/>
                    </a:cubicBezTo>
                    <a:cubicBezTo>
                      <a:pt x="132" y="61"/>
                      <a:pt x="132" y="61"/>
                      <a:pt x="132" y="61"/>
                    </a:cubicBezTo>
                    <a:cubicBezTo>
                      <a:pt x="135" y="58"/>
                      <a:pt x="135" y="58"/>
                      <a:pt x="135" y="58"/>
                    </a:cubicBezTo>
                    <a:cubicBezTo>
                      <a:pt x="140" y="52"/>
                      <a:pt x="140" y="52"/>
                      <a:pt x="140" y="52"/>
                    </a:cubicBezTo>
                    <a:cubicBezTo>
                      <a:pt x="153" y="36"/>
                      <a:pt x="153" y="36"/>
                      <a:pt x="153" y="36"/>
                    </a:cubicBezTo>
                    <a:cubicBezTo>
                      <a:pt x="154" y="34"/>
                      <a:pt x="154" y="34"/>
                      <a:pt x="154" y="34"/>
                    </a:cubicBezTo>
                    <a:cubicBezTo>
                      <a:pt x="182" y="1"/>
                      <a:pt x="182" y="1"/>
                      <a:pt x="182" y="1"/>
                    </a:cubicBezTo>
                    <a:lnTo>
                      <a:pt x="1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3" name="Freeform 57">
                <a:extLst>
                  <a:ext uri="{FF2B5EF4-FFF2-40B4-BE49-F238E27FC236}">
                    <a16:creationId xmlns:a16="http://schemas.microsoft.com/office/drawing/2014/main" id="{4745A0FC-C9EF-44FF-8326-D12CE1495966}"/>
                  </a:ext>
                </a:extLst>
              </p:cNvPr>
              <p:cNvSpPr>
                <a:spLocks/>
              </p:cNvSpPr>
              <p:nvPr/>
            </p:nvSpPr>
            <p:spPr bwMode="auto">
              <a:xfrm>
                <a:off x="-325437" y="5545138"/>
                <a:ext cx="109538" cy="276225"/>
              </a:xfrm>
              <a:custGeom>
                <a:avLst/>
                <a:gdLst>
                  <a:gd name="T0" fmla="*/ 74 w 74"/>
                  <a:gd name="T1" fmla="*/ 181 h 184"/>
                  <a:gd name="T2" fmla="*/ 41 w 74"/>
                  <a:gd name="T3" fmla="*/ 183 h 184"/>
                  <a:gd name="T4" fmla="*/ 39 w 74"/>
                  <a:gd name="T5" fmla="*/ 184 h 184"/>
                  <a:gd name="T6" fmla="*/ 32 w 74"/>
                  <a:gd name="T7" fmla="*/ 184 h 184"/>
                  <a:gd name="T8" fmla="*/ 0 w 74"/>
                  <a:gd name="T9" fmla="*/ 182 h 184"/>
                  <a:gd name="T10" fmla="*/ 7 w 74"/>
                  <a:gd name="T11" fmla="*/ 103 h 184"/>
                  <a:gd name="T12" fmla="*/ 24 w 74"/>
                  <a:gd name="T13" fmla="*/ 67 h 184"/>
                  <a:gd name="T14" fmla="*/ 9 w 74"/>
                  <a:gd name="T15" fmla="*/ 44 h 184"/>
                  <a:gd name="T16" fmla="*/ 7 w 74"/>
                  <a:gd name="T17" fmla="*/ 39 h 184"/>
                  <a:gd name="T18" fmla="*/ 4 w 74"/>
                  <a:gd name="T19" fmla="*/ 30 h 184"/>
                  <a:gd name="T20" fmla="*/ 3 w 74"/>
                  <a:gd name="T21" fmla="*/ 24 h 184"/>
                  <a:gd name="T22" fmla="*/ 2 w 74"/>
                  <a:gd name="T23" fmla="*/ 23 h 184"/>
                  <a:gd name="T24" fmla="*/ 8 w 74"/>
                  <a:gd name="T25" fmla="*/ 19 h 184"/>
                  <a:gd name="T26" fmla="*/ 28 w 74"/>
                  <a:gd name="T27" fmla="*/ 7 h 184"/>
                  <a:gd name="T28" fmla="*/ 31 w 74"/>
                  <a:gd name="T29" fmla="*/ 6 h 184"/>
                  <a:gd name="T30" fmla="*/ 32 w 74"/>
                  <a:gd name="T31" fmla="*/ 5 h 184"/>
                  <a:gd name="T32" fmla="*/ 35 w 74"/>
                  <a:gd name="T33" fmla="*/ 5 h 184"/>
                  <a:gd name="T34" fmla="*/ 37 w 74"/>
                  <a:gd name="T35" fmla="*/ 4 h 184"/>
                  <a:gd name="T36" fmla="*/ 39 w 74"/>
                  <a:gd name="T37" fmla="*/ 3 h 184"/>
                  <a:gd name="T38" fmla="*/ 40 w 74"/>
                  <a:gd name="T39" fmla="*/ 3 h 184"/>
                  <a:gd name="T40" fmla="*/ 40 w 74"/>
                  <a:gd name="T41" fmla="*/ 3 h 184"/>
                  <a:gd name="T42" fmla="*/ 43 w 74"/>
                  <a:gd name="T43" fmla="*/ 2 h 184"/>
                  <a:gd name="T44" fmla="*/ 44 w 74"/>
                  <a:gd name="T45" fmla="*/ 2 h 184"/>
                  <a:gd name="T46" fmla="*/ 41 w 74"/>
                  <a:gd name="T47" fmla="*/ 3 h 184"/>
                  <a:gd name="T48" fmla="*/ 40 w 74"/>
                  <a:gd name="T49" fmla="*/ 4 h 184"/>
                  <a:gd name="T50" fmla="*/ 39 w 74"/>
                  <a:gd name="T51" fmla="*/ 4 h 184"/>
                  <a:gd name="T52" fmla="*/ 39 w 74"/>
                  <a:gd name="T53" fmla="*/ 4 h 184"/>
                  <a:gd name="T54" fmla="*/ 40 w 74"/>
                  <a:gd name="T55" fmla="*/ 4 h 184"/>
                  <a:gd name="T56" fmla="*/ 41 w 74"/>
                  <a:gd name="T57" fmla="*/ 4 h 184"/>
                  <a:gd name="T58" fmla="*/ 43 w 74"/>
                  <a:gd name="T59" fmla="*/ 5 h 184"/>
                  <a:gd name="T60" fmla="*/ 45 w 74"/>
                  <a:gd name="T61" fmla="*/ 6 h 184"/>
                  <a:gd name="T62" fmla="*/ 51 w 74"/>
                  <a:gd name="T63" fmla="*/ 9 h 184"/>
                  <a:gd name="T64" fmla="*/ 67 w 74"/>
                  <a:gd name="T65" fmla="*/ 18 h 184"/>
                  <a:gd name="T66" fmla="*/ 72 w 74"/>
                  <a:gd name="T67" fmla="*/ 23 h 184"/>
                  <a:gd name="T68" fmla="*/ 72 w 74"/>
                  <a:gd name="T69" fmla="*/ 23 h 184"/>
                  <a:gd name="T70" fmla="*/ 72 w 74"/>
                  <a:gd name="T71" fmla="*/ 24 h 184"/>
                  <a:gd name="T72" fmla="*/ 70 w 74"/>
                  <a:gd name="T73" fmla="*/ 30 h 184"/>
                  <a:gd name="T74" fmla="*/ 65 w 74"/>
                  <a:gd name="T75" fmla="*/ 44 h 184"/>
                  <a:gd name="T76" fmla="*/ 50 w 74"/>
                  <a:gd name="T77" fmla="*/ 67 h 184"/>
                  <a:gd name="T78" fmla="*/ 67 w 74"/>
                  <a:gd name="T79" fmla="*/ 103 h 184"/>
                  <a:gd name="T80" fmla="*/ 74 w 74"/>
                  <a:gd name="T81" fmla="*/ 18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 h="184">
                    <a:moveTo>
                      <a:pt x="74" y="181"/>
                    </a:moveTo>
                    <a:cubicBezTo>
                      <a:pt x="63" y="182"/>
                      <a:pt x="52" y="183"/>
                      <a:pt x="41" y="183"/>
                    </a:cubicBezTo>
                    <a:cubicBezTo>
                      <a:pt x="41" y="184"/>
                      <a:pt x="40" y="184"/>
                      <a:pt x="39" y="184"/>
                    </a:cubicBezTo>
                    <a:cubicBezTo>
                      <a:pt x="37" y="184"/>
                      <a:pt x="35" y="184"/>
                      <a:pt x="32" y="184"/>
                    </a:cubicBezTo>
                    <a:cubicBezTo>
                      <a:pt x="21" y="184"/>
                      <a:pt x="11" y="183"/>
                      <a:pt x="0" y="182"/>
                    </a:cubicBezTo>
                    <a:cubicBezTo>
                      <a:pt x="2" y="140"/>
                      <a:pt x="7" y="103"/>
                      <a:pt x="7" y="103"/>
                    </a:cubicBezTo>
                    <a:cubicBezTo>
                      <a:pt x="8" y="87"/>
                      <a:pt x="24" y="67"/>
                      <a:pt x="24" y="67"/>
                    </a:cubicBezTo>
                    <a:cubicBezTo>
                      <a:pt x="18" y="62"/>
                      <a:pt x="13" y="53"/>
                      <a:pt x="9" y="44"/>
                    </a:cubicBezTo>
                    <a:cubicBezTo>
                      <a:pt x="9" y="42"/>
                      <a:pt x="8" y="41"/>
                      <a:pt x="7" y="39"/>
                    </a:cubicBezTo>
                    <a:cubicBezTo>
                      <a:pt x="6" y="36"/>
                      <a:pt x="5" y="33"/>
                      <a:pt x="4" y="30"/>
                    </a:cubicBezTo>
                    <a:cubicBezTo>
                      <a:pt x="3" y="28"/>
                      <a:pt x="3" y="26"/>
                      <a:pt x="3" y="24"/>
                    </a:cubicBezTo>
                    <a:cubicBezTo>
                      <a:pt x="2" y="24"/>
                      <a:pt x="2" y="23"/>
                      <a:pt x="2" y="23"/>
                    </a:cubicBezTo>
                    <a:cubicBezTo>
                      <a:pt x="2" y="23"/>
                      <a:pt x="4" y="21"/>
                      <a:pt x="8" y="19"/>
                    </a:cubicBezTo>
                    <a:cubicBezTo>
                      <a:pt x="13" y="15"/>
                      <a:pt x="20" y="11"/>
                      <a:pt x="28" y="7"/>
                    </a:cubicBezTo>
                    <a:cubicBezTo>
                      <a:pt x="29" y="7"/>
                      <a:pt x="30" y="6"/>
                      <a:pt x="31" y="6"/>
                    </a:cubicBezTo>
                    <a:cubicBezTo>
                      <a:pt x="31" y="6"/>
                      <a:pt x="32" y="6"/>
                      <a:pt x="32" y="5"/>
                    </a:cubicBezTo>
                    <a:cubicBezTo>
                      <a:pt x="33" y="5"/>
                      <a:pt x="34" y="5"/>
                      <a:pt x="35" y="5"/>
                    </a:cubicBezTo>
                    <a:cubicBezTo>
                      <a:pt x="35" y="4"/>
                      <a:pt x="36" y="4"/>
                      <a:pt x="37" y="4"/>
                    </a:cubicBezTo>
                    <a:cubicBezTo>
                      <a:pt x="38" y="4"/>
                      <a:pt x="38" y="3"/>
                      <a:pt x="39" y="3"/>
                    </a:cubicBezTo>
                    <a:cubicBezTo>
                      <a:pt x="39" y="3"/>
                      <a:pt x="39" y="3"/>
                      <a:pt x="40" y="3"/>
                    </a:cubicBezTo>
                    <a:cubicBezTo>
                      <a:pt x="40" y="3"/>
                      <a:pt x="40" y="3"/>
                      <a:pt x="40" y="3"/>
                    </a:cubicBezTo>
                    <a:cubicBezTo>
                      <a:pt x="41" y="3"/>
                      <a:pt x="42" y="2"/>
                      <a:pt x="43" y="2"/>
                    </a:cubicBezTo>
                    <a:cubicBezTo>
                      <a:pt x="49" y="0"/>
                      <a:pt x="47" y="1"/>
                      <a:pt x="44" y="2"/>
                    </a:cubicBezTo>
                    <a:cubicBezTo>
                      <a:pt x="43" y="2"/>
                      <a:pt x="42" y="3"/>
                      <a:pt x="41" y="3"/>
                    </a:cubicBezTo>
                    <a:cubicBezTo>
                      <a:pt x="41" y="3"/>
                      <a:pt x="40" y="3"/>
                      <a:pt x="40" y="4"/>
                    </a:cubicBezTo>
                    <a:cubicBezTo>
                      <a:pt x="40" y="4"/>
                      <a:pt x="39" y="4"/>
                      <a:pt x="39" y="4"/>
                    </a:cubicBezTo>
                    <a:cubicBezTo>
                      <a:pt x="39" y="4"/>
                      <a:pt x="39" y="4"/>
                      <a:pt x="39" y="4"/>
                    </a:cubicBezTo>
                    <a:cubicBezTo>
                      <a:pt x="39" y="4"/>
                      <a:pt x="39" y="4"/>
                      <a:pt x="40" y="4"/>
                    </a:cubicBezTo>
                    <a:cubicBezTo>
                      <a:pt x="40" y="4"/>
                      <a:pt x="40" y="4"/>
                      <a:pt x="41" y="4"/>
                    </a:cubicBezTo>
                    <a:cubicBezTo>
                      <a:pt x="41" y="5"/>
                      <a:pt x="42" y="5"/>
                      <a:pt x="43" y="5"/>
                    </a:cubicBezTo>
                    <a:cubicBezTo>
                      <a:pt x="44" y="6"/>
                      <a:pt x="44" y="6"/>
                      <a:pt x="45" y="6"/>
                    </a:cubicBezTo>
                    <a:cubicBezTo>
                      <a:pt x="47" y="7"/>
                      <a:pt x="49" y="8"/>
                      <a:pt x="51" y="9"/>
                    </a:cubicBezTo>
                    <a:cubicBezTo>
                      <a:pt x="56" y="12"/>
                      <a:pt x="63" y="15"/>
                      <a:pt x="67" y="18"/>
                    </a:cubicBezTo>
                    <a:cubicBezTo>
                      <a:pt x="69" y="20"/>
                      <a:pt x="71" y="22"/>
                      <a:pt x="72" y="23"/>
                    </a:cubicBezTo>
                    <a:cubicBezTo>
                      <a:pt x="72" y="23"/>
                      <a:pt x="72" y="23"/>
                      <a:pt x="72" y="23"/>
                    </a:cubicBezTo>
                    <a:cubicBezTo>
                      <a:pt x="72" y="24"/>
                      <a:pt x="72" y="24"/>
                      <a:pt x="72" y="24"/>
                    </a:cubicBezTo>
                    <a:cubicBezTo>
                      <a:pt x="71" y="26"/>
                      <a:pt x="71" y="28"/>
                      <a:pt x="70" y="30"/>
                    </a:cubicBezTo>
                    <a:cubicBezTo>
                      <a:pt x="69" y="34"/>
                      <a:pt x="67" y="39"/>
                      <a:pt x="65" y="44"/>
                    </a:cubicBezTo>
                    <a:cubicBezTo>
                      <a:pt x="61" y="53"/>
                      <a:pt x="56" y="62"/>
                      <a:pt x="50" y="67"/>
                    </a:cubicBezTo>
                    <a:cubicBezTo>
                      <a:pt x="50" y="67"/>
                      <a:pt x="67" y="87"/>
                      <a:pt x="67" y="103"/>
                    </a:cubicBezTo>
                    <a:cubicBezTo>
                      <a:pt x="67" y="103"/>
                      <a:pt x="72" y="140"/>
                      <a:pt x="74" y="181"/>
                    </a:cubicBezTo>
                    <a:close/>
                  </a:path>
                </a:pathLst>
              </a:custGeom>
              <a:solidFill>
                <a:srgbClr val="361E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4" name="Freeform 58">
                <a:extLst>
                  <a:ext uri="{FF2B5EF4-FFF2-40B4-BE49-F238E27FC236}">
                    <a16:creationId xmlns:a16="http://schemas.microsoft.com/office/drawing/2014/main" id="{4FAB836F-CC95-443C-A219-212A445DE78C}"/>
                  </a:ext>
                </a:extLst>
              </p:cNvPr>
              <p:cNvSpPr>
                <a:spLocks/>
              </p:cNvSpPr>
              <p:nvPr/>
            </p:nvSpPr>
            <p:spPr bwMode="auto">
              <a:xfrm>
                <a:off x="-366712" y="5392738"/>
                <a:ext cx="192088" cy="155575"/>
              </a:xfrm>
              <a:custGeom>
                <a:avLst/>
                <a:gdLst>
                  <a:gd name="T0" fmla="*/ 65 w 129"/>
                  <a:gd name="T1" fmla="*/ 104 h 104"/>
                  <a:gd name="T2" fmla="*/ 0 w 129"/>
                  <a:gd name="T3" fmla="*/ 46 h 104"/>
                  <a:gd name="T4" fmla="*/ 0 w 129"/>
                  <a:gd name="T5" fmla="*/ 0 h 104"/>
                  <a:gd name="T6" fmla="*/ 129 w 129"/>
                  <a:gd name="T7" fmla="*/ 0 h 104"/>
                  <a:gd name="T8" fmla="*/ 129 w 129"/>
                  <a:gd name="T9" fmla="*/ 46 h 104"/>
                  <a:gd name="T10" fmla="*/ 65 w 129"/>
                  <a:gd name="T11" fmla="*/ 104 h 104"/>
                </a:gdLst>
                <a:ahLst/>
                <a:cxnLst>
                  <a:cxn ang="0">
                    <a:pos x="T0" y="T1"/>
                  </a:cxn>
                  <a:cxn ang="0">
                    <a:pos x="T2" y="T3"/>
                  </a:cxn>
                  <a:cxn ang="0">
                    <a:pos x="T4" y="T5"/>
                  </a:cxn>
                  <a:cxn ang="0">
                    <a:pos x="T6" y="T7"/>
                  </a:cxn>
                  <a:cxn ang="0">
                    <a:pos x="T8" y="T9"/>
                  </a:cxn>
                  <a:cxn ang="0">
                    <a:pos x="T10" y="T11"/>
                  </a:cxn>
                </a:cxnLst>
                <a:rect l="0" t="0" r="r" b="b"/>
                <a:pathLst>
                  <a:path w="129" h="104">
                    <a:moveTo>
                      <a:pt x="65" y="104"/>
                    </a:moveTo>
                    <a:cubicBezTo>
                      <a:pt x="29" y="104"/>
                      <a:pt x="0" y="82"/>
                      <a:pt x="0" y="46"/>
                    </a:cubicBezTo>
                    <a:cubicBezTo>
                      <a:pt x="0" y="0"/>
                      <a:pt x="0" y="0"/>
                      <a:pt x="0" y="0"/>
                    </a:cubicBezTo>
                    <a:cubicBezTo>
                      <a:pt x="129" y="0"/>
                      <a:pt x="129" y="0"/>
                      <a:pt x="129" y="0"/>
                    </a:cubicBezTo>
                    <a:cubicBezTo>
                      <a:pt x="129" y="46"/>
                      <a:pt x="129" y="46"/>
                      <a:pt x="129" y="46"/>
                    </a:cubicBezTo>
                    <a:cubicBezTo>
                      <a:pt x="129" y="82"/>
                      <a:pt x="100" y="104"/>
                      <a:pt x="65" y="104"/>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5" name="Freeform 59">
                <a:extLst>
                  <a:ext uri="{FF2B5EF4-FFF2-40B4-BE49-F238E27FC236}">
                    <a16:creationId xmlns:a16="http://schemas.microsoft.com/office/drawing/2014/main" id="{4581F8A2-F487-4133-97A9-D338D037CF45}"/>
                  </a:ext>
                </a:extLst>
              </p:cNvPr>
              <p:cNvSpPr>
                <a:spLocks/>
              </p:cNvSpPr>
              <p:nvPr/>
            </p:nvSpPr>
            <p:spPr bwMode="auto">
              <a:xfrm>
                <a:off x="-422275" y="5200651"/>
                <a:ext cx="15875" cy="58738"/>
              </a:xfrm>
              <a:custGeom>
                <a:avLst/>
                <a:gdLst>
                  <a:gd name="T0" fmla="*/ 8 w 10"/>
                  <a:gd name="T1" fmla="*/ 37 h 39"/>
                  <a:gd name="T2" fmla="*/ 10 w 10"/>
                  <a:gd name="T3" fmla="*/ 39 h 39"/>
                  <a:gd name="T4" fmla="*/ 7 w 10"/>
                  <a:gd name="T5" fmla="*/ 7 h 39"/>
                  <a:gd name="T6" fmla="*/ 7 w 10"/>
                  <a:gd name="T7" fmla="*/ 0 h 39"/>
                  <a:gd name="T8" fmla="*/ 0 w 10"/>
                  <a:gd name="T9" fmla="*/ 2 h 39"/>
                  <a:gd name="T10" fmla="*/ 0 w 10"/>
                  <a:gd name="T11" fmla="*/ 36 h 39"/>
                  <a:gd name="T12" fmla="*/ 8 w 10"/>
                  <a:gd name="T13" fmla="*/ 37 h 39"/>
                </a:gdLst>
                <a:ahLst/>
                <a:cxnLst>
                  <a:cxn ang="0">
                    <a:pos x="T0" y="T1"/>
                  </a:cxn>
                  <a:cxn ang="0">
                    <a:pos x="T2" y="T3"/>
                  </a:cxn>
                  <a:cxn ang="0">
                    <a:pos x="T4" y="T5"/>
                  </a:cxn>
                  <a:cxn ang="0">
                    <a:pos x="T6" y="T7"/>
                  </a:cxn>
                  <a:cxn ang="0">
                    <a:pos x="T8" y="T9"/>
                  </a:cxn>
                  <a:cxn ang="0">
                    <a:pos x="T10" y="T11"/>
                  </a:cxn>
                  <a:cxn ang="0">
                    <a:pos x="T12" y="T13"/>
                  </a:cxn>
                </a:cxnLst>
                <a:rect l="0" t="0" r="r" b="b"/>
                <a:pathLst>
                  <a:path w="10" h="39">
                    <a:moveTo>
                      <a:pt x="8" y="37"/>
                    </a:moveTo>
                    <a:cubicBezTo>
                      <a:pt x="9" y="38"/>
                      <a:pt x="10" y="38"/>
                      <a:pt x="10" y="39"/>
                    </a:cubicBezTo>
                    <a:cubicBezTo>
                      <a:pt x="8" y="29"/>
                      <a:pt x="7" y="18"/>
                      <a:pt x="7" y="7"/>
                    </a:cubicBezTo>
                    <a:cubicBezTo>
                      <a:pt x="7" y="0"/>
                      <a:pt x="7" y="0"/>
                      <a:pt x="7" y="0"/>
                    </a:cubicBezTo>
                    <a:cubicBezTo>
                      <a:pt x="0" y="2"/>
                      <a:pt x="0" y="2"/>
                      <a:pt x="0" y="2"/>
                    </a:cubicBezTo>
                    <a:cubicBezTo>
                      <a:pt x="0" y="36"/>
                      <a:pt x="0" y="36"/>
                      <a:pt x="0" y="36"/>
                    </a:cubicBezTo>
                    <a:cubicBezTo>
                      <a:pt x="3" y="35"/>
                      <a:pt x="6" y="36"/>
                      <a:pt x="8" y="37"/>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6" name="Freeform 60">
                <a:extLst>
                  <a:ext uri="{FF2B5EF4-FFF2-40B4-BE49-F238E27FC236}">
                    <a16:creationId xmlns:a16="http://schemas.microsoft.com/office/drawing/2014/main" id="{369180B0-F6C2-40DF-98E8-5BA280463539}"/>
                  </a:ext>
                </a:extLst>
              </p:cNvPr>
              <p:cNvSpPr>
                <a:spLocks noEditPoints="1"/>
              </p:cNvSpPr>
              <p:nvPr/>
            </p:nvSpPr>
            <p:spPr bwMode="auto">
              <a:xfrm>
                <a:off x="-407987" y="5202238"/>
                <a:ext cx="288925" cy="258763"/>
              </a:xfrm>
              <a:custGeom>
                <a:avLst/>
                <a:gdLst>
                  <a:gd name="T0" fmla="*/ 195 w 195"/>
                  <a:gd name="T1" fmla="*/ 1 h 173"/>
                  <a:gd name="T2" fmla="*/ 188 w 195"/>
                  <a:gd name="T3" fmla="*/ 0 h 173"/>
                  <a:gd name="T4" fmla="*/ 188 w 195"/>
                  <a:gd name="T5" fmla="*/ 6 h 173"/>
                  <a:gd name="T6" fmla="*/ 187 w 195"/>
                  <a:gd name="T7" fmla="*/ 26 h 173"/>
                  <a:gd name="T8" fmla="*/ 183 w 195"/>
                  <a:gd name="T9" fmla="*/ 44 h 173"/>
                  <a:gd name="T10" fmla="*/ 152 w 195"/>
                  <a:gd name="T11" fmla="*/ 89 h 173"/>
                  <a:gd name="T12" fmla="*/ 152 w 195"/>
                  <a:gd name="T13" fmla="*/ 89 h 173"/>
                  <a:gd name="T14" fmla="*/ 94 w 195"/>
                  <a:gd name="T15" fmla="*/ 61 h 173"/>
                  <a:gd name="T16" fmla="*/ 35 w 195"/>
                  <a:gd name="T17" fmla="*/ 89 h 173"/>
                  <a:gd name="T18" fmla="*/ 35 w 195"/>
                  <a:gd name="T19" fmla="*/ 89 h 173"/>
                  <a:gd name="T20" fmla="*/ 5 w 195"/>
                  <a:gd name="T21" fmla="*/ 50 h 173"/>
                  <a:gd name="T22" fmla="*/ 4 w 195"/>
                  <a:gd name="T23" fmla="*/ 54 h 173"/>
                  <a:gd name="T24" fmla="*/ 3 w 195"/>
                  <a:gd name="T25" fmla="*/ 55 h 173"/>
                  <a:gd name="T26" fmla="*/ 2 w 195"/>
                  <a:gd name="T27" fmla="*/ 70 h 173"/>
                  <a:gd name="T28" fmla="*/ 3 w 195"/>
                  <a:gd name="T29" fmla="*/ 92 h 173"/>
                  <a:gd name="T30" fmla="*/ 3 w 195"/>
                  <a:gd name="T31" fmla="*/ 103 h 173"/>
                  <a:gd name="T32" fmla="*/ 3 w 195"/>
                  <a:gd name="T33" fmla="*/ 103 h 173"/>
                  <a:gd name="T34" fmla="*/ 3 w 195"/>
                  <a:gd name="T35" fmla="*/ 103 h 173"/>
                  <a:gd name="T36" fmla="*/ 28 w 195"/>
                  <a:gd name="T37" fmla="*/ 110 h 173"/>
                  <a:gd name="T38" fmla="*/ 28 w 195"/>
                  <a:gd name="T39" fmla="*/ 150 h 173"/>
                  <a:gd name="T40" fmla="*/ 39 w 195"/>
                  <a:gd name="T41" fmla="*/ 158 h 173"/>
                  <a:gd name="T42" fmla="*/ 61 w 195"/>
                  <a:gd name="T43" fmla="*/ 168 h 173"/>
                  <a:gd name="T44" fmla="*/ 89 w 195"/>
                  <a:gd name="T45" fmla="*/ 173 h 173"/>
                  <a:gd name="T46" fmla="*/ 94 w 195"/>
                  <a:gd name="T47" fmla="*/ 173 h 173"/>
                  <a:gd name="T48" fmla="*/ 95 w 195"/>
                  <a:gd name="T49" fmla="*/ 173 h 173"/>
                  <a:gd name="T50" fmla="*/ 135 w 195"/>
                  <a:gd name="T51" fmla="*/ 165 h 173"/>
                  <a:gd name="T52" fmla="*/ 148 w 195"/>
                  <a:gd name="T53" fmla="*/ 158 h 173"/>
                  <a:gd name="T54" fmla="*/ 157 w 195"/>
                  <a:gd name="T55" fmla="*/ 151 h 173"/>
                  <a:gd name="T56" fmla="*/ 157 w 195"/>
                  <a:gd name="T57" fmla="*/ 105 h 173"/>
                  <a:gd name="T58" fmla="*/ 179 w 195"/>
                  <a:gd name="T59" fmla="*/ 96 h 173"/>
                  <a:gd name="T60" fmla="*/ 181 w 195"/>
                  <a:gd name="T61" fmla="*/ 56 h 173"/>
                  <a:gd name="T62" fmla="*/ 183 w 195"/>
                  <a:gd name="T63" fmla="*/ 49 h 173"/>
                  <a:gd name="T64" fmla="*/ 195 w 195"/>
                  <a:gd name="T65" fmla="*/ 43 h 173"/>
                  <a:gd name="T66" fmla="*/ 195 w 195"/>
                  <a:gd name="T67" fmla="*/ 43 h 173"/>
                  <a:gd name="T68" fmla="*/ 195 w 195"/>
                  <a:gd name="T69" fmla="*/ 1 h 173"/>
                  <a:gd name="T70" fmla="*/ 57 w 195"/>
                  <a:gd name="T71" fmla="*/ 98 h 173"/>
                  <a:gd name="T72" fmla="*/ 64 w 195"/>
                  <a:gd name="T73" fmla="*/ 89 h 173"/>
                  <a:gd name="T74" fmla="*/ 66 w 195"/>
                  <a:gd name="T75" fmla="*/ 87 h 173"/>
                  <a:gd name="T76" fmla="*/ 93 w 195"/>
                  <a:gd name="T77" fmla="*/ 76 h 173"/>
                  <a:gd name="T78" fmla="*/ 120 w 195"/>
                  <a:gd name="T79" fmla="*/ 87 h 173"/>
                  <a:gd name="T80" fmla="*/ 122 w 195"/>
                  <a:gd name="T81" fmla="*/ 88 h 173"/>
                  <a:gd name="T82" fmla="*/ 130 w 195"/>
                  <a:gd name="T83" fmla="*/ 98 h 173"/>
                  <a:gd name="T84" fmla="*/ 134 w 195"/>
                  <a:gd name="T85" fmla="*/ 105 h 173"/>
                  <a:gd name="T86" fmla="*/ 93 w 195"/>
                  <a:gd name="T87" fmla="*/ 120 h 173"/>
                  <a:gd name="T88" fmla="*/ 52 w 195"/>
                  <a:gd name="T89" fmla="*/ 105 h 173"/>
                  <a:gd name="T90" fmla="*/ 57 w 195"/>
                  <a:gd name="T91" fmla="*/ 9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73">
                    <a:moveTo>
                      <a:pt x="195" y="1"/>
                    </a:moveTo>
                    <a:cubicBezTo>
                      <a:pt x="188" y="0"/>
                      <a:pt x="188" y="0"/>
                      <a:pt x="188" y="0"/>
                    </a:cubicBezTo>
                    <a:cubicBezTo>
                      <a:pt x="188" y="6"/>
                      <a:pt x="188" y="6"/>
                      <a:pt x="188" y="6"/>
                    </a:cubicBezTo>
                    <a:cubicBezTo>
                      <a:pt x="188" y="13"/>
                      <a:pt x="187" y="20"/>
                      <a:pt x="187" y="26"/>
                    </a:cubicBezTo>
                    <a:cubicBezTo>
                      <a:pt x="186" y="32"/>
                      <a:pt x="184" y="38"/>
                      <a:pt x="183" y="44"/>
                    </a:cubicBezTo>
                    <a:cubicBezTo>
                      <a:pt x="177" y="62"/>
                      <a:pt x="167" y="78"/>
                      <a:pt x="152" y="89"/>
                    </a:cubicBezTo>
                    <a:cubicBezTo>
                      <a:pt x="152" y="89"/>
                      <a:pt x="152" y="89"/>
                      <a:pt x="152" y="89"/>
                    </a:cubicBezTo>
                    <a:cubicBezTo>
                      <a:pt x="139" y="74"/>
                      <a:pt x="118" y="61"/>
                      <a:pt x="94" y="61"/>
                    </a:cubicBezTo>
                    <a:cubicBezTo>
                      <a:pt x="70" y="61"/>
                      <a:pt x="48" y="75"/>
                      <a:pt x="35" y="89"/>
                    </a:cubicBezTo>
                    <a:cubicBezTo>
                      <a:pt x="35" y="89"/>
                      <a:pt x="35" y="89"/>
                      <a:pt x="35" y="89"/>
                    </a:cubicBezTo>
                    <a:cubicBezTo>
                      <a:pt x="21" y="80"/>
                      <a:pt x="11" y="66"/>
                      <a:pt x="5" y="50"/>
                    </a:cubicBezTo>
                    <a:cubicBezTo>
                      <a:pt x="5" y="52"/>
                      <a:pt x="5" y="53"/>
                      <a:pt x="4" y="54"/>
                    </a:cubicBezTo>
                    <a:cubicBezTo>
                      <a:pt x="4" y="54"/>
                      <a:pt x="4" y="54"/>
                      <a:pt x="3" y="55"/>
                    </a:cubicBezTo>
                    <a:cubicBezTo>
                      <a:pt x="6" y="59"/>
                      <a:pt x="7" y="65"/>
                      <a:pt x="2" y="70"/>
                    </a:cubicBezTo>
                    <a:cubicBezTo>
                      <a:pt x="0" y="73"/>
                      <a:pt x="3" y="87"/>
                      <a:pt x="3" y="92"/>
                    </a:cubicBezTo>
                    <a:cubicBezTo>
                      <a:pt x="3" y="96"/>
                      <a:pt x="3" y="99"/>
                      <a:pt x="3" y="103"/>
                    </a:cubicBezTo>
                    <a:cubicBezTo>
                      <a:pt x="3" y="103"/>
                      <a:pt x="3" y="103"/>
                      <a:pt x="3" y="103"/>
                    </a:cubicBezTo>
                    <a:cubicBezTo>
                      <a:pt x="3" y="103"/>
                      <a:pt x="3" y="103"/>
                      <a:pt x="3" y="103"/>
                    </a:cubicBezTo>
                    <a:cubicBezTo>
                      <a:pt x="9" y="94"/>
                      <a:pt x="28" y="96"/>
                      <a:pt x="28" y="110"/>
                    </a:cubicBezTo>
                    <a:cubicBezTo>
                      <a:pt x="28" y="150"/>
                      <a:pt x="28" y="150"/>
                      <a:pt x="28" y="150"/>
                    </a:cubicBezTo>
                    <a:cubicBezTo>
                      <a:pt x="31" y="153"/>
                      <a:pt x="35" y="155"/>
                      <a:pt x="39" y="158"/>
                    </a:cubicBezTo>
                    <a:cubicBezTo>
                      <a:pt x="46" y="162"/>
                      <a:pt x="53" y="166"/>
                      <a:pt x="61" y="168"/>
                    </a:cubicBezTo>
                    <a:cubicBezTo>
                      <a:pt x="70" y="171"/>
                      <a:pt x="79" y="173"/>
                      <a:pt x="89" y="173"/>
                    </a:cubicBezTo>
                    <a:cubicBezTo>
                      <a:pt x="91" y="173"/>
                      <a:pt x="92" y="173"/>
                      <a:pt x="94" y="173"/>
                    </a:cubicBezTo>
                    <a:cubicBezTo>
                      <a:pt x="95" y="173"/>
                      <a:pt x="95" y="173"/>
                      <a:pt x="95" y="173"/>
                    </a:cubicBezTo>
                    <a:cubicBezTo>
                      <a:pt x="109" y="173"/>
                      <a:pt x="123" y="170"/>
                      <a:pt x="135" y="165"/>
                    </a:cubicBezTo>
                    <a:cubicBezTo>
                      <a:pt x="139" y="163"/>
                      <a:pt x="144" y="160"/>
                      <a:pt x="148" y="158"/>
                    </a:cubicBezTo>
                    <a:cubicBezTo>
                      <a:pt x="151" y="155"/>
                      <a:pt x="154" y="153"/>
                      <a:pt x="157" y="151"/>
                    </a:cubicBezTo>
                    <a:cubicBezTo>
                      <a:pt x="157" y="105"/>
                      <a:pt x="157" y="105"/>
                      <a:pt x="157" y="105"/>
                    </a:cubicBezTo>
                    <a:cubicBezTo>
                      <a:pt x="157" y="92"/>
                      <a:pt x="172" y="89"/>
                      <a:pt x="179" y="96"/>
                    </a:cubicBezTo>
                    <a:cubicBezTo>
                      <a:pt x="180" y="82"/>
                      <a:pt x="181" y="69"/>
                      <a:pt x="181" y="56"/>
                    </a:cubicBezTo>
                    <a:cubicBezTo>
                      <a:pt x="181" y="53"/>
                      <a:pt x="181" y="51"/>
                      <a:pt x="183" y="49"/>
                    </a:cubicBezTo>
                    <a:cubicBezTo>
                      <a:pt x="185" y="45"/>
                      <a:pt x="190" y="43"/>
                      <a:pt x="195" y="43"/>
                    </a:cubicBezTo>
                    <a:cubicBezTo>
                      <a:pt x="195" y="43"/>
                      <a:pt x="195" y="43"/>
                      <a:pt x="195" y="43"/>
                    </a:cubicBezTo>
                    <a:cubicBezTo>
                      <a:pt x="195" y="1"/>
                      <a:pt x="195" y="1"/>
                      <a:pt x="195" y="1"/>
                    </a:cubicBezTo>
                    <a:close/>
                    <a:moveTo>
                      <a:pt x="57" y="98"/>
                    </a:moveTo>
                    <a:cubicBezTo>
                      <a:pt x="59" y="94"/>
                      <a:pt x="62" y="91"/>
                      <a:pt x="64" y="89"/>
                    </a:cubicBezTo>
                    <a:cubicBezTo>
                      <a:pt x="65" y="88"/>
                      <a:pt x="66" y="87"/>
                      <a:pt x="66" y="87"/>
                    </a:cubicBezTo>
                    <a:cubicBezTo>
                      <a:pt x="74" y="80"/>
                      <a:pt x="83" y="76"/>
                      <a:pt x="93" y="76"/>
                    </a:cubicBezTo>
                    <a:cubicBezTo>
                      <a:pt x="103" y="76"/>
                      <a:pt x="112" y="80"/>
                      <a:pt x="120" y="87"/>
                    </a:cubicBezTo>
                    <a:cubicBezTo>
                      <a:pt x="120" y="87"/>
                      <a:pt x="121" y="88"/>
                      <a:pt x="122" y="88"/>
                    </a:cubicBezTo>
                    <a:cubicBezTo>
                      <a:pt x="125" y="91"/>
                      <a:pt x="127" y="94"/>
                      <a:pt x="130" y="98"/>
                    </a:cubicBezTo>
                    <a:cubicBezTo>
                      <a:pt x="131" y="100"/>
                      <a:pt x="133" y="102"/>
                      <a:pt x="134" y="105"/>
                    </a:cubicBezTo>
                    <a:cubicBezTo>
                      <a:pt x="126" y="114"/>
                      <a:pt x="111" y="120"/>
                      <a:pt x="93" y="120"/>
                    </a:cubicBezTo>
                    <a:cubicBezTo>
                      <a:pt x="75" y="120"/>
                      <a:pt x="60" y="114"/>
                      <a:pt x="52" y="105"/>
                    </a:cubicBezTo>
                    <a:cubicBezTo>
                      <a:pt x="53" y="102"/>
                      <a:pt x="55" y="100"/>
                      <a:pt x="57" y="98"/>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7" name="Freeform 61">
                <a:extLst>
                  <a:ext uri="{FF2B5EF4-FFF2-40B4-BE49-F238E27FC236}">
                    <a16:creationId xmlns:a16="http://schemas.microsoft.com/office/drawing/2014/main" id="{99D6310C-BF3F-48BE-A1D0-9BB4DD014AE0}"/>
                  </a:ext>
                </a:extLst>
              </p:cNvPr>
              <p:cNvSpPr>
                <a:spLocks/>
              </p:cNvSpPr>
              <p:nvPr/>
            </p:nvSpPr>
            <p:spPr bwMode="auto">
              <a:xfrm>
                <a:off x="-441325" y="5149851"/>
                <a:ext cx="38100" cy="130175"/>
              </a:xfrm>
              <a:custGeom>
                <a:avLst/>
                <a:gdLst>
                  <a:gd name="T0" fmla="*/ 25 w 25"/>
                  <a:gd name="T1" fmla="*/ 2 h 87"/>
                  <a:gd name="T2" fmla="*/ 17 w 25"/>
                  <a:gd name="T3" fmla="*/ 1 h 87"/>
                  <a:gd name="T4" fmla="*/ 2 w 25"/>
                  <a:gd name="T5" fmla="*/ 6 h 87"/>
                  <a:gd name="T6" fmla="*/ 5 w 25"/>
                  <a:gd name="T7" fmla="*/ 61 h 87"/>
                  <a:gd name="T8" fmla="*/ 16 w 25"/>
                  <a:gd name="T9" fmla="*/ 85 h 87"/>
                  <a:gd name="T10" fmla="*/ 25 w 25"/>
                  <a:gd name="T11" fmla="*/ 87 h 87"/>
                  <a:gd name="T12" fmla="*/ 25 w 25"/>
                  <a:gd name="T13" fmla="*/ 2 h 87"/>
                </a:gdLst>
                <a:ahLst/>
                <a:cxnLst>
                  <a:cxn ang="0">
                    <a:pos x="T0" y="T1"/>
                  </a:cxn>
                  <a:cxn ang="0">
                    <a:pos x="T2" y="T3"/>
                  </a:cxn>
                  <a:cxn ang="0">
                    <a:pos x="T4" y="T5"/>
                  </a:cxn>
                  <a:cxn ang="0">
                    <a:pos x="T6" y="T7"/>
                  </a:cxn>
                  <a:cxn ang="0">
                    <a:pos x="T8" y="T9"/>
                  </a:cxn>
                  <a:cxn ang="0">
                    <a:pos x="T10" y="T11"/>
                  </a:cxn>
                  <a:cxn ang="0">
                    <a:pos x="T12" y="T13"/>
                  </a:cxn>
                </a:cxnLst>
                <a:rect l="0" t="0" r="r" b="b"/>
                <a:pathLst>
                  <a:path w="25" h="87">
                    <a:moveTo>
                      <a:pt x="25" y="2"/>
                    </a:moveTo>
                    <a:cubicBezTo>
                      <a:pt x="17" y="1"/>
                      <a:pt x="17" y="1"/>
                      <a:pt x="17" y="1"/>
                    </a:cubicBezTo>
                    <a:cubicBezTo>
                      <a:pt x="11" y="0"/>
                      <a:pt x="3" y="0"/>
                      <a:pt x="2" y="6"/>
                    </a:cubicBezTo>
                    <a:cubicBezTo>
                      <a:pt x="0" y="21"/>
                      <a:pt x="1" y="50"/>
                      <a:pt x="5" y="61"/>
                    </a:cubicBezTo>
                    <a:cubicBezTo>
                      <a:pt x="3" y="69"/>
                      <a:pt x="2" y="83"/>
                      <a:pt x="16" y="85"/>
                    </a:cubicBezTo>
                    <a:cubicBezTo>
                      <a:pt x="25" y="87"/>
                      <a:pt x="25" y="87"/>
                      <a:pt x="25" y="87"/>
                    </a:cubicBezTo>
                    <a:lnTo>
                      <a:pt x="25" y="2"/>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8" name="Freeform 62">
                <a:extLst>
                  <a:ext uri="{FF2B5EF4-FFF2-40B4-BE49-F238E27FC236}">
                    <a16:creationId xmlns:a16="http://schemas.microsoft.com/office/drawing/2014/main" id="{6F3CAB69-3C8F-420A-8CDF-C1B064613872}"/>
                  </a:ext>
                </a:extLst>
              </p:cNvPr>
              <p:cNvSpPr>
                <a:spLocks/>
              </p:cNvSpPr>
              <p:nvPr/>
            </p:nvSpPr>
            <p:spPr bwMode="auto">
              <a:xfrm>
                <a:off x="-136525" y="5151438"/>
                <a:ext cx="38100" cy="131763"/>
              </a:xfrm>
              <a:custGeom>
                <a:avLst/>
                <a:gdLst>
                  <a:gd name="T0" fmla="*/ 1 w 26"/>
                  <a:gd name="T1" fmla="*/ 2 h 87"/>
                  <a:gd name="T2" fmla="*/ 9 w 26"/>
                  <a:gd name="T3" fmla="*/ 1 h 87"/>
                  <a:gd name="T4" fmla="*/ 23 w 26"/>
                  <a:gd name="T5" fmla="*/ 7 h 87"/>
                  <a:gd name="T6" fmla="*/ 20 w 26"/>
                  <a:gd name="T7" fmla="*/ 61 h 87"/>
                  <a:gd name="T8" fmla="*/ 9 w 26"/>
                  <a:gd name="T9" fmla="*/ 86 h 87"/>
                  <a:gd name="T10" fmla="*/ 0 w 26"/>
                  <a:gd name="T11" fmla="*/ 87 h 87"/>
                  <a:gd name="T12" fmla="*/ 1 w 26"/>
                  <a:gd name="T13" fmla="*/ 2 h 87"/>
                </a:gdLst>
                <a:ahLst/>
                <a:cxnLst>
                  <a:cxn ang="0">
                    <a:pos x="T0" y="T1"/>
                  </a:cxn>
                  <a:cxn ang="0">
                    <a:pos x="T2" y="T3"/>
                  </a:cxn>
                  <a:cxn ang="0">
                    <a:pos x="T4" y="T5"/>
                  </a:cxn>
                  <a:cxn ang="0">
                    <a:pos x="T6" y="T7"/>
                  </a:cxn>
                  <a:cxn ang="0">
                    <a:pos x="T8" y="T9"/>
                  </a:cxn>
                  <a:cxn ang="0">
                    <a:pos x="T10" y="T11"/>
                  </a:cxn>
                  <a:cxn ang="0">
                    <a:pos x="T12" y="T13"/>
                  </a:cxn>
                </a:cxnLst>
                <a:rect l="0" t="0" r="r" b="b"/>
                <a:pathLst>
                  <a:path w="26" h="87">
                    <a:moveTo>
                      <a:pt x="1" y="2"/>
                    </a:moveTo>
                    <a:cubicBezTo>
                      <a:pt x="9" y="1"/>
                      <a:pt x="9" y="1"/>
                      <a:pt x="9" y="1"/>
                    </a:cubicBezTo>
                    <a:cubicBezTo>
                      <a:pt x="14" y="0"/>
                      <a:pt x="22" y="1"/>
                      <a:pt x="23" y="7"/>
                    </a:cubicBezTo>
                    <a:cubicBezTo>
                      <a:pt x="26" y="21"/>
                      <a:pt x="24" y="51"/>
                      <a:pt x="20" y="61"/>
                    </a:cubicBezTo>
                    <a:cubicBezTo>
                      <a:pt x="21" y="70"/>
                      <a:pt x="22" y="83"/>
                      <a:pt x="9" y="86"/>
                    </a:cubicBezTo>
                    <a:cubicBezTo>
                      <a:pt x="0" y="87"/>
                      <a:pt x="0" y="87"/>
                      <a:pt x="0" y="87"/>
                    </a:cubicBezTo>
                    <a:lnTo>
                      <a:pt x="1" y="2"/>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9" name="Freeform 63">
                <a:extLst>
                  <a:ext uri="{FF2B5EF4-FFF2-40B4-BE49-F238E27FC236}">
                    <a16:creationId xmlns:a16="http://schemas.microsoft.com/office/drawing/2014/main" id="{401CB7DC-1257-40B2-BCB2-83D8CAA7F8AD}"/>
                  </a:ext>
                </a:extLst>
              </p:cNvPr>
              <p:cNvSpPr>
                <a:spLocks/>
              </p:cNvSpPr>
              <p:nvPr/>
            </p:nvSpPr>
            <p:spPr bwMode="auto">
              <a:xfrm>
                <a:off x="-422275" y="5022851"/>
                <a:ext cx="303213" cy="412750"/>
              </a:xfrm>
              <a:custGeom>
                <a:avLst/>
                <a:gdLst>
                  <a:gd name="T0" fmla="*/ 204 w 204"/>
                  <a:gd name="T1" fmla="*/ 52 h 275"/>
                  <a:gd name="T2" fmla="*/ 204 w 204"/>
                  <a:gd name="T3" fmla="*/ 170 h 275"/>
                  <a:gd name="T4" fmla="*/ 149 w 204"/>
                  <a:gd name="T5" fmla="*/ 264 h 275"/>
                  <a:gd name="T6" fmla="*/ 104 w 204"/>
                  <a:gd name="T7" fmla="*/ 275 h 275"/>
                  <a:gd name="T8" fmla="*/ 103 w 204"/>
                  <a:gd name="T9" fmla="*/ 275 h 275"/>
                  <a:gd name="T10" fmla="*/ 98 w 204"/>
                  <a:gd name="T11" fmla="*/ 275 h 275"/>
                  <a:gd name="T12" fmla="*/ 59 w 204"/>
                  <a:gd name="T13" fmla="*/ 266 h 275"/>
                  <a:gd name="T14" fmla="*/ 0 w 204"/>
                  <a:gd name="T15" fmla="*/ 170 h 275"/>
                  <a:gd name="T16" fmla="*/ 0 w 204"/>
                  <a:gd name="T17" fmla="*/ 52 h 275"/>
                  <a:gd name="T18" fmla="*/ 183 w 204"/>
                  <a:gd name="T19" fmla="*/ 0 h 275"/>
                  <a:gd name="T20" fmla="*/ 195 w 204"/>
                  <a:gd name="T21" fmla="*/ 22 h 275"/>
                  <a:gd name="T22" fmla="*/ 204 w 204"/>
                  <a:gd name="T23" fmla="*/ 52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 h="275">
                    <a:moveTo>
                      <a:pt x="204" y="52"/>
                    </a:moveTo>
                    <a:cubicBezTo>
                      <a:pt x="204" y="170"/>
                      <a:pt x="204" y="170"/>
                      <a:pt x="204" y="170"/>
                    </a:cubicBezTo>
                    <a:cubicBezTo>
                      <a:pt x="204" y="211"/>
                      <a:pt x="184" y="247"/>
                      <a:pt x="149" y="264"/>
                    </a:cubicBezTo>
                    <a:cubicBezTo>
                      <a:pt x="135" y="271"/>
                      <a:pt x="120" y="275"/>
                      <a:pt x="104" y="275"/>
                    </a:cubicBezTo>
                    <a:cubicBezTo>
                      <a:pt x="103" y="275"/>
                      <a:pt x="103" y="275"/>
                      <a:pt x="103" y="275"/>
                    </a:cubicBezTo>
                    <a:cubicBezTo>
                      <a:pt x="101" y="275"/>
                      <a:pt x="100" y="275"/>
                      <a:pt x="98" y="275"/>
                    </a:cubicBezTo>
                    <a:cubicBezTo>
                      <a:pt x="84" y="274"/>
                      <a:pt x="71" y="271"/>
                      <a:pt x="59" y="266"/>
                    </a:cubicBezTo>
                    <a:cubicBezTo>
                      <a:pt x="22" y="250"/>
                      <a:pt x="0" y="213"/>
                      <a:pt x="0" y="170"/>
                    </a:cubicBezTo>
                    <a:cubicBezTo>
                      <a:pt x="0" y="52"/>
                      <a:pt x="0" y="52"/>
                      <a:pt x="0" y="52"/>
                    </a:cubicBezTo>
                    <a:cubicBezTo>
                      <a:pt x="183" y="0"/>
                      <a:pt x="183" y="0"/>
                      <a:pt x="183" y="0"/>
                    </a:cubicBezTo>
                    <a:cubicBezTo>
                      <a:pt x="195" y="22"/>
                      <a:pt x="195" y="22"/>
                      <a:pt x="195" y="22"/>
                    </a:cubicBezTo>
                    <a:lnTo>
                      <a:pt x="204" y="52"/>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0" name="Freeform 64">
                <a:extLst>
                  <a:ext uri="{FF2B5EF4-FFF2-40B4-BE49-F238E27FC236}">
                    <a16:creationId xmlns:a16="http://schemas.microsoft.com/office/drawing/2014/main" id="{25937E87-09E6-4E90-B413-73562CFFB5E8}"/>
                  </a:ext>
                </a:extLst>
              </p:cNvPr>
              <p:cNvSpPr>
                <a:spLocks/>
              </p:cNvSpPr>
              <p:nvPr/>
            </p:nvSpPr>
            <p:spPr bwMode="auto">
              <a:xfrm>
                <a:off x="-347662" y="5168901"/>
                <a:ext cx="23813" cy="23813"/>
              </a:xfrm>
              <a:custGeom>
                <a:avLst/>
                <a:gdLst>
                  <a:gd name="T0" fmla="*/ 15 w 16"/>
                  <a:gd name="T1" fmla="*/ 7 h 16"/>
                  <a:gd name="T2" fmla="*/ 9 w 16"/>
                  <a:gd name="T3" fmla="*/ 15 h 16"/>
                  <a:gd name="T4" fmla="*/ 1 w 16"/>
                  <a:gd name="T5" fmla="*/ 9 h 16"/>
                  <a:gd name="T6" fmla="*/ 7 w 16"/>
                  <a:gd name="T7" fmla="*/ 1 h 16"/>
                  <a:gd name="T8" fmla="*/ 15 w 16"/>
                  <a:gd name="T9" fmla="*/ 7 h 16"/>
                </a:gdLst>
                <a:ahLst/>
                <a:cxnLst>
                  <a:cxn ang="0">
                    <a:pos x="T0" y="T1"/>
                  </a:cxn>
                  <a:cxn ang="0">
                    <a:pos x="T2" y="T3"/>
                  </a:cxn>
                  <a:cxn ang="0">
                    <a:pos x="T4" y="T5"/>
                  </a:cxn>
                  <a:cxn ang="0">
                    <a:pos x="T6" y="T7"/>
                  </a:cxn>
                  <a:cxn ang="0">
                    <a:pos x="T8" y="T9"/>
                  </a:cxn>
                </a:cxnLst>
                <a:rect l="0" t="0" r="r" b="b"/>
                <a:pathLst>
                  <a:path w="16" h="16">
                    <a:moveTo>
                      <a:pt x="15" y="7"/>
                    </a:moveTo>
                    <a:cubicBezTo>
                      <a:pt x="16" y="11"/>
                      <a:pt x="13" y="15"/>
                      <a:pt x="9" y="15"/>
                    </a:cubicBezTo>
                    <a:cubicBezTo>
                      <a:pt x="5" y="16"/>
                      <a:pt x="1" y="13"/>
                      <a:pt x="1" y="9"/>
                    </a:cubicBezTo>
                    <a:cubicBezTo>
                      <a:pt x="0" y="5"/>
                      <a:pt x="3" y="1"/>
                      <a:pt x="7" y="1"/>
                    </a:cubicBezTo>
                    <a:cubicBezTo>
                      <a:pt x="11" y="0"/>
                      <a:pt x="15" y="3"/>
                      <a:pt x="15"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1" name="Freeform 65">
                <a:extLst>
                  <a:ext uri="{FF2B5EF4-FFF2-40B4-BE49-F238E27FC236}">
                    <a16:creationId xmlns:a16="http://schemas.microsoft.com/office/drawing/2014/main" id="{8E9E92EB-3043-41C0-B6B5-AE34358BEAE6}"/>
                  </a:ext>
                </a:extLst>
              </p:cNvPr>
              <p:cNvSpPr>
                <a:spLocks/>
              </p:cNvSpPr>
              <p:nvPr/>
            </p:nvSpPr>
            <p:spPr bwMode="auto">
              <a:xfrm>
                <a:off x="-219075" y="5170488"/>
                <a:ext cx="23813" cy="22225"/>
              </a:xfrm>
              <a:custGeom>
                <a:avLst/>
                <a:gdLst>
                  <a:gd name="T0" fmla="*/ 1 w 16"/>
                  <a:gd name="T1" fmla="*/ 7 h 15"/>
                  <a:gd name="T2" fmla="*/ 7 w 16"/>
                  <a:gd name="T3" fmla="*/ 15 h 15"/>
                  <a:gd name="T4" fmla="*/ 15 w 16"/>
                  <a:gd name="T5" fmla="*/ 9 h 15"/>
                  <a:gd name="T6" fmla="*/ 9 w 16"/>
                  <a:gd name="T7" fmla="*/ 0 h 15"/>
                  <a:gd name="T8" fmla="*/ 1 w 16"/>
                  <a:gd name="T9" fmla="*/ 7 h 15"/>
                </a:gdLst>
                <a:ahLst/>
                <a:cxnLst>
                  <a:cxn ang="0">
                    <a:pos x="T0" y="T1"/>
                  </a:cxn>
                  <a:cxn ang="0">
                    <a:pos x="T2" y="T3"/>
                  </a:cxn>
                  <a:cxn ang="0">
                    <a:pos x="T4" y="T5"/>
                  </a:cxn>
                  <a:cxn ang="0">
                    <a:pos x="T6" y="T7"/>
                  </a:cxn>
                  <a:cxn ang="0">
                    <a:pos x="T8" y="T9"/>
                  </a:cxn>
                </a:cxnLst>
                <a:rect l="0" t="0" r="r" b="b"/>
                <a:pathLst>
                  <a:path w="16" h="15">
                    <a:moveTo>
                      <a:pt x="1" y="7"/>
                    </a:moveTo>
                    <a:cubicBezTo>
                      <a:pt x="0" y="11"/>
                      <a:pt x="3" y="15"/>
                      <a:pt x="7" y="15"/>
                    </a:cubicBezTo>
                    <a:cubicBezTo>
                      <a:pt x="11" y="15"/>
                      <a:pt x="15" y="13"/>
                      <a:pt x="15" y="9"/>
                    </a:cubicBezTo>
                    <a:cubicBezTo>
                      <a:pt x="16" y="4"/>
                      <a:pt x="13" y="1"/>
                      <a:pt x="9" y="0"/>
                    </a:cubicBezTo>
                    <a:cubicBezTo>
                      <a:pt x="5" y="0"/>
                      <a:pt x="1" y="3"/>
                      <a:pt x="1"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2" name="Freeform 66">
                <a:extLst>
                  <a:ext uri="{FF2B5EF4-FFF2-40B4-BE49-F238E27FC236}">
                    <a16:creationId xmlns:a16="http://schemas.microsoft.com/office/drawing/2014/main" id="{FE8CBADF-CADC-41EA-9AE3-9D18DBA2BE5D}"/>
                  </a:ext>
                </a:extLst>
              </p:cNvPr>
              <p:cNvSpPr>
                <a:spLocks/>
              </p:cNvSpPr>
              <p:nvPr/>
            </p:nvSpPr>
            <p:spPr bwMode="auto">
              <a:xfrm>
                <a:off x="-422275" y="4933951"/>
                <a:ext cx="303213" cy="306388"/>
              </a:xfrm>
              <a:custGeom>
                <a:avLst/>
                <a:gdLst>
                  <a:gd name="T0" fmla="*/ 102 w 204"/>
                  <a:gd name="T1" fmla="*/ 29 h 204"/>
                  <a:gd name="T2" fmla="*/ 0 w 204"/>
                  <a:gd name="T3" fmla="*/ 110 h 204"/>
                  <a:gd name="T4" fmla="*/ 0 w 204"/>
                  <a:gd name="T5" fmla="*/ 110 h 204"/>
                  <a:gd name="T6" fmla="*/ 0 w 204"/>
                  <a:gd name="T7" fmla="*/ 204 h 204"/>
                  <a:gd name="T8" fmla="*/ 10 w 204"/>
                  <a:gd name="T9" fmla="*/ 204 h 204"/>
                  <a:gd name="T10" fmla="*/ 10 w 204"/>
                  <a:gd name="T11" fmla="*/ 131 h 204"/>
                  <a:gd name="T12" fmla="*/ 194 w 204"/>
                  <a:gd name="T13" fmla="*/ 110 h 204"/>
                  <a:gd name="T14" fmla="*/ 194 w 204"/>
                  <a:gd name="T15" fmla="*/ 204 h 204"/>
                  <a:gd name="T16" fmla="*/ 204 w 204"/>
                  <a:gd name="T17" fmla="*/ 204 h 204"/>
                  <a:gd name="T18" fmla="*/ 204 w 204"/>
                  <a:gd name="T19" fmla="*/ 110 h 204"/>
                  <a:gd name="T20" fmla="*/ 102 w 204"/>
                  <a:gd name="T21" fmla="*/ 2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204">
                    <a:moveTo>
                      <a:pt x="102" y="29"/>
                    </a:moveTo>
                    <a:cubicBezTo>
                      <a:pt x="49" y="29"/>
                      <a:pt x="2" y="57"/>
                      <a:pt x="0" y="110"/>
                    </a:cubicBezTo>
                    <a:cubicBezTo>
                      <a:pt x="0" y="110"/>
                      <a:pt x="0" y="110"/>
                      <a:pt x="0" y="110"/>
                    </a:cubicBezTo>
                    <a:cubicBezTo>
                      <a:pt x="0" y="204"/>
                      <a:pt x="0" y="204"/>
                      <a:pt x="0" y="204"/>
                    </a:cubicBezTo>
                    <a:cubicBezTo>
                      <a:pt x="10" y="204"/>
                      <a:pt x="10" y="204"/>
                      <a:pt x="10" y="204"/>
                    </a:cubicBezTo>
                    <a:cubicBezTo>
                      <a:pt x="10" y="131"/>
                      <a:pt x="10" y="131"/>
                      <a:pt x="10" y="131"/>
                    </a:cubicBezTo>
                    <a:cubicBezTo>
                      <a:pt x="67" y="151"/>
                      <a:pt x="194" y="0"/>
                      <a:pt x="194" y="110"/>
                    </a:cubicBezTo>
                    <a:cubicBezTo>
                      <a:pt x="194" y="204"/>
                      <a:pt x="194" y="204"/>
                      <a:pt x="194" y="204"/>
                    </a:cubicBezTo>
                    <a:cubicBezTo>
                      <a:pt x="204" y="204"/>
                      <a:pt x="204" y="204"/>
                      <a:pt x="204" y="204"/>
                    </a:cubicBezTo>
                    <a:cubicBezTo>
                      <a:pt x="204" y="110"/>
                      <a:pt x="204" y="110"/>
                      <a:pt x="204" y="110"/>
                    </a:cubicBezTo>
                    <a:cubicBezTo>
                      <a:pt x="204" y="48"/>
                      <a:pt x="156" y="29"/>
                      <a:pt x="102" y="29"/>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4" name="Freeform 67">
                <a:extLst>
                  <a:ext uri="{FF2B5EF4-FFF2-40B4-BE49-F238E27FC236}">
                    <a16:creationId xmlns:a16="http://schemas.microsoft.com/office/drawing/2014/main" id="{7376DBBC-0791-4675-AA54-828BF0A0C7F1}"/>
                  </a:ext>
                </a:extLst>
              </p:cNvPr>
              <p:cNvSpPr>
                <a:spLocks noEditPoints="1"/>
              </p:cNvSpPr>
              <p:nvPr/>
            </p:nvSpPr>
            <p:spPr bwMode="auto">
              <a:xfrm>
                <a:off x="-422275" y="5183188"/>
                <a:ext cx="303213" cy="260350"/>
              </a:xfrm>
              <a:custGeom>
                <a:avLst/>
                <a:gdLst>
                  <a:gd name="T0" fmla="*/ 204 w 204"/>
                  <a:gd name="T1" fmla="*/ 1 h 173"/>
                  <a:gd name="T2" fmla="*/ 197 w 204"/>
                  <a:gd name="T3" fmla="*/ 0 h 173"/>
                  <a:gd name="T4" fmla="*/ 197 w 204"/>
                  <a:gd name="T5" fmla="*/ 6 h 173"/>
                  <a:gd name="T6" fmla="*/ 194 w 204"/>
                  <a:gd name="T7" fmla="*/ 36 h 173"/>
                  <a:gd name="T8" fmla="*/ 192 w 204"/>
                  <a:gd name="T9" fmla="*/ 44 h 173"/>
                  <a:gd name="T10" fmla="*/ 161 w 204"/>
                  <a:gd name="T11" fmla="*/ 89 h 173"/>
                  <a:gd name="T12" fmla="*/ 161 w 204"/>
                  <a:gd name="T13" fmla="*/ 89 h 173"/>
                  <a:gd name="T14" fmla="*/ 103 w 204"/>
                  <a:gd name="T15" fmla="*/ 61 h 173"/>
                  <a:gd name="T16" fmla="*/ 44 w 204"/>
                  <a:gd name="T17" fmla="*/ 90 h 173"/>
                  <a:gd name="T18" fmla="*/ 44 w 204"/>
                  <a:gd name="T19" fmla="*/ 90 h 173"/>
                  <a:gd name="T20" fmla="*/ 12 w 204"/>
                  <a:gd name="T21" fmla="*/ 44 h 173"/>
                  <a:gd name="T22" fmla="*/ 10 w 204"/>
                  <a:gd name="T23" fmla="*/ 38 h 173"/>
                  <a:gd name="T24" fmla="*/ 7 w 204"/>
                  <a:gd name="T25" fmla="*/ 7 h 173"/>
                  <a:gd name="T26" fmla="*/ 7 w 204"/>
                  <a:gd name="T27" fmla="*/ 0 h 173"/>
                  <a:gd name="T28" fmla="*/ 0 w 204"/>
                  <a:gd name="T29" fmla="*/ 1 h 173"/>
                  <a:gd name="T30" fmla="*/ 0 w 204"/>
                  <a:gd name="T31" fmla="*/ 1 h 173"/>
                  <a:gd name="T32" fmla="*/ 0 w 204"/>
                  <a:gd name="T33" fmla="*/ 68 h 173"/>
                  <a:gd name="T34" fmla="*/ 37 w 204"/>
                  <a:gd name="T35" fmla="*/ 150 h 173"/>
                  <a:gd name="T36" fmla="*/ 60 w 204"/>
                  <a:gd name="T37" fmla="*/ 165 h 173"/>
                  <a:gd name="T38" fmla="*/ 65 w 204"/>
                  <a:gd name="T39" fmla="*/ 167 h 173"/>
                  <a:gd name="T40" fmla="*/ 98 w 204"/>
                  <a:gd name="T41" fmla="*/ 173 h 173"/>
                  <a:gd name="T42" fmla="*/ 103 w 204"/>
                  <a:gd name="T43" fmla="*/ 173 h 173"/>
                  <a:gd name="T44" fmla="*/ 104 w 204"/>
                  <a:gd name="T45" fmla="*/ 173 h 173"/>
                  <a:gd name="T46" fmla="*/ 166 w 204"/>
                  <a:gd name="T47" fmla="*/ 151 h 173"/>
                  <a:gd name="T48" fmla="*/ 166 w 204"/>
                  <a:gd name="T49" fmla="*/ 151 h 173"/>
                  <a:gd name="T50" fmla="*/ 204 w 204"/>
                  <a:gd name="T51" fmla="*/ 68 h 173"/>
                  <a:gd name="T52" fmla="*/ 204 w 204"/>
                  <a:gd name="T53" fmla="*/ 1 h 173"/>
                  <a:gd name="T54" fmla="*/ 143 w 204"/>
                  <a:gd name="T55" fmla="*/ 105 h 173"/>
                  <a:gd name="T56" fmla="*/ 139 w 204"/>
                  <a:gd name="T57" fmla="*/ 110 h 173"/>
                  <a:gd name="T58" fmla="*/ 102 w 204"/>
                  <a:gd name="T59" fmla="*/ 120 h 173"/>
                  <a:gd name="T60" fmla="*/ 66 w 204"/>
                  <a:gd name="T61" fmla="*/ 110 h 173"/>
                  <a:gd name="T62" fmla="*/ 61 w 204"/>
                  <a:gd name="T63" fmla="*/ 105 h 173"/>
                  <a:gd name="T64" fmla="*/ 102 w 204"/>
                  <a:gd name="T65" fmla="*/ 76 h 173"/>
                  <a:gd name="T66" fmla="*/ 143 w 204"/>
                  <a:gd name="T67" fmla="*/ 10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4" h="173">
                    <a:moveTo>
                      <a:pt x="204" y="1"/>
                    </a:moveTo>
                    <a:cubicBezTo>
                      <a:pt x="197" y="0"/>
                      <a:pt x="197" y="0"/>
                      <a:pt x="197" y="0"/>
                    </a:cubicBezTo>
                    <a:cubicBezTo>
                      <a:pt x="197" y="6"/>
                      <a:pt x="197" y="6"/>
                      <a:pt x="197" y="6"/>
                    </a:cubicBezTo>
                    <a:cubicBezTo>
                      <a:pt x="197" y="17"/>
                      <a:pt x="196" y="27"/>
                      <a:pt x="194" y="36"/>
                    </a:cubicBezTo>
                    <a:cubicBezTo>
                      <a:pt x="193" y="39"/>
                      <a:pt x="193" y="41"/>
                      <a:pt x="192" y="44"/>
                    </a:cubicBezTo>
                    <a:cubicBezTo>
                      <a:pt x="186" y="62"/>
                      <a:pt x="177" y="78"/>
                      <a:pt x="161" y="89"/>
                    </a:cubicBezTo>
                    <a:cubicBezTo>
                      <a:pt x="161" y="89"/>
                      <a:pt x="161" y="89"/>
                      <a:pt x="161" y="89"/>
                    </a:cubicBezTo>
                    <a:cubicBezTo>
                      <a:pt x="148" y="75"/>
                      <a:pt x="127" y="61"/>
                      <a:pt x="103" y="61"/>
                    </a:cubicBezTo>
                    <a:cubicBezTo>
                      <a:pt x="79" y="61"/>
                      <a:pt x="57" y="75"/>
                      <a:pt x="44" y="90"/>
                    </a:cubicBezTo>
                    <a:cubicBezTo>
                      <a:pt x="44" y="90"/>
                      <a:pt x="44" y="90"/>
                      <a:pt x="44" y="90"/>
                    </a:cubicBezTo>
                    <a:cubicBezTo>
                      <a:pt x="28" y="79"/>
                      <a:pt x="18" y="63"/>
                      <a:pt x="12" y="44"/>
                    </a:cubicBezTo>
                    <a:cubicBezTo>
                      <a:pt x="11" y="42"/>
                      <a:pt x="11" y="40"/>
                      <a:pt x="10" y="38"/>
                    </a:cubicBezTo>
                    <a:cubicBezTo>
                      <a:pt x="8" y="28"/>
                      <a:pt x="7" y="17"/>
                      <a:pt x="7" y="7"/>
                    </a:cubicBezTo>
                    <a:cubicBezTo>
                      <a:pt x="7" y="0"/>
                      <a:pt x="7" y="0"/>
                      <a:pt x="7" y="0"/>
                    </a:cubicBezTo>
                    <a:cubicBezTo>
                      <a:pt x="0" y="1"/>
                      <a:pt x="0" y="1"/>
                      <a:pt x="0" y="1"/>
                    </a:cubicBezTo>
                    <a:cubicBezTo>
                      <a:pt x="0" y="1"/>
                      <a:pt x="0" y="1"/>
                      <a:pt x="0" y="1"/>
                    </a:cubicBezTo>
                    <a:cubicBezTo>
                      <a:pt x="0" y="68"/>
                      <a:pt x="0" y="68"/>
                      <a:pt x="0" y="68"/>
                    </a:cubicBezTo>
                    <a:cubicBezTo>
                      <a:pt x="0" y="101"/>
                      <a:pt x="14" y="131"/>
                      <a:pt x="37" y="150"/>
                    </a:cubicBezTo>
                    <a:cubicBezTo>
                      <a:pt x="44" y="156"/>
                      <a:pt x="52" y="161"/>
                      <a:pt x="60" y="165"/>
                    </a:cubicBezTo>
                    <a:cubicBezTo>
                      <a:pt x="62" y="166"/>
                      <a:pt x="63" y="166"/>
                      <a:pt x="65" y="167"/>
                    </a:cubicBezTo>
                    <a:cubicBezTo>
                      <a:pt x="75" y="171"/>
                      <a:pt x="86" y="173"/>
                      <a:pt x="98" y="173"/>
                    </a:cubicBezTo>
                    <a:cubicBezTo>
                      <a:pt x="100" y="173"/>
                      <a:pt x="101" y="173"/>
                      <a:pt x="103" y="173"/>
                    </a:cubicBezTo>
                    <a:cubicBezTo>
                      <a:pt x="104" y="173"/>
                      <a:pt x="104" y="173"/>
                      <a:pt x="104" y="173"/>
                    </a:cubicBezTo>
                    <a:cubicBezTo>
                      <a:pt x="128" y="173"/>
                      <a:pt x="150" y="165"/>
                      <a:pt x="166" y="151"/>
                    </a:cubicBezTo>
                    <a:cubicBezTo>
                      <a:pt x="166" y="151"/>
                      <a:pt x="166" y="151"/>
                      <a:pt x="166" y="151"/>
                    </a:cubicBezTo>
                    <a:cubicBezTo>
                      <a:pt x="190" y="132"/>
                      <a:pt x="204" y="102"/>
                      <a:pt x="204" y="68"/>
                    </a:cubicBezTo>
                    <a:cubicBezTo>
                      <a:pt x="204" y="1"/>
                      <a:pt x="204" y="1"/>
                      <a:pt x="204" y="1"/>
                    </a:cubicBezTo>
                    <a:close/>
                    <a:moveTo>
                      <a:pt x="143" y="105"/>
                    </a:moveTo>
                    <a:cubicBezTo>
                      <a:pt x="142" y="107"/>
                      <a:pt x="140" y="108"/>
                      <a:pt x="139" y="110"/>
                    </a:cubicBezTo>
                    <a:cubicBezTo>
                      <a:pt x="130" y="116"/>
                      <a:pt x="117" y="120"/>
                      <a:pt x="102" y="120"/>
                    </a:cubicBezTo>
                    <a:cubicBezTo>
                      <a:pt x="87" y="120"/>
                      <a:pt x="74" y="116"/>
                      <a:pt x="66" y="110"/>
                    </a:cubicBezTo>
                    <a:cubicBezTo>
                      <a:pt x="64" y="108"/>
                      <a:pt x="62" y="107"/>
                      <a:pt x="61" y="105"/>
                    </a:cubicBezTo>
                    <a:cubicBezTo>
                      <a:pt x="69" y="90"/>
                      <a:pt x="84" y="76"/>
                      <a:pt x="102" y="76"/>
                    </a:cubicBezTo>
                    <a:cubicBezTo>
                      <a:pt x="120" y="76"/>
                      <a:pt x="135" y="90"/>
                      <a:pt x="143" y="105"/>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5" name="Freeform 68">
                <a:extLst>
                  <a:ext uri="{FF2B5EF4-FFF2-40B4-BE49-F238E27FC236}">
                    <a16:creationId xmlns:a16="http://schemas.microsoft.com/office/drawing/2014/main" id="{4ECF5E56-75FE-4B52-AD75-E8F27F69ADBD}"/>
                  </a:ext>
                </a:extLst>
              </p:cNvPr>
              <p:cNvSpPr>
                <a:spLocks/>
              </p:cNvSpPr>
              <p:nvPr/>
            </p:nvSpPr>
            <p:spPr bwMode="auto">
              <a:xfrm>
                <a:off x="-312737" y="5330826"/>
                <a:ext cx="85725" cy="15875"/>
              </a:xfrm>
              <a:custGeom>
                <a:avLst/>
                <a:gdLst>
                  <a:gd name="T0" fmla="*/ 29 w 58"/>
                  <a:gd name="T1" fmla="*/ 11 h 11"/>
                  <a:gd name="T2" fmla="*/ 3 w 58"/>
                  <a:gd name="T3" fmla="*/ 8 h 11"/>
                  <a:gd name="T4" fmla="*/ 0 w 58"/>
                  <a:gd name="T5" fmla="*/ 4 h 11"/>
                  <a:gd name="T6" fmla="*/ 4 w 58"/>
                  <a:gd name="T7" fmla="*/ 1 h 11"/>
                  <a:gd name="T8" fmla="*/ 54 w 58"/>
                  <a:gd name="T9" fmla="*/ 1 h 11"/>
                  <a:gd name="T10" fmla="*/ 58 w 58"/>
                  <a:gd name="T11" fmla="*/ 4 h 11"/>
                  <a:gd name="T12" fmla="*/ 55 w 58"/>
                  <a:gd name="T13" fmla="*/ 8 h 11"/>
                  <a:gd name="T14" fmla="*/ 29 w 58"/>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1">
                    <a:moveTo>
                      <a:pt x="29" y="11"/>
                    </a:moveTo>
                    <a:cubicBezTo>
                      <a:pt x="21" y="11"/>
                      <a:pt x="13" y="10"/>
                      <a:pt x="3" y="8"/>
                    </a:cubicBezTo>
                    <a:cubicBezTo>
                      <a:pt x="1" y="8"/>
                      <a:pt x="0" y="6"/>
                      <a:pt x="0" y="4"/>
                    </a:cubicBezTo>
                    <a:cubicBezTo>
                      <a:pt x="1" y="2"/>
                      <a:pt x="2" y="0"/>
                      <a:pt x="4" y="1"/>
                    </a:cubicBezTo>
                    <a:cubicBezTo>
                      <a:pt x="23" y="5"/>
                      <a:pt x="35" y="5"/>
                      <a:pt x="54" y="1"/>
                    </a:cubicBezTo>
                    <a:cubicBezTo>
                      <a:pt x="56" y="0"/>
                      <a:pt x="58" y="2"/>
                      <a:pt x="58" y="4"/>
                    </a:cubicBezTo>
                    <a:cubicBezTo>
                      <a:pt x="58" y="6"/>
                      <a:pt x="57" y="8"/>
                      <a:pt x="55" y="8"/>
                    </a:cubicBezTo>
                    <a:cubicBezTo>
                      <a:pt x="45" y="10"/>
                      <a:pt x="37" y="11"/>
                      <a:pt x="29" y="11"/>
                    </a:cubicBezTo>
                    <a:close/>
                  </a:path>
                </a:pathLst>
              </a:custGeom>
              <a:solidFill>
                <a:srgbClr val="A71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69">
                <a:extLst>
                  <a:ext uri="{FF2B5EF4-FFF2-40B4-BE49-F238E27FC236}">
                    <a16:creationId xmlns:a16="http://schemas.microsoft.com/office/drawing/2014/main" id="{6171E660-7D83-4220-8F13-C481E4CCEBED}"/>
                  </a:ext>
                </a:extLst>
              </p:cNvPr>
              <p:cNvSpPr>
                <a:spLocks/>
              </p:cNvSpPr>
              <p:nvPr/>
            </p:nvSpPr>
            <p:spPr bwMode="auto">
              <a:xfrm>
                <a:off x="-387350" y="5143501"/>
                <a:ext cx="96838" cy="28575"/>
              </a:xfrm>
              <a:custGeom>
                <a:avLst/>
                <a:gdLst>
                  <a:gd name="T0" fmla="*/ 0 w 65"/>
                  <a:gd name="T1" fmla="*/ 17 h 19"/>
                  <a:gd name="T2" fmla="*/ 2 w 65"/>
                  <a:gd name="T3" fmla="*/ 15 h 19"/>
                  <a:gd name="T4" fmla="*/ 8 w 65"/>
                  <a:gd name="T5" fmla="*/ 9 h 19"/>
                  <a:gd name="T6" fmla="*/ 18 w 65"/>
                  <a:gd name="T7" fmla="*/ 3 h 19"/>
                  <a:gd name="T8" fmla="*/ 24 w 65"/>
                  <a:gd name="T9" fmla="*/ 1 h 19"/>
                  <a:gd name="T10" fmla="*/ 25 w 65"/>
                  <a:gd name="T11" fmla="*/ 1 h 19"/>
                  <a:gd name="T12" fmla="*/ 25 w 65"/>
                  <a:gd name="T13" fmla="*/ 1 h 19"/>
                  <a:gd name="T14" fmla="*/ 25 w 65"/>
                  <a:gd name="T15" fmla="*/ 1 h 19"/>
                  <a:gd name="T16" fmla="*/ 25 w 65"/>
                  <a:gd name="T17" fmla="*/ 1 h 19"/>
                  <a:gd name="T18" fmla="*/ 25 w 65"/>
                  <a:gd name="T19" fmla="*/ 1 h 19"/>
                  <a:gd name="T20" fmla="*/ 26 w 65"/>
                  <a:gd name="T21" fmla="*/ 0 h 19"/>
                  <a:gd name="T22" fmla="*/ 28 w 65"/>
                  <a:gd name="T23" fmla="*/ 0 h 19"/>
                  <a:gd name="T24" fmla="*/ 32 w 65"/>
                  <a:gd name="T25" fmla="*/ 0 h 19"/>
                  <a:gd name="T26" fmla="*/ 38 w 65"/>
                  <a:gd name="T27" fmla="*/ 1 h 19"/>
                  <a:gd name="T28" fmla="*/ 45 w 65"/>
                  <a:gd name="T29" fmla="*/ 2 h 19"/>
                  <a:gd name="T30" fmla="*/ 55 w 65"/>
                  <a:gd name="T31" fmla="*/ 6 h 19"/>
                  <a:gd name="T32" fmla="*/ 62 w 65"/>
                  <a:gd name="T33" fmla="*/ 10 h 19"/>
                  <a:gd name="T34" fmla="*/ 65 w 65"/>
                  <a:gd name="T35" fmla="*/ 12 h 19"/>
                  <a:gd name="T36" fmla="*/ 65 w 65"/>
                  <a:gd name="T37" fmla="*/ 14 h 19"/>
                  <a:gd name="T38" fmla="*/ 64 w 65"/>
                  <a:gd name="T39" fmla="*/ 15 h 19"/>
                  <a:gd name="T40" fmla="*/ 54 w 65"/>
                  <a:gd name="T41" fmla="*/ 12 h 19"/>
                  <a:gd name="T42" fmla="*/ 43 w 65"/>
                  <a:gd name="T43" fmla="*/ 9 h 19"/>
                  <a:gd name="T44" fmla="*/ 31 w 65"/>
                  <a:gd name="T45" fmla="*/ 8 h 19"/>
                  <a:gd name="T46" fmla="*/ 29 w 65"/>
                  <a:gd name="T47" fmla="*/ 8 h 19"/>
                  <a:gd name="T48" fmla="*/ 27 w 65"/>
                  <a:gd name="T49" fmla="*/ 8 h 19"/>
                  <a:gd name="T50" fmla="*/ 26 w 65"/>
                  <a:gd name="T51" fmla="*/ 8 h 19"/>
                  <a:gd name="T52" fmla="*/ 26 w 65"/>
                  <a:gd name="T53" fmla="*/ 8 h 19"/>
                  <a:gd name="T54" fmla="*/ 27 w 65"/>
                  <a:gd name="T55" fmla="*/ 8 h 19"/>
                  <a:gd name="T56" fmla="*/ 27 w 65"/>
                  <a:gd name="T57" fmla="*/ 8 h 19"/>
                  <a:gd name="T58" fmla="*/ 27 w 65"/>
                  <a:gd name="T59" fmla="*/ 8 h 19"/>
                  <a:gd name="T60" fmla="*/ 26 w 65"/>
                  <a:gd name="T61" fmla="*/ 8 h 19"/>
                  <a:gd name="T62" fmla="*/ 26 w 65"/>
                  <a:gd name="T63" fmla="*/ 9 h 19"/>
                  <a:gd name="T64" fmla="*/ 21 w 65"/>
                  <a:gd name="T65" fmla="*/ 10 h 19"/>
                  <a:gd name="T66" fmla="*/ 11 w 65"/>
                  <a:gd name="T67" fmla="*/ 14 h 19"/>
                  <a:gd name="T68" fmla="*/ 4 w 65"/>
                  <a:gd name="T69" fmla="*/ 17 h 19"/>
                  <a:gd name="T70" fmla="*/ 1 w 65"/>
                  <a:gd name="T71" fmla="*/ 18 h 19"/>
                  <a:gd name="T72" fmla="*/ 0 w 65"/>
                  <a:gd name="T73" fmla="*/ 18 h 19"/>
                  <a:gd name="T74" fmla="*/ 0 w 65"/>
                  <a:gd name="T7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 h="19">
                    <a:moveTo>
                      <a:pt x="0" y="17"/>
                    </a:moveTo>
                    <a:cubicBezTo>
                      <a:pt x="0" y="17"/>
                      <a:pt x="1" y="16"/>
                      <a:pt x="2" y="15"/>
                    </a:cubicBezTo>
                    <a:cubicBezTo>
                      <a:pt x="3" y="13"/>
                      <a:pt x="5" y="11"/>
                      <a:pt x="8" y="9"/>
                    </a:cubicBezTo>
                    <a:cubicBezTo>
                      <a:pt x="11" y="7"/>
                      <a:pt x="14" y="5"/>
                      <a:pt x="18" y="3"/>
                    </a:cubicBezTo>
                    <a:cubicBezTo>
                      <a:pt x="20" y="2"/>
                      <a:pt x="22" y="1"/>
                      <a:pt x="24" y="1"/>
                    </a:cubicBezTo>
                    <a:cubicBezTo>
                      <a:pt x="25" y="1"/>
                      <a:pt x="25" y="1"/>
                      <a:pt x="25" y="1"/>
                    </a:cubicBezTo>
                    <a:cubicBezTo>
                      <a:pt x="25" y="1"/>
                      <a:pt x="25" y="1"/>
                      <a:pt x="25" y="1"/>
                    </a:cubicBezTo>
                    <a:cubicBezTo>
                      <a:pt x="25" y="1"/>
                      <a:pt x="25" y="1"/>
                      <a:pt x="25" y="1"/>
                    </a:cubicBezTo>
                    <a:cubicBezTo>
                      <a:pt x="25" y="1"/>
                      <a:pt x="25" y="1"/>
                      <a:pt x="25" y="1"/>
                    </a:cubicBezTo>
                    <a:cubicBezTo>
                      <a:pt x="25" y="1"/>
                      <a:pt x="25" y="1"/>
                      <a:pt x="25" y="1"/>
                    </a:cubicBezTo>
                    <a:cubicBezTo>
                      <a:pt x="26" y="0"/>
                      <a:pt x="26" y="0"/>
                      <a:pt x="26" y="0"/>
                    </a:cubicBezTo>
                    <a:cubicBezTo>
                      <a:pt x="27" y="0"/>
                      <a:pt x="27" y="0"/>
                      <a:pt x="28" y="0"/>
                    </a:cubicBezTo>
                    <a:cubicBezTo>
                      <a:pt x="29" y="0"/>
                      <a:pt x="30" y="0"/>
                      <a:pt x="32" y="0"/>
                    </a:cubicBezTo>
                    <a:cubicBezTo>
                      <a:pt x="34" y="0"/>
                      <a:pt x="36" y="1"/>
                      <a:pt x="38" y="1"/>
                    </a:cubicBezTo>
                    <a:cubicBezTo>
                      <a:pt x="41" y="1"/>
                      <a:pt x="43" y="2"/>
                      <a:pt x="45" y="2"/>
                    </a:cubicBezTo>
                    <a:cubicBezTo>
                      <a:pt x="49" y="4"/>
                      <a:pt x="52" y="5"/>
                      <a:pt x="55" y="6"/>
                    </a:cubicBezTo>
                    <a:cubicBezTo>
                      <a:pt x="58" y="8"/>
                      <a:pt x="61" y="9"/>
                      <a:pt x="62" y="10"/>
                    </a:cubicBezTo>
                    <a:cubicBezTo>
                      <a:pt x="64" y="12"/>
                      <a:pt x="65" y="12"/>
                      <a:pt x="65" y="12"/>
                    </a:cubicBezTo>
                    <a:cubicBezTo>
                      <a:pt x="65" y="13"/>
                      <a:pt x="65" y="14"/>
                      <a:pt x="65" y="14"/>
                    </a:cubicBezTo>
                    <a:cubicBezTo>
                      <a:pt x="65" y="15"/>
                      <a:pt x="64" y="15"/>
                      <a:pt x="64" y="15"/>
                    </a:cubicBezTo>
                    <a:cubicBezTo>
                      <a:pt x="64" y="15"/>
                      <a:pt x="60" y="13"/>
                      <a:pt x="54" y="12"/>
                    </a:cubicBezTo>
                    <a:cubicBezTo>
                      <a:pt x="50" y="11"/>
                      <a:pt x="47" y="10"/>
                      <a:pt x="43" y="9"/>
                    </a:cubicBezTo>
                    <a:cubicBezTo>
                      <a:pt x="39" y="9"/>
                      <a:pt x="35" y="8"/>
                      <a:pt x="31" y="8"/>
                    </a:cubicBezTo>
                    <a:cubicBezTo>
                      <a:pt x="30" y="8"/>
                      <a:pt x="29" y="8"/>
                      <a:pt x="29" y="8"/>
                    </a:cubicBezTo>
                    <a:cubicBezTo>
                      <a:pt x="28" y="8"/>
                      <a:pt x="28" y="8"/>
                      <a:pt x="27" y="8"/>
                    </a:cubicBezTo>
                    <a:cubicBezTo>
                      <a:pt x="26" y="8"/>
                      <a:pt x="26" y="8"/>
                      <a:pt x="26" y="8"/>
                    </a:cubicBezTo>
                    <a:cubicBezTo>
                      <a:pt x="26" y="8"/>
                      <a:pt x="26" y="8"/>
                      <a:pt x="26" y="8"/>
                    </a:cubicBezTo>
                    <a:cubicBezTo>
                      <a:pt x="26" y="8"/>
                      <a:pt x="27" y="8"/>
                      <a:pt x="27" y="8"/>
                    </a:cubicBezTo>
                    <a:cubicBezTo>
                      <a:pt x="27" y="8"/>
                      <a:pt x="27" y="8"/>
                      <a:pt x="27" y="8"/>
                    </a:cubicBezTo>
                    <a:cubicBezTo>
                      <a:pt x="27" y="8"/>
                      <a:pt x="27" y="8"/>
                      <a:pt x="27" y="8"/>
                    </a:cubicBezTo>
                    <a:cubicBezTo>
                      <a:pt x="26" y="8"/>
                      <a:pt x="26" y="8"/>
                      <a:pt x="26" y="8"/>
                    </a:cubicBezTo>
                    <a:cubicBezTo>
                      <a:pt x="26" y="9"/>
                      <a:pt x="26" y="9"/>
                      <a:pt x="26" y="9"/>
                    </a:cubicBezTo>
                    <a:cubicBezTo>
                      <a:pt x="24" y="9"/>
                      <a:pt x="22" y="10"/>
                      <a:pt x="21" y="10"/>
                    </a:cubicBezTo>
                    <a:cubicBezTo>
                      <a:pt x="17" y="11"/>
                      <a:pt x="14" y="13"/>
                      <a:pt x="11" y="14"/>
                    </a:cubicBezTo>
                    <a:cubicBezTo>
                      <a:pt x="8" y="16"/>
                      <a:pt x="6" y="17"/>
                      <a:pt x="4" y="17"/>
                    </a:cubicBezTo>
                    <a:cubicBezTo>
                      <a:pt x="2" y="18"/>
                      <a:pt x="1" y="18"/>
                      <a:pt x="1" y="18"/>
                    </a:cubicBezTo>
                    <a:cubicBezTo>
                      <a:pt x="1" y="19"/>
                      <a:pt x="0" y="19"/>
                      <a:pt x="0" y="18"/>
                    </a:cubicBezTo>
                    <a:cubicBezTo>
                      <a:pt x="0" y="18"/>
                      <a:pt x="0" y="18"/>
                      <a:pt x="0" y="17"/>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70">
                <a:extLst>
                  <a:ext uri="{FF2B5EF4-FFF2-40B4-BE49-F238E27FC236}">
                    <a16:creationId xmlns:a16="http://schemas.microsoft.com/office/drawing/2014/main" id="{A1744741-2CE2-4BFF-AD15-E1D6958CDABC}"/>
                  </a:ext>
                </a:extLst>
              </p:cNvPr>
              <p:cNvSpPr>
                <a:spLocks/>
              </p:cNvSpPr>
              <p:nvPr/>
            </p:nvSpPr>
            <p:spPr bwMode="auto">
              <a:xfrm>
                <a:off x="-250825" y="5141913"/>
                <a:ext cx="96838" cy="30163"/>
              </a:xfrm>
              <a:custGeom>
                <a:avLst/>
                <a:gdLst>
                  <a:gd name="T0" fmla="*/ 64 w 65"/>
                  <a:gd name="T1" fmla="*/ 20 h 20"/>
                  <a:gd name="T2" fmla="*/ 61 w 65"/>
                  <a:gd name="T3" fmla="*/ 19 h 20"/>
                  <a:gd name="T4" fmla="*/ 54 w 65"/>
                  <a:gd name="T5" fmla="*/ 15 h 20"/>
                  <a:gd name="T6" fmla="*/ 45 w 65"/>
                  <a:gd name="T7" fmla="*/ 10 h 20"/>
                  <a:gd name="T8" fmla="*/ 40 w 65"/>
                  <a:gd name="T9" fmla="*/ 8 h 20"/>
                  <a:gd name="T10" fmla="*/ 39 w 65"/>
                  <a:gd name="T11" fmla="*/ 8 h 20"/>
                  <a:gd name="T12" fmla="*/ 39 w 65"/>
                  <a:gd name="T13" fmla="*/ 8 h 20"/>
                  <a:gd name="T14" fmla="*/ 39 w 65"/>
                  <a:gd name="T15" fmla="*/ 8 h 20"/>
                  <a:gd name="T16" fmla="*/ 39 w 65"/>
                  <a:gd name="T17" fmla="*/ 8 h 20"/>
                  <a:gd name="T18" fmla="*/ 39 w 65"/>
                  <a:gd name="T19" fmla="*/ 8 h 20"/>
                  <a:gd name="T20" fmla="*/ 39 w 65"/>
                  <a:gd name="T21" fmla="*/ 8 h 20"/>
                  <a:gd name="T22" fmla="*/ 39 w 65"/>
                  <a:gd name="T23" fmla="*/ 8 h 20"/>
                  <a:gd name="T24" fmla="*/ 37 w 65"/>
                  <a:gd name="T25" fmla="*/ 8 h 20"/>
                  <a:gd name="T26" fmla="*/ 34 w 65"/>
                  <a:gd name="T27" fmla="*/ 8 h 20"/>
                  <a:gd name="T28" fmla="*/ 23 w 65"/>
                  <a:gd name="T29" fmla="*/ 8 h 20"/>
                  <a:gd name="T30" fmla="*/ 12 w 65"/>
                  <a:gd name="T31" fmla="*/ 10 h 20"/>
                  <a:gd name="T32" fmla="*/ 2 w 65"/>
                  <a:gd name="T33" fmla="*/ 12 h 20"/>
                  <a:gd name="T34" fmla="*/ 0 w 65"/>
                  <a:gd name="T35" fmla="*/ 11 h 20"/>
                  <a:gd name="T36" fmla="*/ 1 w 65"/>
                  <a:gd name="T37" fmla="*/ 10 h 20"/>
                  <a:gd name="T38" fmla="*/ 3 w 65"/>
                  <a:gd name="T39" fmla="*/ 8 h 20"/>
                  <a:gd name="T40" fmla="*/ 10 w 65"/>
                  <a:gd name="T41" fmla="*/ 4 h 20"/>
                  <a:gd name="T42" fmla="*/ 21 w 65"/>
                  <a:gd name="T43" fmla="*/ 1 h 20"/>
                  <a:gd name="T44" fmla="*/ 28 w 65"/>
                  <a:gd name="T45" fmla="*/ 0 h 20"/>
                  <a:gd name="T46" fmla="*/ 35 w 65"/>
                  <a:gd name="T47" fmla="*/ 0 h 20"/>
                  <a:gd name="T48" fmla="*/ 38 w 65"/>
                  <a:gd name="T49" fmla="*/ 0 h 20"/>
                  <a:gd name="T50" fmla="*/ 40 w 65"/>
                  <a:gd name="T51" fmla="*/ 0 h 20"/>
                  <a:gd name="T52" fmla="*/ 41 w 65"/>
                  <a:gd name="T53" fmla="*/ 0 h 20"/>
                  <a:gd name="T54" fmla="*/ 41 w 65"/>
                  <a:gd name="T55" fmla="*/ 0 h 20"/>
                  <a:gd name="T56" fmla="*/ 41 w 65"/>
                  <a:gd name="T57" fmla="*/ 1 h 20"/>
                  <a:gd name="T58" fmla="*/ 41 w 65"/>
                  <a:gd name="T59" fmla="*/ 1 h 20"/>
                  <a:gd name="T60" fmla="*/ 42 w 65"/>
                  <a:gd name="T61" fmla="*/ 1 h 20"/>
                  <a:gd name="T62" fmla="*/ 42 w 65"/>
                  <a:gd name="T63" fmla="*/ 1 h 20"/>
                  <a:gd name="T64" fmla="*/ 48 w 65"/>
                  <a:gd name="T65" fmla="*/ 4 h 20"/>
                  <a:gd name="T66" fmla="*/ 58 w 65"/>
                  <a:gd name="T67" fmla="*/ 10 h 20"/>
                  <a:gd name="T68" fmla="*/ 63 w 65"/>
                  <a:gd name="T69" fmla="*/ 16 h 20"/>
                  <a:gd name="T70" fmla="*/ 65 w 65"/>
                  <a:gd name="T71" fmla="*/ 19 h 20"/>
                  <a:gd name="T72" fmla="*/ 65 w 65"/>
                  <a:gd name="T73" fmla="*/ 20 h 20"/>
                  <a:gd name="T74" fmla="*/ 64 w 65"/>
                  <a:gd name="T7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 h="20">
                    <a:moveTo>
                      <a:pt x="64" y="20"/>
                    </a:moveTo>
                    <a:cubicBezTo>
                      <a:pt x="64" y="20"/>
                      <a:pt x="63" y="19"/>
                      <a:pt x="61" y="19"/>
                    </a:cubicBezTo>
                    <a:cubicBezTo>
                      <a:pt x="60" y="18"/>
                      <a:pt x="57" y="17"/>
                      <a:pt x="54" y="15"/>
                    </a:cubicBezTo>
                    <a:cubicBezTo>
                      <a:pt x="52" y="14"/>
                      <a:pt x="48" y="12"/>
                      <a:pt x="45" y="10"/>
                    </a:cubicBezTo>
                    <a:cubicBezTo>
                      <a:pt x="43" y="10"/>
                      <a:pt x="41" y="9"/>
                      <a:pt x="40"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8" y="8"/>
                      <a:pt x="37" y="8"/>
                      <a:pt x="37" y="8"/>
                    </a:cubicBezTo>
                    <a:cubicBezTo>
                      <a:pt x="36" y="8"/>
                      <a:pt x="35" y="8"/>
                      <a:pt x="34" y="8"/>
                    </a:cubicBezTo>
                    <a:cubicBezTo>
                      <a:pt x="31" y="8"/>
                      <a:pt x="26" y="8"/>
                      <a:pt x="23" y="8"/>
                    </a:cubicBezTo>
                    <a:cubicBezTo>
                      <a:pt x="19" y="9"/>
                      <a:pt x="15" y="9"/>
                      <a:pt x="12" y="10"/>
                    </a:cubicBezTo>
                    <a:cubicBezTo>
                      <a:pt x="6" y="11"/>
                      <a:pt x="2" y="12"/>
                      <a:pt x="2" y="12"/>
                    </a:cubicBezTo>
                    <a:cubicBezTo>
                      <a:pt x="1" y="12"/>
                      <a:pt x="0" y="12"/>
                      <a:pt x="0" y="11"/>
                    </a:cubicBezTo>
                    <a:cubicBezTo>
                      <a:pt x="0" y="11"/>
                      <a:pt x="0" y="10"/>
                      <a:pt x="1" y="10"/>
                    </a:cubicBezTo>
                    <a:cubicBezTo>
                      <a:pt x="1" y="10"/>
                      <a:pt x="2" y="9"/>
                      <a:pt x="3" y="8"/>
                    </a:cubicBezTo>
                    <a:cubicBezTo>
                      <a:pt x="5" y="7"/>
                      <a:pt x="7" y="6"/>
                      <a:pt x="10" y="4"/>
                    </a:cubicBezTo>
                    <a:cubicBezTo>
                      <a:pt x="14" y="3"/>
                      <a:pt x="17" y="2"/>
                      <a:pt x="21" y="1"/>
                    </a:cubicBezTo>
                    <a:cubicBezTo>
                      <a:pt x="23" y="1"/>
                      <a:pt x="26" y="0"/>
                      <a:pt x="28" y="0"/>
                    </a:cubicBezTo>
                    <a:cubicBezTo>
                      <a:pt x="30" y="0"/>
                      <a:pt x="32" y="0"/>
                      <a:pt x="35" y="0"/>
                    </a:cubicBezTo>
                    <a:cubicBezTo>
                      <a:pt x="36" y="0"/>
                      <a:pt x="37" y="0"/>
                      <a:pt x="38" y="0"/>
                    </a:cubicBezTo>
                    <a:cubicBezTo>
                      <a:pt x="39" y="0"/>
                      <a:pt x="40" y="0"/>
                      <a:pt x="40" y="0"/>
                    </a:cubicBezTo>
                    <a:cubicBezTo>
                      <a:pt x="41" y="0"/>
                      <a:pt x="41" y="0"/>
                      <a:pt x="41" y="0"/>
                    </a:cubicBezTo>
                    <a:cubicBezTo>
                      <a:pt x="41" y="0"/>
                      <a:pt x="41" y="0"/>
                      <a:pt x="41" y="0"/>
                    </a:cubicBezTo>
                    <a:cubicBezTo>
                      <a:pt x="41" y="1"/>
                      <a:pt x="41" y="1"/>
                      <a:pt x="41" y="1"/>
                    </a:cubicBezTo>
                    <a:cubicBezTo>
                      <a:pt x="41" y="1"/>
                      <a:pt x="41" y="1"/>
                      <a:pt x="41" y="1"/>
                    </a:cubicBezTo>
                    <a:cubicBezTo>
                      <a:pt x="42" y="1"/>
                      <a:pt x="42" y="1"/>
                      <a:pt x="42" y="1"/>
                    </a:cubicBezTo>
                    <a:cubicBezTo>
                      <a:pt x="42" y="1"/>
                      <a:pt x="42" y="1"/>
                      <a:pt x="42" y="1"/>
                    </a:cubicBezTo>
                    <a:cubicBezTo>
                      <a:pt x="44" y="2"/>
                      <a:pt x="46" y="3"/>
                      <a:pt x="48" y="4"/>
                    </a:cubicBezTo>
                    <a:cubicBezTo>
                      <a:pt x="52" y="6"/>
                      <a:pt x="55" y="8"/>
                      <a:pt x="58" y="10"/>
                    </a:cubicBezTo>
                    <a:cubicBezTo>
                      <a:pt x="60" y="13"/>
                      <a:pt x="62" y="15"/>
                      <a:pt x="63" y="16"/>
                    </a:cubicBezTo>
                    <a:cubicBezTo>
                      <a:pt x="64" y="18"/>
                      <a:pt x="65" y="19"/>
                      <a:pt x="65" y="19"/>
                    </a:cubicBezTo>
                    <a:cubicBezTo>
                      <a:pt x="65" y="19"/>
                      <a:pt x="65" y="20"/>
                      <a:pt x="65" y="20"/>
                    </a:cubicBezTo>
                    <a:cubicBezTo>
                      <a:pt x="65" y="20"/>
                      <a:pt x="64" y="20"/>
                      <a:pt x="64" y="20"/>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71">
                <a:extLst>
                  <a:ext uri="{FF2B5EF4-FFF2-40B4-BE49-F238E27FC236}">
                    <a16:creationId xmlns:a16="http://schemas.microsoft.com/office/drawing/2014/main" id="{F400C827-7D52-4B5D-915C-7335B2CFB832}"/>
                  </a:ext>
                </a:extLst>
              </p:cNvPr>
              <p:cNvSpPr>
                <a:spLocks/>
              </p:cNvSpPr>
              <p:nvPr/>
            </p:nvSpPr>
            <p:spPr bwMode="auto">
              <a:xfrm>
                <a:off x="-311150" y="5160963"/>
                <a:ext cx="41275" cy="93663"/>
              </a:xfrm>
              <a:custGeom>
                <a:avLst/>
                <a:gdLst>
                  <a:gd name="T0" fmla="*/ 0 w 27"/>
                  <a:gd name="T1" fmla="*/ 62 h 62"/>
                  <a:gd name="T2" fmla="*/ 27 w 27"/>
                  <a:gd name="T3" fmla="*/ 62 h 62"/>
                  <a:gd name="T4" fmla="*/ 27 w 27"/>
                  <a:gd name="T5" fmla="*/ 0 h 62"/>
                  <a:gd name="T6" fmla="*/ 17 w 27"/>
                  <a:gd name="T7" fmla="*/ 12 h 62"/>
                  <a:gd name="T8" fmla="*/ 3 w 27"/>
                  <a:gd name="T9" fmla="*/ 52 h 62"/>
                  <a:gd name="T10" fmla="*/ 0 w 27"/>
                  <a:gd name="T11" fmla="*/ 62 h 62"/>
                </a:gdLst>
                <a:ahLst/>
                <a:cxnLst>
                  <a:cxn ang="0">
                    <a:pos x="T0" y="T1"/>
                  </a:cxn>
                  <a:cxn ang="0">
                    <a:pos x="T2" y="T3"/>
                  </a:cxn>
                  <a:cxn ang="0">
                    <a:pos x="T4" y="T5"/>
                  </a:cxn>
                  <a:cxn ang="0">
                    <a:pos x="T6" y="T7"/>
                  </a:cxn>
                  <a:cxn ang="0">
                    <a:pos x="T8" y="T9"/>
                  </a:cxn>
                  <a:cxn ang="0">
                    <a:pos x="T10" y="T11"/>
                  </a:cxn>
                </a:cxnLst>
                <a:rect l="0" t="0" r="r" b="b"/>
                <a:pathLst>
                  <a:path w="27" h="62">
                    <a:moveTo>
                      <a:pt x="0" y="62"/>
                    </a:moveTo>
                    <a:cubicBezTo>
                      <a:pt x="27" y="62"/>
                      <a:pt x="27" y="62"/>
                      <a:pt x="27" y="62"/>
                    </a:cubicBezTo>
                    <a:cubicBezTo>
                      <a:pt x="27" y="0"/>
                      <a:pt x="27" y="0"/>
                      <a:pt x="27" y="0"/>
                    </a:cubicBezTo>
                    <a:cubicBezTo>
                      <a:pt x="24" y="0"/>
                      <a:pt x="17" y="1"/>
                      <a:pt x="17" y="12"/>
                    </a:cubicBezTo>
                    <a:cubicBezTo>
                      <a:pt x="17" y="27"/>
                      <a:pt x="10" y="45"/>
                      <a:pt x="3" y="52"/>
                    </a:cubicBezTo>
                    <a:cubicBezTo>
                      <a:pt x="0" y="55"/>
                      <a:pt x="0" y="61"/>
                      <a:pt x="0" y="62"/>
                    </a:cubicBezTo>
                    <a:close/>
                  </a:path>
                </a:pathLst>
              </a:custGeom>
              <a:solidFill>
                <a:srgbClr val="F8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72">
                <a:extLst>
                  <a:ext uri="{FF2B5EF4-FFF2-40B4-BE49-F238E27FC236}">
                    <a16:creationId xmlns:a16="http://schemas.microsoft.com/office/drawing/2014/main" id="{0DE16DBD-A3D2-4977-A267-3E79F3424CFE}"/>
                  </a:ext>
                </a:extLst>
              </p:cNvPr>
              <p:cNvSpPr>
                <a:spLocks/>
              </p:cNvSpPr>
              <p:nvPr/>
            </p:nvSpPr>
            <p:spPr bwMode="auto">
              <a:xfrm>
                <a:off x="-311150" y="5254626"/>
                <a:ext cx="79375" cy="19050"/>
              </a:xfrm>
              <a:custGeom>
                <a:avLst/>
                <a:gdLst>
                  <a:gd name="T0" fmla="*/ 53 w 53"/>
                  <a:gd name="T1" fmla="*/ 0 h 13"/>
                  <a:gd name="T2" fmla="*/ 48 w 53"/>
                  <a:gd name="T3" fmla="*/ 5 h 13"/>
                  <a:gd name="T4" fmla="*/ 36 w 53"/>
                  <a:gd name="T5" fmla="*/ 10 h 13"/>
                  <a:gd name="T6" fmla="*/ 27 w 53"/>
                  <a:gd name="T7" fmla="*/ 13 h 13"/>
                  <a:gd name="T8" fmla="*/ 26 w 53"/>
                  <a:gd name="T9" fmla="*/ 13 h 13"/>
                  <a:gd name="T10" fmla="*/ 17 w 53"/>
                  <a:gd name="T11" fmla="*/ 10 h 13"/>
                  <a:gd name="T12" fmla="*/ 5 w 53"/>
                  <a:gd name="T13" fmla="*/ 5 h 13"/>
                  <a:gd name="T14" fmla="*/ 0 w 53"/>
                  <a:gd name="T15" fmla="*/ 0 h 13"/>
                  <a:gd name="T16" fmla="*/ 53 w 53"/>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3">
                    <a:moveTo>
                      <a:pt x="53" y="0"/>
                    </a:moveTo>
                    <a:cubicBezTo>
                      <a:pt x="53" y="2"/>
                      <a:pt x="51" y="4"/>
                      <a:pt x="48" y="5"/>
                    </a:cubicBezTo>
                    <a:cubicBezTo>
                      <a:pt x="42" y="7"/>
                      <a:pt x="38" y="7"/>
                      <a:pt x="36" y="10"/>
                    </a:cubicBezTo>
                    <a:cubicBezTo>
                      <a:pt x="33" y="13"/>
                      <a:pt x="30" y="13"/>
                      <a:pt x="27" y="13"/>
                    </a:cubicBezTo>
                    <a:cubicBezTo>
                      <a:pt x="26" y="13"/>
                      <a:pt x="26" y="13"/>
                      <a:pt x="26" y="13"/>
                    </a:cubicBezTo>
                    <a:cubicBezTo>
                      <a:pt x="23" y="13"/>
                      <a:pt x="20" y="13"/>
                      <a:pt x="17" y="10"/>
                    </a:cubicBezTo>
                    <a:cubicBezTo>
                      <a:pt x="15" y="7"/>
                      <a:pt x="11" y="7"/>
                      <a:pt x="5" y="5"/>
                    </a:cubicBezTo>
                    <a:cubicBezTo>
                      <a:pt x="2" y="4"/>
                      <a:pt x="0" y="2"/>
                      <a:pt x="0" y="0"/>
                    </a:cubicBezTo>
                    <a:lnTo>
                      <a:pt x="53" y="0"/>
                    </a:ln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73">
                <a:extLst>
                  <a:ext uri="{FF2B5EF4-FFF2-40B4-BE49-F238E27FC236}">
                    <a16:creationId xmlns:a16="http://schemas.microsoft.com/office/drawing/2014/main" id="{F2FD51ED-7490-459B-BA5B-C6682AA4D172}"/>
                  </a:ext>
                </a:extLst>
              </p:cNvPr>
              <p:cNvSpPr>
                <a:spLocks/>
              </p:cNvSpPr>
              <p:nvPr/>
            </p:nvSpPr>
            <p:spPr bwMode="auto">
              <a:xfrm>
                <a:off x="-387350" y="5545138"/>
                <a:ext cx="122238" cy="92075"/>
              </a:xfrm>
              <a:custGeom>
                <a:avLst/>
                <a:gdLst>
                  <a:gd name="T0" fmla="*/ 3 w 77"/>
                  <a:gd name="T1" fmla="*/ 58 h 58"/>
                  <a:gd name="T2" fmla="*/ 77 w 77"/>
                  <a:gd name="T3" fmla="*/ 4 h 58"/>
                  <a:gd name="T4" fmla="*/ 73 w 77"/>
                  <a:gd name="T5" fmla="*/ 2 h 58"/>
                  <a:gd name="T6" fmla="*/ 34 w 77"/>
                  <a:gd name="T7" fmla="*/ 0 h 58"/>
                  <a:gd name="T8" fmla="*/ 0 w 77"/>
                  <a:gd name="T9" fmla="*/ 39 h 58"/>
                  <a:gd name="T10" fmla="*/ 3 w 77"/>
                  <a:gd name="T11" fmla="*/ 58 h 58"/>
                </a:gdLst>
                <a:ahLst/>
                <a:cxnLst>
                  <a:cxn ang="0">
                    <a:pos x="T0" y="T1"/>
                  </a:cxn>
                  <a:cxn ang="0">
                    <a:pos x="T2" y="T3"/>
                  </a:cxn>
                  <a:cxn ang="0">
                    <a:pos x="T4" y="T5"/>
                  </a:cxn>
                  <a:cxn ang="0">
                    <a:pos x="T6" y="T7"/>
                  </a:cxn>
                  <a:cxn ang="0">
                    <a:pos x="T8" y="T9"/>
                  </a:cxn>
                  <a:cxn ang="0">
                    <a:pos x="T10" y="T11"/>
                  </a:cxn>
                </a:cxnLst>
                <a:rect l="0" t="0" r="r" b="b"/>
                <a:pathLst>
                  <a:path w="77" h="58">
                    <a:moveTo>
                      <a:pt x="3" y="58"/>
                    </a:moveTo>
                    <a:lnTo>
                      <a:pt x="77" y="4"/>
                    </a:lnTo>
                    <a:lnTo>
                      <a:pt x="73" y="2"/>
                    </a:lnTo>
                    <a:lnTo>
                      <a:pt x="34" y="0"/>
                    </a:lnTo>
                    <a:lnTo>
                      <a:pt x="0" y="39"/>
                    </a:lnTo>
                    <a:lnTo>
                      <a:pt x="3" y="58"/>
                    </a:lnTo>
                    <a:close/>
                  </a:path>
                </a:pathLst>
              </a:custGeom>
              <a:solidFill>
                <a:srgbClr val="D3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74">
                <a:extLst>
                  <a:ext uri="{FF2B5EF4-FFF2-40B4-BE49-F238E27FC236}">
                    <a16:creationId xmlns:a16="http://schemas.microsoft.com/office/drawing/2014/main" id="{EC18F5B2-FC18-4EC7-8DF2-637E25E56422}"/>
                  </a:ext>
                </a:extLst>
              </p:cNvPr>
              <p:cNvSpPr>
                <a:spLocks/>
              </p:cNvSpPr>
              <p:nvPr/>
            </p:nvSpPr>
            <p:spPr bwMode="auto">
              <a:xfrm>
                <a:off x="-274637" y="5548313"/>
                <a:ext cx="123825" cy="90488"/>
              </a:xfrm>
              <a:custGeom>
                <a:avLst/>
                <a:gdLst>
                  <a:gd name="T0" fmla="*/ 76 w 78"/>
                  <a:gd name="T1" fmla="*/ 57 h 57"/>
                  <a:gd name="T2" fmla="*/ 0 w 78"/>
                  <a:gd name="T3" fmla="*/ 3 h 57"/>
                  <a:gd name="T4" fmla="*/ 6 w 78"/>
                  <a:gd name="T5" fmla="*/ 1 h 57"/>
                  <a:gd name="T6" fmla="*/ 44 w 78"/>
                  <a:gd name="T7" fmla="*/ 0 h 57"/>
                  <a:gd name="T8" fmla="*/ 78 w 78"/>
                  <a:gd name="T9" fmla="*/ 38 h 57"/>
                  <a:gd name="T10" fmla="*/ 76 w 78"/>
                  <a:gd name="T11" fmla="*/ 57 h 57"/>
                </a:gdLst>
                <a:ahLst/>
                <a:cxnLst>
                  <a:cxn ang="0">
                    <a:pos x="T0" y="T1"/>
                  </a:cxn>
                  <a:cxn ang="0">
                    <a:pos x="T2" y="T3"/>
                  </a:cxn>
                  <a:cxn ang="0">
                    <a:pos x="T4" y="T5"/>
                  </a:cxn>
                  <a:cxn ang="0">
                    <a:pos x="T6" y="T7"/>
                  </a:cxn>
                  <a:cxn ang="0">
                    <a:pos x="T8" y="T9"/>
                  </a:cxn>
                  <a:cxn ang="0">
                    <a:pos x="T10" y="T11"/>
                  </a:cxn>
                </a:cxnLst>
                <a:rect l="0" t="0" r="r" b="b"/>
                <a:pathLst>
                  <a:path w="78" h="57">
                    <a:moveTo>
                      <a:pt x="76" y="57"/>
                    </a:moveTo>
                    <a:lnTo>
                      <a:pt x="0" y="3"/>
                    </a:lnTo>
                    <a:lnTo>
                      <a:pt x="6" y="1"/>
                    </a:lnTo>
                    <a:lnTo>
                      <a:pt x="44" y="0"/>
                    </a:lnTo>
                    <a:lnTo>
                      <a:pt x="78" y="38"/>
                    </a:lnTo>
                    <a:lnTo>
                      <a:pt x="76" y="57"/>
                    </a:lnTo>
                    <a:close/>
                  </a:path>
                </a:pathLst>
              </a:custGeom>
              <a:solidFill>
                <a:srgbClr val="D3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75">
                <a:extLst>
                  <a:ext uri="{FF2B5EF4-FFF2-40B4-BE49-F238E27FC236}">
                    <a16:creationId xmlns:a16="http://schemas.microsoft.com/office/drawing/2014/main" id="{799BEE26-CE23-4B41-8766-A9F27E800E13}"/>
                  </a:ext>
                </a:extLst>
              </p:cNvPr>
              <p:cNvSpPr>
                <a:spLocks/>
              </p:cNvSpPr>
              <p:nvPr/>
            </p:nvSpPr>
            <p:spPr bwMode="auto">
              <a:xfrm>
                <a:off x="-190500" y="5440363"/>
                <a:ext cx="50800" cy="53975"/>
              </a:xfrm>
              <a:custGeom>
                <a:avLst/>
                <a:gdLst>
                  <a:gd name="T0" fmla="*/ 6 w 32"/>
                  <a:gd name="T1" fmla="*/ 0 h 34"/>
                  <a:gd name="T2" fmla="*/ 32 w 32"/>
                  <a:gd name="T3" fmla="*/ 10 h 34"/>
                  <a:gd name="T4" fmla="*/ 7 w 32"/>
                  <a:gd name="T5" fmla="*/ 34 h 34"/>
                  <a:gd name="T6" fmla="*/ 0 w 32"/>
                  <a:gd name="T7" fmla="*/ 26 h 34"/>
                  <a:gd name="T8" fmla="*/ 6 w 32"/>
                  <a:gd name="T9" fmla="*/ 0 h 34"/>
                </a:gdLst>
                <a:ahLst/>
                <a:cxnLst>
                  <a:cxn ang="0">
                    <a:pos x="T0" y="T1"/>
                  </a:cxn>
                  <a:cxn ang="0">
                    <a:pos x="T2" y="T3"/>
                  </a:cxn>
                  <a:cxn ang="0">
                    <a:pos x="T4" y="T5"/>
                  </a:cxn>
                  <a:cxn ang="0">
                    <a:pos x="T6" y="T7"/>
                  </a:cxn>
                  <a:cxn ang="0">
                    <a:pos x="T8" y="T9"/>
                  </a:cxn>
                </a:cxnLst>
                <a:rect l="0" t="0" r="r" b="b"/>
                <a:pathLst>
                  <a:path w="32" h="34">
                    <a:moveTo>
                      <a:pt x="6" y="0"/>
                    </a:moveTo>
                    <a:lnTo>
                      <a:pt x="32" y="10"/>
                    </a:lnTo>
                    <a:lnTo>
                      <a:pt x="7" y="34"/>
                    </a:lnTo>
                    <a:lnTo>
                      <a:pt x="0" y="26"/>
                    </a:lnTo>
                    <a:lnTo>
                      <a:pt x="6" y="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76">
                <a:extLst>
                  <a:ext uri="{FF2B5EF4-FFF2-40B4-BE49-F238E27FC236}">
                    <a16:creationId xmlns:a16="http://schemas.microsoft.com/office/drawing/2014/main" id="{C92013E1-8184-428D-841E-29598AB3FFD9}"/>
                  </a:ext>
                </a:extLst>
              </p:cNvPr>
              <p:cNvSpPr>
                <a:spLocks/>
              </p:cNvSpPr>
              <p:nvPr/>
            </p:nvSpPr>
            <p:spPr bwMode="auto">
              <a:xfrm>
                <a:off x="-273050" y="5453063"/>
                <a:ext cx="138113" cy="176213"/>
              </a:xfrm>
              <a:custGeom>
                <a:avLst/>
                <a:gdLst>
                  <a:gd name="T0" fmla="*/ 85 w 93"/>
                  <a:gd name="T1" fmla="*/ 0 h 117"/>
                  <a:gd name="T2" fmla="*/ 0 w 93"/>
                  <a:gd name="T3" fmla="*/ 61 h 117"/>
                  <a:gd name="T4" fmla="*/ 0 w 93"/>
                  <a:gd name="T5" fmla="*/ 67 h 117"/>
                  <a:gd name="T6" fmla="*/ 5 w 93"/>
                  <a:gd name="T7" fmla="*/ 69 h 117"/>
                  <a:gd name="T8" fmla="*/ 80 w 93"/>
                  <a:gd name="T9" fmla="*/ 117 h 117"/>
                  <a:gd name="T10" fmla="*/ 93 w 93"/>
                  <a:gd name="T11" fmla="*/ 3 h 117"/>
                  <a:gd name="T12" fmla="*/ 85 w 93"/>
                  <a:gd name="T13" fmla="*/ 0 h 117"/>
                </a:gdLst>
                <a:ahLst/>
                <a:cxnLst>
                  <a:cxn ang="0">
                    <a:pos x="T0" y="T1"/>
                  </a:cxn>
                  <a:cxn ang="0">
                    <a:pos x="T2" y="T3"/>
                  </a:cxn>
                  <a:cxn ang="0">
                    <a:pos x="T4" y="T5"/>
                  </a:cxn>
                  <a:cxn ang="0">
                    <a:pos x="T6" y="T7"/>
                  </a:cxn>
                  <a:cxn ang="0">
                    <a:pos x="T8" y="T9"/>
                  </a:cxn>
                  <a:cxn ang="0">
                    <a:pos x="T10" y="T11"/>
                  </a:cxn>
                  <a:cxn ang="0">
                    <a:pos x="T12" y="T13"/>
                  </a:cxn>
                </a:cxnLst>
                <a:rect l="0" t="0" r="r" b="b"/>
                <a:pathLst>
                  <a:path w="93" h="117">
                    <a:moveTo>
                      <a:pt x="85" y="0"/>
                    </a:moveTo>
                    <a:cubicBezTo>
                      <a:pt x="85" y="0"/>
                      <a:pt x="34" y="58"/>
                      <a:pt x="0" y="61"/>
                    </a:cubicBezTo>
                    <a:cubicBezTo>
                      <a:pt x="0" y="67"/>
                      <a:pt x="0" y="67"/>
                      <a:pt x="0" y="67"/>
                    </a:cubicBezTo>
                    <a:cubicBezTo>
                      <a:pt x="0" y="67"/>
                      <a:pt x="1" y="67"/>
                      <a:pt x="5" y="69"/>
                    </a:cubicBezTo>
                    <a:cubicBezTo>
                      <a:pt x="19" y="75"/>
                      <a:pt x="58" y="95"/>
                      <a:pt x="80" y="117"/>
                    </a:cubicBezTo>
                    <a:cubicBezTo>
                      <a:pt x="80" y="117"/>
                      <a:pt x="92" y="47"/>
                      <a:pt x="93" y="3"/>
                    </a:cubicBez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77">
                <a:extLst>
                  <a:ext uri="{FF2B5EF4-FFF2-40B4-BE49-F238E27FC236}">
                    <a16:creationId xmlns:a16="http://schemas.microsoft.com/office/drawing/2014/main" id="{0AAE53A0-4941-4745-9872-825FA71DCA34}"/>
                  </a:ext>
                </a:extLst>
              </p:cNvPr>
              <p:cNvSpPr>
                <a:spLocks/>
              </p:cNvSpPr>
              <p:nvPr/>
            </p:nvSpPr>
            <p:spPr bwMode="auto">
              <a:xfrm>
                <a:off x="-395287" y="5440363"/>
                <a:ext cx="38100" cy="42863"/>
              </a:xfrm>
              <a:custGeom>
                <a:avLst/>
                <a:gdLst>
                  <a:gd name="T0" fmla="*/ 24 w 24"/>
                  <a:gd name="T1" fmla="*/ 0 h 27"/>
                  <a:gd name="T2" fmla="*/ 20 w 24"/>
                  <a:gd name="T3" fmla="*/ 10 h 27"/>
                  <a:gd name="T4" fmla="*/ 20 w 24"/>
                  <a:gd name="T5" fmla="*/ 27 h 27"/>
                  <a:gd name="T6" fmla="*/ 1 w 24"/>
                  <a:gd name="T7" fmla="*/ 13 h 27"/>
                  <a:gd name="T8" fmla="*/ 0 w 24"/>
                  <a:gd name="T9" fmla="*/ 9 h 27"/>
                  <a:gd name="T10" fmla="*/ 24 w 24"/>
                  <a:gd name="T11" fmla="*/ 0 h 27"/>
                </a:gdLst>
                <a:ahLst/>
                <a:cxnLst>
                  <a:cxn ang="0">
                    <a:pos x="T0" y="T1"/>
                  </a:cxn>
                  <a:cxn ang="0">
                    <a:pos x="T2" y="T3"/>
                  </a:cxn>
                  <a:cxn ang="0">
                    <a:pos x="T4" y="T5"/>
                  </a:cxn>
                  <a:cxn ang="0">
                    <a:pos x="T6" y="T7"/>
                  </a:cxn>
                  <a:cxn ang="0">
                    <a:pos x="T8" y="T9"/>
                  </a:cxn>
                  <a:cxn ang="0">
                    <a:pos x="T10" y="T11"/>
                  </a:cxn>
                </a:cxnLst>
                <a:rect l="0" t="0" r="r" b="b"/>
                <a:pathLst>
                  <a:path w="24" h="27">
                    <a:moveTo>
                      <a:pt x="24" y="0"/>
                    </a:moveTo>
                    <a:lnTo>
                      <a:pt x="20" y="10"/>
                    </a:lnTo>
                    <a:lnTo>
                      <a:pt x="20" y="27"/>
                    </a:lnTo>
                    <a:lnTo>
                      <a:pt x="1" y="13"/>
                    </a:lnTo>
                    <a:lnTo>
                      <a:pt x="0" y="9"/>
                    </a:lnTo>
                    <a:lnTo>
                      <a:pt x="24" y="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78">
                <a:extLst>
                  <a:ext uri="{FF2B5EF4-FFF2-40B4-BE49-F238E27FC236}">
                    <a16:creationId xmlns:a16="http://schemas.microsoft.com/office/drawing/2014/main" id="{2242AC96-4D6A-4818-80E7-BA0309725B4E}"/>
                  </a:ext>
                </a:extLst>
              </p:cNvPr>
              <p:cNvSpPr>
                <a:spLocks/>
              </p:cNvSpPr>
              <p:nvPr/>
            </p:nvSpPr>
            <p:spPr bwMode="auto">
              <a:xfrm>
                <a:off x="-404812" y="5453063"/>
                <a:ext cx="139700" cy="176213"/>
              </a:xfrm>
              <a:custGeom>
                <a:avLst/>
                <a:gdLst>
                  <a:gd name="T0" fmla="*/ 10 w 94"/>
                  <a:gd name="T1" fmla="*/ 0 h 117"/>
                  <a:gd name="T2" fmla="*/ 94 w 94"/>
                  <a:gd name="T3" fmla="*/ 61 h 117"/>
                  <a:gd name="T4" fmla="*/ 94 w 94"/>
                  <a:gd name="T5" fmla="*/ 67 h 117"/>
                  <a:gd name="T6" fmla="*/ 14 w 94"/>
                  <a:gd name="T7" fmla="*/ 117 h 117"/>
                  <a:gd name="T8" fmla="*/ 0 w 94"/>
                  <a:gd name="T9" fmla="*/ 4 h 117"/>
                  <a:gd name="T10" fmla="*/ 10 w 94"/>
                  <a:gd name="T11" fmla="*/ 0 h 117"/>
                </a:gdLst>
                <a:ahLst/>
                <a:cxnLst>
                  <a:cxn ang="0">
                    <a:pos x="T0" y="T1"/>
                  </a:cxn>
                  <a:cxn ang="0">
                    <a:pos x="T2" y="T3"/>
                  </a:cxn>
                  <a:cxn ang="0">
                    <a:pos x="T4" y="T5"/>
                  </a:cxn>
                  <a:cxn ang="0">
                    <a:pos x="T6" y="T7"/>
                  </a:cxn>
                  <a:cxn ang="0">
                    <a:pos x="T8" y="T9"/>
                  </a:cxn>
                  <a:cxn ang="0">
                    <a:pos x="T10" y="T11"/>
                  </a:cxn>
                </a:cxnLst>
                <a:rect l="0" t="0" r="r" b="b"/>
                <a:pathLst>
                  <a:path w="94" h="117">
                    <a:moveTo>
                      <a:pt x="10" y="0"/>
                    </a:moveTo>
                    <a:cubicBezTo>
                      <a:pt x="10" y="0"/>
                      <a:pt x="60" y="58"/>
                      <a:pt x="94" y="61"/>
                    </a:cubicBezTo>
                    <a:cubicBezTo>
                      <a:pt x="94" y="67"/>
                      <a:pt x="94" y="67"/>
                      <a:pt x="94" y="67"/>
                    </a:cubicBezTo>
                    <a:cubicBezTo>
                      <a:pt x="94" y="67"/>
                      <a:pt x="40" y="89"/>
                      <a:pt x="14" y="117"/>
                    </a:cubicBezTo>
                    <a:cubicBezTo>
                      <a:pt x="14" y="117"/>
                      <a:pt x="2" y="47"/>
                      <a:pt x="0" y="4"/>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16" name="Rectangle 16">
              <a:extLst>
                <a:ext uri="{FF2B5EF4-FFF2-40B4-BE49-F238E27FC236}">
                  <a16:creationId xmlns:a16="http://schemas.microsoft.com/office/drawing/2014/main" id="{7807426E-AC12-4462-AE64-B0E4D19D4A4D}"/>
                </a:ext>
              </a:extLst>
            </p:cNvPr>
            <p:cNvSpPr>
              <a:spLocks noChangeArrowheads="1"/>
            </p:cNvSpPr>
            <p:nvPr/>
          </p:nvSpPr>
          <p:spPr bwMode="auto">
            <a:xfrm>
              <a:off x="-329203" y="5409337"/>
              <a:ext cx="220271" cy="25618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17" name="Rectangle 17">
              <a:extLst>
                <a:ext uri="{FF2B5EF4-FFF2-40B4-BE49-F238E27FC236}">
                  <a16:creationId xmlns:a16="http://schemas.microsoft.com/office/drawing/2014/main" id="{6658F231-73BD-4194-9C19-83A4E6862561}"/>
                </a:ext>
              </a:extLst>
            </p:cNvPr>
            <p:cNvSpPr>
              <a:spLocks noChangeArrowheads="1"/>
            </p:cNvSpPr>
            <p:nvPr/>
          </p:nvSpPr>
          <p:spPr bwMode="auto">
            <a:xfrm>
              <a:off x="-108932" y="5409337"/>
              <a:ext cx="336393" cy="25618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118" name="Rectangle 18">
              <a:extLst>
                <a:ext uri="{FF2B5EF4-FFF2-40B4-BE49-F238E27FC236}">
                  <a16:creationId xmlns:a16="http://schemas.microsoft.com/office/drawing/2014/main" id="{04402DE3-E437-4656-940C-B293AE10214B}"/>
                </a:ext>
              </a:extLst>
            </p:cNvPr>
            <p:cNvSpPr>
              <a:spLocks noChangeArrowheads="1"/>
            </p:cNvSpPr>
            <p:nvPr/>
          </p:nvSpPr>
          <p:spPr bwMode="auto">
            <a:xfrm>
              <a:off x="-75412" y="5447645"/>
              <a:ext cx="264565" cy="3471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119" name="Rectangle 19">
              <a:extLst>
                <a:ext uri="{FF2B5EF4-FFF2-40B4-BE49-F238E27FC236}">
                  <a16:creationId xmlns:a16="http://schemas.microsoft.com/office/drawing/2014/main" id="{AA03EE5F-21DC-49F3-92CB-601FC8B10131}"/>
                </a:ext>
              </a:extLst>
            </p:cNvPr>
            <p:cNvSpPr>
              <a:spLocks noChangeArrowheads="1"/>
            </p:cNvSpPr>
            <p:nvPr/>
          </p:nvSpPr>
          <p:spPr bwMode="auto">
            <a:xfrm>
              <a:off x="-75412" y="5573343"/>
              <a:ext cx="211892" cy="3471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120" name="Rectangle 20">
              <a:extLst>
                <a:ext uri="{FF2B5EF4-FFF2-40B4-BE49-F238E27FC236}">
                  <a16:creationId xmlns:a16="http://schemas.microsoft.com/office/drawing/2014/main" id="{55B6FAFD-67D0-4B08-A4D5-5E44F5C69261}"/>
                </a:ext>
              </a:extLst>
            </p:cNvPr>
            <p:cNvSpPr>
              <a:spLocks noChangeArrowheads="1"/>
            </p:cNvSpPr>
            <p:nvPr/>
          </p:nvSpPr>
          <p:spPr bwMode="auto">
            <a:xfrm>
              <a:off x="-75412" y="5511092"/>
              <a:ext cx="264565" cy="3352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dirty="0"/>
            </a:p>
          </p:txBody>
        </p:sp>
        <p:grpSp>
          <p:nvGrpSpPr>
            <p:cNvPr id="1668" name="Group 1667">
              <a:extLst>
                <a:ext uri="{FF2B5EF4-FFF2-40B4-BE49-F238E27FC236}">
                  <a16:creationId xmlns:a16="http://schemas.microsoft.com/office/drawing/2014/main" id="{6E9502C6-B10B-48FE-A2BC-1D6BEFA9758F}"/>
                </a:ext>
              </a:extLst>
            </p:cNvPr>
            <p:cNvGrpSpPr/>
            <p:nvPr/>
          </p:nvGrpSpPr>
          <p:grpSpPr>
            <a:xfrm>
              <a:off x="-302772" y="5431059"/>
              <a:ext cx="167409" cy="212741"/>
              <a:chOff x="-1354138" y="5410201"/>
              <a:chExt cx="744538" cy="946150"/>
            </a:xfrm>
          </p:grpSpPr>
          <p:sp>
            <p:nvSpPr>
              <p:cNvPr id="49" name="Freeform 84">
                <a:extLst>
                  <a:ext uri="{FF2B5EF4-FFF2-40B4-BE49-F238E27FC236}">
                    <a16:creationId xmlns:a16="http://schemas.microsoft.com/office/drawing/2014/main" id="{020560DB-19B4-4037-8EDC-BC45620C20C6}"/>
                  </a:ext>
                </a:extLst>
              </p:cNvPr>
              <p:cNvSpPr>
                <a:spLocks/>
              </p:cNvSpPr>
              <p:nvPr/>
            </p:nvSpPr>
            <p:spPr bwMode="auto">
              <a:xfrm>
                <a:off x="-981075" y="5884863"/>
                <a:ext cx="298450" cy="238125"/>
              </a:xfrm>
              <a:custGeom>
                <a:avLst/>
                <a:gdLst>
                  <a:gd name="T0" fmla="*/ 154 w 188"/>
                  <a:gd name="T1" fmla="*/ 150 h 150"/>
                  <a:gd name="T2" fmla="*/ 0 w 188"/>
                  <a:gd name="T3" fmla="*/ 90 h 150"/>
                  <a:gd name="T4" fmla="*/ 34 w 188"/>
                  <a:gd name="T5" fmla="*/ 0 h 150"/>
                  <a:gd name="T6" fmla="*/ 188 w 188"/>
                  <a:gd name="T7" fmla="*/ 60 h 150"/>
                  <a:gd name="T8" fmla="*/ 154 w 188"/>
                  <a:gd name="T9" fmla="*/ 150 h 150"/>
                </a:gdLst>
                <a:ahLst/>
                <a:cxnLst>
                  <a:cxn ang="0">
                    <a:pos x="T0" y="T1"/>
                  </a:cxn>
                  <a:cxn ang="0">
                    <a:pos x="T2" y="T3"/>
                  </a:cxn>
                  <a:cxn ang="0">
                    <a:pos x="T4" y="T5"/>
                  </a:cxn>
                  <a:cxn ang="0">
                    <a:pos x="T6" y="T7"/>
                  </a:cxn>
                  <a:cxn ang="0">
                    <a:pos x="T8" y="T9"/>
                  </a:cxn>
                </a:cxnLst>
                <a:rect l="0" t="0" r="r" b="b"/>
                <a:pathLst>
                  <a:path w="188" h="150">
                    <a:moveTo>
                      <a:pt x="154" y="150"/>
                    </a:moveTo>
                    <a:lnTo>
                      <a:pt x="0" y="90"/>
                    </a:lnTo>
                    <a:lnTo>
                      <a:pt x="34" y="0"/>
                    </a:lnTo>
                    <a:lnTo>
                      <a:pt x="188" y="60"/>
                    </a:lnTo>
                    <a:lnTo>
                      <a:pt x="154" y="1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85">
                <a:extLst>
                  <a:ext uri="{FF2B5EF4-FFF2-40B4-BE49-F238E27FC236}">
                    <a16:creationId xmlns:a16="http://schemas.microsoft.com/office/drawing/2014/main" id="{6B3BD92F-25CB-4898-8F4D-8FA2A6AB1D4C}"/>
                  </a:ext>
                </a:extLst>
              </p:cNvPr>
              <p:cNvSpPr>
                <a:spLocks/>
              </p:cNvSpPr>
              <p:nvPr/>
            </p:nvSpPr>
            <p:spPr bwMode="auto">
              <a:xfrm>
                <a:off x="-768350" y="5988051"/>
                <a:ext cx="146050" cy="304800"/>
              </a:xfrm>
              <a:custGeom>
                <a:avLst/>
                <a:gdLst>
                  <a:gd name="T0" fmla="*/ 99 w 99"/>
                  <a:gd name="T1" fmla="*/ 150 h 203"/>
                  <a:gd name="T2" fmla="*/ 73 w 99"/>
                  <a:gd name="T3" fmla="*/ 172 h 203"/>
                  <a:gd name="T4" fmla="*/ 26 w 99"/>
                  <a:gd name="T5" fmla="*/ 203 h 203"/>
                  <a:gd name="T6" fmla="*/ 22 w 99"/>
                  <a:gd name="T7" fmla="*/ 179 h 203"/>
                  <a:gd name="T8" fmla="*/ 22 w 99"/>
                  <a:gd name="T9" fmla="*/ 178 h 203"/>
                  <a:gd name="T10" fmla="*/ 7 w 99"/>
                  <a:gd name="T11" fmla="*/ 85 h 203"/>
                  <a:gd name="T12" fmla="*/ 7 w 99"/>
                  <a:gd name="T13" fmla="*/ 83 h 203"/>
                  <a:gd name="T14" fmla="*/ 6 w 99"/>
                  <a:gd name="T15" fmla="*/ 79 h 203"/>
                  <a:gd name="T16" fmla="*/ 4 w 99"/>
                  <a:gd name="T17" fmla="*/ 70 h 203"/>
                  <a:gd name="T18" fmla="*/ 1 w 99"/>
                  <a:gd name="T19" fmla="*/ 52 h 203"/>
                  <a:gd name="T20" fmla="*/ 1 w 99"/>
                  <a:gd name="T21" fmla="*/ 48 h 203"/>
                  <a:gd name="T22" fmla="*/ 1 w 99"/>
                  <a:gd name="T23" fmla="*/ 36 h 203"/>
                  <a:gd name="T24" fmla="*/ 2 w 99"/>
                  <a:gd name="T25" fmla="*/ 32 h 203"/>
                  <a:gd name="T26" fmla="*/ 6 w 99"/>
                  <a:gd name="T27" fmla="*/ 21 h 203"/>
                  <a:gd name="T28" fmla="*/ 30 w 99"/>
                  <a:gd name="T29" fmla="*/ 2 h 203"/>
                  <a:gd name="T30" fmla="*/ 55 w 99"/>
                  <a:gd name="T31" fmla="*/ 4 h 203"/>
                  <a:gd name="T32" fmla="*/ 79 w 99"/>
                  <a:gd name="T33" fmla="*/ 31 h 203"/>
                  <a:gd name="T34" fmla="*/ 80 w 99"/>
                  <a:gd name="T35" fmla="*/ 35 h 203"/>
                  <a:gd name="T36" fmla="*/ 85 w 99"/>
                  <a:gd name="T37" fmla="*/ 65 h 203"/>
                  <a:gd name="T38" fmla="*/ 99 w 99"/>
                  <a:gd name="T39"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203">
                    <a:moveTo>
                      <a:pt x="99" y="150"/>
                    </a:moveTo>
                    <a:cubicBezTo>
                      <a:pt x="91" y="158"/>
                      <a:pt x="82" y="165"/>
                      <a:pt x="73" y="172"/>
                    </a:cubicBezTo>
                    <a:cubicBezTo>
                      <a:pt x="58" y="183"/>
                      <a:pt x="42" y="194"/>
                      <a:pt x="26" y="203"/>
                    </a:cubicBezTo>
                    <a:cubicBezTo>
                      <a:pt x="25" y="195"/>
                      <a:pt x="23" y="187"/>
                      <a:pt x="22" y="179"/>
                    </a:cubicBezTo>
                    <a:cubicBezTo>
                      <a:pt x="22" y="178"/>
                      <a:pt x="22" y="178"/>
                      <a:pt x="22" y="178"/>
                    </a:cubicBezTo>
                    <a:cubicBezTo>
                      <a:pt x="18" y="147"/>
                      <a:pt x="12" y="116"/>
                      <a:pt x="7" y="85"/>
                    </a:cubicBezTo>
                    <a:cubicBezTo>
                      <a:pt x="7" y="84"/>
                      <a:pt x="7" y="84"/>
                      <a:pt x="7" y="83"/>
                    </a:cubicBezTo>
                    <a:cubicBezTo>
                      <a:pt x="6" y="82"/>
                      <a:pt x="6" y="80"/>
                      <a:pt x="6" y="79"/>
                    </a:cubicBezTo>
                    <a:cubicBezTo>
                      <a:pt x="5" y="76"/>
                      <a:pt x="5" y="73"/>
                      <a:pt x="4" y="70"/>
                    </a:cubicBezTo>
                    <a:cubicBezTo>
                      <a:pt x="3" y="64"/>
                      <a:pt x="2" y="58"/>
                      <a:pt x="1" y="52"/>
                    </a:cubicBezTo>
                    <a:cubicBezTo>
                      <a:pt x="1" y="51"/>
                      <a:pt x="1" y="49"/>
                      <a:pt x="1" y="48"/>
                    </a:cubicBezTo>
                    <a:cubicBezTo>
                      <a:pt x="0" y="44"/>
                      <a:pt x="1" y="40"/>
                      <a:pt x="1" y="36"/>
                    </a:cubicBezTo>
                    <a:cubicBezTo>
                      <a:pt x="1" y="35"/>
                      <a:pt x="1" y="34"/>
                      <a:pt x="2" y="32"/>
                    </a:cubicBezTo>
                    <a:cubicBezTo>
                      <a:pt x="3" y="28"/>
                      <a:pt x="4" y="25"/>
                      <a:pt x="6" y="21"/>
                    </a:cubicBezTo>
                    <a:cubicBezTo>
                      <a:pt x="10" y="13"/>
                      <a:pt x="18" y="6"/>
                      <a:pt x="30" y="2"/>
                    </a:cubicBezTo>
                    <a:cubicBezTo>
                      <a:pt x="37" y="0"/>
                      <a:pt x="46" y="1"/>
                      <a:pt x="55" y="4"/>
                    </a:cubicBezTo>
                    <a:cubicBezTo>
                      <a:pt x="67" y="8"/>
                      <a:pt x="77" y="18"/>
                      <a:pt x="79" y="31"/>
                    </a:cubicBezTo>
                    <a:cubicBezTo>
                      <a:pt x="80" y="32"/>
                      <a:pt x="80" y="33"/>
                      <a:pt x="80" y="35"/>
                    </a:cubicBezTo>
                    <a:cubicBezTo>
                      <a:pt x="82" y="45"/>
                      <a:pt x="83" y="55"/>
                      <a:pt x="85" y="65"/>
                    </a:cubicBezTo>
                    <a:cubicBezTo>
                      <a:pt x="90" y="93"/>
                      <a:pt x="95" y="122"/>
                      <a:pt x="99" y="150"/>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86">
                <a:extLst>
                  <a:ext uri="{FF2B5EF4-FFF2-40B4-BE49-F238E27FC236}">
                    <a16:creationId xmlns:a16="http://schemas.microsoft.com/office/drawing/2014/main" id="{4B550CB0-82F8-4DE3-B090-24590D17E636}"/>
                  </a:ext>
                </a:extLst>
              </p:cNvPr>
              <p:cNvSpPr>
                <a:spLocks/>
              </p:cNvSpPr>
              <p:nvPr/>
            </p:nvSpPr>
            <p:spPr bwMode="auto">
              <a:xfrm>
                <a:off x="-784225" y="6038851"/>
                <a:ext cx="174625" cy="219075"/>
              </a:xfrm>
              <a:custGeom>
                <a:avLst/>
                <a:gdLst>
                  <a:gd name="T0" fmla="*/ 117 w 117"/>
                  <a:gd name="T1" fmla="*/ 109 h 146"/>
                  <a:gd name="T2" fmla="*/ 109 w 117"/>
                  <a:gd name="T3" fmla="*/ 117 h 146"/>
                  <a:gd name="T4" fmla="*/ 83 w 117"/>
                  <a:gd name="T5" fmla="*/ 139 h 146"/>
                  <a:gd name="T6" fmla="*/ 32 w 117"/>
                  <a:gd name="T7" fmla="*/ 145 h 146"/>
                  <a:gd name="T8" fmla="*/ 32 w 117"/>
                  <a:gd name="T9" fmla="*/ 145 h 146"/>
                  <a:gd name="T10" fmla="*/ 20 w 117"/>
                  <a:gd name="T11" fmla="*/ 146 h 146"/>
                  <a:gd name="T12" fmla="*/ 10 w 117"/>
                  <a:gd name="T13" fmla="*/ 75 h 146"/>
                  <a:gd name="T14" fmla="*/ 5 w 117"/>
                  <a:gd name="T15" fmla="*/ 46 h 146"/>
                  <a:gd name="T16" fmla="*/ 3 w 117"/>
                  <a:gd name="T17" fmla="*/ 31 h 146"/>
                  <a:gd name="T18" fmla="*/ 1 w 117"/>
                  <a:gd name="T19" fmla="*/ 19 h 146"/>
                  <a:gd name="T20" fmla="*/ 1 w 117"/>
                  <a:gd name="T21" fmla="*/ 19 h 146"/>
                  <a:gd name="T22" fmla="*/ 0 w 117"/>
                  <a:gd name="T23" fmla="*/ 17 h 146"/>
                  <a:gd name="T24" fmla="*/ 11 w 117"/>
                  <a:gd name="T25" fmla="*/ 15 h 146"/>
                  <a:gd name="T26" fmla="*/ 39 w 117"/>
                  <a:gd name="T27" fmla="*/ 10 h 146"/>
                  <a:gd name="T28" fmla="*/ 50 w 117"/>
                  <a:gd name="T29" fmla="*/ 8 h 146"/>
                  <a:gd name="T30" fmla="*/ 90 w 117"/>
                  <a:gd name="T31" fmla="*/ 2 h 146"/>
                  <a:gd name="T32" fmla="*/ 100 w 117"/>
                  <a:gd name="T33" fmla="*/ 0 h 146"/>
                  <a:gd name="T34" fmla="*/ 101 w 117"/>
                  <a:gd name="T35" fmla="*/ 3 h 146"/>
                  <a:gd name="T36" fmla="*/ 101 w 117"/>
                  <a:gd name="T37" fmla="*/ 3 h 146"/>
                  <a:gd name="T38" fmla="*/ 117 w 117"/>
                  <a:gd name="T39" fmla="*/ 10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146">
                    <a:moveTo>
                      <a:pt x="117" y="109"/>
                    </a:moveTo>
                    <a:cubicBezTo>
                      <a:pt x="115" y="112"/>
                      <a:pt x="112" y="114"/>
                      <a:pt x="109" y="117"/>
                    </a:cubicBezTo>
                    <a:cubicBezTo>
                      <a:pt x="101" y="125"/>
                      <a:pt x="92" y="132"/>
                      <a:pt x="83" y="139"/>
                    </a:cubicBezTo>
                    <a:cubicBezTo>
                      <a:pt x="32" y="145"/>
                      <a:pt x="32" y="145"/>
                      <a:pt x="32" y="145"/>
                    </a:cubicBezTo>
                    <a:cubicBezTo>
                      <a:pt x="32" y="145"/>
                      <a:pt x="32" y="145"/>
                      <a:pt x="32" y="145"/>
                    </a:cubicBezTo>
                    <a:cubicBezTo>
                      <a:pt x="20" y="146"/>
                      <a:pt x="20" y="146"/>
                      <a:pt x="20" y="146"/>
                    </a:cubicBezTo>
                    <a:cubicBezTo>
                      <a:pt x="17" y="126"/>
                      <a:pt x="13" y="99"/>
                      <a:pt x="10" y="75"/>
                    </a:cubicBezTo>
                    <a:cubicBezTo>
                      <a:pt x="8" y="64"/>
                      <a:pt x="6" y="54"/>
                      <a:pt x="5" y="46"/>
                    </a:cubicBezTo>
                    <a:cubicBezTo>
                      <a:pt x="4" y="40"/>
                      <a:pt x="3" y="35"/>
                      <a:pt x="3" y="31"/>
                    </a:cubicBezTo>
                    <a:cubicBezTo>
                      <a:pt x="2" y="26"/>
                      <a:pt x="1" y="22"/>
                      <a:pt x="1" y="19"/>
                    </a:cubicBezTo>
                    <a:cubicBezTo>
                      <a:pt x="1" y="19"/>
                      <a:pt x="1" y="19"/>
                      <a:pt x="1" y="19"/>
                    </a:cubicBezTo>
                    <a:cubicBezTo>
                      <a:pt x="0" y="18"/>
                      <a:pt x="0" y="17"/>
                      <a:pt x="0" y="17"/>
                    </a:cubicBezTo>
                    <a:cubicBezTo>
                      <a:pt x="11" y="15"/>
                      <a:pt x="11" y="15"/>
                      <a:pt x="11" y="15"/>
                    </a:cubicBezTo>
                    <a:cubicBezTo>
                      <a:pt x="39" y="10"/>
                      <a:pt x="39" y="10"/>
                      <a:pt x="39" y="10"/>
                    </a:cubicBezTo>
                    <a:cubicBezTo>
                      <a:pt x="50" y="8"/>
                      <a:pt x="50" y="8"/>
                      <a:pt x="50" y="8"/>
                    </a:cubicBezTo>
                    <a:cubicBezTo>
                      <a:pt x="90" y="2"/>
                      <a:pt x="90" y="2"/>
                      <a:pt x="90" y="2"/>
                    </a:cubicBezTo>
                    <a:cubicBezTo>
                      <a:pt x="100" y="0"/>
                      <a:pt x="100" y="0"/>
                      <a:pt x="100" y="0"/>
                    </a:cubicBezTo>
                    <a:cubicBezTo>
                      <a:pt x="101" y="1"/>
                      <a:pt x="101" y="2"/>
                      <a:pt x="101" y="3"/>
                    </a:cubicBezTo>
                    <a:cubicBezTo>
                      <a:pt x="101" y="3"/>
                      <a:pt x="101" y="3"/>
                      <a:pt x="101" y="3"/>
                    </a:cubicBezTo>
                    <a:cubicBezTo>
                      <a:pt x="103" y="18"/>
                      <a:pt x="112" y="68"/>
                      <a:pt x="117" y="10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87">
                <a:extLst>
                  <a:ext uri="{FF2B5EF4-FFF2-40B4-BE49-F238E27FC236}">
                    <a16:creationId xmlns:a16="http://schemas.microsoft.com/office/drawing/2014/main" id="{03E84256-6D08-4057-9F2A-7688089C93E3}"/>
                  </a:ext>
                </a:extLst>
              </p:cNvPr>
              <p:cNvSpPr>
                <a:spLocks/>
              </p:cNvSpPr>
              <p:nvPr/>
            </p:nvSpPr>
            <p:spPr bwMode="auto">
              <a:xfrm>
                <a:off x="-1281113" y="5881688"/>
                <a:ext cx="300038" cy="238125"/>
              </a:xfrm>
              <a:custGeom>
                <a:avLst/>
                <a:gdLst>
                  <a:gd name="T0" fmla="*/ 34 w 189"/>
                  <a:gd name="T1" fmla="*/ 150 h 150"/>
                  <a:gd name="T2" fmla="*/ 0 w 189"/>
                  <a:gd name="T3" fmla="*/ 60 h 150"/>
                  <a:gd name="T4" fmla="*/ 155 w 189"/>
                  <a:gd name="T5" fmla="*/ 0 h 150"/>
                  <a:gd name="T6" fmla="*/ 189 w 189"/>
                  <a:gd name="T7" fmla="*/ 90 h 150"/>
                  <a:gd name="T8" fmla="*/ 34 w 189"/>
                  <a:gd name="T9" fmla="*/ 150 h 150"/>
                </a:gdLst>
                <a:ahLst/>
                <a:cxnLst>
                  <a:cxn ang="0">
                    <a:pos x="T0" y="T1"/>
                  </a:cxn>
                  <a:cxn ang="0">
                    <a:pos x="T2" y="T3"/>
                  </a:cxn>
                  <a:cxn ang="0">
                    <a:pos x="T4" y="T5"/>
                  </a:cxn>
                  <a:cxn ang="0">
                    <a:pos x="T6" y="T7"/>
                  </a:cxn>
                  <a:cxn ang="0">
                    <a:pos x="T8" y="T9"/>
                  </a:cxn>
                </a:cxnLst>
                <a:rect l="0" t="0" r="r" b="b"/>
                <a:pathLst>
                  <a:path w="189" h="150">
                    <a:moveTo>
                      <a:pt x="34" y="150"/>
                    </a:moveTo>
                    <a:lnTo>
                      <a:pt x="0" y="60"/>
                    </a:lnTo>
                    <a:lnTo>
                      <a:pt x="155" y="0"/>
                    </a:lnTo>
                    <a:lnTo>
                      <a:pt x="189" y="90"/>
                    </a:lnTo>
                    <a:lnTo>
                      <a:pt x="34" y="1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88">
                <a:extLst>
                  <a:ext uri="{FF2B5EF4-FFF2-40B4-BE49-F238E27FC236}">
                    <a16:creationId xmlns:a16="http://schemas.microsoft.com/office/drawing/2014/main" id="{D5392903-29F2-4872-ACB7-526955F37BAD}"/>
                  </a:ext>
                </a:extLst>
              </p:cNvPr>
              <p:cNvSpPr>
                <a:spLocks/>
              </p:cNvSpPr>
              <p:nvPr/>
            </p:nvSpPr>
            <p:spPr bwMode="auto">
              <a:xfrm>
                <a:off x="-1176338" y="5454651"/>
                <a:ext cx="407988" cy="595313"/>
              </a:xfrm>
              <a:custGeom>
                <a:avLst/>
                <a:gdLst>
                  <a:gd name="T0" fmla="*/ 203 w 274"/>
                  <a:gd name="T1" fmla="*/ 0 h 397"/>
                  <a:gd name="T2" fmla="*/ 202 w 274"/>
                  <a:gd name="T3" fmla="*/ 17 h 397"/>
                  <a:gd name="T4" fmla="*/ 138 w 274"/>
                  <a:gd name="T5" fmla="*/ 8 h 397"/>
                  <a:gd name="T6" fmla="*/ 8 w 274"/>
                  <a:gd name="T7" fmla="*/ 75 h 397"/>
                  <a:gd name="T8" fmla="*/ 11 w 274"/>
                  <a:gd name="T9" fmla="*/ 316 h 397"/>
                  <a:gd name="T10" fmla="*/ 246 w 274"/>
                  <a:gd name="T11" fmla="*/ 304 h 397"/>
                  <a:gd name="T12" fmla="*/ 254 w 274"/>
                  <a:gd name="T13" fmla="*/ 203 h 397"/>
                  <a:gd name="T14" fmla="*/ 203 w 274"/>
                  <a:gd name="T15" fmla="*/ 0 h 3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7">
                    <a:moveTo>
                      <a:pt x="203" y="0"/>
                    </a:moveTo>
                    <a:cubicBezTo>
                      <a:pt x="202" y="17"/>
                      <a:pt x="202" y="17"/>
                      <a:pt x="202" y="17"/>
                    </a:cubicBezTo>
                    <a:cubicBezTo>
                      <a:pt x="186" y="11"/>
                      <a:pt x="165" y="8"/>
                      <a:pt x="138" y="8"/>
                    </a:cubicBezTo>
                    <a:cubicBezTo>
                      <a:pt x="84" y="8"/>
                      <a:pt x="25" y="14"/>
                      <a:pt x="8" y="75"/>
                    </a:cubicBezTo>
                    <a:cubicBezTo>
                      <a:pt x="6" y="143"/>
                      <a:pt x="0" y="306"/>
                      <a:pt x="11" y="316"/>
                    </a:cubicBezTo>
                    <a:cubicBezTo>
                      <a:pt x="5" y="315"/>
                      <a:pt x="182" y="397"/>
                      <a:pt x="246" y="304"/>
                    </a:cubicBezTo>
                    <a:cubicBezTo>
                      <a:pt x="266" y="277"/>
                      <a:pt x="246" y="241"/>
                      <a:pt x="254" y="203"/>
                    </a:cubicBezTo>
                    <a:cubicBezTo>
                      <a:pt x="274" y="111"/>
                      <a:pt x="258" y="7"/>
                      <a:pt x="203" y="0"/>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89">
                <a:extLst>
                  <a:ext uri="{FF2B5EF4-FFF2-40B4-BE49-F238E27FC236}">
                    <a16:creationId xmlns:a16="http://schemas.microsoft.com/office/drawing/2014/main" id="{B1144BA4-C570-4CC9-8644-4E5AF97A01A4}"/>
                  </a:ext>
                </a:extLst>
              </p:cNvPr>
              <p:cNvSpPr>
                <a:spLocks/>
              </p:cNvSpPr>
              <p:nvPr/>
            </p:nvSpPr>
            <p:spPr bwMode="auto">
              <a:xfrm>
                <a:off x="-1160463" y="5768976"/>
                <a:ext cx="344488" cy="209550"/>
              </a:xfrm>
              <a:custGeom>
                <a:avLst/>
                <a:gdLst>
                  <a:gd name="T0" fmla="*/ 175 w 232"/>
                  <a:gd name="T1" fmla="*/ 0 h 140"/>
                  <a:gd name="T2" fmla="*/ 179 w 232"/>
                  <a:gd name="T3" fmla="*/ 83 h 140"/>
                  <a:gd name="T4" fmla="*/ 232 w 232"/>
                  <a:gd name="T5" fmla="*/ 107 h 140"/>
                  <a:gd name="T6" fmla="*/ 117 w 232"/>
                  <a:gd name="T7" fmla="*/ 140 h 140"/>
                  <a:gd name="T8" fmla="*/ 0 w 232"/>
                  <a:gd name="T9" fmla="*/ 109 h 140"/>
                  <a:gd name="T10" fmla="*/ 53 w 232"/>
                  <a:gd name="T11" fmla="*/ 84 h 140"/>
                  <a:gd name="T12" fmla="*/ 58 w 232"/>
                  <a:gd name="T13" fmla="*/ 0 h 140"/>
                  <a:gd name="T14" fmla="*/ 175 w 232"/>
                  <a:gd name="T15" fmla="*/ 0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40">
                    <a:moveTo>
                      <a:pt x="175" y="0"/>
                    </a:moveTo>
                    <a:cubicBezTo>
                      <a:pt x="179" y="83"/>
                      <a:pt x="179" y="83"/>
                      <a:pt x="179" y="83"/>
                    </a:cubicBezTo>
                    <a:cubicBezTo>
                      <a:pt x="232" y="107"/>
                      <a:pt x="232" y="107"/>
                      <a:pt x="232" y="107"/>
                    </a:cubicBezTo>
                    <a:cubicBezTo>
                      <a:pt x="217" y="115"/>
                      <a:pt x="151" y="140"/>
                      <a:pt x="117" y="140"/>
                    </a:cubicBezTo>
                    <a:cubicBezTo>
                      <a:pt x="83" y="140"/>
                      <a:pt x="15" y="117"/>
                      <a:pt x="0" y="109"/>
                    </a:cubicBezTo>
                    <a:cubicBezTo>
                      <a:pt x="53" y="84"/>
                      <a:pt x="53" y="84"/>
                      <a:pt x="53" y="84"/>
                    </a:cubicBezTo>
                    <a:cubicBezTo>
                      <a:pt x="58" y="0"/>
                      <a:pt x="58" y="0"/>
                      <a:pt x="58" y="0"/>
                    </a:cubicBezTo>
                    <a:lnTo>
                      <a:pt x="175" y="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90">
                <a:extLst>
                  <a:ext uri="{FF2B5EF4-FFF2-40B4-BE49-F238E27FC236}">
                    <a16:creationId xmlns:a16="http://schemas.microsoft.com/office/drawing/2014/main" id="{DEDE0065-2DE7-4F4F-ABD9-0C987474102E}"/>
                  </a:ext>
                </a:extLst>
              </p:cNvPr>
              <p:cNvSpPr>
                <a:spLocks/>
              </p:cNvSpPr>
              <p:nvPr/>
            </p:nvSpPr>
            <p:spPr bwMode="auto">
              <a:xfrm>
                <a:off x="-871538" y="5589588"/>
                <a:ext cx="63500" cy="147638"/>
              </a:xfrm>
              <a:custGeom>
                <a:avLst/>
                <a:gdLst>
                  <a:gd name="T0" fmla="*/ 7 w 43"/>
                  <a:gd name="T1" fmla="*/ 98 h 98"/>
                  <a:gd name="T2" fmla="*/ 41 w 43"/>
                  <a:gd name="T3" fmla="*/ 53 h 98"/>
                  <a:gd name="T4" fmla="*/ 0 w 43"/>
                  <a:gd name="T5" fmla="*/ 0 h 98"/>
                  <a:gd name="T6" fmla="*/ 7 w 43"/>
                  <a:gd name="T7" fmla="*/ 98 h 98"/>
                </a:gdLst>
                <a:ahLst/>
                <a:cxnLst>
                  <a:cxn ang="0">
                    <a:pos x="T0" y="T1"/>
                  </a:cxn>
                  <a:cxn ang="0">
                    <a:pos x="T2" y="T3"/>
                  </a:cxn>
                  <a:cxn ang="0">
                    <a:pos x="T4" y="T5"/>
                  </a:cxn>
                  <a:cxn ang="0">
                    <a:pos x="T6" y="T7"/>
                  </a:cxn>
                </a:cxnLst>
                <a:rect l="0" t="0" r="r" b="b"/>
                <a:pathLst>
                  <a:path w="43" h="98">
                    <a:moveTo>
                      <a:pt x="7" y="98"/>
                    </a:moveTo>
                    <a:cubicBezTo>
                      <a:pt x="28" y="98"/>
                      <a:pt x="43" y="81"/>
                      <a:pt x="41" y="53"/>
                    </a:cubicBezTo>
                    <a:cubicBezTo>
                      <a:pt x="38" y="27"/>
                      <a:pt x="20" y="0"/>
                      <a:pt x="0" y="0"/>
                    </a:cubicBezTo>
                    <a:lnTo>
                      <a:pt x="7" y="98"/>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91">
                <a:extLst>
                  <a:ext uri="{FF2B5EF4-FFF2-40B4-BE49-F238E27FC236}">
                    <a16:creationId xmlns:a16="http://schemas.microsoft.com/office/drawing/2014/main" id="{C67C8B27-71F5-4A54-B3F7-82FC2FCDBE6B}"/>
                  </a:ext>
                </a:extLst>
              </p:cNvPr>
              <p:cNvSpPr>
                <a:spLocks/>
              </p:cNvSpPr>
              <p:nvPr/>
            </p:nvSpPr>
            <p:spPr bwMode="auto">
              <a:xfrm>
                <a:off x="-1166813" y="5589588"/>
                <a:ext cx="66675" cy="147638"/>
              </a:xfrm>
              <a:custGeom>
                <a:avLst/>
                <a:gdLst>
                  <a:gd name="T0" fmla="*/ 37 w 44"/>
                  <a:gd name="T1" fmla="*/ 98 h 98"/>
                  <a:gd name="T2" fmla="*/ 3 w 44"/>
                  <a:gd name="T3" fmla="*/ 53 h 98"/>
                  <a:gd name="T4" fmla="*/ 44 w 44"/>
                  <a:gd name="T5" fmla="*/ 0 h 98"/>
                  <a:gd name="T6" fmla="*/ 37 w 44"/>
                  <a:gd name="T7" fmla="*/ 98 h 98"/>
                </a:gdLst>
                <a:ahLst/>
                <a:cxnLst>
                  <a:cxn ang="0">
                    <a:pos x="T0" y="T1"/>
                  </a:cxn>
                  <a:cxn ang="0">
                    <a:pos x="T2" y="T3"/>
                  </a:cxn>
                  <a:cxn ang="0">
                    <a:pos x="T4" y="T5"/>
                  </a:cxn>
                  <a:cxn ang="0">
                    <a:pos x="T6" y="T7"/>
                  </a:cxn>
                </a:cxnLst>
                <a:rect l="0" t="0" r="r" b="b"/>
                <a:pathLst>
                  <a:path w="44" h="98">
                    <a:moveTo>
                      <a:pt x="37" y="98"/>
                    </a:moveTo>
                    <a:cubicBezTo>
                      <a:pt x="15" y="98"/>
                      <a:pt x="0" y="81"/>
                      <a:pt x="3" y="53"/>
                    </a:cubicBezTo>
                    <a:cubicBezTo>
                      <a:pt x="6" y="27"/>
                      <a:pt x="24" y="0"/>
                      <a:pt x="44" y="0"/>
                    </a:cubicBezTo>
                    <a:lnTo>
                      <a:pt x="37" y="98"/>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92">
                <a:extLst>
                  <a:ext uri="{FF2B5EF4-FFF2-40B4-BE49-F238E27FC236}">
                    <a16:creationId xmlns:a16="http://schemas.microsoft.com/office/drawing/2014/main" id="{53E7E7FA-2520-4C49-B561-695B0A181B2F}"/>
                  </a:ext>
                </a:extLst>
              </p:cNvPr>
              <p:cNvSpPr>
                <a:spLocks/>
              </p:cNvSpPr>
              <p:nvPr/>
            </p:nvSpPr>
            <p:spPr bwMode="auto">
              <a:xfrm>
                <a:off x="-1141413" y="5445126"/>
                <a:ext cx="307975" cy="419100"/>
              </a:xfrm>
              <a:custGeom>
                <a:avLst/>
                <a:gdLst>
                  <a:gd name="T0" fmla="*/ 104 w 207"/>
                  <a:gd name="T1" fmla="*/ 279 h 279"/>
                  <a:gd name="T2" fmla="*/ 131 w 207"/>
                  <a:gd name="T3" fmla="*/ 270 h 279"/>
                  <a:gd name="T4" fmla="*/ 207 w 207"/>
                  <a:gd name="T5" fmla="*/ 126 h 279"/>
                  <a:gd name="T6" fmla="*/ 196 w 207"/>
                  <a:gd name="T7" fmla="*/ 62 h 279"/>
                  <a:gd name="T8" fmla="*/ 104 w 207"/>
                  <a:gd name="T9" fmla="*/ 0 h 279"/>
                  <a:gd name="T10" fmla="*/ 12 w 207"/>
                  <a:gd name="T11" fmla="*/ 62 h 279"/>
                  <a:gd name="T12" fmla="*/ 0 w 207"/>
                  <a:gd name="T13" fmla="*/ 126 h 279"/>
                  <a:gd name="T14" fmla="*/ 76 w 207"/>
                  <a:gd name="T15" fmla="*/ 270 h 279"/>
                  <a:gd name="T16" fmla="*/ 104 w 207"/>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279">
                    <a:moveTo>
                      <a:pt x="104" y="279"/>
                    </a:moveTo>
                    <a:cubicBezTo>
                      <a:pt x="124" y="279"/>
                      <a:pt x="130" y="274"/>
                      <a:pt x="131" y="270"/>
                    </a:cubicBezTo>
                    <a:cubicBezTo>
                      <a:pt x="190" y="248"/>
                      <a:pt x="200" y="176"/>
                      <a:pt x="207" y="126"/>
                    </a:cubicBezTo>
                    <a:cubicBezTo>
                      <a:pt x="196" y="62"/>
                      <a:pt x="196" y="62"/>
                      <a:pt x="196" y="62"/>
                    </a:cubicBezTo>
                    <a:cubicBezTo>
                      <a:pt x="189" y="29"/>
                      <a:pt x="136" y="0"/>
                      <a:pt x="104" y="0"/>
                    </a:cubicBezTo>
                    <a:cubicBezTo>
                      <a:pt x="71" y="0"/>
                      <a:pt x="19" y="29"/>
                      <a:pt x="12" y="62"/>
                    </a:cubicBezTo>
                    <a:cubicBezTo>
                      <a:pt x="0" y="126"/>
                      <a:pt x="0" y="126"/>
                      <a:pt x="0" y="126"/>
                    </a:cubicBezTo>
                    <a:cubicBezTo>
                      <a:pt x="7" y="176"/>
                      <a:pt x="17" y="248"/>
                      <a:pt x="76" y="270"/>
                    </a:cubicBezTo>
                    <a:cubicBezTo>
                      <a:pt x="78" y="274"/>
                      <a:pt x="84" y="279"/>
                      <a:pt x="104" y="279"/>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93">
                <a:extLst>
                  <a:ext uri="{FF2B5EF4-FFF2-40B4-BE49-F238E27FC236}">
                    <a16:creationId xmlns:a16="http://schemas.microsoft.com/office/drawing/2014/main" id="{9489EF06-9675-4719-A66B-98239E78FC5A}"/>
                  </a:ext>
                </a:extLst>
              </p:cNvPr>
              <p:cNvSpPr>
                <a:spLocks/>
              </p:cNvSpPr>
              <p:nvPr/>
            </p:nvSpPr>
            <p:spPr bwMode="auto">
              <a:xfrm>
                <a:off x="-930275" y="5630863"/>
                <a:ext cx="23813" cy="22225"/>
              </a:xfrm>
              <a:custGeom>
                <a:avLst/>
                <a:gdLst>
                  <a:gd name="T0" fmla="*/ 8 w 16"/>
                  <a:gd name="T1" fmla="*/ 15 h 15"/>
                  <a:gd name="T2" fmla="*/ 0 w 16"/>
                  <a:gd name="T3" fmla="*/ 7 h 15"/>
                  <a:gd name="T4" fmla="*/ 8 w 16"/>
                  <a:gd name="T5" fmla="*/ 0 h 15"/>
                  <a:gd name="T6" fmla="*/ 16 w 16"/>
                  <a:gd name="T7" fmla="*/ 8 h 15"/>
                  <a:gd name="T8" fmla="*/ 8 w 16"/>
                  <a:gd name="T9" fmla="*/ 15 h 15"/>
                </a:gdLst>
                <a:ahLst/>
                <a:cxnLst>
                  <a:cxn ang="0">
                    <a:pos x="T0" y="T1"/>
                  </a:cxn>
                  <a:cxn ang="0">
                    <a:pos x="T2" y="T3"/>
                  </a:cxn>
                  <a:cxn ang="0">
                    <a:pos x="T4" y="T5"/>
                  </a:cxn>
                  <a:cxn ang="0">
                    <a:pos x="T6" y="T7"/>
                  </a:cxn>
                  <a:cxn ang="0">
                    <a:pos x="T8" y="T9"/>
                  </a:cxn>
                </a:cxnLst>
                <a:rect l="0" t="0" r="r" b="b"/>
                <a:pathLst>
                  <a:path w="16" h="15">
                    <a:moveTo>
                      <a:pt x="8" y="15"/>
                    </a:moveTo>
                    <a:cubicBezTo>
                      <a:pt x="4" y="15"/>
                      <a:pt x="0" y="12"/>
                      <a:pt x="0" y="7"/>
                    </a:cubicBezTo>
                    <a:cubicBezTo>
                      <a:pt x="1" y="4"/>
                      <a:pt x="4" y="0"/>
                      <a:pt x="8" y="0"/>
                    </a:cubicBezTo>
                    <a:cubicBezTo>
                      <a:pt x="12" y="0"/>
                      <a:pt x="16" y="4"/>
                      <a:pt x="16" y="8"/>
                    </a:cubicBezTo>
                    <a:cubicBezTo>
                      <a:pt x="16" y="12"/>
                      <a:pt x="12" y="15"/>
                      <a:pt x="8"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94">
                <a:extLst>
                  <a:ext uri="{FF2B5EF4-FFF2-40B4-BE49-F238E27FC236}">
                    <a16:creationId xmlns:a16="http://schemas.microsoft.com/office/drawing/2014/main" id="{56866D77-3543-4D49-BD79-EFE1B6B77978}"/>
                  </a:ext>
                </a:extLst>
              </p:cNvPr>
              <p:cNvSpPr>
                <a:spLocks/>
              </p:cNvSpPr>
              <p:nvPr/>
            </p:nvSpPr>
            <p:spPr bwMode="auto">
              <a:xfrm>
                <a:off x="-1066800" y="5630863"/>
                <a:ext cx="22225" cy="22225"/>
              </a:xfrm>
              <a:custGeom>
                <a:avLst/>
                <a:gdLst>
                  <a:gd name="T0" fmla="*/ 8 w 15"/>
                  <a:gd name="T1" fmla="*/ 15 h 15"/>
                  <a:gd name="T2" fmla="*/ 15 w 15"/>
                  <a:gd name="T3" fmla="*/ 7 h 15"/>
                  <a:gd name="T4" fmla="*/ 7 w 15"/>
                  <a:gd name="T5" fmla="*/ 0 h 15"/>
                  <a:gd name="T6" fmla="*/ 0 w 15"/>
                  <a:gd name="T7" fmla="*/ 8 h 15"/>
                  <a:gd name="T8" fmla="*/ 8 w 15"/>
                  <a:gd name="T9" fmla="*/ 15 h 15"/>
                </a:gdLst>
                <a:ahLst/>
                <a:cxnLst>
                  <a:cxn ang="0">
                    <a:pos x="T0" y="T1"/>
                  </a:cxn>
                  <a:cxn ang="0">
                    <a:pos x="T2" y="T3"/>
                  </a:cxn>
                  <a:cxn ang="0">
                    <a:pos x="T4" y="T5"/>
                  </a:cxn>
                  <a:cxn ang="0">
                    <a:pos x="T6" y="T7"/>
                  </a:cxn>
                  <a:cxn ang="0">
                    <a:pos x="T8" y="T9"/>
                  </a:cxn>
                </a:cxnLst>
                <a:rect l="0" t="0" r="r" b="b"/>
                <a:pathLst>
                  <a:path w="15" h="15">
                    <a:moveTo>
                      <a:pt x="8" y="15"/>
                    </a:moveTo>
                    <a:cubicBezTo>
                      <a:pt x="12" y="15"/>
                      <a:pt x="15" y="12"/>
                      <a:pt x="15" y="7"/>
                    </a:cubicBezTo>
                    <a:cubicBezTo>
                      <a:pt x="15" y="4"/>
                      <a:pt x="11" y="0"/>
                      <a:pt x="7" y="0"/>
                    </a:cubicBezTo>
                    <a:cubicBezTo>
                      <a:pt x="4" y="0"/>
                      <a:pt x="0" y="4"/>
                      <a:pt x="0" y="8"/>
                    </a:cubicBezTo>
                    <a:cubicBezTo>
                      <a:pt x="0" y="12"/>
                      <a:pt x="4" y="15"/>
                      <a:pt x="8"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95">
                <a:extLst>
                  <a:ext uri="{FF2B5EF4-FFF2-40B4-BE49-F238E27FC236}">
                    <a16:creationId xmlns:a16="http://schemas.microsoft.com/office/drawing/2014/main" id="{D9BFA1F1-3C36-42A7-86A8-C4815F373CCB}"/>
                  </a:ext>
                </a:extLst>
              </p:cNvPr>
              <p:cNvSpPr>
                <a:spLocks/>
              </p:cNvSpPr>
              <p:nvPr/>
            </p:nvSpPr>
            <p:spPr bwMode="auto">
              <a:xfrm>
                <a:off x="-1168400" y="5410201"/>
                <a:ext cx="381000" cy="274638"/>
              </a:xfrm>
              <a:custGeom>
                <a:avLst/>
                <a:gdLst>
                  <a:gd name="T0" fmla="*/ 256 w 256"/>
                  <a:gd name="T1" fmla="*/ 142 h 183"/>
                  <a:gd name="T2" fmla="*/ 216 w 256"/>
                  <a:gd name="T3" fmla="*/ 37 h 183"/>
                  <a:gd name="T4" fmla="*/ 197 w 256"/>
                  <a:gd name="T5" fmla="*/ 29 h 183"/>
                  <a:gd name="T6" fmla="*/ 121 w 256"/>
                  <a:gd name="T7" fmla="*/ 0 h 183"/>
                  <a:gd name="T8" fmla="*/ 1 w 256"/>
                  <a:gd name="T9" fmla="*/ 127 h 183"/>
                  <a:gd name="T10" fmla="*/ 36 w 256"/>
                  <a:gd name="T11" fmla="*/ 124 h 183"/>
                  <a:gd name="T12" fmla="*/ 122 w 256"/>
                  <a:gd name="T13" fmla="*/ 41 h 183"/>
                  <a:gd name="T14" fmla="*/ 148 w 256"/>
                  <a:gd name="T15" fmla="*/ 38 h 183"/>
                  <a:gd name="T16" fmla="*/ 151 w 256"/>
                  <a:gd name="T17" fmla="*/ 37 h 183"/>
                  <a:gd name="T18" fmla="*/ 240 w 256"/>
                  <a:gd name="T19" fmla="*/ 177 h 183"/>
                  <a:gd name="T20" fmla="*/ 253 w 256"/>
                  <a:gd name="T21" fmla="*/ 163 h 183"/>
                  <a:gd name="T22" fmla="*/ 256 w 256"/>
                  <a:gd name="T23" fmla="*/ 14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6" h="183">
                    <a:moveTo>
                      <a:pt x="256" y="142"/>
                    </a:moveTo>
                    <a:cubicBezTo>
                      <a:pt x="254" y="94"/>
                      <a:pt x="241" y="53"/>
                      <a:pt x="216" y="37"/>
                    </a:cubicBezTo>
                    <a:cubicBezTo>
                      <a:pt x="209" y="32"/>
                      <a:pt x="203" y="29"/>
                      <a:pt x="197" y="29"/>
                    </a:cubicBezTo>
                    <a:cubicBezTo>
                      <a:pt x="197" y="29"/>
                      <a:pt x="186" y="0"/>
                      <a:pt x="121" y="0"/>
                    </a:cubicBezTo>
                    <a:cubicBezTo>
                      <a:pt x="64" y="0"/>
                      <a:pt x="0" y="27"/>
                      <a:pt x="1" y="127"/>
                    </a:cubicBezTo>
                    <a:cubicBezTo>
                      <a:pt x="0" y="149"/>
                      <a:pt x="37" y="183"/>
                      <a:pt x="36" y="124"/>
                    </a:cubicBezTo>
                    <a:cubicBezTo>
                      <a:pt x="42" y="59"/>
                      <a:pt x="47" y="33"/>
                      <a:pt x="122" y="41"/>
                    </a:cubicBezTo>
                    <a:cubicBezTo>
                      <a:pt x="130" y="42"/>
                      <a:pt x="139" y="38"/>
                      <a:pt x="148" y="38"/>
                    </a:cubicBezTo>
                    <a:cubicBezTo>
                      <a:pt x="149" y="37"/>
                      <a:pt x="150" y="37"/>
                      <a:pt x="151" y="37"/>
                    </a:cubicBezTo>
                    <a:cubicBezTo>
                      <a:pt x="224" y="46"/>
                      <a:pt x="196" y="157"/>
                      <a:pt x="240" y="177"/>
                    </a:cubicBezTo>
                    <a:cubicBezTo>
                      <a:pt x="240" y="177"/>
                      <a:pt x="249" y="181"/>
                      <a:pt x="253" y="163"/>
                    </a:cubicBezTo>
                    <a:cubicBezTo>
                      <a:pt x="254" y="155"/>
                      <a:pt x="256" y="142"/>
                      <a:pt x="256" y="142"/>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96">
                <a:extLst>
                  <a:ext uri="{FF2B5EF4-FFF2-40B4-BE49-F238E27FC236}">
                    <a16:creationId xmlns:a16="http://schemas.microsoft.com/office/drawing/2014/main" id="{45A5D556-854E-47CF-A75A-200E45738CFF}"/>
                  </a:ext>
                </a:extLst>
              </p:cNvPr>
              <p:cNvSpPr>
                <a:spLocks/>
              </p:cNvSpPr>
              <p:nvPr/>
            </p:nvSpPr>
            <p:spPr bwMode="auto">
              <a:xfrm>
                <a:off x="-1076325" y="5818188"/>
                <a:ext cx="179388" cy="57150"/>
              </a:xfrm>
              <a:custGeom>
                <a:avLst/>
                <a:gdLst>
                  <a:gd name="T0" fmla="*/ 120 w 121"/>
                  <a:gd name="T1" fmla="*/ 1 h 38"/>
                  <a:gd name="T2" fmla="*/ 120 w 121"/>
                  <a:gd name="T3" fmla="*/ 1 h 38"/>
                  <a:gd name="T4" fmla="*/ 99 w 121"/>
                  <a:gd name="T5" fmla="*/ 17 h 38"/>
                  <a:gd name="T6" fmla="*/ 96 w 121"/>
                  <a:gd name="T7" fmla="*/ 19 h 38"/>
                  <a:gd name="T8" fmla="*/ 93 w 121"/>
                  <a:gd name="T9" fmla="*/ 20 h 38"/>
                  <a:gd name="T10" fmla="*/ 88 w 121"/>
                  <a:gd name="T11" fmla="*/ 22 h 38"/>
                  <a:gd name="T12" fmla="*/ 61 w 121"/>
                  <a:gd name="T13" fmla="*/ 31 h 38"/>
                  <a:gd name="T14" fmla="*/ 33 w 121"/>
                  <a:gd name="T15" fmla="*/ 22 h 38"/>
                  <a:gd name="T16" fmla="*/ 30 w 121"/>
                  <a:gd name="T17" fmla="*/ 20 h 38"/>
                  <a:gd name="T18" fmla="*/ 26 w 121"/>
                  <a:gd name="T19" fmla="*/ 19 h 38"/>
                  <a:gd name="T20" fmla="*/ 23 w 121"/>
                  <a:gd name="T21" fmla="*/ 17 h 38"/>
                  <a:gd name="T22" fmla="*/ 3 w 121"/>
                  <a:gd name="T23" fmla="*/ 2 h 38"/>
                  <a:gd name="T24" fmla="*/ 0 w 121"/>
                  <a:gd name="T25" fmla="*/ 0 h 38"/>
                  <a:gd name="T26" fmla="*/ 0 w 121"/>
                  <a:gd name="T27" fmla="*/ 7 h 38"/>
                  <a:gd name="T28" fmla="*/ 33 w 121"/>
                  <a:gd name="T29" fmla="*/ 29 h 38"/>
                  <a:gd name="T30" fmla="*/ 61 w 121"/>
                  <a:gd name="T31" fmla="*/ 38 h 38"/>
                  <a:gd name="T32" fmla="*/ 88 w 121"/>
                  <a:gd name="T33" fmla="*/ 29 h 38"/>
                  <a:gd name="T34" fmla="*/ 121 w 121"/>
                  <a:gd name="T35" fmla="*/ 8 h 38"/>
                  <a:gd name="T36" fmla="*/ 120 w 121"/>
                  <a:gd name="T3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1" h="38">
                    <a:moveTo>
                      <a:pt x="120" y="1"/>
                    </a:moveTo>
                    <a:cubicBezTo>
                      <a:pt x="120" y="1"/>
                      <a:pt x="120" y="1"/>
                      <a:pt x="120" y="1"/>
                    </a:cubicBezTo>
                    <a:cubicBezTo>
                      <a:pt x="111" y="9"/>
                      <a:pt x="105" y="14"/>
                      <a:pt x="99" y="17"/>
                    </a:cubicBezTo>
                    <a:cubicBezTo>
                      <a:pt x="98" y="17"/>
                      <a:pt x="97" y="18"/>
                      <a:pt x="96" y="19"/>
                    </a:cubicBezTo>
                    <a:cubicBezTo>
                      <a:pt x="95" y="19"/>
                      <a:pt x="94" y="19"/>
                      <a:pt x="93" y="20"/>
                    </a:cubicBezTo>
                    <a:cubicBezTo>
                      <a:pt x="92" y="20"/>
                      <a:pt x="90" y="21"/>
                      <a:pt x="88" y="22"/>
                    </a:cubicBezTo>
                    <a:cubicBezTo>
                      <a:pt x="87" y="26"/>
                      <a:pt x="81" y="31"/>
                      <a:pt x="61" y="31"/>
                    </a:cubicBezTo>
                    <a:cubicBezTo>
                      <a:pt x="41" y="31"/>
                      <a:pt x="35" y="26"/>
                      <a:pt x="33" y="22"/>
                    </a:cubicBezTo>
                    <a:cubicBezTo>
                      <a:pt x="32" y="21"/>
                      <a:pt x="31" y="21"/>
                      <a:pt x="30" y="20"/>
                    </a:cubicBezTo>
                    <a:cubicBezTo>
                      <a:pt x="29" y="20"/>
                      <a:pt x="27" y="19"/>
                      <a:pt x="26" y="19"/>
                    </a:cubicBezTo>
                    <a:cubicBezTo>
                      <a:pt x="25" y="18"/>
                      <a:pt x="24" y="18"/>
                      <a:pt x="23" y="17"/>
                    </a:cubicBezTo>
                    <a:cubicBezTo>
                      <a:pt x="17" y="14"/>
                      <a:pt x="11" y="9"/>
                      <a:pt x="3" y="2"/>
                    </a:cubicBezTo>
                    <a:cubicBezTo>
                      <a:pt x="2" y="2"/>
                      <a:pt x="1" y="1"/>
                      <a:pt x="0" y="0"/>
                    </a:cubicBezTo>
                    <a:cubicBezTo>
                      <a:pt x="0" y="7"/>
                      <a:pt x="0" y="7"/>
                      <a:pt x="0" y="7"/>
                    </a:cubicBezTo>
                    <a:cubicBezTo>
                      <a:pt x="15" y="20"/>
                      <a:pt x="24" y="25"/>
                      <a:pt x="33" y="29"/>
                    </a:cubicBezTo>
                    <a:cubicBezTo>
                      <a:pt x="35" y="33"/>
                      <a:pt x="41" y="38"/>
                      <a:pt x="61" y="38"/>
                    </a:cubicBezTo>
                    <a:cubicBezTo>
                      <a:pt x="81" y="38"/>
                      <a:pt x="87" y="33"/>
                      <a:pt x="88" y="29"/>
                    </a:cubicBezTo>
                    <a:cubicBezTo>
                      <a:pt x="98" y="25"/>
                      <a:pt x="107" y="20"/>
                      <a:pt x="121" y="8"/>
                    </a:cubicBezTo>
                    <a:lnTo>
                      <a:pt x="120" y="1"/>
                    </a:ln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97">
                <a:extLst>
                  <a:ext uri="{FF2B5EF4-FFF2-40B4-BE49-F238E27FC236}">
                    <a16:creationId xmlns:a16="http://schemas.microsoft.com/office/drawing/2014/main" id="{0EDA3E96-F7C6-41C8-A8B8-7EBBAB57D843}"/>
                  </a:ext>
                </a:extLst>
              </p:cNvPr>
              <p:cNvSpPr>
                <a:spLocks/>
              </p:cNvSpPr>
              <p:nvPr/>
            </p:nvSpPr>
            <p:spPr bwMode="auto">
              <a:xfrm>
                <a:off x="-1041400" y="5776913"/>
                <a:ext cx="109538" cy="20638"/>
              </a:xfrm>
              <a:custGeom>
                <a:avLst/>
                <a:gdLst>
                  <a:gd name="T0" fmla="*/ 37 w 74"/>
                  <a:gd name="T1" fmla="*/ 14 h 14"/>
                  <a:gd name="T2" fmla="*/ 5 w 74"/>
                  <a:gd name="T3" fmla="*/ 10 h 14"/>
                  <a:gd name="T4" fmla="*/ 1 w 74"/>
                  <a:gd name="T5" fmla="*/ 4 h 14"/>
                  <a:gd name="T6" fmla="*/ 6 w 74"/>
                  <a:gd name="T7" fmla="*/ 1 h 14"/>
                  <a:gd name="T8" fmla="*/ 68 w 74"/>
                  <a:gd name="T9" fmla="*/ 1 h 14"/>
                  <a:gd name="T10" fmla="*/ 73 w 74"/>
                  <a:gd name="T11" fmla="*/ 4 h 14"/>
                  <a:gd name="T12" fmla="*/ 70 w 74"/>
                  <a:gd name="T13" fmla="*/ 10 h 14"/>
                  <a:gd name="T14" fmla="*/ 37 w 74"/>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4">
                    <a:moveTo>
                      <a:pt x="37" y="14"/>
                    </a:moveTo>
                    <a:cubicBezTo>
                      <a:pt x="27" y="14"/>
                      <a:pt x="17" y="13"/>
                      <a:pt x="5" y="10"/>
                    </a:cubicBezTo>
                    <a:cubicBezTo>
                      <a:pt x="2" y="9"/>
                      <a:pt x="0" y="7"/>
                      <a:pt x="1" y="4"/>
                    </a:cubicBezTo>
                    <a:cubicBezTo>
                      <a:pt x="2" y="2"/>
                      <a:pt x="4" y="0"/>
                      <a:pt x="6" y="1"/>
                    </a:cubicBezTo>
                    <a:cubicBezTo>
                      <a:pt x="30" y="6"/>
                      <a:pt x="44" y="6"/>
                      <a:pt x="68" y="1"/>
                    </a:cubicBezTo>
                    <a:cubicBezTo>
                      <a:pt x="70" y="0"/>
                      <a:pt x="73" y="2"/>
                      <a:pt x="73" y="4"/>
                    </a:cubicBezTo>
                    <a:cubicBezTo>
                      <a:pt x="74" y="7"/>
                      <a:pt x="72" y="9"/>
                      <a:pt x="70" y="10"/>
                    </a:cubicBezTo>
                    <a:cubicBezTo>
                      <a:pt x="57" y="13"/>
                      <a:pt x="47" y="14"/>
                      <a:pt x="37" y="14"/>
                    </a:cubicBezTo>
                    <a:close/>
                  </a:path>
                </a:pathLst>
              </a:custGeom>
              <a:solidFill>
                <a:srgbClr val="E6A1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98">
                <a:extLst>
                  <a:ext uri="{FF2B5EF4-FFF2-40B4-BE49-F238E27FC236}">
                    <a16:creationId xmlns:a16="http://schemas.microsoft.com/office/drawing/2014/main" id="{8FA14A15-D218-45F2-91F7-7ABA011EC7A0}"/>
                  </a:ext>
                </a:extLst>
              </p:cNvPr>
              <p:cNvSpPr>
                <a:spLocks/>
              </p:cNvSpPr>
              <p:nvPr/>
            </p:nvSpPr>
            <p:spPr bwMode="auto">
              <a:xfrm>
                <a:off x="-1020763" y="5638801"/>
                <a:ext cx="34925" cy="88900"/>
              </a:xfrm>
              <a:custGeom>
                <a:avLst/>
                <a:gdLst>
                  <a:gd name="T0" fmla="*/ 23 w 23"/>
                  <a:gd name="T1" fmla="*/ 0 h 59"/>
                  <a:gd name="T2" fmla="*/ 23 w 23"/>
                  <a:gd name="T3" fmla="*/ 59 h 59"/>
                  <a:gd name="T4" fmla="*/ 0 w 23"/>
                  <a:gd name="T5" fmla="*/ 59 h 59"/>
                  <a:gd name="T6" fmla="*/ 3 w 23"/>
                  <a:gd name="T7" fmla="*/ 53 h 59"/>
                  <a:gd name="T8" fmla="*/ 12 w 23"/>
                  <a:gd name="T9" fmla="*/ 35 h 59"/>
                  <a:gd name="T10" fmla="*/ 13 w 23"/>
                  <a:gd name="T11" fmla="*/ 10 h 59"/>
                  <a:gd name="T12" fmla="*/ 23 w 23"/>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23" h="59">
                    <a:moveTo>
                      <a:pt x="23" y="0"/>
                    </a:moveTo>
                    <a:cubicBezTo>
                      <a:pt x="23" y="59"/>
                      <a:pt x="23" y="59"/>
                      <a:pt x="23" y="59"/>
                    </a:cubicBezTo>
                    <a:cubicBezTo>
                      <a:pt x="0" y="59"/>
                      <a:pt x="0" y="59"/>
                      <a:pt x="0" y="59"/>
                    </a:cubicBezTo>
                    <a:cubicBezTo>
                      <a:pt x="0" y="57"/>
                      <a:pt x="2" y="54"/>
                      <a:pt x="3" y="53"/>
                    </a:cubicBezTo>
                    <a:cubicBezTo>
                      <a:pt x="7" y="50"/>
                      <a:pt x="10" y="43"/>
                      <a:pt x="12" y="35"/>
                    </a:cubicBezTo>
                    <a:cubicBezTo>
                      <a:pt x="13" y="10"/>
                      <a:pt x="13" y="10"/>
                      <a:pt x="13" y="10"/>
                    </a:cubicBezTo>
                    <a:cubicBezTo>
                      <a:pt x="13" y="2"/>
                      <a:pt x="21" y="0"/>
                      <a:pt x="23" y="0"/>
                    </a:cubicBezTo>
                    <a:close/>
                  </a:path>
                </a:pathLst>
              </a:custGeom>
              <a:solidFill>
                <a:srgbClr val="F7E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0" name="Freeform 99">
                <a:extLst>
                  <a:ext uri="{FF2B5EF4-FFF2-40B4-BE49-F238E27FC236}">
                    <a16:creationId xmlns:a16="http://schemas.microsoft.com/office/drawing/2014/main" id="{703584EF-57A6-498E-B6C9-F381EA21C574}"/>
                  </a:ext>
                </a:extLst>
              </p:cNvPr>
              <p:cNvSpPr>
                <a:spLocks/>
              </p:cNvSpPr>
              <p:nvPr/>
            </p:nvSpPr>
            <p:spPr bwMode="auto">
              <a:xfrm>
                <a:off x="-1020763" y="5727701"/>
                <a:ext cx="68263" cy="22225"/>
              </a:xfrm>
              <a:custGeom>
                <a:avLst/>
                <a:gdLst>
                  <a:gd name="T0" fmla="*/ 46 w 46"/>
                  <a:gd name="T1" fmla="*/ 0 h 15"/>
                  <a:gd name="T2" fmla="*/ 38 w 46"/>
                  <a:gd name="T3" fmla="*/ 7 h 15"/>
                  <a:gd name="T4" fmla="*/ 33 w 46"/>
                  <a:gd name="T5" fmla="*/ 11 h 15"/>
                  <a:gd name="T6" fmla="*/ 23 w 46"/>
                  <a:gd name="T7" fmla="*/ 15 h 15"/>
                  <a:gd name="T8" fmla="*/ 13 w 46"/>
                  <a:gd name="T9" fmla="*/ 11 h 15"/>
                  <a:gd name="T10" fmla="*/ 9 w 46"/>
                  <a:gd name="T11" fmla="*/ 7 h 15"/>
                  <a:gd name="T12" fmla="*/ 0 w 46"/>
                  <a:gd name="T13" fmla="*/ 0 h 15"/>
                  <a:gd name="T14" fmla="*/ 0 w 46"/>
                  <a:gd name="T15" fmla="*/ 0 h 15"/>
                  <a:gd name="T16" fmla="*/ 46 w 46"/>
                  <a:gd name="T17" fmla="*/ 0 h 15"/>
                  <a:gd name="T18" fmla="*/ 46 w 46"/>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5">
                    <a:moveTo>
                      <a:pt x="46" y="0"/>
                    </a:moveTo>
                    <a:cubicBezTo>
                      <a:pt x="46" y="4"/>
                      <a:pt x="43" y="7"/>
                      <a:pt x="38" y="7"/>
                    </a:cubicBezTo>
                    <a:cubicBezTo>
                      <a:pt x="36" y="7"/>
                      <a:pt x="35" y="9"/>
                      <a:pt x="33" y="11"/>
                    </a:cubicBezTo>
                    <a:cubicBezTo>
                      <a:pt x="30" y="13"/>
                      <a:pt x="27" y="15"/>
                      <a:pt x="23" y="15"/>
                    </a:cubicBezTo>
                    <a:cubicBezTo>
                      <a:pt x="20" y="15"/>
                      <a:pt x="16" y="13"/>
                      <a:pt x="13" y="11"/>
                    </a:cubicBezTo>
                    <a:cubicBezTo>
                      <a:pt x="11" y="9"/>
                      <a:pt x="10" y="7"/>
                      <a:pt x="9" y="7"/>
                    </a:cubicBezTo>
                    <a:cubicBezTo>
                      <a:pt x="3" y="7"/>
                      <a:pt x="0" y="4"/>
                      <a:pt x="0" y="0"/>
                    </a:cubicBezTo>
                    <a:cubicBezTo>
                      <a:pt x="0" y="0"/>
                      <a:pt x="0" y="0"/>
                      <a:pt x="0" y="0"/>
                    </a:cubicBezTo>
                    <a:cubicBezTo>
                      <a:pt x="46" y="0"/>
                      <a:pt x="46" y="0"/>
                      <a:pt x="46" y="0"/>
                    </a:cubicBezTo>
                    <a:cubicBezTo>
                      <a:pt x="46" y="0"/>
                      <a:pt x="46" y="0"/>
                      <a:pt x="46" y="0"/>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1" name="Freeform 100">
                <a:extLst>
                  <a:ext uri="{FF2B5EF4-FFF2-40B4-BE49-F238E27FC236}">
                    <a16:creationId xmlns:a16="http://schemas.microsoft.com/office/drawing/2014/main" id="{10DCECD8-C8A2-43D2-9718-444EAA6DA44A}"/>
                  </a:ext>
                </a:extLst>
              </p:cNvPr>
              <p:cNvSpPr>
                <a:spLocks/>
              </p:cNvSpPr>
              <p:nvPr/>
            </p:nvSpPr>
            <p:spPr bwMode="auto">
              <a:xfrm>
                <a:off x="-1138238" y="5718176"/>
                <a:ext cx="6350" cy="30163"/>
              </a:xfrm>
              <a:custGeom>
                <a:avLst/>
                <a:gdLst>
                  <a:gd name="T0" fmla="*/ 4 w 4"/>
                  <a:gd name="T1" fmla="*/ 18 h 20"/>
                  <a:gd name="T2" fmla="*/ 4 w 4"/>
                  <a:gd name="T3" fmla="*/ 3 h 20"/>
                  <a:gd name="T4" fmla="*/ 0 w 4"/>
                  <a:gd name="T5" fmla="*/ 3 h 20"/>
                  <a:gd name="T6" fmla="*/ 0 w 4"/>
                  <a:gd name="T7" fmla="*/ 18 h 20"/>
                  <a:gd name="T8" fmla="*/ 4 w 4"/>
                  <a:gd name="T9" fmla="*/ 18 h 20"/>
                </a:gdLst>
                <a:ahLst/>
                <a:cxnLst>
                  <a:cxn ang="0">
                    <a:pos x="T0" y="T1"/>
                  </a:cxn>
                  <a:cxn ang="0">
                    <a:pos x="T2" y="T3"/>
                  </a:cxn>
                  <a:cxn ang="0">
                    <a:pos x="T4" y="T5"/>
                  </a:cxn>
                  <a:cxn ang="0">
                    <a:pos x="T6" y="T7"/>
                  </a:cxn>
                  <a:cxn ang="0">
                    <a:pos x="T8" y="T9"/>
                  </a:cxn>
                </a:cxnLst>
                <a:rect l="0" t="0" r="r" b="b"/>
                <a:pathLst>
                  <a:path w="4" h="20">
                    <a:moveTo>
                      <a:pt x="4" y="18"/>
                    </a:moveTo>
                    <a:cubicBezTo>
                      <a:pt x="4" y="13"/>
                      <a:pt x="4" y="8"/>
                      <a:pt x="4" y="3"/>
                    </a:cubicBezTo>
                    <a:cubicBezTo>
                      <a:pt x="4" y="0"/>
                      <a:pt x="0" y="0"/>
                      <a:pt x="0" y="3"/>
                    </a:cubicBezTo>
                    <a:cubicBezTo>
                      <a:pt x="0" y="8"/>
                      <a:pt x="0" y="13"/>
                      <a:pt x="0" y="18"/>
                    </a:cubicBezTo>
                    <a:cubicBezTo>
                      <a:pt x="0" y="20"/>
                      <a:pt x="4" y="20"/>
                      <a:pt x="4"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2" name="Oval 101">
                <a:extLst>
                  <a:ext uri="{FF2B5EF4-FFF2-40B4-BE49-F238E27FC236}">
                    <a16:creationId xmlns:a16="http://schemas.microsoft.com/office/drawing/2014/main" id="{23A649C3-1EC7-4F40-9132-CDDDFDA8407B}"/>
                  </a:ext>
                </a:extLst>
              </p:cNvPr>
              <p:cNvSpPr>
                <a:spLocks noChangeArrowheads="1"/>
              </p:cNvSpPr>
              <p:nvPr/>
            </p:nvSpPr>
            <p:spPr bwMode="auto">
              <a:xfrm>
                <a:off x="-1146175" y="5740401"/>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3" name="Freeform 102">
                <a:extLst>
                  <a:ext uri="{FF2B5EF4-FFF2-40B4-BE49-F238E27FC236}">
                    <a16:creationId xmlns:a16="http://schemas.microsoft.com/office/drawing/2014/main" id="{6A9B80DF-894F-4367-883C-3D4C0554D766}"/>
                  </a:ext>
                </a:extLst>
              </p:cNvPr>
              <p:cNvSpPr>
                <a:spLocks/>
              </p:cNvSpPr>
              <p:nvPr/>
            </p:nvSpPr>
            <p:spPr bwMode="auto">
              <a:xfrm>
                <a:off x="-839788" y="5716588"/>
                <a:ext cx="3175" cy="30163"/>
              </a:xfrm>
              <a:custGeom>
                <a:avLst/>
                <a:gdLst>
                  <a:gd name="T0" fmla="*/ 3 w 3"/>
                  <a:gd name="T1" fmla="*/ 18 h 20"/>
                  <a:gd name="T2" fmla="*/ 3 w 3"/>
                  <a:gd name="T3" fmla="*/ 3 h 20"/>
                  <a:gd name="T4" fmla="*/ 0 w 3"/>
                  <a:gd name="T5" fmla="*/ 3 h 20"/>
                  <a:gd name="T6" fmla="*/ 0 w 3"/>
                  <a:gd name="T7" fmla="*/ 18 h 20"/>
                  <a:gd name="T8" fmla="*/ 3 w 3"/>
                  <a:gd name="T9" fmla="*/ 18 h 20"/>
                </a:gdLst>
                <a:ahLst/>
                <a:cxnLst>
                  <a:cxn ang="0">
                    <a:pos x="T0" y="T1"/>
                  </a:cxn>
                  <a:cxn ang="0">
                    <a:pos x="T2" y="T3"/>
                  </a:cxn>
                  <a:cxn ang="0">
                    <a:pos x="T4" y="T5"/>
                  </a:cxn>
                  <a:cxn ang="0">
                    <a:pos x="T6" y="T7"/>
                  </a:cxn>
                  <a:cxn ang="0">
                    <a:pos x="T8" y="T9"/>
                  </a:cxn>
                </a:cxnLst>
                <a:rect l="0" t="0" r="r" b="b"/>
                <a:pathLst>
                  <a:path w="3" h="20">
                    <a:moveTo>
                      <a:pt x="3" y="18"/>
                    </a:moveTo>
                    <a:cubicBezTo>
                      <a:pt x="3" y="13"/>
                      <a:pt x="3" y="8"/>
                      <a:pt x="3" y="3"/>
                    </a:cubicBezTo>
                    <a:cubicBezTo>
                      <a:pt x="3" y="0"/>
                      <a:pt x="0" y="0"/>
                      <a:pt x="0" y="3"/>
                    </a:cubicBezTo>
                    <a:cubicBezTo>
                      <a:pt x="0" y="8"/>
                      <a:pt x="0" y="13"/>
                      <a:pt x="0" y="18"/>
                    </a:cubicBezTo>
                    <a:cubicBezTo>
                      <a:pt x="0" y="20"/>
                      <a:pt x="3" y="20"/>
                      <a:pt x="3"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4" name="Oval 103">
                <a:extLst>
                  <a:ext uri="{FF2B5EF4-FFF2-40B4-BE49-F238E27FC236}">
                    <a16:creationId xmlns:a16="http://schemas.microsoft.com/office/drawing/2014/main" id="{0BF028A8-94D3-4D11-9F2F-46ECE8C59558}"/>
                  </a:ext>
                </a:extLst>
              </p:cNvPr>
              <p:cNvSpPr>
                <a:spLocks noChangeArrowheads="1"/>
              </p:cNvSpPr>
              <p:nvPr/>
            </p:nvSpPr>
            <p:spPr bwMode="auto">
              <a:xfrm>
                <a:off x="-849313" y="5740401"/>
                <a:ext cx="22225" cy="222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5" name="Freeform 104">
                <a:extLst>
                  <a:ext uri="{FF2B5EF4-FFF2-40B4-BE49-F238E27FC236}">
                    <a16:creationId xmlns:a16="http://schemas.microsoft.com/office/drawing/2014/main" id="{8D3BCE81-0654-4E1E-9653-EA760E4F714A}"/>
                  </a:ext>
                </a:extLst>
              </p:cNvPr>
              <p:cNvSpPr>
                <a:spLocks/>
              </p:cNvSpPr>
              <p:nvPr/>
            </p:nvSpPr>
            <p:spPr bwMode="auto">
              <a:xfrm>
                <a:off x="-1119188" y="5445126"/>
                <a:ext cx="171450" cy="152400"/>
              </a:xfrm>
              <a:custGeom>
                <a:avLst/>
                <a:gdLst>
                  <a:gd name="T0" fmla="*/ 0 w 115"/>
                  <a:gd name="T1" fmla="*/ 101 h 101"/>
                  <a:gd name="T2" fmla="*/ 115 w 115"/>
                  <a:gd name="T3" fmla="*/ 14 h 101"/>
                  <a:gd name="T4" fmla="*/ 75 w 115"/>
                  <a:gd name="T5" fmla="*/ 0 h 101"/>
                  <a:gd name="T6" fmla="*/ 12 w 115"/>
                  <a:gd name="T7" fmla="*/ 20 h 101"/>
                  <a:gd name="T8" fmla="*/ 0 w 115"/>
                  <a:gd name="T9" fmla="*/ 78 h 101"/>
                  <a:gd name="T10" fmla="*/ 0 w 115"/>
                  <a:gd name="T11" fmla="*/ 101 h 101"/>
                </a:gdLst>
                <a:ahLst/>
                <a:cxnLst>
                  <a:cxn ang="0">
                    <a:pos x="T0" y="T1"/>
                  </a:cxn>
                  <a:cxn ang="0">
                    <a:pos x="T2" y="T3"/>
                  </a:cxn>
                  <a:cxn ang="0">
                    <a:pos x="T4" y="T5"/>
                  </a:cxn>
                  <a:cxn ang="0">
                    <a:pos x="T6" y="T7"/>
                  </a:cxn>
                  <a:cxn ang="0">
                    <a:pos x="T8" y="T9"/>
                  </a:cxn>
                  <a:cxn ang="0">
                    <a:pos x="T10" y="T11"/>
                  </a:cxn>
                </a:cxnLst>
                <a:rect l="0" t="0" r="r" b="b"/>
                <a:pathLst>
                  <a:path w="115" h="101">
                    <a:moveTo>
                      <a:pt x="0" y="101"/>
                    </a:moveTo>
                    <a:cubicBezTo>
                      <a:pt x="0" y="101"/>
                      <a:pt x="103" y="50"/>
                      <a:pt x="115" y="14"/>
                    </a:cubicBezTo>
                    <a:cubicBezTo>
                      <a:pt x="75" y="0"/>
                      <a:pt x="75" y="0"/>
                      <a:pt x="75" y="0"/>
                    </a:cubicBezTo>
                    <a:cubicBezTo>
                      <a:pt x="12" y="20"/>
                      <a:pt x="12" y="20"/>
                      <a:pt x="12" y="20"/>
                    </a:cubicBezTo>
                    <a:cubicBezTo>
                      <a:pt x="0" y="78"/>
                      <a:pt x="0" y="78"/>
                      <a:pt x="0" y="78"/>
                    </a:cubicBezTo>
                    <a:lnTo>
                      <a:pt x="0" y="101"/>
                    </a:ln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6" name="Freeform 105">
                <a:extLst>
                  <a:ext uri="{FF2B5EF4-FFF2-40B4-BE49-F238E27FC236}">
                    <a16:creationId xmlns:a16="http://schemas.microsoft.com/office/drawing/2014/main" id="{E863FD22-475F-4434-A389-6EFA93267FBF}"/>
                  </a:ext>
                </a:extLst>
              </p:cNvPr>
              <p:cNvSpPr>
                <a:spLocks/>
              </p:cNvSpPr>
              <p:nvPr/>
            </p:nvSpPr>
            <p:spPr bwMode="auto">
              <a:xfrm>
                <a:off x="-990600" y="5451476"/>
                <a:ext cx="147638" cy="130175"/>
              </a:xfrm>
              <a:custGeom>
                <a:avLst/>
                <a:gdLst>
                  <a:gd name="T0" fmla="*/ 99 w 99"/>
                  <a:gd name="T1" fmla="*/ 87 h 87"/>
                  <a:gd name="T2" fmla="*/ 0 w 99"/>
                  <a:gd name="T3" fmla="*/ 12 h 87"/>
                  <a:gd name="T4" fmla="*/ 34 w 99"/>
                  <a:gd name="T5" fmla="*/ 0 h 87"/>
                  <a:gd name="T6" fmla="*/ 88 w 99"/>
                  <a:gd name="T7" fmla="*/ 17 h 87"/>
                  <a:gd name="T8" fmla="*/ 99 w 99"/>
                  <a:gd name="T9" fmla="*/ 67 h 87"/>
                  <a:gd name="T10" fmla="*/ 99 w 99"/>
                  <a:gd name="T11" fmla="*/ 87 h 87"/>
                </a:gdLst>
                <a:ahLst/>
                <a:cxnLst>
                  <a:cxn ang="0">
                    <a:pos x="T0" y="T1"/>
                  </a:cxn>
                  <a:cxn ang="0">
                    <a:pos x="T2" y="T3"/>
                  </a:cxn>
                  <a:cxn ang="0">
                    <a:pos x="T4" y="T5"/>
                  </a:cxn>
                  <a:cxn ang="0">
                    <a:pos x="T6" y="T7"/>
                  </a:cxn>
                  <a:cxn ang="0">
                    <a:pos x="T8" y="T9"/>
                  </a:cxn>
                  <a:cxn ang="0">
                    <a:pos x="T10" y="T11"/>
                  </a:cxn>
                </a:cxnLst>
                <a:rect l="0" t="0" r="r" b="b"/>
                <a:pathLst>
                  <a:path w="99" h="87">
                    <a:moveTo>
                      <a:pt x="99" y="87"/>
                    </a:moveTo>
                    <a:cubicBezTo>
                      <a:pt x="99" y="87"/>
                      <a:pt x="10" y="43"/>
                      <a:pt x="0" y="12"/>
                    </a:cubicBezTo>
                    <a:cubicBezTo>
                      <a:pt x="34" y="0"/>
                      <a:pt x="34" y="0"/>
                      <a:pt x="34" y="0"/>
                    </a:cubicBezTo>
                    <a:cubicBezTo>
                      <a:pt x="88" y="17"/>
                      <a:pt x="88" y="17"/>
                      <a:pt x="88" y="17"/>
                    </a:cubicBezTo>
                    <a:cubicBezTo>
                      <a:pt x="99" y="67"/>
                      <a:pt x="99" y="67"/>
                      <a:pt x="99" y="67"/>
                    </a:cubicBezTo>
                    <a:lnTo>
                      <a:pt x="99" y="87"/>
                    </a:ln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7" name="Freeform 106">
                <a:extLst>
                  <a:ext uri="{FF2B5EF4-FFF2-40B4-BE49-F238E27FC236}">
                    <a16:creationId xmlns:a16="http://schemas.microsoft.com/office/drawing/2014/main" id="{7740E83E-3A63-461A-A5F7-E01DE2914D11}"/>
                  </a:ext>
                </a:extLst>
              </p:cNvPr>
              <p:cNvSpPr>
                <a:spLocks/>
              </p:cNvSpPr>
              <p:nvPr/>
            </p:nvSpPr>
            <p:spPr bwMode="auto">
              <a:xfrm>
                <a:off x="-792163" y="5965826"/>
                <a:ext cx="166688" cy="169863"/>
              </a:xfrm>
              <a:custGeom>
                <a:avLst/>
                <a:gdLst>
                  <a:gd name="T0" fmla="*/ 7 w 113"/>
                  <a:gd name="T1" fmla="*/ 43 h 113"/>
                  <a:gd name="T2" fmla="*/ 43 w 113"/>
                  <a:gd name="T3" fmla="*/ 105 h 113"/>
                  <a:gd name="T4" fmla="*/ 106 w 113"/>
                  <a:gd name="T5" fmla="*/ 69 h 113"/>
                  <a:gd name="T6" fmla="*/ 69 w 113"/>
                  <a:gd name="T7" fmla="*/ 7 h 113"/>
                  <a:gd name="T8" fmla="*/ 7 w 113"/>
                  <a:gd name="T9" fmla="*/ 43 h 113"/>
                </a:gdLst>
                <a:ahLst/>
                <a:cxnLst>
                  <a:cxn ang="0">
                    <a:pos x="T0" y="T1"/>
                  </a:cxn>
                  <a:cxn ang="0">
                    <a:pos x="T2" y="T3"/>
                  </a:cxn>
                  <a:cxn ang="0">
                    <a:pos x="T4" y="T5"/>
                  </a:cxn>
                  <a:cxn ang="0">
                    <a:pos x="T6" y="T7"/>
                  </a:cxn>
                  <a:cxn ang="0">
                    <a:pos x="T8" y="T9"/>
                  </a:cxn>
                </a:cxnLst>
                <a:rect l="0" t="0" r="r" b="b"/>
                <a:pathLst>
                  <a:path w="113" h="113">
                    <a:moveTo>
                      <a:pt x="7" y="43"/>
                    </a:moveTo>
                    <a:cubicBezTo>
                      <a:pt x="0" y="70"/>
                      <a:pt x="16" y="98"/>
                      <a:pt x="43" y="105"/>
                    </a:cubicBezTo>
                    <a:cubicBezTo>
                      <a:pt x="70" y="113"/>
                      <a:pt x="98" y="97"/>
                      <a:pt x="106" y="69"/>
                    </a:cubicBezTo>
                    <a:cubicBezTo>
                      <a:pt x="113" y="42"/>
                      <a:pt x="97" y="15"/>
                      <a:pt x="69" y="7"/>
                    </a:cubicBezTo>
                    <a:cubicBezTo>
                      <a:pt x="42" y="0"/>
                      <a:pt x="14" y="16"/>
                      <a:pt x="7" y="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8" name="Freeform 107">
                <a:extLst>
                  <a:ext uri="{FF2B5EF4-FFF2-40B4-BE49-F238E27FC236}">
                    <a16:creationId xmlns:a16="http://schemas.microsoft.com/office/drawing/2014/main" id="{70D3A681-6CA2-4917-9593-0C9874A48D20}"/>
                  </a:ext>
                </a:extLst>
              </p:cNvPr>
              <p:cNvSpPr>
                <a:spLocks/>
              </p:cNvSpPr>
              <p:nvPr/>
            </p:nvSpPr>
            <p:spPr bwMode="auto">
              <a:xfrm>
                <a:off x="-1239838" y="6005513"/>
                <a:ext cx="258763" cy="350838"/>
              </a:xfrm>
              <a:custGeom>
                <a:avLst/>
                <a:gdLst>
                  <a:gd name="T0" fmla="*/ 174 w 174"/>
                  <a:gd name="T1" fmla="*/ 0 h 234"/>
                  <a:gd name="T2" fmla="*/ 174 w 174"/>
                  <a:gd name="T3" fmla="*/ 234 h 234"/>
                  <a:gd name="T4" fmla="*/ 172 w 174"/>
                  <a:gd name="T5" fmla="*/ 234 h 234"/>
                  <a:gd name="T6" fmla="*/ 123 w 174"/>
                  <a:gd name="T7" fmla="*/ 231 h 234"/>
                  <a:gd name="T8" fmla="*/ 108 w 174"/>
                  <a:gd name="T9" fmla="*/ 228 h 234"/>
                  <a:gd name="T10" fmla="*/ 69 w 174"/>
                  <a:gd name="T11" fmla="*/ 219 h 234"/>
                  <a:gd name="T12" fmla="*/ 8 w 174"/>
                  <a:gd name="T13" fmla="*/ 194 h 234"/>
                  <a:gd name="T14" fmla="*/ 8 w 174"/>
                  <a:gd name="T15" fmla="*/ 173 h 234"/>
                  <a:gd name="T16" fmla="*/ 8 w 174"/>
                  <a:gd name="T17" fmla="*/ 170 h 234"/>
                  <a:gd name="T18" fmla="*/ 7 w 174"/>
                  <a:gd name="T19" fmla="*/ 167 h 234"/>
                  <a:gd name="T20" fmla="*/ 3 w 174"/>
                  <a:gd name="T21" fmla="*/ 77 h 234"/>
                  <a:gd name="T22" fmla="*/ 2 w 174"/>
                  <a:gd name="T23" fmla="*/ 60 h 234"/>
                  <a:gd name="T24" fmla="*/ 1 w 174"/>
                  <a:gd name="T25" fmla="*/ 30 h 234"/>
                  <a:gd name="T26" fmla="*/ 0 w 174"/>
                  <a:gd name="T27" fmla="*/ 24 h 234"/>
                  <a:gd name="T28" fmla="*/ 0 w 174"/>
                  <a:gd name="T29" fmla="*/ 12 h 234"/>
                  <a:gd name="T30" fmla="*/ 26 w 174"/>
                  <a:gd name="T31" fmla="*/ 10 h 234"/>
                  <a:gd name="T32" fmla="*/ 30 w 174"/>
                  <a:gd name="T33" fmla="*/ 10 h 234"/>
                  <a:gd name="T34" fmla="*/ 37 w 174"/>
                  <a:gd name="T35" fmla="*/ 9 h 234"/>
                  <a:gd name="T36" fmla="*/ 40 w 174"/>
                  <a:gd name="T37" fmla="*/ 9 h 234"/>
                  <a:gd name="T38" fmla="*/ 91 w 174"/>
                  <a:gd name="T39" fmla="*/ 6 h 234"/>
                  <a:gd name="T40" fmla="*/ 107 w 174"/>
                  <a:gd name="T41" fmla="*/ 4 h 234"/>
                  <a:gd name="T42" fmla="*/ 153 w 174"/>
                  <a:gd name="T43" fmla="*/ 1 h 234"/>
                  <a:gd name="T44" fmla="*/ 168 w 174"/>
                  <a:gd name="T45" fmla="*/ 0 h 234"/>
                  <a:gd name="T46" fmla="*/ 172 w 174"/>
                  <a:gd name="T47" fmla="*/ 0 h 234"/>
                  <a:gd name="T48" fmla="*/ 173 w 174"/>
                  <a:gd name="T49" fmla="*/ 0 h 234"/>
                  <a:gd name="T50" fmla="*/ 174 w 174"/>
                  <a:gd name="T51"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4" h="234">
                    <a:moveTo>
                      <a:pt x="174" y="0"/>
                    </a:moveTo>
                    <a:cubicBezTo>
                      <a:pt x="174" y="234"/>
                      <a:pt x="174" y="234"/>
                      <a:pt x="174" y="234"/>
                    </a:cubicBezTo>
                    <a:cubicBezTo>
                      <a:pt x="172" y="234"/>
                      <a:pt x="172" y="234"/>
                      <a:pt x="172" y="234"/>
                    </a:cubicBezTo>
                    <a:cubicBezTo>
                      <a:pt x="155" y="234"/>
                      <a:pt x="139" y="233"/>
                      <a:pt x="123" y="231"/>
                    </a:cubicBezTo>
                    <a:cubicBezTo>
                      <a:pt x="118" y="230"/>
                      <a:pt x="113" y="229"/>
                      <a:pt x="108" y="228"/>
                    </a:cubicBezTo>
                    <a:cubicBezTo>
                      <a:pt x="95" y="226"/>
                      <a:pt x="82" y="223"/>
                      <a:pt x="69" y="219"/>
                    </a:cubicBezTo>
                    <a:cubicBezTo>
                      <a:pt x="48" y="212"/>
                      <a:pt x="27" y="204"/>
                      <a:pt x="8" y="194"/>
                    </a:cubicBezTo>
                    <a:cubicBezTo>
                      <a:pt x="8" y="173"/>
                      <a:pt x="8" y="173"/>
                      <a:pt x="8" y="173"/>
                    </a:cubicBezTo>
                    <a:cubicBezTo>
                      <a:pt x="8" y="170"/>
                      <a:pt x="8" y="170"/>
                      <a:pt x="8" y="170"/>
                    </a:cubicBezTo>
                    <a:cubicBezTo>
                      <a:pt x="7" y="167"/>
                      <a:pt x="7" y="167"/>
                      <a:pt x="7" y="167"/>
                    </a:cubicBezTo>
                    <a:cubicBezTo>
                      <a:pt x="3" y="77"/>
                      <a:pt x="3" y="77"/>
                      <a:pt x="3" y="77"/>
                    </a:cubicBezTo>
                    <a:cubicBezTo>
                      <a:pt x="2" y="60"/>
                      <a:pt x="2" y="60"/>
                      <a:pt x="2" y="60"/>
                    </a:cubicBezTo>
                    <a:cubicBezTo>
                      <a:pt x="1" y="30"/>
                      <a:pt x="1" y="30"/>
                      <a:pt x="1" y="30"/>
                    </a:cubicBezTo>
                    <a:cubicBezTo>
                      <a:pt x="0" y="24"/>
                      <a:pt x="0" y="24"/>
                      <a:pt x="0" y="24"/>
                    </a:cubicBezTo>
                    <a:cubicBezTo>
                      <a:pt x="0" y="12"/>
                      <a:pt x="0" y="12"/>
                      <a:pt x="0" y="12"/>
                    </a:cubicBezTo>
                    <a:cubicBezTo>
                      <a:pt x="26" y="10"/>
                      <a:pt x="26" y="10"/>
                      <a:pt x="26" y="10"/>
                    </a:cubicBezTo>
                    <a:cubicBezTo>
                      <a:pt x="30" y="10"/>
                      <a:pt x="30" y="10"/>
                      <a:pt x="30" y="10"/>
                    </a:cubicBezTo>
                    <a:cubicBezTo>
                      <a:pt x="37" y="9"/>
                      <a:pt x="37" y="9"/>
                      <a:pt x="37" y="9"/>
                    </a:cubicBezTo>
                    <a:cubicBezTo>
                      <a:pt x="40" y="9"/>
                      <a:pt x="40" y="9"/>
                      <a:pt x="40" y="9"/>
                    </a:cubicBezTo>
                    <a:cubicBezTo>
                      <a:pt x="91" y="6"/>
                      <a:pt x="91" y="6"/>
                      <a:pt x="91" y="6"/>
                    </a:cubicBezTo>
                    <a:cubicBezTo>
                      <a:pt x="107" y="4"/>
                      <a:pt x="107" y="4"/>
                      <a:pt x="107" y="4"/>
                    </a:cubicBezTo>
                    <a:cubicBezTo>
                      <a:pt x="153" y="1"/>
                      <a:pt x="153" y="1"/>
                      <a:pt x="153" y="1"/>
                    </a:cubicBezTo>
                    <a:cubicBezTo>
                      <a:pt x="168" y="0"/>
                      <a:pt x="168" y="0"/>
                      <a:pt x="168" y="0"/>
                    </a:cubicBezTo>
                    <a:cubicBezTo>
                      <a:pt x="172" y="0"/>
                      <a:pt x="172" y="0"/>
                      <a:pt x="172" y="0"/>
                    </a:cubicBezTo>
                    <a:cubicBezTo>
                      <a:pt x="173" y="0"/>
                      <a:pt x="173" y="0"/>
                      <a:pt x="173" y="0"/>
                    </a:cubicBezTo>
                    <a:lnTo>
                      <a:pt x="1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9" name="Freeform 108">
                <a:extLst>
                  <a:ext uri="{FF2B5EF4-FFF2-40B4-BE49-F238E27FC236}">
                    <a16:creationId xmlns:a16="http://schemas.microsoft.com/office/drawing/2014/main" id="{6D8A4535-F974-4F15-AA52-0ADD66CBB12C}"/>
                  </a:ext>
                </a:extLst>
              </p:cNvPr>
              <p:cNvSpPr>
                <a:spLocks/>
              </p:cNvSpPr>
              <p:nvPr/>
            </p:nvSpPr>
            <p:spPr bwMode="auto">
              <a:xfrm>
                <a:off x="-982663" y="6005513"/>
                <a:ext cx="258763" cy="350838"/>
              </a:xfrm>
              <a:custGeom>
                <a:avLst/>
                <a:gdLst>
                  <a:gd name="T0" fmla="*/ 174 w 174"/>
                  <a:gd name="T1" fmla="*/ 12 h 234"/>
                  <a:gd name="T2" fmla="*/ 173 w 174"/>
                  <a:gd name="T3" fmla="*/ 32 h 234"/>
                  <a:gd name="T4" fmla="*/ 171 w 174"/>
                  <a:gd name="T5" fmla="*/ 65 h 234"/>
                  <a:gd name="T6" fmla="*/ 171 w 174"/>
                  <a:gd name="T7" fmla="*/ 79 h 234"/>
                  <a:gd name="T8" fmla="*/ 166 w 174"/>
                  <a:gd name="T9" fmla="*/ 167 h 234"/>
                  <a:gd name="T10" fmla="*/ 166 w 174"/>
                  <a:gd name="T11" fmla="*/ 168 h 234"/>
                  <a:gd name="T12" fmla="*/ 166 w 174"/>
                  <a:gd name="T13" fmla="*/ 173 h 234"/>
                  <a:gd name="T14" fmla="*/ 166 w 174"/>
                  <a:gd name="T15" fmla="*/ 194 h 234"/>
                  <a:gd name="T16" fmla="*/ 104 w 174"/>
                  <a:gd name="T17" fmla="*/ 219 h 234"/>
                  <a:gd name="T18" fmla="*/ 77 w 174"/>
                  <a:gd name="T19" fmla="*/ 226 h 234"/>
                  <a:gd name="T20" fmla="*/ 49 w 174"/>
                  <a:gd name="T21" fmla="*/ 231 h 234"/>
                  <a:gd name="T22" fmla="*/ 2 w 174"/>
                  <a:gd name="T23" fmla="*/ 234 h 234"/>
                  <a:gd name="T24" fmla="*/ 0 w 174"/>
                  <a:gd name="T25" fmla="*/ 234 h 234"/>
                  <a:gd name="T26" fmla="*/ 0 w 174"/>
                  <a:gd name="T27" fmla="*/ 0 h 234"/>
                  <a:gd name="T28" fmla="*/ 1 w 174"/>
                  <a:gd name="T29" fmla="*/ 0 h 234"/>
                  <a:gd name="T30" fmla="*/ 2 w 174"/>
                  <a:gd name="T31" fmla="*/ 0 h 234"/>
                  <a:gd name="T32" fmla="*/ 7 w 174"/>
                  <a:gd name="T33" fmla="*/ 0 h 234"/>
                  <a:gd name="T34" fmla="*/ 13 w 174"/>
                  <a:gd name="T35" fmla="*/ 1 h 234"/>
                  <a:gd name="T36" fmla="*/ 65 w 174"/>
                  <a:gd name="T37" fmla="*/ 4 h 234"/>
                  <a:gd name="T38" fmla="*/ 86 w 174"/>
                  <a:gd name="T39" fmla="*/ 6 h 234"/>
                  <a:gd name="T40" fmla="*/ 138 w 174"/>
                  <a:gd name="T41" fmla="*/ 10 h 234"/>
                  <a:gd name="T42" fmla="*/ 143 w 174"/>
                  <a:gd name="T43" fmla="*/ 10 h 234"/>
                  <a:gd name="T44" fmla="*/ 150 w 174"/>
                  <a:gd name="T45" fmla="*/ 10 h 234"/>
                  <a:gd name="T46" fmla="*/ 174 w 174"/>
                  <a:gd name="T47" fmla="*/ 1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4" h="234">
                    <a:moveTo>
                      <a:pt x="174" y="12"/>
                    </a:moveTo>
                    <a:cubicBezTo>
                      <a:pt x="173" y="32"/>
                      <a:pt x="173" y="32"/>
                      <a:pt x="173" y="32"/>
                    </a:cubicBezTo>
                    <a:cubicBezTo>
                      <a:pt x="171" y="65"/>
                      <a:pt x="171" y="65"/>
                      <a:pt x="171" y="65"/>
                    </a:cubicBezTo>
                    <a:cubicBezTo>
                      <a:pt x="171" y="79"/>
                      <a:pt x="171" y="79"/>
                      <a:pt x="171" y="79"/>
                    </a:cubicBezTo>
                    <a:cubicBezTo>
                      <a:pt x="166" y="167"/>
                      <a:pt x="166" y="167"/>
                      <a:pt x="166" y="167"/>
                    </a:cubicBezTo>
                    <a:cubicBezTo>
                      <a:pt x="166" y="168"/>
                      <a:pt x="166" y="168"/>
                      <a:pt x="166" y="168"/>
                    </a:cubicBezTo>
                    <a:cubicBezTo>
                      <a:pt x="166" y="173"/>
                      <a:pt x="166" y="173"/>
                      <a:pt x="166" y="173"/>
                    </a:cubicBezTo>
                    <a:cubicBezTo>
                      <a:pt x="166" y="194"/>
                      <a:pt x="166" y="194"/>
                      <a:pt x="166" y="194"/>
                    </a:cubicBezTo>
                    <a:cubicBezTo>
                      <a:pt x="146" y="204"/>
                      <a:pt x="125" y="213"/>
                      <a:pt x="104" y="219"/>
                    </a:cubicBezTo>
                    <a:cubicBezTo>
                      <a:pt x="95" y="222"/>
                      <a:pt x="86" y="224"/>
                      <a:pt x="77" y="226"/>
                    </a:cubicBezTo>
                    <a:cubicBezTo>
                      <a:pt x="68" y="228"/>
                      <a:pt x="59" y="230"/>
                      <a:pt x="49" y="231"/>
                    </a:cubicBezTo>
                    <a:cubicBezTo>
                      <a:pt x="34" y="233"/>
                      <a:pt x="18" y="234"/>
                      <a:pt x="2" y="234"/>
                    </a:cubicBezTo>
                    <a:cubicBezTo>
                      <a:pt x="0" y="234"/>
                      <a:pt x="0" y="234"/>
                      <a:pt x="0" y="234"/>
                    </a:cubicBezTo>
                    <a:cubicBezTo>
                      <a:pt x="0" y="0"/>
                      <a:pt x="0" y="0"/>
                      <a:pt x="0" y="0"/>
                    </a:cubicBezTo>
                    <a:cubicBezTo>
                      <a:pt x="1" y="0"/>
                      <a:pt x="1" y="0"/>
                      <a:pt x="1" y="0"/>
                    </a:cubicBezTo>
                    <a:cubicBezTo>
                      <a:pt x="2" y="0"/>
                      <a:pt x="2" y="0"/>
                      <a:pt x="2" y="0"/>
                    </a:cubicBezTo>
                    <a:cubicBezTo>
                      <a:pt x="7" y="0"/>
                      <a:pt x="7" y="0"/>
                      <a:pt x="7" y="0"/>
                    </a:cubicBezTo>
                    <a:cubicBezTo>
                      <a:pt x="13" y="1"/>
                      <a:pt x="13" y="1"/>
                      <a:pt x="13" y="1"/>
                    </a:cubicBezTo>
                    <a:cubicBezTo>
                      <a:pt x="65" y="4"/>
                      <a:pt x="65" y="4"/>
                      <a:pt x="65" y="4"/>
                    </a:cubicBezTo>
                    <a:cubicBezTo>
                      <a:pt x="86" y="6"/>
                      <a:pt x="86" y="6"/>
                      <a:pt x="86" y="6"/>
                    </a:cubicBezTo>
                    <a:cubicBezTo>
                      <a:pt x="138" y="10"/>
                      <a:pt x="138" y="10"/>
                      <a:pt x="138" y="10"/>
                    </a:cubicBezTo>
                    <a:cubicBezTo>
                      <a:pt x="143" y="10"/>
                      <a:pt x="143" y="10"/>
                      <a:pt x="143" y="10"/>
                    </a:cubicBezTo>
                    <a:cubicBezTo>
                      <a:pt x="150" y="10"/>
                      <a:pt x="150" y="10"/>
                      <a:pt x="150" y="10"/>
                    </a:cubicBezTo>
                    <a:lnTo>
                      <a:pt x="174"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0" name="Freeform 109">
                <a:extLst>
                  <a:ext uri="{FF2B5EF4-FFF2-40B4-BE49-F238E27FC236}">
                    <a16:creationId xmlns:a16="http://schemas.microsoft.com/office/drawing/2014/main" id="{D64B8E93-A728-461B-9B84-E7F6369D8D91}"/>
                  </a:ext>
                </a:extLst>
              </p:cNvPr>
              <p:cNvSpPr>
                <a:spLocks/>
              </p:cNvSpPr>
              <p:nvPr/>
            </p:nvSpPr>
            <p:spPr bwMode="auto">
              <a:xfrm>
                <a:off x="-1341438" y="5986463"/>
                <a:ext cx="147638" cy="306388"/>
              </a:xfrm>
              <a:custGeom>
                <a:avLst/>
                <a:gdLst>
                  <a:gd name="T0" fmla="*/ 99 w 99"/>
                  <a:gd name="T1" fmla="*/ 48 h 205"/>
                  <a:gd name="T2" fmla="*/ 98 w 99"/>
                  <a:gd name="T3" fmla="*/ 52 h 205"/>
                  <a:gd name="T4" fmla="*/ 95 w 99"/>
                  <a:gd name="T5" fmla="*/ 69 h 205"/>
                  <a:gd name="T6" fmla="*/ 94 w 99"/>
                  <a:gd name="T7" fmla="*/ 78 h 205"/>
                  <a:gd name="T8" fmla="*/ 93 w 99"/>
                  <a:gd name="T9" fmla="*/ 83 h 205"/>
                  <a:gd name="T10" fmla="*/ 92 w 99"/>
                  <a:gd name="T11" fmla="*/ 89 h 205"/>
                  <a:gd name="T12" fmla="*/ 77 w 99"/>
                  <a:gd name="T13" fmla="*/ 180 h 205"/>
                  <a:gd name="T14" fmla="*/ 77 w 99"/>
                  <a:gd name="T15" fmla="*/ 183 h 205"/>
                  <a:gd name="T16" fmla="*/ 74 w 99"/>
                  <a:gd name="T17" fmla="*/ 205 h 205"/>
                  <a:gd name="T18" fmla="*/ 25 w 99"/>
                  <a:gd name="T19" fmla="*/ 174 h 205"/>
                  <a:gd name="T20" fmla="*/ 0 w 99"/>
                  <a:gd name="T21" fmla="*/ 152 h 205"/>
                  <a:gd name="T22" fmla="*/ 14 w 99"/>
                  <a:gd name="T23" fmla="*/ 65 h 205"/>
                  <a:gd name="T24" fmla="*/ 20 w 99"/>
                  <a:gd name="T25" fmla="*/ 34 h 205"/>
                  <a:gd name="T26" fmla="*/ 20 w 99"/>
                  <a:gd name="T27" fmla="*/ 30 h 205"/>
                  <a:gd name="T28" fmla="*/ 45 w 99"/>
                  <a:gd name="T29" fmla="*/ 4 h 205"/>
                  <a:gd name="T30" fmla="*/ 70 w 99"/>
                  <a:gd name="T31" fmla="*/ 2 h 205"/>
                  <a:gd name="T32" fmla="*/ 95 w 99"/>
                  <a:gd name="T33" fmla="*/ 23 h 205"/>
                  <a:gd name="T34" fmla="*/ 96 w 99"/>
                  <a:gd name="T35" fmla="*/ 27 h 205"/>
                  <a:gd name="T36" fmla="*/ 97 w 99"/>
                  <a:gd name="T37" fmla="*/ 30 h 205"/>
                  <a:gd name="T38" fmla="*/ 99 w 99"/>
                  <a:gd name="T39" fmla="*/ 38 h 205"/>
                  <a:gd name="T40" fmla="*/ 99 w 99"/>
                  <a:gd name="T41" fmla="*/ 4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205">
                    <a:moveTo>
                      <a:pt x="99" y="48"/>
                    </a:moveTo>
                    <a:cubicBezTo>
                      <a:pt x="99" y="49"/>
                      <a:pt x="98" y="50"/>
                      <a:pt x="98" y="52"/>
                    </a:cubicBezTo>
                    <a:cubicBezTo>
                      <a:pt x="97" y="58"/>
                      <a:pt x="96" y="63"/>
                      <a:pt x="95" y="69"/>
                    </a:cubicBezTo>
                    <a:cubicBezTo>
                      <a:pt x="95" y="72"/>
                      <a:pt x="94" y="75"/>
                      <a:pt x="94" y="78"/>
                    </a:cubicBezTo>
                    <a:cubicBezTo>
                      <a:pt x="93" y="80"/>
                      <a:pt x="93" y="81"/>
                      <a:pt x="93" y="83"/>
                    </a:cubicBezTo>
                    <a:cubicBezTo>
                      <a:pt x="93" y="85"/>
                      <a:pt x="92" y="87"/>
                      <a:pt x="92" y="89"/>
                    </a:cubicBezTo>
                    <a:cubicBezTo>
                      <a:pt x="87" y="119"/>
                      <a:pt x="81" y="149"/>
                      <a:pt x="77" y="180"/>
                    </a:cubicBezTo>
                    <a:cubicBezTo>
                      <a:pt x="77" y="181"/>
                      <a:pt x="77" y="182"/>
                      <a:pt x="77" y="183"/>
                    </a:cubicBezTo>
                    <a:cubicBezTo>
                      <a:pt x="76" y="191"/>
                      <a:pt x="75" y="198"/>
                      <a:pt x="74" y="205"/>
                    </a:cubicBezTo>
                    <a:cubicBezTo>
                      <a:pt x="57" y="196"/>
                      <a:pt x="41" y="186"/>
                      <a:pt x="25" y="174"/>
                    </a:cubicBezTo>
                    <a:cubicBezTo>
                      <a:pt x="17" y="167"/>
                      <a:pt x="8" y="160"/>
                      <a:pt x="0" y="152"/>
                    </a:cubicBezTo>
                    <a:cubicBezTo>
                      <a:pt x="4" y="123"/>
                      <a:pt x="9" y="94"/>
                      <a:pt x="14" y="65"/>
                    </a:cubicBezTo>
                    <a:cubicBezTo>
                      <a:pt x="16" y="55"/>
                      <a:pt x="18" y="45"/>
                      <a:pt x="20" y="34"/>
                    </a:cubicBezTo>
                    <a:cubicBezTo>
                      <a:pt x="20" y="33"/>
                      <a:pt x="20" y="32"/>
                      <a:pt x="20" y="30"/>
                    </a:cubicBezTo>
                    <a:cubicBezTo>
                      <a:pt x="22" y="17"/>
                      <a:pt x="33" y="8"/>
                      <a:pt x="45" y="4"/>
                    </a:cubicBezTo>
                    <a:cubicBezTo>
                      <a:pt x="53" y="1"/>
                      <a:pt x="62" y="0"/>
                      <a:pt x="70" y="2"/>
                    </a:cubicBezTo>
                    <a:cubicBezTo>
                      <a:pt x="82" y="5"/>
                      <a:pt x="90" y="13"/>
                      <a:pt x="95" y="23"/>
                    </a:cubicBezTo>
                    <a:cubicBezTo>
                      <a:pt x="95" y="25"/>
                      <a:pt x="96" y="26"/>
                      <a:pt x="96" y="27"/>
                    </a:cubicBezTo>
                    <a:cubicBezTo>
                      <a:pt x="97" y="28"/>
                      <a:pt x="97" y="29"/>
                      <a:pt x="97" y="30"/>
                    </a:cubicBezTo>
                    <a:cubicBezTo>
                      <a:pt x="98" y="32"/>
                      <a:pt x="98" y="35"/>
                      <a:pt x="99" y="38"/>
                    </a:cubicBezTo>
                    <a:cubicBezTo>
                      <a:pt x="99" y="41"/>
                      <a:pt x="99" y="44"/>
                      <a:pt x="99" y="48"/>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1" name="Freeform 110">
                <a:extLst>
                  <a:ext uri="{FF2B5EF4-FFF2-40B4-BE49-F238E27FC236}">
                    <a16:creationId xmlns:a16="http://schemas.microsoft.com/office/drawing/2014/main" id="{C6CE2632-03C6-48A7-B733-5F74BBD14229}"/>
                  </a:ext>
                </a:extLst>
              </p:cNvPr>
              <p:cNvSpPr>
                <a:spLocks/>
              </p:cNvSpPr>
              <p:nvPr/>
            </p:nvSpPr>
            <p:spPr bwMode="auto">
              <a:xfrm>
                <a:off x="-1354138" y="6035676"/>
                <a:ext cx="174625" cy="222250"/>
              </a:xfrm>
              <a:custGeom>
                <a:avLst/>
                <a:gdLst>
                  <a:gd name="T0" fmla="*/ 117 w 117"/>
                  <a:gd name="T1" fmla="*/ 16 h 148"/>
                  <a:gd name="T2" fmla="*/ 117 w 117"/>
                  <a:gd name="T3" fmla="*/ 18 h 148"/>
                  <a:gd name="T4" fmla="*/ 117 w 117"/>
                  <a:gd name="T5" fmla="*/ 19 h 148"/>
                  <a:gd name="T6" fmla="*/ 115 w 117"/>
                  <a:gd name="T7" fmla="*/ 31 h 148"/>
                  <a:gd name="T8" fmla="*/ 113 w 117"/>
                  <a:gd name="T9" fmla="*/ 45 h 148"/>
                  <a:gd name="T10" fmla="*/ 107 w 117"/>
                  <a:gd name="T11" fmla="*/ 79 h 148"/>
                  <a:gd name="T12" fmla="*/ 98 w 117"/>
                  <a:gd name="T13" fmla="*/ 148 h 148"/>
                  <a:gd name="T14" fmla="*/ 85 w 117"/>
                  <a:gd name="T15" fmla="*/ 147 h 148"/>
                  <a:gd name="T16" fmla="*/ 84 w 117"/>
                  <a:gd name="T17" fmla="*/ 147 h 148"/>
                  <a:gd name="T18" fmla="*/ 33 w 117"/>
                  <a:gd name="T19" fmla="*/ 141 h 148"/>
                  <a:gd name="T20" fmla="*/ 8 w 117"/>
                  <a:gd name="T21" fmla="*/ 119 h 148"/>
                  <a:gd name="T22" fmla="*/ 0 w 117"/>
                  <a:gd name="T23" fmla="*/ 112 h 148"/>
                  <a:gd name="T24" fmla="*/ 17 w 117"/>
                  <a:gd name="T25" fmla="*/ 2 h 148"/>
                  <a:gd name="T26" fmla="*/ 17 w 117"/>
                  <a:gd name="T27" fmla="*/ 0 h 148"/>
                  <a:gd name="T28" fmla="*/ 28 w 117"/>
                  <a:gd name="T29" fmla="*/ 1 h 148"/>
                  <a:gd name="T30" fmla="*/ 67 w 117"/>
                  <a:gd name="T31" fmla="*/ 8 h 148"/>
                  <a:gd name="T32" fmla="*/ 67 w 117"/>
                  <a:gd name="T33" fmla="*/ 8 h 148"/>
                  <a:gd name="T34" fmla="*/ 67 w 117"/>
                  <a:gd name="T35" fmla="*/ 8 h 148"/>
                  <a:gd name="T36" fmla="*/ 78 w 117"/>
                  <a:gd name="T37" fmla="*/ 10 h 148"/>
                  <a:gd name="T38" fmla="*/ 107 w 117"/>
                  <a:gd name="T39" fmla="*/ 15 h 148"/>
                  <a:gd name="T40" fmla="*/ 117 w 117"/>
                  <a:gd name="T41" fmla="*/ 1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48">
                    <a:moveTo>
                      <a:pt x="117" y="16"/>
                    </a:moveTo>
                    <a:cubicBezTo>
                      <a:pt x="117" y="17"/>
                      <a:pt x="117" y="18"/>
                      <a:pt x="117" y="18"/>
                    </a:cubicBezTo>
                    <a:cubicBezTo>
                      <a:pt x="117" y="19"/>
                      <a:pt x="117" y="19"/>
                      <a:pt x="117" y="19"/>
                    </a:cubicBezTo>
                    <a:cubicBezTo>
                      <a:pt x="116" y="22"/>
                      <a:pt x="116" y="27"/>
                      <a:pt x="115" y="31"/>
                    </a:cubicBezTo>
                    <a:cubicBezTo>
                      <a:pt x="114" y="35"/>
                      <a:pt x="113" y="40"/>
                      <a:pt x="113" y="45"/>
                    </a:cubicBezTo>
                    <a:cubicBezTo>
                      <a:pt x="111" y="56"/>
                      <a:pt x="109" y="67"/>
                      <a:pt x="107" y="79"/>
                    </a:cubicBezTo>
                    <a:cubicBezTo>
                      <a:pt x="103" y="104"/>
                      <a:pt x="100" y="130"/>
                      <a:pt x="98" y="148"/>
                    </a:cubicBezTo>
                    <a:cubicBezTo>
                      <a:pt x="85" y="147"/>
                      <a:pt x="85" y="147"/>
                      <a:pt x="85" y="147"/>
                    </a:cubicBezTo>
                    <a:cubicBezTo>
                      <a:pt x="84" y="147"/>
                      <a:pt x="84" y="147"/>
                      <a:pt x="84" y="147"/>
                    </a:cubicBezTo>
                    <a:cubicBezTo>
                      <a:pt x="33" y="141"/>
                      <a:pt x="33" y="141"/>
                      <a:pt x="33" y="141"/>
                    </a:cubicBezTo>
                    <a:cubicBezTo>
                      <a:pt x="25" y="134"/>
                      <a:pt x="16" y="127"/>
                      <a:pt x="8" y="119"/>
                    </a:cubicBezTo>
                    <a:cubicBezTo>
                      <a:pt x="5" y="117"/>
                      <a:pt x="2" y="114"/>
                      <a:pt x="0" y="112"/>
                    </a:cubicBezTo>
                    <a:cubicBezTo>
                      <a:pt x="5" y="75"/>
                      <a:pt x="12" y="29"/>
                      <a:pt x="17" y="2"/>
                    </a:cubicBezTo>
                    <a:cubicBezTo>
                      <a:pt x="17" y="2"/>
                      <a:pt x="17" y="1"/>
                      <a:pt x="17" y="0"/>
                    </a:cubicBezTo>
                    <a:cubicBezTo>
                      <a:pt x="28" y="1"/>
                      <a:pt x="28" y="1"/>
                      <a:pt x="28" y="1"/>
                    </a:cubicBezTo>
                    <a:cubicBezTo>
                      <a:pt x="67" y="8"/>
                      <a:pt x="67" y="8"/>
                      <a:pt x="67" y="8"/>
                    </a:cubicBezTo>
                    <a:cubicBezTo>
                      <a:pt x="67" y="8"/>
                      <a:pt x="67" y="8"/>
                      <a:pt x="67" y="8"/>
                    </a:cubicBezTo>
                    <a:cubicBezTo>
                      <a:pt x="67" y="8"/>
                      <a:pt x="67" y="8"/>
                      <a:pt x="67" y="8"/>
                    </a:cubicBezTo>
                    <a:cubicBezTo>
                      <a:pt x="78" y="10"/>
                      <a:pt x="78" y="10"/>
                      <a:pt x="78" y="10"/>
                    </a:cubicBezTo>
                    <a:cubicBezTo>
                      <a:pt x="107" y="15"/>
                      <a:pt x="107" y="15"/>
                      <a:pt x="107" y="15"/>
                    </a:cubicBezTo>
                    <a:lnTo>
                      <a:pt x="117"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2" name="Freeform 111">
                <a:extLst>
                  <a:ext uri="{FF2B5EF4-FFF2-40B4-BE49-F238E27FC236}">
                    <a16:creationId xmlns:a16="http://schemas.microsoft.com/office/drawing/2014/main" id="{655820A5-8AFC-4B89-98B8-6148A00DA9CA}"/>
                  </a:ext>
                </a:extLst>
              </p:cNvPr>
              <p:cNvSpPr>
                <a:spLocks/>
              </p:cNvSpPr>
              <p:nvPr/>
            </p:nvSpPr>
            <p:spPr bwMode="auto">
              <a:xfrm>
                <a:off x="-1336675" y="5962651"/>
                <a:ext cx="166688" cy="168275"/>
              </a:xfrm>
              <a:custGeom>
                <a:avLst/>
                <a:gdLst>
                  <a:gd name="T0" fmla="*/ 105 w 113"/>
                  <a:gd name="T1" fmla="*/ 43 h 112"/>
                  <a:gd name="T2" fmla="*/ 69 w 113"/>
                  <a:gd name="T3" fmla="*/ 105 h 112"/>
                  <a:gd name="T4" fmla="*/ 7 w 113"/>
                  <a:gd name="T5" fmla="*/ 69 h 112"/>
                  <a:gd name="T6" fmla="*/ 43 w 113"/>
                  <a:gd name="T7" fmla="*/ 7 h 112"/>
                  <a:gd name="T8" fmla="*/ 105 w 113"/>
                  <a:gd name="T9" fmla="*/ 43 h 112"/>
                </a:gdLst>
                <a:ahLst/>
                <a:cxnLst>
                  <a:cxn ang="0">
                    <a:pos x="T0" y="T1"/>
                  </a:cxn>
                  <a:cxn ang="0">
                    <a:pos x="T2" y="T3"/>
                  </a:cxn>
                  <a:cxn ang="0">
                    <a:pos x="T4" y="T5"/>
                  </a:cxn>
                  <a:cxn ang="0">
                    <a:pos x="T6" y="T7"/>
                  </a:cxn>
                  <a:cxn ang="0">
                    <a:pos x="T8" y="T9"/>
                  </a:cxn>
                </a:cxnLst>
                <a:rect l="0" t="0" r="r" b="b"/>
                <a:pathLst>
                  <a:path w="113" h="112">
                    <a:moveTo>
                      <a:pt x="105" y="43"/>
                    </a:moveTo>
                    <a:cubicBezTo>
                      <a:pt x="113" y="70"/>
                      <a:pt x="96" y="98"/>
                      <a:pt x="69" y="105"/>
                    </a:cubicBezTo>
                    <a:cubicBezTo>
                      <a:pt x="42" y="112"/>
                      <a:pt x="14" y="96"/>
                      <a:pt x="7" y="69"/>
                    </a:cubicBezTo>
                    <a:cubicBezTo>
                      <a:pt x="0" y="42"/>
                      <a:pt x="16" y="14"/>
                      <a:pt x="43" y="7"/>
                    </a:cubicBezTo>
                    <a:cubicBezTo>
                      <a:pt x="70" y="0"/>
                      <a:pt x="98" y="16"/>
                      <a:pt x="105" y="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3" name="Freeform 112">
                <a:extLst>
                  <a:ext uri="{FF2B5EF4-FFF2-40B4-BE49-F238E27FC236}">
                    <a16:creationId xmlns:a16="http://schemas.microsoft.com/office/drawing/2014/main" id="{060F6264-C7E9-42E6-AFD5-D515205BA914}"/>
                  </a:ext>
                </a:extLst>
              </p:cNvPr>
              <p:cNvSpPr>
                <a:spLocks/>
              </p:cNvSpPr>
              <p:nvPr/>
            </p:nvSpPr>
            <p:spPr bwMode="auto">
              <a:xfrm>
                <a:off x="-1116013" y="5942013"/>
                <a:ext cx="263525" cy="414338"/>
              </a:xfrm>
              <a:custGeom>
                <a:avLst/>
                <a:gdLst>
                  <a:gd name="T0" fmla="*/ 177 w 177"/>
                  <a:gd name="T1" fmla="*/ 0 h 276"/>
                  <a:gd name="T2" fmla="*/ 176 w 177"/>
                  <a:gd name="T3" fmla="*/ 2 h 276"/>
                  <a:gd name="T4" fmla="*/ 176 w 177"/>
                  <a:gd name="T5" fmla="*/ 6 h 276"/>
                  <a:gd name="T6" fmla="*/ 175 w 177"/>
                  <a:gd name="T7" fmla="*/ 48 h 276"/>
                  <a:gd name="T8" fmla="*/ 173 w 177"/>
                  <a:gd name="T9" fmla="*/ 89 h 276"/>
                  <a:gd name="T10" fmla="*/ 166 w 177"/>
                  <a:gd name="T11" fmla="*/ 268 h 276"/>
                  <a:gd name="T12" fmla="*/ 138 w 177"/>
                  <a:gd name="T13" fmla="*/ 273 h 276"/>
                  <a:gd name="T14" fmla="*/ 91 w 177"/>
                  <a:gd name="T15" fmla="*/ 276 h 276"/>
                  <a:gd name="T16" fmla="*/ 89 w 177"/>
                  <a:gd name="T17" fmla="*/ 276 h 276"/>
                  <a:gd name="T18" fmla="*/ 40 w 177"/>
                  <a:gd name="T19" fmla="*/ 273 h 276"/>
                  <a:gd name="T20" fmla="*/ 25 w 177"/>
                  <a:gd name="T21" fmla="*/ 270 h 276"/>
                  <a:gd name="T22" fmla="*/ 0 w 177"/>
                  <a:gd name="T23" fmla="*/ 104 h 276"/>
                  <a:gd name="T24" fmla="*/ 2 w 177"/>
                  <a:gd name="T25" fmla="*/ 88 h 276"/>
                  <a:gd name="T26" fmla="*/ 8 w 177"/>
                  <a:gd name="T27" fmla="*/ 48 h 276"/>
                  <a:gd name="T28" fmla="*/ 10 w 177"/>
                  <a:gd name="T29" fmla="*/ 31 h 276"/>
                  <a:gd name="T30" fmla="*/ 13 w 177"/>
                  <a:gd name="T31" fmla="*/ 9 h 276"/>
                  <a:gd name="T32" fmla="*/ 13 w 177"/>
                  <a:gd name="T33" fmla="*/ 8 h 276"/>
                  <a:gd name="T34" fmla="*/ 14 w 177"/>
                  <a:gd name="T35" fmla="*/ 2 h 276"/>
                  <a:gd name="T36" fmla="*/ 24 w 177"/>
                  <a:gd name="T37" fmla="*/ 5 h 276"/>
                  <a:gd name="T38" fmla="*/ 33 w 177"/>
                  <a:gd name="T39" fmla="*/ 7 h 276"/>
                  <a:gd name="T40" fmla="*/ 34 w 177"/>
                  <a:gd name="T41" fmla="*/ 7 h 276"/>
                  <a:gd name="T42" fmla="*/ 61 w 177"/>
                  <a:gd name="T43" fmla="*/ 12 h 276"/>
                  <a:gd name="T44" fmla="*/ 64 w 177"/>
                  <a:gd name="T45" fmla="*/ 12 h 276"/>
                  <a:gd name="T46" fmla="*/ 74 w 177"/>
                  <a:gd name="T47" fmla="*/ 13 h 276"/>
                  <a:gd name="T48" fmla="*/ 107 w 177"/>
                  <a:gd name="T49" fmla="*/ 13 h 276"/>
                  <a:gd name="T50" fmla="*/ 107 w 177"/>
                  <a:gd name="T51" fmla="*/ 13 h 276"/>
                  <a:gd name="T52" fmla="*/ 153 w 177"/>
                  <a:gd name="T53" fmla="*/ 7 h 276"/>
                  <a:gd name="T54" fmla="*/ 177 w 177"/>
                  <a:gd name="T55"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7" h="276">
                    <a:moveTo>
                      <a:pt x="177" y="0"/>
                    </a:moveTo>
                    <a:cubicBezTo>
                      <a:pt x="176" y="2"/>
                      <a:pt x="176" y="2"/>
                      <a:pt x="176" y="2"/>
                    </a:cubicBezTo>
                    <a:cubicBezTo>
                      <a:pt x="176" y="6"/>
                      <a:pt x="176" y="6"/>
                      <a:pt x="176" y="6"/>
                    </a:cubicBezTo>
                    <a:cubicBezTo>
                      <a:pt x="175" y="48"/>
                      <a:pt x="175" y="48"/>
                      <a:pt x="175" y="48"/>
                    </a:cubicBezTo>
                    <a:cubicBezTo>
                      <a:pt x="173" y="89"/>
                      <a:pt x="173" y="89"/>
                      <a:pt x="173" y="89"/>
                    </a:cubicBezTo>
                    <a:cubicBezTo>
                      <a:pt x="166" y="268"/>
                      <a:pt x="166" y="268"/>
                      <a:pt x="166" y="268"/>
                    </a:cubicBezTo>
                    <a:cubicBezTo>
                      <a:pt x="157" y="270"/>
                      <a:pt x="148" y="272"/>
                      <a:pt x="138" y="273"/>
                    </a:cubicBezTo>
                    <a:cubicBezTo>
                      <a:pt x="123" y="275"/>
                      <a:pt x="107" y="276"/>
                      <a:pt x="91" y="276"/>
                    </a:cubicBezTo>
                    <a:cubicBezTo>
                      <a:pt x="89" y="276"/>
                      <a:pt x="89" y="276"/>
                      <a:pt x="89" y="276"/>
                    </a:cubicBezTo>
                    <a:cubicBezTo>
                      <a:pt x="72" y="276"/>
                      <a:pt x="56" y="275"/>
                      <a:pt x="40" y="273"/>
                    </a:cubicBezTo>
                    <a:cubicBezTo>
                      <a:pt x="35" y="272"/>
                      <a:pt x="30" y="271"/>
                      <a:pt x="25" y="270"/>
                    </a:cubicBezTo>
                    <a:cubicBezTo>
                      <a:pt x="0" y="104"/>
                      <a:pt x="0" y="104"/>
                      <a:pt x="0" y="104"/>
                    </a:cubicBezTo>
                    <a:cubicBezTo>
                      <a:pt x="2" y="88"/>
                      <a:pt x="2" y="88"/>
                      <a:pt x="2" y="88"/>
                    </a:cubicBezTo>
                    <a:cubicBezTo>
                      <a:pt x="8" y="48"/>
                      <a:pt x="8" y="48"/>
                      <a:pt x="8" y="48"/>
                    </a:cubicBezTo>
                    <a:cubicBezTo>
                      <a:pt x="10" y="31"/>
                      <a:pt x="10" y="31"/>
                      <a:pt x="10" y="31"/>
                    </a:cubicBezTo>
                    <a:cubicBezTo>
                      <a:pt x="13" y="9"/>
                      <a:pt x="13" y="9"/>
                      <a:pt x="13" y="9"/>
                    </a:cubicBezTo>
                    <a:cubicBezTo>
                      <a:pt x="13" y="8"/>
                      <a:pt x="13" y="8"/>
                      <a:pt x="13" y="8"/>
                    </a:cubicBezTo>
                    <a:cubicBezTo>
                      <a:pt x="14" y="2"/>
                      <a:pt x="14" y="2"/>
                      <a:pt x="14" y="2"/>
                    </a:cubicBezTo>
                    <a:cubicBezTo>
                      <a:pt x="14" y="2"/>
                      <a:pt x="18" y="3"/>
                      <a:pt x="24" y="5"/>
                    </a:cubicBezTo>
                    <a:cubicBezTo>
                      <a:pt x="26" y="5"/>
                      <a:pt x="29" y="6"/>
                      <a:pt x="33" y="7"/>
                    </a:cubicBezTo>
                    <a:cubicBezTo>
                      <a:pt x="33" y="7"/>
                      <a:pt x="34" y="7"/>
                      <a:pt x="34" y="7"/>
                    </a:cubicBezTo>
                    <a:cubicBezTo>
                      <a:pt x="42" y="9"/>
                      <a:pt x="51" y="10"/>
                      <a:pt x="61" y="12"/>
                    </a:cubicBezTo>
                    <a:cubicBezTo>
                      <a:pt x="62" y="12"/>
                      <a:pt x="63" y="12"/>
                      <a:pt x="64" y="12"/>
                    </a:cubicBezTo>
                    <a:cubicBezTo>
                      <a:pt x="67" y="12"/>
                      <a:pt x="71" y="13"/>
                      <a:pt x="74" y="13"/>
                    </a:cubicBezTo>
                    <a:cubicBezTo>
                      <a:pt x="84" y="14"/>
                      <a:pt x="95" y="14"/>
                      <a:pt x="107" y="13"/>
                    </a:cubicBezTo>
                    <a:cubicBezTo>
                      <a:pt x="107" y="13"/>
                      <a:pt x="107" y="13"/>
                      <a:pt x="107" y="13"/>
                    </a:cubicBezTo>
                    <a:cubicBezTo>
                      <a:pt x="122" y="12"/>
                      <a:pt x="137" y="11"/>
                      <a:pt x="153" y="7"/>
                    </a:cubicBezTo>
                    <a:cubicBezTo>
                      <a:pt x="161" y="5"/>
                      <a:pt x="169" y="3"/>
                      <a:pt x="177"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4" name="Freeform 113">
                <a:extLst>
                  <a:ext uri="{FF2B5EF4-FFF2-40B4-BE49-F238E27FC236}">
                    <a16:creationId xmlns:a16="http://schemas.microsoft.com/office/drawing/2014/main" id="{5150F46D-27BA-405B-B7FE-823AC334D3E0}"/>
                  </a:ext>
                </a:extLst>
              </p:cNvPr>
              <p:cNvSpPr>
                <a:spLocks/>
              </p:cNvSpPr>
              <p:nvPr/>
            </p:nvSpPr>
            <p:spPr bwMode="auto">
              <a:xfrm>
                <a:off x="-909638" y="5892801"/>
                <a:ext cx="153988" cy="458788"/>
              </a:xfrm>
              <a:custGeom>
                <a:avLst/>
                <a:gdLst>
                  <a:gd name="T0" fmla="*/ 103 w 104"/>
                  <a:gd name="T1" fmla="*/ 145 h 306"/>
                  <a:gd name="T2" fmla="*/ 103 w 104"/>
                  <a:gd name="T3" fmla="*/ 147 h 306"/>
                  <a:gd name="T4" fmla="*/ 102 w 104"/>
                  <a:gd name="T5" fmla="*/ 147 h 306"/>
                  <a:gd name="T6" fmla="*/ 102 w 104"/>
                  <a:gd name="T7" fmla="*/ 149 h 306"/>
                  <a:gd name="T8" fmla="*/ 95 w 104"/>
                  <a:gd name="T9" fmla="*/ 172 h 306"/>
                  <a:gd name="T10" fmla="*/ 55 w 104"/>
                  <a:gd name="T11" fmla="*/ 294 h 306"/>
                  <a:gd name="T12" fmla="*/ 28 w 104"/>
                  <a:gd name="T13" fmla="*/ 301 h 306"/>
                  <a:gd name="T14" fmla="*/ 0 w 104"/>
                  <a:gd name="T15" fmla="*/ 306 h 306"/>
                  <a:gd name="T16" fmla="*/ 12 w 104"/>
                  <a:gd name="T17" fmla="*/ 166 h 306"/>
                  <a:gd name="T18" fmla="*/ 12 w 104"/>
                  <a:gd name="T19" fmla="*/ 165 h 306"/>
                  <a:gd name="T20" fmla="*/ 12 w 104"/>
                  <a:gd name="T21" fmla="*/ 165 h 306"/>
                  <a:gd name="T22" fmla="*/ 12 w 104"/>
                  <a:gd name="T23" fmla="*/ 163 h 306"/>
                  <a:gd name="T24" fmla="*/ 15 w 104"/>
                  <a:gd name="T25" fmla="*/ 114 h 306"/>
                  <a:gd name="T26" fmla="*/ 16 w 104"/>
                  <a:gd name="T27" fmla="*/ 106 h 306"/>
                  <a:gd name="T28" fmla="*/ 16 w 104"/>
                  <a:gd name="T29" fmla="*/ 79 h 306"/>
                  <a:gd name="T30" fmla="*/ 15 w 104"/>
                  <a:gd name="T31" fmla="*/ 50 h 306"/>
                  <a:gd name="T32" fmla="*/ 15 w 104"/>
                  <a:gd name="T33" fmla="*/ 43 h 306"/>
                  <a:gd name="T34" fmla="*/ 15 w 104"/>
                  <a:gd name="T35" fmla="*/ 40 h 306"/>
                  <a:gd name="T36" fmla="*/ 13 w 104"/>
                  <a:gd name="T37" fmla="*/ 5 h 306"/>
                  <a:gd name="T38" fmla="*/ 11 w 104"/>
                  <a:gd name="T39" fmla="*/ 0 h 306"/>
                  <a:gd name="T40" fmla="*/ 32 w 104"/>
                  <a:gd name="T41" fmla="*/ 9 h 306"/>
                  <a:gd name="T42" fmla="*/ 32 w 104"/>
                  <a:gd name="T43" fmla="*/ 10 h 306"/>
                  <a:gd name="T44" fmla="*/ 56 w 104"/>
                  <a:gd name="T45" fmla="*/ 19 h 306"/>
                  <a:gd name="T46" fmla="*/ 60 w 104"/>
                  <a:gd name="T47" fmla="*/ 21 h 306"/>
                  <a:gd name="T48" fmla="*/ 76 w 104"/>
                  <a:gd name="T49" fmla="*/ 29 h 306"/>
                  <a:gd name="T50" fmla="*/ 78 w 104"/>
                  <a:gd name="T51" fmla="*/ 29 h 306"/>
                  <a:gd name="T52" fmla="*/ 92 w 104"/>
                  <a:gd name="T53" fmla="*/ 79 h 306"/>
                  <a:gd name="T54" fmla="*/ 94 w 104"/>
                  <a:gd name="T55" fmla="*/ 85 h 306"/>
                  <a:gd name="T56" fmla="*/ 97 w 104"/>
                  <a:gd name="T57" fmla="*/ 96 h 306"/>
                  <a:gd name="T58" fmla="*/ 98 w 104"/>
                  <a:gd name="T59" fmla="*/ 99 h 306"/>
                  <a:gd name="T60" fmla="*/ 96 w 104"/>
                  <a:gd name="T61" fmla="*/ 100 h 306"/>
                  <a:gd name="T62" fmla="*/ 85 w 104"/>
                  <a:gd name="T63" fmla="*/ 109 h 306"/>
                  <a:gd name="T64" fmla="*/ 69 w 104"/>
                  <a:gd name="T65" fmla="*/ 120 h 306"/>
                  <a:gd name="T66" fmla="*/ 88 w 104"/>
                  <a:gd name="T67" fmla="*/ 128 h 306"/>
                  <a:gd name="T68" fmla="*/ 91 w 104"/>
                  <a:gd name="T69" fmla="*/ 130 h 306"/>
                  <a:gd name="T70" fmla="*/ 98 w 104"/>
                  <a:gd name="T71" fmla="*/ 133 h 306"/>
                  <a:gd name="T72" fmla="*/ 99 w 104"/>
                  <a:gd name="T73" fmla="*/ 134 h 306"/>
                  <a:gd name="T74" fmla="*/ 103 w 104"/>
                  <a:gd name="T75" fmla="*/ 145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306">
                    <a:moveTo>
                      <a:pt x="103" y="145"/>
                    </a:moveTo>
                    <a:cubicBezTo>
                      <a:pt x="103" y="145"/>
                      <a:pt x="103" y="146"/>
                      <a:pt x="103" y="147"/>
                    </a:cubicBezTo>
                    <a:cubicBezTo>
                      <a:pt x="102" y="147"/>
                      <a:pt x="102" y="147"/>
                      <a:pt x="102" y="147"/>
                    </a:cubicBezTo>
                    <a:cubicBezTo>
                      <a:pt x="102" y="149"/>
                      <a:pt x="102" y="149"/>
                      <a:pt x="102" y="149"/>
                    </a:cubicBezTo>
                    <a:cubicBezTo>
                      <a:pt x="95" y="172"/>
                      <a:pt x="95" y="172"/>
                      <a:pt x="95" y="172"/>
                    </a:cubicBezTo>
                    <a:cubicBezTo>
                      <a:pt x="55" y="294"/>
                      <a:pt x="55" y="294"/>
                      <a:pt x="55" y="294"/>
                    </a:cubicBezTo>
                    <a:cubicBezTo>
                      <a:pt x="46" y="297"/>
                      <a:pt x="37" y="299"/>
                      <a:pt x="28" y="301"/>
                    </a:cubicBezTo>
                    <a:cubicBezTo>
                      <a:pt x="19" y="303"/>
                      <a:pt x="10" y="305"/>
                      <a:pt x="0" y="306"/>
                    </a:cubicBezTo>
                    <a:cubicBezTo>
                      <a:pt x="4" y="257"/>
                      <a:pt x="9" y="199"/>
                      <a:pt x="12" y="166"/>
                    </a:cubicBezTo>
                    <a:cubicBezTo>
                      <a:pt x="12" y="165"/>
                      <a:pt x="12" y="165"/>
                      <a:pt x="12" y="165"/>
                    </a:cubicBezTo>
                    <a:cubicBezTo>
                      <a:pt x="12" y="165"/>
                      <a:pt x="12" y="165"/>
                      <a:pt x="12" y="165"/>
                    </a:cubicBezTo>
                    <a:cubicBezTo>
                      <a:pt x="12" y="163"/>
                      <a:pt x="12" y="163"/>
                      <a:pt x="12" y="163"/>
                    </a:cubicBezTo>
                    <a:cubicBezTo>
                      <a:pt x="15" y="114"/>
                      <a:pt x="15" y="114"/>
                      <a:pt x="15" y="114"/>
                    </a:cubicBezTo>
                    <a:cubicBezTo>
                      <a:pt x="16" y="106"/>
                      <a:pt x="16" y="106"/>
                      <a:pt x="16" y="106"/>
                    </a:cubicBezTo>
                    <a:cubicBezTo>
                      <a:pt x="16" y="106"/>
                      <a:pt x="16" y="94"/>
                      <a:pt x="16" y="79"/>
                    </a:cubicBezTo>
                    <a:cubicBezTo>
                      <a:pt x="16" y="70"/>
                      <a:pt x="15" y="60"/>
                      <a:pt x="15" y="50"/>
                    </a:cubicBezTo>
                    <a:cubicBezTo>
                      <a:pt x="15" y="47"/>
                      <a:pt x="15" y="45"/>
                      <a:pt x="15" y="43"/>
                    </a:cubicBezTo>
                    <a:cubicBezTo>
                      <a:pt x="15" y="42"/>
                      <a:pt x="15" y="41"/>
                      <a:pt x="15" y="40"/>
                    </a:cubicBezTo>
                    <a:cubicBezTo>
                      <a:pt x="15" y="25"/>
                      <a:pt x="14" y="12"/>
                      <a:pt x="13" y="5"/>
                    </a:cubicBezTo>
                    <a:cubicBezTo>
                      <a:pt x="12" y="2"/>
                      <a:pt x="12" y="0"/>
                      <a:pt x="11" y="0"/>
                    </a:cubicBezTo>
                    <a:cubicBezTo>
                      <a:pt x="32" y="9"/>
                      <a:pt x="32" y="9"/>
                      <a:pt x="32" y="9"/>
                    </a:cubicBezTo>
                    <a:cubicBezTo>
                      <a:pt x="32" y="10"/>
                      <a:pt x="32" y="10"/>
                      <a:pt x="32" y="10"/>
                    </a:cubicBezTo>
                    <a:cubicBezTo>
                      <a:pt x="56" y="19"/>
                      <a:pt x="56" y="19"/>
                      <a:pt x="56" y="19"/>
                    </a:cubicBezTo>
                    <a:cubicBezTo>
                      <a:pt x="60" y="21"/>
                      <a:pt x="60" y="21"/>
                      <a:pt x="60" y="21"/>
                    </a:cubicBezTo>
                    <a:cubicBezTo>
                      <a:pt x="76" y="29"/>
                      <a:pt x="76" y="29"/>
                      <a:pt x="76" y="29"/>
                    </a:cubicBezTo>
                    <a:cubicBezTo>
                      <a:pt x="78" y="29"/>
                      <a:pt x="78" y="29"/>
                      <a:pt x="78" y="29"/>
                    </a:cubicBezTo>
                    <a:cubicBezTo>
                      <a:pt x="92" y="79"/>
                      <a:pt x="92" y="79"/>
                      <a:pt x="92" y="79"/>
                    </a:cubicBezTo>
                    <a:cubicBezTo>
                      <a:pt x="94" y="85"/>
                      <a:pt x="94" y="85"/>
                      <a:pt x="94" y="85"/>
                    </a:cubicBezTo>
                    <a:cubicBezTo>
                      <a:pt x="97" y="96"/>
                      <a:pt x="97" y="96"/>
                      <a:pt x="97" y="96"/>
                    </a:cubicBezTo>
                    <a:cubicBezTo>
                      <a:pt x="98" y="99"/>
                      <a:pt x="98" y="99"/>
                      <a:pt x="98" y="99"/>
                    </a:cubicBezTo>
                    <a:cubicBezTo>
                      <a:pt x="96" y="100"/>
                      <a:pt x="96" y="100"/>
                      <a:pt x="96" y="100"/>
                    </a:cubicBezTo>
                    <a:cubicBezTo>
                      <a:pt x="85" y="109"/>
                      <a:pt x="85" y="109"/>
                      <a:pt x="85" y="109"/>
                    </a:cubicBezTo>
                    <a:cubicBezTo>
                      <a:pt x="69" y="120"/>
                      <a:pt x="69" y="120"/>
                      <a:pt x="69" y="120"/>
                    </a:cubicBezTo>
                    <a:cubicBezTo>
                      <a:pt x="88" y="128"/>
                      <a:pt x="88" y="128"/>
                      <a:pt x="88" y="128"/>
                    </a:cubicBezTo>
                    <a:cubicBezTo>
                      <a:pt x="91" y="130"/>
                      <a:pt x="91" y="130"/>
                      <a:pt x="91" y="130"/>
                    </a:cubicBezTo>
                    <a:cubicBezTo>
                      <a:pt x="98" y="133"/>
                      <a:pt x="98" y="133"/>
                      <a:pt x="98" y="133"/>
                    </a:cubicBezTo>
                    <a:cubicBezTo>
                      <a:pt x="98" y="133"/>
                      <a:pt x="98" y="133"/>
                      <a:pt x="99" y="134"/>
                    </a:cubicBezTo>
                    <a:cubicBezTo>
                      <a:pt x="101" y="136"/>
                      <a:pt x="104" y="139"/>
                      <a:pt x="103" y="1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5" name="Freeform 114">
                <a:extLst>
                  <a:ext uri="{FF2B5EF4-FFF2-40B4-BE49-F238E27FC236}">
                    <a16:creationId xmlns:a16="http://schemas.microsoft.com/office/drawing/2014/main" id="{E44260F8-3376-4C8A-893E-0E53E25414FB}"/>
                  </a:ext>
                </a:extLst>
              </p:cNvPr>
              <p:cNvSpPr>
                <a:spLocks/>
              </p:cNvSpPr>
              <p:nvPr/>
            </p:nvSpPr>
            <p:spPr bwMode="auto">
              <a:xfrm>
                <a:off x="-1020763" y="5945188"/>
                <a:ext cx="63500" cy="206375"/>
              </a:xfrm>
              <a:custGeom>
                <a:avLst/>
                <a:gdLst>
                  <a:gd name="T0" fmla="*/ 0 w 40"/>
                  <a:gd name="T1" fmla="*/ 9 h 130"/>
                  <a:gd name="T2" fmla="*/ 21 w 40"/>
                  <a:gd name="T3" fmla="*/ 130 h 130"/>
                  <a:gd name="T4" fmla="*/ 40 w 40"/>
                  <a:gd name="T5" fmla="*/ 10 h 130"/>
                  <a:gd name="T6" fmla="*/ 38 w 40"/>
                  <a:gd name="T7" fmla="*/ 0 h 130"/>
                  <a:gd name="T8" fmla="*/ 0 w 40"/>
                  <a:gd name="T9" fmla="*/ 9 h 130"/>
                </a:gdLst>
                <a:ahLst/>
                <a:cxnLst>
                  <a:cxn ang="0">
                    <a:pos x="T0" y="T1"/>
                  </a:cxn>
                  <a:cxn ang="0">
                    <a:pos x="T2" y="T3"/>
                  </a:cxn>
                  <a:cxn ang="0">
                    <a:pos x="T4" y="T5"/>
                  </a:cxn>
                  <a:cxn ang="0">
                    <a:pos x="T6" y="T7"/>
                  </a:cxn>
                  <a:cxn ang="0">
                    <a:pos x="T8" y="T9"/>
                  </a:cxn>
                </a:cxnLst>
                <a:rect l="0" t="0" r="r" b="b"/>
                <a:pathLst>
                  <a:path w="40" h="130">
                    <a:moveTo>
                      <a:pt x="0" y="9"/>
                    </a:moveTo>
                    <a:lnTo>
                      <a:pt x="21" y="130"/>
                    </a:lnTo>
                    <a:lnTo>
                      <a:pt x="40" y="10"/>
                    </a:lnTo>
                    <a:lnTo>
                      <a:pt x="38" y="0"/>
                    </a:lnTo>
                    <a:lnTo>
                      <a:pt x="0" y="9"/>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6" name="Freeform 115">
                <a:extLst>
                  <a:ext uri="{FF2B5EF4-FFF2-40B4-BE49-F238E27FC236}">
                    <a16:creationId xmlns:a16="http://schemas.microsoft.com/office/drawing/2014/main" id="{586973D0-C793-47A5-8EDE-A65D1C44E63B}"/>
                  </a:ext>
                </a:extLst>
              </p:cNvPr>
              <p:cNvSpPr>
                <a:spLocks/>
              </p:cNvSpPr>
              <p:nvPr/>
            </p:nvSpPr>
            <p:spPr bwMode="auto">
              <a:xfrm>
                <a:off x="-1211263" y="5894388"/>
                <a:ext cx="155575" cy="457200"/>
              </a:xfrm>
              <a:custGeom>
                <a:avLst/>
                <a:gdLst>
                  <a:gd name="T0" fmla="*/ 104 w 104"/>
                  <a:gd name="T1" fmla="*/ 305 h 305"/>
                  <a:gd name="T2" fmla="*/ 89 w 104"/>
                  <a:gd name="T3" fmla="*/ 302 h 305"/>
                  <a:gd name="T4" fmla="*/ 50 w 104"/>
                  <a:gd name="T5" fmla="*/ 293 h 305"/>
                  <a:gd name="T6" fmla="*/ 11 w 104"/>
                  <a:gd name="T7" fmla="*/ 173 h 305"/>
                  <a:gd name="T8" fmla="*/ 4 w 104"/>
                  <a:gd name="T9" fmla="*/ 150 h 305"/>
                  <a:gd name="T10" fmla="*/ 2 w 104"/>
                  <a:gd name="T11" fmla="*/ 145 h 305"/>
                  <a:gd name="T12" fmla="*/ 2 w 104"/>
                  <a:gd name="T13" fmla="*/ 144 h 305"/>
                  <a:gd name="T14" fmla="*/ 2 w 104"/>
                  <a:gd name="T15" fmla="*/ 143 h 305"/>
                  <a:gd name="T16" fmla="*/ 7 w 104"/>
                  <a:gd name="T17" fmla="*/ 130 h 305"/>
                  <a:gd name="T18" fmla="*/ 7 w 104"/>
                  <a:gd name="T19" fmla="*/ 130 h 305"/>
                  <a:gd name="T20" fmla="*/ 16 w 104"/>
                  <a:gd name="T21" fmla="*/ 126 h 305"/>
                  <a:gd name="T22" fmla="*/ 19 w 104"/>
                  <a:gd name="T23" fmla="*/ 125 h 305"/>
                  <a:gd name="T24" fmla="*/ 36 w 104"/>
                  <a:gd name="T25" fmla="*/ 118 h 305"/>
                  <a:gd name="T26" fmla="*/ 22 w 104"/>
                  <a:gd name="T27" fmla="*/ 107 h 305"/>
                  <a:gd name="T28" fmla="*/ 11 w 104"/>
                  <a:gd name="T29" fmla="*/ 99 h 305"/>
                  <a:gd name="T30" fmla="*/ 7 w 104"/>
                  <a:gd name="T31" fmla="*/ 97 h 305"/>
                  <a:gd name="T32" fmla="*/ 9 w 104"/>
                  <a:gd name="T33" fmla="*/ 91 h 305"/>
                  <a:gd name="T34" fmla="*/ 10 w 104"/>
                  <a:gd name="T35" fmla="*/ 87 h 305"/>
                  <a:gd name="T36" fmla="*/ 11 w 104"/>
                  <a:gd name="T37" fmla="*/ 84 h 305"/>
                  <a:gd name="T38" fmla="*/ 14 w 104"/>
                  <a:gd name="T39" fmla="*/ 75 h 305"/>
                  <a:gd name="T40" fmla="*/ 32 w 104"/>
                  <a:gd name="T41" fmla="*/ 25 h 305"/>
                  <a:gd name="T42" fmla="*/ 35 w 104"/>
                  <a:gd name="T43" fmla="*/ 24 h 305"/>
                  <a:gd name="T44" fmla="*/ 36 w 104"/>
                  <a:gd name="T45" fmla="*/ 23 h 305"/>
                  <a:gd name="T46" fmla="*/ 87 w 104"/>
                  <a:gd name="T47" fmla="*/ 0 h 305"/>
                  <a:gd name="T48" fmla="*/ 87 w 104"/>
                  <a:gd name="T49" fmla="*/ 4 h 305"/>
                  <a:gd name="T50" fmla="*/ 88 w 104"/>
                  <a:gd name="T51" fmla="*/ 37 h 305"/>
                  <a:gd name="T52" fmla="*/ 88 w 104"/>
                  <a:gd name="T53" fmla="*/ 43 h 305"/>
                  <a:gd name="T54" fmla="*/ 88 w 104"/>
                  <a:gd name="T55" fmla="*/ 44 h 305"/>
                  <a:gd name="T56" fmla="*/ 88 w 104"/>
                  <a:gd name="T57" fmla="*/ 58 h 305"/>
                  <a:gd name="T58" fmla="*/ 88 w 104"/>
                  <a:gd name="T59" fmla="*/ 78 h 305"/>
                  <a:gd name="T60" fmla="*/ 88 w 104"/>
                  <a:gd name="T61" fmla="*/ 83 h 305"/>
                  <a:gd name="T62" fmla="*/ 89 w 104"/>
                  <a:gd name="T63" fmla="*/ 103 h 305"/>
                  <a:gd name="T64" fmla="*/ 90 w 104"/>
                  <a:gd name="T65" fmla="*/ 112 h 305"/>
                  <a:gd name="T66" fmla="*/ 93 w 104"/>
                  <a:gd name="T67" fmla="*/ 163 h 305"/>
                  <a:gd name="T68" fmla="*/ 104 w 104"/>
                  <a:gd name="T69" fmla="*/ 30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4" h="305">
                    <a:moveTo>
                      <a:pt x="104" y="305"/>
                    </a:moveTo>
                    <a:cubicBezTo>
                      <a:pt x="99" y="304"/>
                      <a:pt x="94" y="303"/>
                      <a:pt x="89" y="302"/>
                    </a:cubicBezTo>
                    <a:cubicBezTo>
                      <a:pt x="76" y="300"/>
                      <a:pt x="63" y="297"/>
                      <a:pt x="50" y="293"/>
                    </a:cubicBezTo>
                    <a:cubicBezTo>
                      <a:pt x="11" y="173"/>
                      <a:pt x="11" y="173"/>
                      <a:pt x="11" y="173"/>
                    </a:cubicBezTo>
                    <a:cubicBezTo>
                      <a:pt x="4" y="150"/>
                      <a:pt x="4" y="150"/>
                      <a:pt x="4" y="150"/>
                    </a:cubicBezTo>
                    <a:cubicBezTo>
                      <a:pt x="2" y="145"/>
                      <a:pt x="2" y="145"/>
                      <a:pt x="2" y="145"/>
                    </a:cubicBezTo>
                    <a:cubicBezTo>
                      <a:pt x="2" y="144"/>
                      <a:pt x="2" y="144"/>
                      <a:pt x="2" y="144"/>
                    </a:cubicBezTo>
                    <a:cubicBezTo>
                      <a:pt x="2" y="144"/>
                      <a:pt x="2" y="143"/>
                      <a:pt x="2" y="143"/>
                    </a:cubicBezTo>
                    <a:cubicBezTo>
                      <a:pt x="0" y="134"/>
                      <a:pt x="7" y="130"/>
                      <a:pt x="7" y="130"/>
                    </a:cubicBezTo>
                    <a:cubicBezTo>
                      <a:pt x="7" y="130"/>
                      <a:pt x="7" y="130"/>
                      <a:pt x="7" y="130"/>
                    </a:cubicBezTo>
                    <a:cubicBezTo>
                      <a:pt x="16" y="126"/>
                      <a:pt x="16" y="126"/>
                      <a:pt x="16" y="126"/>
                    </a:cubicBezTo>
                    <a:cubicBezTo>
                      <a:pt x="19" y="125"/>
                      <a:pt x="19" y="125"/>
                      <a:pt x="19" y="125"/>
                    </a:cubicBezTo>
                    <a:cubicBezTo>
                      <a:pt x="36" y="118"/>
                      <a:pt x="36" y="118"/>
                      <a:pt x="36" y="118"/>
                    </a:cubicBezTo>
                    <a:cubicBezTo>
                      <a:pt x="22" y="107"/>
                      <a:pt x="22" y="107"/>
                      <a:pt x="22" y="107"/>
                    </a:cubicBezTo>
                    <a:cubicBezTo>
                      <a:pt x="11" y="99"/>
                      <a:pt x="11" y="99"/>
                      <a:pt x="11" y="99"/>
                    </a:cubicBezTo>
                    <a:cubicBezTo>
                      <a:pt x="7" y="97"/>
                      <a:pt x="7" y="97"/>
                      <a:pt x="7" y="97"/>
                    </a:cubicBezTo>
                    <a:cubicBezTo>
                      <a:pt x="9" y="91"/>
                      <a:pt x="9" y="91"/>
                      <a:pt x="9" y="91"/>
                    </a:cubicBezTo>
                    <a:cubicBezTo>
                      <a:pt x="10" y="87"/>
                      <a:pt x="10" y="87"/>
                      <a:pt x="10" y="87"/>
                    </a:cubicBezTo>
                    <a:cubicBezTo>
                      <a:pt x="11" y="84"/>
                      <a:pt x="11" y="84"/>
                      <a:pt x="11" y="84"/>
                    </a:cubicBezTo>
                    <a:cubicBezTo>
                      <a:pt x="14" y="75"/>
                      <a:pt x="14" y="75"/>
                      <a:pt x="14" y="75"/>
                    </a:cubicBezTo>
                    <a:cubicBezTo>
                      <a:pt x="32" y="25"/>
                      <a:pt x="32" y="25"/>
                      <a:pt x="32" y="25"/>
                    </a:cubicBezTo>
                    <a:cubicBezTo>
                      <a:pt x="35" y="24"/>
                      <a:pt x="35" y="24"/>
                      <a:pt x="35" y="24"/>
                    </a:cubicBezTo>
                    <a:cubicBezTo>
                      <a:pt x="36" y="23"/>
                      <a:pt x="36" y="23"/>
                      <a:pt x="36" y="23"/>
                    </a:cubicBezTo>
                    <a:cubicBezTo>
                      <a:pt x="87" y="0"/>
                      <a:pt x="87" y="0"/>
                      <a:pt x="87" y="0"/>
                    </a:cubicBezTo>
                    <a:cubicBezTo>
                      <a:pt x="87" y="4"/>
                      <a:pt x="87" y="4"/>
                      <a:pt x="87" y="4"/>
                    </a:cubicBezTo>
                    <a:cubicBezTo>
                      <a:pt x="88" y="37"/>
                      <a:pt x="88" y="37"/>
                      <a:pt x="88" y="37"/>
                    </a:cubicBezTo>
                    <a:cubicBezTo>
                      <a:pt x="88" y="43"/>
                      <a:pt x="88" y="43"/>
                      <a:pt x="88" y="43"/>
                    </a:cubicBezTo>
                    <a:cubicBezTo>
                      <a:pt x="88" y="44"/>
                      <a:pt x="88" y="44"/>
                      <a:pt x="88" y="44"/>
                    </a:cubicBezTo>
                    <a:cubicBezTo>
                      <a:pt x="88" y="58"/>
                      <a:pt x="88" y="58"/>
                      <a:pt x="88" y="58"/>
                    </a:cubicBezTo>
                    <a:cubicBezTo>
                      <a:pt x="88" y="78"/>
                      <a:pt x="88" y="78"/>
                      <a:pt x="88" y="78"/>
                    </a:cubicBezTo>
                    <a:cubicBezTo>
                      <a:pt x="88" y="83"/>
                      <a:pt x="88" y="83"/>
                      <a:pt x="88" y="83"/>
                    </a:cubicBezTo>
                    <a:cubicBezTo>
                      <a:pt x="89" y="103"/>
                      <a:pt x="89" y="103"/>
                      <a:pt x="89" y="103"/>
                    </a:cubicBezTo>
                    <a:cubicBezTo>
                      <a:pt x="90" y="112"/>
                      <a:pt x="90" y="112"/>
                      <a:pt x="90" y="112"/>
                    </a:cubicBezTo>
                    <a:cubicBezTo>
                      <a:pt x="93" y="163"/>
                      <a:pt x="93" y="163"/>
                      <a:pt x="93" y="163"/>
                    </a:cubicBezTo>
                    <a:cubicBezTo>
                      <a:pt x="96" y="196"/>
                      <a:pt x="100" y="255"/>
                      <a:pt x="104" y="30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7" name="Freeform 116">
                <a:extLst>
                  <a:ext uri="{FF2B5EF4-FFF2-40B4-BE49-F238E27FC236}">
                    <a16:creationId xmlns:a16="http://schemas.microsoft.com/office/drawing/2014/main" id="{7324DB6B-4ED1-483D-8E63-772247DF38DC}"/>
                  </a:ext>
                </a:extLst>
              </p:cNvPr>
              <p:cNvSpPr>
                <a:spLocks noEditPoints="1"/>
              </p:cNvSpPr>
              <p:nvPr/>
            </p:nvSpPr>
            <p:spPr bwMode="auto">
              <a:xfrm>
                <a:off x="-1136650" y="5610226"/>
                <a:ext cx="303213" cy="93663"/>
              </a:xfrm>
              <a:custGeom>
                <a:avLst/>
                <a:gdLst>
                  <a:gd name="T0" fmla="*/ 202 w 204"/>
                  <a:gd name="T1" fmla="*/ 3 h 62"/>
                  <a:gd name="T2" fmla="*/ 193 w 204"/>
                  <a:gd name="T3" fmla="*/ 2 h 62"/>
                  <a:gd name="T4" fmla="*/ 179 w 204"/>
                  <a:gd name="T5" fmla="*/ 1 h 62"/>
                  <a:gd name="T6" fmla="*/ 137 w 204"/>
                  <a:gd name="T7" fmla="*/ 3 h 62"/>
                  <a:gd name="T8" fmla="*/ 102 w 204"/>
                  <a:gd name="T9" fmla="*/ 7 h 62"/>
                  <a:gd name="T10" fmla="*/ 67 w 204"/>
                  <a:gd name="T11" fmla="*/ 3 h 62"/>
                  <a:gd name="T12" fmla="*/ 23 w 204"/>
                  <a:gd name="T13" fmla="*/ 1 h 62"/>
                  <a:gd name="T14" fmla="*/ 11 w 204"/>
                  <a:gd name="T15" fmla="*/ 2 h 62"/>
                  <a:gd name="T16" fmla="*/ 0 w 204"/>
                  <a:gd name="T17" fmla="*/ 5 h 62"/>
                  <a:gd name="T18" fmla="*/ 2 w 204"/>
                  <a:gd name="T19" fmla="*/ 23 h 62"/>
                  <a:gd name="T20" fmla="*/ 6 w 204"/>
                  <a:gd name="T21" fmla="*/ 29 h 62"/>
                  <a:gd name="T22" fmla="*/ 19 w 204"/>
                  <a:gd name="T23" fmla="*/ 55 h 62"/>
                  <a:gd name="T24" fmla="*/ 51 w 204"/>
                  <a:gd name="T25" fmla="*/ 62 h 62"/>
                  <a:gd name="T26" fmla="*/ 90 w 204"/>
                  <a:gd name="T27" fmla="*/ 36 h 62"/>
                  <a:gd name="T28" fmla="*/ 93 w 204"/>
                  <a:gd name="T29" fmla="*/ 29 h 62"/>
                  <a:gd name="T30" fmla="*/ 93 w 204"/>
                  <a:gd name="T31" fmla="*/ 23 h 62"/>
                  <a:gd name="T32" fmla="*/ 110 w 204"/>
                  <a:gd name="T33" fmla="*/ 23 h 62"/>
                  <a:gd name="T34" fmla="*/ 114 w 204"/>
                  <a:gd name="T35" fmla="*/ 36 h 62"/>
                  <a:gd name="T36" fmla="*/ 153 w 204"/>
                  <a:gd name="T37" fmla="*/ 62 h 62"/>
                  <a:gd name="T38" fmla="*/ 183 w 204"/>
                  <a:gd name="T39" fmla="*/ 56 h 62"/>
                  <a:gd name="T40" fmla="*/ 198 w 204"/>
                  <a:gd name="T41" fmla="*/ 29 h 62"/>
                  <a:gd name="T42" fmla="*/ 201 w 204"/>
                  <a:gd name="T43" fmla="*/ 23 h 62"/>
                  <a:gd name="T44" fmla="*/ 204 w 204"/>
                  <a:gd name="T45" fmla="*/ 13 h 62"/>
                  <a:gd name="T46" fmla="*/ 85 w 204"/>
                  <a:gd name="T47" fmla="*/ 35 h 62"/>
                  <a:gd name="T48" fmla="*/ 52 w 204"/>
                  <a:gd name="T49" fmla="*/ 58 h 62"/>
                  <a:gd name="T50" fmla="*/ 20 w 204"/>
                  <a:gd name="T51" fmla="*/ 49 h 62"/>
                  <a:gd name="T52" fmla="*/ 12 w 204"/>
                  <a:gd name="T53" fmla="*/ 15 h 62"/>
                  <a:gd name="T54" fmla="*/ 20 w 204"/>
                  <a:gd name="T55" fmla="*/ 7 h 62"/>
                  <a:gd name="T56" fmla="*/ 43 w 204"/>
                  <a:gd name="T57" fmla="*/ 6 h 62"/>
                  <a:gd name="T58" fmla="*/ 85 w 204"/>
                  <a:gd name="T59" fmla="*/ 16 h 62"/>
                  <a:gd name="T60" fmla="*/ 188 w 204"/>
                  <a:gd name="T61" fmla="*/ 43 h 62"/>
                  <a:gd name="T62" fmla="*/ 175 w 204"/>
                  <a:gd name="T63" fmla="*/ 55 h 62"/>
                  <a:gd name="T64" fmla="*/ 129 w 204"/>
                  <a:gd name="T65" fmla="*/ 53 h 62"/>
                  <a:gd name="T66" fmla="*/ 118 w 204"/>
                  <a:gd name="T67" fmla="*/ 16 h 62"/>
                  <a:gd name="T68" fmla="*/ 161 w 204"/>
                  <a:gd name="T69" fmla="*/ 6 h 62"/>
                  <a:gd name="T70" fmla="*/ 184 w 204"/>
                  <a:gd name="T71" fmla="*/ 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4" h="62">
                    <a:moveTo>
                      <a:pt x="203" y="5"/>
                    </a:moveTo>
                    <a:cubicBezTo>
                      <a:pt x="203" y="4"/>
                      <a:pt x="203" y="3"/>
                      <a:pt x="202" y="3"/>
                    </a:cubicBezTo>
                    <a:cubicBezTo>
                      <a:pt x="201" y="3"/>
                      <a:pt x="200" y="3"/>
                      <a:pt x="200" y="2"/>
                    </a:cubicBezTo>
                    <a:cubicBezTo>
                      <a:pt x="197" y="2"/>
                      <a:pt x="195" y="2"/>
                      <a:pt x="193" y="2"/>
                    </a:cubicBezTo>
                    <a:cubicBezTo>
                      <a:pt x="193" y="2"/>
                      <a:pt x="193" y="2"/>
                      <a:pt x="193" y="2"/>
                    </a:cubicBezTo>
                    <a:cubicBezTo>
                      <a:pt x="188" y="1"/>
                      <a:pt x="183" y="1"/>
                      <a:pt x="179" y="1"/>
                    </a:cubicBezTo>
                    <a:cubicBezTo>
                      <a:pt x="174" y="0"/>
                      <a:pt x="170" y="0"/>
                      <a:pt x="165" y="0"/>
                    </a:cubicBezTo>
                    <a:cubicBezTo>
                      <a:pt x="156" y="0"/>
                      <a:pt x="146" y="1"/>
                      <a:pt x="137" y="3"/>
                    </a:cubicBezTo>
                    <a:cubicBezTo>
                      <a:pt x="127" y="4"/>
                      <a:pt x="117" y="6"/>
                      <a:pt x="107" y="7"/>
                    </a:cubicBezTo>
                    <a:cubicBezTo>
                      <a:pt x="107" y="7"/>
                      <a:pt x="104" y="7"/>
                      <a:pt x="102" y="7"/>
                    </a:cubicBezTo>
                    <a:cubicBezTo>
                      <a:pt x="100" y="7"/>
                      <a:pt x="96" y="7"/>
                      <a:pt x="96" y="7"/>
                    </a:cubicBezTo>
                    <a:cubicBezTo>
                      <a:pt x="86" y="6"/>
                      <a:pt x="77" y="4"/>
                      <a:pt x="67" y="3"/>
                    </a:cubicBezTo>
                    <a:cubicBezTo>
                      <a:pt x="57" y="1"/>
                      <a:pt x="48" y="0"/>
                      <a:pt x="38" y="0"/>
                    </a:cubicBezTo>
                    <a:cubicBezTo>
                      <a:pt x="33" y="0"/>
                      <a:pt x="28" y="0"/>
                      <a:pt x="23" y="1"/>
                    </a:cubicBezTo>
                    <a:cubicBezTo>
                      <a:pt x="20" y="1"/>
                      <a:pt x="17" y="1"/>
                      <a:pt x="14" y="1"/>
                    </a:cubicBezTo>
                    <a:cubicBezTo>
                      <a:pt x="13" y="1"/>
                      <a:pt x="12" y="1"/>
                      <a:pt x="11" y="2"/>
                    </a:cubicBezTo>
                    <a:cubicBezTo>
                      <a:pt x="9" y="2"/>
                      <a:pt x="6" y="2"/>
                      <a:pt x="4" y="2"/>
                    </a:cubicBezTo>
                    <a:cubicBezTo>
                      <a:pt x="2" y="3"/>
                      <a:pt x="1" y="3"/>
                      <a:pt x="0" y="5"/>
                    </a:cubicBezTo>
                    <a:cubicBezTo>
                      <a:pt x="0" y="7"/>
                      <a:pt x="0" y="17"/>
                      <a:pt x="0" y="20"/>
                    </a:cubicBezTo>
                    <a:cubicBezTo>
                      <a:pt x="0" y="21"/>
                      <a:pt x="1" y="22"/>
                      <a:pt x="2" y="23"/>
                    </a:cubicBezTo>
                    <a:cubicBezTo>
                      <a:pt x="3" y="23"/>
                      <a:pt x="3" y="23"/>
                      <a:pt x="3" y="23"/>
                    </a:cubicBezTo>
                    <a:cubicBezTo>
                      <a:pt x="4" y="25"/>
                      <a:pt x="5" y="27"/>
                      <a:pt x="6" y="29"/>
                    </a:cubicBezTo>
                    <a:cubicBezTo>
                      <a:pt x="7" y="33"/>
                      <a:pt x="8" y="37"/>
                      <a:pt x="10" y="41"/>
                    </a:cubicBezTo>
                    <a:cubicBezTo>
                      <a:pt x="12" y="47"/>
                      <a:pt x="14" y="52"/>
                      <a:pt x="19" y="55"/>
                    </a:cubicBezTo>
                    <a:cubicBezTo>
                      <a:pt x="20" y="56"/>
                      <a:pt x="22" y="57"/>
                      <a:pt x="23" y="57"/>
                    </a:cubicBezTo>
                    <a:cubicBezTo>
                      <a:pt x="32" y="61"/>
                      <a:pt x="41" y="62"/>
                      <a:pt x="51" y="62"/>
                    </a:cubicBezTo>
                    <a:cubicBezTo>
                      <a:pt x="59" y="62"/>
                      <a:pt x="68" y="62"/>
                      <a:pt x="75" y="57"/>
                    </a:cubicBezTo>
                    <a:cubicBezTo>
                      <a:pt x="82" y="53"/>
                      <a:pt x="87" y="44"/>
                      <a:pt x="90" y="36"/>
                    </a:cubicBezTo>
                    <a:cubicBezTo>
                      <a:pt x="90" y="36"/>
                      <a:pt x="90" y="36"/>
                      <a:pt x="90" y="35"/>
                    </a:cubicBezTo>
                    <a:cubicBezTo>
                      <a:pt x="91" y="33"/>
                      <a:pt x="92" y="31"/>
                      <a:pt x="93" y="29"/>
                    </a:cubicBezTo>
                    <a:cubicBezTo>
                      <a:pt x="93" y="27"/>
                      <a:pt x="94" y="25"/>
                      <a:pt x="93" y="23"/>
                    </a:cubicBezTo>
                    <a:cubicBezTo>
                      <a:pt x="93" y="23"/>
                      <a:pt x="93" y="23"/>
                      <a:pt x="93" y="23"/>
                    </a:cubicBezTo>
                    <a:cubicBezTo>
                      <a:pt x="92" y="18"/>
                      <a:pt x="98" y="17"/>
                      <a:pt x="102" y="17"/>
                    </a:cubicBezTo>
                    <a:cubicBezTo>
                      <a:pt x="105" y="17"/>
                      <a:pt x="111" y="18"/>
                      <a:pt x="110" y="23"/>
                    </a:cubicBezTo>
                    <a:cubicBezTo>
                      <a:pt x="110" y="25"/>
                      <a:pt x="110" y="27"/>
                      <a:pt x="111" y="29"/>
                    </a:cubicBezTo>
                    <a:cubicBezTo>
                      <a:pt x="112" y="32"/>
                      <a:pt x="113" y="34"/>
                      <a:pt x="114" y="36"/>
                    </a:cubicBezTo>
                    <a:cubicBezTo>
                      <a:pt x="117" y="44"/>
                      <a:pt x="121" y="53"/>
                      <a:pt x="129" y="57"/>
                    </a:cubicBezTo>
                    <a:cubicBezTo>
                      <a:pt x="136" y="62"/>
                      <a:pt x="145" y="62"/>
                      <a:pt x="153" y="62"/>
                    </a:cubicBezTo>
                    <a:cubicBezTo>
                      <a:pt x="162" y="62"/>
                      <a:pt x="172" y="61"/>
                      <a:pt x="180" y="57"/>
                    </a:cubicBezTo>
                    <a:cubicBezTo>
                      <a:pt x="181" y="57"/>
                      <a:pt x="182" y="57"/>
                      <a:pt x="183" y="56"/>
                    </a:cubicBezTo>
                    <a:cubicBezTo>
                      <a:pt x="189" y="53"/>
                      <a:pt x="192" y="48"/>
                      <a:pt x="194" y="41"/>
                    </a:cubicBezTo>
                    <a:cubicBezTo>
                      <a:pt x="195" y="37"/>
                      <a:pt x="196" y="33"/>
                      <a:pt x="198" y="29"/>
                    </a:cubicBezTo>
                    <a:cubicBezTo>
                      <a:pt x="199" y="27"/>
                      <a:pt x="199" y="25"/>
                      <a:pt x="201" y="24"/>
                    </a:cubicBezTo>
                    <a:cubicBezTo>
                      <a:pt x="201" y="23"/>
                      <a:pt x="201" y="23"/>
                      <a:pt x="201" y="23"/>
                    </a:cubicBezTo>
                    <a:cubicBezTo>
                      <a:pt x="202" y="22"/>
                      <a:pt x="203" y="21"/>
                      <a:pt x="203" y="20"/>
                    </a:cubicBezTo>
                    <a:cubicBezTo>
                      <a:pt x="204" y="18"/>
                      <a:pt x="204" y="16"/>
                      <a:pt x="204" y="13"/>
                    </a:cubicBezTo>
                    <a:cubicBezTo>
                      <a:pt x="204" y="9"/>
                      <a:pt x="204" y="6"/>
                      <a:pt x="203" y="5"/>
                    </a:cubicBezTo>
                    <a:close/>
                    <a:moveTo>
                      <a:pt x="85" y="35"/>
                    </a:moveTo>
                    <a:cubicBezTo>
                      <a:pt x="83" y="41"/>
                      <a:pt x="80" y="49"/>
                      <a:pt x="74" y="53"/>
                    </a:cubicBezTo>
                    <a:cubicBezTo>
                      <a:pt x="68" y="58"/>
                      <a:pt x="59" y="57"/>
                      <a:pt x="52" y="58"/>
                    </a:cubicBezTo>
                    <a:cubicBezTo>
                      <a:pt x="44" y="58"/>
                      <a:pt x="36" y="57"/>
                      <a:pt x="29" y="55"/>
                    </a:cubicBezTo>
                    <a:cubicBezTo>
                      <a:pt x="25" y="53"/>
                      <a:pt x="22" y="52"/>
                      <a:pt x="20" y="49"/>
                    </a:cubicBezTo>
                    <a:cubicBezTo>
                      <a:pt x="18" y="47"/>
                      <a:pt x="17" y="45"/>
                      <a:pt x="16" y="43"/>
                    </a:cubicBezTo>
                    <a:cubicBezTo>
                      <a:pt x="13" y="36"/>
                      <a:pt x="9" y="23"/>
                      <a:pt x="12" y="15"/>
                    </a:cubicBezTo>
                    <a:cubicBezTo>
                      <a:pt x="12" y="15"/>
                      <a:pt x="12" y="14"/>
                      <a:pt x="12" y="14"/>
                    </a:cubicBezTo>
                    <a:cubicBezTo>
                      <a:pt x="13" y="11"/>
                      <a:pt x="16" y="8"/>
                      <a:pt x="20" y="7"/>
                    </a:cubicBezTo>
                    <a:cubicBezTo>
                      <a:pt x="21" y="7"/>
                      <a:pt x="22" y="7"/>
                      <a:pt x="23" y="6"/>
                    </a:cubicBezTo>
                    <a:cubicBezTo>
                      <a:pt x="29" y="5"/>
                      <a:pt x="37" y="5"/>
                      <a:pt x="43" y="6"/>
                    </a:cubicBezTo>
                    <a:cubicBezTo>
                      <a:pt x="51" y="6"/>
                      <a:pt x="59" y="7"/>
                      <a:pt x="66" y="8"/>
                    </a:cubicBezTo>
                    <a:cubicBezTo>
                      <a:pt x="73" y="9"/>
                      <a:pt x="81" y="10"/>
                      <a:pt x="85" y="16"/>
                    </a:cubicBezTo>
                    <a:cubicBezTo>
                      <a:pt x="89" y="22"/>
                      <a:pt x="86" y="29"/>
                      <a:pt x="85" y="35"/>
                    </a:cubicBezTo>
                    <a:close/>
                    <a:moveTo>
                      <a:pt x="188" y="43"/>
                    </a:moveTo>
                    <a:cubicBezTo>
                      <a:pt x="186" y="46"/>
                      <a:pt x="185" y="49"/>
                      <a:pt x="182" y="51"/>
                    </a:cubicBezTo>
                    <a:cubicBezTo>
                      <a:pt x="180" y="52"/>
                      <a:pt x="178" y="54"/>
                      <a:pt x="175" y="55"/>
                    </a:cubicBezTo>
                    <a:cubicBezTo>
                      <a:pt x="168" y="57"/>
                      <a:pt x="160" y="58"/>
                      <a:pt x="152" y="58"/>
                    </a:cubicBezTo>
                    <a:cubicBezTo>
                      <a:pt x="145" y="57"/>
                      <a:pt x="136" y="58"/>
                      <a:pt x="129" y="53"/>
                    </a:cubicBezTo>
                    <a:cubicBezTo>
                      <a:pt x="124" y="49"/>
                      <a:pt x="121" y="41"/>
                      <a:pt x="119" y="35"/>
                    </a:cubicBezTo>
                    <a:cubicBezTo>
                      <a:pt x="117" y="29"/>
                      <a:pt x="115" y="22"/>
                      <a:pt x="118" y="16"/>
                    </a:cubicBezTo>
                    <a:cubicBezTo>
                      <a:pt x="123" y="10"/>
                      <a:pt x="131" y="9"/>
                      <a:pt x="137" y="8"/>
                    </a:cubicBezTo>
                    <a:cubicBezTo>
                      <a:pt x="145" y="7"/>
                      <a:pt x="153" y="6"/>
                      <a:pt x="161" y="6"/>
                    </a:cubicBezTo>
                    <a:cubicBezTo>
                      <a:pt x="166" y="5"/>
                      <a:pt x="173" y="5"/>
                      <a:pt x="179" y="6"/>
                    </a:cubicBezTo>
                    <a:cubicBezTo>
                      <a:pt x="181" y="6"/>
                      <a:pt x="182" y="7"/>
                      <a:pt x="184" y="7"/>
                    </a:cubicBezTo>
                    <a:cubicBezTo>
                      <a:pt x="199" y="11"/>
                      <a:pt x="192" y="33"/>
                      <a:pt x="188" y="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21" name="Group 720">
            <a:extLst>
              <a:ext uri="{FF2B5EF4-FFF2-40B4-BE49-F238E27FC236}">
                <a16:creationId xmlns:a16="http://schemas.microsoft.com/office/drawing/2014/main" id="{48E11C76-C739-45CE-8B90-E0A0F7C94DD7}"/>
              </a:ext>
            </a:extLst>
          </p:cNvPr>
          <p:cNvGrpSpPr/>
          <p:nvPr/>
        </p:nvGrpSpPr>
        <p:grpSpPr>
          <a:xfrm>
            <a:off x="10052458" y="146014"/>
            <a:ext cx="2033626" cy="1015650"/>
            <a:chOff x="10052458" y="146014"/>
            <a:chExt cx="2033626" cy="1015650"/>
          </a:xfrm>
        </p:grpSpPr>
        <p:pic>
          <p:nvPicPr>
            <p:cNvPr id="722" name="Picture 721">
              <a:extLst>
                <a:ext uri="{FF2B5EF4-FFF2-40B4-BE49-F238E27FC236}">
                  <a16:creationId xmlns:a16="http://schemas.microsoft.com/office/drawing/2014/main" id="{252D75CB-ED07-4FC4-9F60-DAAFDECDF859}"/>
                </a:ext>
              </a:extLst>
            </p:cNvPr>
            <p:cNvPicPr>
              <a:picLocks noChangeAspect="1"/>
            </p:cNvPicPr>
            <p:nvPr/>
          </p:nvPicPr>
          <p:blipFill>
            <a:blip r:embed="rId10"/>
            <a:stretch>
              <a:fillRect/>
            </a:stretch>
          </p:blipFill>
          <p:spPr>
            <a:xfrm>
              <a:off x="10052458" y="146014"/>
              <a:ext cx="2033626" cy="1015650"/>
            </a:xfrm>
            <a:prstGeom prst="rect">
              <a:avLst/>
            </a:prstGeom>
          </p:spPr>
        </p:pic>
        <p:sp>
          <p:nvSpPr>
            <p:cNvPr id="773" name="Rectangle 772">
              <a:extLst>
                <a:ext uri="{FF2B5EF4-FFF2-40B4-BE49-F238E27FC236}">
                  <a16:creationId xmlns:a16="http://schemas.microsoft.com/office/drawing/2014/main" id="{9D7E0CFC-B65F-46E5-8BC3-5644539A1AC1}"/>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implified Management</a:t>
              </a:r>
            </a:p>
          </p:txBody>
        </p:sp>
      </p:grpSp>
    </p:spTree>
    <p:extLst>
      <p:ext uri="{BB962C8B-B14F-4D97-AF65-F5344CB8AC3E}">
        <p14:creationId xmlns:p14="http://schemas.microsoft.com/office/powerpoint/2010/main" val="3170247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 name="Rectangle 337">
            <a:extLst>
              <a:ext uri="{FF2B5EF4-FFF2-40B4-BE49-F238E27FC236}">
                <a16:creationId xmlns:a16="http://schemas.microsoft.com/office/drawing/2014/main" id="{1FA58AAF-26C1-4A5B-8EBC-20CF9A2FCA36}"/>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Quick access to WVD ecosystem</a:t>
            </a:r>
          </a:p>
          <a:p>
            <a:r>
              <a:rPr lang="en-US" altLang="zh-CN" dirty="0"/>
              <a:t>E</a:t>
            </a:r>
            <a:r>
              <a:rPr lang="en-US" dirty="0"/>
              <a:t>asy integration via REST APIs</a:t>
            </a:r>
          </a:p>
        </p:txBody>
      </p:sp>
      <p:sp>
        <p:nvSpPr>
          <p:cNvPr id="452" name="Freeform 584">
            <a:extLst>
              <a:ext uri="{FF2B5EF4-FFF2-40B4-BE49-F238E27FC236}">
                <a16:creationId xmlns:a16="http://schemas.microsoft.com/office/drawing/2014/main" id="{0F321B0D-527E-4362-9196-CFC8D2DABECB}"/>
              </a:ext>
            </a:extLst>
          </p:cNvPr>
          <p:cNvSpPr>
            <a:spLocks/>
          </p:cNvSpPr>
          <p:nvPr/>
        </p:nvSpPr>
        <p:spPr bwMode="auto">
          <a:xfrm>
            <a:off x="4924599" y="3554260"/>
            <a:ext cx="2387747" cy="974616"/>
          </a:xfrm>
          <a:custGeom>
            <a:avLst/>
            <a:gdLst>
              <a:gd name="T0" fmla="*/ 5540 w 6028"/>
              <a:gd name="T1" fmla="*/ 1488 h 2464"/>
              <a:gd name="T2" fmla="*/ 5278 w 6028"/>
              <a:gd name="T3" fmla="*/ 1565 h 2464"/>
              <a:gd name="T4" fmla="*/ 5279 w 6028"/>
              <a:gd name="T5" fmla="*/ 1512 h 2464"/>
              <a:gd name="T6" fmla="*/ 4327 w 6028"/>
              <a:gd name="T7" fmla="*/ 559 h 2464"/>
              <a:gd name="T8" fmla="*/ 3668 w 6028"/>
              <a:gd name="T9" fmla="*/ 824 h 2464"/>
              <a:gd name="T10" fmla="*/ 2506 w 6028"/>
              <a:gd name="T11" fmla="*/ 0 h 2464"/>
              <a:gd name="T12" fmla="*/ 1274 w 6028"/>
              <a:gd name="T13" fmla="*/ 1220 h 2464"/>
              <a:gd name="T14" fmla="*/ 738 w 6028"/>
              <a:gd name="T15" fmla="*/ 988 h 2464"/>
              <a:gd name="T16" fmla="*/ 0 w 6028"/>
              <a:gd name="T17" fmla="*/ 1726 h 2464"/>
              <a:gd name="T18" fmla="*/ 738 w 6028"/>
              <a:gd name="T19" fmla="*/ 2464 h 2464"/>
              <a:gd name="T20" fmla="*/ 5540 w 6028"/>
              <a:gd name="T21" fmla="*/ 2464 h 2464"/>
              <a:gd name="T22" fmla="*/ 6028 w 6028"/>
              <a:gd name="T23" fmla="*/ 1976 h 2464"/>
              <a:gd name="T24" fmla="*/ 5540 w 6028"/>
              <a:gd name="T25" fmla="*/ 1488 h 2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28" h="2464">
                <a:moveTo>
                  <a:pt x="5540" y="1488"/>
                </a:moveTo>
                <a:cubicBezTo>
                  <a:pt x="5443" y="1488"/>
                  <a:pt x="5353" y="1517"/>
                  <a:pt x="5278" y="1565"/>
                </a:cubicBezTo>
                <a:cubicBezTo>
                  <a:pt x="5279" y="1547"/>
                  <a:pt x="5279" y="1530"/>
                  <a:pt x="5279" y="1512"/>
                </a:cubicBezTo>
                <a:cubicBezTo>
                  <a:pt x="5279" y="986"/>
                  <a:pt x="4853" y="559"/>
                  <a:pt x="4327" y="559"/>
                </a:cubicBezTo>
                <a:cubicBezTo>
                  <a:pt x="4071" y="559"/>
                  <a:pt x="3839" y="660"/>
                  <a:pt x="3668" y="824"/>
                </a:cubicBezTo>
                <a:cubicBezTo>
                  <a:pt x="3499" y="344"/>
                  <a:pt x="3043" y="0"/>
                  <a:pt x="2506" y="0"/>
                </a:cubicBezTo>
                <a:cubicBezTo>
                  <a:pt x="1829" y="0"/>
                  <a:pt x="1280" y="545"/>
                  <a:pt x="1274" y="1220"/>
                </a:cubicBezTo>
                <a:cubicBezTo>
                  <a:pt x="1139" y="1078"/>
                  <a:pt x="949" y="988"/>
                  <a:pt x="738" y="988"/>
                </a:cubicBezTo>
                <a:cubicBezTo>
                  <a:pt x="330" y="988"/>
                  <a:pt x="0" y="1319"/>
                  <a:pt x="0" y="1726"/>
                </a:cubicBezTo>
                <a:cubicBezTo>
                  <a:pt x="0" y="2134"/>
                  <a:pt x="330" y="2464"/>
                  <a:pt x="738" y="2464"/>
                </a:cubicBezTo>
                <a:cubicBezTo>
                  <a:pt x="1092" y="2464"/>
                  <a:pt x="5316" y="2464"/>
                  <a:pt x="5540" y="2464"/>
                </a:cubicBezTo>
                <a:cubicBezTo>
                  <a:pt x="5810" y="2464"/>
                  <a:pt x="6028" y="2246"/>
                  <a:pt x="6028" y="1976"/>
                </a:cubicBezTo>
                <a:cubicBezTo>
                  <a:pt x="6028" y="1707"/>
                  <a:pt x="5810" y="1488"/>
                  <a:pt x="5540" y="1488"/>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483177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40756" y="2416368"/>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low to find the right solution </a:t>
            </a:r>
          </a:p>
          <a:p>
            <a:r>
              <a:rPr lang="en-US" dirty="0"/>
              <a:t>Hard to integrate into existing service</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solidFill>
                  <a:schemeClr val="tx1"/>
                </a:solidFill>
              </a:rPr>
              <a:t>Extensive 3rd Party Value-added Services Enabled by APIs </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4216154" cy="369332"/>
          </a:xfrm>
          <a:prstGeom prst="rect">
            <a:avLst/>
          </a:prstGeom>
        </p:spPr>
        <p:txBody>
          <a:bodyPr wrap="none">
            <a:spAutoFit/>
          </a:bodyPr>
          <a:lstStyle/>
          <a:p>
            <a:r>
              <a:rPr lang="en-US" b="1" i="1" dirty="0"/>
              <a:t>Efficient and Simplified Management</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on-prem virtualization to WVD</a:t>
            </a:r>
          </a:p>
          <a:p>
            <a:pPr marL="344488" indent="-176213" defTabSz="932472" fontAlgn="base">
              <a:spcBef>
                <a:spcPts val="200"/>
              </a:spcBef>
              <a:spcAft>
                <a:spcPct val="0"/>
              </a:spcAft>
              <a:buFont typeface="Arial" panose="020B0604020202020204" pitchFamily="34" charset="0"/>
              <a:buChar char="•"/>
            </a:pPr>
            <a:r>
              <a:rPr lang="en-US" altLang="zh-CN" sz="1400" dirty="0">
                <a:solidFill>
                  <a:schemeClr val="tx1"/>
                </a:solidFill>
                <a:cs typeface="Segoe UI" pitchFamily="34" charset="0"/>
              </a:rPr>
              <a:t>WVD customers have access to best-of-breed management solutions, including 3</a:t>
            </a:r>
            <a:r>
              <a:rPr lang="en-US" altLang="zh-CN" sz="1400" baseline="30000" dirty="0">
                <a:solidFill>
                  <a:schemeClr val="tx1"/>
                </a:solidFill>
                <a:cs typeface="Segoe UI" pitchFamily="34" charset="0"/>
              </a:rPr>
              <a:t>rd</a:t>
            </a:r>
            <a:r>
              <a:rPr lang="en-US" altLang="zh-CN" sz="1400" dirty="0">
                <a:solidFill>
                  <a:schemeClr val="tx1"/>
                </a:solidFill>
                <a:cs typeface="Segoe UI" pitchFamily="34" charset="0"/>
              </a:rPr>
              <a:t> party apps</a:t>
            </a:r>
            <a:endParaRPr lang="en-US" sz="1400" dirty="0">
              <a:solidFill>
                <a:srgbClr val="002060"/>
              </a:solidFill>
              <a:cs typeface="Segoe UI" pitchFamily="34" charset="0"/>
            </a:endParaRP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302299" y="2428026"/>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400" fontAlgn="auto">
              <a:spcBef>
                <a:spcPts val="1200"/>
              </a:spcBef>
              <a:spcAft>
                <a:spcPts val="600"/>
              </a:spcAft>
            </a:pPr>
            <a:r>
              <a:rPr lang="en-US" altLang="zh-CN" sz="1600" b="1" i="1" dirty="0">
                <a:solidFill>
                  <a:schemeClr val="tx2"/>
                </a:solidFill>
              </a:rPr>
              <a:t>Access to rapidly growing WVD ecosystem of management solutions</a:t>
            </a:r>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777886" y="1372927"/>
            <a:ext cx="806355" cy="914400"/>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332" name="TextBox 331">
            <a:extLst>
              <a:ext uri="{FF2B5EF4-FFF2-40B4-BE49-F238E27FC236}">
                <a16:creationId xmlns:a16="http://schemas.microsoft.com/office/drawing/2014/main" id="{E4561C91-E707-474F-AE82-88F037E5ECCB}"/>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400" b="1" dirty="0">
                <a:solidFill>
                  <a:schemeClr val="bg1"/>
                </a:solidFill>
              </a:rPr>
              <a:t>Management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1400" b="1" dirty="0">
                <a:solidFill>
                  <a:schemeClr val="bg1"/>
                </a:solidFill>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400" b="1" dirty="0">
                <a:solidFill>
                  <a:schemeClr val="bg1"/>
                </a:solidFill>
              </a:rPr>
              <a:t>W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048759" y="2418080"/>
            <a:ext cx="401322" cy="3769360"/>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40" name="Freeform 3527">
            <a:extLst>
              <a:ext uri="{FF2B5EF4-FFF2-40B4-BE49-F238E27FC236}">
                <a16:creationId xmlns:a16="http://schemas.microsoft.com/office/drawing/2014/main" id="{B97FED99-B79E-4B44-AED9-22C5D3277DEF}"/>
              </a:ext>
            </a:extLst>
          </p:cNvPr>
          <p:cNvSpPr>
            <a:spLocks/>
          </p:cNvSpPr>
          <p:nvPr/>
        </p:nvSpPr>
        <p:spPr bwMode="auto">
          <a:xfrm>
            <a:off x="5724144" y="4981811"/>
            <a:ext cx="1109472" cy="706238"/>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1440" tIns="45720" rIns="91440" bIns="45720" numCol="1" anchor="ctr" anchorCtr="0" compatLnSpc="1">
            <a:prstTxWarp prst="textNoShape">
              <a:avLst/>
            </a:prstTxWarp>
          </a:bodyPr>
          <a:lstStyle/>
          <a:p>
            <a:pPr algn="ctr"/>
            <a:endParaRPr lang="en-US" sz="1400" b="1" dirty="0">
              <a:solidFill>
                <a:schemeClr val="bg1"/>
              </a:solidFill>
            </a:endParaRPr>
          </a:p>
          <a:p>
            <a:pPr algn="ctr"/>
            <a:r>
              <a:rPr lang="en-US" sz="1400" b="1" dirty="0">
                <a:solidFill>
                  <a:schemeClr val="bg1"/>
                </a:solidFill>
              </a:rPr>
              <a:t>WVD</a:t>
            </a:r>
          </a:p>
        </p:txBody>
      </p:sp>
      <p:sp>
        <p:nvSpPr>
          <p:cNvPr id="252" name="Rectangle: Rounded Corners 251">
            <a:extLst>
              <a:ext uri="{FF2B5EF4-FFF2-40B4-BE49-F238E27FC236}">
                <a16:creationId xmlns:a16="http://schemas.microsoft.com/office/drawing/2014/main" id="{578161E1-E645-4B4E-95E9-589D4B71858B}"/>
              </a:ext>
            </a:extLst>
          </p:cNvPr>
          <p:cNvSpPr/>
          <p:nvPr/>
        </p:nvSpPr>
        <p:spPr bwMode="auto">
          <a:xfrm>
            <a:off x="4772001" y="4717131"/>
            <a:ext cx="2843602" cy="253780"/>
          </a:xfrm>
          <a:prstGeom prst="roundRect">
            <a:avLst>
              <a:gd name="adj" fmla="val 50000"/>
            </a:avLst>
          </a:prstGeom>
          <a:solidFill>
            <a:schemeClr val="bg1">
              <a:lumMod val="95000"/>
            </a:schemeClr>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dirty="0">
                <a:solidFill>
                  <a:schemeClr val="tx1"/>
                </a:solidFill>
                <a:cs typeface="Segoe UI" pitchFamily="34" charset="0"/>
              </a:rPr>
              <a:t>REST APIs</a:t>
            </a:r>
          </a:p>
        </p:txBody>
      </p:sp>
      <p:grpSp>
        <p:nvGrpSpPr>
          <p:cNvPr id="20491" name="Group 20490">
            <a:extLst>
              <a:ext uri="{FF2B5EF4-FFF2-40B4-BE49-F238E27FC236}">
                <a16:creationId xmlns:a16="http://schemas.microsoft.com/office/drawing/2014/main" id="{DFB5C583-4E8F-4209-B2D3-67253AC1936F}"/>
              </a:ext>
            </a:extLst>
          </p:cNvPr>
          <p:cNvGrpSpPr/>
          <p:nvPr/>
        </p:nvGrpSpPr>
        <p:grpSpPr>
          <a:xfrm>
            <a:off x="888395" y="2968111"/>
            <a:ext cx="2833285" cy="2724896"/>
            <a:chOff x="885854" y="2968111"/>
            <a:chExt cx="2833285" cy="2724896"/>
          </a:xfrm>
        </p:grpSpPr>
        <p:grpSp>
          <p:nvGrpSpPr>
            <p:cNvPr id="16" name="Group 15">
              <a:extLst>
                <a:ext uri="{FF2B5EF4-FFF2-40B4-BE49-F238E27FC236}">
                  <a16:creationId xmlns:a16="http://schemas.microsoft.com/office/drawing/2014/main" id="{82E08766-5152-42F5-BB5A-823AC0BA2030}"/>
                </a:ext>
              </a:extLst>
            </p:cNvPr>
            <p:cNvGrpSpPr/>
            <p:nvPr/>
          </p:nvGrpSpPr>
          <p:grpSpPr>
            <a:xfrm>
              <a:off x="1924026" y="3926541"/>
              <a:ext cx="762024" cy="761484"/>
              <a:chOff x="1771861" y="4022948"/>
              <a:chExt cx="1066353" cy="1065600"/>
            </a:xfrm>
          </p:grpSpPr>
          <p:sp>
            <p:nvSpPr>
              <p:cNvPr id="322" name="Oval 596">
                <a:extLst>
                  <a:ext uri="{FF2B5EF4-FFF2-40B4-BE49-F238E27FC236}">
                    <a16:creationId xmlns:a16="http://schemas.microsoft.com/office/drawing/2014/main" id="{991F7DD0-D6D6-4EED-9212-0C797597C162}"/>
                  </a:ext>
                </a:extLst>
              </p:cNvPr>
              <p:cNvSpPr>
                <a:spLocks noChangeArrowheads="1"/>
              </p:cNvSpPr>
              <p:nvPr/>
            </p:nvSpPr>
            <p:spPr bwMode="auto">
              <a:xfrm>
                <a:off x="1771861" y="4022948"/>
                <a:ext cx="1066353" cy="106560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 name="Freeform 597">
                <a:extLst>
                  <a:ext uri="{FF2B5EF4-FFF2-40B4-BE49-F238E27FC236}">
                    <a16:creationId xmlns:a16="http://schemas.microsoft.com/office/drawing/2014/main" id="{F3799536-E40F-4025-854E-0C16CFB9870F}"/>
                  </a:ext>
                </a:extLst>
              </p:cNvPr>
              <p:cNvSpPr>
                <a:spLocks/>
              </p:cNvSpPr>
              <p:nvPr/>
            </p:nvSpPr>
            <p:spPr bwMode="auto">
              <a:xfrm>
                <a:off x="2160071" y="4760208"/>
                <a:ext cx="315538" cy="247761"/>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 name="Freeform 598">
                <a:extLst>
                  <a:ext uri="{FF2B5EF4-FFF2-40B4-BE49-F238E27FC236}">
                    <a16:creationId xmlns:a16="http://schemas.microsoft.com/office/drawing/2014/main" id="{3F557FDA-A6F4-4AAB-8CFB-5F60417513F6}"/>
                  </a:ext>
                </a:extLst>
              </p:cNvPr>
              <p:cNvSpPr>
                <a:spLocks/>
              </p:cNvSpPr>
              <p:nvPr/>
            </p:nvSpPr>
            <p:spPr bwMode="auto">
              <a:xfrm>
                <a:off x="2000042" y="4501903"/>
                <a:ext cx="90745" cy="134800"/>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 name="Freeform 599">
                <a:extLst>
                  <a:ext uri="{FF2B5EF4-FFF2-40B4-BE49-F238E27FC236}">
                    <a16:creationId xmlns:a16="http://schemas.microsoft.com/office/drawing/2014/main" id="{45DD9213-F8E6-4FE8-819A-A16280A9DA8D}"/>
                  </a:ext>
                </a:extLst>
              </p:cNvPr>
              <p:cNvSpPr>
                <a:spLocks/>
              </p:cNvSpPr>
              <p:nvPr/>
            </p:nvSpPr>
            <p:spPr bwMode="auto">
              <a:xfrm>
                <a:off x="2535855" y="4475922"/>
                <a:ext cx="88863" cy="13668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6" name="Freeform 600">
                <a:extLst>
                  <a:ext uri="{FF2B5EF4-FFF2-40B4-BE49-F238E27FC236}">
                    <a16:creationId xmlns:a16="http://schemas.microsoft.com/office/drawing/2014/main" id="{7EFB6017-BB9F-4668-9AB1-ACB077B8B167}"/>
                  </a:ext>
                </a:extLst>
              </p:cNvPr>
              <p:cNvSpPr>
                <a:spLocks/>
              </p:cNvSpPr>
              <p:nvPr/>
            </p:nvSpPr>
            <p:spPr bwMode="auto">
              <a:xfrm>
                <a:off x="2060665" y="4198791"/>
                <a:ext cx="499288" cy="614509"/>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7" name="Freeform 601">
                <a:extLst>
                  <a:ext uri="{FF2B5EF4-FFF2-40B4-BE49-F238E27FC236}">
                    <a16:creationId xmlns:a16="http://schemas.microsoft.com/office/drawing/2014/main" id="{2A5EDEF0-72AA-4AD2-9174-F3401F072020}"/>
                  </a:ext>
                </a:extLst>
              </p:cNvPr>
              <p:cNvSpPr>
                <a:spLocks/>
              </p:cNvSpPr>
              <p:nvPr/>
            </p:nvSpPr>
            <p:spPr bwMode="auto">
              <a:xfrm>
                <a:off x="2060665" y="4198791"/>
                <a:ext cx="499288" cy="613755"/>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8" name="Freeform 602">
                <a:extLst>
                  <a:ext uri="{FF2B5EF4-FFF2-40B4-BE49-F238E27FC236}">
                    <a16:creationId xmlns:a16="http://schemas.microsoft.com/office/drawing/2014/main" id="{67373626-6A0D-45DA-996D-2058B4DCE45E}"/>
                  </a:ext>
                </a:extLst>
              </p:cNvPr>
              <p:cNvSpPr>
                <a:spLocks/>
              </p:cNvSpPr>
              <p:nvPr/>
            </p:nvSpPr>
            <p:spPr bwMode="auto">
              <a:xfrm>
                <a:off x="2309556" y="4466132"/>
                <a:ext cx="243243" cy="350933"/>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Freeform 604">
                <a:extLst>
                  <a:ext uri="{FF2B5EF4-FFF2-40B4-BE49-F238E27FC236}">
                    <a16:creationId xmlns:a16="http://schemas.microsoft.com/office/drawing/2014/main" id="{A5C17986-4C98-4AA4-A55C-B73CD243B464}"/>
                  </a:ext>
                </a:extLst>
              </p:cNvPr>
              <p:cNvSpPr>
                <a:spLocks/>
              </p:cNvSpPr>
              <p:nvPr/>
            </p:nvSpPr>
            <p:spPr bwMode="auto">
              <a:xfrm>
                <a:off x="1947704" y="4792213"/>
                <a:ext cx="726717" cy="296335"/>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1" name="Freeform 605">
                <a:extLst>
                  <a:ext uri="{FF2B5EF4-FFF2-40B4-BE49-F238E27FC236}">
                    <a16:creationId xmlns:a16="http://schemas.microsoft.com/office/drawing/2014/main" id="{62DAD9DF-E6EB-4BA4-B9D0-5EA0F1DB2123}"/>
                  </a:ext>
                </a:extLst>
              </p:cNvPr>
              <p:cNvSpPr>
                <a:spLocks/>
              </p:cNvSpPr>
              <p:nvPr/>
            </p:nvSpPr>
            <p:spPr bwMode="auto">
              <a:xfrm>
                <a:off x="2044474" y="4147582"/>
                <a:ext cx="510961" cy="472178"/>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5" name="Freeform 606">
                <a:extLst>
                  <a:ext uri="{FF2B5EF4-FFF2-40B4-BE49-F238E27FC236}">
                    <a16:creationId xmlns:a16="http://schemas.microsoft.com/office/drawing/2014/main" id="{A454D2A6-5E99-4044-AB1B-DC5269C2E279}"/>
                  </a:ext>
                </a:extLst>
              </p:cNvPr>
              <p:cNvSpPr>
                <a:spLocks/>
              </p:cNvSpPr>
              <p:nvPr/>
            </p:nvSpPr>
            <p:spPr bwMode="auto">
              <a:xfrm>
                <a:off x="2211656" y="4825725"/>
                <a:ext cx="88110" cy="105054"/>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6" name="Freeform 607">
                <a:extLst>
                  <a:ext uri="{FF2B5EF4-FFF2-40B4-BE49-F238E27FC236}">
                    <a16:creationId xmlns:a16="http://schemas.microsoft.com/office/drawing/2014/main" id="{65AD3EC8-7B1F-476A-8B69-350D4BA862A9}"/>
                  </a:ext>
                </a:extLst>
              </p:cNvPr>
              <p:cNvSpPr>
                <a:spLocks/>
              </p:cNvSpPr>
              <p:nvPr/>
            </p:nvSpPr>
            <p:spPr bwMode="auto">
              <a:xfrm>
                <a:off x="2340432" y="4815935"/>
                <a:ext cx="100535" cy="114844"/>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7" name="Oval 608">
                <a:extLst>
                  <a:ext uri="{FF2B5EF4-FFF2-40B4-BE49-F238E27FC236}">
                    <a16:creationId xmlns:a16="http://schemas.microsoft.com/office/drawing/2014/main" id="{FA3B51BD-6136-4E57-8B11-4CB8D339D948}"/>
                  </a:ext>
                </a:extLst>
              </p:cNvPr>
              <p:cNvSpPr>
                <a:spLocks noChangeArrowheads="1"/>
              </p:cNvSpPr>
              <p:nvPr/>
            </p:nvSpPr>
            <p:spPr bwMode="auto">
              <a:xfrm>
                <a:off x="2318969" y="4990272"/>
                <a:ext cx="33888" cy="3464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9" name="Freeform 609">
                <a:extLst>
                  <a:ext uri="{FF2B5EF4-FFF2-40B4-BE49-F238E27FC236}">
                    <a16:creationId xmlns:a16="http://schemas.microsoft.com/office/drawing/2014/main" id="{E956B2D6-CF68-48DB-8640-A21064B82EB2}"/>
                  </a:ext>
                </a:extLst>
              </p:cNvPr>
              <p:cNvSpPr>
                <a:spLocks/>
              </p:cNvSpPr>
              <p:nvPr/>
            </p:nvSpPr>
            <p:spPr bwMode="auto">
              <a:xfrm>
                <a:off x="2120911" y="4448435"/>
                <a:ext cx="128023" cy="56857"/>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5" name="Freeform 610">
                <a:extLst>
                  <a:ext uri="{FF2B5EF4-FFF2-40B4-BE49-F238E27FC236}">
                    <a16:creationId xmlns:a16="http://schemas.microsoft.com/office/drawing/2014/main" id="{5026035E-2E36-4FD3-85AF-C36C372C7A20}"/>
                  </a:ext>
                </a:extLst>
              </p:cNvPr>
              <p:cNvSpPr>
                <a:spLocks/>
              </p:cNvSpPr>
              <p:nvPr/>
            </p:nvSpPr>
            <p:spPr bwMode="auto">
              <a:xfrm>
                <a:off x="2366413" y="4436762"/>
                <a:ext cx="128776" cy="56857"/>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 name="Freeform 611">
                <a:extLst>
                  <a:ext uri="{FF2B5EF4-FFF2-40B4-BE49-F238E27FC236}">
                    <a16:creationId xmlns:a16="http://schemas.microsoft.com/office/drawing/2014/main" id="{7780CDA3-9C32-4737-B554-8DACC2C0D9F4}"/>
                  </a:ext>
                </a:extLst>
              </p:cNvPr>
              <p:cNvSpPr>
                <a:spLocks/>
              </p:cNvSpPr>
              <p:nvPr/>
            </p:nvSpPr>
            <p:spPr bwMode="auto">
              <a:xfrm>
                <a:off x="2163460" y="4509810"/>
                <a:ext cx="45561" cy="30123"/>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 name="Freeform 612">
                <a:extLst>
                  <a:ext uri="{FF2B5EF4-FFF2-40B4-BE49-F238E27FC236}">
                    <a16:creationId xmlns:a16="http://schemas.microsoft.com/office/drawing/2014/main" id="{3D6D30AB-A1EF-41F8-81AF-9E4785DA14F6}"/>
                  </a:ext>
                </a:extLst>
              </p:cNvPr>
              <p:cNvSpPr>
                <a:spLocks/>
              </p:cNvSpPr>
              <p:nvPr/>
            </p:nvSpPr>
            <p:spPr bwMode="auto">
              <a:xfrm>
                <a:off x="2405196" y="4498891"/>
                <a:ext cx="45561" cy="29370"/>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8" name="Freeform 613">
                <a:extLst>
                  <a:ext uri="{FF2B5EF4-FFF2-40B4-BE49-F238E27FC236}">
                    <a16:creationId xmlns:a16="http://schemas.microsoft.com/office/drawing/2014/main" id="{288D47FF-D9EA-4999-9A0B-4EDB3C168AFD}"/>
                  </a:ext>
                </a:extLst>
              </p:cNvPr>
              <p:cNvSpPr>
                <a:spLocks/>
              </p:cNvSpPr>
              <p:nvPr/>
            </p:nvSpPr>
            <p:spPr bwMode="auto">
              <a:xfrm flipV="1">
                <a:off x="2200955" y="4665248"/>
                <a:ext cx="245066" cy="45719"/>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9" name="Freeform 614">
                <a:extLst>
                  <a:ext uri="{FF2B5EF4-FFF2-40B4-BE49-F238E27FC236}">
                    <a16:creationId xmlns:a16="http://schemas.microsoft.com/office/drawing/2014/main" id="{551A7340-C172-49E5-AA0B-666B80C20F25}"/>
                  </a:ext>
                </a:extLst>
              </p:cNvPr>
              <p:cNvSpPr>
                <a:spLocks/>
              </p:cNvSpPr>
              <p:nvPr/>
            </p:nvSpPr>
            <p:spPr bwMode="auto">
              <a:xfrm>
                <a:off x="2099825" y="4201427"/>
                <a:ext cx="455610" cy="396117"/>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 name="Group 24">
              <a:extLst>
                <a:ext uri="{FF2B5EF4-FFF2-40B4-BE49-F238E27FC236}">
                  <a16:creationId xmlns:a16="http://schemas.microsoft.com/office/drawing/2014/main" id="{A56588AA-5921-4087-B774-0FAB8E04EF70}"/>
                </a:ext>
              </a:extLst>
            </p:cNvPr>
            <p:cNvGrpSpPr/>
            <p:nvPr/>
          </p:nvGrpSpPr>
          <p:grpSpPr>
            <a:xfrm>
              <a:off x="2989117" y="4451680"/>
              <a:ext cx="730022" cy="730022"/>
              <a:chOff x="2978301" y="4388381"/>
              <a:chExt cx="856620" cy="856620"/>
            </a:xfrm>
          </p:grpSpPr>
          <p:sp>
            <p:nvSpPr>
              <p:cNvPr id="387" name="Oval 386">
                <a:extLst>
                  <a:ext uri="{FF2B5EF4-FFF2-40B4-BE49-F238E27FC236}">
                    <a16:creationId xmlns:a16="http://schemas.microsoft.com/office/drawing/2014/main" id="{84AEFE59-BB76-4434-98BF-F27C21F24FC3}"/>
                  </a:ext>
                </a:extLst>
              </p:cNvPr>
              <p:cNvSpPr/>
              <p:nvPr/>
            </p:nvSpPr>
            <p:spPr bwMode="auto">
              <a:xfrm>
                <a:off x="2978301" y="4388381"/>
                <a:ext cx="856620" cy="8566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45720" bIns="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900" i="1" dirty="0">
                  <a:solidFill>
                    <a:schemeClr val="tx1"/>
                  </a:soli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B8C85D42-7BE8-4409-A79A-DC3DC46A58EF}"/>
                  </a:ext>
                </a:extLst>
              </p:cNvPr>
              <p:cNvGrpSpPr/>
              <p:nvPr/>
            </p:nvGrpSpPr>
            <p:grpSpPr>
              <a:xfrm>
                <a:off x="3310075" y="4512748"/>
                <a:ext cx="193072" cy="607886"/>
                <a:chOff x="75153" y="5784386"/>
                <a:chExt cx="264021" cy="831271"/>
              </a:xfrm>
            </p:grpSpPr>
            <p:sp>
              <p:nvSpPr>
                <p:cNvPr id="368" name="Freeform 442">
                  <a:extLst>
                    <a:ext uri="{FF2B5EF4-FFF2-40B4-BE49-F238E27FC236}">
                      <a16:creationId xmlns:a16="http://schemas.microsoft.com/office/drawing/2014/main" id="{A8B61850-BE6C-438B-903D-5E60751CF074}"/>
                    </a:ext>
                  </a:extLst>
                </p:cNvPr>
                <p:cNvSpPr>
                  <a:spLocks/>
                </p:cNvSpPr>
                <p:nvPr/>
              </p:nvSpPr>
              <p:spPr bwMode="auto">
                <a:xfrm rot="2296534">
                  <a:off x="99091" y="5784386"/>
                  <a:ext cx="229420" cy="831271"/>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70" name="Group 369">
                  <a:extLst>
                    <a:ext uri="{FF2B5EF4-FFF2-40B4-BE49-F238E27FC236}">
                      <a16:creationId xmlns:a16="http://schemas.microsoft.com/office/drawing/2014/main" id="{5BC530C0-8AC9-4D68-B8D2-669E2CAA74EE}"/>
                    </a:ext>
                  </a:extLst>
                </p:cNvPr>
                <p:cNvGrpSpPr/>
                <p:nvPr/>
              </p:nvGrpSpPr>
              <p:grpSpPr>
                <a:xfrm rot="9000000">
                  <a:off x="75153" y="5806812"/>
                  <a:ext cx="264021" cy="761257"/>
                  <a:chOff x="10069513" y="1289050"/>
                  <a:chExt cx="285751" cy="823913"/>
                </a:xfrm>
              </p:grpSpPr>
              <p:sp>
                <p:nvSpPr>
                  <p:cNvPr id="371" name="Freeform 444">
                    <a:extLst>
                      <a:ext uri="{FF2B5EF4-FFF2-40B4-BE49-F238E27FC236}">
                        <a16:creationId xmlns:a16="http://schemas.microsoft.com/office/drawing/2014/main" id="{1F335667-FAA1-4B5C-B290-FE04A05DBF7E}"/>
                      </a:ext>
                    </a:extLst>
                  </p:cNvPr>
                  <p:cNvSpPr>
                    <a:spLocks/>
                  </p:cNvSpPr>
                  <p:nvPr/>
                </p:nvSpPr>
                <p:spPr bwMode="auto">
                  <a:xfrm>
                    <a:off x="10212388" y="1822450"/>
                    <a:ext cx="76200" cy="290513"/>
                  </a:xfrm>
                  <a:custGeom>
                    <a:avLst/>
                    <a:gdLst>
                      <a:gd name="T0" fmla="*/ 22 w 22"/>
                      <a:gd name="T1" fmla="*/ 54 h 84"/>
                      <a:gd name="T2" fmla="*/ 19 w 22"/>
                      <a:gd name="T3" fmla="*/ 41 h 84"/>
                      <a:gd name="T4" fmla="*/ 18 w 22"/>
                      <a:gd name="T5" fmla="*/ 39 h 84"/>
                      <a:gd name="T6" fmla="*/ 18 w 22"/>
                      <a:gd name="T7" fmla="*/ 39 h 84"/>
                      <a:gd name="T8" fmla="*/ 18 w 22"/>
                      <a:gd name="T9" fmla="*/ 38 h 84"/>
                      <a:gd name="T10" fmla="*/ 10 w 22"/>
                      <a:gd name="T11" fmla="*/ 0 h 84"/>
                      <a:gd name="T12" fmla="*/ 0 w 22"/>
                      <a:gd name="T13" fmla="*/ 0 h 84"/>
                      <a:gd name="T14" fmla="*/ 0 w 22"/>
                      <a:gd name="T15" fmla="*/ 23 h 84"/>
                      <a:gd name="T16" fmla="*/ 0 w 22"/>
                      <a:gd name="T17" fmla="*/ 38 h 84"/>
                      <a:gd name="T18" fmla="*/ 0 w 22"/>
                      <a:gd name="T19" fmla="*/ 84 h 84"/>
                      <a:gd name="T20" fmla="*/ 22 w 22"/>
                      <a:gd name="T21" fmla="*/ 5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84">
                        <a:moveTo>
                          <a:pt x="22" y="54"/>
                        </a:moveTo>
                        <a:cubicBezTo>
                          <a:pt x="22" y="50"/>
                          <a:pt x="21" y="45"/>
                          <a:pt x="19" y="41"/>
                        </a:cubicBezTo>
                        <a:cubicBezTo>
                          <a:pt x="19" y="40"/>
                          <a:pt x="18" y="40"/>
                          <a:pt x="18" y="39"/>
                        </a:cubicBezTo>
                        <a:cubicBezTo>
                          <a:pt x="18" y="39"/>
                          <a:pt x="18" y="39"/>
                          <a:pt x="18" y="39"/>
                        </a:cubicBezTo>
                        <a:cubicBezTo>
                          <a:pt x="18" y="38"/>
                          <a:pt x="18" y="38"/>
                          <a:pt x="18" y="38"/>
                        </a:cubicBezTo>
                        <a:cubicBezTo>
                          <a:pt x="10" y="25"/>
                          <a:pt x="8" y="8"/>
                          <a:pt x="10" y="0"/>
                        </a:cubicBezTo>
                        <a:cubicBezTo>
                          <a:pt x="0" y="0"/>
                          <a:pt x="0" y="0"/>
                          <a:pt x="0" y="0"/>
                        </a:cubicBezTo>
                        <a:cubicBezTo>
                          <a:pt x="0" y="23"/>
                          <a:pt x="0" y="23"/>
                          <a:pt x="0" y="23"/>
                        </a:cubicBezTo>
                        <a:cubicBezTo>
                          <a:pt x="0" y="38"/>
                          <a:pt x="0" y="38"/>
                          <a:pt x="0" y="38"/>
                        </a:cubicBezTo>
                        <a:cubicBezTo>
                          <a:pt x="0" y="84"/>
                          <a:pt x="0" y="84"/>
                          <a:pt x="0" y="84"/>
                        </a:cubicBezTo>
                        <a:cubicBezTo>
                          <a:pt x="12" y="84"/>
                          <a:pt x="22" y="66"/>
                          <a:pt x="22" y="5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 name="Freeform 445">
                    <a:extLst>
                      <a:ext uri="{FF2B5EF4-FFF2-40B4-BE49-F238E27FC236}">
                        <a16:creationId xmlns:a16="http://schemas.microsoft.com/office/drawing/2014/main" id="{A5E77C03-7CED-424E-89B7-3E4D558B76ED}"/>
                      </a:ext>
                    </a:extLst>
                  </p:cNvPr>
                  <p:cNvSpPr>
                    <a:spLocks/>
                  </p:cNvSpPr>
                  <p:nvPr/>
                </p:nvSpPr>
                <p:spPr bwMode="auto">
                  <a:xfrm>
                    <a:off x="10212388" y="2012950"/>
                    <a:ext cx="41275" cy="100013"/>
                  </a:xfrm>
                  <a:custGeom>
                    <a:avLst/>
                    <a:gdLst>
                      <a:gd name="T0" fmla="*/ 0 w 26"/>
                      <a:gd name="T1" fmla="*/ 0 h 63"/>
                      <a:gd name="T2" fmla="*/ 26 w 26"/>
                      <a:gd name="T3" fmla="*/ 0 h 63"/>
                      <a:gd name="T4" fmla="*/ 0 w 26"/>
                      <a:gd name="T5" fmla="*/ 63 h 63"/>
                      <a:gd name="T6" fmla="*/ 0 w 26"/>
                      <a:gd name="T7" fmla="*/ 0 h 63"/>
                    </a:gdLst>
                    <a:ahLst/>
                    <a:cxnLst>
                      <a:cxn ang="0">
                        <a:pos x="T0" y="T1"/>
                      </a:cxn>
                      <a:cxn ang="0">
                        <a:pos x="T2" y="T3"/>
                      </a:cxn>
                      <a:cxn ang="0">
                        <a:pos x="T4" y="T5"/>
                      </a:cxn>
                      <a:cxn ang="0">
                        <a:pos x="T6" y="T7"/>
                      </a:cxn>
                    </a:cxnLst>
                    <a:rect l="0" t="0" r="r" b="b"/>
                    <a:pathLst>
                      <a:path w="26" h="63">
                        <a:moveTo>
                          <a:pt x="0" y="0"/>
                        </a:moveTo>
                        <a:lnTo>
                          <a:pt x="26" y="0"/>
                        </a:lnTo>
                        <a:lnTo>
                          <a:pt x="0" y="63"/>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3" name="Freeform 446">
                    <a:extLst>
                      <a:ext uri="{FF2B5EF4-FFF2-40B4-BE49-F238E27FC236}">
                        <a16:creationId xmlns:a16="http://schemas.microsoft.com/office/drawing/2014/main" id="{F1850727-9139-41EB-9365-B0401EA6AA48}"/>
                      </a:ext>
                    </a:extLst>
                  </p:cNvPr>
                  <p:cNvSpPr>
                    <a:spLocks/>
                  </p:cNvSpPr>
                  <p:nvPr/>
                </p:nvSpPr>
                <p:spPr bwMode="auto">
                  <a:xfrm>
                    <a:off x="10134601" y="1822450"/>
                    <a:ext cx="77788" cy="290513"/>
                  </a:xfrm>
                  <a:custGeom>
                    <a:avLst/>
                    <a:gdLst>
                      <a:gd name="T0" fmla="*/ 0 w 22"/>
                      <a:gd name="T1" fmla="*/ 54 h 84"/>
                      <a:gd name="T2" fmla="*/ 3 w 22"/>
                      <a:gd name="T3" fmla="*/ 41 h 84"/>
                      <a:gd name="T4" fmla="*/ 4 w 22"/>
                      <a:gd name="T5" fmla="*/ 39 h 84"/>
                      <a:gd name="T6" fmla="*/ 4 w 22"/>
                      <a:gd name="T7" fmla="*/ 39 h 84"/>
                      <a:gd name="T8" fmla="*/ 4 w 22"/>
                      <a:gd name="T9" fmla="*/ 38 h 84"/>
                      <a:gd name="T10" fmla="*/ 12 w 22"/>
                      <a:gd name="T11" fmla="*/ 0 h 84"/>
                      <a:gd name="T12" fmla="*/ 22 w 22"/>
                      <a:gd name="T13" fmla="*/ 0 h 84"/>
                      <a:gd name="T14" fmla="*/ 22 w 22"/>
                      <a:gd name="T15" fmla="*/ 23 h 84"/>
                      <a:gd name="T16" fmla="*/ 22 w 22"/>
                      <a:gd name="T17" fmla="*/ 38 h 84"/>
                      <a:gd name="T18" fmla="*/ 22 w 22"/>
                      <a:gd name="T19" fmla="*/ 84 h 84"/>
                      <a:gd name="T20" fmla="*/ 0 w 22"/>
                      <a:gd name="T21" fmla="*/ 5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84">
                        <a:moveTo>
                          <a:pt x="0" y="54"/>
                        </a:moveTo>
                        <a:cubicBezTo>
                          <a:pt x="0" y="50"/>
                          <a:pt x="1" y="45"/>
                          <a:pt x="3" y="41"/>
                        </a:cubicBezTo>
                        <a:cubicBezTo>
                          <a:pt x="3" y="40"/>
                          <a:pt x="3" y="40"/>
                          <a:pt x="4" y="39"/>
                        </a:cubicBezTo>
                        <a:cubicBezTo>
                          <a:pt x="4" y="39"/>
                          <a:pt x="4" y="39"/>
                          <a:pt x="4" y="39"/>
                        </a:cubicBezTo>
                        <a:cubicBezTo>
                          <a:pt x="4" y="38"/>
                          <a:pt x="4" y="38"/>
                          <a:pt x="4" y="38"/>
                        </a:cubicBezTo>
                        <a:cubicBezTo>
                          <a:pt x="12" y="25"/>
                          <a:pt x="13" y="8"/>
                          <a:pt x="12" y="0"/>
                        </a:cubicBezTo>
                        <a:cubicBezTo>
                          <a:pt x="22" y="0"/>
                          <a:pt x="22" y="0"/>
                          <a:pt x="22" y="0"/>
                        </a:cubicBezTo>
                        <a:cubicBezTo>
                          <a:pt x="22" y="23"/>
                          <a:pt x="22" y="23"/>
                          <a:pt x="22" y="23"/>
                        </a:cubicBezTo>
                        <a:cubicBezTo>
                          <a:pt x="22" y="38"/>
                          <a:pt x="22" y="38"/>
                          <a:pt x="22" y="38"/>
                        </a:cubicBezTo>
                        <a:cubicBezTo>
                          <a:pt x="22" y="84"/>
                          <a:pt x="22" y="84"/>
                          <a:pt x="22" y="84"/>
                        </a:cubicBezTo>
                        <a:cubicBezTo>
                          <a:pt x="10" y="84"/>
                          <a:pt x="0" y="66"/>
                          <a:pt x="0" y="5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4" name="Freeform 447">
                    <a:extLst>
                      <a:ext uri="{FF2B5EF4-FFF2-40B4-BE49-F238E27FC236}">
                        <a16:creationId xmlns:a16="http://schemas.microsoft.com/office/drawing/2014/main" id="{5ADE2CF2-4B7A-4B49-9128-21D59A1D0A7F}"/>
                      </a:ext>
                    </a:extLst>
                  </p:cNvPr>
                  <p:cNvSpPr>
                    <a:spLocks/>
                  </p:cNvSpPr>
                  <p:nvPr/>
                </p:nvSpPr>
                <p:spPr bwMode="auto">
                  <a:xfrm>
                    <a:off x="10166351" y="2012950"/>
                    <a:ext cx="46038" cy="100013"/>
                  </a:xfrm>
                  <a:custGeom>
                    <a:avLst/>
                    <a:gdLst>
                      <a:gd name="T0" fmla="*/ 29 w 29"/>
                      <a:gd name="T1" fmla="*/ 0 h 63"/>
                      <a:gd name="T2" fmla="*/ 0 w 29"/>
                      <a:gd name="T3" fmla="*/ 0 h 63"/>
                      <a:gd name="T4" fmla="*/ 29 w 29"/>
                      <a:gd name="T5" fmla="*/ 63 h 63"/>
                      <a:gd name="T6" fmla="*/ 29 w 29"/>
                      <a:gd name="T7" fmla="*/ 0 h 63"/>
                    </a:gdLst>
                    <a:ahLst/>
                    <a:cxnLst>
                      <a:cxn ang="0">
                        <a:pos x="T0" y="T1"/>
                      </a:cxn>
                      <a:cxn ang="0">
                        <a:pos x="T2" y="T3"/>
                      </a:cxn>
                      <a:cxn ang="0">
                        <a:pos x="T4" y="T5"/>
                      </a:cxn>
                      <a:cxn ang="0">
                        <a:pos x="T6" y="T7"/>
                      </a:cxn>
                    </a:cxnLst>
                    <a:rect l="0" t="0" r="r" b="b"/>
                    <a:pathLst>
                      <a:path w="29" h="63">
                        <a:moveTo>
                          <a:pt x="29" y="0"/>
                        </a:moveTo>
                        <a:lnTo>
                          <a:pt x="0" y="0"/>
                        </a:lnTo>
                        <a:lnTo>
                          <a:pt x="29" y="63"/>
                        </a:lnTo>
                        <a:lnTo>
                          <a:pt x="2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 name="Freeform 448">
                    <a:extLst>
                      <a:ext uri="{FF2B5EF4-FFF2-40B4-BE49-F238E27FC236}">
                        <a16:creationId xmlns:a16="http://schemas.microsoft.com/office/drawing/2014/main" id="{BC57ADE7-03A5-4807-A358-EFCE3BE91096}"/>
                      </a:ext>
                    </a:extLst>
                  </p:cNvPr>
                  <p:cNvSpPr>
                    <a:spLocks/>
                  </p:cNvSpPr>
                  <p:nvPr/>
                </p:nvSpPr>
                <p:spPr bwMode="auto">
                  <a:xfrm>
                    <a:off x="10229851" y="1289050"/>
                    <a:ext cx="125413" cy="436563"/>
                  </a:xfrm>
                  <a:custGeom>
                    <a:avLst/>
                    <a:gdLst>
                      <a:gd name="T0" fmla="*/ 29 w 36"/>
                      <a:gd name="T1" fmla="*/ 0 h 126"/>
                      <a:gd name="T2" fmla="*/ 22 w 36"/>
                      <a:gd name="T3" fmla="*/ 7 h 126"/>
                      <a:gd name="T4" fmla="*/ 0 w 36"/>
                      <a:gd name="T5" fmla="*/ 126 h 126"/>
                      <a:gd name="T6" fmla="*/ 15 w 36"/>
                      <a:gd name="T7" fmla="*/ 126 h 126"/>
                      <a:gd name="T8" fmla="*/ 36 w 36"/>
                      <a:gd name="T9" fmla="*/ 7 h 126"/>
                      <a:gd name="T10" fmla="*/ 29 w 36"/>
                      <a:gd name="T11" fmla="*/ 0 h 126"/>
                    </a:gdLst>
                    <a:ahLst/>
                    <a:cxnLst>
                      <a:cxn ang="0">
                        <a:pos x="T0" y="T1"/>
                      </a:cxn>
                      <a:cxn ang="0">
                        <a:pos x="T2" y="T3"/>
                      </a:cxn>
                      <a:cxn ang="0">
                        <a:pos x="T4" y="T5"/>
                      </a:cxn>
                      <a:cxn ang="0">
                        <a:pos x="T6" y="T7"/>
                      </a:cxn>
                      <a:cxn ang="0">
                        <a:pos x="T8" y="T9"/>
                      </a:cxn>
                      <a:cxn ang="0">
                        <a:pos x="T10" y="T11"/>
                      </a:cxn>
                    </a:cxnLst>
                    <a:rect l="0" t="0" r="r" b="b"/>
                    <a:pathLst>
                      <a:path w="36" h="126">
                        <a:moveTo>
                          <a:pt x="29" y="0"/>
                        </a:moveTo>
                        <a:cubicBezTo>
                          <a:pt x="25" y="0"/>
                          <a:pt x="22" y="3"/>
                          <a:pt x="22" y="7"/>
                        </a:cubicBezTo>
                        <a:cubicBezTo>
                          <a:pt x="22" y="71"/>
                          <a:pt x="10" y="102"/>
                          <a:pt x="0" y="126"/>
                        </a:cubicBezTo>
                        <a:cubicBezTo>
                          <a:pt x="15" y="126"/>
                          <a:pt x="15" y="126"/>
                          <a:pt x="15" y="126"/>
                        </a:cubicBezTo>
                        <a:cubicBezTo>
                          <a:pt x="25" y="101"/>
                          <a:pt x="36" y="69"/>
                          <a:pt x="36" y="7"/>
                        </a:cubicBezTo>
                        <a:cubicBezTo>
                          <a:pt x="36" y="3"/>
                          <a:pt x="33" y="0"/>
                          <a:pt x="29" y="0"/>
                        </a:cubicBezTo>
                        <a:close/>
                      </a:path>
                    </a:pathLst>
                  </a:custGeom>
                  <a:solidFill>
                    <a:srgbClr val="BA0E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 name="Freeform 449">
                    <a:extLst>
                      <a:ext uri="{FF2B5EF4-FFF2-40B4-BE49-F238E27FC236}">
                        <a16:creationId xmlns:a16="http://schemas.microsoft.com/office/drawing/2014/main" id="{EA4A8838-E904-45C9-B738-60609E66ADB9}"/>
                      </a:ext>
                    </a:extLst>
                  </p:cNvPr>
                  <p:cNvSpPr>
                    <a:spLocks/>
                  </p:cNvSpPr>
                  <p:nvPr/>
                </p:nvSpPr>
                <p:spPr bwMode="auto">
                  <a:xfrm>
                    <a:off x="10139363" y="1725613"/>
                    <a:ext cx="73025" cy="173038"/>
                  </a:xfrm>
                  <a:custGeom>
                    <a:avLst/>
                    <a:gdLst>
                      <a:gd name="T0" fmla="*/ 16 w 21"/>
                      <a:gd name="T1" fmla="*/ 0 h 50"/>
                      <a:gd name="T2" fmla="*/ 16 w 21"/>
                      <a:gd name="T3" fmla="*/ 0 h 50"/>
                      <a:gd name="T4" fmla="*/ 0 w 21"/>
                      <a:gd name="T5" fmla="*/ 0 h 50"/>
                      <a:gd name="T6" fmla="*/ 2 w 21"/>
                      <a:gd name="T7" fmla="*/ 5 h 50"/>
                      <a:gd name="T8" fmla="*/ 14 w 21"/>
                      <a:gd name="T9" fmla="*/ 50 h 50"/>
                      <a:gd name="T10" fmla="*/ 21 w 21"/>
                      <a:gd name="T11" fmla="*/ 13 h 50"/>
                      <a:gd name="T12" fmla="*/ 16 w 21"/>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21" h="50">
                        <a:moveTo>
                          <a:pt x="16" y="0"/>
                        </a:moveTo>
                        <a:cubicBezTo>
                          <a:pt x="16" y="0"/>
                          <a:pt x="16" y="0"/>
                          <a:pt x="16" y="0"/>
                        </a:cubicBezTo>
                        <a:cubicBezTo>
                          <a:pt x="0" y="0"/>
                          <a:pt x="0" y="0"/>
                          <a:pt x="0" y="0"/>
                        </a:cubicBezTo>
                        <a:cubicBezTo>
                          <a:pt x="1" y="2"/>
                          <a:pt x="2" y="4"/>
                          <a:pt x="2" y="5"/>
                        </a:cubicBezTo>
                        <a:cubicBezTo>
                          <a:pt x="9" y="21"/>
                          <a:pt x="14" y="33"/>
                          <a:pt x="14" y="50"/>
                        </a:cubicBezTo>
                        <a:cubicBezTo>
                          <a:pt x="14" y="36"/>
                          <a:pt x="17" y="24"/>
                          <a:pt x="21" y="13"/>
                        </a:cubicBezTo>
                        <a:cubicBezTo>
                          <a:pt x="19" y="9"/>
                          <a:pt x="18" y="4"/>
                          <a:pt x="16"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 name="Freeform 450">
                    <a:extLst>
                      <a:ext uri="{FF2B5EF4-FFF2-40B4-BE49-F238E27FC236}">
                        <a16:creationId xmlns:a16="http://schemas.microsoft.com/office/drawing/2014/main" id="{E348A8B5-2072-48F4-BC2E-4206E2D297EA}"/>
                      </a:ext>
                    </a:extLst>
                  </p:cNvPr>
                  <p:cNvSpPr>
                    <a:spLocks/>
                  </p:cNvSpPr>
                  <p:nvPr/>
                </p:nvSpPr>
                <p:spPr bwMode="auto">
                  <a:xfrm>
                    <a:off x="10069513" y="1289050"/>
                    <a:ext cx="125413" cy="436563"/>
                  </a:xfrm>
                  <a:custGeom>
                    <a:avLst/>
                    <a:gdLst>
                      <a:gd name="T0" fmla="*/ 14 w 36"/>
                      <a:gd name="T1" fmla="*/ 7 h 126"/>
                      <a:gd name="T2" fmla="*/ 7 w 36"/>
                      <a:gd name="T3" fmla="*/ 0 h 126"/>
                      <a:gd name="T4" fmla="*/ 0 w 36"/>
                      <a:gd name="T5" fmla="*/ 7 h 126"/>
                      <a:gd name="T6" fmla="*/ 20 w 36"/>
                      <a:gd name="T7" fmla="*/ 126 h 126"/>
                      <a:gd name="T8" fmla="*/ 36 w 36"/>
                      <a:gd name="T9" fmla="*/ 126 h 126"/>
                      <a:gd name="T10" fmla="*/ 14 w 36"/>
                      <a:gd name="T11" fmla="*/ 7 h 126"/>
                    </a:gdLst>
                    <a:ahLst/>
                    <a:cxnLst>
                      <a:cxn ang="0">
                        <a:pos x="T0" y="T1"/>
                      </a:cxn>
                      <a:cxn ang="0">
                        <a:pos x="T2" y="T3"/>
                      </a:cxn>
                      <a:cxn ang="0">
                        <a:pos x="T4" y="T5"/>
                      </a:cxn>
                      <a:cxn ang="0">
                        <a:pos x="T6" y="T7"/>
                      </a:cxn>
                      <a:cxn ang="0">
                        <a:pos x="T8" y="T9"/>
                      </a:cxn>
                      <a:cxn ang="0">
                        <a:pos x="T10" y="T11"/>
                      </a:cxn>
                    </a:cxnLst>
                    <a:rect l="0" t="0" r="r" b="b"/>
                    <a:pathLst>
                      <a:path w="36" h="126">
                        <a:moveTo>
                          <a:pt x="14" y="7"/>
                        </a:moveTo>
                        <a:cubicBezTo>
                          <a:pt x="14" y="3"/>
                          <a:pt x="11" y="0"/>
                          <a:pt x="7" y="0"/>
                        </a:cubicBezTo>
                        <a:cubicBezTo>
                          <a:pt x="3" y="0"/>
                          <a:pt x="0" y="3"/>
                          <a:pt x="0" y="7"/>
                        </a:cubicBezTo>
                        <a:cubicBezTo>
                          <a:pt x="0" y="69"/>
                          <a:pt x="11" y="101"/>
                          <a:pt x="20" y="126"/>
                        </a:cubicBezTo>
                        <a:cubicBezTo>
                          <a:pt x="36" y="126"/>
                          <a:pt x="36" y="126"/>
                          <a:pt x="36" y="126"/>
                        </a:cubicBezTo>
                        <a:cubicBezTo>
                          <a:pt x="26" y="102"/>
                          <a:pt x="14" y="71"/>
                          <a:pt x="14" y="7"/>
                        </a:cubicBezTo>
                        <a:close/>
                      </a:path>
                    </a:pathLst>
                  </a:custGeom>
                  <a:solidFill>
                    <a:srgbClr val="BA0E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8" name="Freeform 451">
                    <a:extLst>
                      <a:ext uri="{FF2B5EF4-FFF2-40B4-BE49-F238E27FC236}">
                        <a16:creationId xmlns:a16="http://schemas.microsoft.com/office/drawing/2014/main" id="{B9FF3092-6F81-49AF-9CFD-F48B1A87AEB3}"/>
                      </a:ext>
                    </a:extLst>
                  </p:cNvPr>
                  <p:cNvSpPr>
                    <a:spLocks/>
                  </p:cNvSpPr>
                  <p:nvPr/>
                </p:nvSpPr>
                <p:spPr bwMode="auto">
                  <a:xfrm>
                    <a:off x="10186988" y="1770063"/>
                    <a:ext cx="49213" cy="152400"/>
                  </a:xfrm>
                  <a:custGeom>
                    <a:avLst/>
                    <a:gdLst>
                      <a:gd name="T0" fmla="*/ 0 w 14"/>
                      <a:gd name="T1" fmla="*/ 37 h 44"/>
                      <a:gd name="T2" fmla="*/ 7 w 14"/>
                      <a:gd name="T3" fmla="*/ 44 h 44"/>
                      <a:gd name="T4" fmla="*/ 14 w 14"/>
                      <a:gd name="T5" fmla="*/ 37 h 44"/>
                      <a:gd name="T6" fmla="*/ 7 w 14"/>
                      <a:gd name="T7" fmla="*/ 0 h 44"/>
                      <a:gd name="T8" fmla="*/ 0 w 14"/>
                      <a:gd name="T9" fmla="*/ 37 h 44"/>
                    </a:gdLst>
                    <a:ahLst/>
                    <a:cxnLst>
                      <a:cxn ang="0">
                        <a:pos x="T0" y="T1"/>
                      </a:cxn>
                      <a:cxn ang="0">
                        <a:pos x="T2" y="T3"/>
                      </a:cxn>
                      <a:cxn ang="0">
                        <a:pos x="T4" y="T5"/>
                      </a:cxn>
                      <a:cxn ang="0">
                        <a:pos x="T6" y="T7"/>
                      </a:cxn>
                      <a:cxn ang="0">
                        <a:pos x="T8" y="T9"/>
                      </a:cxn>
                    </a:cxnLst>
                    <a:rect l="0" t="0" r="r" b="b"/>
                    <a:pathLst>
                      <a:path w="14" h="44">
                        <a:moveTo>
                          <a:pt x="0" y="37"/>
                        </a:moveTo>
                        <a:cubicBezTo>
                          <a:pt x="0" y="41"/>
                          <a:pt x="3" y="44"/>
                          <a:pt x="7" y="44"/>
                        </a:cubicBezTo>
                        <a:cubicBezTo>
                          <a:pt x="11" y="44"/>
                          <a:pt x="14" y="41"/>
                          <a:pt x="14" y="37"/>
                        </a:cubicBezTo>
                        <a:cubicBezTo>
                          <a:pt x="14" y="23"/>
                          <a:pt x="11" y="11"/>
                          <a:pt x="7" y="0"/>
                        </a:cubicBezTo>
                        <a:cubicBezTo>
                          <a:pt x="3" y="11"/>
                          <a:pt x="0" y="23"/>
                          <a:pt x="0" y="3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9" name="Freeform 452">
                    <a:extLst>
                      <a:ext uri="{FF2B5EF4-FFF2-40B4-BE49-F238E27FC236}">
                        <a16:creationId xmlns:a16="http://schemas.microsoft.com/office/drawing/2014/main" id="{59039940-FFA8-4E55-A0CE-17528FCC9DF2}"/>
                      </a:ext>
                    </a:extLst>
                  </p:cNvPr>
                  <p:cNvSpPr>
                    <a:spLocks/>
                  </p:cNvSpPr>
                  <p:nvPr/>
                </p:nvSpPr>
                <p:spPr bwMode="auto">
                  <a:xfrm>
                    <a:off x="10134601" y="1822450"/>
                    <a:ext cx="69850" cy="173038"/>
                  </a:xfrm>
                  <a:custGeom>
                    <a:avLst/>
                    <a:gdLst>
                      <a:gd name="T0" fmla="*/ 4 w 20"/>
                      <a:gd name="T1" fmla="*/ 39 h 50"/>
                      <a:gd name="T2" fmla="*/ 4 w 20"/>
                      <a:gd name="T3" fmla="*/ 39 h 50"/>
                      <a:gd name="T4" fmla="*/ 3 w 20"/>
                      <a:gd name="T5" fmla="*/ 41 h 50"/>
                      <a:gd name="T6" fmla="*/ 0 w 20"/>
                      <a:gd name="T7" fmla="*/ 50 h 50"/>
                      <a:gd name="T8" fmla="*/ 20 w 20"/>
                      <a:gd name="T9" fmla="*/ 50 h 50"/>
                      <a:gd name="T10" fmla="*/ 20 w 20"/>
                      <a:gd name="T11" fmla="*/ 34 h 50"/>
                      <a:gd name="T12" fmla="*/ 12 w 20"/>
                      <a:gd name="T13" fmla="*/ 0 h 50"/>
                      <a:gd name="T14" fmla="*/ 12 w 20"/>
                      <a:gd name="T15" fmla="*/ 0 h 50"/>
                      <a:gd name="T16" fmla="*/ 4 w 20"/>
                      <a:gd name="T17" fmla="*/ 38 h 50"/>
                      <a:gd name="T18" fmla="*/ 4 w 20"/>
                      <a:gd name="T19" fmla="*/ 3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0">
                        <a:moveTo>
                          <a:pt x="4" y="39"/>
                        </a:moveTo>
                        <a:cubicBezTo>
                          <a:pt x="4" y="39"/>
                          <a:pt x="4" y="39"/>
                          <a:pt x="4" y="39"/>
                        </a:cubicBezTo>
                        <a:cubicBezTo>
                          <a:pt x="3" y="40"/>
                          <a:pt x="3" y="40"/>
                          <a:pt x="3" y="41"/>
                        </a:cubicBezTo>
                        <a:cubicBezTo>
                          <a:pt x="2" y="44"/>
                          <a:pt x="1" y="47"/>
                          <a:pt x="0" y="50"/>
                        </a:cubicBezTo>
                        <a:cubicBezTo>
                          <a:pt x="20" y="50"/>
                          <a:pt x="20" y="50"/>
                          <a:pt x="20" y="50"/>
                        </a:cubicBezTo>
                        <a:cubicBezTo>
                          <a:pt x="20" y="34"/>
                          <a:pt x="20" y="34"/>
                          <a:pt x="20" y="34"/>
                        </a:cubicBezTo>
                        <a:cubicBezTo>
                          <a:pt x="20" y="34"/>
                          <a:pt x="18" y="20"/>
                          <a:pt x="12" y="0"/>
                        </a:cubicBezTo>
                        <a:cubicBezTo>
                          <a:pt x="12" y="0"/>
                          <a:pt x="12" y="0"/>
                          <a:pt x="12" y="0"/>
                        </a:cubicBezTo>
                        <a:cubicBezTo>
                          <a:pt x="13" y="8"/>
                          <a:pt x="12" y="25"/>
                          <a:pt x="4" y="38"/>
                        </a:cubicBezTo>
                        <a:cubicBezTo>
                          <a:pt x="4" y="38"/>
                          <a:pt x="4" y="38"/>
                          <a:pt x="4" y="3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0" name="Freeform 453">
                    <a:extLst>
                      <a:ext uri="{FF2B5EF4-FFF2-40B4-BE49-F238E27FC236}">
                        <a16:creationId xmlns:a16="http://schemas.microsoft.com/office/drawing/2014/main" id="{67FE01AC-C9B2-468B-83B7-58B31A6EA142}"/>
                      </a:ext>
                    </a:extLst>
                  </p:cNvPr>
                  <p:cNvSpPr>
                    <a:spLocks/>
                  </p:cNvSpPr>
                  <p:nvPr/>
                </p:nvSpPr>
                <p:spPr bwMode="auto">
                  <a:xfrm>
                    <a:off x="10166351" y="2012950"/>
                    <a:ext cx="46038" cy="100013"/>
                  </a:xfrm>
                  <a:custGeom>
                    <a:avLst/>
                    <a:gdLst>
                      <a:gd name="T0" fmla="*/ 29 w 29"/>
                      <a:gd name="T1" fmla="*/ 0 h 63"/>
                      <a:gd name="T2" fmla="*/ 0 w 29"/>
                      <a:gd name="T3" fmla="*/ 0 h 63"/>
                      <a:gd name="T4" fmla="*/ 29 w 29"/>
                      <a:gd name="T5" fmla="*/ 63 h 63"/>
                      <a:gd name="T6" fmla="*/ 29 w 29"/>
                      <a:gd name="T7" fmla="*/ 0 h 63"/>
                    </a:gdLst>
                    <a:ahLst/>
                    <a:cxnLst>
                      <a:cxn ang="0">
                        <a:pos x="T0" y="T1"/>
                      </a:cxn>
                      <a:cxn ang="0">
                        <a:pos x="T2" y="T3"/>
                      </a:cxn>
                      <a:cxn ang="0">
                        <a:pos x="T4" y="T5"/>
                      </a:cxn>
                      <a:cxn ang="0">
                        <a:pos x="T6" y="T7"/>
                      </a:cxn>
                    </a:cxnLst>
                    <a:rect l="0" t="0" r="r" b="b"/>
                    <a:pathLst>
                      <a:path w="29" h="63">
                        <a:moveTo>
                          <a:pt x="29" y="0"/>
                        </a:moveTo>
                        <a:lnTo>
                          <a:pt x="0" y="0"/>
                        </a:lnTo>
                        <a:lnTo>
                          <a:pt x="29" y="63"/>
                        </a:lnTo>
                        <a:lnTo>
                          <a:pt x="2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1" name="Oval 454">
                    <a:extLst>
                      <a:ext uri="{FF2B5EF4-FFF2-40B4-BE49-F238E27FC236}">
                        <a16:creationId xmlns:a16="http://schemas.microsoft.com/office/drawing/2014/main" id="{646C4025-E70E-4649-BB38-87AE66927425}"/>
                      </a:ext>
                    </a:extLst>
                  </p:cNvPr>
                  <p:cNvSpPr>
                    <a:spLocks noChangeArrowheads="1"/>
                  </p:cNvSpPr>
                  <p:nvPr/>
                </p:nvSpPr>
                <p:spPr bwMode="auto">
                  <a:xfrm>
                    <a:off x="10166351" y="1927225"/>
                    <a:ext cx="87313" cy="8572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2" name="Freeform 455">
                    <a:extLst>
                      <a:ext uri="{FF2B5EF4-FFF2-40B4-BE49-F238E27FC236}">
                        <a16:creationId xmlns:a16="http://schemas.microsoft.com/office/drawing/2014/main" id="{0D0677F7-E5B9-4907-8C9C-B230976B6D76}"/>
                      </a:ext>
                    </a:extLst>
                  </p:cNvPr>
                  <p:cNvSpPr>
                    <a:spLocks/>
                  </p:cNvSpPr>
                  <p:nvPr/>
                </p:nvSpPr>
                <p:spPr bwMode="auto">
                  <a:xfrm>
                    <a:off x="10221913" y="1725613"/>
                    <a:ext cx="60325" cy="90488"/>
                  </a:xfrm>
                  <a:custGeom>
                    <a:avLst/>
                    <a:gdLst>
                      <a:gd name="T0" fmla="*/ 15 w 17"/>
                      <a:gd name="T1" fmla="*/ 5 h 26"/>
                      <a:gd name="T2" fmla="*/ 17 w 17"/>
                      <a:gd name="T3" fmla="*/ 0 h 26"/>
                      <a:gd name="T4" fmla="*/ 2 w 17"/>
                      <a:gd name="T5" fmla="*/ 0 h 26"/>
                      <a:gd name="T6" fmla="*/ 2 w 17"/>
                      <a:gd name="T7" fmla="*/ 0 h 26"/>
                      <a:gd name="T8" fmla="*/ 0 w 17"/>
                      <a:gd name="T9" fmla="*/ 4 h 26"/>
                      <a:gd name="T10" fmla="*/ 8 w 17"/>
                      <a:gd name="T11" fmla="*/ 26 h 26"/>
                      <a:gd name="T12" fmla="*/ 15 w 17"/>
                      <a:gd name="T13" fmla="*/ 5 h 26"/>
                    </a:gdLst>
                    <a:ahLst/>
                    <a:cxnLst>
                      <a:cxn ang="0">
                        <a:pos x="T0" y="T1"/>
                      </a:cxn>
                      <a:cxn ang="0">
                        <a:pos x="T2" y="T3"/>
                      </a:cxn>
                      <a:cxn ang="0">
                        <a:pos x="T4" y="T5"/>
                      </a:cxn>
                      <a:cxn ang="0">
                        <a:pos x="T6" y="T7"/>
                      </a:cxn>
                      <a:cxn ang="0">
                        <a:pos x="T8" y="T9"/>
                      </a:cxn>
                      <a:cxn ang="0">
                        <a:pos x="T10" y="T11"/>
                      </a:cxn>
                      <a:cxn ang="0">
                        <a:pos x="T12" y="T13"/>
                      </a:cxn>
                    </a:cxnLst>
                    <a:rect l="0" t="0" r="r" b="b"/>
                    <a:pathLst>
                      <a:path w="17" h="26">
                        <a:moveTo>
                          <a:pt x="15" y="5"/>
                        </a:moveTo>
                        <a:cubicBezTo>
                          <a:pt x="16" y="4"/>
                          <a:pt x="17" y="2"/>
                          <a:pt x="17" y="0"/>
                        </a:cubicBezTo>
                        <a:cubicBezTo>
                          <a:pt x="2" y="0"/>
                          <a:pt x="2" y="0"/>
                          <a:pt x="2" y="0"/>
                        </a:cubicBezTo>
                        <a:cubicBezTo>
                          <a:pt x="2" y="0"/>
                          <a:pt x="2" y="0"/>
                          <a:pt x="2" y="0"/>
                        </a:cubicBezTo>
                        <a:cubicBezTo>
                          <a:pt x="1" y="1"/>
                          <a:pt x="1" y="2"/>
                          <a:pt x="0" y="4"/>
                        </a:cubicBezTo>
                        <a:cubicBezTo>
                          <a:pt x="8" y="26"/>
                          <a:pt x="8" y="26"/>
                          <a:pt x="8" y="26"/>
                        </a:cubicBezTo>
                        <a:cubicBezTo>
                          <a:pt x="10" y="19"/>
                          <a:pt x="12" y="13"/>
                          <a:pt x="15"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3" name="Freeform 456">
                    <a:extLst>
                      <a:ext uri="{FF2B5EF4-FFF2-40B4-BE49-F238E27FC236}">
                        <a16:creationId xmlns:a16="http://schemas.microsoft.com/office/drawing/2014/main" id="{F6BFED1D-0D22-431A-B333-13C3663EAD87}"/>
                      </a:ext>
                    </a:extLst>
                  </p:cNvPr>
                  <p:cNvSpPr>
                    <a:spLocks/>
                  </p:cNvSpPr>
                  <p:nvPr/>
                </p:nvSpPr>
                <p:spPr bwMode="auto">
                  <a:xfrm>
                    <a:off x="10225088" y="1819275"/>
                    <a:ext cx="14288" cy="79375"/>
                  </a:xfrm>
                  <a:custGeom>
                    <a:avLst/>
                    <a:gdLst>
                      <a:gd name="T0" fmla="*/ 3 w 4"/>
                      <a:gd name="T1" fmla="*/ 23 h 23"/>
                      <a:gd name="T2" fmla="*/ 4 w 4"/>
                      <a:gd name="T3" fmla="*/ 12 h 23"/>
                      <a:gd name="T4" fmla="*/ 0 w 4"/>
                      <a:gd name="T5" fmla="*/ 0 h 23"/>
                      <a:gd name="T6" fmla="*/ 3 w 4"/>
                      <a:gd name="T7" fmla="*/ 23 h 23"/>
                    </a:gdLst>
                    <a:ahLst/>
                    <a:cxnLst>
                      <a:cxn ang="0">
                        <a:pos x="T0" y="T1"/>
                      </a:cxn>
                      <a:cxn ang="0">
                        <a:pos x="T2" y="T3"/>
                      </a:cxn>
                      <a:cxn ang="0">
                        <a:pos x="T4" y="T5"/>
                      </a:cxn>
                      <a:cxn ang="0">
                        <a:pos x="T6" y="T7"/>
                      </a:cxn>
                    </a:cxnLst>
                    <a:rect l="0" t="0" r="r" b="b"/>
                    <a:pathLst>
                      <a:path w="4" h="23">
                        <a:moveTo>
                          <a:pt x="3" y="23"/>
                        </a:moveTo>
                        <a:cubicBezTo>
                          <a:pt x="3" y="19"/>
                          <a:pt x="3" y="15"/>
                          <a:pt x="4" y="12"/>
                        </a:cubicBezTo>
                        <a:cubicBezTo>
                          <a:pt x="3" y="8"/>
                          <a:pt x="1" y="4"/>
                          <a:pt x="0" y="0"/>
                        </a:cubicBezTo>
                        <a:cubicBezTo>
                          <a:pt x="2" y="7"/>
                          <a:pt x="3" y="15"/>
                          <a:pt x="3" y="23"/>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4" name="Freeform 457">
                    <a:extLst>
                      <a:ext uri="{FF2B5EF4-FFF2-40B4-BE49-F238E27FC236}">
                        <a16:creationId xmlns:a16="http://schemas.microsoft.com/office/drawing/2014/main" id="{D5233DB5-D840-4694-BC08-C3C8E890FDE2}"/>
                      </a:ext>
                    </a:extLst>
                  </p:cNvPr>
                  <p:cNvSpPr>
                    <a:spLocks/>
                  </p:cNvSpPr>
                  <p:nvPr/>
                </p:nvSpPr>
                <p:spPr bwMode="auto">
                  <a:xfrm>
                    <a:off x="10212388" y="1770063"/>
                    <a:ext cx="12700" cy="49213"/>
                  </a:xfrm>
                  <a:custGeom>
                    <a:avLst/>
                    <a:gdLst>
                      <a:gd name="T0" fmla="*/ 4 w 4"/>
                      <a:gd name="T1" fmla="*/ 14 h 14"/>
                      <a:gd name="T2" fmla="*/ 0 w 4"/>
                      <a:gd name="T3" fmla="*/ 0 h 14"/>
                      <a:gd name="T4" fmla="*/ 4 w 4"/>
                      <a:gd name="T5" fmla="*/ 14 h 14"/>
                    </a:gdLst>
                    <a:ahLst/>
                    <a:cxnLst>
                      <a:cxn ang="0">
                        <a:pos x="T0" y="T1"/>
                      </a:cxn>
                      <a:cxn ang="0">
                        <a:pos x="T2" y="T3"/>
                      </a:cxn>
                      <a:cxn ang="0">
                        <a:pos x="T4" y="T5"/>
                      </a:cxn>
                    </a:cxnLst>
                    <a:rect l="0" t="0" r="r" b="b"/>
                    <a:pathLst>
                      <a:path w="4" h="14">
                        <a:moveTo>
                          <a:pt x="4" y="14"/>
                        </a:moveTo>
                        <a:cubicBezTo>
                          <a:pt x="3" y="9"/>
                          <a:pt x="2" y="5"/>
                          <a:pt x="0" y="0"/>
                        </a:cubicBezTo>
                        <a:cubicBezTo>
                          <a:pt x="0" y="0"/>
                          <a:pt x="2" y="6"/>
                          <a:pt x="4" y="1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5" name="Freeform 458">
                    <a:extLst>
                      <a:ext uri="{FF2B5EF4-FFF2-40B4-BE49-F238E27FC236}">
                        <a16:creationId xmlns:a16="http://schemas.microsoft.com/office/drawing/2014/main" id="{9EF9BEB8-E252-4BD6-917C-3DC386C34A56}"/>
                      </a:ext>
                    </a:extLst>
                  </p:cNvPr>
                  <p:cNvSpPr>
                    <a:spLocks/>
                  </p:cNvSpPr>
                  <p:nvPr/>
                </p:nvSpPr>
                <p:spPr bwMode="auto">
                  <a:xfrm>
                    <a:off x="10212388" y="1739900"/>
                    <a:ext cx="38100" cy="120650"/>
                  </a:xfrm>
                  <a:custGeom>
                    <a:avLst/>
                    <a:gdLst>
                      <a:gd name="T0" fmla="*/ 4 w 11"/>
                      <a:gd name="T1" fmla="*/ 23 h 35"/>
                      <a:gd name="T2" fmla="*/ 8 w 11"/>
                      <a:gd name="T3" fmla="*/ 35 h 35"/>
                      <a:gd name="T4" fmla="*/ 11 w 11"/>
                      <a:gd name="T5" fmla="*/ 22 h 35"/>
                      <a:gd name="T6" fmla="*/ 3 w 11"/>
                      <a:gd name="T7" fmla="*/ 0 h 35"/>
                      <a:gd name="T8" fmla="*/ 0 w 11"/>
                      <a:gd name="T9" fmla="*/ 9 h 35"/>
                      <a:gd name="T10" fmla="*/ 4 w 11"/>
                      <a:gd name="T11" fmla="*/ 23 h 35"/>
                    </a:gdLst>
                    <a:ahLst/>
                    <a:cxnLst>
                      <a:cxn ang="0">
                        <a:pos x="T0" y="T1"/>
                      </a:cxn>
                      <a:cxn ang="0">
                        <a:pos x="T2" y="T3"/>
                      </a:cxn>
                      <a:cxn ang="0">
                        <a:pos x="T4" y="T5"/>
                      </a:cxn>
                      <a:cxn ang="0">
                        <a:pos x="T6" y="T7"/>
                      </a:cxn>
                      <a:cxn ang="0">
                        <a:pos x="T8" y="T9"/>
                      </a:cxn>
                      <a:cxn ang="0">
                        <a:pos x="T10" y="T11"/>
                      </a:cxn>
                    </a:cxnLst>
                    <a:rect l="0" t="0" r="r" b="b"/>
                    <a:pathLst>
                      <a:path w="11" h="35">
                        <a:moveTo>
                          <a:pt x="4" y="23"/>
                        </a:moveTo>
                        <a:cubicBezTo>
                          <a:pt x="5" y="27"/>
                          <a:pt x="7" y="31"/>
                          <a:pt x="8" y="35"/>
                        </a:cubicBezTo>
                        <a:cubicBezTo>
                          <a:pt x="9" y="30"/>
                          <a:pt x="10" y="26"/>
                          <a:pt x="11" y="22"/>
                        </a:cubicBezTo>
                        <a:cubicBezTo>
                          <a:pt x="3" y="0"/>
                          <a:pt x="3" y="0"/>
                          <a:pt x="3" y="0"/>
                        </a:cubicBezTo>
                        <a:cubicBezTo>
                          <a:pt x="2" y="3"/>
                          <a:pt x="1" y="6"/>
                          <a:pt x="0" y="9"/>
                        </a:cubicBezTo>
                        <a:cubicBezTo>
                          <a:pt x="2" y="14"/>
                          <a:pt x="3" y="18"/>
                          <a:pt x="4" y="2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29" name="Group 28">
              <a:extLst>
                <a:ext uri="{FF2B5EF4-FFF2-40B4-BE49-F238E27FC236}">
                  <a16:creationId xmlns:a16="http://schemas.microsoft.com/office/drawing/2014/main" id="{59430377-4C9F-41DD-88A3-B2F98563B760}"/>
                </a:ext>
              </a:extLst>
            </p:cNvPr>
            <p:cNvGrpSpPr/>
            <p:nvPr/>
          </p:nvGrpSpPr>
          <p:grpSpPr>
            <a:xfrm>
              <a:off x="1940026" y="2968111"/>
              <a:ext cx="730022" cy="730022"/>
              <a:chOff x="1893992" y="2956498"/>
              <a:chExt cx="753248" cy="753248"/>
            </a:xfrm>
          </p:grpSpPr>
          <p:sp>
            <p:nvSpPr>
              <p:cNvPr id="268" name="Oval 267">
                <a:extLst>
                  <a:ext uri="{FF2B5EF4-FFF2-40B4-BE49-F238E27FC236}">
                    <a16:creationId xmlns:a16="http://schemas.microsoft.com/office/drawing/2014/main" id="{56BF22C0-150C-4267-9136-9946319E12BF}"/>
                  </a:ext>
                </a:extLst>
              </p:cNvPr>
              <p:cNvSpPr/>
              <p:nvPr/>
            </p:nvSpPr>
            <p:spPr bwMode="auto">
              <a:xfrm>
                <a:off x="1893992" y="2956498"/>
                <a:ext cx="753248" cy="753248"/>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640080" rIns="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900" i="1" dirty="0">
                    <a:solidFill>
                      <a:schemeClr val="tx1"/>
                    </a:solidFill>
                    <a:cs typeface="Segoe UI" pitchFamily="34" charset="0"/>
                  </a:rPr>
                  <a:t>Consultants/</a:t>
                </a:r>
                <a:br>
                  <a:rPr lang="en-US" sz="900" i="1" dirty="0">
                    <a:solidFill>
                      <a:schemeClr val="tx1"/>
                    </a:solidFill>
                    <a:cs typeface="Segoe UI" pitchFamily="34" charset="0"/>
                  </a:rPr>
                </a:br>
                <a:r>
                  <a:rPr lang="en-US" sz="900" i="1" dirty="0">
                    <a:solidFill>
                      <a:schemeClr val="tx1"/>
                    </a:solidFill>
                    <a:cs typeface="Segoe UI" pitchFamily="34" charset="0"/>
                  </a:rPr>
                  <a:t>SIs</a:t>
                </a:r>
              </a:p>
            </p:txBody>
          </p:sp>
          <p:grpSp>
            <p:nvGrpSpPr>
              <p:cNvPr id="254" name="Group 153">
                <a:extLst>
                  <a:ext uri="{FF2B5EF4-FFF2-40B4-BE49-F238E27FC236}">
                    <a16:creationId xmlns:a16="http://schemas.microsoft.com/office/drawing/2014/main" id="{0107A4F1-6048-4761-B83F-B9D81B5E1AC3}"/>
                  </a:ext>
                </a:extLst>
              </p:cNvPr>
              <p:cNvGrpSpPr>
                <a:grpSpLocks noChangeAspect="1"/>
              </p:cNvGrpSpPr>
              <p:nvPr/>
            </p:nvGrpSpPr>
            <p:grpSpPr bwMode="auto">
              <a:xfrm>
                <a:off x="2110431" y="3010626"/>
                <a:ext cx="320370" cy="352602"/>
                <a:chOff x="2754" y="1137"/>
                <a:chExt cx="2256" cy="2483"/>
              </a:xfrm>
            </p:grpSpPr>
            <p:sp>
              <p:nvSpPr>
                <p:cNvPr id="256" name="Freeform 155">
                  <a:extLst>
                    <a:ext uri="{FF2B5EF4-FFF2-40B4-BE49-F238E27FC236}">
                      <a16:creationId xmlns:a16="http://schemas.microsoft.com/office/drawing/2014/main" id="{D09895F2-EE84-4B88-BD00-3FA09DD46DE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7" name="Freeform 156">
                  <a:extLst>
                    <a:ext uri="{FF2B5EF4-FFF2-40B4-BE49-F238E27FC236}">
                      <a16:creationId xmlns:a16="http://schemas.microsoft.com/office/drawing/2014/main" id="{62C895A6-320E-46E2-8231-6188FCFB41B3}"/>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8" name="Freeform 157">
                  <a:extLst>
                    <a:ext uri="{FF2B5EF4-FFF2-40B4-BE49-F238E27FC236}">
                      <a16:creationId xmlns:a16="http://schemas.microsoft.com/office/drawing/2014/main" id="{4338002E-302A-42C8-876D-DC457A271D78}"/>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9" name="Freeform 158">
                  <a:extLst>
                    <a:ext uri="{FF2B5EF4-FFF2-40B4-BE49-F238E27FC236}">
                      <a16:creationId xmlns:a16="http://schemas.microsoft.com/office/drawing/2014/main" id="{516AE07E-CE0F-4DA1-AB3E-0A5F00158ADE}"/>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0" name="Freeform 159">
                  <a:extLst>
                    <a:ext uri="{FF2B5EF4-FFF2-40B4-BE49-F238E27FC236}">
                      <a16:creationId xmlns:a16="http://schemas.microsoft.com/office/drawing/2014/main" id="{BC2D97D1-5879-40B6-81C1-748BD51311F6}"/>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1" name="Freeform 160">
                  <a:extLst>
                    <a:ext uri="{FF2B5EF4-FFF2-40B4-BE49-F238E27FC236}">
                      <a16:creationId xmlns:a16="http://schemas.microsoft.com/office/drawing/2014/main" id="{A69390A4-5863-4FC1-A308-60FBADB7214A}"/>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6" name="Freeform 161">
                  <a:extLst>
                    <a:ext uri="{FF2B5EF4-FFF2-40B4-BE49-F238E27FC236}">
                      <a16:creationId xmlns:a16="http://schemas.microsoft.com/office/drawing/2014/main" id="{E2F49E8D-92FB-4AD0-9CC1-41D1D7B839EA}"/>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7" name="Freeform 162">
                  <a:extLst>
                    <a:ext uri="{FF2B5EF4-FFF2-40B4-BE49-F238E27FC236}">
                      <a16:creationId xmlns:a16="http://schemas.microsoft.com/office/drawing/2014/main" id="{2296E0EB-565E-42CC-8F6D-A25D8A6535B7}"/>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1" name="Freeform 163">
                  <a:extLst>
                    <a:ext uri="{FF2B5EF4-FFF2-40B4-BE49-F238E27FC236}">
                      <a16:creationId xmlns:a16="http://schemas.microsoft.com/office/drawing/2014/main" id="{D1EA7145-901E-493F-A6BA-3A00AE52FD02}"/>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 name="Freeform 164">
                  <a:extLst>
                    <a:ext uri="{FF2B5EF4-FFF2-40B4-BE49-F238E27FC236}">
                      <a16:creationId xmlns:a16="http://schemas.microsoft.com/office/drawing/2014/main" id="{AD9E8EC8-A892-44B6-95B4-6E9585CE617D}"/>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3" name="Oval 165">
                  <a:extLst>
                    <a:ext uri="{FF2B5EF4-FFF2-40B4-BE49-F238E27FC236}">
                      <a16:creationId xmlns:a16="http://schemas.microsoft.com/office/drawing/2014/main" id="{F0EE0B71-5B20-493B-BC5E-A374DBBBD030}"/>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4" name="Oval 166">
                  <a:extLst>
                    <a:ext uri="{FF2B5EF4-FFF2-40B4-BE49-F238E27FC236}">
                      <a16:creationId xmlns:a16="http://schemas.microsoft.com/office/drawing/2014/main" id="{33EF2C3E-BD20-4963-9124-F6997078AB20}"/>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5" name="Freeform 167">
                  <a:extLst>
                    <a:ext uri="{FF2B5EF4-FFF2-40B4-BE49-F238E27FC236}">
                      <a16:creationId xmlns:a16="http://schemas.microsoft.com/office/drawing/2014/main" id="{D7443214-8ADD-4341-96C8-8F6544A45271}"/>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168">
                  <a:extLst>
                    <a:ext uri="{FF2B5EF4-FFF2-40B4-BE49-F238E27FC236}">
                      <a16:creationId xmlns:a16="http://schemas.microsoft.com/office/drawing/2014/main" id="{EBC62D66-AF2B-4DFC-9FF6-1774FADA6760}"/>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169">
                  <a:extLst>
                    <a:ext uri="{FF2B5EF4-FFF2-40B4-BE49-F238E27FC236}">
                      <a16:creationId xmlns:a16="http://schemas.microsoft.com/office/drawing/2014/main" id="{3E500D3D-1FA8-42B2-B894-0E1B599DDD1E}"/>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170">
                  <a:extLst>
                    <a:ext uri="{FF2B5EF4-FFF2-40B4-BE49-F238E27FC236}">
                      <a16:creationId xmlns:a16="http://schemas.microsoft.com/office/drawing/2014/main" id="{9AE2D1AC-C3BF-4EFA-A4C8-CE90654E883B}"/>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Freeform 171">
                  <a:extLst>
                    <a:ext uri="{FF2B5EF4-FFF2-40B4-BE49-F238E27FC236}">
                      <a16:creationId xmlns:a16="http://schemas.microsoft.com/office/drawing/2014/main" id="{AA0DFBD1-DC7C-40BE-8AA4-A6A16A548883}"/>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Freeform 172">
                  <a:extLst>
                    <a:ext uri="{FF2B5EF4-FFF2-40B4-BE49-F238E27FC236}">
                      <a16:creationId xmlns:a16="http://schemas.microsoft.com/office/drawing/2014/main" id="{4F7A068A-00B4-4752-A22D-C4A363B1892D}"/>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Freeform 173">
                  <a:extLst>
                    <a:ext uri="{FF2B5EF4-FFF2-40B4-BE49-F238E27FC236}">
                      <a16:creationId xmlns:a16="http://schemas.microsoft.com/office/drawing/2014/main" id="{403A1ABA-E6DC-477F-85B4-AE485F975F19}"/>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2" name="Freeform 174">
                  <a:extLst>
                    <a:ext uri="{FF2B5EF4-FFF2-40B4-BE49-F238E27FC236}">
                      <a16:creationId xmlns:a16="http://schemas.microsoft.com/office/drawing/2014/main" id="{7CFCF787-9157-4B50-9FF7-0C911120201B}"/>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6" name="Group 25">
              <a:extLst>
                <a:ext uri="{FF2B5EF4-FFF2-40B4-BE49-F238E27FC236}">
                  <a16:creationId xmlns:a16="http://schemas.microsoft.com/office/drawing/2014/main" id="{57DCDACE-57F7-4F7B-BF17-082806609F2C}"/>
                </a:ext>
              </a:extLst>
            </p:cNvPr>
            <p:cNvGrpSpPr/>
            <p:nvPr/>
          </p:nvGrpSpPr>
          <p:grpSpPr>
            <a:xfrm>
              <a:off x="2989117" y="3373478"/>
              <a:ext cx="730022" cy="730022"/>
              <a:chOff x="3044824" y="3310179"/>
              <a:chExt cx="856620" cy="856620"/>
            </a:xfrm>
          </p:grpSpPr>
          <p:sp>
            <p:nvSpPr>
              <p:cNvPr id="352" name="Oval 351">
                <a:extLst>
                  <a:ext uri="{FF2B5EF4-FFF2-40B4-BE49-F238E27FC236}">
                    <a16:creationId xmlns:a16="http://schemas.microsoft.com/office/drawing/2014/main" id="{D415D8B0-B8A6-4E58-A64B-8D3387D391E0}"/>
                  </a:ext>
                </a:extLst>
              </p:cNvPr>
              <p:cNvSpPr/>
              <p:nvPr/>
            </p:nvSpPr>
            <p:spPr bwMode="auto">
              <a:xfrm>
                <a:off x="3044824" y="3310179"/>
                <a:ext cx="856620" cy="8566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548640" rIns="4572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900" i="1" dirty="0">
                    <a:solidFill>
                      <a:schemeClr val="tx1"/>
                    </a:solidFill>
                    <a:ea typeface="Segoe UI" pitchFamily="34" charset="0"/>
                    <a:cs typeface="Segoe UI" pitchFamily="34" charset="0"/>
                  </a:rPr>
                  <a:t>3</a:t>
                </a:r>
                <a:r>
                  <a:rPr lang="en-US" sz="900" i="1" baseline="30000" dirty="0">
                    <a:solidFill>
                      <a:schemeClr val="tx1"/>
                    </a:solidFill>
                    <a:ea typeface="Segoe UI" pitchFamily="34" charset="0"/>
                    <a:cs typeface="Segoe UI" pitchFamily="34" charset="0"/>
                  </a:rPr>
                  <a:t>rd</a:t>
                </a:r>
                <a:r>
                  <a:rPr lang="en-US" sz="900" i="1" dirty="0">
                    <a:solidFill>
                      <a:schemeClr val="tx1"/>
                    </a:solidFill>
                    <a:ea typeface="Segoe UI" pitchFamily="34" charset="0"/>
                    <a:cs typeface="Segoe UI" pitchFamily="34" charset="0"/>
                  </a:rPr>
                  <a:t> party software</a:t>
                </a:r>
              </a:p>
            </p:txBody>
          </p:sp>
          <p:grpSp>
            <p:nvGrpSpPr>
              <p:cNvPr id="353" name="Group 352">
                <a:extLst>
                  <a:ext uri="{FF2B5EF4-FFF2-40B4-BE49-F238E27FC236}">
                    <a16:creationId xmlns:a16="http://schemas.microsoft.com/office/drawing/2014/main" id="{691C2B78-4079-4CCD-B3B3-DE2705FEA360}"/>
                  </a:ext>
                </a:extLst>
              </p:cNvPr>
              <p:cNvGrpSpPr/>
              <p:nvPr/>
            </p:nvGrpSpPr>
            <p:grpSpPr>
              <a:xfrm>
                <a:off x="3340104" y="3332270"/>
                <a:ext cx="266062" cy="392754"/>
                <a:chOff x="-1071110" y="4246935"/>
                <a:chExt cx="625078" cy="922734"/>
              </a:xfrm>
            </p:grpSpPr>
            <p:sp>
              <p:nvSpPr>
                <p:cNvPr id="354" name="Freeform: Shape 353">
                  <a:extLst>
                    <a:ext uri="{FF2B5EF4-FFF2-40B4-BE49-F238E27FC236}">
                      <a16:creationId xmlns:a16="http://schemas.microsoft.com/office/drawing/2014/main" id="{5BA33D4D-6B49-4478-9C2D-4172A3482035}"/>
                    </a:ext>
                  </a:extLst>
                </p:cNvPr>
                <p:cNvSpPr/>
                <p:nvPr/>
              </p:nvSpPr>
              <p:spPr>
                <a:xfrm>
                  <a:off x="-1071110" y="5005958"/>
                  <a:ext cx="625078" cy="163711"/>
                </a:xfrm>
                <a:custGeom>
                  <a:avLst/>
                  <a:gdLst>
                    <a:gd name="connsiteX0" fmla="*/ 0 w 625078"/>
                    <a:gd name="connsiteY0" fmla="*/ 29766 h 163710"/>
                    <a:gd name="connsiteX1" fmla="*/ 14883 w 625078"/>
                    <a:gd name="connsiteY1" fmla="*/ 44648 h 163710"/>
                    <a:gd name="connsiteX2" fmla="*/ 282773 w 625078"/>
                    <a:gd name="connsiteY2" fmla="*/ 44648 h 163710"/>
                    <a:gd name="connsiteX3" fmla="*/ 282773 w 625078"/>
                    <a:gd name="connsiteY3" fmla="*/ 133945 h 163710"/>
                    <a:gd name="connsiteX4" fmla="*/ 148828 w 625078"/>
                    <a:gd name="connsiteY4" fmla="*/ 133945 h 163710"/>
                    <a:gd name="connsiteX5" fmla="*/ 148828 w 625078"/>
                    <a:gd name="connsiteY5" fmla="*/ 163711 h 163710"/>
                    <a:gd name="connsiteX6" fmla="*/ 476250 w 625078"/>
                    <a:gd name="connsiteY6" fmla="*/ 163711 h 163710"/>
                    <a:gd name="connsiteX7" fmla="*/ 476250 w 625078"/>
                    <a:gd name="connsiteY7" fmla="*/ 133945 h 163710"/>
                    <a:gd name="connsiteX8" fmla="*/ 342305 w 625078"/>
                    <a:gd name="connsiteY8" fmla="*/ 133945 h 163710"/>
                    <a:gd name="connsiteX9" fmla="*/ 342305 w 625078"/>
                    <a:gd name="connsiteY9" fmla="*/ 44648 h 163710"/>
                    <a:gd name="connsiteX10" fmla="*/ 610195 w 625078"/>
                    <a:gd name="connsiteY10" fmla="*/ 44648 h 163710"/>
                    <a:gd name="connsiteX11" fmla="*/ 625078 w 625078"/>
                    <a:gd name="connsiteY11" fmla="*/ 29766 h 163710"/>
                    <a:gd name="connsiteX12" fmla="*/ 625078 w 625078"/>
                    <a:gd name="connsiteY12" fmla="*/ 0 h 163710"/>
                    <a:gd name="connsiteX13" fmla="*/ 0 w 625078"/>
                    <a:gd name="connsiteY13" fmla="*/ 0 h 163710"/>
                    <a:gd name="connsiteX14" fmla="*/ 0 w 625078"/>
                    <a:gd name="connsiteY14" fmla="*/ 29766 h 16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5078" h="163710">
                      <a:moveTo>
                        <a:pt x="0" y="29766"/>
                      </a:moveTo>
                      <a:cubicBezTo>
                        <a:pt x="0" y="37981"/>
                        <a:pt x="6667" y="44648"/>
                        <a:pt x="14883" y="44648"/>
                      </a:cubicBezTo>
                      <a:lnTo>
                        <a:pt x="282773" y="44648"/>
                      </a:lnTo>
                      <a:lnTo>
                        <a:pt x="282773" y="133945"/>
                      </a:lnTo>
                      <a:lnTo>
                        <a:pt x="148828" y="133945"/>
                      </a:lnTo>
                      <a:lnTo>
                        <a:pt x="148828" y="163711"/>
                      </a:lnTo>
                      <a:lnTo>
                        <a:pt x="476250" y="163711"/>
                      </a:lnTo>
                      <a:lnTo>
                        <a:pt x="476250" y="133945"/>
                      </a:lnTo>
                      <a:lnTo>
                        <a:pt x="342305" y="133945"/>
                      </a:lnTo>
                      <a:lnTo>
                        <a:pt x="342305" y="44648"/>
                      </a:lnTo>
                      <a:lnTo>
                        <a:pt x="610195" y="44648"/>
                      </a:lnTo>
                      <a:cubicBezTo>
                        <a:pt x="618411" y="44648"/>
                        <a:pt x="625078" y="37981"/>
                        <a:pt x="625078" y="29766"/>
                      </a:cubicBezTo>
                      <a:lnTo>
                        <a:pt x="625078" y="0"/>
                      </a:lnTo>
                      <a:lnTo>
                        <a:pt x="0" y="0"/>
                      </a:lnTo>
                      <a:lnTo>
                        <a:pt x="0" y="29766"/>
                      </a:lnTo>
                      <a:close/>
                    </a:path>
                  </a:pathLst>
                </a:custGeom>
                <a:solidFill>
                  <a:schemeClr val="tx1">
                    <a:lumMod val="75000"/>
                    <a:lumOff val="25000"/>
                  </a:schemeClr>
                </a:solidFill>
                <a:ln w="14883" cap="flat">
                  <a:noFill/>
                  <a:prstDash val="solid"/>
                  <a:miter/>
                </a:ln>
              </p:spPr>
              <p:txBody>
                <a:bodyPr tIns="548640" rtlCol="0" anchor="b"/>
                <a:lstStyle/>
                <a:p>
                  <a:endParaRPr lang="en-US" dirty="0"/>
                </a:p>
              </p:txBody>
            </p:sp>
            <p:sp>
              <p:nvSpPr>
                <p:cNvPr id="355" name="Freeform: Shape 354">
                  <a:extLst>
                    <a:ext uri="{FF2B5EF4-FFF2-40B4-BE49-F238E27FC236}">
                      <a16:creationId xmlns:a16="http://schemas.microsoft.com/office/drawing/2014/main" id="{F278B7B5-71D5-4F60-8ADB-69D327F8BC0C}"/>
                    </a:ext>
                  </a:extLst>
                </p:cNvPr>
                <p:cNvSpPr/>
                <p:nvPr/>
              </p:nvSpPr>
              <p:spPr>
                <a:xfrm>
                  <a:off x="-832985" y="4246935"/>
                  <a:ext cx="148828" cy="178594"/>
                </a:xfrm>
                <a:custGeom>
                  <a:avLst/>
                  <a:gdLst>
                    <a:gd name="connsiteX0" fmla="*/ 74414 w 148828"/>
                    <a:gd name="connsiteY0" fmla="*/ 178594 h 178593"/>
                    <a:gd name="connsiteX1" fmla="*/ 148828 w 148828"/>
                    <a:gd name="connsiteY1" fmla="*/ 89297 h 178593"/>
                    <a:gd name="connsiteX2" fmla="*/ 104180 w 148828"/>
                    <a:gd name="connsiteY2" fmla="*/ 89297 h 178593"/>
                    <a:gd name="connsiteX3" fmla="*/ 104180 w 148828"/>
                    <a:gd name="connsiteY3" fmla="*/ 0 h 178593"/>
                    <a:gd name="connsiteX4" fmla="*/ 44648 w 148828"/>
                    <a:gd name="connsiteY4" fmla="*/ 0 h 178593"/>
                    <a:gd name="connsiteX5" fmla="*/ 44648 w 148828"/>
                    <a:gd name="connsiteY5" fmla="*/ 89297 h 178593"/>
                    <a:gd name="connsiteX6" fmla="*/ 0 w 148828"/>
                    <a:gd name="connsiteY6" fmla="*/ 89297 h 17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828" h="178593">
                      <a:moveTo>
                        <a:pt x="74414" y="178594"/>
                      </a:moveTo>
                      <a:lnTo>
                        <a:pt x="148828" y="89297"/>
                      </a:lnTo>
                      <a:lnTo>
                        <a:pt x="104180" y="89297"/>
                      </a:lnTo>
                      <a:lnTo>
                        <a:pt x="104180" y="0"/>
                      </a:lnTo>
                      <a:lnTo>
                        <a:pt x="44648" y="0"/>
                      </a:lnTo>
                      <a:lnTo>
                        <a:pt x="44648" y="89297"/>
                      </a:lnTo>
                      <a:lnTo>
                        <a:pt x="0" y="89297"/>
                      </a:lnTo>
                      <a:close/>
                    </a:path>
                  </a:pathLst>
                </a:custGeom>
                <a:solidFill>
                  <a:schemeClr val="accent3"/>
                </a:solidFill>
                <a:ln w="14883" cap="flat">
                  <a:noFill/>
                  <a:prstDash val="solid"/>
                  <a:miter/>
                </a:ln>
              </p:spPr>
              <p:txBody>
                <a:bodyPr tIns="548640" rtlCol="0" anchor="b"/>
                <a:lstStyle/>
                <a:p>
                  <a:endParaRPr lang="en-US" dirty="0"/>
                </a:p>
              </p:txBody>
            </p:sp>
            <p:sp>
              <p:nvSpPr>
                <p:cNvPr id="356" name="Freeform: Shape 355">
                  <a:extLst>
                    <a:ext uri="{FF2B5EF4-FFF2-40B4-BE49-F238E27FC236}">
                      <a16:creationId xmlns:a16="http://schemas.microsoft.com/office/drawing/2014/main" id="{DF500255-DEEC-482C-9302-B3B201ADE612}"/>
                    </a:ext>
                  </a:extLst>
                </p:cNvPr>
                <p:cNvSpPr/>
                <p:nvPr/>
              </p:nvSpPr>
              <p:spPr>
                <a:xfrm>
                  <a:off x="-907399" y="4365997"/>
                  <a:ext cx="297656" cy="104180"/>
                </a:xfrm>
                <a:custGeom>
                  <a:avLst/>
                  <a:gdLst>
                    <a:gd name="connsiteX0" fmla="*/ 0 w 297656"/>
                    <a:gd name="connsiteY0" fmla="*/ 0 h 104179"/>
                    <a:gd name="connsiteX1" fmla="*/ 0 w 297656"/>
                    <a:gd name="connsiteY1" fmla="*/ 89297 h 104179"/>
                    <a:gd name="connsiteX2" fmla="*/ 14883 w 297656"/>
                    <a:gd name="connsiteY2" fmla="*/ 104180 h 104179"/>
                    <a:gd name="connsiteX3" fmla="*/ 282773 w 297656"/>
                    <a:gd name="connsiteY3" fmla="*/ 104180 h 104179"/>
                    <a:gd name="connsiteX4" fmla="*/ 297656 w 297656"/>
                    <a:gd name="connsiteY4" fmla="*/ 89297 h 104179"/>
                    <a:gd name="connsiteX5" fmla="*/ 297656 w 297656"/>
                    <a:gd name="connsiteY5" fmla="*/ 0 h 104179"/>
                    <a:gd name="connsiteX6" fmla="*/ 267891 w 297656"/>
                    <a:gd name="connsiteY6" fmla="*/ 0 h 104179"/>
                    <a:gd name="connsiteX7" fmla="*/ 267891 w 297656"/>
                    <a:gd name="connsiteY7" fmla="*/ 74414 h 104179"/>
                    <a:gd name="connsiteX8" fmla="*/ 29766 w 297656"/>
                    <a:gd name="connsiteY8" fmla="*/ 74414 h 104179"/>
                    <a:gd name="connsiteX9" fmla="*/ 29766 w 297656"/>
                    <a:gd name="connsiteY9" fmla="*/ 0 h 104179"/>
                    <a:gd name="connsiteX10" fmla="*/ 0 w 297656"/>
                    <a:gd name="connsiteY10" fmla="*/ 0 h 10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656" h="104179">
                      <a:moveTo>
                        <a:pt x="0" y="0"/>
                      </a:moveTo>
                      <a:lnTo>
                        <a:pt x="0" y="89297"/>
                      </a:lnTo>
                      <a:cubicBezTo>
                        <a:pt x="0" y="97527"/>
                        <a:pt x="6653" y="104180"/>
                        <a:pt x="14883" y="104180"/>
                      </a:cubicBezTo>
                      <a:lnTo>
                        <a:pt x="282773" y="104180"/>
                      </a:lnTo>
                      <a:cubicBezTo>
                        <a:pt x="291004" y="104180"/>
                        <a:pt x="297656" y="97527"/>
                        <a:pt x="297656" y="89297"/>
                      </a:cubicBezTo>
                      <a:lnTo>
                        <a:pt x="297656" y="0"/>
                      </a:lnTo>
                      <a:lnTo>
                        <a:pt x="267891" y="0"/>
                      </a:lnTo>
                      <a:lnTo>
                        <a:pt x="267891" y="74414"/>
                      </a:lnTo>
                      <a:lnTo>
                        <a:pt x="29766" y="74414"/>
                      </a:lnTo>
                      <a:lnTo>
                        <a:pt x="29766" y="0"/>
                      </a:lnTo>
                      <a:lnTo>
                        <a:pt x="0" y="0"/>
                      </a:lnTo>
                      <a:close/>
                    </a:path>
                  </a:pathLst>
                </a:custGeom>
                <a:solidFill>
                  <a:schemeClr val="tx1">
                    <a:lumMod val="75000"/>
                    <a:lumOff val="25000"/>
                  </a:schemeClr>
                </a:solidFill>
                <a:ln w="14883" cap="flat">
                  <a:noFill/>
                  <a:prstDash val="solid"/>
                  <a:miter/>
                </a:ln>
              </p:spPr>
              <p:txBody>
                <a:bodyPr tIns="548640" rtlCol="0" anchor="b"/>
                <a:lstStyle/>
                <a:p>
                  <a:endParaRPr lang="en-US" dirty="0"/>
                </a:p>
              </p:txBody>
            </p:sp>
            <p:sp>
              <p:nvSpPr>
                <p:cNvPr id="357" name="Freeform: Shape 356">
                  <a:extLst>
                    <a:ext uri="{FF2B5EF4-FFF2-40B4-BE49-F238E27FC236}">
                      <a16:creationId xmlns:a16="http://schemas.microsoft.com/office/drawing/2014/main" id="{CD05205F-60ED-48D7-8334-B9D3613A84CF}"/>
                    </a:ext>
                  </a:extLst>
                </p:cNvPr>
                <p:cNvSpPr/>
                <p:nvPr/>
              </p:nvSpPr>
              <p:spPr>
                <a:xfrm>
                  <a:off x="-1071110" y="4499943"/>
                  <a:ext cx="625078" cy="476250"/>
                </a:xfrm>
                <a:custGeom>
                  <a:avLst/>
                  <a:gdLst>
                    <a:gd name="connsiteX0" fmla="*/ 610195 w 625078"/>
                    <a:gd name="connsiteY0" fmla="*/ 0 h 476250"/>
                    <a:gd name="connsiteX1" fmla="*/ 14883 w 625078"/>
                    <a:gd name="connsiteY1" fmla="*/ 0 h 476250"/>
                    <a:gd name="connsiteX2" fmla="*/ 0 w 625078"/>
                    <a:gd name="connsiteY2" fmla="*/ 14883 h 476250"/>
                    <a:gd name="connsiteX3" fmla="*/ 0 w 625078"/>
                    <a:gd name="connsiteY3" fmla="*/ 476250 h 476250"/>
                    <a:gd name="connsiteX4" fmla="*/ 625078 w 625078"/>
                    <a:gd name="connsiteY4" fmla="*/ 476250 h 476250"/>
                    <a:gd name="connsiteX5" fmla="*/ 625078 w 625078"/>
                    <a:gd name="connsiteY5" fmla="*/ 14883 h 476250"/>
                    <a:gd name="connsiteX6" fmla="*/ 610195 w 625078"/>
                    <a:gd name="connsiteY6" fmla="*/ 0 h 476250"/>
                    <a:gd name="connsiteX7" fmla="*/ 518234 w 625078"/>
                    <a:gd name="connsiteY7" fmla="*/ 204698 h 476250"/>
                    <a:gd name="connsiteX8" fmla="*/ 488841 w 625078"/>
                    <a:gd name="connsiteY8" fmla="*/ 209461 h 476250"/>
                    <a:gd name="connsiteX9" fmla="*/ 482218 w 625078"/>
                    <a:gd name="connsiteY9" fmla="*/ 182270 h 476250"/>
                    <a:gd name="connsiteX10" fmla="*/ 510480 w 625078"/>
                    <a:gd name="connsiteY10" fmla="*/ 172938 h 476250"/>
                    <a:gd name="connsiteX11" fmla="*/ 518234 w 625078"/>
                    <a:gd name="connsiteY11" fmla="*/ 204698 h 476250"/>
                    <a:gd name="connsiteX12" fmla="*/ 497875 w 625078"/>
                    <a:gd name="connsiteY12" fmla="*/ 142845 h 476250"/>
                    <a:gd name="connsiteX13" fmla="*/ 471398 w 625078"/>
                    <a:gd name="connsiteY13" fmla="*/ 156448 h 476250"/>
                    <a:gd name="connsiteX14" fmla="*/ 456679 w 625078"/>
                    <a:gd name="connsiteY14" fmla="*/ 132636 h 476250"/>
                    <a:gd name="connsiteX15" fmla="*/ 480685 w 625078"/>
                    <a:gd name="connsiteY15" fmla="*/ 115044 h 476250"/>
                    <a:gd name="connsiteX16" fmla="*/ 497875 w 625078"/>
                    <a:gd name="connsiteY16" fmla="*/ 142845 h 476250"/>
                    <a:gd name="connsiteX17" fmla="*/ 434459 w 625078"/>
                    <a:gd name="connsiteY17" fmla="*/ 69146 h 476250"/>
                    <a:gd name="connsiteX18" fmla="*/ 459358 w 625078"/>
                    <a:gd name="connsiteY18" fmla="*/ 90279 h 476250"/>
                    <a:gd name="connsiteX19" fmla="*/ 438403 w 625078"/>
                    <a:gd name="connsiteY19" fmla="*/ 111413 h 476250"/>
                    <a:gd name="connsiteX20" fmla="*/ 417016 w 625078"/>
                    <a:gd name="connsiteY20" fmla="*/ 93271 h 476250"/>
                    <a:gd name="connsiteX21" fmla="*/ 434459 w 625078"/>
                    <a:gd name="connsiteY21" fmla="*/ 69146 h 476250"/>
                    <a:gd name="connsiteX22" fmla="*/ 376282 w 625078"/>
                    <a:gd name="connsiteY22" fmla="*/ 39707 h 476250"/>
                    <a:gd name="connsiteX23" fmla="*/ 406524 w 625078"/>
                    <a:gd name="connsiteY23" fmla="*/ 52120 h 476250"/>
                    <a:gd name="connsiteX24" fmla="*/ 393100 w 625078"/>
                    <a:gd name="connsiteY24" fmla="*/ 78685 h 476250"/>
                    <a:gd name="connsiteX25" fmla="*/ 367189 w 625078"/>
                    <a:gd name="connsiteY25" fmla="*/ 68044 h 476250"/>
                    <a:gd name="connsiteX26" fmla="*/ 376282 w 625078"/>
                    <a:gd name="connsiteY26" fmla="*/ 39707 h 476250"/>
                    <a:gd name="connsiteX27" fmla="*/ 312539 w 625078"/>
                    <a:gd name="connsiteY27" fmla="*/ 29766 h 476250"/>
                    <a:gd name="connsiteX28" fmla="*/ 344463 w 625078"/>
                    <a:gd name="connsiteY28" fmla="*/ 32192 h 476250"/>
                    <a:gd name="connsiteX29" fmla="*/ 339953 w 625078"/>
                    <a:gd name="connsiteY29" fmla="*/ 61615 h 476250"/>
                    <a:gd name="connsiteX30" fmla="*/ 312539 w 625078"/>
                    <a:gd name="connsiteY30" fmla="*/ 59531 h 476250"/>
                    <a:gd name="connsiteX31" fmla="*/ 311944 w 625078"/>
                    <a:gd name="connsiteY31" fmla="*/ 29766 h 476250"/>
                    <a:gd name="connsiteX32" fmla="*/ 312539 w 625078"/>
                    <a:gd name="connsiteY32" fmla="*/ 29766 h 476250"/>
                    <a:gd name="connsiteX33" fmla="*/ 279336 w 625078"/>
                    <a:gd name="connsiteY33" fmla="*/ 32385 h 476250"/>
                    <a:gd name="connsiteX34" fmla="*/ 284098 w 625078"/>
                    <a:gd name="connsiteY34" fmla="*/ 61779 h 476250"/>
                    <a:gd name="connsiteX35" fmla="*/ 256862 w 625078"/>
                    <a:gd name="connsiteY35" fmla="*/ 68387 h 476250"/>
                    <a:gd name="connsiteX36" fmla="*/ 247590 w 625078"/>
                    <a:gd name="connsiteY36" fmla="*/ 40109 h 476250"/>
                    <a:gd name="connsiteX37" fmla="*/ 279336 w 625078"/>
                    <a:gd name="connsiteY37" fmla="*/ 32385 h 476250"/>
                    <a:gd name="connsiteX38" fmla="*/ 217408 w 625078"/>
                    <a:gd name="connsiteY38" fmla="*/ 52700 h 476250"/>
                    <a:gd name="connsiteX39" fmla="*/ 231011 w 625078"/>
                    <a:gd name="connsiteY39" fmla="*/ 79177 h 476250"/>
                    <a:gd name="connsiteX40" fmla="*/ 207184 w 625078"/>
                    <a:gd name="connsiteY40" fmla="*/ 93881 h 476250"/>
                    <a:gd name="connsiteX41" fmla="*/ 189592 w 625078"/>
                    <a:gd name="connsiteY41" fmla="*/ 69875 h 476250"/>
                    <a:gd name="connsiteX42" fmla="*/ 217408 w 625078"/>
                    <a:gd name="connsiteY42" fmla="*/ 52700 h 476250"/>
                    <a:gd name="connsiteX43" fmla="*/ 164842 w 625078"/>
                    <a:gd name="connsiteY43" fmla="*/ 91157 h 476250"/>
                    <a:gd name="connsiteX44" fmla="*/ 185946 w 625078"/>
                    <a:gd name="connsiteY44" fmla="*/ 112142 h 476250"/>
                    <a:gd name="connsiteX45" fmla="*/ 167774 w 625078"/>
                    <a:gd name="connsiteY45" fmla="*/ 133499 h 476250"/>
                    <a:gd name="connsiteX46" fmla="*/ 143679 w 625078"/>
                    <a:gd name="connsiteY46" fmla="*/ 116056 h 476250"/>
                    <a:gd name="connsiteX47" fmla="*/ 164842 w 625078"/>
                    <a:gd name="connsiteY47" fmla="*/ 91157 h 476250"/>
                    <a:gd name="connsiteX48" fmla="*/ 126623 w 625078"/>
                    <a:gd name="connsiteY48" fmla="*/ 143947 h 476250"/>
                    <a:gd name="connsiteX49" fmla="*/ 153189 w 625078"/>
                    <a:gd name="connsiteY49" fmla="*/ 157401 h 476250"/>
                    <a:gd name="connsiteX50" fmla="*/ 142518 w 625078"/>
                    <a:gd name="connsiteY50" fmla="*/ 183297 h 476250"/>
                    <a:gd name="connsiteX51" fmla="*/ 114181 w 625078"/>
                    <a:gd name="connsiteY51" fmla="*/ 174174 h 476250"/>
                    <a:gd name="connsiteX52" fmla="*/ 126623 w 625078"/>
                    <a:gd name="connsiteY52" fmla="*/ 143947 h 476250"/>
                    <a:gd name="connsiteX53" fmla="*/ 104180 w 625078"/>
                    <a:gd name="connsiteY53" fmla="*/ 238125 h 476250"/>
                    <a:gd name="connsiteX54" fmla="*/ 106650 w 625078"/>
                    <a:gd name="connsiteY54" fmla="*/ 205993 h 476250"/>
                    <a:gd name="connsiteX55" fmla="*/ 136074 w 625078"/>
                    <a:gd name="connsiteY55" fmla="*/ 210562 h 476250"/>
                    <a:gd name="connsiteX56" fmla="*/ 133945 w 625078"/>
                    <a:gd name="connsiteY56" fmla="*/ 238125 h 476250"/>
                    <a:gd name="connsiteX57" fmla="*/ 104180 w 625078"/>
                    <a:gd name="connsiteY57" fmla="*/ 238512 h 476250"/>
                    <a:gd name="connsiteX58" fmla="*/ 104180 w 625078"/>
                    <a:gd name="connsiteY58" fmla="*/ 238125 h 476250"/>
                    <a:gd name="connsiteX59" fmla="*/ 106769 w 625078"/>
                    <a:gd name="connsiteY59" fmla="*/ 271105 h 476250"/>
                    <a:gd name="connsiteX60" fmla="*/ 136163 w 625078"/>
                    <a:gd name="connsiteY60" fmla="*/ 266432 h 476250"/>
                    <a:gd name="connsiteX61" fmla="*/ 142741 w 625078"/>
                    <a:gd name="connsiteY61" fmla="*/ 293653 h 476250"/>
                    <a:gd name="connsiteX62" fmla="*/ 114434 w 625078"/>
                    <a:gd name="connsiteY62" fmla="*/ 302895 h 476250"/>
                    <a:gd name="connsiteX63" fmla="*/ 106769 w 625078"/>
                    <a:gd name="connsiteY63" fmla="*/ 271105 h 476250"/>
                    <a:gd name="connsiteX64" fmla="*/ 127025 w 625078"/>
                    <a:gd name="connsiteY64" fmla="*/ 333063 h 476250"/>
                    <a:gd name="connsiteX65" fmla="*/ 153501 w 625078"/>
                    <a:gd name="connsiteY65" fmla="*/ 319489 h 476250"/>
                    <a:gd name="connsiteX66" fmla="*/ 168191 w 625078"/>
                    <a:gd name="connsiteY66" fmla="*/ 343346 h 476250"/>
                    <a:gd name="connsiteX67" fmla="*/ 144155 w 625078"/>
                    <a:gd name="connsiteY67" fmla="*/ 360878 h 476250"/>
                    <a:gd name="connsiteX68" fmla="*/ 127025 w 625078"/>
                    <a:gd name="connsiteY68" fmla="*/ 333063 h 476250"/>
                    <a:gd name="connsiteX69" fmla="*/ 190292 w 625078"/>
                    <a:gd name="connsiteY69" fmla="*/ 406866 h 476250"/>
                    <a:gd name="connsiteX70" fmla="*/ 165422 w 625078"/>
                    <a:gd name="connsiteY70" fmla="*/ 385658 h 476250"/>
                    <a:gd name="connsiteX71" fmla="*/ 186437 w 625078"/>
                    <a:gd name="connsiteY71" fmla="*/ 364584 h 476250"/>
                    <a:gd name="connsiteX72" fmla="*/ 207764 w 625078"/>
                    <a:gd name="connsiteY72" fmla="*/ 382771 h 476250"/>
                    <a:gd name="connsiteX73" fmla="*/ 190292 w 625078"/>
                    <a:gd name="connsiteY73" fmla="*/ 406866 h 476250"/>
                    <a:gd name="connsiteX74" fmla="*/ 248394 w 625078"/>
                    <a:gd name="connsiteY74" fmla="*/ 436409 h 476250"/>
                    <a:gd name="connsiteX75" fmla="*/ 218167 w 625078"/>
                    <a:gd name="connsiteY75" fmla="*/ 423937 h 476250"/>
                    <a:gd name="connsiteX76" fmla="*/ 231651 w 625078"/>
                    <a:gd name="connsiteY76" fmla="*/ 397401 h 476250"/>
                    <a:gd name="connsiteX77" fmla="*/ 257547 w 625078"/>
                    <a:gd name="connsiteY77" fmla="*/ 408102 h 476250"/>
                    <a:gd name="connsiteX78" fmla="*/ 248394 w 625078"/>
                    <a:gd name="connsiteY78" fmla="*/ 436409 h 476250"/>
                    <a:gd name="connsiteX79" fmla="*/ 312539 w 625078"/>
                    <a:gd name="connsiteY79" fmla="*/ 446484 h 476250"/>
                    <a:gd name="connsiteX80" fmla="*/ 280184 w 625078"/>
                    <a:gd name="connsiteY80" fmla="*/ 443984 h 476250"/>
                    <a:gd name="connsiteX81" fmla="*/ 284783 w 625078"/>
                    <a:gd name="connsiteY81" fmla="*/ 414561 h 476250"/>
                    <a:gd name="connsiteX82" fmla="*/ 312107 w 625078"/>
                    <a:gd name="connsiteY82" fmla="*/ 416719 h 476250"/>
                    <a:gd name="connsiteX83" fmla="*/ 312747 w 625078"/>
                    <a:gd name="connsiteY83" fmla="*/ 416704 h 476250"/>
                    <a:gd name="connsiteX84" fmla="*/ 312747 w 625078"/>
                    <a:gd name="connsiteY84" fmla="*/ 431616 h 476250"/>
                    <a:gd name="connsiteX85" fmla="*/ 316156 w 625078"/>
                    <a:gd name="connsiteY85" fmla="*/ 446038 h 476250"/>
                    <a:gd name="connsiteX86" fmla="*/ 312539 w 625078"/>
                    <a:gd name="connsiteY86" fmla="*/ 446484 h 476250"/>
                    <a:gd name="connsiteX87" fmla="*/ 289739 w 625078"/>
                    <a:gd name="connsiteY87" fmla="*/ 372070 h 476250"/>
                    <a:gd name="connsiteX88" fmla="*/ 282134 w 625078"/>
                    <a:gd name="connsiteY88" fmla="*/ 364629 h 476250"/>
                    <a:gd name="connsiteX89" fmla="*/ 282134 w 625078"/>
                    <a:gd name="connsiteY89" fmla="*/ 322228 h 476250"/>
                    <a:gd name="connsiteX90" fmla="*/ 251936 w 625078"/>
                    <a:gd name="connsiteY90" fmla="*/ 305961 h 476250"/>
                    <a:gd name="connsiteX91" fmla="*/ 213315 w 625078"/>
                    <a:gd name="connsiteY91" fmla="*/ 327288 h 476250"/>
                    <a:gd name="connsiteX92" fmla="*/ 203031 w 625078"/>
                    <a:gd name="connsiteY92" fmla="*/ 324594 h 476250"/>
                    <a:gd name="connsiteX93" fmla="*/ 179650 w 625078"/>
                    <a:gd name="connsiteY93" fmla="*/ 285854 h 476250"/>
                    <a:gd name="connsiteX94" fmla="*/ 182463 w 625078"/>
                    <a:gd name="connsiteY94" fmla="*/ 275585 h 476250"/>
                    <a:gd name="connsiteX95" fmla="*/ 220816 w 625078"/>
                    <a:gd name="connsiteY95" fmla="*/ 254407 h 476250"/>
                    <a:gd name="connsiteX96" fmla="*/ 219194 w 625078"/>
                    <a:gd name="connsiteY96" fmla="*/ 238125 h 476250"/>
                    <a:gd name="connsiteX97" fmla="*/ 220816 w 625078"/>
                    <a:gd name="connsiteY97" fmla="*/ 221843 h 476250"/>
                    <a:gd name="connsiteX98" fmla="*/ 182463 w 625078"/>
                    <a:gd name="connsiteY98" fmla="*/ 200665 h 476250"/>
                    <a:gd name="connsiteX99" fmla="*/ 179650 w 625078"/>
                    <a:gd name="connsiteY99" fmla="*/ 190396 h 476250"/>
                    <a:gd name="connsiteX100" fmla="*/ 203031 w 625078"/>
                    <a:gd name="connsiteY100" fmla="*/ 151656 h 476250"/>
                    <a:gd name="connsiteX101" fmla="*/ 213315 w 625078"/>
                    <a:gd name="connsiteY101" fmla="*/ 148962 h 476250"/>
                    <a:gd name="connsiteX102" fmla="*/ 251936 w 625078"/>
                    <a:gd name="connsiteY102" fmla="*/ 170289 h 476250"/>
                    <a:gd name="connsiteX103" fmla="*/ 282134 w 625078"/>
                    <a:gd name="connsiteY103" fmla="*/ 154022 h 476250"/>
                    <a:gd name="connsiteX104" fmla="*/ 282134 w 625078"/>
                    <a:gd name="connsiteY104" fmla="*/ 111621 h 476250"/>
                    <a:gd name="connsiteX105" fmla="*/ 289739 w 625078"/>
                    <a:gd name="connsiteY105" fmla="*/ 104180 h 476250"/>
                    <a:gd name="connsiteX106" fmla="*/ 335354 w 625078"/>
                    <a:gd name="connsiteY106" fmla="*/ 104180 h 476250"/>
                    <a:gd name="connsiteX107" fmla="*/ 342960 w 625078"/>
                    <a:gd name="connsiteY107" fmla="*/ 111621 h 476250"/>
                    <a:gd name="connsiteX108" fmla="*/ 342960 w 625078"/>
                    <a:gd name="connsiteY108" fmla="*/ 154022 h 476250"/>
                    <a:gd name="connsiteX109" fmla="*/ 373157 w 625078"/>
                    <a:gd name="connsiteY109" fmla="*/ 170289 h 476250"/>
                    <a:gd name="connsiteX110" fmla="*/ 411778 w 625078"/>
                    <a:gd name="connsiteY110" fmla="*/ 148962 h 476250"/>
                    <a:gd name="connsiteX111" fmla="*/ 422062 w 625078"/>
                    <a:gd name="connsiteY111" fmla="*/ 151656 h 476250"/>
                    <a:gd name="connsiteX112" fmla="*/ 445443 w 625078"/>
                    <a:gd name="connsiteY112" fmla="*/ 190396 h 476250"/>
                    <a:gd name="connsiteX113" fmla="*/ 442630 w 625078"/>
                    <a:gd name="connsiteY113" fmla="*/ 200665 h 476250"/>
                    <a:gd name="connsiteX114" fmla="*/ 404277 w 625078"/>
                    <a:gd name="connsiteY114" fmla="*/ 221843 h 476250"/>
                    <a:gd name="connsiteX115" fmla="*/ 405899 w 625078"/>
                    <a:gd name="connsiteY115" fmla="*/ 238125 h 476250"/>
                    <a:gd name="connsiteX116" fmla="*/ 404277 w 625078"/>
                    <a:gd name="connsiteY116" fmla="*/ 254407 h 476250"/>
                    <a:gd name="connsiteX117" fmla="*/ 442630 w 625078"/>
                    <a:gd name="connsiteY117" fmla="*/ 275585 h 476250"/>
                    <a:gd name="connsiteX118" fmla="*/ 445443 w 625078"/>
                    <a:gd name="connsiteY118" fmla="*/ 285854 h 476250"/>
                    <a:gd name="connsiteX119" fmla="*/ 422062 w 625078"/>
                    <a:gd name="connsiteY119" fmla="*/ 324594 h 476250"/>
                    <a:gd name="connsiteX120" fmla="*/ 411778 w 625078"/>
                    <a:gd name="connsiteY120" fmla="*/ 327288 h 476250"/>
                    <a:gd name="connsiteX121" fmla="*/ 373157 w 625078"/>
                    <a:gd name="connsiteY121" fmla="*/ 305961 h 476250"/>
                    <a:gd name="connsiteX122" fmla="*/ 342960 w 625078"/>
                    <a:gd name="connsiteY122" fmla="*/ 322228 h 476250"/>
                    <a:gd name="connsiteX123" fmla="*/ 342960 w 625078"/>
                    <a:gd name="connsiteY123" fmla="*/ 364629 h 476250"/>
                    <a:gd name="connsiteX124" fmla="*/ 335354 w 625078"/>
                    <a:gd name="connsiteY124" fmla="*/ 372070 h 476250"/>
                    <a:gd name="connsiteX125" fmla="*/ 289739 w 625078"/>
                    <a:gd name="connsiteY125" fmla="*/ 372070 h 476250"/>
                    <a:gd name="connsiteX126" fmla="*/ 345311 w 625078"/>
                    <a:gd name="connsiteY126" fmla="*/ 443895 h 476250"/>
                    <a:gd name="connsiteX127" fmla="*/ 340668 w 625078"/>
                    <a:gd name="connsiteY127" fmla="*/ 414501 h 476250"/>
                    <a:gd name="connsiteX128" fmla="*/ 367903 w 625078"/>
                    <a:gd name="connsiteY128" fmla="*/ 407968 h 476250"/>
                    <a:gd name="connsiteX129" fmla="*/ 377086 w 625078"/>
                    <a:gd name="connsiteY129" fmla="*/ 436275 h 476250"/>
                    <a:gd name="connsiteX130" fmla="*/ 345311 w 625078"/>
                    <a:gd name="connsiteY130" fmla="*/ 443895 h 476250"/>
                    <a:gd name="connsiteX131" fmla="*/ 407283 w 625078"/>
                    <a:gd name="connsiteY131" fmla="*/ 423743 h 476250"/>
                    <a:gd name="connsiteX132" fmla="*/ 393740 w 625078"/>
                    <a:gd name="connsiteY132" fmla="*/ 397237 h 476250"/>
                    <a:gd name="connsiteX133" fmla="*/ 417597 w 625078"/>
                    <a:gd name="connsiteY133" fmla="*/ 382592 h 476250"/>
                    <a:gd name="connsiteX134" fmla="*/ 435129 w 625078"/>
                    <a:gd name="connsiteY134" fmla="*/ 406628 h 476250"/>
                    <a:gd name="connsiteX135" fmla="*/ 407283 w 625078"/>
                    <a:gd name="connsiteY135" fmla="*/ 423743 h 476250"/>
                    <a:gd name="connsiteX136" fmla="*/ 459938 w 625078"/>
                    <a:gd name="connsiteY136" fmla="*/ 385405 h 476250"/>
                    <a:gd name="connsiteX137" fmla="*/ 438864 w 625078"/>
                    <a:gd name="connsiteY137" fmla="*/ 364391 h 476250"/>
                    <a:gd name="connsiteX138" fmla="*/ 457081 w 625078"/>
                    <a:gd name="connsiteY138" fmla="*/ 343064 h 476250"/>
                    <a:gd name="connsiteX139" fmla="*/ 481146 w 625078"/>
                    <a:gd name="connsiteY139" fmla="*/ 360566 h 476250"/>
                    <a:gd name="connsiteX140" fmla="*/ 459938 w 625078"/>
                    <a:gd name="connsiteY140" fmla="*/ 385405 h 476250"/>
                    <a:gd name="connsiteX141" fmla="*/ 498262 w 625078"/>
                    <a:gd name="connsiteY141" fmla="*/ 332690 h 476250"/>
                    <a:gd name="connsiteX142" fmla="*/ 471726 w 625078"/>
                    <a:gd name="connsiteY142" fmla="*/ 319207 h 476250"/>
                    <a:gd name="connsiteX143" fmla="*/ 482456 w 625078"/>
                    <a:gd name="connsiteY143" fmla="*/ 293310 h 476250"/>
                    <a:gd name="connsiteX144" fmla="*/ 510763 w 625078"/>
                    <a:gd name="connsiteY144" fmla="*/ 302493 h 476250"/>
                    <a:gd name="connsiteX145" fmla="*/ 498262 w 625078"/>
                    <a:gd name="connsiteY145" fmla="*/ 332690 h 476250"/>
                    <a:gd name="connsiteX146" fmla="*/ 518353 w 625078"/>
                    <a:gd name="connsiteY146" fmla="*/ 270689 h 476250"/>
                    <a:gd name="connsiteX147" fmla="*/ 488960 w 625078"/>
                    <a:gd name="connsiteY147" fmla="*/ 266045 h 476250"/>
                    <a:gd name="connsiteX148" fmla="*/ 491133 w 625078"/>
                    <a:gd name="connsiteY148" fmla="*/ 238125 h 476250"/>
                    <a:gd name="connsiteX149" fmla="*/ 516106 w 625078"/>
                    <a:gd name="connsiteY149" fmla="*/ 237470 h 476250"/>
                    <a:gd name="connsiteX150" fmla="*/ 520884 w 625078"/>
                    <a:gd name="connsiteY150" fmla="*/ 237530 h 476250"/>
                    <a:gd name="connsiteX151" fmla="*/ 518353 w 625078"/>
                    <a:gd name="connsiteY151" fmla="*/ 270689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625078" h="476250">
                      <a:moveTo>
                        <a:pt x="610195" y="0"/>
                      </a:moveTo>
                      <a:lnTo>
                        <a:pt x="14883" y="0"/>
                      </a:lnTo>
                      <a:cubicBezTo>
                        <a:pt x="6667" y="0"/>
                        <a:pt x="0" y="6667"/>
                        <a:pt x="0" y="14883"/>
                      </a:cubicBezTo>
                      <a:lnTo>
                        <a:pt x="0" y="476250"/>
                      </a:lnTo>
                      <a:lnTo>
                        <a:pt x="625078" y="476250"/>
                      </a:lnTo>
                      <a:lnTo>
                        <a:pt x="625078" y="14883"/>
                      </a:lnTo>
                      <a:cubicBezTo>
                        <a:pt x="625078" y="6667"/>
                        <a:pt x="618411" y="0"/>
                        <a:pt x="610195" y="0"/>
                      </a:cubicBezTo>
                      <a:close/>
                      <a:moveTo>
                        <a:pt x="518234" y="204698"/>
                      </a:moveTo>
                      <a:lnTo>
                        <a:pt x="488841" y="209461"/>
                      </a:lnTo>
                      <a:cubicBezTo>
                        <a:pt x="487338" y="200204"/>
                        <a:pt x="485105" y="191066"/>
                        <a:pt x="482218" y="182270"/>
                      </a:cubicBezTo>
                      <a:lnTo>
                        <a:pt x="510480" y="172938"/>
                      </a:lnTo>
                      <a:cubicBezTo>
                        <a:pt x="513874" y="183222"/>
                        <a:pt x="516478" y="193893"/>
                        <a:pt x="518234" y="204698"/>
                      </a:cubicBezTo>
                      <a:close/>
                      <a:moveTo>
                        <a:pt x="497875" y="142845"/>
                      </a:moveTo>
                      <a:lnTo>
                        <a:pt x="471398" y="156448"/>
                      </a:lnTo>
                      <a:cubicBezTo>
                        <a:pt x="467171" y="148218"/>
                        <a:pt x="462216" y="140196"/>
                        <a:pt x="456679" y="132636"/>
                      </a:cubicBezTo>
                      <a:lnTo>
                        <a:pt x="480685" y="115044"/>
                      </a:lnTo>
                      <a:cubicBezTo>
                        <a:pt x="487129" y="123870"/>
                        <a:pt x="492919" y="133216"/>
                        <a:pt x="497875" y="142845"/>
                      </a:cubicBezTo>
                      <a:close/>
                      <a:moveTo>
                        <a:pt x="434459" y="69146"/>
                      </a:moveTo>
                      <a:cubicBezTo>
                        <a:pt x="443255" y="75501"/>
                        <a:pt x="451619" y="82600"/>
                        <a:pt x="459358" y="90279"/>
                      </a:cubicBezTo>
                      <a:lnTo>
                        <a:pt x="438403" y="111413"/>
                      </a:lnTo>
                      <a:cubicBezTo>
                        <a:pt x="431765" y="104835"/>
                        <a:pt x="424562" y="98718"/>
                        <a:pt x="417016" y="93271"/>
                      </a:cubicBezTo>
                      <a:lnTo>
                        <a:pt x="434459" y="69146"/>
                      </a:lnTo>
                      <a:close/>
                      <a:moveTo>
                        <a:pt x="376282" y="39707"/>
                      </a:moveTo>
                      <a:cubicBezTo>
                        <a:pt x="386655" y="43041"/>
                        <a:pt x="396835" y="47223"/>
                        <a:pt x="406524" y="52120"/>
                      </a:cubicBezTo>
                      <a:lnTo>
                        <a:pt x="393100" y="78685"/>
                      </a:lnTo>
                      <a:cubicBezTo>
                        <a:pt x="384780" y="74488"/>
                        <a:pt x="376059" y="70902"/>
                        <a:pt x="367189" y="68044"/>
                      </a:cubicBezTo>
                      <a:lnTo>
                        <a:pt x="376282" y="39707"/>
                      </a:lnTo>
                      <a:close/>
                      <a:moveTo>
                        <a:pt x="312539" y="29766"/>
                      </a:moveTo>
                      <a:cubicBezTo>
                        <a:pt x="323240" y="29766"/>
                        <a:pt x="333955" y="30584"/>
                        <a:pt x="344463" y="32192"/>
                      </a:cubicBezTo>
                      <a:lnTo>
                        <a:pt x="339953" y="61615"/>
                      </a:lnTo>
                      <a:cubicBezTo>
                        <a:pt x="330934" y="60231"/>
                        <a:pt x="321722" y="59531"/>
                        <a:pt x="312539" y="59531"/>
                      </a:cubicBezTo>
                      <a:lnTo>
                        <a:pt x="311944" y="29766"/>
                      </a:lnTo>
                      <a:lnTo>
                        <a:pt x="312539" y="29766"/>
                      </a:lnTo>
                      <a:close/>
                      <a:moveTo>
                        <a:pt x="279336" y="32385"/>
                      </a:moveTo>
                      <a:lnTo>
                        <a:pt x="284098" y="61779"/>
                      </a:lnTo>
                      <a:cubicBezTo>
                        <a:pt x="274811" y="63297"/>
                        <a:pt x="265643" y="65514"/>
                        <a:pt x="256862" y="68387"/>
                      </a:cubicBezTo>
                      <a:lnTo>
                        <a:pt x="247590" y="40109"/>
                      </a:lnTo>
                      <a:cubicBezTo>
                        <a:pt x="257815" y="36746"/>
                        <a:pt x="268501" y="34141"/>
                        <a:pt x="279336" y="32385"/>
                      </a:cubicBezTo>
                      <a:close/>
                      <a:moveTo>
                        <a:pt x="217408" y="52700"/>
                      </a:moveTo>
                      <a:lnTo>
                        <a:pt x="231011" y="79177"/>
                      </a:lnTo>
                      <a:cubicBezTo>
                        <a:pt x="222721" y="83418"/>
                        <a:pt x="214714" y="88374"/>
                        <a:pt x="207184" y="93881"/>
                      </a:cubicBezTo>
                      <a:lnTo>
                        <a:pt x="189592" y="69875"/>
                      </a:lnTo>
                      <a:cubicBezTo>
                        <a:pt x="198388" y="63445"/>
                        <a:pt x="207749" y="57671"/>
                        <a:pt x="217408" y="52700"/>
                      </a:cubicBezTo>
                      <a:close/>
                      <a:moveTo>
                        <a:pt x="164842" y="91157"/>
                      </a:moveTo>
                      <a:lnTo>
                        <a:pt x="185946" y="112142"/>
                      </a:lnTo>
                      <a:cubicBezTo>
                        <a:pt x="179353" y="118780"/>
                        <a:pt x="173236" y="125968"/>
                        <a:pt x="167774" y="133499"/>
                      </a:cubicBezTo>
                      <a:lnTo>
                        <a:pt x="143679" y="116056"/>
                      </a:lnTo>
                      <a:cubicBezTo>
                        <a:pt x="150034" y="107275"/>
                        <a:pt x="157162" y="98896"/>
                        <a:pt x="164842" y="91157"/>
                      </a:cubicBezTo>
                      <a:close/>
                      <a:moveTo>
                        <a:pt x="126623" y="143947"/>
                      </a:moveTo>
                      <a:lnTo>
                        <a:pt x="153189" y="157401"/>
                      </a:lnTo>
                      <a:cubicBezTo>
                        <a:pt x="148947" y="165765"/>
                        <a:pt x="145360" y="174471"/>
                        <a:pt x="142518" y="183297"/>
                      </a:cubicBezTo>
                      <a:lnTo>
                        <a:pt x="114181" y="174174"/>
                      </a:lnTo>
                      <a:cubicBezTo>
                        <a:pt x="117500" y="163890"/>
                        <a:pt x="121682" y="153710"/>
                        <a:pt x="126623" y="143947"/>
                      </a:cubicBezTo>
                      <a:close/>
                      <a:moveTo>
                        <a:pt x="104180" y="238125"/>
                      </a:moveTo>
                      <a:cubicBezTo>
                        <a:pt x="104180" y="227350"/>
                        <a:pt x="105013" y="216545"/>
                        <a:pt x="106650" y="205993"/>
                      </a:cubicBezTo>
                      <a:lnTo>
                        <a:pt x="136074" y="210562"/>
                      </a:lnTo>
                      <a:cubicBezTo>
                        <a:pt x="134660" y="219611"/>
                        <a:pt x="133945" y="228883"/>
                        <a:pt x="133945" y="238125"/>
                      </a:cubicBezTo>
                      <a:lnTo>
                        <a:pt x="104180" y="238512"/>
                      </a:lnTo>
                      <a:lnTo>
                        <a:pt x="104180" y="238125"/>
                      </a:lnTo>
                      <a:close/>
                      <a:moveTo>
                        <a:pt x="106769" y="271105"/>
                      </a:moveTo>
                      <a:lnTo>
                        <a:pt x="136163" y="266432"/>
                      </a:lnTo>
                      <a:cubicBezTo>
                        <a:pt x="137636" y="275615"/>
                        <a:pt x="139839" y="284783"/>
                        <a:pt x="142741" y="293653"/>
                      </a:cubicBezTo>
                      <a:lnTo>
                        <a:pt x="114434" y="302895"/>
                      </a:lnTo>
                      <a:cubicBezTo>
                        <a:pt x="111056" y="292522"/>
                        <a:pt x="108481" y="281851"/>
                        <a:pt x="106769" y="271105"/>
                      </a:cubicBezTo>
                      <a:close/>
                      <a:moveTo>
                        <a:pt x="127025" y="333063"/>
                      </a:moveTo>
                      <a:lnTo>
                        <a:pt x="153501" y="319489"/>
                      </a:lnTo>
                      <a:cubicBezTo>
                        <a:pt x="157743" y="327749"/>
                        <a:pt x="162684" y="335771"/>
                        <a:pt x="168191" y="343346"/>
                      </a:cubicBezTo>
                      <a:lnTo>
                        <a:pt x="144155" y="360878"/>
                      </a:lnTo>
                      <a:cubicBezTo>
                        <a:pt x="137726" y="352053"/>
                        <a:pt x="131966" y="342692"/>
                        <a:pt x="127025" y="333063"/>
                      </a:cubicBezTo>
                      <a:close/>
                      <a:moveTo>
                        <a:pt x="190292" y="406866"/>
                      </a:moveTo>
                      <a:cubicBezTo>
                        <a:pt x="181481" y="400467"/>
                        <a:pt x="173117" y="393353"/>
                        <a:pt x="165422" y="385658"/>
                      </a:cubicBezTo>
                      <a:lnTo>
                        <a:pt x="186437" y="364584"/>
                      </a:lnTo>
                      <a:cubicBezTo>
                        <a:pt x="193045" y="371177"/>
                        <a:pt x="200218" y="377294"/>
                        <a:pt x="207764" y="382771"/>
                      </a:cubicBezTo>
                      <a:lnTo>
                        <a:pt x="190292" y="406866"/>
                      </a:lnTo>
                      <a:close/>
                      <a:moveTo>
                        <a:pt x="248394" y="436409"/>
                      </a:moveTo>
                      <a:cubicBezTo>
                        <a:pt x="238051" y="433060"/>
                        <a:pt x="227871" y="428863"/>
                        <a:pt x="218167" y="423937"/>
                      </a:cubicBezTo>
                      <a:lnTo>
                        <a:pt x="231651" y="397401"/>
                      </a:lnTo>
                      <a:cubicBezTo>
                        <a:pt x="239970" y="401628"/>
                        <a:pt x="248692" y="405214"/>
                        <a:pt x="257547" y="408102"/>
                      </a:cubicBezTo>
                      <a:lnTo>
                        <a:pt x="248394" y="436409"/>
                      </a:lnTo>
                      <a:close/>
                      <a:moveTo>
                        <a:pt x="312539" y="446484"/>
                      </a:moveTo>
                      <a:cubicBezTo>
                        <a:pt x="301734" y="446484"/>
                        <a:pt x="290855" y="445636"/>
                        <a:pt x="280184" y="443984"/>
                      </a:cubicBezTo>
                      <a:lnTo>
                        <a:pt x="284783" y="414561"/>
                      </a:lnTo>
                      <a:cubicBezTo>
                        <a:pt x="293772" y="415975"/>
                        <a:pt x="302984" y="416689"/>
                        <a:pt x="312107" y="416719"/>
                      </a:cubicBezTo>
                      <a:cubicBezTo>
                        <a:pt x="312331" y="416704"/>
                        <a:pt x="312539" y="416704"/>
                        <a:pt x="312747" y="416704"/>
                      </a:cubicBezTo>
                      <a:lnTo>
                        <a:pt x="312747" y="431616"/>
                      </a:lnTo>
                      <a:lnTo>
                        <a:pt x="316156" y="446038"/>
                      </a:lnTo>
                      <a:cubicBezTo>
                        <a:pt x="314965" y="446336"/>
                        <a:pt x="313759" y="446484"/>
                        <a:pt x="312539" y="446484"/>
                      </a:cubicBezTo>
                      <a:close/>
                      <a:moveTo>
                        <a:pt x="289739" y="372070"/>
                      </a:moveTo>
                      <a:cubicBezTo>
                        <a:pt x="285542" y="372070"/>
                        <a:pt x="282134" y="368737"/>
                        <a:pt x="282134" y="364629"/>
                      </a:cubicBezTo>
                      <a:lnTo>
                        <a:pt x="282134" y="322228"/>
                      </a:lnTo>
                      <a:cubicBezTo>
                        <a:pt x="271239" y="318537"/>
                        <a:pt x="260553" y="313015"/>
                        <a:pt x="251936" y="305961"/>
                      </a:cubicBezTo>
                      <a:lnTo>
                        <a:pt x="213315" y="327288"/>
                      </a:lnTo>
                      <a:cubicBezTo>
                        <a:pt x="209714" y="329282"/>
                        <a:pt x="205145" y="328077"/>
                        <a:pt x="203031" y="324594"/>
                      </a:cubicBezTo>
                      <a:lnTo>
                        <a:pt x="179650" y="285854"/>
                      </a:lnTo>
                      <a:cubicBezTo>
                        <a:pt x="177478" y="282267"/>
                        <a:pt x="178757" y="277639"/>
                        <a:pt x="182463" y="275585"/>
                      </a:cubicBezTo>
                      <a:lnTo>
                        <a:pt x="220816" y="254407"/>
                      </a:lnTo>
                      <a:cubicBezTo>
                        <a:pt x="219789" y="249123"/>
                        <a:pt x="219194" y="243691"/>
                        <a:pt x="219194" y="238125"/>
                      </a:cubicBezTo>
                      <a:cubicBezTo>
                        <a:pt x="219194" y="232559"/>
                        <a:pt x="219804" y="227127"/>
                        <a:pt x="220816" y="221843"/>
                      </a:cubicBezTo>
                      <a:lnTo>
                        <a:pt x="182463" y="200665"/>
                      </a:lnTo>
                      <a:cubicBezTo>
                        <a:pt x="178757" y="198611"/>
                        <a:pt x="177492" y="193983"/>
                        <a:pt x="179650" y="190396"/>
                      </a:cubicBezTo>
                      <a:lnTo>
                        <a:pt x="203031" y="151656"/>
                      </a:lnTo>
                      <a:cubicBezTo>
                        <a:pt x="205130" y="148173"/>
                        <a:pt x="209699" y="146968"/>
                        <a:pt x="213315" y="148962"/>
                      </a:cubicBezTo>
                      <a:lnTo>
                        <a:pt x="251936" y="170289"/>
                      </a:lnTo>
                      <a:cubicBezTo>
                        <a:pt x="260553" y="163235"/>
                        <a:pt x="271239" y="157713"/>
                        <a:pt x="282134" y="154022"/>
                      </a:cubicBezTo>
                      <a:lnTo>
                        <a:pt x="282134" y="111621"/>
                      </a:lnTo>
                      <a:cubicBezTo>
                        <a:pt x="282134" y="107513"/>
                        <a:pt x="285542" y="104180"/>
                        <a:pt x="289739" y="104180"/>
                      </a:cubicBezTo>
                      <a:lnTo>
                        <a:pt x="335354" y="104180"/>
                      </a:lnTo>
                      <a:cubicBezTo>
                        <a:pt x="339551" y="104180"/>
                        <a:pt x="342960" y="107513"/>
                        <a:pt x="342960" y="111621"/>
                      </a:cubicBezTo>
                      <a:lnTo>
                        <a:pt x="342960" y="154022"/>
                      </a:lnTo>
                      <a:cubicBezTo>
                        <a:pt x="353854" y="157713"/>
                        <a:pt x="364554" y="163235"/>
                        <a:pt x="373157" y="170289"/>
                      </a:cubicBezTo>
                      <a:lnTo>
                        <a:pt x="411778" y="148962"/>
                      </a:lnTo>
                      <a:cubicBezTo>
                        <a:pt x="415379" y="146968"/>
                        <a:pt x="419948" y="148173"/>
                        <a:pt x="422062" y="151656"/>
                      </a:cubicBezTo>
                      <a:lnTo>
                        <a:pt x="445443" y="190396"/>
                      </a:lnTo>
                      <a:cubicBezTo>
                        <a:pt x="447615" y="193983"/>
                        <a:pt x="446336" y="198611"/>
                        <a:pt x="442630" y="200665"/>
                      </a:cubicBezTo>
                      <a:lnTo>
                        <a:pt x="404277" y="221843"/>
                      </a:lnTo>
                      <a:cubicBezTo>
                        <a:pt x="405304" y="227127"/>
                        <a:pt x="405899" y="232559"/>
                        <a:pt x="405899" y="238125"/>
                      </a:cubicBezTo>
                      <a:cubicBezTo>
                        <a:pt x="405899" y="243691"/>
                        <a:pt x="405289" y="249123"/>
                        <a:pt x="404277" y="254407"/>
                      </a:cubicBezTo>
                      <a:lnTo>
                        <a:pt x="442630" y="275585"/>
                      </a:lnTo>
                      <a:cubicBezTo>
                        <a:pt x="446336" y="277639"/>
                        <a:pt x="447601" y="282267"/>
                        <a:pt x="445443" y="285854"/>
                      </a:cubicBezTo>
                      <a:lnTo>
                        <a:pt x="422062" y="324594"/>
                      </a:lnTo>
                      <a:cubicBezTo>
                        <a:pt x="419963" y="328077"/>
                        <a:pt x="415394" y="329282"/>
                        <a:pt x="411778" y="327288"/>
                      </a:cubicBezTo>
                      <a:lnTo>
                        <a:pt x="373157" y="305961"/>
                      </a:lnTo>
                      <a:cubicBezTo>
                        <a:pt x="364540" y="313015"/>
                        <a:pt x="353854" y="318537"/>
                        <a:pt x="342960" y="322228"/>
                      </a:cubicBezTo>
                      <a:lnTo>
                        <a:pt x="342960" y="364629"/>
                      </a:lnTo>
                      <a:cubicBezTo>
                        <a:pt x="342960" y="368737"/>
                        <a:pt x="339551" y="372070"/>
                        <a:pt x="335354" y="372070"/>
                      </a:cubicBezTo>
                      <a:lnTo>
                        <a:pt x="289739" y="372070"/>
                      </a:lnTo>
                      <a:close/>
                      <a:moveTo>
                        <a:pt x="345311" y="443895"/>
                      </a:moveTo>
                      <a:lnTo>
                        <a:pt x="340668" y="414501"/>
                      </a:lnTo>
                      <a:cubicBezTo>
                        <a:pt x="349865" y="413043"/>
                        <a:pt x="359018" y="410840"/>
                        <a:pt x="367903" y="407968"/>
                      </a:cubicBezTo>
                      <a:lnTo>
                        <a:pt x="377086" y="436275"/>
                      </a:lnTo>
                      <a:cubicBezTo>
                        <a:pt x="366742" y="439638"/>
                        <a:pt x="356042" y="442213"/>
                        <a:pt x="345311" y="443895"/>
                      </a:cubicBezTo>
                      <a:close/>
                      <a:moveTo>
                        <a:pt x="407283" y="423743"/>
                      </a:moveTo>
                      <a:lnTo>
                        <a:pt x="393740" y="397237"/>
                      </a:lnTo>
                      <a:cubicBezTo>
                        <a:pt x="402015" y="393025"/>
                        <a:pt x="410036" y="388084"/>
                        <a:pt x="417597" y="382592"/>
                      </a:cubicBezTo>
                      <a:lnTo>
                        <a:pt x="435129" y="406628"/>
                      </a:lnTo>
                      <a:cubicBezTo>
                        <a:pt x="426318" y="413043"/>
                        <a:pt x="416942" y="418817"/>
                        <a:pt x="407283" y="423743"/>
                      </a:cubicBezTo>
                      <a:close/>
                      <a:moveTo>
                        <a:pt x="459938" y="385405"/>
                      </a:moveTo>
                      <a:lnTo>
                        <a:pt x="438864" y="364391"/>
                      </a:lnTo>
                      <a:cubicBezTo>
                        <a:pt x="445472" y="357768"/>
                        <a:pt x="451604" y="350580"/>
                        <a:pt x="457081" y="343064"/>
                      </a:cubicBezTo>
                      <a:lnTo>
                        <a:pt x="481146" y="360566"/>
                      </a:lnTo>
                      <a:cubicBezTo>
                        <a:pt x="474777" y="369317"/>
                        <a:pt x="467648" y="377681"/>
                        <a:pt x="459938" y="385405"/>
                      </a:cubicBezTo>
                      <a:close/>
                      <a:moveTo>
                        <a:pt x="498262" y="332690"/>
                      </a:moveTo>
                      <a:lnTo>
                        <a:pt x="471726" y="319207"/>
                      </a:lnTo>
                      <a:cubicBezTo>
                        <a:pt x="475967" y="310872"/>
                        <a:pt x="479569" y="302151"/>
                        <a:pt x="482456" y="293310"/>
                      </a:cubicBezTo>
                      <a:lnTo>
                        <a:pt x="510763" y="302493"/>
                      </a:lnTo>
                      <a:cubicBezTo>
                        <a:pt x="507415" y="312837"/>
                        <a:pt x="503203" y="322987"/>
                        <a:pt x="498262" y="332690"/>
                      </a:cubicBezTo>
                      <a:close/>
                      <a:moveTo>
                        <a:pt x="518353" y="270689"/>
                      </a:moveTo>
                      <a:lnTo>
                        <a:pt x="488960" y="266045"/>
                      </a:lnTo>
                      <a:cubicBezTo>
                        <a:pt x="490404" y="256922"/>
                        <a:pt x="491133" y="247516"/>
                        <a:pt x="491133" y="238125"/>
                      </a:cubicBezTo>
                      <a:lnTo>
                        <a:pt x="516106" y="237470"/>
                      </a:lnTo>
                      <a:lnTo>
                        <a:pt x="520884" y="237530"/>
                      </a:lnTo>
                      <a:cubicBezTo>
                        <a:pt x="520898" y="249064"/>
                        <a:pt x="520035" y="260033"/>
                        <a:pt x="518353" y="270689"/>
                      </a:cubicBezTo>
                      <a:close/>
                    </a:path>
                  </a:pathLst>
                </a:custGeom>
                <a:solidFill>
                  <a:schemeClr val="accent2"/>
                </a:solidFill>
                <a:ln w="14883" cap="flat">
                  <a:noFill/>
                  <a:prstDash val="solid"/>
                  <a:miter/>
                </a:ln>
              </p:spPr>
              <p:txBody>
                <a:bodyPr tIns="548640" rtlCol="0" anchor="b"/>
                <a:lstStyle/>
                <a:p>
                  <a:endParaRPr lang="en-US" dirty="0"/>
                </a:p>
              </p:txBody>
            </p:sp>
            <p:sp>
              <p:nvSpPr>
                <p:cNvPr id="358" name="Freeform: Shape 357">
                  <a:extLst>
                    <a:ext uri="{FF2B5EF4-FFF2-40B4-BE49-F238E27FC236}">
                      <a16:creationId xmlns:a16="http://schemas.microsoft.com/office/drawing/2014/main" id="{B8A5D1A8-4779-48E1-A24E-C61697967F52}"/>
                    </a:ext>
                  </a:extLst>
                </p:cNvPr>
                <p:cNvSpPr/>
                <p:nvPr/>
              </p:nvSpPr>
              <p:spPr>
                <a:xfrm>
                  <a:off x="-806047" y="4693419"/>
                  <a:ext cx="89297" cy="89297"/>
                </a:xfrm>
                <a:custGeom>
                  <a:avLst/>
                  <a:gdLst>
                    <a:gd name="connsiteX0" fmla="*/ 89297 w 89296"/>
                    <a:gd name="connsiteY0" fmla="*/ 44648 h 89296"/>
                    <a:gd name="connsiteX1" fmla="*/ 44648 w 89296"/>
                    <a:gd name="connsiteY1" fmla="*/ 89297 h 89296"/>
                    <a:gd name="connsiteX2" fmla="*/ 0 w 89296"/>
                    <a:gd name="connsiteY2" fmla="*/ 44648 h 89296"/>
                    <a:gd name="connsiteX3" fmla="*/ 44648 w 89296"/>
                    <a:gd name="connsiteY3" fmla="*/ 0 h 89296"/>
                    <a:gd name="connsiteX4" fmla="*/ 89297 w 89296"/>
                    <a:gd name="connsiteY4" fmla="*/ 44648 h 89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96" h="89296">
                      <a:moveTo>
                        <a:pt x="89297" y="44648"/>
                      </a:moveTo>
                      <a:cubicBezTo>
                        <a:pt x="89297" y="69307"/>
                        <a:pt x="69307" y="89297"/>
                        <a:pt x="44648" y="89297"/>
                      </a:cubicBezTo>
                      <a:cubicBezTo>
                        <a:pt x="19990" y="89297"/>
                        <a:pt x="0" y="69307"/>
                        <a:pt x="0" y="44648"/>
                      </a:cubicBezTo>
                      <a:cubicBezTo>
                        <a:pt x="0" y="19990"/>
                        <a:pt x="19990" y="0"/>
                        <a:pt x="44648" y="0"/>
                      </a:cubicBezTo>
                      <a:cubicBezTo>
                        <a:pt x="69307" y="0"/>
                        <a:pt x="89297" y="19990"/>
                        <a:pt x="89297" y="44648"/>
                      </a:cubicBezTo>
                      <a:close/>
                    </a:path>
                  </a:pathLst>
                </a:custGeom>
                <a:solidFill>
                  <a:schemeClr val="accent3"/>
                </a:solidFill>
                <a:ln w="14883" cap="flat">
                  <a:noFill/>
                  <a:prstDash val="solid"/>
                  <a:miter/>
                </a:ln>
              </p:spPr>
              <p:txBody>
                <a:bodyPr tIns="548640" rtlCol="0" anchor="b"/>
                <a:lstStyle/>
                <a:p>
                  <a:endParaRPr lang="en-US" dirty="0"/>
                </a:p>
              </p:txBody>
            </p:sp>
          </p:grpSp>
        </p:grpSp>
        <p:grpSp>
          <p:nvGrpSpPr>
            <p:cNvPr id="436" name="Group 435">
              <a:extLst>
                <a:ext uri="{FF2B5EF4-FFF2-40B4-BE49-F238E27FC236}">
                  <a16:creationId xmlns:a16="http://schemas.microsoft.com/office/drawing/2014/main" id="{15FECA1A-4981-4033-8438-F4881E2DFEC6}"/>
                </a:ext>
              </a:extLst>
            </p:cNvPr>
            <p:cNvGrpSpPr/>
            <p:nvPr/>
          </p:nvGrpSpPr>
          <p:grpSpPr>
            <a:xfrm>
              <a:off x="885854" y="3373478"/>
              <a:ext cx="730022" cy="730022"/>
              <a:chOff x="3044824" y="3310179"/>
              <a:chExt cx="856620" cy="856620"/>
            </a:xfrm>
          </p:grpSpPr>
          <p:sp>
            <p:nvSpPr>
              <p:cNvPr id="437" name="Oval 436">
                <a:extLst>
                  <a:ext uri="{FF2B5EF4-FFF2-40B4-BE49-F238E27FC236}">
                    <a16:creationId xmlns:a16="http://schemas.microsoft.com/office/drawing/2014/main" id="{6099A3FF-5474-401C-9603-D47FAF753F42}"/>
                  </a:ext>
                </a:extLst>
              </p:cNvPr>
              <p:cNvSpPr/>
              <p:nvPr/>
            </p:nvSpPr>
            <p:spPr bwMode="auto">
              <a:xfrm>
                <a:off x="3044824" y="3310179"/>
                <a:ext cx="856620" cy="8566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548640" rIns="4572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900" i="1" dirty="0">
                    <a:solidFill>
                      <a:schemeClr val="tx1"/>
                    </a:solidFill>
                    <a:ea typeface="Segoe UI" pitchFamily="34" charset="0"/>
                    <a:cs typeface="Segoe UI" pitchFamily="34" charset="0"/>
                  </a:rPr>
                  <a:t>3</a:t>
                </a:r>
                <a:r>
                  <a:rPr lang="en-US" sz="900" i="1" baseline="30000" dirty="0">
                    <a:solidFill>
                      <a:schemeClr val="tx1"/>
                    </a:solidFill>
                    <a:ea typeface="Segoe UI" pitchFamily="34" charset="0"/>
                    <a:cs typeface="Segoe UI" pitchFamily="34" charset="0"/>
                  </a:rPr>
                  <a:t>rd</a:t>
                </a:r>
                <a:r>
                  <a:rPr lang="en-US" sz="900" i="1" dirty="0">
                    <a:solidFill>
                      <a:schemeClr val="tx1"/>
                    </a:solidFill>
                    <a:ea typeface="Segoe UI" pitchFamily="34" charset="0"/>
                    <a:cs typeface="Segoe UI" pitchFamily="34" charset="0"/>
                  </a:rPr>
                  <a:t> party software</a:t>
                </a:r>
              </a:p>
            </p:txBody>
          </p:sp>
          <p:grpSp>
            <p:nvGrpSpPr>
              <p:cNvPr id="438" name="Group 437">
                <a:extLst>
                  <a:ext uri="{FF2B5EF4-FFF2-40B4-BE49-F238E27FC236}">
                    <a16:creationId xmlns:a16="http://schemas.microsoft.com/office/drawing/2014/main" id="{8C2B050C-2C4C-4319-8BEB-ADCF9F0DB29C}"/>
                  </a:ext>
                </a:extLst>
              </p:cNvPr>
              <p:cNvGrpSpPr/>
              <p:nvPr/>
            </p:nvGrpSpPr>
            <p:grpSpPr>
              <a:xfrm>
                <a:off x="3340104" y="3332270"/>
                <a:ext cx="266062" cy="392754"/>
                <a:chOff x="-1071110" y="4246935"/>
                <a:chExt cx="625078" cy="922734"/>
              </a:xfrm>
            </p:grpSpPr>
            <p:sp>
              <p:nvSpPr>
                <p:cNvPr id="439" name="Freeform: Shape 438">
                  <a:extLst>
                    <a:ext uri="{FF2B5EF4-FFF2-40B4-BE49-F238E27FC236}">
                      <a16:creationId xmlns:a16="http://schemas.microsoft.com/office/drawing/2014/main" id="{2D3EAE65-DA9F-4DEF-9656-D401EDBBCDD1}"/>
                    </a:ext>
                  </a:extLst>
                </p:cNvPr>
                <p:cNvSpPr/>
                <p:nvPr/>
              </p:nvSpPr>
              <p:spPr>
                <a:xfrm>
                  <a:off x="-1071110" y="5005958"/>
                  <a:ext cx="625078" cy="163711"/>
                </a:xfrm>
                <a:custGeom>
                  <a:avLst/>
                  <a:gdLst>
                    <a:gd name="connsiteX0" fmla="*/ 0 w 625078"/>
                    <a:gd name="connsiteY0" fmla="*/ 29766 h 163710"/>
                    <a:gd name="connsiteX1" fmla="*/ 14883 w 625078"/>
                    <a:gd name="connsiteY1" fmla="*/ 44648 h 163710"/>
                    <a:gd name="connsiteX2" fmla="*/ 282773 w 625078"/>
                    <a:gd name="connsiteY2" fmla="*/ 44648 h 163710"/>
                    <a:gd name="connsiteX3" fmla="*/ 282773 w 625078"/>
                    <a:gd name="connsiteY3" fmla="*/ 133945 h 163710"/>
                    <a:gd name="connsiteX4" fmla="*/ 148828 w 625078"/>
                    <a:gd name="connsiteY4" fmla="*/ 133945 h 163710"/>
                    <a:gd name="connsiteX5" fmla="*/ 148828 w 625078"/>
                    <a:gd name="connsiteY5" fmla="*/ 163711 h 163710"/>
                    <a:gd name="connsiteX6" fmla="*/ 476250 w 625078"/>
                    <a:gd name="connsiteY6" fmla="*/ 163711 h 163710"/>
                    <a:gd name="connsiteX7" fmla="*/ 476250 w 625078"/>
                    <a:gd name="connsiteY7" fmla="*/ 133945 h 163710"/>
                    <a:gd name="connsiteX8" fmla="*/ 342305 w 625078"/>
                    <a:gd name="connsiteY8" fmla="*/ 133945 h 163710"/>
                    <a:gd name="connsiteX9" fmla="*/ 342305 w 625078"/>
                    <a:gd name="connsiteY9" fmla="*/ 44648 h 163710"/>
                    <a:gd name="connsiteX10" fmla="*/ 610195 w 625078"/>
                    <a:gd name="connsiteY10" fmla="*/ 44648 h 163710"/>
                    <a:gd name="connsiteX11" fmla="*/ 625078 w 625078"/>
                    <a:gd name="connsiteY11" fmla="*/ 29766 h 163710"/>
                    <a:gd name="connsiteX12" fmla="*/ 625078 w 625078"/>
                    <a:gd name="connsiteY12" fmla="*/ 0 h 163710"/>
                    <a:gd name="connsiteX13" fmla="*/ 0 w 625078"/>
                    <a:gd name="connsiteY13" fmla="*/ 0 h 163710"/>
                    <a:gd name="connsiteX14" fmla="*/ 0 w 625078"/>
                    <a:gd name="connsiteY14" fmla="*/ 29766 h 16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5078" h="163710">
                      <a:moveTo>
                        <a:pt x="0" y="29766"/>
                      </a:moveTo>
                      <a:cubicBezTo>
                        <a:pt x="0" y="37981"/>
                        <a:pt x="6667" y="44648"/>
                        <a:pt x="14883" y="44648"/>
                      </a:cubicBezTo>
                      <a:lnTo>
                        <a:pt x="282773" y="44648"/>
                      </a:lnTo>
                      <a:lnTo>
                        <a:pt x="282773" y="133945"/>
                      </a:lnTo>
                      <a:lnTo>
                        <a:pt x="148828" y="133945"/>
                      </a:lnTo>
                      <a:lnTo>
                        <a:pt x="148828" y="163711"/>
                      </a:lnTo>
                      <a:lnTo>
                        <a:pt x="476250" y="163711"/>
                      </a:lnTo>
                      <a:lnTo>
                        <a:pt x="476250" y="133945"/>
                      </a:lnTo>
                      <a:lnTo>
                        <a:pt x="342305" y="133945"/>
                      </a:lnTo>
                      <a:lnTo>
                        <a:pt x="342305" y="44648"/>
                      </a:lnTo>
                      <a:lnTo>
                        <a:pt x="610195" y="44648"/>
                      </a:lnTo>
                      <a:cubicBezTo>
                        <a:pt x="618411" y="44648"/>
                        <a:pt x="625078" y="37981"/>
                        <a:pt x="625078" y="29766"/>
                      </a:cubicBezTo>
                      <a:lnTo>
                        <a:pt x="625078" y="0"/>
                      </a:lnTo>
                      <a:lnTo>
                        <a:pt x="0" y="0"/>
                      </a:lnTo>
                      <a:lnTo>
                        <a:pt x="0" y="29766"/>
                      </a:lnTo>
                      <a:close/>
                    </a:path>
                  </a:pathLst>
                </a:custGeom>
                <a:solidFill>
                  <a:schemeClr val="tx1">
                    <a:lumMod val="75000"/>
                    <a:lumOff val="25000"/>
                  </a:schemeClr>
                </a:solidFill>
                <a:ln w="14883" cap="flat">
                  <a:noFill/>
                  <a:prstDash val="solid"/>
                  <a:miter/>
                </a:ln>
              </p:spPr>
              <p:txBody>
                <a:bodyPr tIns="548640" rtlCol="0" anchor="b"/>
                <a:lstStyle/>
                <a:p>
                  <a:endParaRPr lang="en-US" dirty="0"/>
                </a:p>
              </p:txBody>
            </p:sp>
            <p:sp>
              <p:nvSpPr>
                <p:cNvPr id="440" name="Freeform: Shape 439">
                  <a:extLst>
                    <a:ext uri="{FF2B5EF4-FFF2-40B4-BE49-F238E27FC236}">
                      <a16:creationId xmlns:a16="http://schemas.microsoft.com/office/drawing/2014/main" id="{C9E3E617-293C-4673-8136-7F10E9C178C3}"/>
                    </a:ext>
                  </a:extLst>
                </p:cNvPr>
                <p:cNvSpPr/>
                <p:nvPr/>
              </p:nvSpPr>
              <p:spPr>
                <a:xfrm>
                  <a:off x="-832985" y="4246935"/>
                  <a:ext cx="148828" cy="178594"/>
                </a:xfrm>
                <a:custGeom>
                  <a:avLst/>
                  <a:gdLst>
                    <a:gd name="connsiteX0" fmla="*/ 74414 w 148828"/>
                    <a:gd name="connsiteY0" fmla="*/ 178594 h 178593"/>
                    <a:gd name="connsiteX1" fmla="*/ 148828 w 148828"/>
                    <a:gd name="connsiteY1" fmla="*/ 89297 h 178593"/>
                    <a:gd name="connsiteX2" fmla="*/ 104180 w 148828"/>
                    <a:gd name="connsiteY2" fmla="*/ 89297 h 178593"/>
                    <a:gd name="connsiteX3" fmla="*/ 104180 w 148828"/>
                    <a:gd name="connsiteY3" fmla="*/ 0 h 178593"/>
                    <a:gd name="connsiteX4" fmla="*/ 44648 w 148828"/>
                    <a:gd name="connsiteY4" fmla="*/ 0 h 178593"/>
                    <a:gd name="connsiteX5" fmla="*/ 44648 w 148828"/>
                    <a:gd name="connsiteY5" fmla="*/ 89297 h 178593"/>
                    <a:gd name="connsiteX6" fmla="*/ 0 w 148828"/>
                    <a:gd name="connsiteY6" fmla="*/ 89297 h 17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828" h="178593">
                      <a:moveTo>
                        <a:pt x="74414" y="178594"/>
                      </a:moveTo>
                      <a:lnTo>
                        <a:pt x="148828" y="89297"/>
                      </a:lnTo>
                      <a:lnTo>
                        <a:pt x="104180" y="89297"/>
                      </a:lnTo>
                      <a:lnTo>
                        <a:pt x="104180" y="0"/>
                      </a:lnTo>
                      <a:lnTo>
                        <a:pt x="44648" y="0"/>
                      </a:lnTo>
                      <a:lnTo>
                        <a:pt x="44648" y="89297"/>
                      </a:lnTo>
                      <a:lnTo>
                        <a:pt x="0" y="89297"/>
                      </a:lnTo>
                      <a:close/>
                    </a:path>
                  </a:pathLst>
                </a:custGeom>
                <a:solidFill>
                  <a:schemeClr val="accent3"/>
                </a:solidFill>
                <a:ln w="14883" cap="flat">
                  <a:noFill/>
                  <a:prstDash val="solid"/>
                  <a:miter/>
                </a:ln>
              </p:spPr>
              <p:txBody>
                <a:bodyPr tIns="548640" rtlCol="0" anchor="b"/>
                <a:lstStyle/>
                <a:p>
                  <a:endParaRPr lang="en-US" dirty="0"/>
                </a:p>
              </p:txBody>
            </p:sp>
            <p:sp>
              <p:nvSpPr>
                <p:cNvPr id="441" name="Freeform: Shape 440">
                  <a:extLst>
                    <a:ext uri="{FF2B5EF4-FFF2-40B4-BE49-F238E27FC236}">
                      <a16:creationId xmlns:a16="http://schemas.microsoft.com/office/drawing/2014/main" id="{7F91563B-2E14-467E-8673-2AC5396A69DB}"/>
                    </a:ext>
                  </a:extLst>
                </p:cNvPr>
                <p:cNvSpPr/>
                <p:nvPr/>
              </p:nvSpPr>
              <p:spPr>
                <a:xfrm>
                  <a:off x="-907399" y="4365997"/>
                  <a:ext cx="297656" cy="104180"/>
                </a:xfrm>
                <a:custGeom>
                  <a:avLst/>
                  <a:gdLst>
                    <a:gd name="connsiteX0" fmla="*/ 0 w 297656"/>
                    <a:gd name="connsiteY0" fmla="*/ 0 h 104179"/>
                    <a:gd name="connsiteX1" fmla="*/ 0 w 297656"/>
                    <a:gd name="connsiteY1" fmla="*/ 89297 h 104179"/>
                    <a:gd name="connsiteX2" fmla="*/ 14883 w 297656"/>
                    <a:gd name="connsiteY2" fmla="*/ 104180 h 104179"/>
                    <a:gd name="connsiteX3" fmla="*/ 282773 w 297656"/>
                    <a:gd name="connsiteY3" fmla="*/ 104180 h 104179"/>
                    <a:gd name="connsiteX4" fmla="*/ 297656 w 297656"/>
                    <a:gd name="connsiteY4" fmla="*/ 89297 h 104179"/>
                    <a:gd name="connsiteX5" fmla="*/ 297656 w 297656"/>
                    <a:gd name="connsiteY5" fmla="*/ 0 h 104179"/>
                    <a:gd name="connsiteX6" fmla="*/ 267891 w 297656"/>
                    <a:gd name="connsiteY6" fmla="*/ 0 h 104179"/>
                    <a:gd name="connsiteX7" fmla="*/ 267891 w 297656"/>
                    <a:gd name="connsiteY7" fmla="*/ 74414 h 104179"/>
                    <a:gd name="connsiteX8" fmla="*/ 29766 w 297656"/>
                    <a:gd name="connsiteY8" fmla="*/ 74414 h 104179"/>
                    <a:gd name="connsiteX9" fmla="*/ 29766 w 297656"/>
                    <a:gd name="connsiteY9" fmla="*/ 0 h 104179"/>
                    <a:gd name="connsiteX10" fmla="*/ 0 w 297656"/>
                    <a:gd name="connsiteY10" fmla="*/ 0 h 10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656" h="104179">
                      <a:moveTo>
                        <a:pt x="0" y="0"/>
                      </a:moveTo>
                      <a:lnTo>
                        <a:pt x="0" y="89297"/>
                      </a:lnTo>
                      <a:cubicBezTo>
                        <a:pt x="0" y="97527"/>
                        <a:pt x="6653" y="104180"/>
                        <a:pt x="14883" y="104180"/>
                      </a:cubicBezTo>
                      <a:lnTo>
                        <a:pt x="282773" y="104180"/>
                      </a:lnTo>
                      <a:cubicBezTo>
                        <a:pt x="291004" y="104180"/>
                        <a:pt x="297656" y="97527"/>
                        <a:pt x="297656" y="89297"/>
                      </a:cubicBezTo>
                      <a:lnTo>
                        <a:pt x="297656" y="0"/>
                      </a:lnTo>
                      <a:lnTo>
                        <a:pt x="267891" y="0"/>
                      </a:lnTo>
                      <a:lnTo>
                        <a:pt x="267891" y="74414"/>
                      </a:lnTo>
                      <a:lnTo>
                        <a:pt x="29766" y="74414"/>
                      </a:lnTo>
                      <a:lnTo>
                        <a:pt x="29766" y="0"/>
                      </a:lnTo>
                      <a:lnTo>
                        <a:pt x="0" y="0"/>
                      </a:lnTo>
                      <a:close/>
                    </a:path>
                  </a:pathLst>
                </a:custGeom>
                <a:solidFill>
                  <a:schemeClr val="tx1">
                    <a:lumMod val="75000"/>
                    <a:lumOff val="25000"/>
                  </a:schemeClr>
                </a:solidFill>
                <a:ln w="14883" cap="flat">
                  <a:noFill/>
                  <a:prstDash val="solid"/>
                  <a:miter/>
                </a:ln>
              </p:spPr>
              <p:txBody>
                <a:bodyPr tIns="548640" rtlCol="0" anchor="b"/>
                <a:lstStyle/>
                <a:p>
                  <a:endParaRPr lang="en-US" dirty="0"/>
                </a:p>
              </p:txBody>
            </p:sp>
            <p:sp>
              <p:nvSpPr>
                <p:cNvPr id="442" name="Freeform: Shape 441">
                  <a:extLst>
                    <a:ext uri="{FF2B5EF4-FFF2-40B4-BE49-F238E27FC236}">
                      <a16:creationId xmlns:a16="http://schemas.microsoft.com/office/drawing/2014/main" id="{FD2054A5-DABF-4EE0-9B51-A23006E0C3EF}"/>
                    </a:ext>
                  </a:extLst>
                </p:cNvPr>
                <p:cNvSpPr/>
                <p:nvPr/>
              </p:nvSpPr>
              <p:spPr>
                <a:xfrm>
                  <a:off x="-1071110" y="4499943"/>
                  <a:ext cx="625078" cy="476250"/>
                </a:xfrm>
                <a:custGeom>
                  <a:avLst/>
                  <a:gdLst>
                    <a:gd name="connsiteX0" fmla="*/ 610195 w 625078"/>
                    <a:gd name="connsiteY0" fmla="*/ 0 h 476250"/>
                    <a:gd name="connsiteX1" fmla="*/ 14883 w 625078"/>
                    <a:gd name="connsiteY1" fmla="*/ 0 h 476250"/>
                    <a:gd name="connsiteX2" fmla="*/ 0 w 625078"/>
                    <a:gd name="connsiteY2" fmla="*/ 14883 h 476250"/>
                    <a:gd name="connsiteX3" fmla="*/ 0 w 625078"/>
                    <a:gd name="connsiteY3" fmla="*/ 476250 h 476250"/>
                    <a:gd name="connsiteX4" fmla="*/ 625078 w 625078"/>
                    <a:gd name="connsiteY4" fmla="*/ 476250 h 476250"/>
                    <a:gd name="connsiteX5" fmla="*/ 625078 w 625078"/>
                    <a:gd name="connsiteY5" fmla="*/ 14883 h 476250"/>
                    <a:gd name="connsiteX6" fmla="*/ 610195 w 625078"/>
                    <a:gd name="connsiteY6" fmla="*/ 0 h 476250"/>
                    <a:gd name="connsiteX7" fmla="*/ 518234 w 625078"/>
                    <a:gd name="connsiteY7" fmla="*/ 204698 h 476250"/>
                    <a:gd name="connsiteX8" fmla="*/ 488841 w 625078"/>
                    <a:gd name="connsiteY8" fmla="*/ 209461 h 476250"/>
                    <a:gd name="connsiteX9" fmla="*/ 482218 w 625078"/>
                    <a:gd name="connsiteY9" fmla="*/ 182270 h 476250"/>
                    <a:gd name="connsiteX10" fmla="*/ 510480 w 625078"/>
                    <a:gd name="connsiteY10" fmla="*/ 172938 h 476250"/>
                    <a:gd name="connsiteX11" fmla="*/ 518234 w 625078"/>
                    <a:gd name="connsiteY11" fmla="*/ 204698 h 476250"/>
                    <a:gd name="connsiteX12" fmla="*/ 497875 w 625078"/>
                    <a:gd name="connsiteY12" fmla="*/ 142845 h 476250"/>
                    <a:gd name="connsiteX13" fmla="*/ 471398 w 625078"/>
                    <a:gd name="connsiteY13" fmla="*/ 156448 h 476250"/>
                    <a:gd name="connsiteX14" fmla="*/ 456679 w 625078"/>
                    <a:gd name="connsiteY14" fmla="*/ 132636 h 476250"/>
                    <a:gd name="connsiteX15" fmla="*/ 480685 w 625078"/>
                    <a:gd name="connsiteY15" fmla="*/ 115044 h 476250"/>
                    <a:gd name="connsiteX16" fmla="*/ 497875 w 625078"/>
                    <a:gd name="connsiteY16" fmla="*/ 142845 h 476250"/>
                    <a:gd name="connsiteX17" fmla="*/ 434459 w 625078"/>
                    <a:gd name="connsiteY17" fmla="*/ 69146 h 476250"/>
                    <a:gd name="connsiteX18" fmla="*/ 459358 w 625078"/>
                    <a:gd name="connsiteY18" fmla="*/ 90279 h 476250"/>
                    <a:gd name="connsiteX19" fmla="*/ 438403 w 625078"/>
                    <a:gd name="connsiteY19" fmla="*/ 111413 h 476250"/>
                    <a:gd name="connsiteX20" fmla="*/ 417016 w 625078"/>
                    <a:gd name="connsiteY20" fmla="*/ 93271 h 476250"/>
                    <a:gd name="connsiteX21" fmla="*/ 434459 w 625078"/>
                    <a:gd name="connsiteY21" fmla="*/ 69146 h 476250"/>
                    <a:gd name="connsiteX22" fmla="*/ 376282 w 625078"/>
                    <a:gd name="connsiteY22" fmla="*/ 39707 h 476250"/>
                    <a:gd name="connsiteX23" fmla="*/ 406524 w 625078"/>
                    <a:gd name="connsiteY23" fmla="*/ 52120 h 476250"/>
                    <a:gd name="connsiteX24" fmla="*/ 393100 w 625078"/>
                    <a:gd name="connsiteY24" fmla="*/ 78685 h 476250"/>
                    <a:gd name="connsiteX25" fmla="*/ 367189 w 625078"/>
                    <a:gd name="connsiteY25" fmla="*/ 68044 h 476250"/>
                    <a:gd name="connsiteX26" fmla="*/ 376282 w 625078"/>
                    <a:gd name="connsiteY26" fmla="*/ 39707 h 476250"/>
                    <a:gd name="connsiteX27" fmla="*/ 312539 w 625078"/>
                    <a:gd name="connsiteY27" fmla="*/ 29766 h 476250"/>
                    <a:gd name="connsiteX28" fmla="*/ 344463 w 625078"/>
                    <a:gd name="connsiteY28" fmla="*/ 32192 h 476250"/>
                    <a:gd name="connsiteX29" fmla="*/ 339953 w 625078"/>
                    <a:gd name="connsiteY29" fmla="*/ 61615 h 476250"/>
                    <a:gd name="connsiteX30" fmla="*/ 312539 w 625078"/>
                    <a:gd name="connsiteY30" fmla="*/ 59531 h 476250"/>
                    <a:gd name="connsiteX31" fmla="*/ 311944 w 625078"/>
                    <a:gd name="connsiteY31" fmla="*/ 29766 h 476250"/>
                    <a:gd name="connsiteX32" fmla="*/ 312539 w 625078"/>
                    <a:gd name="connsiteY32" fmla="*/ 29766 h 476250"/>
                    <a:gd name="connsiteX33" fmla="*/ 279336 w 625078"/>
                    <a:gd name="connsiteY33" fmla="*/ 32385 h 476250"/>
                    <a:gd name="connsiteX34" fmla="*/ 284098 w 625078"/>
                    <a:gd name="connsiteY34" fmla="*/ 61779 h 476250"/>
                    <a:gd name="connsiteX35" fmla="*/ 256862 w 625078"/>
                    <a:gd name="connsiteY35" fmla="*/ 68387 h 476250"/>
                    <a:gd name="connsiteX36" fmla="*/ 247590 w 625078"/>
                    <a:gd name="connsiteY36" fmla="*/ 40109 h 476250"/>
                    <a:gd name="connsiteX37" fmla="*/ 279336 w 625078"/>
                    <a:gd name="connsiteY37" fmla="*/ 32385 h 476250"/>
                    <a:gd name="connsiteX38" fmla="*/ 217408 w 625078"/>
                    <a:gd name="connsiteY38" fmla="*/ 52700 h 476250"/>
                    <a:gd name="connsiteX39" fmla="*/ 231011 w 625078"/>
                    <a:gd name="connsiteY39" fmla="*/ 79177 h 476250"/>
                    <a:gd name="connsiteX40" fmla="*/ 207184 w 625078"/>
                    <a:gd name="connsiteY40" fmla="*/ 93881 h 476250"/>
                    <a:gd name="connsiteX41" fmla="*/ 189592 w 625078"/>
                    <a:gd name="connsiteY41" fmla="*/ 69875 h 476250"/>
                    <a:gd name="connsiteX42" fmla="*/ 217408 w 625078"/>
                    <a:gd name="connsiteY42" fmla="*/ 52700 h 476250"/>
                    <a:gd name="connsiteX43" fmla="*/ 164842 w 625078"/>
                    <a:gd name="connsiteY43" fmla="*/ 91157 h 476250"/>
                    <a:gd name="connsiteX44" fmla="*/ 185946 w 625078"/>
                    <a:gd name="connsiteY44" fmla="*/ 112142 h 476250"/>
                    <a:gd name="connsiteX45" fmla="*/ 167774 w 625078"/>
                    <a:gd name="connsiteY45" fmla="*/ 133499 h 476250"/>
                    <a:gd name="connsiteX46" fmla="*/ 143679 w 625078"/>
                    <a:gd name="connsiteY46" fmla="*/ 116056 h 476250"/>
                    <a:gd name="connsiteX47" fmla="*/ 164842 w 625078"/>
                    <a:gd name="connsiteY47" fmla="*/ 91157 h 476250"/>
                    <a:gd name="connsiteX48" fmla="*/ 126623 w 625078"/>
                    <a:gd name="connsiteY48" fmla="*/ 143947 h 476250"/>
                    <a:gd name="connsiteX49" fmla="*/ 153189 w 625078"/>
                    <a:gd name="connsiteY49" fmla="*/ 157401 h 476250"/>
                    <a:gd name="connsiteX50" fmla="*/ 142518 w 625078"/>
                    <a:gd name="connsiteY50" fmla="*/ 183297 h 476250"/>
                    <a:gd name="connsiteX51" fmla="*/ 114181 w 625078"/>
                    <a:gd name="connsiteY51" fmla="*/ 174174 h 476250"/>
                    <a:gd name="connsiteX52" fmla="*/ 126623 w 625078"/>
                    <a:gd name="connsiteY52" fmla="*/ 143947 h 476250"/>
                    <a:gd name="connsiteX53" fmla="*/ 104180 w 625078"/>
                    <a:gd name="connsiteY53" fmla="*/ 238125 h 476250"/>
                    <a:gd name="connsiteX54" fmla="*/ 106650 w 625078"/>
                    <a:gd name="connsiteY54" fmla="*/ 205993 h 476250"/>
                    <a:gd name="connsiteX55" fmla="*/ 136074 w 625078"/>
                    <a:gd name="connsiteY55" fmla="*/ 210562 h 476250"/>
                    <a:gd name="connsiteX56" fmla="*/ 133945 w 625078"/>
                    <a:gd name="connsiteY56" fmla="*/ 238125 h 476250"/>
                    <a:gd name="connsiteX57" fmla="*/ 104180 w 625078"/>
                    <a:gd name="connsiteY57" fmla="*/ 238512 h 476250"/>
                    <a:gd name="connsiteX58" fmla="*/ 104180 w 625078"/>
                    <a:gd name="connsiteY58" fmla="*/ 238125 h 476250"/>
                    <a:gd name="connsiteX59" fmla="*/ 106769 w 625078"/>
                    <a:gd name="connsiteY59" fmla="*/ 271105 h 476250"/>
                    <a:gd name="connsiteX60" fmla="*/ 136163 w 625078"/>
                    <a:gd name="connsiteY60" fmla="*/ 266432 h 476250"/>
                    <a:gd name="connsiteX61" fmla="*/ 142741 w 625078"/>
                    <a:gd name="connsiteY61" fmla="*/ 293653 h 476250"/>
                    <a:gd name="connsiteX62" fmla="*/ 114434 w 625078"/>
                    <a:gd name="connsiteY62" fmla="*/ 302895 h 476250"/>
                    <a:gd name="connsiteX63" fmla="*/ 106769 w 625078"/>
                    <a:gd name="connsiteY63" fmla="*/ 271105 h 476250"/>
                    <a:gd name="connsiteX64" fmla="*/ 127025 w 625078"/>
                    <a:gd name="connsiteY64" fmla="*/ 333063 h 476250"/>
                    <a:gd name="connsiteX65" fmla="*/ 153501 w 625078"/>
                    <a:gd name="connsiteY65" fmla="*/ 319489 h 476250"/>
                    <a:gd name="connsiteX66" fmla="*/ 168191 w 625078"/>
                    <a:gd name="connsiteY66" fmla="*/ 343346 h 476250"/>
                    <a:gd name="connsiteX67" fmla="*/ 144155 w 625078"/>
                    <a:gd name="connsiteY67" fmla="*/ 360878 h 476250"/>
                    <a:gd name="connsiteX68" fmla="*/ 127025 w 625078"/>
                    <a:gd name="connsiteY68" fmla="*/ 333063 h 476250"/>
                    <a:gd name="connsiteX69" fmla="*/ 190292 w 625078"/>
                    <a:gd name="connsiteY69" fmla="*/ 406866 h 476250"/>
                    <a:gd name="connsiteX70" fmla="*/ 165422 w 625078"/>
                    <a:gd name="connsiteY70" fmla="*/ 385658 h 476250"/>
                    <a:gd name="connsiteX71" fmla="*/ 186437 w 625078"/>
                    <a:gd name="connsiteY71" fmla="*/ 364584 h 476250"/>
                    <a:gd name="connsiteX72" fmla="*/ 207764 w 625078"/>
                    <a:gd name="connsiteY72" fmla="*/ 382771 h 476250"/>
                    <a:gd name="connsiteX73" fmla="*/ 190292 w 625078"/>
                    <a:gd name="connsiteY73" fmla="*/ 406866 h 476250"/>
                    <a:gd name="connsiteX74" fmla="*/ 248394 w 625078"/>
                    <a:gd name="connsiteY74" fmla="*/ 436409 h 476250"/>
                    <a:gd name="connsiteX75" fmla="*/ 218167 w 625078"/>
                    <a:gd name="connsiteY75" fmla="*/ 423937 h 476250"/>
                    <a:gd name="connsiteX76" fmla="*/ 231651 w 625078"/>
                    <a:gd name="connsiteY76" fmla="*/ 397401 h 476250"/>
                    <a:gd name="connsiteX77" fmla="*/ 257547 w 625078"/>
                    <a:gd name="connsiteY77" fmla="*/ 408102 h 476250"/>
                    <a:gd name="connsiteX78" fmla="*/ 248394 w 625078"/>
                    <a:gd name="connsiteY78" fmla="*/ 436409 h 476250"/>
                    <a:gd name="connsiteX79" fmla="*/ 312539 w 625078"/>
                    <a:gd name="connsiteY79" fmla="*/ 446484 h 476250"/>
                    <a:gd name="connsiteX80" fmla="*/ 280184 w 625078"/>
                    <a:gd name="connsiteY80" fmla="*/ 443984 h 476250"/>
                    <a:gd name="connsiteX81" fmla="*/ 284783 w 625078"/>
                    <a:gd name="connsiteY81" fmla="*/ 414561 h 476250"/>
                    <a:gd name="connsiteX82" fmla="*/ 312107 w 625078"/>
                    <a:gd name="connsiteY82" fmla="*/ 416719 h 476250"/>
                    <a:gd name="connsiteX83" fmla="*/ 312747 w 625078"/>
                    <a:gd name="connsiteY83" fmla="*/ 416704 h 476250"/>
                    <a:gd name="connsiteX84" fmla="*/ 312747 w 625078"/>
                    <a:gd name="connsiteY84" fmla="*/ 431616 h 476250"/>
                    <a:gd name="connsiteX85" fmla="*/ 316156 w 625078"/>
                    <a:gd name="connsiteY85" fmla="*/ 446038 h 476250"/>
                    <a:gd name="connsiteX86" fmla="*/ 312539 w 625078"/>
                    <a:gd name="connsiteY86" fmla="*/ 446484 h 476250"/>
                    <a:gd name="connsiteX87" fmla="*/ 289739 w 625078"/>
                    <a:gd name="connsiteY87" fmla="*/ 372070 h 476250"/>
                    <a:gd name="connsiteX88" fmla="*/ 282134 w 625078"/>
                    <a:gd name="connsiteY88" fmla="*/ 364629 h 476250"/>
                    <a:gd name="connsiteX89" fmla="*/ 282134 w 625078"/>
                    <a:gd name="connsiteY89" fmla="*/ 322228 h 476250"/>
                    <a:gd name="connsiteX90" fmla="*/ 251936 w 625078"/>
                    <a:gd name="connsiteY90" fmla="*/ 305961 h 476250"/>
                    <a:gd name="connsiteX91" fmla="*/ 213315 w 625078"/>
                    <a:gd name="connsiteY91" fmla="*/ 327288 h 476250"/>
                    <a:gd name="connsiteX92" fmla="*/ 203031 w 625078"/>
                    <a:gd name="connsiteY92" fmla="*/ 324594 h 476250"/>
                    <a:gd name="connsiteX93" fmla="*/ 179650 w 625078"/>
                    <a:gd name="connsiteY93" fmla="*/ 285854 h 476250"/>
                    <a:gd name="connsiteX94" fmla="*/ 182463 w 625078"/>
                    <a:gd name="connsiteY94" fmla="*/ 275585 h 476250"/>
                    <a:gd name="connsiteX95" fmla="*/ 220816 w 625078"/>
                    <a:gd name="connsiteY95" fmla="*/ 254407 h 476250"/>
                    <a:gd name="connsiteX96" fmla="*/ 219194 w 625078"/>
                    <a:gd name="connsiteY96" fmla="*/ 238125 h 476250"/>
                    <a:gd name="connsiteX97" fmla="*/ 220816 w 625078"/>
                    <a:gd name="connsiteY97" fmla="*/ 221843 h 476250"/>
                    <a:gd name="connsiteX98" fmla="*/ 182463 w 625078"/>
                    <a:gd name="connsiteY98" fmla="*/ 200665 h 476250"/>
                    <a:gd name="connsiteX99" fmla="*/ 179650 w 625078"/>
                    <a:gd name="connsiteY99" fmla="*/ 190396 h 476250"/>
                    <a:gd name="connsiteX100" fmla="*/ 203031 w 625078"/>
                    <a:gd name="connsiteY100" fmla="*/ 151656 h 476250"/>
                    <a:gd name="connsiteX101" fmla="*/ 213315 w 625078"/>
                    <a:gd name="connsiteY101" fmla="*/ 148962 h 476250"/>
                    <a:gd name="connsiteX102" fmla="*/ 251936 w 625078"/>
                    <a:gd name="connsiteY102" fmla="*/ 170289 h 476250"/>
                    <a:gd name="connsiteX103" fmla="*/ 282134 w 625078"/>
                    <a:gd name="connsiteY103" fmla="*/ 154022 h 476250"/>
                    <a:gd name="connsiteX104" fmla="*/ 282134 w 625078"/>
                    <a:gd name="connsiteY104" fmla="*/ 111621 h 476250"/>
                    <a:gd name="connsiteX105" fmla="*/ 289739 w 625078"/>
                    <a:gd name="connsiteY105" fmla="*/ 104180 h 476250"/>
                    <a:gd name="connsiteX106" fmla="*/ 335354 w 625078"/>
                    <a:gd name="connsiteY106" fmla="*/ 104180 h 476250"/>
                    <a:gd name="connsiteX107" fmla="*/ 342960 w 625078"/>
                    <a:gd name="connsiteY107" fmla="*/ 111621 h 476250"/>
                    <a:gd name="connsiteX108" fmla="*/ 342960 w 625078"/>
                    <a:gd name="connsiteY108" fmla="*/ 154022 h 476250"/>
                    <a:gd name="connsiteX109" fmla="*/ 373157 w 625078"/>
                    <a:gd name="connsiteY109" fmla="*/ 170289 h 476250"/>
                    <a:gd name="connsiteX110" fmla="*/ 411778 w 625078"/>
                    <a:gd name="connsiteY110" fmla="*/ 148962 h 476250"/>
                    <a:gd name="connsiteX111" fmla="*/ 422062 w 625078"/>
                    <a:gd name="connsiteY111" fmla="*/ 151656 h 476250"/>
                    <a:gd name="connsiteX112" fmla="*/ 445443 w 625078"/>
                    <a:gd name="connsiteY112" fmla="*/ 190396 h 476250"/>
                    <a:gd name="connsiteX113" fmla="*/ 442630 w 625078"/>
                    <a:gd name="connsiteY113" fmla="*/ 200665 h 476250"/>
                    <a:gd name="connsiteX114" fmla="*/ 404277 w 625078"/>
                    <a:gd name="connsiteY114" fmla="*/ 221843 h 476250"/>
                    <a:gd name="connsiteX115" fmla="*/ 405899 w 625078"/>
                    <a:gd name="connsiteY115" fmla="*/ 238125 h 476250"/>
                    <a:gd name="connsiteX116" fmla="*/ 404277 w 625078"/>
                    <a:gd name="connsiteY116" fmla="*/ 254407 h 476250"/>
                    <a:gd name="connsiteX117" fmla="*/ 442630 w 625078"/>
                    <a:gd name="connsiteY117" fmla="*/ 275585 h 476250"/>
                    <a:gd name="connsiteX118" fmla="*/ 445443 w 625078"/>
                    <a:gd name="connsiteY118" fmla="*/ 285854 h 476250"/>
                    <a:gd name="connsiteX119" fmla="*/ 422062 w 625078"/>
                    <a:gd name="connsiteY119" fmla="*/ 324594 h 476250"/>
                    <a:gd name="connsiteX120" fmla="*/ 411778 w 625078"/>
                    <a:gd name="connsiteY120" fmla="*/ 327288 h 476250"/>
                    <a:gd name="connsiteX121" fmla="*/ 373157 w 625078"/>
                    <a:gd name="connsiteY121" fmla="*/ 305961 h 476250"/>
                    <a:gd name="connsiteX122" fmla="*/ 342960 w 625078"/>
                    <a:gd name="connsiteY122" fmla="*/ 322228 h 476250"/>
                    <a:gd name="connsiteX123" fmla="*/ 342960 w 625078"/>
                    <a:gd name="connsiteY123" fmla="*/ 364629 h 476250"/>
                    <a:gd name="connsiteX124" fmla="*/ 335354 w 625078"/>
                    <a:gd name="connsiteY124" fmla="*/ 372070 h 476250"/>
                    <a:gd name="connsiteX125" fmla="*/ 289739 w 625078"/>
                    <a:gd name="connsiteY125" fmla="*/ 372070 h 476250"/>
                    <a:gd name="connsiteX126" fmla="*/ 345311 w 625078"/>
                    <a:gd name="connsiteY126" fmla="*/ 443895 h 476250"/>
                    <a:gd name="connsiteX127" fmla="*/ 340668 w 625078"/>
                    <a:gd name="connsiteY127" fmla="*/ 414501 h 476250"/>
                    <a:gd name="connsiteX128" fmla="*/ 367903 w 625078"/>
                    <a:gd name="connsiteY128" fmla="*/ 407968 h 476250"/>
                    <a:gd name="connsiteX129" fmla="*/ 377086 w 625078"/>
                    <a:gd name="connsiteY129" fmla="*/ 436275 h 476250"/>
                    <a:gd name="connsiteX130" fmla="*/ 345311 w 625078"/>
                    <a:gd name="connsiteY130" fmla="*/ 443895 h 476250"/>
                    <a:gd name="connsiteX131" fmla="*/ 407283 w 625078"/>
                    <a:gd name="connsiteY131" fmla="*/ 423743 h 476250"/>
                    <a:gd name="connsiteX132" fmla="*/ 393740 w 625078"/>
                    <a:gd name="connsiteY132" fmla="*/ 397237 h 476250"/>
                    <a:gd name="connsiteX133" fmla="*/ 417597 w 625078"/>
                    <a:gd name="connsiteY133" fmla="*/ 382592 h 476250"/>
                    <a:gd name="connsiteX134" fmla="*/ 435129 w 625078"/>
                    <a:gd name="connsiteY134" fmla="*/ 406628 h 476250"/>
                    <a:gd name="connsiteX135" fmla="*/ 407283 w 625078"/>
                    <a:gd name="connsiteY135" fmla="*/ 423743 h 476250"/>
                    <a:gd name="connsiteX136" fmla="*/ 459938 w 625078"/>
                    <a:gd name="connsiteY136" fmla="*/ 385405 h 476250"/>
                    <a:gd name="connsiteX137" fmla="*/ 438864 w 625078"/>
                    <a:gd name="connsiteY137" fmla="*/ 364391 h 476250"/>
                    <a:gd name="connsiteX138" fmla="*/ 457081 w 625078"/>
                    <a:gd name="connsiteY138" fmla="*/ 343064 h 476250"/>
                    <a:gd name="connsiteX139" fmla="*/ 481146 w 625078"/>
                    <a:gd name="connsiteY139" fmla="*/ 360566 h 476250"/>
                    <a:gd name="connsiteX140" fmla="*/ 459938 w 625078"/>
                    <a:gd name="connsiteY140" fmla="*/ 385405 h 476250"/>
                    <a:gd name="connsiteX141" fmla="*/ 498262 w 625078"/>
                    <a:gd name="connsiteY141" fmla="*/ 332690 h 476250"/>
                    <a:gd name="connsiteX142" fmla="*/ 471726 w 625078"/>
                    <a:gd name="connsiteY142" fmla="*/ 319207 h 476250"/>
                    <a:gd name="connsiteX143" fmla="*/ 482456 w 625078"/>
                    <a:gd name="connsiteY143" fmla="*/ 293310 h 476250"/>
                    <a:gd name="connsiteX144" fmla="*/ 510763 w 625078"/>
                    <a:gd name="connsiteY144" fmla="*/ 302493 h 476250"/>
                    <a:gd name="connsiteX145" fmla="*/ 498262 w 625078"/>
                    <a:gd name="connsiteY145" fmla="*/ 332690 h 476250"/>
                    <a:gd name="connsiteX146" fmla="*/ 518353 w 625078"/>
                    <a:gd name="connsiteY146" fmla="*/ 270689 h 476250"/>
                    <a:gd name="connsiteX147" fmla="*/ 488960 w 625078"/>
                    <a:gd name="connsiteY147" fmla="*/ 266045 h 476250"/>
                    <a:gd name="connsiteX148" fmla="*/ 491133 w 625078"/>
                    <a:gd name="connsiteY148" fmla="*/ 238125 h 476250"/>
                    <a:gd name="connsiteX149" fmla="*/ 516106 w 625078"/>
                    <a:gd name="connsiteY149" fmla="*/ 237470 h 476250"/>
                    <a:gd name="connsiteX150" fmla="*/ 520884 w 625078"/>
                    <a:gd name="connsiteY150" fmla="*/ 237530 h 476250"/>
                    <a:gd name="connsiteX151" fmla="*/ 518353 w 625078"/>
                    <a:gd name="connsiteY151" fmla="*/ 270689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625078" h="476250">
                      <a:moveTo>
                        <a:pt x="610195" y="0"/>
                      </a:moveTo>
                      <a:lnTo>
                        <a:pt x="14883" y="0"/>
                      </a:lnTo>
                      <a:cubicBezTo>
                        <a:pt x="6667" y="0"/>
                        <a:pt x="0" y="6667"/>
                        <a:pt x="0" y="14883"/>
                      </a:cubicBezTo>
                      <a:lnTo>
                        <a:pt x="0" y="476250"/>
                      </a:lnTo>
                      <a:lnTo>
                        <a:pt x="625078" y="476250"/>
                      </a:lnTo>
                      <a:lnTo>
                        <a:pt x="625078" y="14883"/>
                      </a:lnTo>
                      <a:cubicBezTo>
                        <a:pt x="625078" y="6667"/>
                        <a:pt x="618411" y="0"/>
                        <a:pt x="610195" y="0"/>
                      </a:cubicBezTo>
                      <a:close/>
                      <a:moveTo>
                        <a:pt x="518234" y="204698"/>
                      </a:moveTo>
                      <a:lnTo>
                        <a:pt x="488841" y="209461"/>
                      </a:lnTo>
                      <a:cubicBezTo>
                        <a:pt x="487338" y="200204"/>
                        <a:pt x="485105" y="191066"/>
                        <a:pt x="482218" y="182270"/>
                      </a:cubicBezTo>
                      <a:lnTo>
                        <a:pt x="510480" y="172938"/>
                      </a:lnTo>
                      <a:cubicBezTo>
                        <a:pt x="513874" y="183222"/>
                        <a:pt x="516478" y="193893"/>
                        <a:pt x="518234" y="204698"/>
                      </a:cubicBezTo>
                      <a:close/>
                      <a:moveTo>
                        <a:pt x="497875" y="142845"/>
                      </a:moveTo>
                      <a:lnTo>
                        <a:pt x="471398" y="156448"/>
                      </a:lnTo>
                      <a:cubicBezTo>
                        <a:pt x="467171" y="148218"/>
                        <a:pt x="462216" y="140196"/>
                        <a:pt x="456679" y="132636"/>
                      </a:cubicBezTo>
                      <a:lnTo>
                        <a:pt x="480685" y="115044"/>
                      </a:lnTo>
                      <a:cubicBezTo>
                        <a:pt x="487129" y="123870"/>
                        <a:pt x="492919" y="133216"/>
                        <a:pt x="497875" y="142845"/>
                      </a:cubicBezTo>
                      <a:close/>
                      <a:moveTo>
                        <a:pt x="434459" y="69146"/>
                      </a:moveTo>
                      <a:cubicBezTo>
                        <a:pt x="443255" y="75501"/>
                        <a:pt x="451619" y="82600"/>
                        <a:pt x="459358" y="90279"/>
                      </a:cubicBezTo>
                      <a:lnTo>
                        <a:pt x="438403" y="111413"/>
                      </a:lnTo>
                      <a:cubicBezTo>
                        <a:pt x="431765" y="104835"/>
                        <a:pt x="424562" y="98718"/>
                        <a:pt x="417016" y="93271"/>
                      </a:cubicBezTo>
                      <a:lnTo>
                        <a:pt x="434459" y="69146"/>
                      </a:lnTo>
                      <a:close/>
                      <a:moveTo>
                        <a:pt x="376282" y="39707"/>
                      </a:moveTo>
                      <a:cubicBezTo>
                        <a:pt x="386655" y="43041"/>
                        <a:pt x="396835" y="47223"/>
                        <a:pt x="406524" y="52120"/>
                      </a:cubicBezTo>
                      <a:lnTo>
                        <a:pt x="393100" y="78685"/>
                      </a:lnTo>
                      <a:cubicBezTo>
                        <a:pt x="384780" y="74488"/>
                        <a:pt x="376059" y="70902"/>
                        <a:pt x="367189" y="68044"/>
                      </a:cubicBezTo>
                      <a:lnTo>
                        <a:pt x="376282" y="39707"/>
                      </a:lnTo>
                      <a:close/>
                      <a:moveTo>
                        <a:pt x="312539" y="29766"/>
                      </a:moveTo>
                      <a:cubicBezTo>
                        <a:pt x="323240" y="29766"/>
                        <a:pt x="333955" y="30584"/>
                        <a:pt x="344463" y="32192"/>
                      </a:cubicBezTo>
                      <a:lnTo>
                        <a:pt x="339953" y="61615"/>
                      </a:lnTo>
                      <a:cubicBezTo>
                        <a:pt x="330934" y="60231"/>
                        <a:pt x="321722" y="59531"/>
                        <a:pt x="312539" y="59531"/>
                      </a:cubicBezTo>
                      <a:lnTo>
                        <a:pt x="311944" y="29766"/>
                      </a:lnTo>
                      <a:lnTo>
                        <a:pt x="312539" y="29766"/>
                      </a:lnTo>
                      <a:close/>
                      <a:moveTo>
                        <a:pt x="279336" y="32385"/>
                      </a:moveTo>
                      <a:lnTo>
                        <a:pt x="284098" y="61779"/>
                      </a:lnTo>
                      <a:cubicBezTo>
                        <a:pt x="274811" y="63297"/>
                        <a:pt x="265643" y="65514"/>
                        <a:pt x="256862" y="68387"/>
                      </a:cubicBezTo>
                      <a:lnTo>
                        <a:pt x="247590" y="40109"/>
                      </a:lnTo>
                      <a:cubicBezTo>
                        <a:pt x="257815" y="36746"/>
                        <a:pt x="268501" y="34141"/>
                        <a:pt x="279336" y="32385"/>
                      </a:cubicBezTo>
                      <a:close/>
                      <a:moveTo>
                        <a:pt x="217408" y="52700"/>
                      </a:moveTo>
                      <a:lnTo>
                        <a:pt x="231011" y="79177"/>
                      </a:lnTo>
                      <a:cubicBezTo>
                        <a:pt x="222721" y="83418"/>
                        <a:pt x="214714" y="88374"/>
                        <a:pt x="207184" y="93881"/>
                      </a:cubicBezTo>
                      <a:lnTo>
                        <a:pt x="189592" y="69875"/>
                      </a:lnTo>
                      <a:cubicBezTo>
                        <a:pt x="198388" y="63445"/>
                        <a:pt x="207749" y="57671"/>
                        <a:pt x="217408" y="52700"/>
                      </a:cubicBezTo>
                      <a:close/>
                      <a:moveTo>
                        <a:pt x="164842" y="91157"/>
                      </a:moveTo>
                      <a:lnTo>
                        <a:pt x="185946" y="112142"/>
                      </a:lnTo>
                      <a:cubicBezTo>
                        <a:pt x="179353" y="118780"/>
                        <a:pt x="173236" y="125968"/>
                        <a:pt x="167774" y="133499"/>
                      </a:cubicBezTo>
                      <a:lnTo>
                        <a:pt x="143679" y="116056"/>
                      </a:lnTo>
                      <a:cubicBezTo>
                        <a:pt x="150034" y="107275"/>
                        <a:pt x="157162" y="98896"/>
                        <a:pt x="164842" y="91157"/>
                      </a:cubicBezTo>
                      <a:close/>
                      <a:moveTo>
                        <a:pt x="126623" y="143947"/>
                      </a:moveTo>
                      <a:lnTo>
                        <a:pt x="153189" y="157401"/>
                      </a:lnTo>
                      <a:cubicBezTo>
                        <a:pt x="148947" y="165765"/>
                        <a:pt x="145360" y="174471"/>
                        <a:pt x="142518" y="183297"/>
                      </a:cubicBezTo>
                      <a:lnTo>
                        <a:pt x="114181" y="174174"/>
                      </a:lnTo>
                      <a:cubicBezTo>
                        <a:pt x="117500" y="163890"/>
                        <a:pt x="121682" y="153710"/>
                        <a:pt x="126623" y="143947"/>
                      </a:cubicBezTo>
                      <a:close/>
                      <a:moveTo>
                        <a:pt x="104180" y="238125"/>
                      </a:moveTo>
                      <a:cubicBezTo>
                        <a:pt x="104180" y="227350"/>
                        <a:pt x="105013" y="216545"/>
                        <a:pt x="106650" y="205993"/>
                      </a:cubicBezTo>
                      <a:lnTo>
                        <a:pt x="136074" y="210562"/>
                      </a:lnTo>
                      <a:cubicBezTo>
                        <a:pt x="134660" y="219611"/>
                        <a:pt x="133945" y="228883"/>
                        <a:pt x="133945" y="238125"/>
                      </a:cubicBezTo>
                      <a:lnTo>
                        <a:pt x="104180" y="238512"/>
                      </a:lnTo>
                      <a:lnTo>
                        <a:pt x="104180" y="238125"/>
                      </a:lnTo>
                      <a:close/>
                      <a:moveTo>
                        <a:pt x="106769" y="271105"/>
                      </a:moveTo>
                      <a:lnTo>
                        <a:pt x="136163" y="266432"/>
                      </a:lnTo>
                      <a:cubicBezTo>
                        <a:pt x="137636" y="275615"/>
                        <a:pt x="139839" y="284783"/>
                        <a:pt x="142741" y="293653"/>
                      </a:cubicBezTo>
                      <a:lnTo>
                        <a:pt x="114434" y="302895"/>
                      </a:lnTo>
                      <a:cubicBezTo>
                        <a:pt x="111056" y="292522"/>
                        <a:pt x="108481" y="281851"/>
                        <a:pt x="106769" y="271105"/>
                      </a:cubicBezTo>
                      <a:close/>
                      <a:moveTo>
                        <a:pt x="127025" y="333063"/>
                      </a:moveTo>
                      <a:lnTo>
                        <a:pt x="153501" y="319489"/>
                      </a:lnTo>
                      <a:cubicBezTo>
                        <a:pt x="157743" y="327749"/>
                        <a:pt x="162684" y="335771"/>
                        <a:pt x="168191" y="343346"/>
                      </a:cubicBezTo>
                      <a:lnTo>
                        <a:pt x="144155" y="360878"/>
                      </a:lnTo>
                      <a:cubicBezTo>
                        <a:pt x="137726" y="352053"/>
                        <a:pt x="131966" y="342692"/>
                        <a:pt x="127025" y="333063"/>
                      </a:cubicBezTo>
                      <a:close/>
                      <a:moveTo>
                        <a:pt x="190292" y="406866"/>
                      </a:moveTo>
                      <a:cubicBezTo>
                        <a:pt x="181481" y="400467"/>
                        <a:pt x="173117" y="393353"/>
                        <a:pt x="165422" y="385658"/>
                      </a:cubicBezTo>
                      <a:lnTo>
                        <a:pt x="186437" y="364584"/>
                      </a:lnTo>
                      <a:cubicBezTo>
                        <a:pt x="193045" y="371177"/>
                        <a:pt x="200218" y="377294"/>
                        <a:pt x="207764" y="382771"/>
                      </a:cubicBezTo>
                      <a:lnTo>
                        <a:pt x="190292" y="406866"/>
                      </a:lnTo>
                      <a:close/>
                      <a:moveTo>
                        <a:pt x="248394" y="436409"/>
                      </a:moveTo>
                      <a:cubicBezTo>
                        <a:pt x="238051" y="433060"/>
                        <a:pt x="227871" y="428863"/>
                        <a:pt x="218167" y="423937"/>
                      </a:cubicBezTo>
                      <a:lnTo>
                        <a:pt x="231651" y="397401"/>
                      </a:lnTo>
                      <a:cubicBezTo>
                        <a:pt x="239970" y="401628"/>
                        <a:pt x="248692" y="405214"/>
                        <a:pt x="257547" y="408102"/>
                      </a:cubicBezTo>
                      <a:lnTo>
                        <a:pt x="248394" y="436409"/>
                      </a:lnTo>
                      <a:close/>
                      <a:moveTo>
                        <a:pt x="312539" y="446484"/>
                      </a:moveTo>
                      <a:cubicBezTo>
                        <a:pt x="301734" y="446484"/>
                        <a:pt x="290855" y="445636"/>
                        <a:pt x="280184" y="443984"/>
                      </a:cubicBezTo>
                      <a:lnTo>
                        <a:pt x="284783" y="414561"/>
                      </a:lnTo>
                      <a:cubicBezTo>
                        <a:pt x="293772" y="415975"/>
                        <a:pt x="302984" y="416689"/>
                        <a:pt x="312107" y="416719"/>
                      </a:cubicBezTo>
                      <a:cubicBezTo>
                        <a:pt x="312331" y="416704"/>
                        <a:pt x="312539" y="416704"/>
                        <a:pt x="312747" y="416704"/>
                      </a:cubicBezTo>
                      <a:lnTo>
                        <a:pt x="312747" y="431616"/>
                      </a:lnTo>
                      <a:lnTo>
                        <a:pt x="316156" y="446038"/>
                      </a:lnTo>
                      <a:cubicBezTo>
                        <a:pt x="314965" y="446336"/>
                        <a:pt x="313759" y="446484"/>
                        <a:pt x="312539" y="446484"/>
                      </a:cubicBezTo>
                      <a:close/>
                      <a:moveTo>
                        <a:pt x="289739" y="372070"/>
                      </a:moveTo>
                      <a:cubicBezTo>
                        <a:pt x="285542" y="372070"/>
                        <a:pt x="282134" y="368737"/>
                        <a:pt x="282134" y="364629"/>
                      </a:cubicBezTo>
                      <a:lnTo>
                        <a:pt x="282134" y="322228"/>
                      </a:lnTo>
                      <a:cubicBezTo>
                        <a:pt x="271239" y="318537"/>
                        <a:pt x="260553" y="313015"/>
                        <a:pt x="251936" y="305961"/>
                      </a:cubicBezTo>
                      <a:lnTo>
                        <a:pt x="213315" y="327288"/>
                      </a:lnTo>
                      <a:cubicBezTo>
                        <a:pt x="209714" y="329282"/>
                        <a:pt x="205145" y="328077"/>
                        <a:pt x="203031" y="324594"/>
                      </a:cubicBezTo>
                      <a:lnTo>
                        <a:pt x="179650" y="285854"/>
                      </a:lnTo>
                      <a:cubicBezTo>
                        <a:pt x="177478" y="282267"/>
                        <a:pt x="178757" y="277639"/>
                        <a:pt x="182463" y="275585"/>
                      </a:cubicBezTo>
                      <a:lnTo>
                        <a:pt x="220816" y="254407"/>
                      </a:lnTo>
                      <a:cubicBezTo>
                        <a:pt x="219789" y="249123"/>
                        <a:pt x="219194" y="243691"/>
                        <a:pt x="219194" y="238125"/>
                      </a:cubicBezTo>
                      <a:cubicBezTo>
                        <a:pt x="219194" y="232559"/>
                        <a:pt x="219804" y="227127"/>
                        <a:pt x="220816" y="221843"/>
                      </a:cubicBezTo>
                      <a:lnTo>
                        <a:pt x="182463" y="200665"/>
                      </a:lnTo>
                      <a:cubicBezTo>
                        <a:pt x="178757" y="198611"/>
                        <a:pt x="177492" y="193983"/>
                        <a:pt x="179650" y="190396"/>
                      </a:cubicBezTo>
                      <a:lnTo>
                        <a:pt x="203031" y="151656"/>
                      </a:lnTo>
                      <a:cubicBezTo>
                        <a:pt x="205130" y="148173"/>
                        <a:pt x="209699" y="146968"/>
                        <a:pt x="213315" y="148962"/>
                      </a:cubicBezTo>
                      <a:lnTo>
                        <a:pt x="251936" y="170289"/>
                      </a:lnTo>
                      <a:cubicBezTo>
                        <a:pt x="260553" y="163235"/>
                        <a:pt x="271239" y="157713"/>
                        <a:pt x="282134" y="154022"/>
                      </a:cubicBezTo>
                      <a:lnTo>
                        <a:pt x="282134" y="111621"/>
                      </a:lnTo>
                      <a:cubicBezTo>
                        <a:pt x="282134" y="107513"/>
                        <a:pt x="285542" y="104180"/>
                        <a:pt x="289739" y="104180"/>
                      </a:cubicBezTo>
                      <a:lnTo>
                        <a:pt x="335354" y="104180"/>
                      </a:lnTo>
                      <a:cubicBezTo>
                        <a:pt x="339551" y="104180"/>
                        <a:pt x="342960" y="107513"/>
                        <a:pt x="342960" y="111621"/>
                      </a:cubicBezTo>
                      <a:lnTo>
                        <a:pt x="342960" y="154022"/>
                      </a:lnTo>
                      <a:cubicBezTo>
                        <a:pt x="353854" y="157713"/>
                        <a:pt x="364554" y="163235"/>
                        <a:pt x="373157" y="170289"/>
                      </a:cubicBezTo>
                      <a:lnTo>
                        <a:pt x="411778" y="148962"/>
                      </a:lnTo>
                      <a:cubicBezTo>
                        <a:pt x="415379" y="146968"/>
                        <a:pt x="419948" y="148173"/>
                        <a:pt x="422062" y="151656"/>
                      </a:cubicBezTo>
                      <a:lnTo>
                        <a:pt x="445443" y="190396"/>
                      </a:lnTo>
                      <a:cubicBezTo>
                        <a:pt x="447615" y="193983"/>
                        <a:pt x="446336" y="198611"/>
                        <a:pt x="442630" y="200665"/>
                      </a:cubicBezTo>
                      <a:lnTo>
                        <a:pt x="404277" y="221843"/>
                      </a:lnTo>
                      <a:cubicBezTo>
                        <a:pt x="405304" y="227127"/>
                        <a:pt x="405899" y="232559"/>
                        <a:pt x="405899" y="238125"/>
                      </a:cubicBezTo>
                      <a:cubicBezTo>
                        <a:pt x="405899" y="243691"/>
                        <a:pt x="405289" y="249123"/>
                        <a:pt x="404277" y="254407"/>
                      </a:cubicBezTo>
                      <a:lnTo>
                        <a:pt x="442630" y="275585"/>
                      </a:lnTo>
                      <a:cubicBezTo>
                        <a:pt x="446336" y="277639"/>
                        <a:pt x="447601" y="282267"/>
                        <a:pt x="445443" y="285854"/>
                      </a:cubicBezTo>
                      <a:lnTo>
                        <a:pt x="422062" y="324594"/>
                      </a:lnTo>
                      <a:cubicBezTo>
                        <a:pt x="419963" y="328077"/>
                        <a:pt x="415394" y="329282"/>
                        <a:pt x="411778" y="327288"/>
                      </a:cubicBezTo>
                      <a:lnTo>
                        <a:pt x="373157" y="305961"/>
                      </a:lnTo>
                      <a:cubicBezTo>
                        <a:pt x="364540" y="313015"/>
                        <a:pt x="353854" y="318537"/>
                        <a:pt x="342960" y="322228"/>
                      </a:cubicBezTo>
                      <a:lnTo>
                        <a:pt x="342960" y="364629"/>
                      </a:lnTo>
                      <a:cubicBezTo>
                        <a:pt x="342960" y="368737"/>
                        <a:pt x="339551" y="372070"/>
                        <a:pt x="335354" y="372070"/>
                      </a:cubicBezTo>
                      <a:lnTo>
                        <a:pt x="289739" y="372070"/>
                      </a:lnTo>
                      <a:close/>
                      <a:moveTo>
                        <a:pt x="345311" y="443895"/>
                      </a:moveTo>
                      <a:lnTo>
                        <a:pt x="340668" y="414501"/>
                      </a:lnTo>
                      <a:cubicBezTo>
                        <a:pt x="349865" y="413043"/>
                        <a:pt x="359018" y="410840"/>
                        <a:pt x="367903" y="407968"/>
                      </a:cubicBezTo>
                      <a:lnTo>
                        <a:pt x="377086" y="436275"/>
                      </a:lnTo>
                      <a:cubicBezTo>
                        <a:pt x="366742" y="439638"/>
                        <a:pt x="356042" y="442213"/>
                        <a:pt x="345311" y="443895"/>
                      </a:cubicBezTo>
                      <a:close/>
                      <a:moveTo>
                        <a:pt x="407283" y="423743"/>
                      </a:moveTo>
                      <a:lnTo>
                        <a:pt x="393740" y="397237"/>
                      </a:lnTo>
                      <a:cubicBezTo>
                        <a:pt x="402015" y="393025"/>
                        <a:pt x="410036" y="388084"/>
                        <a:pt x="417597" y="382592"/>
                      </a:cubicBezTo>
                      <a:lnTo>
                        <a:pt x="435129" y="406628"/>
                      </a:lnTo>
                      <a:cubicBezTo>
                        <a:pt x="426318" y="413043"/>
                        <a:pt x="416942" y="418817"/>
                        <a:pt x="407283" y="423743"/>
                      </a:cubicBezTo>
                      <a:close/>
                      <a:moveTo>
                        <a:pt x="459938" y="385405"/>
                      </a:moveTo>
                      <a:lnTo>
                        <a:pt x="438864" y="364391"/>
                      </a:lnTo>
                      <a:cubicBezTo>
                        <a:pt x="445472" y="357768"/>
                        <a:pt x="451604" y="350580"/>
                        <a:pt x="457081" y="343064"/>
                      </a:cubicBezTo>
                      <a:lnTo>
                        <a:pt x="481146" y="360566"/>
                      </a:lnTo>
                      <a:cubicBezTo>
                        <a:pt x="474777" y="369317"/>
                        <a:pt x="467648" y="377681"/>
                        <a:pt x="459938" y="385405"/>
                      </a:cubicBezTo>
                      <a:close/>
                      <a:moveTo>
                        <a:pt x="498262" y="332690"/>
                      </a:moveTo>
                      <a:lnTo>
                        <a:pt x="471726" y="319207"/>
                      </a:lnTo>
                      <a:cubicBezTo>
                        <a:pt x="475967" y="310872"/>
                        <a:pt x="479569" y="302151"/>
                        <a:pt x="482456" y="293310"/>
                      </a:cubicBezTo>
                      <a:lnTo>
                        <a:pt x="510763" y="302493"/>
                      </a:lnTo>
                      <a:cubicBezTo>
                        <a:pt x="507415" y="312837"/>
                        <a:pt x="503203" y="322987"/>
                        <a:pt x="498262" y="332690"/>
                      </a:cubicBezTo>
                      <a:close/>
                      <a:moveTo>
                        <a:pt x="518353" y="270689"/>
                      </a:moveTo>
                      <a:lnTo>
                        <a:pt x="488960" y="266045"/>
                      </a:lnTo>
                      <a:cubicBezTo>
                        <a:pt x="490404" y="256922"/>
                        <a:pt x="491133" y="247516"/>
                        <a:pt x="491133" y="238125"/>
                      </a:cubicBezTo>
                      <a:lnTo>
                        <a:pt x="516106" y="237470"/>
                      </a:lnTo>
                      <a:lnTo>
                        <a:pt x="520884" y="237530"/>
                      </a:lnTo>
                      <a:cubicBezTo>
                        <a:pt x="520898" y="249064"/>
                        <a:pt x="520035" y="260033"/>
                        <a:pt x="518353" y="270689"/>
                      </a:cubicBezTo>
                      <a:close/>
                    </a:path>
                  </a:pathLst>
                </a:custGeom>
                <a:solidFill>
                  <a:schemeClr val="accent2"/>
                </a:solidFill>
                <a:ln w="14883" cap="flat">
                  <a:noFill/>
                  <a:prstDash val="solid"/>
                  <a:miter/>
                </a:ln>
              </p:spPr>
              <p:txBody>
                <a:bodyPr tIns="548640" rtlCol="0" anchor="b"/>
                <a:lstStyle/>
                <a:p>
                  <a:endParaRPr lang="en-US" dirty="0"/>
                </a:p>
              </p:txBody>
            </p:sp>
            <p:sp>
              <p:nvSpPr>
                <p:cNvPr id="443" name="Freeform: Shape 442">
                  <a:extLst>
                    <a:ext uri="{FF2B5EF4-FFF2-40B4-BE49-F238E27FC236}">
                      <a16:creationId xmlns:a16="http://schemas.microsoft.com/office/drawing/2014/main" id="{B2E71C35-0DA8-42CB-9C71-6816A2E18961}"/>
                    </a:ext>
                  </a:extLst>
                </p:cNvPr>
                <p:cNvSpPr/>
                <p:nvPr/>
              </p:nvSpPr>
              <p:spPr>
                <a:xfrm>
                  <a:off x="-806047" y="4693419"/>
                  <a:ext cx="89297" cy="89297"/>
                </a:xfrm>
                <a:custGeom>
                  <a:avLst/>
                  <a:gdLst>
                    <a:gd name="connsiteX0" fmla="*/ 89297 w 89296"/>
                    <a:gd name="connsiteY0" fmla="*/ 44648 h 89296"/>
                    <a:gd name="connsiteX1" fmla="*/ 44648 w 89296"/>
                    <a:gd name="connsiteY1" fmla="*/ 89297 h 89296"/>
                    <a:gd name="connsiteX2" fmla="*/ 0 w 89296"/>
                    <a:gd name="connsiteY2" fmla="*/ 44648 h 89296"/>
                    <a:gd name="connsiteX3" fmla="*/ 44648 w 89296"/>
                    <a:gd name="connsiteY3" fmla="*/ 0 h 89296"/>
                    <a:gd name="connsiteX4" fmla="*/ 89297 w 89296"/>
                    <a:gd name="connsiteY4" fmla="*/ 44648 h 89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96" h="89296">
                      <a:moveTo>
                        <a:pt x="89297" y="44648"/>
                      </a:moveTo>
                      <a:cubicBezTo>
                        <a:pt x="89297" y="69307"/>
                        <a:pt x="69307" y="89297"/>
                        <a:pt x="44648" y="89297"/>
                      </a:cubicBezTo>
                      <a:cubicBezTo>
                        <a:pt x="19990" y="89297"/>
                        <a:pt x="0" y="69307"/>
                        <a:pt x="0" y="44648"/>
                      </a:cubicBezTo>
                      <a:cubicBezTo>
                        <a:pt x="0" y="19990"/>
                        <a:pt x="19990" y="0"/>
                        <a:pt x="44648" y="0"/>
                      </a:cubicBezTo>
                      <a:cubicBezTo>
                        <a:pt x="69307" y="0"/>
                        <a:pt x="89297" y="19990"/>
                        <a:pt x="89297" y="44648"/>
                      </a:cubicBezTo>
                      <a:close/>
                    </a:path>
                  </a:pathLst>
                </a:custGeom>
                <a:solidFill>
                  <a:schemeClr val="accent3"/>
                </a:solidFill>
                <a:ln w="14883" cap="flat">
                  <a:noFill/>
                  <a:prstDash val="solid"/>
                  <a:miter/>
                </a:ln>
              </p:spPr>
              <p:txBody>
                <a:bodyPr tIns="548640" rtlCol="0" anchor="b"/>
                <a:lstStyle/>
                <a:p>
                  <a:endParaRPr lang="en-US" dirty="0"/>
                </a:p>
              </p:txBody>
            </p:sp>
          </p:grpSp>
        </p:grpSp>
        <p:grpSp>
          <p:nvGrpSpPr>
            <p:cNvPr id="444" name="Group 443">
              <a:extLst>
                <a:ext uri="{FF2B5EF4-FFF2-40B4-BE49-F238E27FC236}">
                  <a16:creationId xmlns:a16="http://schemas.microsoft.com/office/drawing/2014/main" id="{FE1BEBFB-0688-4E93-8D85-1AB5644E332E}"/>
                </a:ext>
              </a:extLst>
            </p:cNvPr>
            <p:cNvGrpSpPr/>
            <p:nvPr/>
          </p:nvGrpSpPr>
          <p:grpSpPr>
            <a:xfrm>
              <a:off x="1940026" y="4962985"/>
              <a:ext cx="730022" cy="730022"/>
              <a:chOff x="3044824" y="3310179"/>
              <a:chExt cx="856620" cy="856620"/>
            </a:xfrm>
          </p:grpSpPr>
          <p:sp>
            <p:nvSpPr>
              <p:cNvPr id="445" name="Oval 444">
                <a:extLst>
                  <a:ext uri="{FF2B5EF4-FFF2-40B4-BE49-F238E27FC236}">
                    <a16:creationId xmlns:a16="http://schemas.microsoft.com/office/drawing/2014/main" id="{A3A0192B-8C7E-42C2-ACCE-5CB8C1F76538}"/>
                  </a:ext>
                </a:extLst>
              </p:cNvPr>
              <p:cNvSpPr/>
              <p:nvPr/>
            </p:nvSpPr>
            <p:spPr bwMode="auto">
              <a:xfrm>
                <a:off x="3044824" y="3310179"/>
                <a:ext cx="856620" cy="8566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548640" rIns="4572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900" i="1" dirty="0">
                    <a:solidFill>
                      <a:schemeClr val="tx1"/>
                    </a:solidFill>
                    <a:ea typeface="Segoe UI" pitchFamily="34" charset="0"/>
                    <a:cs typeface="Segoe UI" pitchFamily="34" charset="0"/>
                  </a:rPr>
                  <a:t>3</a:t>
                </a:r>
                <a:r>
                  <a:rPr lang="en-US" sz="900" i="1" baseline="30000" dirty="0">
                    <a:solidFill>
                      <a:schemeClr val="tx1"/>
                    </a:solidFill>
                    <a:ea typeface="Segoe UI" pitchFamily="34" charset="0"/>
                    <a:cs typeface="Segoe UI" pitchFamily="34" charset="0"/>
                  </a:rPr>
                  <a:t>rd</a:t>
                </a:r>
                <a:r>
                  <a:rPr lang="en-US" sz="900" i="1" dirty="0">
                    <a:solidFill>
                      <a:schemeClr val="tx1"/>
                    </a:solidFill>
                    <a:ea typeface="Segoe UI" pitchFamily="34" charset="0"/>
                    <a:cs typeface="Segoe UI" pitchFamily="34" charset="0"/>
                  </a:rPr>
                  <a:t> party software</a:t>
                </a:r>
              </a:p>
            </p:txBody>
          </p:sp>
          <p:grpSp>
            <p:nvGrpSpPr>
              <p:cNvPr id="446" name="Group 445">
                <a:extLst>
                  <a:ext uri="{FF2B5EF4-FFF2-40B4-BE49-F238E27FC236}">
                    <a16:creationId xmlns:a16="http://schemas.microsoft.com/office/drawing/2014/main" id="{5677DCA9-CCC4-4FED-A4B0-B559B4DEBC5E}"/>
                  </a:ext>
                </a:extLst>
              </p:cNvPr>
              <p:cNvGrpSpPr/>
              <p:nvPr/>
            </p:nvGrpSpPr>
            <p:grpSpPr>
              <a:xfrm>
                <a:off x="3340104" y="3332270"/>
                <a:ext cx="266062" cy="392754"/>
                <a:chOff x="-1071110" y="4246935"/>
                <a:chExt cx="625078" cy="922734"/>
              </a:xfrm>
            </p:grpSpPr>
            <p:sp>
              <p:nvSpPr>
                <p:cNvPr id="447" name="Freeform: Shape 446">
                  <a:extLst>
                    <a:ext uri="{FF2B5EF4-FFF2-40B4-BE49-F238E27FC236}">
                      <a16:creationId xmlns:a16="http://schemas.microsoft.com/office/drawing/2014/main" id="{A4B7A22F-4988-405A-AF95-099B16338CAB}"/>
                    </a:ext>
                  </a:extLst>
                </p:cNvPr>
                <p:cNvSpPr/>
                <p:nvPr/>
              </p:nvSpPr>
              <p:spPr>
                <a:xfrm>
                  <a:off x="-1071110" y="5005958"/>
                  <a:ext cx="625078" cy="163711"/>
                </a:xfrm>
                <a:custGeom>
                  <a:avLst/>
                  <a:gdLst>
                    <a:gd name="connsiteX0" fmla="*/ 0 w 625078"/>
                    <a:gd name="connsiteY0" fmla="*/ 29766 h 163710"/>
                    <a:gd name="connsiteX1" fmla="*/ 14883 w 625078"/>
                    <a:gd name="connsiteY1" fmla="*/ 44648 h 163710"/>
                    <a:gd name="connsiteX2" fmla="*/ 282773 w 625078"/>
                    <a:gd name="connsiteY2" fmla="*/ 44648 h 163710"/>
                    <a:gd name="connsiteX3" fmla="*/ 282773 w 625078"/>
                    <a:gd name="connsiteY3" fmla="*/ 133945 h 163710"/>
                    <a:gd name="connsiteX4" fmla="*/ 148828 w 625078"/>
                    <a:gd name="connsiteY4" fmla="*/ 133945 h 163710"/>
                    <a:gd name="connsiteX5" fmla="*/ 148828 w 625078"/>
                    <a:gd name="connsiteY5" fmla="*/ 163711 h 163710"/>
                    <a:gd name="connsiteX6" fmla="*/ 476250 w 625078"/>
                    <a:gd name="connsiteY6" fmla="*/ 163711 h 163710"/>
                    <a:gd name="connsiteX7" fmla="*/ 476250 w 625078"/>
                    <a:gd name="connsiteY7" fmla="*/ 133945 h 163710"/>
                    <a:gd name="connsiteX8" fmla="*/ 342305 w 625078"/>
                    <a:gd name="connsiteY8" fmla="*/ 133945 h 163710"/>
                    <a:gd name="connsiteX9" fmla="*/ 342305 w 625078"/>
                    <a:gd name="connsiteY9" fmla="*/ 44648 h 163710"/>
                    <a:gd name="connsiteX10" fmla="*/ 610195 w 625078"/>
                    <a:gd name="connsiteY10" fmla="*/ 44648 h 163710"/>
                    <a:gd name="connsiteX11" fmla="*/ 625078 w 625078"/>
                    <a:gd name="connsiteY11" fmla="*/ 29766 h 163710"/>
                    <a:gd name="connsiteX12" fmla="*/ 625078 w 625078"/>
                    <a:gd name="connsiteY12" fmla="*/ 0 h 163710"/>
                    <a:gd name="connsiteX13" fmla="*/ 0 w 625078"/>
                    <a:gd name="connsiteY13" fmla="*/ 0 h 163710"/>
                    <a:gd name="connsiteX14" fmla="*/ 0 w 625078"/>
                    <a:gd name="connsiteY14" fmla="*/ 29766 h 16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5078" h="163710">
                      <a:moveTo>
                        <a:pt x="0" y="29766"/>
                      </a:moveTo>
                      <a:cubicBezTo>
                        <a:pt x="0" y="37981"/>
                        <a:pt x="6667" y="44648"/>
                        <a:pt x="14883" y="44648"/>
                      </a:cubicBezTo>
                      <a:lnTo>
                        <a:pt x="282773" y="44648"/>
                      </a:lnTo>
                      <a:lnTo>
                        <a:pt x="282773" y="133945"/>
                      </a:lnTo>
                      <a:lnTo>
                        <a:pt x="148828" y="133945"/>
                      </a:lnTo>
                      <a:lnTo>
                        <a:pt x="148828" y="163711"/>
                      </a:lnTo>
                      <a:lnTo>
                        <a:pt x="476250" y="163711"/>
                      </a:lnTo>
                      <a:lnTo>
                        <a:pt x="476250" y="133945"/>
                      </a:lnTo>
                      <a:lnTo>
                        <a:pt x="342305" y="133945"/>
                      </a:lnTo>
                      <a:lnTo>
                        <a:pt x="342305" y="44648"/>
                      </a:lnTo>
                      <a:lnTo>
                        <a:pt x="610195" y="44648"/>
                      </a:lnTo>
                      <a:cubicBezTo>
                        <a:pt x="618411" y="44648"/>
                        <a:pt x="625078" y="37981"/>
                        <a:pt x="625078" y="29766"/>
                      </a:cubicBezTo>
                      <a:lnTo>
                        <a:pt x="625078" y="0"/>
                      </a:lnTo>
                      <a:lnTo>
                        <a:pt x="0" y="0"/>
                      </a:lnTo>
                      <a:lnTo>
                        <a:pt x="0" y="29766"/>
                      </a:lnTo>
                      <a:close/>
                    </a:path>
                  </a:pathLst>
                </a:custGeom>
                <a:solidFill>
                  <a:schemeClr val="tx1">
                    <a:lumMod val="75000"/>
                    <a:lumOff val="25000"/>
                  </a:schemeClr>
                </a:solidFill>
                <a:ln w="14883" cap="flat">
                  <a:noFill/>
                  <a:prstDash val="solid"/>
                  <a:miter/>
                </a:ln>
              </p:spPr>
              <p:txBody>
                <a:bodyPr tIns="548640" rtlCol="0" anchor="b"/>
                <a:lstStyle/>
                <a:p>
                  <a:endParaRPr lang="en-US" dirty="0"/>
                </a:p>
              </p:txBody>
            </p:sp>
            <p:sp>
              <p:nvSpPr>
                <p:cNvPr id="448" name="Freeform: Shape 447">
                  <a:extLst>
                    <a:ext uri="{FF2B5EF4-FFF2-40B4-BE49-F238E27FC236}">
                      <a16:creationId xmlns:a16="http://schemas.microsoft.com/office/drawing/2014/main" id="{1FF2DA50-76A1-4ABD-943A-2F1502B777A5}"/>
                    </a:ext>
                  </a:extLst>
                </p:cNvPr>
                <p:cNvSpPr/>
                <p:nvPr/>
              </p:nvSpPr>
              <p:spPr>
                <a:xfrm>
                  <a:off x="-832985" y="4246935"/>
                  <a:ext cx="148828" cy="178594"/>
                </a:xfrm>
                <a:custGeom>
                  <a:avLst/>
                  <a:gdLst>
                    <a:gd name="connsiteX0" fmla="*/ 74414 w 148828"/>
                    <a:gd name="connsiteY0" fmla="*/ 178594 h 178593"/>
                    <a:gd name="connsiteX1" fmla="*/ 148828 w 148828"/>
                    <a:gd name="connsiteY1" fmla="*/ 89297 h 178593"/>
                    <a:gd name="connsiteX2" fmla="*/ 104180 w 148828"/>
                    <a:gd name="connsiteY2" fmla="*/ 89297 h 178593"/>
                    <a:gd name="connsiteX3" fmla="*/ 104180 w 148828"/>
                    <a:gd name="connsiteY3" fmla="*/ 0 h 178593"/>
                    <a:gd name="connsiteX4" fmla="*/ 44648 w 148828"/>
                    <a:gd name="connsiteY4" fmla="*/ 0 h 178593"/>
                    <a:gd name="connsiteX5" fmla="*/ 44648 w 148828"/>
                    <a:gd name="connsiteY5" fmla="*/ 89297 h 178593"/>
                    <a:gd name="connsiteX6" fmla="*/ 0 w 148828"/>
                    <a:gd name="connsiteY6" fmla="*/ 89297 h 17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828" h="178593">
                      <a:moveTo>
                        <a:pt x="74414" y="178594"/>
                      </a:moveTo>
                      <a:lnTo>
                        <a:pt x="148828" y="89297"/>
                      </a:lnTo>
                      <a:lnTo>
                        <a:pt x="104180" y="89297"/>
                      </a:lnTo>
                      <a:lnTo>
                        <a:pt x="104180" y="0"/>
                      </a:lnTo>
                      <a:lnTo>
                        <a:pt x="44648" y="0"/>
                      </a:lnTo>
                      <a:lnTo>
                        <a:pt x="44648" y="89297"/>
                      </a:lnTo>
                      <a:lnTo>
                        <a:pt x="0" y="89297"/>
                      </a:lnTo>
                      <a:close/>
                    </a:path>
                  </a:pathLst>
                </a:custGeom>
                <a:solidFill>
                  <a:schemeClr val="accent3"/>
                </a:solidFill>
                <a:ln w="14883" cap="flat">
                  <a:noFill/>
                  <a:prstDash val="solid"/>
                  <a:miter/>
                </a:ln>
              </p:spPr>
              <p:txBody>
                <a:bodyPr tIns="548640" rtlCol="0" anchor="b"/>
                <a:lstStyle/>
                <a:p>
                  <a:endParaRPr lang="en-US" dirty="0"/>
                </a:p>
              </p:txBody>
            </p:sp>
            <p:sp>
              <p:nvSpPr>
                <p:cNvPr id="449" name="Freeform: Shape 448">
                  <a:extLst>
                    <a:ext uri="{FF2B5EF4-FFF2-40B4-BE49-F238E27FC236}">
                      <a16:creationId xmlns:a16="http://schemas.microsoft.com/office/drawing/2014/main" id="{558014CA-88BA-41B3-B5EC-AA611B033912}"/>
                    </a:ext>
                  </a:extLst>
                </p:cNvPr>
                <p:cNvSpPr/>
                <p:nvPr/>
              </p:nvSpPr>
              <p:spPr>
                <a:xfrm>
                  <a:off x="-907399" y="4365997"/>
                  <a:ext cx="297656" cy="104180"/>
                </a:xfrm>
                <a:custGeom>
                  <a:avLst/>
                  <a:gdLst>
                    <a:gd name="connsiteX0" fmla="*/ 0 w 297656"/>
                    <a:gd name="connsiteY0" fmla="*/ 0 h 104179"/>
                    <a:gd name="connsiteX1" fmla="*/ 0 w 297656"/>
                    <a:gd name="connsiteY1" fmla="*/ 89297 h 104179"/>
                    <a:gd name="connsiteX2" fmla="*/ 14883 w 297656"/>
                    <a:gd name="connsiteY2" fmla="*/ 104180 h 104179"/>
                    <a:gd name="connsiteX3" fmla="*/ 282773 w 297656"/>
                    <a:gd name="connsiteY3" fmla="*/ 104180 h 104179"/>
                    <a:gd name="connsiteX4" fmla="*/ 297656 w 297656"/>
                    <a:gd name="connsiteY4" fmla="*/ 89297 h 104179"/>
                    <a:gd name="connsiteX5" fmla="*/ 297656 w 297656"/>
                    <a:gd name="connsiteY5" fmla="*/ 0 h 104179"/>
                    <a:gd name="connsiteX6" fmla="*/ 267891 w 297656"/>
                    <a:gd name="connsiteY6" fmla="*/ 0 h 104179"/>
                    <a:gd name="connsiteX7" fmla="*/ 267891 w 297656"/>
                    <a:gd name="connsiteY7" fmla="*/ 74414 h 104179"/>
                    <a:gd name="connsiteX8" fmla="*/ 29766 w 297656"/>
                    <a:gd name="connsiteY8" fmla="*/ 74414 h 104179"/>
                    <a:gd name="connsiteX9" fmla="*/ 29766 w 297656"/>
                    <a:gd name="connsiteY9" fmla="*/ 0 h 104179"/>
                    <a:gd name="connsiteX10" fmla="*/ 0 w 297656"/>
                    <a:gd name="connsiteY10" fmla="*/ 0 h 10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656" h="104179">
                      <a:moveTo>
                        <a:pt x="0" y="0"/>
                      </a:moveTo>
                      <a:lnTo>
                        <a:pt x="0" y="89297"/>
                      </a:lnTo>
                      <a:cubicBezTo>
                        <a:pt x="0" y="97527"/>
                        <a:pt x="6653" y="104180"/>
                        <a:pt x="14883" y="104180"/>
                      </a:cubicBezTo>
                      <a:lnTo>
                        <a:pt x="282773" y="104180"/>
                      </a:lnTo>
                      <a:cubicBezTo>
                        <a:pt x="291004" y="104180"/>
                        <a:pt x="297656" y="97527"/>
                        <a:pt x="297656" y="89297"/>
                      </a:cubicBezTo>
                      <a:lnTo>
                        <a:pt x="297656" y="0"/>
                      </a:lnTo>
                      <a:lnTo>
                        <a:pt x="267891" y="0"/>
                      </a:lnTo>
                      <a:lnTo>
                        <a:pt x="267891" y="74414"/>
                      </a:lnTo>
                      <a:lnTo>
                        <a:pt x="29766" y="74414"/>
                      </a:lnTo>
                      <a:lnTo>
                        <a:pt x="29766" y="0"/>
                      </a:lnTo>
                      <a:lnTo>
                        <a:pt x="0" y="0"/>
                      </a:lnTo>
                      <a:close/>
                    </a:path>
                  </a:pathLst>
                </a:custGeom>
                <a:solidFill>
                  <a:schemeClr val="tx1">
                    <a:lumMod val="75000"/>
                    <a:lumOff val="25000"/>
                  </a:schemeClr>
                </a:solidFill>
                <a:ln w="14883" cap="flat">
                  <a:noFill/>
                  <a:prstDash val="solid"/>
                  <a:miter/>
                </a:ln>
              </p:spPr>
              <p:txBody>
                <a:bodyPr tIns="548640" rtlCol="0" anchor="b"/>
                <a:lstStyle/>
                <a:p>
                  <a:endParaRPr lang="en-US" dirty="0"/>
                </a:p>
              </p:txBody>
            </p:sp>
            <p:sp>
              <p:nvSpPr>
                <p:cNvPr id="450" name="Freeform: Shape 449">
                  <a:extLst>
                    <a:ext uri="{FF2B5EF4-FFF2-40B4-BE49-F238E27FC236}">
                      <a16:creationId xmlns:a16="http://schemas.microsoft.com/office/drawing/2014/main" id="{E4F91A52-2665-4A87-953D-95DAC1D93CE2}"/>
                    </a:ext>
                  </a:extLst>
                </p:cNvPr>
                <p:cNvSpPr/>
                <p:nvPr/>
              </p:nvSpPr>
              <p:spPr>
                <a:xfrm>
                  <a:off x="-1071110" y="4499943"/>
                  <a:ext cx="625078" cy="476250"/>
                </a:xfrm>
                <a:custGeom>
                  <a:avLst/>
                  <a:gdLst>
                    <a:gd name="connsiteX0" fmla="*/ 610195 w 625078"/>
                    <a:gd name="connsiteY0" fmla="*/ 0 h 476250"/>
                    <a:gd name="connsiteX1" fmla="*/ 14883 w 625078"/>
                    <a:gd name="connsiteY1" fmla="*/ 0 h 476250"/>
                    <a:gd name="connsiteX2" fmla="*/ 0 w 625078"/>
                    <a:gd name="connsiteY2" fmla="*/ 14883 h 476250"/>
                    <a:gd name="connsiteX3" fmla="*/ 0 w 625078"/>
                    <a:gd name="connsiteY3" fmla="*/ 476250 h 476250"/>
                    <a:gd name="connsiteX4" fmla="*/ 625078 w 625078"/>
                    <a:gd name="connsiteY4" fmla="*/ 476250 h 476250"/>
                    <a:gd name="connsiteX5" fmla="*/ 625078 w 625078"/>
                    <a:gd name="connsiteY5" fmla="*/ 14883 h 476250"/>
                    <a:gd name="connsiteX6" fmla="*/ 610195 w 625078"/>
                    <a:gd name="connsiteY6" fmla="*/ 0 h 476250"/>
                    <a:gd name="connsiteX7" fmla="*/ 518234 w 625078"/>
                    <a:gd name="connsiteY7" fmla="*/ 204698 h 476250"/>
                    <a:gd name="connsiteX8" fmla="*/ 488841 w 625078"/>
                    <a:gd name="connsiteY8" fmla="*/ 209461 h 476250"/>
                    <a:gd name="connsiteX9" fmla="*/ 482218 w 625078"/>
                    <a:gd name="connsiteY9" fmla="*/ 182270 h 476250"/>
                    <a:gd name="connsiteX10" fmla="*/ 510480 w 625078"/>
                    <a:gd name="connsiteY10" fmla="*/ 172938 h 476250"/>
                    <a:gd name="connsiteX11" fmla="*/ 518234 w 625078"/>
                    <a:gd name="connsiteY11" fmla="*/ 204698 h 476250"/>
                    <a:gd name="connsiteX12" fmla="*/ 497875 w 625078"/>
                    <a:gd name="connsiteY12" fmla="*/ 142845 h 476250"/>
                    <a:gd name="connsiteX13" fmla="*/ 471398 w 625078"/>
                    <a:gd name="connsiteY13" fmla="*/ 156448 h 476250"/>
                    <a:gd name="connsiteX14" fmla="*/ 456679 w 625078"/>
                    <a:gd name="connsiteY14" fmla="*/ 132636 h 476250"/>
                    <a:gd name="connsiteX15" fmla="*/ 480685 w 625078"/>
                    <a:gd name="connsiteY15" fmla="*/ 115044 h 476250"/>
                    <a:gd name="connsiteX16" fmla="*/ 497875 w 625078"/>
                    <a:gd name="connsiteY16" fmla="*/ 142845 h 476250"/>
                    <a:gd name="connsiteX17" fmla="*/ 434459 w 625078"/>
                    <a:gd name="connsiteY17" fmla="*/ 69146 h 476250"/>
                    <a:gd name="connsiteX18" fmla="*/ 459358 w 625078"/>
                    <a:gd name="connsiteY18" fmla="*/ 90279 h 476250"/>
                    <a:gd name="connsiteX19" fmla="*/ 438403 w 625078"/>
                    <a:gd name="connsiteY19" fmla="*/ 111413 h 476250"/>
                    <a:gd name="connsiteX20" fmla="*/ 417016 w 625078"/>
                    <a:gd name="connsiteY20" fmla="*/ 93271 h 476250"/>
                    <a:gd name="connsiteX21" fmla="*/ 434459 w 625078"/>
                    <a:gd name="connsiteY21" fmla="*/ 69146 h 476250"/>
                    <a:gd name="connsiteX22" fmla="*/ 376282 w 625078"/>
                    <a:gd name="connsiteY22" fmla="*/ 39707 h 476250"/>
                    <a:gd name="connsiteX23" fmla="*/ 406524 w 625078"/>
                    <a:gd name="connsiteY23" fmla="*/ 52120 h 476250"/>
                    <a:gd name="connsiteX24" fmla="*/ 393100 w 625078"/>
                    <a:gd name="connsiteY24" fmla="*/ 78685 h 476250"/>
                    <a:gd name="connsiteX25" fmla="*/ 367189 w 625078"/>
                    <a:gd name="connsiteY25" fmla="*/ 68044 h 476250"/>
                    <a:gd name="connsiteX26" fmla="*/ 376282 w 625078"/>
                    <a:gd name="connsiteY26" fmla="*/ 39707 h 476250"/>
                    <a:gd name="connsiteX27" fmla="*/ 312539 w 625078"/>
                    <a:gd name="connsiteY27" fmla="*/ 29766 h 476250"/>
                    <a:gd name="connsiteX28" fmla="*/ 344463 w 625078"/>
                    <a:gd name="connsiteY28" fmla="*/ 32192 h 476250"/>
                    <a:gd name="connsiteX29" fmla="*/ 339953 w 625078"/>
                    <a:gd name="connsiteY29" fmla="*/ 61615 h 476250"/>
                    <a:gd name="connsiteX30" fmla="*/ 312539 w 625078"/>
                    <a:gd name="connsiteY30" fmla="*/ 59531 h 476250"/>
                    <a:gd name="connsiteX31" fmla="*/ 311944 w 625078"/>
                    <a:gd name="connsiteY31" fmla="*/ 29766 h 476250"/>
                    <a:gd name="connsiteX32" fmla="*/ 312539 w 625078"/>
                    <a:gd name="connsiteY32" fmla="*/ 29766 h 476250"/>
                    <a:gd name="connsiteX33" fmla="*/ 279336 w 625078"/>
                    <a:gd name="connsiteY33" fmla="*/ 32385 h 476250"/>
                    <a:gd name="connsiteX34" fmla="*/ 284098 w 625078"/>
                    <a:gd name="connsiteY34" fmla="*/ 61779 h 476250"/>
                    <a:gd name="connsiteX35" fmla="*/ 256862 w 625078"/>
                    <a:gd name="connsiteY35" fmla="*/ 68387 h 476250"/>
                    <a:gd name="connsiteX36" fmla="*/ 247590 w 625078"/>
                    <a:gd name="connsiteY36" fmla="*/ 40109 h 476250"/>
                    <a:gd name="connsiteX37" fmla="*/ 279336 w 625078"/>
                    <a:gd name="connsiteY37" fmla="*/ 32385 h 476250"/>
                    <a:gd name="connsiteX38" fmla="*/ 217408 w 625078"/>
                    <a:gd name="connsiteY38" fmla="*/ 52700 h 476250"/>
                    <a:gd name="connsiteX39" fmla="*/ 231011 w 625078"/>
                    <a:gd name="connsiteY39" fmla="*/ 79177 h 476250"/>
                    <a:gd name="connsiteX40" fmla="*/ 207184 w 625078"/>
                    <a:gd name="connsiteY40" fmla="*/ 93881 h 476250"/>
                    <a:gd name="connsiteX41" fmla="*/ 189592 w 625078"/>
                    <a:gd name="connsiteY41" fmla="*/ 69875 h 476250"/>
                    <a:gd name="connsiteX42" fmla="*/ 217408 w 625078"/>
                    <a:gd name="connsiteY42" fmla="*/ 52700 h 476250"/>
                    <a:gd name="connsiteX43" fmla="*/ 164842 w 625078"/>
                    <a:gd name="connsiteY43" fmla="*/ 91157 h 476250"/>
                    <a:gd name="connsiteX44" fmla="*/ 185946 w 625078"/>
                    <a:gd name="connsiteY44" fmla="*/ 112142 h 476250"/>
                    <a:gd name="connsiteX45" fmla="*/ 167774 w 625078"/>
                    <a:gd name="connsiteY45" fmla="*/ 133499 h 476250"/>
                    <a:gd name="connsiteX46" fmla="*/ 143679 w 625078"/>
                    <a:gd name="connsiteY46" fmla="*/ 116056 h 476250"/>
                    <a:gd name="connsiteX47" fmla="*/ 164842 w 625078"/>
                    <a:gd name="connsiteY47" fmla="*/ 91157 h 476250"/>
                    <a:gd name="connsiteX48" fmla="*/ 126623 w 625078"/>
                    <a:gd name="connsiteY48" fmla="*/ 143947 h 476250"/>
                    <a:gd name="connsiteX49" fmla="*/ 153189 w 625078"/>
                    <a:gd name="connsiteY49" fmla="*/ 157401 h 476250"/>
                    <a:gd name="connsiteX50" fmla="*/ 142518 w 625078"/>
                    <a:gd name="connsiteY50" fmla="*/ 183297 h 476250"/>
                    <a:gd name="connsiteX51" fmla="*/ 114181 w 625078"/>
                    <a:gd name="connsiteY51" fmla="*/ 174174 h 476250"/>
                    <a:gd name="connsiteX52" fmla="*/ 126623 w 625078"/>
                    <a:gd name="connsiteY52" fmla="*/ 143947 h 476250"/>
                    <a:gd name="connsiteX53" fmla="*/ 104180 w 625078"/>
                    <a:gd name="connsiteY53" fmla="*/ 238125 h 476250"/>
                    <a:gd name="connsiteX54" fmla="*/ 106650 w 625078"/>
                    <a:gd name="connsiteY54" fmla="*/ 205993 h 476250"/>
                    <a:gd name="connsiteX55" fmla="*/ 136074 w 625078"/>
                    <a:gd name="connsiteY55" fmla="*/ 210562 h 476250"/>
                    <a:gd name="connsiteX56" fmla="*/ 133945 w 625078"/>
                    <a:gd name="connsiteY56" fmla="*/ 238125 h 476250"/>
                    <a:gd name="connsiteX57" fmla="*/ 104180 w 625078"/>
                    <a:gd name="connsiteY57" fmla="*/ 238512 h 476250"/>
                    <a:gd name="connsiteX58" fmla="*/ 104180 w 625078"/>
                    <a:gd name="connsiteY58" fmla="*/ 238125 h 476250"/>
                    <a:gd name="connsiteX59" fmla="*/ 106769 w 625078"/>
                    <a:gd name="connsiteY59" fmla="*/ 271105 h 476250"/>
                    <a:gd name="connsiteX60" fmla="*/ 136163 w 625078"/>
                    <a:gd name="connsiteY60" fmla="*/ 266432 h 476250"/>
                    <a:gd name="connsiteX61" fmla="*/ 142741 w 625078"/>
                    <a:gd name="connsiteY61" fmla="*/ 293653 h 476250"/>
                    <a:gd name="connsiteX62" fmla="*/ 114434 w 625078"/>
                    <a:gd name="connsiteY62" fmla="*/ 302895 h 476250"/>
                    <a:gd name="connsiteX63" fmla="*/ 106769 w 625078"/>
                    <a:gd name="connsiteY63" fmla="*/ 271105 h 476250"/>
                    <a:gd name="connsiteX64" fmla="*/ 127025 w 625078"/>
                    <a:gd name="connsiteY64" fmla="*/ 333063 h 476250"/>
                    <a:gd name="connsiteX65" fmla="*/ 153501 w 625078"/>
                    <a:gd name="connsiteY65" fmla="*/ 319489 h 476250"/>
                    <a:gd name="connsiteX66" fmla="*/ 168191 w 625078"/>
                    <a:gd name="connsiteY66" fmla="*/ 343346 h 476250"/>
                    <a:gd name="connsiteX67" fmla="*/ 144155 w 625078"/>
                    <a:gd name="connsiteY67" fmla="*/ 360878 h 476250"/>
                    <a:gd name="connsiteX68" fmla="*/ 127025 w 625078"/>
                    <a:gd name="connsiteY68" fmla="*/ 333063 h 476250"/>
                    <a:gd name="connsiteX69" fmla="*/ 190292 w 625078"/>
                    <a:gd name="connsiteY69" fmla="*/ 406866 h 476250"/>
                    <a:gd name="connsiteX70" fmla="*/ 165422 w 625078"/>
                    <a:gd name="connsiteY70" fmla="*/ 385658 h 476250"/>
                    <a:gd name="connsiteX71" fmla="*/ 186437 w 625078"/>
                    <a:gd name="connsiteY71" fmla="*/ 364584 h 476250"/>
                    <a:gd name="connsiteX72" fmla="*/ 207764 w 625078"/>
                    <a:gd name="connsiteY72" fmla="*/ 382771 h 476250"/>
                    <a:gd name="connsiteX73" fmla="*/ 190292 w 625078"/>
                    <a:gd name="connsiteY73" fmla="*/ 406866 h 476250"/>
                    <a:gd name="connsiteX74" fmla="*/ 248394 w 625078"/>
                    <a:gd name="connsiteY74" fmla="*/ 436409 h 476250"/>
                    <a:gd name="connsiteX75" fmla="*/ 218167 w 625078"/>
                    <a:gd name="connsiteY75" fmla="*/ 423937 h 476250"/>
                    <a:gd name="connsiteX76" fmla="*/ 231651 w 625078"/>
                    <a:gd name="connsiteY76" fmla="*/ 397401 h 476250"/>
                    <a:gd name="connsiteX77" fmla="*/ 257547 w 625078"/>
                    <a:gd name="connsiteY77" fmla="*/ 408102 h 476250"/>
                    <a:gd name="connsiteX78" fmla="*/ 248394 w 625078"/>
                    <a:gd name="connsiteY78" fmla="*/ 436409 h 476250"/>
                    <a:gd name="connsiteX79" fmla="*/ 312539 w 625078"/>
                    <a:gd name="connsiteY79" fmla="*/ 446484 h 476250"/>
                    <a:gd name="connsiteX80" fmla="*/ 280184 w 625078"/>
                    <a:gd name="connsiteY80" fmla="*/ 443984 h 476250"/>
                    <a:gd name="connsiteX81" fmla="*/ 284783 w 625078"/>
                    <a:gd name="connsiteY81" fmla="*/ 414561 h 476250"/>
                    <a:gd name="connsiteX82" fmla="*/ 312107 w 625078"/>
                    <a:gd name="connsiteY82" fmla="*/ 416719 h 476250"/>
                    <a:gd name="connsiteX83" fmla="*/ 312747 w 625078"/>
                    <a:gd name="connsiteY83" fmla="*/ 416704 h 476250"/>
                    <a:gd name="connsiteX84" fmla="*/ 312747 w 625078"/>
                    <a:gd name="connsiteY84" fmla="*/ 431616 h 476250"/>
                    <a:gd name="connsiteX85" fmla="*/ 316156 w 625078"/>
                    <a:gd name="connsiteY85" fmla="*/ 446038 h 476250"/>
                    <a:gd name="connsiteX86" fmla="*/ 312539 w 625078"/>
                    <a:gd name="connsiteY86" fmla="*/ 446484 h 476250"/>
                    <a:gd name="connsiteX87" fmla="*/ 289739 w 625078"/>
                    <a:gd name="connsiteY87" fmla="*/ 372070 h 476250"/>
                    <a:gd name="connsiteX88" fmla="*/ 282134 w 625078"/>
                    <a:gd name="connsiteY88" fmla="*/ 364629 h 476250"/>
                    <a:gd name="connsiteX89" fmla="*/ 282134 w 625078"/>
                    <a:gd name="connsiteY89" fmla="*/ 322228 h 476250"/>
                    <a:gd name="connsiteX90" fmla="*/ 251936 w 625078"/>
                    <a:gd name="connsiteY90" fmla="*/ 305961 h 476250"/>
                    <a:gd name="connsiteX91" fmla="*/ 213315 w 625078"/>
                    <a:gd name="connsiteY91" fmla="*/ 327288 h 476250"/>
                    <a:gd name="connsiteX92" fmla="*/ 203031 w 625078"/>
                    <a:gd name="connsiteY92" fmla="*/ 324594 h 476250"/>
                    <a:gd name="connsiteX93" fmla="*/ 179650 w 625078"/>
                    <a:gd name="connsiteY93" fmla="*/ 285854 h 476250"/>
                    <a:gd name="connsiteX94" fmla="*/ 182463 w 625078"/>
                    <a:gd name="connsiteY94" fmla="*/ 275585 h 476250"/>
                    <a:gd name="connsiteX95" fmla="*/ 220816 w 625078"/>
                    <a:gd name="connsiteY95" fmla="*/ 254407 h 476250"/>
                    <a:gd name="connsiteX96" fmla="*/ 219194 w 625078"/>
                    <a:gd name="connsiteY96" fmla="*/ 238125 h 476250"/>
                    <a:gd name="connsiteX97" fmla="*/ 220816 w 625078"/>
                    <a:gd name="connsiteY97" fmla="*/ 221843 h 476250"/>
                    <a:gd name="connsiteX98" fmla="*/ 182463 w 625078"/>
                    <a:gd name="connsiteY98" fmla="*/ 200665 h 476250"/>
                    <a:gd name="connsiteX99" fmla="*/ 179650 w 625078"/>
                    <a:gd name="connsiteY99" fmla="*/ 190396 h 476250"/>
                    <a:gd name="connsiteX100" fmla="*/ 203031 w 625078"/>
                    <a:gd name="connsiteY100" fmla="*/ 151656 h 476250"/>
                    <a:gd name="connsiteX101" fmla="*/ 213315 w 625078"/>
                    <a:gd name="connsiteY101" fmla="*/ 148962 h 476250"/>
                    <a:gd name="connsiteX102" fmla="*/ 251936 w 625078"/>
                    <a:gd name="connsiteY102" fmla="*/ 170289 h 476250"/>
                    <a:gd name="connsiteX103" fmla="*/ 282134 w 625078"/>
                    <a:gd name="connsiteY103" fmla="*/ 154022 h 476250"/>
                    <a:gd name="connsiteX104" fmla="*/ 282134 w 625078"/>
                    <a:gd name="connsiteY104" fmla="*/ 111621 h 476250"/>
                    <a:gd name="connsiteX105" fmla="*/ 289739 w 625078"/>
                    <a:gd name="connsiteY105" fmla="*/ 104180 h 476250"/>
                    <a:gd name="connsiteX106" fmla="*/ 335354 w 625078"/>
                    <a:gd name="connsiteY106" fmla="*/ 104180 h 476250"/>
                    <a:gd name="connsiteX107" fmla="*/ 342960 w 625078"/>
                    <a:gd name="connsiteY107" fmla="*/ 111621 h 476250"/>
                    <a:gd name="connsiteX108" fmla="*/ 342960 w 625078"/>
                    <a:gd name="connsiteY108" fmla="*/ 154022 h 476250"/>
                    <a:gd name="connsiteX109" fmla="*/ 373157 w 625078"/>
                    <a:gd name="connsiteY109" fmla="*/ 170289 h 476250"/>
                    <a:gd name="connsiteX110" fmla="*/ 411778 w 625078"/>
                    <a:gd name="connsiteY110" fmla="*/ 148962 h 476250"/>
                    <a:gd name="connsiteX111" fmla="*/ 422062 w 625078"/>
                    <a:gd name="connsiteY111" fmla="*/ 151656 h 476250"/>
                    <a:gd name="connsiteX112" fmla="*/ 445443 w 625078"/>
                    <a:gd name="connsiteY112" fmla="*/ 190396 h 476250"/>
                    <a:gd name="connsiteX113" fmla="*/ 442630 w 625078"/>
                    <a:gd name="connsiteY113" fmla="*/ 200665 h 476250"/>
                    <a:gd name="connsiteX114" fmla="*/ 404277 w 625078"/>
                    <a:gd name="connsiteY114" fmla="*/ 221843 h 476250"/>
                    <a:gd name="connsiteX115" fmla="*/ 405899 w 625078"/>
                    <a:gd name="connsiteY115" fmla="*/ 238125 h 476250"/>
                    <a:gd name="connsiteX116" fmla="*/ 404277 w 625078"/>
                    <a:gd name="connsiteY116" fmla="*/ 254407 h 476250"/>
                    <a:gd name="connsiteX117" fmla="*/ 442630 w 625078"/>
                    <a:gd name="connsiteY117" fmla="*/ 275585 h 476250"/>
                    <a:gd name="connsiteX118" fmla="*/ 445443 w 625078"/>
                    <a:gd name="connsiteY118" fmla="*/ 285854 h 476250"/>
                    <a:gd name="connsiteX119" fmla="*/ 422062 w 625078"/>
                    <a:gd name="connsiteY119" fmla="*/ 324594 h 476250"/>
                    <a:gd name="connsiteX120" fmla="*/ 411778 w 625078"/>
                    <a:gd name="connsiteY120" fmla="*/ 327288 h 476250"/>
                    <a:gd name="connsiteX121" fmla="*/ 373157 w 625078"/>
                    <a:gd name="connsiteY121" fmla="*/ 305961 h 476250"/>
                    <a:gd name="connsiteX122" fmla="*/ 342960 w 625078"/>
                    <a:gd name="connsiteY122" fmla="*/ 322228 h 476250"/>
                    <a:gd name="connsiteX123" fmla="*/ 342960 w 625078"/>
                    <a:gd name="connsiteY123" fmla="*/ 364629 h 476250"/>
                    <a:gd name="connsiteX124" fmla="*/ 335354 w 625078"/>
                    <a:gd name="connsiteY124" fmla="*/ 372070 h 476250"/>
                    <a:gd name="connsiteX125" fmla="*/ 289739 w 625078"/>
                    <a:gd name="connsiteY125" fmla="*/ 372070 h 476250"/>
                    <a:gd name="connsiteX126" fmla="*/ 345311 w 625078"/>
                    <a:gd name="connsiteY126" fmla="*/ 443895 h 476250"/>
                    <a:gd name="connsiteX127" fmla="*/ 340668 w 625078"/>
                    <a:gd name="connsiteY127" fmla="*/ 414501 h 476250"/>
                    <a:gd name="connsiteX128" fmla="*/ 367903 w 625078"/>
                    <a:gd name="connsiteY128" fmla="*/ 407968 h 476250"/>
                    <a:gd name="connsiteX129" fmla="*/ 377086 w 625078"/>
                    <a:gd name="connsiteY129" fmla="*/ 436275 h 476250"/>
                    <a:gd name="connsiteX130" fmla="*/ 345311 w 625078"/>
                    <a:gd name="connsiteY130" fmla="*/ 443895 h 476250"/>
                    <a:gd name="connsiteX131" fmla="*/ 407283 w 625078"/>
                    <a:gd name="connsiteY131" fmla="*/ 423743 h 476250"/>
                    <a:gd name="connsiteX132" fmla="*/ 393740 w 625078"/>
                    <a:gd name="connsiteY132" fmla="*/ 397237 h 476250"/>
                    <a:gd name="connsiteX133" fmla="*/ 417597 w 625078"/>
                    <a:gd name="connsiteY133" fmla="*/ 382592 h 476250"/>
                    <a:gd name="connsiteX134" fmla="*/ 435129 w 625078"/>
                    <a:gd name="connsiteY134" fmla="*/ 406628 h 476250"/>
                    <a:gd name="connsiteX135" fmla="*/ 407283 w 625078"/>
                    <a:gd name="connsiteY135" fmla="*/ 423743 h 476250"/>
                    <a:gd name="connsiteX136" fmla="*/ 459938 w 625078"/>
                    <a:gd name="connsiteY136" fmla="*/ 385405 h 476250"/>
                    <a:gd name="connsiteX137" fmla="*/ 438864 w 625078"/>
                    <a:gd name="connsiteY137" fmla="*/ 364391 h 476250"/>
                    <a:gd name="connsiteX138" fmla="*/ 457081 w 625078"/>
                    <a:gd name="connsiteY138" fmla="*/ 343064 h 476250"/>
                    <a:gd name="connsiteX139" fmla="*/ 481146 w 625078"/>
                    <a:gd name="connsiteY139" fmla="*/ 360566 h 476250"/>
                    <a:gd name="connsiteX140" fmla="*/ 459938 w 625078"/>
                    <a:gd name="connsiteY140" fmla="*/ 385405 h 476250"/>
                    <a:gd name="connsiteX141" fmla="*/ 498262 w 625078"/>
                    <a:gd name="connsiteY141" fmla="*/ 332690 h 476250"/>
                    <a:gd name="connsiteX142" fmla="*/ 471726 w 625078"/>
                    <a:gd name="connsiteY142" fmla="*/ 319207 h 476250"/>
                    <a:gd name="connsiteX143" fmla="*/ 482456 w 625078"/>
                    <a:gd name="connsiteY143" fmla="*/ 293310 h 476250"/>
                    <a:gd name="connsiteX144" fmla="*/ 510763 w 625078"/>
                    <a:gd name="connsiteY144" fmla="*/ 302493 h 476250"/>
                    <a:gd name="connsiteX145" fmla="*/ 498262 w 625078"/>
                    <a:gd name="connsiteY145" fmla="*/ 332690 h 476250"/>
                    <a:gd name="connsiteX146" fmla="*/ 518353 w 625078"/>
                    <a:gd name="connsiteY146" fmla="*/ 270689 h 476250"/>
                    <a:gd name="connsiteX147" fmla="*/ 488960 w 625078"/>
                    <a:gd name="connsiteY147" fmla="*/ 266045 h 476250"/>
                    <a:gd name="connsiteX148" fmla="*/ 491133 w 625078"/>
                    <a:gd name="connsiteY148" fmla="*/ 238125 h 476250"/>
                    <a:gd name="connsiteX149" fmla="*/ 516106 w 625078"/>
                    <a:gd name="connsiteY149" fmla="*/ 237470 h 476250"/>
                    <a:gd name="connsiteX150" fmla="*/ 520884 w 625078"/>
                    <a:gd name="connsiteY150" fmla="*/ 237530 h 476250"/>
                    <a:gd name="connsiteX151" fmla="*/ 518353 w 625078"/>
                    <a:gd name="connsiteY151" fmla="*/ 270689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625078" h="476250">
                      <a:moveTo>
                        <a:pt x="610195" y="0"/>
                      </a:moveTo>
                      <a:lnTo>
                        <a:pt x="14883" y="0"/>
                      </a:lnTo>
                      <a:cubicBezTo>
                        <a:pt x="6667" y="0"/>
                        <a:pt x="0" y="6667"/>
                        <a:pt x="0" y="14883"/>
                      </a:cubicBezTo>
                      <a:lnTo>
                        <a:pt x="0" y="476250"/>
                      </a:lnTo>
                      <a:lnTo>
                        <a:pt x="625078" y="476250"/>
                      </a:lnTo>
                      <a:lnTo>
                        <a:pt x="625078" y="14883"/>
                      </a:lnTo>
                      <a:cubicBezTo>
                        <a:pt x="625078" y="6667"/>
                        <a:pt x="618411" y="0"/>
                        <a:pt x="610195" y="0"/>
                      </a:cubicBezTo>
                      <a:close/>
                      <a:moveTo>
                        <a:pt x="518234" y="204698"/>
                      </a:moveTo>
                      <a:lnTo>
                        <a:pt x="488841" y="209461"/>
                      </a:lnTo>
                      <a:cubicBezTo>
                        <a:pt x="487338" y="200204"/>
                        <a:pt x="485105" y="191066"/>
                        <a:pt x="482218" y="182270"/>
                      </a:cubicBezTo>
                      <a:lnTo>
                        <a:pt x="510480" y="172938"/>
                      </a:lnTo>
                      <a:cubicBezTo>
                        <a:pt x="513874" y="183222"/>
                        <a:pt x="516478" y="193893"/>
                        <a:pt x="518234" y="204698"/>
                      </a:cubicBezTo>
                      <a:close/>
                      <a:moveTo>
                        <a:pt x="497875" y="142845"/>
                      </a:moveTo>
                      <a:lnTo>
                        <a:pt x="471398" y="156448"/>
                      </a:lnTo>
                      <a:cubicBezTo>
                        <a:pt x="467171" y="148218"/>
                        <a:pt x="462216" y="140196"/>
                        <a:pt x="456679" y="132636"/>
                      </a:cubicBezTo>
                      <a:lnTo>
                        <a:pt x="480685" y="115044"/>
                      </a:lnTo>
                      <a:cubicBezTo>
                        <a:pt x="487129" y="123870"/>
                        <a:pt x="492919" y="133216"/>
                        <a:pt x="497875" y="142845"/>
                      </a:cubicBezTo>
                      <a:close/>
                      <a:moveTo>
                        <a:pt x="434459" y="69146"/>
                      </a:moveTo>
                      <a:cubicBezTo>
                        <a:pt x="443255" y="75501"/>
                        <a:pt x="451619" y="82600"/>
                        <a:pt x="459358" y="90279"/>
                      </a:cubicBezTo>
                      <a:lnTo>
                        <a:pt x="438403" y="111413"/>
                      </a:lnTo>
                      <a:cubicBezTo>
                        <a:pt x="431765" y="104835"/>
                        <a:pt x="424562" y="98718"/>
                        <a:pt x="417016" y="93271"/>
                      </a:cubicBezTo>
                      <a:lnTo>
                        <a:pt x="434459" y="69146"/>
                      </a:lnTo>
                      <a:close/>
                      <a:moveTo>
                        <a:pt x="376282" y="39707"/>
                      </a:moveTo>
                      <a:cubicBezTo>
                        <a:pt x="386655" y="43041"/>
                        <a:pt x="396835" y="47223"/>
                        <a:pt x="406524" y="52120"/>
                      </a:cubicBezTo>
                      <a:lnTo>
                        <a:pt x="393100" y="78685"/>
                      </a:lnTo>
                      <a:cubicBezTo>
                        <a:pt x="384780" y="74488"/>
                        <a:pt x="376059" y="70902"/>
                        <a:pt x="367189" y="68044"/>
                      </a:cubicBezTo>
                      <a:lnTo>
                        <a:pt x="376282" y="39707"/>
                      </a:lnTo>
                      <a:close/>
                      <a:moveTo>
                        <a:pt x="312539" y="29766"/>
                      </a:moveTo>
                      <a:cubicBezTo>
                        <a:pt x="323240" y="29766"/>
                        <a:pt x="333955" y="30584"/>
                        <a:pt x="344463" y="32192"/>
                      </a:cubicBezTo>
                      <a:lnTo>
                        <a:pt x="339953" y="61615"/>
                      </a:lnTo>
                      <a:cubicBezTo>
                        <a:pt x="330934" y="60231"/>
                        <a:pt x="321722" y="59531"/>
                        <a:pt x="312539" y="59531"/>
                      </a:cubicBezTo>
                      <a:lnTo>
                        <a:pt x="311944" y="29766"/>
                      </a:lnTo>
                      <a:lnTo>
                        <a:pt x="312539" y="29766"/>
                      </a:lnTo>
                      <a:close/>
                      <a:moveTo>
                        <a:pt x="279336" y="32385"/>
                      </a:moveTo>
                      <a:lnTo>
                        <a:pt x="284098" y="61779"/>
                      </a:lnTo>
                      <a:cubicBezTo>
                        <a:pt x="274811" y="63297"/>
                        <a:pt x="265643" y="65514"/>
                        <a:pt x="256862" y="68387"/>
                      </a:cubicBezTo>
                      <a:lnTo>
                        <a:pt x="247590" y="40109"/>
                      </a:lnTo>
                      <a:cubicBezTo>
                        <a:pt x="257815" y="36746"/>
                        <a:pt x="268501" y="34141"/>
                        <a:pt x="279336" y="32385"/>
                      </a:cubicBezTo>
                      <a:close/>
                      <a:moveTo>
                        <a:pt x="217408" y="52700"/>
                      </a:moveTo>
                      <a:lnTo>
                        <a:pt x="231011" y="79177"/>
                      </a:lnTo>
                      <a:cubicBezTo>
                        <a:pt x="222721" y="83418"/>
                        <a:pt x="214714" y="88374"/>
                        <a:pt x="207184" y="93881"/>
                      </a:cubicBezTo>
                      <a:lnTo>
                        <a:pt x="189592" y="69875"/>
                      </a:lnTo>
                      <a:cubicBezTo>
                        <a:pt x="198388" y="63445"/>
                        <a:pt x="207749" y="57671"/>
                        <a:pt x="217408" y="52700"/>
                      </a:cubicBezTo>
                      <a:close/>
                      <a:moveTo>
                        <a:pt x="164842" y="91157"/>
                      </a:moveTo>
                      <a:lnTo>
                        <a:pt x="185946" y="112142"/>
                      </a:lnTo>
                      <a:cubicBezTo>
                        <a:pt x="179353" y="118780"/>
                        <a:pt x="173236" y="125968"/>
                        <a:pt x="167774" y="133499"/>
                      </a:cubicBezTo>
                      <a:lnTo>
                        <a:pt x="143679" y="116056"/>
                      </a:lnTo>
                      <a:cubicBezTo>
                        <a:pt x="150034" y="107275"/>
                        <a:pt x="157162" y="98896"/>
                        <a:pt x="164842" y="91157"/>
                      </a:cubicBezTo>
                      <a:close/>
                      <a:moveTo>
                        <a:pt x="126623" y="143947"/>
                      </a:moveTo>
                      <a:lnTo>
                        <a:pt x="153189" y="157401"/>
                      </a:lnTo>
                      <a:cubicBezTo>
                        <a:pt x="148947" y="165765"/>
                        <a:pt x="145360" y="174471"/>
                        <a:pt x="142518" y="183297"/>
                      </a:cubicBezTo>
                      <a:lnTo>
                        <a:pt x="114181" y="174174"/>
                      </a:lnTo>
                      <a:cubicBezTo>
                        <a:pt x="117500" y="163890"/>
                        <a:pt x="121682" y="153710"/>
                        <a:pt x="126623" y="143947"/>
                      </a:cubicBezTo>
                      <a:close/>
                      <a:moveTo>
                        <a:pt x="104180" y="238125"/>
                      </a:moveTo>
                      <a:cubicBezTo>
                        <a:pt x="104180" y="227350"/>
                        <a:pt x="105013" y="216545"/>
                        <a:pt x="106650" y="205993"/>
                      </a:cubicBezTo>
                      <a:lnTo>
                        <a:pt x="136074" y="210562"/>
                      </a:lnTo>
                      <a:cubicBezTo>
                        <a:pt x="134660" y="219611"/>
                        <a:pt x="133945" y="228883"/>
                        <a:pt x="133945" y="238125"/>
                      </a:cubicBezTo>
                      <a:lnTo>
                        <a:pt x="104180" y="238512"/>
                      </a:lnTo>
                      <a:lnTo>
                        <a:pt x="104180" y="238125"/>
                      </a:lnTo>
                      <a:close/>
                      <a:moveTo>
                        <a:pt x="106769" y="271105"/>
                      </a:moveTo>
                      <a:lnTo>
                        <a:pt x="136163" y="266432"/>
                      </a:lnTo>
                      <a:cubicBezTo>
                        <a:pt x="137636" y="275615"/>
                        <a:pt x="139839" y="284783"/>
                        <a:pt x="142741" y="293653"/>
                      </a:cubicBezTo>
                      <a:lnTo>
                        <a:pt x="114434" y="302895"/>
                      </a:lnTo>
                      <a:cubicBezTo>
                        <a:pt x="111056" y="292522"/>
                        <a:pt x="108481" y="281851"/>
                        <a:pt x="106769" y="271105"/>
                      </a:cubicBezTo>
                      <a:close/>
                      <a:moveTo>
                        <a:pt x="127025" y="333063"/>
                      </a:moveTo>
                      <a:lnTo>
                        <a:pt x="153501" y="319489"/>
                      </a:lnTo>
                      <a:cubicBezTo>
                        <a:pt x="157743" y="327749"/>
                        <a:pt x="162684" y="335771"/>
                        <a:pt x="168191" y="343346"/>
                      </a:cubicBezTo>
                      <a:lnTo>
                        <a:pt x="144155" y="360878"/>
                      </a:lnTo>
                      <a:cubicBezTo>
                        <a:pt x="137726" y="352053"/>
                        <a:pt x="131966" y="342692"/>
                        <a:pt x="127025" y="333063"/>
                      </a:cubicBezTo>
                      <a:close/>
                      <a:moveTo>
                        <a:pt x="190292" y="406866"/>
                      </a:moveTo>
                      <a:cubicBezTo>
                        <a:pt x="181481" y="400467"/>
                        <a:pt x="173117" y="393353"/>
                        <a:pt x="165422" y="385658"/>
                      </a:cubicBezTo>
                      <a:lnTo>
                        <a:pt x="186437" y="364584"/>
                      </a:lnTo>
                      <a:cubicBezTo>
                        <a:pt x="193045" y="371177"/>
                        <a:pt x="200218" y="377294"/>
                        <a:pt x="207764" y="382771"/>
                      </a:cubicBezTo>
                      <a:lnTo>
                        <a:pt x="190292" y="406866"/>
                      </a:lnTo>
                      <a:close/>
                      <a:moveTo>
                        <a:pt x="248394" y="436409"/>
                      </a:moveTo>
                      <a:cubicBezTo>
                        <a:pt x="238051" y="433060"/>
                        <a:pt x="227871" y="428863"/>
                        <a:pt x="218167" y="423937"/>
                      </a:cubicBezTo>
                      <a:lnTo>
                        <a:pt x="231651" y="397401"/>
                      </a:lnTo>
                      <a:cubicBezTo>
                        <a:pt x="239970" y="401628"/>
                        <a:pt x="248692" y="405214"/>
                        <a:pt x="257547" y="408102"/>
                      </a:cubicBezTo>
                      <a:lnTo>
                        <a:pt x="248394" y="436409"/>
                      </a:lnTo>
                      <a:close/>
                      <a:moveTo>
                        <a:pt x="312539" y="446484"/>
                      </a:moveTo>
                      <a:cubicBezTo>
                        <a:pt x="301734" y="446484"/>
                        <a:pt x="290855" y="445636"/>
                        <a:pt x="280184" y="443984"/>
                      </a:cubicBezTo>
                      <a:lnTo>
                        <a:pt x="284783" y="414561"/>
                      </a:lnTo>
                      <a:cubicBezTo>
                        <a:pt x="293772" y="415975"/>
                        <a:pt x="302984" y="416689"/>
                        <a:pt x="312107" y="416719"/>
                      </a:cubicBezTo>
                      <a:cubicBezTo>
                        <a:pt x="312331" y="416704"/>
                        <a:pt x="312539" y="416704"/>
                        <a:pt x="312747" y="416704"/>
                      </a:cubicBezTo>
                      <a:lnTo>
                        <a:pt x="312747" y="431616"/>
                      </a:lnTo>
                      <a:lnTo>
                        <a:pt x="316156" y="446038"/>
                      </a:lnTo>
                      <a:cubicBezTo>
                        <a:pt x="314965" y="446336"/>
                        <a:pt x="313759" y="446484"/>
                        <a:pt x="312539" y="446484"/>
                      </a:cubicBezTo>
                      <a:close/>
                      <a:moveTo>
                        <a:pt x="289739" y="372070"/>
                      </a:moveTo>
                      <a:cubicBezTo>
                        <a:pt x="285542" y="372070"/>
                        <a:pt x="282134" y="368737"/>
                        <a:pt x="282134" y="364629"/>
                      </a:cubicBezTo>
                      <a:lnTo>
                        <a:pt x="282134" y="322228"/>
                      </a:lnTo>
                      <a:cubicBezTo>
                        <a:pt x="271239" y="318537"/>
                        <a:pt x="260553" y="313015"/>
                        <a:pt x="251936" y="305961"/>
                      </a:cubicBezTo>
                      <a:lnTo>
                        <a:pt x="213315" y="327288"/>
                      </a:lnTo>
                      <a:cubicBezTo>
                        <a:pt x="209714" y="329282"/>
                        <a:pt x="205145" y="328077"/>
                        <a:pt x="203031" y="324594"/>
                      </a:cubicBezTo>
                      <a:lnTo>
                        <a:pt x="179650" y="285854"/>
                      </a:lnTo>
                      <a:cubicBezTo>
                        <a:pt x="177478" y="282267"/>
                        <a:pt x="178757" y="277639"/>
                        <a:pt x="182463" y="275585"/>
                      </a:cubicBezTo>
                      <a:lnTo>
                        <a:pt x="220816" y="254407"/>
                      </a:lnTo>
                      <a:cubicBezTo>
                        <a:pt x="219789" y="249123"/>
                        <a:pt x="219194" y="243691"/>
                        <a:pt x="219194" y="238125"/>
                      </a:cubicBezTo>
                      <a:cubicBezTo>
                        <a:pt x="219194" y="232559"/>
                        <a:pt x="219804" y="227127"/>
                        <a:pt x="220816" y="221843"/>
                      </a:cubicBezTo>
                      <a:lnTo>
                        <a:pt x="182463" y="200665"/>
                      </a:lnTo>
                      <a:cubicBezTo>
                        <a:pt x="178757" y="198611"/>
                        <a:pt x="177492" y="193983"/>
                        <a:pt x="179650" y="190396"/>
                      </a:cubicBezTo>
                      <a:lnTo>
                        <a:pt x="203031" y="151656"/>
                      </a:lnTo>
                      <a:cubicBezTo>
                        <a:pt x="205130" y="148173"/>
                        <a:pt x="209699" y="146968"/>
                        <a:pt x="213315" y="148962"/>
                      </a:cubicBezTo>
                      <a:lnTo>
                        <a:pt x="251936" y="170289"/>
                      </a:lnTo>
                      <a:cubicBezTo>
                        <a:pt x="260553" y="163235"/>
                        <a:pt x="271239" y="157713"/>
                        <a:pt x="282134" y="154022"/>
                      </a:cubicBezTo>
                      <a:lnTo>
                        <a:pt x="282134" y="111621"/>
                      </a:lnTo>
                      <a:cubicBezTo>
                        <a:pt x="282134" y="107513"/>
                        <a:pt x="285542" y="104180"/>
                        <a:pt x="289739" y="104180"/>
                      </a:cubicBezTo>
                      <a:lnTo>
                        <a:pt x="335354" y="104180"/>
                      </a:lnTo>
                      <a:cubicBezTo>
                        <a:pt x="339551" y="104180"/>
                        <a:pt x="342960" y="107513"/>
                        <a:pt x="342960" y="111621"/>
                      </a:cubicBezTo>
                      <a:lnTo>
                        <a:pt x="342960" y="154022"/>
                      </a:lnTo>
                      <a:cubicBezTo>
                        <a:pt x="353854" y="157713"/>
                        <a:pt x="364554" y="163235"/>
                        <a:pt x="373157" y="170289"/>
                      </a:cubicBezTo>
                      <a:lnTo>
                        <a:pt x="411778" y="148962"/>
                      </a:lnTo>
                      <a:cubicBezTo>
                        <a:pt x="415379" y="146968"/>
                        <a:pt x="419948" y="148173"/>
                        <a:pt x="422062" y="151656"/>
                      </a:cubicBezTo>
                      <a:lnTo>
                        <a:pt x="445443" y="190396"/>
                      </a:lnTo>
                      <a:cubicBezTo>
                        <a:pt x="447615" y="193983"/>
                        <a:pt x="446336" y="198611"/>
                        <a:pt x="442630" y="200665"/>
                      </a:cubicBezTo>
                      <a:lnTo>
                        <a:pt x="404277" y="221843"/>
                      </a:lnTo>
                      <a:cubicBezTo>
                        <a:pt x="405304" y="227127"/>
                        <a:pt x="405899" y="232559"/>
                        <a:pt x="405899" y="238125"/>
                      </a:cubicBezTo>
                      <a:cubicBezTo>
                        <a:pt x="405899" y="243691"/>
                        <a:pt x="405289" y="249123"/>
                        <a:pt x="404277" y="254407"/>
                      </a:cubicBezTo>
                      <a:lnTo>
                        <a:pt x="442630" y="275585"/>
                      </a:lnTo>
                      <a:cubicBezTo>
                        <a:pt x="446336" y="277639"/>
                        <a:pt x="447601" y="282267"/>
                        <a:pt x="445443" y="285854"/>
                      </a:cubicBezTo>
                      <a:lnTo>
                        <a:pt x="422062" y="324594"/>
                      </a:lnTo>
                      <a:cubicBezTo>
                        <a:pt x="419963" y="328077"/>
                        <a:pt x="415394" y="329282"/>
                        <a:pt x="411778" y="327288"/>
                      </a:cubicBezTo>
                      <a:lnTo>
                        <a:pt x="373157" y="305961"/>
                      </a:lnTo>
                      <a:cubicBezTo>
                        <a:pt x="364540" y="313015"/>
                        <a:pt x="353854" y="318537"/>
                        <a:pt x="342960" y="322228"/>
                      </a:cubicBezTo>
                      <a:lnTo>
                        <a:pt x="342960" y="364629"/>
                      </a:lnTo>
                      <a:cubicBezTo>
                        <a:pt x="342960" y="368737"/>
                        <a:pt x="339551" y="372070"/>
                        <a:pt x="335354" y="372070"/>
                      </a:cubicBezTo>
                      <a:lnTo>
                        <a:pt x="289739" y="372070"/>
                      </a:lnTo>
                      <a:close/>
                      <a:moveTo>
                        <a:pt x="345311" y="443895"/>
                      </a:moveTo>
                      <a:lnTo>
                        <a:pt x="340668" y="414501"/>
                      </a:lnTo>
                      <a:cubicBezTo>
                        <a:pt x="349865" y="413043"/>
                        <a:pt x="359018" y="410840"/>
                        <a:pt x="367903" y="407968"/>
                      </a:cubicBezTo>
                      <a:lnTo>
                        <a:pt x="377086" y="436275"/>
                      </a:lnTo>
                      <a:cubicBezTo>
                        <a:pt x="366742" y="439638"/>
                        <a:pt x="356042" y="442213"/>
                        <a:pt x="345311" y="443895"/>
                      </a:cubicBezTo>
                      <a:close/>
                      <a:moveTo>
                        <a:pt x="407283" y="423743"/>
                      </a:moveTo>
                      <a:lnTo>
                        <a:pt x="393740" y="397237"/>
                      </a:lnTo>
                      <a:cubicBezTo>
                        <a:pt x="402015" y="393025"/>
                        <a:pt x="410036" y="388084"/>
                        <a:pt x="417597" y="382592"/>
                      </a:cubicBezTo>
                      <a:lnTo>
                        <a:pt x="435129" y="406628"/>
                      </a:lnTo>
                      <a:cubicBezTo>
                        <a:pt x="426318" y="413043"/>
                        <a:pt x="416942" y="418817"/>
                        <a:pt x="407283" y="423743"/>
                      </a:cubicBezTo>
                      <a:close/>
                      <a:moveTo>
                        <a:pt x="459938" y="385405"/>
                      </a:moveTo>
                      <a:lnTo>
                        <a:pt x="438864" y="364391"/>
                      </a:lnTo>
                      <a:cubicBezTo>
                        <a:pt x="445472" y="357768"/>
                        <a:pt x="451604" y="350580"/>
                        <a:pt x="457081" y="343064"/>
                      </a:cubicBezTo>
                      <a:lnTo>
                        <a:pt x="481146" y="360566"/>
                      </a:lnTo>
                      <a:cubicBezTo>
                        <a:pt x="474777" y="369317"/>
                        <a:pt x="467648" y="377681"/>
                        <a:pt x="459938" y="385405"/>
                      </a:cubicBezTo>
                      <a:close/>
                      <a:moveTo>
                        <a:pt x="498262" y="332690"/>
                      </a:moveTo>
                      <a:lnTo>
                        <a:pt x="471726" y="319207"/>
                      </a:lnTo>
                      <a:cubicBezTo>
                        <a:pt x="475967" y="310872"/>
                        <a:pt x="479569" y="302151"/>
                        <a:pt x="482456" y="293310"/>
                      </a:cubicBezTo>
                      <a:lnTo>
                        <a:pt x="510763" y="302493"/>
                      </a:lnTo>
                      <a:cubicBezTo>
                        <a:pt x="507415" y="312837"/>
                        <a:pt x="503203" y="322987"/>
                        <a:pt x="498262" y="332690"/>
                      </a:cubicBezTo>
                      <a:close/>
                      <a:moveTo>
                        <a:pt x="518353" y="270689"/>
                      </a:moveTo>
                      <a:lnTo>
                        <a:pt x="488960" y="266045"/>
                      </a:lnTo>
                      <a:cubicBezTo>
                        <a:pt x="490404" y="256922"/>
                        <a:pt x="491133" y="247516"/>
                        <a:pt x="491133" y="238125"/>
                      </a:cubicBezTo>
                      <a:lnTo>
                        <a:pt x="516106" y="237470"/>
                      </a:lnTo>
                      <a:lnTo>
                        <a:pt x="520884" y="237530"/>
                      </a:lnTo>
                      <a:cubicBezTo>
                        <a:pt x="520898" y="249064"/>
                        <a:pt x="520035" y="260033"/>
                        <a:pt x="518353" y="270689"/>
                      </a:cubicBezTo>
                      <a:close/>
                    </a:path>
                  </a:pathLst>
                </a:custGeom>
                <a:solidFill>
                  <a:schemeClr val="accent2"/>
                </a:solidFill>
                <a:ln w="14883" cap="flat">
                  <a:noFill/>
                  <a:prstDash val="solid"/>
                  <a:miter/>
                </a:ln>
              </p:spPr>
              <p:txBody>
                <a:bodyPr tIns="548640" rtlCol="0" anchor="b"/>
                <a:lstStyle/>
                <a:p>
                  <a:endParaRPr lang="en-US" dirty="0"/>
                </a:p>
              </p:txBody>
            </p:sp>
            <p:sp>
              <p:nvSpPr>
                <p:cNvPr id="451" name="Freeform: Shape 450">
                  <a:extLst>
                    <a:ext uri="{FF2B5EF4-FFF2-40B4-BE49-F238E27FC236}">
                      <a16:creationId xmlns:a16="http://schemas.microsoft.com/office/drawing/2014/main" id="{4F3D07C4-3E29-4F70-90AE-38E65F144D8E}"/>
                    </a:ext>
                  </a:extLst>
                </p:cNvPr>
                <p:cNvSpPr/>
                <p:nvPr/>
              </p:nvSpPr>
              <p:spPr>
                <a:xfrm>
                  <a:off x="-806047" y="4693419"/>
                  <a:ext cx="89297" cy="89297"/>
                </a:xfrm>
                <a:custGeom>
                  <a:avLst/>
                  <a:gdLst>
                    <a:gd name="connsiteX0" fmla="*/ 89297 w 89296"/>
                    <a:gd name="connsiteY0" fmla="*/ 44648 h 89296"/>
                    <a:gd name="connsiteX1" fmla="*/ 44648 w 89296"/>
                    <a:gd name="connsiteY1" fmla="*/ 89297 h 89296"/>
                    <a:gd name="connsiteX2" fmla="*/ 0 w 89296"/>
                    <a:gd name="connsiteY2" fmla="*/ 44648 h 89296"/>
                    <a:gd name="connsiteX3" fmla="*/ 44648 w 89296"/>
                    <a:gd name="connsiteY3" fmla="*/ 0 h 89296"/>
                    <a:gd name="connsiteX4" fmla="*/ 89297 w 89296"/>
                    <a:gd name="connsiteY4" fmla="*/ 44648 h 89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96" h="89296">
                      <a:moveTo>
                        <a:pt x="89297" y="44648"/>
                      </a:moveTo>
                      <a:cubicBezTo>
                        <a:pt x="89297" y="69307"/>
                        <a:pt x="69307" y="89297"/>
                        <a:pt x="44648" y="89297"/>
                      </a:cubicBezTo>
                      <a:cubicBezTo>
                        <a:pt x="19990" y="89297"/>
                        <a:pt x="0" y="69307"/>
                        <a:pt x="0" y="44648"/>
                      </a:cubicBezTo>
                      <a:cubicBezTo>
                        <a:pt x="0" y="19990"/>
                        <a:pt x="19990" y="0"/>
                        <a:pt x="44648" y="0"/>
                      </a:cubicBezTo>
                      <a:cubicBezTo>
                        <a:pt x="69307" y="0"/>
                        <a:pt x="89297" y="19990"/>
                        <a:pt x="89297" y="44648"/>
                      </a:cubicBezTo>
                      <a:close/>
                    </a:path>
                  </a:pathLst>
                </a:custGeom>
                <a:solidFill>
                  <a:schemeClr val="accent3"/>
                </a:solidFill>
                <a:ln w="14883" cap="flat">
                  <a:noFill/>
                  <a:prstDash val="solid"/>
                  <a:miter/>
                </a:ln>
              </p:spPr>
              <p:txBody>
                <a:bodyPr tIns="548640" rtlCol="0" anchor="b"/>
                <a:lstStyle/>
                <a:p>
                  <a:endParaRPr lang="en-US" dirty="0"/>
                </a:p>
              </p:txBody>
            </p:sp>
          </p:grpSp>
        </p:grpSp>
        <p:cxnSp>
          <p:nvCxnSpPr>
            <p:cNvPr id="31" name="Straight Arrow Connector 30">
              <a:extLst>
                <a:ext uri="{FF2B5EF4-FFF2-40B4-BE49-F238E27FC236}">
                  <a16:creationId xmlns:a16="http://schemas.microsoft.com/office/drawing/2014/main" id="{060435C6-B4A0-40CE-8F53-35653CA8273E}"/>
                </a:ext>
              </a:extLst>
            </p:cNvPr>
            <p:cNvCxnSpPr/>
            <p:nvPr/>
          </p:nvCxnSpPr>
          <p:spPr>
            <a:xfrm flipV="1">
              <a:off x="2308202" y="3711361"/>
              <a:ext cx="0" cy="215180"/>
            </a:xfrm>
            <a:prstGeom prst="straightConnector1">
              <a:avLst/>
            </a:prstGeom>
            <a:ln w="28575">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77" name="Straight Arrow Connector 976">
              <a:extLst>
                <a:ext uri="{FF2B5EF4-FFF2-40B4-BE49-F238E27FC236}">
                  <a16:creationId xmlns:a16="http://schemas.microsoft.com/office/drawing/2014/main" id="{8F61FAE1-D64D-45C4-9D47-F291CE94B12D}"/>
                </a:ext>
              </a:extLst>
            </p:cNvPr>
            <p:cNvCxnSpPr>
              <a:cxnSpLocks/>
              <a:stCxn id="268" idx="3"/>
            </p:cNvCxnSpPr>
            <p:nvPr/>
          </p:nvCxnSpPr>
          <p:spPr>
            <a:xfrm flipH="1">
              <a:off x="1447800" y="3591224"/>
              <a:ext cx="599135" cy="942676"/>
            </a:xfrm>
            <a:prstGeom prst="straightConnector1">
              <a:avLst/>
            </a:prstGeom>
            <a:ln>
              <a:solidFill>
                <a:schemeClr val="bg1">
                  <a:lumMod val="6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0" name="Straight Arrow Connector 459">
              <a:extLst>
                <a:ext uri="{FF2B5EF4-FFF2-40B4-BE49-F238E27FC236}">
                  <a16:creationId xmlns:a16="http://schemas.microsoft.com/office/drawing/2014/main" id="{F1493C58-4E95-4307-A4F6-99D249C08DF6}"/>
                </a:ext>
              </a:extLst>
            </p:cNvPr>
            <p:cNvCxnSpPr>
              <a:cxnSpLocks/>
              <a:stCxn id="268" idx="5"/>
            </p:cNvCxnSpPr>
            <p:nvPr/>
          </p:nvCxnSpPr>
          <p:spPr>
            <a:xfrm>
              <a:off x="2563139" y="3591224"/>
              <a:ext cx="637261" cy="881716"/>
            </a:xfrm>
            <a:prstGeom prst="straightConnector1">
              <a:avLst/>
            </a:prstGeom>
            <a:ln>
              <a:solidFill>
                <a:schemeClr val="bg1">
                  <a:lumMod val="6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1" name="Straight Arrow Connector 460">
              <a:extLst>
                <a:ext uri="{FF2B5EF4-FFF2-40B4-BE49-F238E27FC236}">
                  <a16:creationId xmlns:a16="http://schemas.microsoft.com/office/drawing/2014/main" id="{B897278A-B8CF-4DEC-A58B-C177FBCEF816}"/>
                </a:ext>
              </a:extLst>
            </p:cNvPr>
            <p:cNvCxnSpPr>
              <a:cxnSpLocks/>
            </p:cNvCxnSpPr>
            <p:nvPr/>
          </p:nvCxnSpPr>
          <p:spPr>
            <a:xfrm flipH="1" flipV="1">
              <a:off x="1569721" y="3912871"/>
              <a:ext cx="308609" cy="165734"/>
            </a:xfrm>
            <a:prstGeom prst="straightConnector1">
              <a:avLst/>
            </a:prstGeom>
            <a:ln w="1270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0480" name="Group 20479">
              <a:extLst>
                <a:ext uri="{FF2B5EF4-FFF2-40B4-BE49-F238E27FC236}">
                  <a16:creationId xmlns:a16="http://schemas.microsoft.com/office/drawing/2014/main" id="{DF16049F-28BF-4E24-A196-4A21705636A3}"/>
                </a:ext>
              </a:extLst>
            </p:cNvPr>
            <p:cNvGrpSpPr/>
            <p:nvPr/>
          </p:nvGrpSpPr>
          <p:grpSpPr>
            <a:xfrm>
              <a:off x="1844025" y="4013711"/>
              <a:ext cx="195807" cy="195807"/>
              <a:chOff x="1879112" y="4032082"/>
              <a:chExt cx="195807" cy="195807"/>
            </a:xfrm>
          </p:grpSpPr>
          <p:sp>
            <p:nvSpPr>
              <p:cNvPr id="991" name="Oval 990">
                <a:extLst>
                  <a:ext uri="{FF2B5EF4-FFF2-40B4-BE49-F238E27FC236}">
                    <a16:creationId xmlns:a16="http://schemas.microsoft.com/office/drawing/2014/main" id="{38C21DA4-2E58-486C-B477-ED535099350E}"/>
                  </a:ext>
                </a:extLst>
              </p:cNvPr>
              <p:cNvSpPr/>
              <p:nvPr/>
            </p:nvSpPr>
            <p:spPr bwMode="auto">
              <a:xfrm>
                <a:off x="1879112" y="4032082"/>
                <a:ext cx="195807" cy="195807"/>
              </a:xfrm>
              <a:prstGeom prst="ellipse">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62" name="Freeform: Shape 461">
                <a:extLst>
                  <a:ext uri="{FF2B5EF4-FFF2-40B4-BE49-F238E27FC236}">
                    <a16:creationId xmlns:a16="http://schemas.microsoft.com/office/drawing/2014/main" id="{3E81BFA7-2205-48FF-A178-CAB49145D659}"/>
                  </a:ext>
                </a:extLst>
              </p:cNvPr>
              <p:cNvSpPr/>
              <p:nvPr/>
            </p:nvSpPr>
            <p:spPr>
              <a:xfrm>
                <a:off x="1911870" y="4062057"/>
                <a:ext cx="130290" cy="135858"/>
              </a:xfrm>
              <a:custGeom>
                <a:avLst/>
                <a:gdLst>
                  <a:gd name="connsiteX0" fmla="*/ 41086 w 626025"/>
                  <a:gd name="connsiteY0" fmla="*/ 346073 h 652779"/>
                  <a:gd name="connsiteX1" fmla="*/ 117904 w 626025"/>
                  <a:gd name="connsiteY1" fmla="*/ 346073 h 652779"/>
                  <a:gd name="connsiteX2" fmla="*/ 93268 w 626025"/>
                  <a:gd name="connsiteY2" fmla="*/ 394342 h 652779"/>
                  <a:gd name="connsiteX3" fmla="*/ 153301 w 626025"/>
                  <a:gd name="connsiteY3" fmla="*/ 454376 h 652779"/>
                  <a:gd name="connsiteX4" fmla="*/ 213309 w 626025"/>
                  <a:gd name="connsiteY4" fmla="*/ 394342 h 652779"/>
                  <a:gd name="connsiteX5" fmla="*/ 188698 w 626025"/>
                  <a:gd name="connsiteY5" fmla="*/ 346073 h 652779"/>
                  <a:gd name="connsiteX6" fmla="*/ 265543 w 626025"/>
                  <a:gd name="connsiteY6" fmla="*/ 346073 h 652779"/>
                  <a:gd name="connsiteX7" fmla="*/ 306603 w 626025"/>
                  <a:gd name="connsiteY7" fmla="*/ 387159 h 652779"/>
                  <a:gd name="connsiteX8" fmla="*/ 306603 w 626025"/>
                  <a:gd name="connsiteY8" fmla="*/ 454170 h 652779"/>
                  <a:gd name="connsiteX9" fmla="*/ 337418 w 626025"/>
                  <a:gd name="connsiteY9" fmla="*/ 444671 h 652779"/>
                  <a:gd name="connsiteX10" fmla="*/ 392199 w 626025"/>
                  <a:gd name="connsiteY10" fmla="*/ 499427 h 652779"/>
                  <a:gd name="connsiteX11" fmla="*/ 337443 w 626025"/>
                  <a:gd name="connsiteY11" fmla="*/ 554208 h 652779"/>
                  <a:gd name="connsiteX12" fmla="*/ 306629 w 626025"/>
                  <a:gd name="connsiteY12" fmla="*/ 544709 h 652779"/>
                  <a:gd name="connsiteX13" fmla="*/ 306629 w 626025"/>
                  <a:gd name="connsiteY13" fmla="*/ 611719 h 652779"/>
                  <a:gd name="connsiteX14" fmla="*/ 265568 w 626025"/>
                  <a:gd name="connsiteY14" fmla="*/ 652779 h 652779"/>
                  <a:gd name="connsiteX15" fmla="*/ 41060 w 626025"/>
                  <a:gd name="connsiteY15" fmla="*/ 652779 h 652779"/>
                  <a:gd name="connsiteX16" fmla="*/ 0 w 626025"/>
                  <a:gd name="connsiteY16" fmla="*/ 611693 h 652779"/>
                  <a:gd name="connsiteX17" fmla="*/ 0 w 626025"/>
                  <a:gd name="connsiteY17" fmla="*/ 387159 h 652779"/>
                  <a:gd name="connsiteX18" fmla="*/ 41086 w 626025"/>
                  <a:gd name="connsiteY18" fmla="*/ 346073 h 652779"/>
                  <a:gd name="connsiteX19" fmla="*/ 426183 w 626025"/>
                  <a:gd name="connsiteY19" fmla="*/ 0 h 652779"/>
                  <a:gd name="connsiteX20" fmla="*/ 455244 w 626025"/>
                  <a:gd name="connsiteY20" fmla="*/ 12029 h 652779"/>
                  <a:gd name="connsiteX21" fmla="*/ 613977 w 626025"/>
                  <a:gd name="connsiteY21" fmla="*/ 170762 h 652779"/>
                  <a:gd name="connsiteX22" fmla="*/ 613977 w 626025"/>
                  <a:gd name="connsiteY22" fmla="*/ 228865 h 652779"/>
                  <a:gd name="connsiteX23" fmla="*/ 455244 w 626025"/>
                  <a:gd name="connsiteY23" fmla="*/ 387623 h 652779"/>
                  <a:gd name="connsiteX24" fmla="*/ 397142 w 626025"/>
                  <a:gd name="connsiteY24" fmla="*/ 387623 h 652779"/>
                  <a:gd name="connsiteX25" fmla="*/ 342797 w 626025"/>
                  <a:gd name="connsiteY25" fmla="*/ 333279 h 652779"/>
                  <a:gd name="connsiteX26" fmla="*/ 394310 w 626025"/>
                  <a:gd name="connsiteY26" fmla="*/ 316572 h 652779"/>
                  <a:gd name="connsiteX27" fmla="*/ 394310 w 626025"/>
                  <a:gd name="connsiteY27" fmla="*/ 231671 h 652779"/>
                  <a:gd name="connsiteX28" fmla="*/ 309459 w 626025"/>
                  <a:gd name="connsiteY28" fmla="*/ 231722 h 652779"/>
                  <a:gd name="connsiteX29" fmla="*/ 292752 w 626025"/>
                  <a:gd name="connsiteY29" fmla="*/ 283209 h 652779"/>
                  <a:gd name="connsiteX30" fmla="*/ 238408 w 626025"/>
                  <a:gd name="connsiteY30" fmla="*/ 228891 h 652779"/>
                  <a:gd name="connsiteX31" fmla="*/ 238408 w 626025"/>
                  <a:gd name="connsiteY31" fmla="*/ 170788 h 652779"/>
                  <a:gd name="connsiteX32" fmla="*/ 285775 w 626025"/>
                  <a:gd name="connsiteY32" fmla="*/ 123446 h 652779"/>
                  <a:gd name="connsiteX33" fmla="*/ 257252 w 626025"/>
                  <a:gd name="connsiteY33" fmla="*/ 108361 h 652779"/>
                  <a:gd name="connsiteX34" fmla="*/ 257252 w 626025"/>
                  <a:gd name="connsiteY34" fmla="*/ 30898 h 652779"/>
                  <a:gd name="connsiteX35" fmla="*/ 334713 w 626025"/>
                  <a:gd name="connsiteY35" fmla="*/ 30898 h 652779"/>
                  <a:gd name="connsiteX36" fmla="*/ 349773 w 626025"/>
                  <a:gd name="connsiteY36" fmla="*/ 59396 h 652779"/>
                  <a:gd name="connsiteX37" fmla="*/ 397142 w 626025"/>
                  <a:gd name="connsiteY37" fmla="*/ 12029 h 652779"/>
                  <a:gd name="connsiteX38" fmla="*/ 426183 w 626025"/>
                  <a:gd name="connsiteY38" fmla="*/ 0 h 6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6025" h="652779">
                    <a:moveTo>
                      <a:pt x="41086" y="346073"/>
                    </a:moveTo>
                    <a:lnTo>
                      <a:pt x="117904" y="346073"/>
                    </a:lnTo>
                    <a:cubicBezTo>
                      <a:pt x="103024" y="357014"/>
                      <a:pt x="93268" y="374494"/>
                      <a:pt x="93268" y="394342"/>
                    </a:cubicBezTo>
                    <a:cubicBezTo>
                      <a:pt x="93268" y="427474"/>
                      <a:pt x="120118" y="454376"/>
                      <a:pt x="153301" y="454376"/>
                    </a:cubicBezTo>
                    <a:cubicBezTo>
                      <a:pt x="186458" y="454350"/>
                      <a:pt x="213309" y="427500"/>
                      <a:pt x="213309" y="394342"/>
                    </a:cubicBezTo>
                    <a:cubicBezTo>
                      <a:pt x="213309" y="374494"/>
                      <a:pt x="203552" y="357014"/>
                      <a:pt x="188698" y="346073"/>
                    </a:cubicBezTo>
                    <a:lnTo>
                      <a:pt x="265543" y="346073"/>
                    </a:lnTo>
                    <a:cubicBezTo>
                      <a:pt x="288222" y="346047"/>
                      <a:pt x="306603" y="364479"/>
                      <a:pt x="306603" y="387159"/>
                    </a:cubicBezTo>
                    <a:lnTo>
                      <a:pt x="306603" y="454170"/>
                    </a:lnTo>
                    <a:cubicBezTo>
                      <a:pt x="315407" y="448198"/>
                      <a:pt x="325988" y="444671"/>
                      <a:pt x="337418" y="444671"/>
                    </a:cubicBezTo>
                    <a:cubicBezTo>
                      <a:pt x="367666" y="444671"/>
                      <a:pt x="392199" y="469178"/>
                      <a:pt x="392199" y="499427"/>
                    </a:cubicBezTo>
                    <a:cubicBezTo>
                      <a:pt x="392199" y="529675"/>
                      <a:pt x="367666" y="554208"/>
                      <a:pt x="337443" y="554208"/>
                    </a:cubicBezTo>
                    <a:cubicBezTo>
                      <a:pt x="325988" y="554208"/>
                      <a:pt x="315433" y="550707"/>
                      <a:pt x="306629" y="544709"/>
                    </a:cubicBezTo>
                    <a:lnTo>
                      <a:pt x="306629" y="611719"/>
                    </a:lnTo>
                    <a:cubicBezTo>
                      <a:pt x="306629" y="634398"/>
                      <a:pt x="288248" y="652779"/>
                      <a:pt x="265568" y="652779"/>
                    </a:cubicBezTo>
                    <a:lnTo>
                      <a:pt x="41060" y="652779"/>
                    </a:lnTo>
                    <a:cubicBezTo>
                      <a:pt x="18406" y="652753"/>
                      <a:pt x="0" y="634373"/>
                      <a:pt x="0" y="611693"/>
                    </a:cubicBezTo>
                    <a:lnTo>
                      <a:pt x="0" y="387159"/>
                    </a:lnTo>
                    <a:cubicBezTo>
                      <a:pt x="0" y="364479"/>
                      <a:pt x="18381" y="346073"/>
                      <a:pt x="41086" y="346073"/>
                    </a:cubicBezTo>
                    <a:close/>
                    <a:moveTo>
                      <a:pt x="426183" y="0"/>
                    </a:moveTo>
                    <a:cubicBezTo>
                      <a:pt x="436696" y="0"/>
                      <a:pt x="447212" y="4010"/>
                      <a:pt x="455244" y="12029"/>
                    </a:cubicBezTo>
                    <a:lnTo>
                      <a:pt x="613977" y="170762"/>
                    </a:lnTo>
                    <a:cubicBezTo>
                      <a:pt x="630041" y="186800"/>
                      <a:pt x="630041" y="212853"/>
                      <a:pt x="613977" y="228865"/>
                    </a:cubicBezTo>
                    <a:lnTo>
                      <a:pt x="455244" y="387623"/>
                    </a:lnTo>
                    <a:cubicBezTo>
                      <a:pt x="439180" y="403662"/>
                      <a:pt x="413180" y="403662"/>
                      <a:pt x="397142" y="387623"/>
                    </a:cubicBezTo>
                    <a:lnTo>
                      <a:pt x="342797" y="333279"/>
                    </a:lnTo>
                    <a:cubicBezTo>
                      <a:pt x="361023" y="336060"/>
                      <a:pt x="380279" y="330628"/>
                      <a:pt x="394310" y="316572"/>
                    </a:cubicBezTo>
                    <a:cubicBezTo>
                      <a:pt x="417736" y="293146"/>
                      <a:pt x="417762" y="255149"/>
                      <a:pt x="394310" y="231671"/>
                    </a:cubicBezTo>
                    <a:cubicBezTo>
                      <a:pt x="370883" y="208270"/>
                      <a:pt x="332911" y="208270"/>
                      <a:pt x="309459" y="231722"/>
                    </a:cubicBezTo>
                    <a:cubicBezTo>
                      <a:pt x="295429" y="245752"/>
                      <a:pt x="289972" y="265008"/>
                      <a:pt x="292752" y="283209"/>
                    </a:cubicBezTo>
                    <a:lnTo>
                      <a:pt x="238408" y="228891"/>
                    </a:lnTo>
                    <a:cubicBezTo>
                      <a:pt x="222344" y="212878"/>
                      <a:pt x="222344" y="186826"/>
                      <a:pt x="238408" y="170788"/>
                    </a:cubicBezTo>
                    <a:lnTo>
                      <a:pt x="285775" y="123446"/>
                    </a:lnTo>
                    <a:cubicBezTo>
                      <a:pt x="275324" y="121464"/>
                      <a:pt x="265335" y="116418"/>
                      <a:pt x="257252" y="108361"/>
                    </a:cubicBezTo>
                    <a:cubicBezTo>
                      <a:pt x="235859" y="86967"/>
                      <a:pt x="235859" y="52317"/>
                      <a:pt x="257252" y="30898"/>
                    </a:cubicBezTo>
                    <a:cubicBezTo>
                      <a:pt x="278645" y="9531"/>
                      <a:pt x="313346" y="9531"/>
                      <a:pt x="334713" y="30898"/>
                    </a:cubicBezTo>
                    <a:cubicBezTo>
                      <a:pt x="342797" y="38956"/>
                      <a:pt x="347791" y="48944"/>
                      <a:pt x="349773" y="59396"/>
                    </a:cubicBezTo>
                    <a:lnTo>
                      <a:pt x="397142" y="12029"/>
                    </a:lnTo>
                    <a:cubicBezTo>
                      <a:pt x="405161" y="4010"/>
                      <a:pt x="415670" y="0"/>
                      <a:pt x="426183" y="0"/>
                    </a:cubicBezTo>
                    <a:close/>
                  </a:path>
                </a:pathLst>
              </a:custGeom>
              <a:solidFill>
                <a:schemeClr val="accent2">
                  <a:lumMod val="60000"/>
                  <a:lumOff val="40000"/>
                </a:schemeClr>
              </a:solidFill>
              <a:ln w="25743" cap="flat">
                <a:noFill/>
                <a:prstDash val="solid"/>
                <a:miter/>
              </a:ln>
            </p:spPr>
            <p:txBody>
              <a:bodyPr rtlCol="0" anchor="ctr"/>
              <a:lstStyle/>
              <a:p>
                <a:endParaRPr lang="en-US" dirty="0"/>
              </a:p>
            </p:txBody>
          </p:sp>
        </p:grpSp>
        <p:cxnSp>
          <p:nvCxnSpPr>
            <p:cNvPr id="469" name="Straight Arrow Connector 468">
              <a:extLst>
                <a:ext uri="{FF2B5EF4-FFF2-40B4-BE49-F238E27FC236}">
                  <a16:creationId xmlns:a16="http://schemas.microsoft.com/office/drawing/2014/main" id="{E7AA41AC-8CED-41C7-AF61-B5D6F6624479}"/>
                </a:ext>
              </a:extLst>
            </p:cNvPr>
            <p:cNvCxnSpPr>
              <a:cxnSpLocks/>
            </p:cNvCxnSpPr>
            <p:nvPr/>
          </p:nvCxnSpPr>
          <p:spPr>
            <a:xfrm flipV="1">
              <a:off x="2717030" y="3912871"/>
              <a:ext cx="308609" cy="165734"/>
            </a:xfrm>
            <a:prstGeom prst="straightConnector1">
              <a:avLst/>
            </a:prstGeom>
            <a:ln w="1270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63" name="Group 462">
              <a:extLst>
                <a:ext uri="{FF2B5EF4-FFF2-40B4-BE49-F238E27FC236}">
                  <a16:creationId xmlns:a16="http://schemas.microsoft.com/office/drawing/2014/main" id="{96255295-B993-42A9-980A-A45858021D10}"/>
                </a:ext>
              </a:extLst>
            </p:cNvPr>
            <p:cNvGrpSpPr/>
            <p:nvPr/>
          </p:nvGrpSpPr>
          <p:grpSpPr>
            <a:xfrm>
              <a:off x="2571754" y="4013711"/>
              <a:ext cx="195807" cy="195807"/>
              <a:chOff x="1879112" y="4032082"/>
              <a:chExt cx="195807" cy="195807"/>
            </a:xfrm>
          </p:grpSpPr>
          <p:sp>
            <p:nvSpPr>
              <p:cNvPr id="464" name="Oval 463">
                <a:extLst>
                  <a:ext uri="{FF2B5EF4-FFF2-40B4-BE49-F238E27FC236}">
                    <a16:creationId xmlns:a16="http://schemas.microsoft.com/office/drawing/2014/main" id="{E6B78394-F04A-47BA-A50B-7C5F55264CDD}"/>
                  </a:ext>
                </a:extLst>
              </p:cNvPr>
              <p:cNvSpPr/>
              <p:nvPr/>
            </p:nvSpPr>
            <p:spPr bwMode="auto">
              <a:xfrm>
                <a:off x="1879112" y="4032082"/>
                <a:ext cx="195807" cy="195807"/>
              </a:xfrm>
              <a:prstGeom prst="ellipse">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65" name="Freeform: Shape 464">
                <a:extLst>
                  <a:ext uri="{FF2B5EF4-FFF2-40B4-BE49-F238E27FC236}">
                    <a16:creationId xmlns:a16="http://schemas.microsoft.com/office/drawing/2014/main" id="{5C66FB07-D90E-4718-B521-7E364FE96BCE}"/>
                  </a:ext>
                </a:extLst>
              </p:cNvPr>
              <p:cNvSpPr/>
              <p:nvPr/>
            </p:nvSpPr>
            <p:spPr>
              <a:xfrm>
                <a:off x="1911870" y="4062057"/>
                <a:ext cx="130290" cy="135858"/>
              </a:xfrm>
              <a:custGeom>
                <a:avLst/>
                <a:gdLst>
                  <a:gd name="connsiteX0" fmla="*/ 41086 w 626025"/>
                  <a:gd name="connsiteY0" fmla="*/ 346073 h 652779"/>
                  <a:gd name="connsiteX1" fmla="*/ 117904 w 626025"/>
                  <a:gd name="connsiteY1" fmla="*/ 346073 h 652779"/>
                  <a:gd name="connsiteX2" fmla="*/ 93268 w 626025"/>
                  <a:gd name="connsiteY2" fmla="*/ 394342 h 652779"/>
                  <a:gd name="connsiteX3" fmla="*/ 153301 w 626025"/>
                  <a:gd name="connsiteY3" fmla="*/ 454376 h 652779"/>
                  <a:gd name="connsiteX4" fmla="*/ 213309 w 626025"/>
                  <a:gd name="connsiteY4" fmla="*/ 394342 h 652779"/>
                  <a:gd name="connsiteX5" fmla="*/ 188698 w 626025"/>
                  <a:gd name="connsiteY5" fmla="*/ 346073 h 652779"/>
                  <a:gd name="connsiteX6" fmla="*/ 265543 w 626025"/>
                  <a:gd name="connsiteY6" fmla="*/ 346073 h 652779"/>
                  <a:gd name="connsiteX7" fmla="*/ 306603 w 626025"/>
                  <a:gd name="connsiteY7" fmla="*/ 387159 h 652779"/>
                  <a:gd name="connsiteX8" fmla="*/ 306603 w 626025"/>
                  <a:gd name="connsiteY8" fmla="*/ 454170 h 652779"/>
                  <a:gd name="connsiteX9" fmla="*/ 337418 w 626025"/>
                  <a:gd name="connsiteY9" fmla="*/ 444671 h 652779"/>
                  <a:gd name="connsiteX10" fmla="*/ 392199 w 626025"/>
                  <a:gd name="connsiteY10" fmla="*/ 499427 h 652779"/>
                  <a:gd name="connsiteX11" fmla="*/ 337443 w 626025"/>
                  <a:gd name="connsiteY11" fmla="*/ 554208 h 652779"/>
                  <a:gd name="connsiteX12" fmla="*/ 306629 w 626025"/>
                  <a:gd name="connsiteY12" fmla="*/ 544709 h 652779"/>
                  <a:gd name="connsiteX13" fmla="*/ 306629 w 626025"/>
                  <a:gd name="connsiteY13" fmla="*/ 611719 h 652779"/>
                  <a:gd name="connsiteX14" fmla="*/ 265568 w 626025"/>
                  <a:gd name="connsiteY14" fmla="*/ 652779 h 652779"/>
                  <a:gd name="connsiteX15" fmla="*/ 41060 w 626025"/>
                  <a:gd name="connsiteY15" fmla="*/ 652779 h 652779"/>
                  <a:gd name="connsiteX16" fmla="*/ 0 w 626025"/>
                  <a:gd name="connsiteY16" fmla="*/ 611693 h 652779"/>
                  <a:gd name="connsiteX17" fmla="*/ 0 w 626025"/>
                  <a:gd name="connsiteY17" fmla="*/ 387159 h 652779"/>
                  <a:gd name="connsiteX18" fmla="*/ 41086 w 626025"/>
                  <a:gd name="connsiteY18" fmla="*/ 346073 h 652779"/>
                  <a:gd name="connsiteX19" fmla="*/ 426183 w 626025"/>
                  <a:gd name="connsiteY19" fmla="*/ 0 h 652779"/>
                  <a:gd name="connsiteX20" fmla="*/ 455244 w 626025"/>
                  <a:gd name="connsiteY20" fmla="*/ 12029 h 652779"/>
                  <a:gd name="connsiteX21" fmla="*/ 613977 w 626025"/>
                  <a:gd name="connsiteY21" fmla="*/ 170762 h 652779"/>
                  <a:gd name="connsiteX22" fmla="*/ 613977 w 626025"/>
                  <a:gd name="connsiteY22" fmla="*/ 228865 h 652779"/>
                  <a:gd name="connsiteX23" fmla="*/ 455244 w 626025"/>
                  <a:gd name="connsiteY23" fmla="*/ 387623 h 652779"/>
                  <a:gd name="connsiteX24" fmla="*/ 397142 w 626025"/>
                  <a:gd name="connsiteY24" fmla="*/ 387623 h 652779"/>
                  <a:gd name="connsiteX25" fmla="*/ 342797 w 626025"/>
                  <a:gd name="connsiteY25" fmla="*/ 333279 h 652779"/>
                  <a:gd name="connsiteX26" fmla="*/ 394310 w 626025"/>
                  <a:gd name="connsiteY26" fmla="*/ 316572 h 652779"/>
                  <a:gd name="connsiteX27" fmla="*/ 394310 w 626025"/>
                  <a:gd name="connsiteY27" fmla="*/ 231671 h 652779"/>
                  <a:gd name="connsiteX28" fmla="*/ 309459 w 626025"/>
                  <a:gd name="connsiteY28" fmla="*/ 231722 h 652779"/>
                  <a:gd name="connsiteX29" fmla="*/ 292752 w 626025"/>
                  <a:gd name="connsiteY29" fmla="*/ 283209 h 652779"/>
                  <a:gd name="connsiteX30" fmla="*/ 238408 w 626025"/>
                  <a:gd name="connsiteY30" fmla="*/ 228891 h 652779"/>
                  <a:gd name="connsiteX31" fmla="*/ 238408 w 626025"/>
                  <a:gd name="connsiteY31" fmla="*/ 170788 h 652779"/>
                  <a:gd name="connsiteX32" fmla="*/ 285775 w 626025"/>
                  <a:gd name="connsiteY32" fmla="*/ 123446 h 652779"/>
                  <a:gd name="connsiteX33" fmla="*/ 257252 w 626025"/>
                  <a:gd name="connsiteY33" fmla="*/ 108361 h 652779"/>
                  <a:gd name="connsiteX34" fmla="*/ 257252 w 626025"/>
                  <a:gd name="connsiteY34" fmla="*/ 30898 h 652779"/>
                  <a:gd name="connsiteX35" fmla="*/ 334713 w 626025"/>
                  <a:gd name="connsiteY35" fmla="*/ 30898 h 652779"/>
                  <a:gd name="connsiteX36" fmla="*/ 349773 w 626025"/>
                  <a:gd name="connsiteY36" fmla="*/ 59396 h 652779"/>
                  <a:gd name="connsiteX37" fmla="*/ 397142 w 626025"/>
                  <a:gd name="connsiteY37" fmla="*/ 12029 h 652779"/>
                  <a:gd name="connsiteX38" fmla="*/ 426183 w 626025"/>
                  <a:gd name="connsiteY38" fmla="*/ 0 h 6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6025" h="652779">
                    <a:moveTo>
                      <a:pt x="41086" y="346073"/>
                    </a:moveTo>
                    <a:lnTo>
                      <a:pt x="117904" y="346073"/>
                    </a:lnTo>
                    <a:cubicBezTo>
                      <a:pt x="103024" y="357014"/>
                      <a:pt x="93268" y="374494"/>
                      <a:pt x="93268" y="394342"/>
                    </a:cubicBezTo>
                    <a:cubicBezTo>
                      <a:pt x="93268" y="427474"/>
                      <a:pt x="120118" y="454376"/>
                      <a:pt x="153301" y="454376"/>
                    </a:cubicBezTo>
                    <a:cubicBezTo>
                      <a:pt x="186458" y="454350"/>
                      <a:pt x="213309" y="427500"/>
                      <a:pt x="213309" y="394342"/>
                    </a:cubicBezTo>
                    <a:cubicBezTo>
                      <a:pt x="213309" y="374494"/>
                      <a:pt x="203552" y="357014"/>
                      <a:pt x="188698" y="346073"/>
                    </a:cubicBezTo>
                    <a:lnTo>
                      <a:pt x="265543" y="346073"/>
                    </a:lnTo>
                    <a:cubicBezTo>
                      <a:pt x="288222" y="346047"/>
                      <a:pt x="306603" y="364479"/>
                      <a:pt x="306603" y="387159"/>
                    </a:cubicBezTo>
                    <a:lnTo>
                      <a:pt x="306603" y="454170"/>
                    </a:lnTo>
                    <a:cubicBezTo>
                      <a:pt x="315407" y="448198"/>
                      <a:pt x="325988" y="444671"/>
                      <a:pt x="337418" y="444671"/>
                    </a:cubicBezTo>
                    <a:cubicBezTo>
                      <a:pt x="367666" y="444671"/>
                      <a:pt x="392199" y="469178"/>
                      <a:pt x="392199" y="499427"/>
                    </a:cubicBezTo>
                    <a:cubicBezTo>
                      <a:pt x="392199" y="529675"/>
                      <a:pt x="367666" y="554208"/>
                      <a:pt x="337443" y="554208"/>
                    </a:cubicBezTo>
                    <a:cubicBezTo>
                      <a:pt x="325988" y="554208"/>
                      <a:pt x="315433" y="550707"/>
                      <a:pt x="306629" y="544709"/>
                    </a:cubicBezTo>
                    <a:lnTo>
                      <a:pt x="306629" y="611719"/>
                    </a:lnTo>
                    <a:cubicBezTo>
                      <a:pt x="306629" y="634398"/>
                      <a:pt x="288248" y="652779"/>
                      <a:pt x="265568" y="652779"/>
                    </a:cubicBezTo>
                    <a:lnTo>
                      <a:pt x="41060" y="652779"/>
                    </a:lnTo>
                    <a:cubicBezTo>
                      <a:pt x="18406" y="652753"/>
                      <a:pt x="0" y="634373"/>
                      <a:pt x="0" y="611693"/>
                    </a:cubicBezTo>
                    <a:lnTo>
                      <a:pt x="0" y="387159"/>
                    </a:lnTo>
                    <a:cubicBezTo>
                      <a:pt x="0" y="364479"/>
                      <a:pt x="18381" y="346073"/>
                      <a:pt x="41086" y="346073"/>
                    </a:cubicBezTo>
                    <a:close/>
                    <a:moveTo>
                      <a:pt x="426183" y="0"/>
                    </a:moveTo>
                    <a:cubicBezTo>
                      <a:pt x="436696" y="0"/>
                      <a:pt x="447212" y="4010"/>
                      <a:pt x="455244" y="12029"/>
                    </a:cubicBezTo>
                    <a:lnTo>
                      <a:pt x="613977" y="170762"/>
                    </a:lnTo>
                    <a:cubicBezTo>
                      <a:pt x="630041" y="186800"/>
                      <a:pt x="630041" y="212853"/>
                      <a:pt x="613977" y="228865"/>
                    </a:cubicBezTo>
                    <a:lnTo>
                      <a:pt x="455244" y="387623"/>
                    </a:lnTo>
                    <a:cubicBezTo>
                      <a:pt x="439180" y="403662"/>
                      <a:pt x="413180" y="403662"/>
                      <a:pt x="397142" y="387623"/>
                    </a:cubicBezTo>
                    <a:lnTo>
                      <a:pt x="342797" y="333279"/>
                    </a:lnTo>
                    <a:cubicBezTo>
                      <a:pt x="361023" y="336060"/>
                      <a:pt x="380279" y="330628"/>
                      <a:pt x="394310" y="316572"/>
                    </a:cubicBezTo>
                    <a:cubicBezTo>
                      <a:pt x="417736" y="293146"/>
                      <a:pt x="417762" y="255149"/>
                      <a:pt x="394310" y="231671"/>
                    </a:cubicBezTo>
                    <a:cubicBezTo>
                      <a:pt x="370883" y="208270"/>
                      <a:pt x="332911" y="208270"/>
                      <a:pt x="309459" y="231722"/>
                    </a:cubicBezTo>
                    <a:cubicBezTo>
                      <a:pt x="295429" y="245752"/>
                      <a:pt x="289972" y="265008"/>
                      <a:pt x="292752" y="283209"/>
                    </a:cubicBezTo>
                    <a:lnTo>
                      <a:pt x="238408" y="228891"/>
                    </a:lnTo>
                    <a:cubicBezTo>
                      <a:pt x="222344" y="212878"/>
                      <a:pt x="222344" y="186826"/>
                      <a:pt x="238408" y="170788"/>
                    </a:cubicBezTo>
                    <a:lnTo>
                      <a:pt x="285775" y="123446"/>
                    </a:lnTo>
                    <a:cubicBezTo>
                      <a:pt x="275324" y="121464"/>
                      <a:pt x="265335" y="116418"/>
                      <a:pt x="257252" y="108361"/>
                    </a:cubicBezTo>
                    <a:cubicBezTo>
                      <a:pt x="235859" y="86967"/>
                      <a:pt x="235859" y="52317"/>
                      <a:pt x="257252" y="30898"/>
                    </a:cubicBezTo>
                    <a:cubicBezTo>
                      <a:pt x="278645" y="9531"/>
                      <a:pt x="313346" y="9531"/>
                      <a:pt x="334713" y="30898"/>
                    </a:cubicBezTo>
                    <a:cubicBezTo>
                      <a:pt x="342797" y="38956"/>
                      <a:pt x="347791" y="48944"/>
                      <a:pt x="349773" y="59396"/>
                    </a:cubicBezTo>
                    <a:lnTo>
                      <a:pt x="397142" y="12029"/>
                    </a:lnTo>
                    <a:cubicBezTo>
                      <a:pt x="405161" y="4010"/>
                      <a:pt x="415670" y="0"/>
                      <a:pt x="426183" y="0"/>
                    </a:cubicBezTo>
                    <a:close/>
                  </a:path>
                </a:pathLst>
              </a:custGeom>
              <a:solidFill>
                <a:schemeClr val="accent2">
                  <a:lumMod val="60000"/>
                  <a:lumOff val="40000"/>
                </a:schemeClr>
              </a:solidFill>
              <a:ln w="25743" cap="flat">
                <a:noFill/>
                <a:prstDash val="solid"/>
                <a:miter/>
              </a:ln>
            </p:spPr>
            <p:txBody>
              <a:bodyPr rtlCol="0" anchor="ctr"/>
              <a:lstStyle/>
              <a:p>
                <a:endParaRPr lang="en-US" dirty="0"/>
              </a:p>
            </p:txBody>
          </p:sp>
        </p:grpSp>
        <p:cxnSp>
          <p:nvCxnSpPr>
            <p:cNvPr id="470" name="Straight Arrow Connector 469">
              <a:extLst>
                <a:ext uri="{FF2B5EF4-FFF2-40B4-BE49-F238E27FC236}">
                  <a16:creationId xmlns:a16="http://schemas.microsoft.com/office/drawing/2014/main" id="{121DF071-26FF-4457-820A-94B2CE7D04E8}"/>
                </a:ext>
              </a:extLst>
            </p:cNvPr>
            <p:cNvCxnSpPr>
              <a:cxnSpLocks/>
            </p:cNvCxnSpPr>
            <p:nvPr/>
          </p:nvCxnSpPr>
          <p:spPr>
            <a:xfrm>
              <a:off x="2305038" y="4742218"/>
              <a:ext cx="0" cy="213594"/>
            </a:xfrm>
            <a:prstGeom prst="straightConnector1">
              <a:avLst/>
            </a:prstGeom>
            <a:ln w="1270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66" name="Group 465">
              <a:extLst>
                <a:ext uri="{FF2B5EF4-FFF2-40B4-BE49-F238E27FC236}">
                  <a16:creationId xmlns:a16="http://schemas.microsoft.com/office/drawing/2014/main" id="{06C6B20D-50CB-4B02-9A62-F380983B7EC4}"/>
                </a:ext>
              </a:extLst>
            </p:cNvPr>
            <p:cNvGrpSpPr/>
            <p:nvPr/>
          </p:nvGrpSpPr>
          <p:grpSpPr>
            <a:xfrm>
              <a:off x="2207135" y="4596388"/>
              <a:ext cx="195807" cy="195807"/>
              <a:chOff x="1879112" y="4032082"/>
              <a:chExt cx="195807" cy="195807"/>
            </a:xfrm>
          </p:grpSpPr>
          <p:sp>
            <p:nvSpPr>
              <p:cNvPr id="467" name="Oval 466">
                <a:extLst>
                  <a:ext uri="{FF2B5EF4-FFF2-40B4-BE49-F238E27FC236}">
                    <a16:creationId xmlns:a16="http://schemas.microsoft.com/office/drawing/2014/main" id="{FDE9EA8D-20E9-403B-BAE9-2187715370FF}"/>
                  </a:ext>
                </a:extLst>
              </p:cNvPr>
              <p:cNvSpPr/>
              <p:nvPr/>
            </p:nvSpPr>
            <p:spPr bwMode="auto">
              <a:xfrm>
                <a:off x="1879112" y="4032082"/>
                <a:ext cx="195807" cy="195807"/>
              </a:xfrm>
              <a:prstGeom prst="ellipse">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68" name="Freeform: Shape 467">
                <a:extLst>
                  <a:ext uri="{FF2B5EF4-FFF2-40B4-BE49-F238E27FC236}">
                    <a16:creationId xmlns:a16="http://schemas.microsoft.com/office/drawing/2014/main" id="{F7C8F167-744C-4882-B2D9-247927DB9A63}"/>
                  </a:ext>
                </a:extLst>
              </p:cNvPr>
              <p:cNvSpPr/>
              <p:nvPr/>
            </p:nvSpPr>
            <p:spPr>
              <a:xfrm>
                <a:off x="1911870" y="4062057"/>
                <a:ext cx="130290" cy="135858"/>
              </a:xfrm>
              <a:custGeom>
                <a:avLst/>
                <a:gdLst>
                  <a:gd name="connsiteX0" fmla="*/ 41086 w 626025"/>
                  <a:gd name="connsiteY0" fmla="*/ 346073 h 652779"/>
                  <a:gd name="connsiteX1" fmla="*/ 117904 w 626025"/>
                  <a:gd name="connsiteY1" fmla="*/ 346073 h 652779"/>
                  <a:gd name="connsiteX2" fmla="*/ 93268 w 626025"/>
                  <a:gd name="connsiteY2" fmla="*/ 394342 h 652779"/>
                  <a:gd name="connsiteX3" fmla="*/ 153301 w 626025"/>
                  <a:gd name="connsiteY3" fmla="*/ 454376 h 652779"/>
                  <a:gd name="connsiteX4" fmla="*/ 213309 w 626025"/>
                  <a:gd name="connsiteY4" fmla="*/ 394342 h 652779"/>
                  <a:gd name="connsiteX5" fmla="*/ 188698 w 626025"/>
                  <a:gd name="connsiteY5" fmla="*/ 346073 h 652779"/>
                  <a:gd name="connsiteX6" fmla="*/ 265543 w 626025"/>
                  <a:gd name="connsiteY6" fmla="*/ 346073 h 652779"/>
                  <a:gd name="connsiteX7" fmla="*/ 306603 w 626025"/>
                  <a:gd name="connsiteY7" fmla="*/ 387159 h 652779"/>
                  <a:gd name="connsiteX8" fmla="*/ 306603 w 626025"/>
                  <a:gd name="connsiteY8" fmla="*/ 454170 h 652779"/>
                  <a:gd name="connsiteX9" fmla="*/ 337418 w 626025"/>
                  <a:gd name="connsiteY9" fmla="*/ 444671 h 652779"/>
                  <a:gd name="connsiteX10" fmla="*/ 392199 w 626025"/>
                  <a:gd name="connsiteY10" fmla="*/ 499427 h 652779"/>
                  <a:gd name="connsiteX11" fmla="*/ 337443 w 626025"/>
                  <a:gd name="connsiteY11" fmla="*/ 554208 h 652779"/>
                  <a:gd name="connsiteX12" fmla="*/ 306629 w 626025"/>
                  <a:gd name="connsiteY12" fmla="*/ 544709 h 652779"/>
                  <a:gd name="connsiteX13" fmla="*/ 306629 w 626025"/>
                  <a:gd name="connsiteY13" fmla="*/ 611719 h 652779"/>
                  <a:gd name="connsiteX14" fmla="*/ 265568 w 626025"/>
                  <a:gd name="connsiteY14" fmla="*/ 652779 h 652779"/>
                  <a:gd name="connsiteX15" fmla="*/ 41060 w 626025"/>
                  <a:gd name="connsiteY15" fmla="*/ 652779 h 652779"/>
                  <a:gd name="connsiteX16" fmla="*/ 0 w 626025"/>
                  <a:gd name="connsiteY16" fmla="*/ 611693 h 652779"/>
                  <a:gd name="connsiteX17" fmla="*/ 0 w 626025"/>
                  <a:gd name="connsiteY17" fmla="*/ 387159 h 652779"/>
                  <a:gd name="connsiteX18" fmla="*/ 41086 w 626025"/>
                  <a:gd name="connsiteY18" fmla="*/ 346073 h 652779"/>
                  <a:gd name="connsiteX19" fmla="*/ 426183 w 626025"/>
                  <a:gd name="connsiteY19" fmla="*/ 0 h 652779"/>
                  <a:gd name="connsiteX20" fmla="*/ 455244 w 626025"/>
                  <a:gd name="connsiteY20" fmla="*/ 12029 h 652779"/>
                  <a:gd name="connsiteX21" fmla="*/ 613977 w 626025"/>
                  <a:gd name="connsiteY21" fmla="*/ 170762 h 652779"/>
                  <a:gd name="connsiteX22" fmla="*/ 613977 w 626025"/>
                  <a:gd name="connsiteY22" fmla="*/ 228865 h 652779"/>
                  <a:gd name="connsiteX23" fmla="*/ 455244 w 626025"/>
                  <a:gd name="connsiteY23" fmla="*/ 387623 h 652779"/>
                  <a:gd name="connsiteX24" fmla="*/ 397142 w 626025"/>
                  <a:gd name="connsiteY24" fmla="*/ 387623 h 652779"/>
                  <a:gd name="connsiteX25" fmla="*/ 342797 w 626025"/>
                  <a:gd name="connsiteY25" fmla="*/ 333279 h 652779"/>
                  <a:gd name="connsiteX26" fmla="*/ 394310 w 626025"/>
                  <a:gd name="connsiteY26" fmla="*/ 316572 h 652779"/>
                  <a:gd name="connsiteX27" fmla="*/ 394310 w 626025"/>
                  <a:gd name="connsiteY27" fmla="*/ 231671 h 652779"/>
                  <a:gd name="connsiteX28" fmla="*/ 309459 w 626025"/>
                  <a:gd name="connsiteY28" fmla="*/ 231722 h 652779"/>
                  <a:gd name="connsiteX29" fmla="*/ 292752 w 626025"/>
                  <a:gd name="connsiteY29" fmla="*/ 283209 h 652779"/>
                  <a:gd name="connsiteX30" fmla="*/ 238408 w 626025"/>
                  <a:gd name="connsiteY30" fmla="*/ 228891 h 652779"/>
                  <a:gd name="connsiteX31" fmla="*/ 238408 w 626025"/>
                  <a:gd name="connsiteY31" fmla="*/ 170788 h 652779"/>
                  <a:gd name="connsiteX32" fmla="*/ 285775 w 626025"/>
                  <a:gd name="connsiteY32" fmla="*/ 123446 h 652779"/>
                  <a:gd name="connsiteX33" fmla="*/ 257252 w 626025"/>
                  <a:gd name="connsiteY33" fmla="*/ 108361 h 652779"/>
                  <a:gd name="connsiteX34" fmla="*/ 257252 w 626025"/>
                  <a:gd name="connsiteY34" fmla="*/ 30898 h 652779"/>
                  <a:gd name="connsiteX35" fmla="*/ 334713 w 626025"/>
                  <a:gd name="connsiteY35" fmla="*/ 30898 h 652779"/>
                  <a:gd name="connsiteX36" fmla="*/ 349773 w 626025"/>
                  <a:gd name="connsiteY36" fmla="*/ 59396 h 652779"/>
                  <a:gd name="connsiteX37" fmla="*/ 397142 w 626025"/>
                  <a:gd name="connsiteY37" fmla="*/ 12029 h 652779"/>
                  <a:gd name="connsiteX38" fmla="*/ 426183 w 626025"/>
                  <a:gd name="connsiteY38" fmla="*/ 0 h 6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6025" h="652779">
                    <a:moveTo>
                      <a:pt x="41086" y="346073"/>
                    </a:moveTo>
                    <a:lnTo>
                      <a:pt x="117904" y="346073"/>
                    </a:lnTo>
                    <a:cubicBezTo>
                      <a:pt x="103024" y="357014"/>
                      <a:pt x="93268" y="374494"/>
                      <a:pt x="93268" y="394342"/>
                    </a:cubicBezTo>
                    <a:cubicBezTo>
                      <a:pt x="93268" y="427474"/>
                      <a:pt x="120118" y="454376"/>
                      <a:pt x="153301" y="454376"/>
                    </a:cubicBezTo>
                    <a:cubicBezTo>
                      <a:pt x="186458" y="454350"/>
                      <a:pt x="213309" y="427500"/>
                      <a:pt x="213309" y="394342"/>
                    </a:cubicBezTo>
                    <a:cubicBezTo>
                      <a:pt x="213309" y="374494"/>
                      <a:pt x="203552" y="357014"/>
                      <a:pt x="188698" y="346073"/>
                    </a:cubicBezTo>
                    <a:lnTo>
                      <a:pt x="265543" y="346073"/>
                    </a:lnTo>
                    <a:cubicBezTo>
                      <a:pt x="288222" y="346047"/>
                      <a:pt x="306603" y="364479"/>
                      <a:pt x="306603" y="387159"/>
                    </a:cubicBezTo>
                    <a:lnTo>
                      <a:pt x="306603" y="454170"/>
                    </a:lnTo>
                    <a:cubicBezTo>
                      <a:pt x="315407" y="448198"/>
                      <a:pt x="325988" y="444671"/>
                      <a:pt x="337418" y="444671"/>
                    </a:cubicBezTo>
                    <a:cubicBezTo>
                      <a:pt x="367666" y="444671"/>
                      <a:pt x="392199" y="469178"/>
                      <a:pt x="392199" y="499427"/>
                    </a:cubicBezTo>
                    <a:cubicBezTo>
                      <a:pt x="392199" y="529675"/>
                      <a:pt x="367666" y="554208"/>
                      <a:pt x="337443" y="554208"/>
                    </a:cubicBezTo>
                    <a:cubicBezTo>
                      <a:pt x="325988" y="554208"/>
                      <a:pt x="315433" y="550707"/>
                      <a:pt x="306629" y="544709"/>
                    </a:cubicBezTo>
                    <a:lnTo>
                      <a:pt x="306629" y="611719"/>
                    </a:lnTo>
                    <a:cubicBezTo>
                      <a:pt x="306629" y="634398"/>
                      <a:pt x="288248" y="652779"/>
                      <a:pt x="265568" y="652779"/>
                    </a:cubicBezTo>
                    <a:lnTo>
                      <a:pt x="41060" y="652779"/>
                    </a:lnTo>
                    <a:cubicBezTo>
                      <a:pt x="18406" y="652753"/>
                      <a:pt x="0" y="634373"/>
                      <a:pt x="0" y="611693"/>
                    </a:cubicBezTo>
                    <a:lnTo>
                      <a:pt x="0" y="387159"/>
                    </a:lnTo>
                    <a:cubicBezTo>
                      <a:pt x="0" y="364479"/>
                      <a:pt x="18381" y="346073"/>
                      <a:pt x="41086" y="346073"/>
                    </a:cubicBezTo>
                    <a:close/>
                    <a:moveTo>
                      <a:pt x="426183" y="0"/>
                    </a:moveTo>
                    <a:cubicBezTo>
                      <a:pt x="436696" y="0"/>
                      <a:pt x="447212" y="4010"/>
                      <a:pt x="455244" y="12029"/>
                    </a:cubicBezTo>
                    <a:lnTo>
                      <a:pt x="613977" y="170762"/>
                    </a:lnTo>
                    <a:cubicBezTo>
                      <a:pt x="630041" y="186800"/>
                      <a:pt x="630041" y="212853"/>
                      <a:pt x="613977" y="228865"/>
                    </a:cubicBezTo>
                    <a:lnTo>
                      <a:pt x="455244" y="387623"/>
                    </a:lnTo>
                    <a:cubicBezTo>
                      <a:pt x="439180" y="403662"/>
                      <a:pt x="413180" y="403662"/>
                      <a:pt x="397142" y="387623"/>
                    </a:cubicBezTo>
                    <a:lnTo>
                      <a:pt x="342797" y="333279"/>
                    </a:lnTo>
                    <a:cubicBezTo>
                      <a:pt x="361023" y="336060"/>
                      <a:pt x="380279" y="330628"/>
                      <a:pt x="394310" y="316572"/>
                    </a:cubicBezTo>
                    <a:cubicBezTo>
                      <a:pt x="417736" y="293146"/>
                      <a:pt x="417762" y="255149"/>
                      <a:pt x="394310" y="231671"/>
                    </a:cubicBezTo>
                    <a:cubicBezTo>
                      <a:pt x="370883" y="208270"/>
                      <a:pt x="332911" y="208270"/>
                      <a:pt x="309459" y="231722"/>
                    </a:cubicBezTo>
                    <a:cubicBezTo>
                      <a:pt x="295429" y="245752"/>
                      <a:pt x="289972" y="265008"/>
                      <a:pt x="292752" y="283209"/>
                    </a:cubicBezTo>
                    <a:lnTo>
                      <a:pt x="238408" y="228891"/>
                    </a:lnTo>
                    <a:cubicBezTo>
                      <a:pt x="222344" y="212878"/>
                      <a:pt x="222344" y="186826"/>
                      <a:pt x="238408" y="170788"/>
                    </a:cubicBezTo>
                    <a:lnTo>
                      <a:pt x="285775" y="123446"/>
                    </a:lnTo>
                    <a:cubicBezTo>
                      <a:pt x="275324" y="121464"/>
                      <a:pt x="265335" y="116418"/>
                      <a:pt x="257252" y="108361"/>
                    </a:cubicBezTo>
                    <a:cubicBezTo>
                      <a:pt x="235859" y="86967"/>
                      <a:pt x="235859" y="52317"/>
                      <a:pt x="257252" y="30898"/>
                    </a:cubicBezTo>
                    <a:cubicBezTo>
                      <a:pt x="278645" y="9531"/>
                      <a:pt x="313346" y="9531"/>
                      <a:pt x="334713" y="30898"/>
                    </a:cubicBezTo>
                    <a:cubicBezTo>
                      <a:pt x="342797" y="38956"/>
                      <a:pt x="347791" y="48944"/>
                      <a:pt x="349773" y="59396"/>
                    </a:cubicBezTo>
                    <a:lnTo>
                      <a:pt x="397142" y="12029"/>
                    </a:lnTo>
                    <a:cubicBezTo>
                      <a:pt x="405161" y="4010"/>
                      <a:pt x="415670" y="0"/>
                      <a:pt x="426183" y="0"/>
                    </a:cubicBezTo>
                    <a:close/>
                  </a:path>
                </a:pathLst>
              </a:custGeom>
              <a:solidFill>
                <a:schemeClr val="accent2">
                  <a:lumMod val="60000"/>
                  <a:lumOff val="40000"/>
                </a:schemeClr>
              </a:solidFill>
              <a:ln w="25743" cap="flat">
                <a:noFill/>
                <a:prstDash val="solid"/>
                <a:miter/>
              </a:ln>
            </p:spPr>
            <p:txBody>
              <a:bodyPr rtlCol="0" anchor="ctr"/>
              <a:lstStyle/>
              <a:p>
                <a:endParaRPr lang="en-US" dirty="0"/>
              </a:p>
            </p:txBody>
          </p:sp>
        </p:grpSp>
        <p:grpSp>
          <p:nvGrpSpPr>
            <p:cNvPr id="20490" name="Group 20489">
              <a:extLst>
                <a:ext uri="{FF2B5EF4-FFF2-40B4-BE49-F238E27FC236}">
                  <a16:creationId xmlns:a16="http://schemas.microsoft.com/office/drawing/2014/main" id="{41E428AB-14C0-4A8A-94E4-589C6A040CCE}"/>
                </a:ext>
              </a:extLst>
            </p:cNvPr>
            <p:cNvGrpSpPr/>
            <p:nvPr/>
          </p:nvGrpSpPr>
          <p:grpSpPr>
            <a:xfrm>
              <a:off x="885854" y="4496546"/>
              <a:ext cx="730022" cy="730022"/>
              <a:chOff x="885854" y="4496546"/>
              <a:chExt cx="730022" cy="730022"/>
            </a:xfrm>
          </p:grpSpPr>
          <p:sp>
            <p:nvSpPr>
              <p:cNvPr id="434" name="Oval 433">
                <a:extLst>
                  <a:ext uri="{FF2B5EF4-FFF2-40B4-BE49-F238E27FC236}">
                    <a16:creationId xmlns:a16="http://schemas.microsoft.com/office/drawing/2014/main" id="{3C306FA9-D0A3-4BED-A955-0276DAD27904}"/>
                  </a:ext>
                </a:extLst>
              </p:cNvPr>
              <p:cNvSpPr/>
              <p:nvPr/>
            </p:nvSpPr>
            <p:spPr bwMode="auto">
              <a:xfrm>
                <a:off x="885854" y="4496546"/>
                <a:ext cx="730022" cy="730022"/>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45720" bIns="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900" i="1" dirty="0">
                  <a:solidFill>
                    <a:schemeClr val="tx1"/>
                  </a:solidFill>
                  <a:ea typeface="Segoe UI" pitchFamily="34" charset="0"/>
                  <a:cs typeface="Segoe UI" pitchFamily="34" charset="0"/>
                </a:endParaRPr>
              </a:p>
            </p:txBody>
          </p:sp>
          <p:pic>
            <p:nvPicPr>
              <p:cNvPr id="20488" name="Picture 20487">
                <a:extLst>
                  <a:ext uri="{FF2B5EF4-FFF2-40B4-BE49-F238E27FC236}">
                    <a16:creationId xmlns:a16="http://schemas.microsoft.com/office/drawing/2014/main" id="{4E2B20A3-206B-4887-A0D8-DB8FE93471D7}"/>
                  </a:ext>
                </a:extLst>
              </p:cNvPr>
              <p:cNvPicPr>
                <a:picLocks noChangeAspect="1"/>
              </p:cNvPicPr>
              <p:nvPr/>
            </p:nvPicPr>
            <p:blipFill>
              <a:blip r:embed="rId7"/>
              <a:stretch>
                <a:fillRect/>
              </a:stretch>
            </p:blipFill>
            <p:spPr>
              <a:xfrm>
                <a:off x="1080390" y="4646870"/>
                <a:ext cx="340951" cy="429375"/>
              </a:xfrm>
              <a:prstGeom prst="rect">
                <a:avLst/>
              </a:prstGeom>
            </p:spPr>
          </p:pic>
        </p:grpSp>
      </p:grpSp>
      <p:grpSp>
        <p:nvGrpSpPr>
          <p:cNvPr id="1094" name="Group 1093">
            <a:extLst>
              <a:ext uri="{FF2B5EF4-FFF2-40B4-BE49-F238E27FC236}">
                <a16:creationId xmlns:a16="http://schemas.microsoft.com/office/drawing/2014/main" id="{C29A4DE7-3950-49F5-809E-9CCB61699411}"/>
              </a:ext>
            </a:extLst>
          </p:cNvPr>
          <p:cNvGrpSpPr/>
          <p:nvPr/>
        </p:nvGrpSpPr>
        <p:grpSpPr>
          <a:xfrm>
            <a:off x="4837740" y="3728457"/>
            <a:ext cx="638521" cy="638521"/>
            <a:chOff x="4849241" y="3538714"/>
            <a:chExt cx="638521" cy="638521"/>
          </a:xfrm>
        </p:grpSpPr>
        <p:sp>
          <p:nvSpPr>
            <p:cNvPr id="482" name="Oval 481">
              <a:extLst>
                <a:ext uri="{FF2B5EF4-FFF2-40B4-BE49-F238E27FC236}">
                  <a16:creationId xmlns:a16="http://schemas.microsoft.com/office/drawing/2014/main" id="{5A139CF1-0200-410D-BFAA-EA2F7FF27AFF}"/>
                </a:ext>
              </a:extLst>
            </p:cNvPr>
            <p:cNvSpPr/>
            <p:nvPr/>
          </p:nvSpPr>
          <p:spPr bwMode="auto">
            <a:xfrm>
              <a:off x="4849241" y="3538714"/>
              <a:ext cx="638521" cy="638521"/>
            </a:xfrm>
            <a:prstGeom prst="ellipse">
              <a:avLst/>
            </a:prstGeom>
            <a:solidFill>
              <a:srgbClr val="FFC0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 tIns="548640" rIns="4572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900" i="1" dirty="0">
                  <a:solidFill>
                    <a:schemeClr val="tx1"/>
                  </a:solidFill>
                  <a:ea typeface="Segoe UI" pitchFamily="34" charset="0"/>
                  <a:cs typeface="Segoe UI" pitchFamily="34" charset="0"/>
                </a:rPr>
                <a:t>3</a:t>
              </a:r>
              <a:r>
                <a:rPr lang="en-US" sz="900" i="1" baseline="30000" dirty="0">
                  <a:solidFill>
                    <a:schemeClr val="tx1"/>
                  </a:solidFill>
                  <a:ea typeface="Segoe UI" pitchFamily="34" charset="0"/>
                  <a:cs typeface="Segoe UI" pitchFamily="34" charset="0"/>
                </a:rPr>
                <a:t>rd</a:t>
              </a:r>
              <a:r>
                <a:rPr lang="en-US" sz="900" i="1" dirty="0">
                  <a:solidFill>
                    <a:schemeClr val="tx1"/>
                  </a:solidFill>
                  <a:ea typeface="Segoe UI" pitchFamily="34" charset="0"/>
                  <a:cs typeface="Segoe UI" pitchFamily="34" charset="0"/>
                </a:rPr>
                <a:t> party</a:t>
              </a:r>
              <a:br>
                <a:rPr lang="en-US" sz="900" i="1" dirty="0">
                  <a:solidFill>
                    <a:schemeClr val="tx1"/>
                  </a:solidFill>
                  <a:ea typeface="Segoe UI" pitchFamily="34" charset="0"/>
                  <a:cs typeface="Segoe UI" pitchFamily="34" charset="0"/>
                </a:rPr>
              </a:br>
              <a:r>
                <a:rPr lang="en-US" sz="900" i="1" dirty="0">
                  <a:solidFill>
                    <a:schemeClr val="tx1"/>
                  </a:solidFill>
                  <a:ea typeface="Segoe UI" pitchFamily="34" charset="0"/>
                  <a:cs typeface="Segoe UI" pitchFamily="34" charset="0"/>
                </a:rPr>
                <a:t>apps</a:t>
              </a:r>
            </a:p>
          </p:txBody>
        </p:sp>
        <p:grpSp>
          <p:nvGrpSpPr>
            <p:cNvPr id="1093" name="Group 1092">
              <a:extLst>
                <a:ext uri="{FF2B5EF4-FFF2-40B4-BE49-F238E27FC236}">
                  <a16:creationId xmlns:a16="http://schemas.microsoft.com/office/drawing/2014/main" id="{75C41A86-82AE-41FC-9246-18DD16F23DB0}"/>
                </a:ext>
              </a:extLst>
            </p:cNvPr>
            <p:cNvGrpSpPr/>
            <p:nvPr/>
          </p:nvGrpSpPr>
          <p:grpSpPr>
            <a:xfrm>
              <a:off x="5041272" y="3610756"/>
              <a:ext cx="254459" cy="265403"/>
              <a:chOff x="-773256" y="4348567"/>
              <a:chExt cx="885825" cy="923925"/>
            </a:xfrm>
          </p:grpSpPr>
          <p:sp>
            <p:nvSpPr>
              <p:cNvPr id="1035" name="Freeform: Shape 1034">
                <a:extLst>
                  <a:ext uri="{FF2B5EF4-FFF2-40B4-BE49-F238E27FC236}">
                    <a16:creationId xmlns:a16="http://schemas.microsoft.com/office/drawing/2014/main" id="{B90A1C13-19FA-4E98-8E51-B92ACB2A2430}"/>
                  </a:ext>
                </a:extLst>
              </p:cNvPr>
              <p:cNvSpPr/>
              <p:nvPr/>
            </p:nvSpPr>
            <p:spPr>
              <a:xfrm>
                <a:off x="-773256" y="4348567"/>
                <a:ext cx="885825" cy="923925"/>
              </a:xfrm>
              <a:custGeom>
                <a:avLst/>
                <a:gdLst>
                  <a:gd name="connsiteX0" fmla="*/ 867728 w 885825"/>
                  <a:gd name="connsiteY0" fmla="*/ 466130 h 923925"/>
                  <a:gd name="connsiteX1" fmla="*/ 847725 w 885825"/>
                  <a:gd name="connsiteY1" fmla="*/ 486132 h 923925"/>
                  <a:gd name="connsiteX2" fmla="*/ 442913 w 885825"/>
                  <a:gd name="connsiteY2" fmla="*/ 890945 h 923925"/>
                  <a:gd name="connsiteX3" fmla="*/ 39053 w 885825"/>
                  <a:gd name="connsiteY3" fmla="*/ 486132 h 923925"/>
                  <a:gd name="connsiteX4" fmla="*/ 415290 w 885825"/>
                  <a:gd name="connsiteY4" fmla="*/ 83225 h 923925"/>
                  <a:gd name="connsiteX5" fmla="*/ 397193 w 885825"/>
                  <a:gd name="connsiteY5" fmla="*/ 96560 h 923925"/>
                  <a:gd name="connsiteX6" fmla="*/ 393383 w 885825"/>
                  <a:gd name="connsiteY6" fmla="*/ 124182 h 923925"/>
                  <a:gd name="connsiteX7" fmla="*/ 408623 w 885825"/>
                  <a:gd name="connsiteY7" fmla="*/ 131802 h 923925"/>
                  <a:gd name="connsiteX8" fmla="*/ 421005 w 885825"/>
                  <a:gd name="connsiteY8" fmla="*/ 127992 h 923925"/>
                  <a:gd name="connsiteX9" fmla="*/ 485775 w 885825"/>
                  <a:gd name="connsiteY9" fmla="*/ 78462 h 923925"/>
                  <a:gd name="connsiteX10" fmla="*/ 493395 w 885825"/>
                  <a:gd name="connsiteY10" fmla="*/ 62270 h 923925"/>
                  <a:gd name="connsiteX11" fmla="*/ 484823 w 885825"/>
                  <a:gd name="connsiteY11" fmla="*/ 47030 h 923925"/>
                  <a:gd name="connsiteX12" fmla="*/ 420053 w 885825"/>
                  <a:gd name="connsiteY12" fmla="*/ 3215 h 923925"/>
                  <a:gd name="connsiteX13" fmla="*/ 392430 w 885825"/>
                  <a:gd name="connsiteY13" fmla="*/ 8930 h 923925"/>
                  <a:gd name="connsiteX14" fmla="*/ 399098 w 885825"/>
                  <a:gd name="connsiteY14" fmla="*/ 34647 h 923925"/>
                  <a:gd name="connsiteX15" fmla="*/ 412433 w 885825"/>
                  <a:gd name="connsiteY15" fmla="*/ 43220 h 923925"/>
                  <a:gd name="connsiteX16" fmla="*/ 0 w 885825"/>
                  <a:gd name="connsiteY16" fmla="*/ 486132 h 923925"/>
                  <a:gd name="connsiteX17" fmla="*/ 443865 w 885825"/>
                  <a:gd name="connsiteY17" fmla="*/ 929997 h 923925"/>
                  <a:gd name="connsiteX18" fmla="*/ 886778 w 885825"/>
                  <a:gd name="connsiteY18" fmla="*/ 486132 h 923925"/>
                  <a:gd name="connsiteX19" fmla="*/ 867728 w 885825"/>
                  <a:gd name="connsiteY19" fmla="*/ 46613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5825" h="923925">
                    <a:moveTo>
                      <a:pt x="867728" y="466130"/>
                    </a:moveTo>
                    <a:cubicBezTo>
                      <a:pt x="857250" y="466130"/>
                      <a:pt x="847725" y="474702"/>
                      <a:pt x="847725" y="486132"/>
                    </a:cubicBezTo>
                    <a:cubicBezTo>
                      <a:pt x="847725" y="709017"/>
                      <a:pt x="666750" y="890945"/>
                      <a:pt x="442913" y="890945"/>
                    </a:cubicBezTo>
                    <a:cubicBezTo>
                      <a:pt x="219075" y="890945"/>
                      <a:pt x="39053" y="709017"/>
                      <a:pt x="39053" y="486132"/>
                    </a:cubicBezTo>
                    <a:cubicBezTo>
                      <a:pt x="39053" y="272772"/>
                      <a:pt x="205740" y="97512"/>
                      <a:pt x="415290" y="83225"/>
                    </a:cubicBezTo>
                    <a:lnTo>
                      <a:pt x="397193" y="96560"/>
                    </a:lnTo>
                    <a:cubicBezTo>
                      <a:pt x="388620" y="103227"/>
                      <a:pt x="386715" y="115610"/>
                      <a:pt x="393383" y="124182"/>
                    </a:cubicBezTo>
                    <a:cubicBezTo>
                      <a:pt x="397193" y="128945"/>
                      <a:pt x="402908" y="131802"/>
                      <a:pt x="408623" y="131802"/>
                    </a:cubicBezTo>
                    <a:cubicBezTo>
                      <a:pt x="412433" y="131802"/>
                      <a:pt x="417195" y="130850"/>
                      <a:pt x="421005" y="127992"/>
                    </a:cubicBezTo>
                    <a:lnTo>
                      <a:pt x="485775" y="78462"/>
                    </a:lnTo>
                    <a:cubicBezTo>
                      <a:pt x="490538" y="74652"/>
                      <a:pt x="493395" y="68937"/>
                      <a:pt x="493395" y="62270"/>
                    </a:cubicBezTo>
                    <a:cubicBezTo>
                      <a:pt x="493395" y="55602"/>
                      <a:pt x="489585" y="49887"/>
                      <a:pt x="484823" y="47030"/>
                    </a:cubicBezTo>
                    <a:lnTo>
                      <a:pt x="420053" y="3215"/>
                    </a:lnTo>
                    <a:cubicBezTo>
                      <a:pt x="411480" y="-2500"/>
                      <a:pt x="399098" y="-595"/>
                      <a:pt x="392430" y="8930"/>
                    </a:cubicBezTo>
                    <a:cubicBezTo>
                      <a:pt x="387668" y="16550"/>
                      <a:pt x="389573" y="28932"/>
                      <a:pt x="399098" y="34647"/>
                    </a:cubicBezTo>
                    <a:lnTo>
                      <a:pt x="412433" y="43220"/>
                    </a:lnTo>
                    <a:cubicBezTo>
                      <a:pt x="181928" y="59412"/>
                      <a:pt x="0" y="251817"/>
                      <a:pt x="0" y="486132"/>
                    </a:cubicBezTo>
                    <a:cubicBezTo>
                      <a:pt x="0" y="730925"/>
                      <a:pt x="199073" y="929997"/>
                      <a:pt x="443865" y="929997"/>
                    </a:cubicBezTo>
                    <a:cubicBezTo>
                      <a:pt x="688658" y="929997"/>
                      <a:pt x="886778" y="729972"/>
                      <a:pt x="886778" y="486132"/>
                    </a:cubicBezTo>
                    <a:cubicBezTo>
                      <a:pt x="886778" y="474702"/>
                      <a:pt x="878205" y="466130"/>
                      <a:pt x="867728" y="466130"/>
                    </a:cubicBezTo>
                    <a:close/>
                  </a:path>
                </a:pathLst>
              </a:custGeom>
              <a:solidFill>
                <a:schemeClr val="accent2"/>
              </a:solidFill>
              <a:ln w="9525" cap="flat">
                <a:noFill/>
                <a:prstDash val="solid"/>
                <a:miter/>
              </a:ln>
            </p:spPr>
            <p:txBody>
              <a:bodyPr rtlCol="0" anchor="ctr"/>
              <a:lstStyle/>
              <a:p>
                <a:endParaRPr lang="en-US" dirty="0"/>
              </a:p>
            </p:txBody>
          </p:sp>
          <p:sp>
            <p:nvSpPr>
              <p:cNvPr id="1036" name="Freeform: Shape 1035">
                <a:extLst>
                  <a:ext uri="{FF2B5EF4-FFF2-40B4-BE49-F238E27FC236}">
                    <a16:creationId xmlns:a16="http://schemas.microsoft.com/office/drawing/2014/main" id="{90E58F59-8F3C-4580-9A55-2D5899BFC402}"/>
                  </a:ext>
                </a:extLst>
              </p:cNvPr>
              <p:cNvSpPr/>
              <p:nvPr/>
            </p:nvSpPr>
            <p:spPr>
              <a:xfrm>
                <a:off x="55420" y="4708017"/>
                <a:ext cx="47625" cy="47625"/>
              </a:xfrm>
              <a:custGeom>
                <a:avLst/>
                <a:gdLst>
                  <a:gd name="connsiteX0" fmla="*/ 47625 w 47625"/>
                  <a:gd name="connsiteY0" fmla="*/ 23812 h 47625"/>
                  <a:gd name="connsiteX1" fmla="*/ 23813 w 47625"/>
                  <a:gd name="connsiteY1" fmla="*/ 47625 h 47625"/>
                  <a:gd name="connsiteX2" fmla="*/ 0 w 47625"/>
                  <a:gd name="connsiteY2" fmla="*/ 23812 h 47625"/>
                  <a:gd name="connsiteX3" fmla="*/ 23813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3" y="47625"/>
                    </a:cubicBezTo>
                    <a:cubicBezTo>
                      <a:pt x="10661" y="47625"/>
                      <a:pt x="0" y="36964"/>
                      <a:pt x="0" y="23812"/>
                    </a:cubicBezTo>
                    <a:cubicBezTo>
                      <a:pt x="0" y="10661"/>
                      <a:pt x="10661" y="0"/>
                      <a:pt x="23813"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1037" name="Freeform: Shape 1036">
                <a:extLst>
                  <a:ext uri="{FF2B5EF4-FFF2-40B4-BE49-F238E27FC236}">
                    <a16:creationId xmlns:a16="http://schemas.microsoft.com/office/drawing/2014/main" id="{2F9D7AA2-910A-4C5B-AF6F-3CAECC864A8F}"/>
                  </a:ext>
                </a:extLst>
              </p:cNvPr>
              <p:cNvSpPr/>
              <p:nvPr/>
            </p:nvSpPr>
            <p:spPr>
              <a:xfrm>
                <a:off x="23987" y="4618482"/>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dirty="0"/>
              </a:p>
            </p:txBody>
          </p:sp>
          <p:sp>
            <p:nvSpPr>
              <p:cNvPr id="1038" name="Freeform: Shape 1037">
                <a:extLst>
                  <a:ext uri="{FF2B5EF4-FFF2-40B4-BE49-F238E27FC236}">
                    <a16:creationId xmlns:a16="http://schemas.microsoft.com/office/drawing/2014/main" id="{3FD968D7-E65F-4305-A016-905E3136549E}"/>
                  </a:ext>
                </a:extLst>
              </p:cNvPr>
              <p:cNvSpPr/>
              <p:nvPr/>
            </p:nvSpPr>
            <p:spPr>
              <a:xfrm>
                <a:off x="-33163" y="4535614"/>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dirty="0"/>
              </a:p>
            </p:txBody>
          </p:sp>
          <p:sp>
            <p:nvSpPr>
              <p:cNvPr id="1082" name="Freeform: Shape 1081">
                <a:extLst>
                  <a:ext uri="{FF2B5EF4-FFF2-40B4-BE49-F238E27FC236}">
                    <a16:creationId xmlns:a16="http://schemas.microsoft.com/office/drawing/2014/main" id="{0D8A9517-5004-4821-AC64-7815C1DC34D1}"/>
                  </a:ext>
                </a:extLst>
              </p:cNvPr>
              <p:cNvSpPr/>
              <p:nvPr/>
            </p:nvSpPr>
            <p:spPr>
              <a:xfrm>
                <a:off x="-112220" y="4463224"/>
                <a:ext cx="47625" cy="38100"/>
              </a:xfrm>
              <a:custGeom>
                <a:avLst/>
                <a:gdLst>
                  <a:gd name="connsiteX0" fmla="*/ 47625 w 47625"/>
                  <a:gd name="connsiteY0" fmla="*/ 23812 h 38100"/>
                  <a:gd name="connsiteX1" fmla="*/ 23812 w 47625"/>
                  <a:gd name="connsiteY1" fmla="*/ 47625 h 38100"/>
                  <a:gd name="connsiteX2" fmla="*/ 0 w 47625"/>
                  <a:gd name="connsiteY2" fmla="*/ 23812 h 38100"/>
                  <a:gd name="connsiteX3" fmla="*/ 23812 w 47625"/>
                  <a:gd name="connsiteY3" fmla="*/ 0 h 38100"/>
                  <a:gd name="connsiteX4" fmla="*/ 47625 w 47625"/>
                  <a:gd name="connsiteY4" fmla="*/ 2381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8100">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1083" name="Freeform: Shape 1082">
                <a:extLst>
                  <a:ext uri="{FF2B5EF4-FFF2-40B4-BE49-F238E27FC236}">
                    <a16:creationId xmlns:a16="http://schemas.microsoft.com/office/drawing/2014/main" id="{A382A0A2-2F99-4EC4-B392-359852AA7E4E}"/>
                  </a:ext>
                </a:extLst>
              </p:cNvPr>
              <p:cNvSpPr/>
              <p:nvPr/>
            </p:nvSpPr>
            <p:spPr>
              <a:xfrm>
                <a:off x="-207470" y="4413694"/>
                <a:ext cx="47625" cy="47625"/>
              </a:xfrm>
              <a:custGeom>
                <a:avLst/>
                <a:gdLst>
                  <a:gd name="connsiteX0" fmla="*/ 47625 w 47625"/>
                  <a:gd name="connsiteY0" fmla="*/ 23812 h 47625"/>
                  <a:gd name="connsiteX1" fmla="*/ 23812 w 47625"/>
                  <a:gd name="connsiteY1" fmla="*/ 47625 h 47625"/>
                  <a:gd name="connsiteX2" fmla="*/ 0 w 47625"/>
                  <a:gd name="connsiteY2" fmla="*/ 23812 h 47625"/>
                  <a:gd name="connsiteX3" fmla="*/ 23812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1086" name="Freeform: Shape 1085">
                <a:extLst>
                  <a:ext uri="{FF2B5EF4-FFF2-40B4-BE49-F238E27FC236}">
                    <a16:creationId xmlns:a16="http://schemas.microsoft.com/office/drawing/2014/main" id="{C94DE069-8BEC-4FB2-B5F2-AA7B0E6544B6}"/>
                  </a:ext>
                </a:extLst>
              </p:cNvPr>
              <p:cNvSpPr/>
              <p:nvPr/>
            </p:nvSpPr>
            <p:spPr>
              <a:xfrm>
                <a:off x="-285575" y="4739449"/>
                <a:ext cx="47625" cy="47625"/>
              </a:xfrm>
              <a:custGeom>
                <a:avLst/>
                <a:gdLst>
                  <a:gd name="connsiteX0" fmla="*/ 55245 w 47625"/>
                  <a:gd name="connsiteY0" fmla="*/ 27622 h 47625"/>
                  <a:gd name="connsiteX1" fmla="*/ 27622 w 47625"/>
                  <a:gd name="connsiteY1" fmla="*/ 55245 h 47625"/>
                  <a:gd name="connsiteX2" fmla="*/ 0 w 47625"/>
                  <a:gd name="connsiteY2" fmla="*/ 27622 h 47625"/>
                  <a:gd name="connsiteX3" fmla="*/ 27622 w 47625"/>
                  <a:gd name="connsiteY3" fmla="*/ 0 h 47625"/>
                  <a:gd name="connsiteX4" fmla="*/ 55245 w 47625"/>
                  <a:gd name="connsiteY4" fmla="*/ 2762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5245" y="27622"/>
                    </a:moveTo>
                    <a:cubicBezTo>
                      <a:pt x="55245" y="42878"/>
                      <a:pt x="42878" y="55245"/>
                      <a:pt x="27622" y="55245"/>
                    </a:cubicBezTo>
                    <a:cubicBezTo>
                      <a:pt x="12367" y="55245"/>
                      <a:pt x="0" y="42878"/>
                      <a:pt x="0" y="27622"/>
                    </a:cubicBezTo>
                    <a:cubicBezTo>
                      <a:pt x="0" y="12367"/>
                      <a:pt x="12367" y="0"/>
                      <a:pt x="27622" y="0"/>
                    </a:cubicBezTo>
                    <a:cubicBezTo>
                      <a:pt x="42878" y="0"/>
                      <a:pt x="55245" y="12367"/>
                      <a:pt x="55245" y="27622"/>
                    </a:cubicBezTo>
                    <a:close/>
                  </a:path>
                </a:pathLst>
              </a:custGeom>
              <a:solidFill>
                <a:schemeClr val="accent1"/>
              </a:solidFill>
              <a:ln w="9525" cap="flat">
                <a:noFill/>
                <a:prstDash val="solid"/>
                <a:miter/>
              </a:ln>
            </p:spPr>
            <p:txBody>
              <a:bodyPr rtlCol="0" anchor="ctr"/>
              <a:lstStyle/>
              <a:p>
                <a:endParaRPr lang="en-US" dirty="0"/>
              </a:p>
            </p:txBody>
          </p:sp>
          <p:sp>
            <p:nvSpPr>
              <p:cNvPr id="1092" name="Freeform: Shape 1091">
                <a:extLst>
                  <a:ext uri="{FF2B5EF4-FFF2-40B4-BE49-F238E27FC236}">
                    <a16:creationId xmlns:a16="http://schemas.microsoft.com/office/drawing/2014/main" id="{89CFB21E-2A8B-410E-A085-80086DF7A034}"/>
                  </a:ext>
                </a:extLst>
              </p:cNvPr>
              <p:cNvSpPr/>
              <p:nvPr/>
            </p:nvSpPr>
            <p:spPr>
              <a:xfrm>
                <a:off x="-616093" y="4545139"/>
                <a:ext cx="571500" cy="571500"/>
              </a:xfrm>
              <a:custGeom>
                <a:avLst/>
                <a:gdLst>
                  <a:gd name="connsiteX0" fmla="*/ 286703 w 571500"/>
                  <a:gd name="connsiteY0" fmla="*/ 0 h 571500"/>
                  <a:gd name="connsiteX1" fmla="*/ 0 w 571500"/>
                  <a:gd name="connsiteY1" fmla="*/ 286703 h 571500"/>
                  <a:gd name="connsiteX2" fmla="*/ 286703 w 571500"/>
                  <a:gd name="connsiteY2" fmla="*/ 573405 h 571500"/>
                  <a:gd name="connsiteX3" fmla="*/ 573405 w 571500"/>
                  <a:gd name="connsiteY3" fmla="*/ 286703 h 571500"/>
                  <a:gd name="connsiteX4" fmla="*/ 286703 w 571500"/>
                  <a:gd name="connsiteY4" fmla="*/ 0 h 571500"/>
                  <a:gd name="connsiteX5" fmla="*/ 144780 w 571500"/>
                  <a:gd name="connsiteY5" fmla="*/ 435292 h 571500"/>
                  <a:gd name="connsiteX6" fmla="*/ 207645 w 571500"/>
                  <a:gd name="connsiteY6" fmla="*/ 372428 h 571500"/>
                  <a:gd name="connsiteX7" fmla="*/ 144780 w 571500"/>
                  <a:gd name="connsiteY7" fmla="*/ 435292 h 571500"/>
                  <a:gd name="connsiteX8" fmla="*/ 427672 w 571500"/>
                  <a:gd name="connsiteY8" fmla="*/ 159068 h 571500"/>
                  <a:gd name="connsiteX9" fmla="*/ 320040 w 571500"/>
                  <a:gd name="connsiteY9" fmla="*/ 353378 h 571500"/>
                  <a:gd name="connsiteX10" fmla="*/ 330518 w 571500"/>
                  <a:gd name="connsiteY10" fmla="*/ 397193 h 571500"/>
                  <a:gd name="connsiteX11" fmla="*/ 307658 w 571500"/>
                  <a:gd name="connsiteY11" fmla="*/ 420053 h 571500"/>
                  <a:gd name="connsiteX12" fmla="*/ 254318 w 571500"/>
                  <a:gd name="connsiteY12" fmla="*/ 366713 h 571500"/>
                  <a:gd name="connsiteX13" fmla="*/ 242888 w 571500"/>
                  <a:gd name="connsiteY13" fmla="*/ 393383 h 571500"/>
                  <a:gd name="connsiteX14" fmla="*/ 185738 w 571500"/>
                  <a:gd name="connsiteY14" fmla="*/ 336233 h 571500"/>
                  <a:gd name="connsiteX15" fmla="*/ 212408 w 571500"/>
                  <a:gd name="connsiteY15" fmla="*/ 324803 h 571500"/>
                  <a:gd name="connsiteX16" fmla="*/ 159068 w 571500"/>
                  <a:gd name="connsiteY16" fmla="*/ 271463 h 571500"/>
                  <a:gd name="connsiteX17" fmla="*/ 181928 w 571500"/>
                  <a:gd name="connsiteY17" fmla="*/ 248602 h 571500"/>
                  <a:gd name="connsiteX18" fmla="*/ 225743 w 571500"/>
                  <a:gd name="connsiteY18" fmla="*/ 259080 h 571500"/>
                  <a:gd name="connsiteX19" fmla="*/ 421005 w 571500"/>
                  <a:gd name="connsiteY19" fmla="*/ 152400 h 571500"/>
                  <a:gd name="connsiteX20" fmla="*/ 428625 w 571500"/>
                  <a:gd name="connsiteY20" fmla="*/ 152400 h 571500"/>
                  <a:gd name="connsiteX21" fmla="*/ 427672 w 571500"/>
                  <a:gd name="connsiteY21" fmla="*/ 159068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1500" h="571500">
                    <a:moveTo>
                      <a:pt x="286703" y="0"/>
                    </a:moveTo>
                    <a:cubicBezTo>
                      <a:pt x="128588" y="0"/>
                      <a:pt x="0" y="128588"/>
                      <a:pt x="0" y="286703"/>
                    </a:cubicBezTo>
                    <a:cubicBezTo>
                      <a:pt x="0" y="444817"/>
                      <a:pt x="128588" y="573405"/>
                      <a:pt x="286703" y="573405"/>
                    </a:cubicBezTo>
                    <a:cubicBezTo>
                      <a:pt x="444818" y="573405"/>
                      <a:pt x="573405" y="445770"/>
                      <a:pt x="573405" y="286703"/>
                    </a:cubicBezTo>
                    <a:cubicBezTo>
                      <a:pt x="573405" y="128588"/>
                      <a:pt x="444818" y="0"/>
                      <a:pt x="286703" y="0"/>
                    </a:cubicBezTo>
                    <a:close/>
                    <a:moveTo>
                      <a:pt x="144780" y="435292"/>
                    </a:moveTo>
                    <a:cubicBezTo>
                      <a:pt x="144780" y="435292"/>
                      <a:pt x="168593" y="333375"/>
                      <a:pt x="207645" y="372428"/>
                    </a:cubicBezTo>
                    <a:cubicBezTo>
                      <a:pt x="246698" y="411480"/>
                      <a:pt x="144780" y="435292"/>
                      <a:pt x="144780" y="435292"/>
                    </a:cubicBezTo>
                    <a:close/>
                    <a:moveTo>
                      <a:pt x="427672" y="159068"/>
                    </a:moveTo>
                    <a:cubicBezTo>
                      <a:pt x="426720" y="272415"/>
                      <a:pt x="367665" y="327660"/>
                      <a:pt x="320040" y="353378"/>
                    </a:cubicBezTo>
                    <a:lnTo>
                      <a:pt x="330518" y="397193"/>
                    </a:lnTo>
                    <a:lnTo>
                      <a:pt x="307658" y="420053"/>
                    </a:lnTo>
                    <a:lnTo>
                      <a:pt x="254318" y="366713"/>
                    </a:lnTo>
                    <a:cubicBezTo>
                      <a:pt x="254318" y="376238"/>
                      <a:pt x="250508" y="385763"/>
                      <a:pt x="242888" y="393383"/>
                    </a:cubicBezTo>
                    <a:lnTo>
                      <a:pt x="185738" y="336233"/>
                    </a:lnTo>
                    <a:cubicBezTo>
                      <a:pt x="193358" y="328613"/>
                      <a:pt x="202883" y="324803"/>
                      <a:pt x="212408" y="324803"/>
                    </a:cubicBezTo>
                    <a:lnTo>
                      <a:pt x="159068" y="271463"/>
                    </a:lnTo>
                    <a:lnTo>
                      <a:pt x="181928" y="248602"/>
                    </a:lnTo>
                    <a:lnTo>
                      <a:pt x="225743" y="259080"/>
                    </a:lnTo>
                    <a:cubicBezTo>
                      <a:pt x="251460" y="212408"/>
                      <a:pt x="306705" y="153352"/>
                      <a:pt x="421005" y="152400"/>
                    </a:cubicBezTo>
                    <a:lnTo>
                      <a:pt x="428625" y="152400"/>
                    </a:lnTo>
                    <a:lnTo>
                      <a:pt x="427672" y="159068"/>
                    </a:lnTo>
                    <a:close/>
                  </a:path>
                </a:pathLst>
              </a:custGeom>
              <a:solidFill>
                <a:schemeClr val="accent1"/>
              </a:solidFill>
              <a:ln w="9525" cap="flat">
                <a:noFill/>
                <a:prstDash val="solid"/>
                <a:miter/>
              </a:ln>
            </p:spPr>
            <p:txBody>
              <a:bodyPr rtlCol="0" anchor="ctr"/>
              <a:lstStyle/>
              <a:p>
                <a:endParaRPr lang="en-US" dirty="0"/>
              </a:p>
            </p:txBody>
          </p:sp>
        </p:grpSp>
      </p:grpSp>
      <p:grpSp>
        <p:nvGrpSpPr>
          <p:cNvPr id="515" name="Group 514">
            <a:extLst>
              <a:ext uri="{FF2B5EF4-FFF2-40B4-BE49-F238E27FC236}">
                <a16:creationId xmlns:a16="http://schemas.microsoft.com/office/drawing/2014/main" id="{A2518373-5E36-422F-8F3A-3E0A04D2E39E}"/>
              </a:ext>
            </a:extLst>
          </p:cNvPr>
          <p:cNvGrpSpPr/>
          <p:nvPr/>
        </p:nvGrpSpPr>
        <p:grpSpPr>
          <a:xfrm>
            <a:off x="5874542" y="3403047"/>
            <a:ext cx="638521" cy="638521"/>
            <a:chOff x="4849241" y="3538714"/>
            <a:chExt cx="638521" cy="638521"/>
          </a:xfrm>
        </p:grpSpPr>
        <p:sp>
          <p:nvSpPr>
            <p:cNvPr id="516" name="Oval 515">
              <a:extLst>
                <a:ext uri="{FF2B5EF4-FFF2-40B4-BE49-F238E27FC236}">
                  <a16:creationId xmlns:a16="http://schemas.microsoft.com/office/drawing/2014/main" id="{A89C40EF-E7C7-4212-A567-12ADEA14AA42}"/>
                </a:ext>
              </a:extLst>
            </p:cNvPr>
            <p:cNvSpPr/>
            <p:nvPr/>
          </p:nvSpPr>
          <p:spPr bwMode="auto">
            <a:xfrm>
              <a:off x="4849241" y="3538714"/>
              <a:ext cx="638521" cy="638521"/>
            </a:xfrm>
            <a:prstGeom prst="ellipse">
              <a:avLst/>
            </a:prstGeom>
            <a:solidFill>
              <a:srgbClr val="FFC0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 tIns="548640" rIns="4572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900" i="1" dirty="0">
                  <a:solidFill>
                    <a:schemeClr val="tx1"/>
                  </a:solidFill>
                  <a:ea typeface="Segoe UI" pitchFamily="34" charset="0"/>
                  <a:cs typeface="Segoe UI" pitchFamily="34" charset="0"/>
                </a:rPr>
                <a:t>3</a:t>
              </a:r>
              <a:r>
                <a:rPr lang="en-US" sz="900" i="1" baseline="30000" dirty="0">
                  <a:solidFill>
                    <a:schemeClr val="tx1"/>
                  </a:solidFill>
                  <a:ea typeface="Segoe UI" pitchFamily="34" charset="0"/>
                  <a:cs typeface="Segoe UI" pitchFamily="34" charset="0"/>
                </a:rPr>
                <a:t>rd</a:t>
              </a:r>
              <a:r>
                <a:rPr lang="en-US" sz="900" i="1" dirty="0">
                  <a:solidFill>
                    <a:schemeClr val="tx1"/>
                  </a:solidFill>
                  <a:ea typeface="Segoe UI" pitchFamily="34" charset="0"/>
                  <a:cs typeface="Segoe UI" pitchFamily="34" charset="0"/>
                </a:rPr>
                <a:t> party</a:t>
              </a:r>
              <a:br>
                <a:rPr lang="en-US" sz="900" i="1" dirty="0">
                  <a:solidFill>
                    <a:schemeClr val="tx1"/>
                  </a:solidFill>
                  <a:ea typeface="Segoe UI" pitchFamily="34" charset="0"/>
                  <a:cs typeface="Segoe UI" pitchFamily="34" charset="0"/>
                </a:rPr>
              </a:br>
              <a:r>
                <a:rPr lang="en-US" sz="900" i="1" dirty="0">
                  <a:solidFill>
                    <a:schemeClr val="tx1"/>
                  </a:solidFill>
                  <a:ea typeface="Segoe UI" pitchFamily="34" charset="0"/>
                  <a:cs typeface="Segoe UI" pitchFamily="34" charset="0"/>
                </a:rPr>
                <a:t>apps</a:t>
              </a:r>
            </a:p>
          </p:txBody>
        </p:sp>
        <p:grpSp>
          <p:nvGrpSpPr>
            <p:cNvPr id="517" name="Group 516">
              <a:extLst>
                <a:ext uri="{FF2B5EF4-FFF2-40B4-BE49-F238E27FC236}">
                  <a16:creationId xmlns:a16="http://schemas.microsoft.com/office/drawing/2014/main" id="{57ACAF0F-0AE5-487B-97A3-24BFA0F9B9E1}"/>
                </a:ext>
              </a:extLst>
            </p:cNvPr>
            <p:cNvGrpSpPr/>
            <p:nvPr/>
          </p:nvGrpSpPr>
          <p:grpSpPr>
            <a:xfrm>
              <a:off x="5041272" y="3610756"/>
              <a:ext cx="254459" cy="265403"/>
              <a:chOff x="-773256" y="4348567"/>
              <a:chExt cx="885825" cy="923925"/>
            </a:xfrm>
          </p:grpSpPr>
          <p:sp>
            <p:nvSpPr>
              <p:cNvPr id="518" name="Freeform: Shape 517">
                <a:extLst>
                  <a:ext uri="{FF2B5EF4-FFF2-40B4-BE49-F238E27FC236}">
                    <a16:creationId xmlns:a16="http://schemas.microsoft.com/office/drawing/2014/main" id="{EAB8E883-CD50-4DD7-87E1-AF28E54ADAB4}"/>
                  </a:ext>
                </a:extLst>
              </p:cNvPr>
              <p:cNvSpPr/>
              <p:nvPr/>
            </p:nvSpPr>
            <p:spPr>
              <a:xfrm>
                <a:off x="-773256" y="4348567"/>
                <a:ext cx="885825" cy="923925"/>
              </a:xfrm>
              <a:custGeom>
                <a:avLst/>
                <a:gdLst>
                  <a:gd name="connsiteX0" fmla="*/ 867728 w 885825"/>
                  <a:gd name="connsiteY0" fmla="*/ 466130 h 923925"/>
                  <a:gd name="connsiteX1" fmla="*/ 847725 w 885825"/>
                  <a:gd name="connsiteY1" fmla="*/ 486132 h 923925"/>
                  <a:gd name="connsiteX2" fmla="*/ 442913 w 885825"/>
                  <a:gd name="connsiteY2" fmla="*/ 890945 h 923925"/>
                  <a:gd name="connsiteX3" fmla="*/ 39053 w 885825"/>
                  <a:gd name="connsiteY3" fmla="*/ 486132 h 923925"/>
                  <a:gd name="connsiteX4" fmla="*/ 415290 w 885825"/>
                  <a:gd name="connsiteY4" fmla="*/ 83225 h 923925"/>
                  <a:gd name="connsiteX5" fmla="*/ 397193 w 885825"/>
                  <a:gd name="connsiteY5" fmla="*/ 96560 h 923925"/>
                  <a:gd name="connsiteX6" fmla="*/ 393383 w 885825"/>
                  <a:gd name="connsiteY6" fmla="*/ 124182 h 923925"/>
                  <a:gd name="connsiteX7" fmla="*/ 408623 w 885825"/>
                  <a:gd name="connsiteY7" fmla="*/ 131802 h 923925"/>
                  <a:gd name="connsiteX8" fmla="*/ 421005 w 885825"/>
                  <a:gd name="connsiteY8" fmla="*/ 127992 h 923925"/>
                  <a:gd name="connsiteX9" fmla="*/ 485775 w 885825"/>
                  <a:gd name="connsiteY9" fmla="*/ 78462 h 923925"/>
                  <a:gd name="connsiteX10" fmla="*/ 493395 w 885825"/>
                  <a:gd name="connsiteY10" fmla="*/ 62270 h 923925"/>
                  <a:gd name="connsiteX11" fmla="*/ 484823 w 885825"/>
                  <a:gd name="connsiteY11" fmla="*/ 47030 h 923925"/>
                  <a:gd name="connsiteX12" fmla="*/ 420053 w 885825"/>
                  <a:gd name="connsiteY12" fmla="*/ 3215 h 923925"/>
                  <a:gd name="connsiteX13" fmla="*/ 392430 w 885825"/>
                  <a:gd name="connsiteY13" fmla="*/ 8930 h 923925"/>
                  <a:gd name="connsiteX14" fmla="*/ 399098 w 885825"/>
                  <a:gd name="connsiteY14" fmla="*/ 34647 h 923925"/>
                  <a:gd name="connsiteX15" fmla="*/ 412433 w 885825"/>
                  <a:gd name="connsiteY15" fmla="*/ 43220 h 923925"/>
                  <a:gd name="connsiteX16" fmla="*/ 0 w 885825"/>
                  <a:gd name="connsiteY16" fmla="*/ 486132 h 923925"/>
                  <a:gd name="connsiteX17" fmla="*/ 443865 w 885825"/>
                  <a:gd name="connsiteY17" fmla="*/ 929997 h 923925"/>
                  <a:gd name="connsiteX18" fmla="*/ 886778 w 885825"/>
                  <a:gd name="connsiteY18" fmla="*/ 486132 h 923925"/>
                  <a:gd name="connsiteX19" fmla="*/ 867728 w 885825"/>
                  <a:gd name="connsiteY19" fmla="*/ 46613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5825" h="923925">
                    <a:moveTo>
                      <a:pt x="867728" y="466130"/>
                    </a:moveTo>
                    <a:cubicBezTo>
                      <a:pt x="857250" y="466130"/>
                      <a:pt x="847725" y="474702"/>
                      <a:pt x="847725" y="486132"/>
                    </a:cubicBezTo>
                    <a:cubicBezTo>
                      <a:pt x="847725" y="709017"/>
                      <a:pt x="666750" y="890945"/>
                      <a:pt x="442913" y="890945"/>
                    </a:cubicBezTo>
                    <a:cubicBezTo>
                      <a:pt x="219075" y="890945"/>
                      <a:pt x="39053" y="709017"/>
                      <a:pt x="39053" y="486132"/>
                    </a:cubicBezTo>
                    <a:cubicBezTo>
                      <a:pt x="39053" y="272772"/>
                      <a:pt x="205740" y="97512"/>
                      <a:pt x="415290" y="83225"/>
                    </a:cubicBezTo>
                    <a:lnTo>
                      <a:pt x="397193" y="96560"/>
                    </a:lnTo>
                    <a:cubicBezTo>
                      <a:pt x="388620" y="103227"/>
                      <a:pt x="386715" y="115610"/>
                      <a:pt x="393383" y="124182"/>
                    </a:cubicBezTo>
                    <a:cubicBezTo>
                      <a:pt x="397193" y="128945"/>
                      <a:pt x="402908" y="131802"/>
                      <a:pt x="408623" y="131802"/>
                    </a:cubicBezTo>
                    <a:cubicBezTo>
                      <a:pt x="412433" y="131802"/>
                      <a:pt x="417195" y="130850"/>
                      <a:pt x="421005" y="127992"/>
                    </a:cubicBezTo>
                    <a:lnTo>
                      <a:pt x="485775" y="78462"/>
                    </a:lnTo>
                    <a:cubicBezTo>
                      <a:pt x="490538" y="74652"/>
                      <a:pt x="493395" y="68937"/>
                      <a:pt x="493395" y="62270"/>
                    </a:cubicBezTo>
                    <a:cubicBezTo>
                      <a:pt x="493395" y="55602"/>
                      <a:pt x="489585" y="49887"/>
                      <a:pt x="484823" y="47030"/>
                    </a:cubicBezTo>
                    <a:lnTo>
                      <a:pt x="420053" y="3215"/>
                    </a:lnTo>
                    <a:cubicBezTo>
                      <a:pt x="411480" y="-2500"/>
                      <a:pt x="399098" y="-595"/>
                      <a:pt x="392430" y="8930"/>
                    </a:cubicBezTo>
                    <a:cubicBezTo>
                      <a:pt x="387668" y="16550"/>
                      <a:pt x="389573" y="28932"/>
                      <a:pt x="399098" y="34647"/>
                    </a:cubicBezTo>
                    <a:lnTo>
                      <a:pt x="412433" y="43220"/>
                    </a:lnTo>
                    <a:cubicBezTo>
                      <a:pt x="181928" y="59412"/>
                      <a:pt x="0" y="251817"/>
                      <a:pt x="0" y="486132"/>
                    </a:cubicBezTo>
                    <a:cubicBezTo>
                      <a:pt x="0" y="730925"/>
                      <a:pt x="199073" y="929997"/>
                      <a:pt x="443865" y="929997"/>
                    </a:cubicBezTo>
                    <a:cubicBezTo>
                      <a:pt x="688658" y="929997"/>
                      <a:pt x="886778" y="729972"/>
                      <a:pt x="886778" y="486132"/>
                    </a:cubicBezTo>
                    <a:cubicBezTo>
                      <a:pt x="886778" y="474702"/>
                      <a:pt x="878205" y="466130"/>
                      <a:pt x="867728" y="466130"/>
                    </a:cubicBezTo>
                    <a:close/>
                  </a:path>
                </a:pathLst>
              </a:custGeom>
              <a:solidFill>
                <a:schemeClr val="accent2"/>
              </a:solidFill>
              <a:ln w="9525" cap="flat">
                <a:noFill/>
                <a:prstDash val="solid"/>
                <a:miter/>
              </a:ln>
            </p:spPr>
            <p:txBody>
              <a:bodyPr rtlCol="0" anchor="ctr"/>
              <a:lstStyle/>
              <a:p>
                <a:endParaRPr lang="en-US" dirty="0"/>
              </a:p>
            </p:txBody>
          </p:sp>
          <p:sp>
            <p:nvSpPr>
              <p:cNvPr id="519" name="Freeform: Shape 518">
                <a:extLst>
                  <a:ext uri="{FF2B5EF4-FFF2-40B4-BE49-F238E27FC236}">
                    <a16:creationId xmlns:a16="http://schemas.microsoft.com/office/drawing/2014/main" id="{536E7ACF-3DE9-4FD9-84E2-5A2684A3715A}"/>
                  </a:ext>
                </a:extLst>
              </p:cNvPr>
              <p:cNvSpPr/>
              <p:nvPr/>
            </p:nvSpPr>
            <p:spPr>
              <a:xfrm>
                <a:off x="55420" y="4708017"/>
                <a:ext cx="47625" cy="47625"/>
              </a:xfrm>
              <a:custGeom>
                <a:avLst/>
                <a:gdLst>
                  <a:gd name="connsiteX0" fmla="*/ 47625 w 47625"/>
                  <a:gd name="connsiteY0" fmla="*/ 23812 h 47625"/>
                  <a:gd name="connsiteX1" fmla="*/ 23813 w 47625"/>
                  <a:gd name="connsiteY1" fmla="*/ 47625 h 47625"/>
                  <a:gd name="connsiteX2" fmla="*/ 0 w 47625"/>
                  <a:gd name="connsiteY2" fmla="*/ 23812 h 47625"/>
                  <a:gd name="connsiteX3" fmla="*/ 23813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3" y="47625"/>
                    </a:cubicBezTo>
                    <a:cubicBezTo>
                      <a:pt x="10661" y="47625"/>
                      <a:pt x="0" y="36964"/>
                      <a:pt x="0" y="23812"/>
                    </a:cubicBezTo>
                    <a:cubicBezTo>
                      <a:pt x="0" y="10661"/>
                      <a:pt x="10661" y="0"/>
                      <a:pt x="23813"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520" name="Freeform: Shape 519">
                <a:extLst>
                  <a:ext uri="{FF2B5EF4-FFF2-40B4-BE49-F238E27FC236}">
                    <a16:creationId xmlns:a16="http://schemas.microsoft.com/office/drawing/2014/main" id="{3FDA430F-4B89-40AB-9DCD-9B03CE971E5E}"/>
                  </a:ext>
                </a:extLst>
              </p:cNvPr>
              <p:cNvSpPr/>
              <p:nvPr/>
            </p:nvSpPr>
            <p:spPr>
              <a:xfrm>
                <a:off x="23987" y="4618482"/>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dirty="0"/>
              </a:p>
            </p:txBody>
          </p:sp>
          <p:sp>
            <p:nvSpPr>
              <p:cNvPr id="521" name="Freeform: Shape 520">
                <a:extLst>
                  <a:ext uri="{FF2B5EF4-FFF2-40B4-BE49-F238E27FC236}">
                    <a16:creationId xmlns:a16="http://schemas.microsoft.com/office/drawing/2014/main" id="{C6D5F5C9-8F62-4BF2-8245-BD0E58437550}"/>
                  </a:ext>
                </a:extLst>
              </p:cNvPr>
              <p:cNvSpPr/>
              <p:nvPr/>
            </p:nvSpPr>
            <p:spPr>
              <a:xfrm>
                <a:off x="-33163" y="4535614"/>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dirty="0"/>
              </a:p>
            </p:txBody>
          </p:sp>
          <p:sp>
            <p:nvSpPr>
              <p:cNvPr id="522" name="Freeform: Shape 521">
                <a:extLst>
                  <a:ext uri="{FF2B5EF4-FFF2-40B4-BE49-F238E27FC236}">
                    <a16:creationId xmlns:a16="http://schemas.microsoft.com/office/drawing/2014/main" id="{E339CDCC-F953-47F5-A313-434744916790}"/>
                  </a:ext>
                </a:extLst>
              </p:cNvPr>
              <p:cNvSpPr/>
              <p:nvPr/>
            </p:nvSpPr>
            <p:spPr>
              <a:xfrm>
                <a:off x="-112220" y="4463224"/>
                <a:ext cx="47625" cy="38100"/>
              </a:xfrm>
              <a:custGeom>
                <a:avLst/>
                <a:gdLst>
                  <a:gd name="connsiteX0" fmla="*/ 47625 w 47625"/>
                  <a:gd name="connsiteY0" fmla="*/ 23812 h 38100"/>
                  <a:gd name="connsiteX1" fmla="*/ 23812 w 47625"/>
                  <a:gd name="connsiteY1" fmla="*/ 47625 h 38100"/>
                  <a:gd name="connsiteX2" fmla="*/ 0 w 47625"/>
                  <a:gd name="connsiteY2" fmla="*/ 23812 h 38100"/>
                  <a:gd name="connsiteX3" fmla="*/ 23812 w 47625"/>
                  <a:gd name="connsiteY3" fmla="*/ 0 h 38100"/>
                  <a:gd name="connsiteX4" fmla="*/ 47625 w 47625"/>
                  <a:gd name="connsiteY4" fmla="*/ 2381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8100">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523" name="Freeform: Shape 522">
                <a:extLst>
                  <a:ext uri="{FF2B5EF4-FFF2-40B4-BE49-F238E27FC236}">
                    <a16:creationId xmlns:a16="http://schemas.microsoft.com/office/drawing/2014/main" id="{355CBBFE-F41F-4564-83C5-DF15B9B7549C}"/>
                  </a:ext>
                </a:extLst>
              </p:cNvPr>
              <p:cNvSpPr/>
              <p:nvPr/>
            </p:nvSpPr>
            <p:spPr>
              <a:xfrm>
                <a:off x="-207470" y="4413694"/>
                <a:ext cx="47625" cy="47625"/>
              </a:xfrm>
              <a:custGeom>
                <a:avLst/>
                <a:gdLst>
                  <a:gd name="connsiteX0" fmla="*/ 47625 w 47625"/>
                  <a:gd name="connsiteY0" fmla="*/ 23812 h 47625"/>
                  <a:gd name="connsiteX1" fmla="*/ 23812 w 47625"/>
                  <a:gd name="connsiteY1" fmla="*/ 47625 h 47625"/>
                  <a:gd name="connsiteX2" fmla="*/ 0 w 47625"/>
                  <a:gd name="connsiteY2" fmla="*/ 23812 h 47625"/>
                  <a:gd name="connsiteX3" fmla="*/ 23812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524" name="Freeform: Shape 523">
                <a:extLst>
                  <a:ext uri="{FF2B5EF4-FFF2-40B4-BE49-F238E27FC236}">
                    <a16:creationId xmlns:a16="http://schemas.microsoft.com/office/drawing/2014/main" id="{8DE6AE25-1A42-4657-B443-3F2F26752423}"/>
                  </a:ext>
                </a:extLst>
              </p:cNvPr>
              <p:cNvSpPr/>
              <p:nvPr/>
            </p:nvSpPr>
            <p:spPr>
              <a:xfrm>
                <a:off x="-285575" y="4739449"/>
                <a:ext cx="47625" cy="47625"/>
              </a:xfrm>
              <a:custGeom>
                <a:avLst/>
                <a:gdLst>
                  <a:gd name="connsiteX0" fmla="*/ 55245 w 47625"/>
                  <a:gd name="connsiteY0" fmla="*/ 27622 h 47625"/>
                  <a:gd name="connsiteX1" fmla="*/ 27622 w 47625"/>
                  <a:gd name="connsiteY1" fmla="*/ 55245 h 47625"/>
                  <a:gd name="connsiteX2" fmla="*/ 0 w 47625"/>
                  <a:gd name="connsiteY2" fmla="*/ 27622 h 47625"/>
                  <a:gd name="connsiteX3" fmla="*/ 27622 w 47625"/>
                  <a:gd name="connsiteY3" fmla="*/ 0 h 47625"/>
                  <a:gd name="connsiteX4" fmla="*/ 55245 w 47625"/>
                  <a:gd name="connsiteY4" fmla="*/ 2762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5245" y="27622"/>
                    </a:moveTo>
                    <a:cubicBezTo>
                      <a:pt x="55245" y="42878"/>
                      <a:pt x="42878" y="55245"/>
                      <a:pt x="27622" y="55245"/>
                    </a:cubicBezTo>
                    <a:cubicBezTo>
                      <a:pt x="12367" y="55245"/>
                      <a:pt x="0" y="42878"/>
                      <a:pt x="0" y="27622"/>
                    </a:cubicBezTo>
                    <a:cubicBezTo>
                      <a:pt x="0" y="12367"/>
                      <a:pt x="12367" y="0"/>
                      <a:pt x="27622" y="0"/>
                    </a:cubicBezTo>
                    <a:cubicBezTo>
                      <a:pt x="42878" y="0"/>
                      <a:pt x="55245" y="12367"/>
                      <a:pt x="55245" y="27622"/>
                    </a:cubicBezTo>
                    <a:close/>
                  </a:path>
                </a:pathLst>
              </a:custGeom>
              <a:solidFill>
                <a:schemeClr val="accent1"/>
              </a:solidFill>
              <a:ln w="9525" cap="flat">
                <a:noFill/>
                <a:prstDash val="solid"/>
                <a:miter/>
              </a:ln>
            </p:spPr>
            <p:txBody>
              <a:bodyPr rtlCol="0" anchor="ctr"/>
              <a:lstStyle/>
              <a:p>
                <a:endParaRPr lang="en-US" dirty="0"/>
              </a:p>
            </p:txBody>
          </p:sp>
          <p:sp>
            <p:nvSpPr>
              <p:cNvPr id="525" name="Freeform: Shape 524">
                <a:extLst>
                  <a:ext uri="{FF2B5EF4-FFF2-40B4-BE49-F238E27FC236}">
                    <a16:creationId xmlns:a16="http://schemas.microsoft.com/office/drawing/2014/main" id="{CD6AEF9E-2A58-46EA-A636-876700840E1B}"/>
                  </a:ext>
                </a:extLst>
              </p:cNvPr>
              <p:cNvSpPr/>
              <p:nvPr/>
            </p:nvSpPr>
            <p:spPr>
              <a:xfrm>
                <a:off x="-616093" y="4545139"/>
                <a:ext cx="571500" cy="571500"/>
              </a:xfrm>
              <a:custGeom>
                <a:avLst/>
                <a:gdLst>
                  <a:gd name="connsiteX0" fmla="*/ 286703 w 571500"/>
                  <a:gd name="connsiteY0" fmla="*/ 0 h 571500"/>
                  <a:gd name="connsiteX1" fmla="*/ 0 w 571500"/>
                  <a:gd name="connsiteY1" fmla="*/ 286703 h 571500"/>
                  <a:gd name="connsiteX2" fmla="*/ 286703 w 571500"/>
                  <a:gd name="connsiteY2" fmla="*/ 573405 h 571500"/>
                  <a:gd name="connsiteX3" fmla="*/ 573405 w 571500"/>
                  <a:gd name="connsiteY3" fmla="*/ 286703 h 571500"/>
                  <a:gd name="connsiteX4" fmla="*/ 286703 w 571500"/>
                  <a:gd name="connsiteY4" fmla="*/ 0 h 571500"/>
                  <a:gd name="connsiteX5" fmla="*/ 144780 w 571500"/>
                  <a:gd name="connsiteY5" fmla="*/ 435292 h 571500"/>
                  <a:gd name="connsiteX6" fmla="*/ 207645 w 571500"/>
                  <a:gd name="connsiteY6" fmla="*/ 372428 h 571500"/>
                  <a:gd name="connsiteX7" fmla="*/ 144780 w 571500"/>
                  <a:gd name="connsiteY7" fmla="*/ 435292 h 571500"/>
                  <a:gd name="connsiteX8" fmla="*/ 427672 w 571500"/>
                  <a:gd name="connsiteY8" fmla="*/ 159068 h 571500"/>
                  <a:gd name="connsiteX9" fmla="*/ 320040 w 571500"/>
                  <a:gd name="connsiteY9" fmla="*/ 353378 h 571500"/>
                  <a:gd name="connsiteX10" fmla="*/ 330518 w 571500"/>
                  <a:gd name="connsiteY10" fmla="*/ 397193 h 571500"/>
                  <a:gd name="connsiteX11" fmla="*/ 307658 w 571500"/>
                  <a:gd name="connsiteY11" fmla="*/ 420053 h 571500"/>
                  <a:gd name="connsiteX12" fmla="*/ 254318 w 571500"/>
                  <a:gd name="connsiteY12" fmla="*/ 366713 h 571500"/>
                  <a:gd name="connsiteX13" fmla="*/ 242888 w 571500"/>
                  <a:gd name="connsiteY13" fmla="*/ 393383 h 571500"/>
                  <a:gd name="connsiteX14" fmla="*/ 185738 w 571500"/>
                  <a:gd name="connsiteY14" fmla="*/ 336233 h 571500"/>
                  <a:gd name="connsiteX15" fmla="*/ 212408 w 571500"/>
                  <a:gd name="connsiteY15" fmla="*/ 324803 h 571500"/>
                  <a:gd name="connsiteX16" fmla="*/ 159068 w 571500"/>
                  <a:gd name="connsiteY16" fmla="*/ 271463 h 571500"/>
                  <a:gd name="connsiteX17" fmla="*/ 181928 w 571500"/>
                  <a:gd name="connsiteY17" fmla="*/ 248602 h 571500"/>
                  <a:gd name="connsiteX18" fmla="*/ 225743 w 571500"/>
                  <a:gd name="connsiteY18" fmla="*/ 259080 h 571500"/>
                  <a:gd name="connsiteX19" fmla="*/ 421005 w 571500"/>
                  <a:gd name="connsiteY19" fmla="*/ 152400 h 571500"/>
                  <a:gd name="connsiteX20" fmla="*/ 428625 w 571500"/>
                  <a:gd name="connsiteY20" fmla="*/ 152400 h 571500"/>
                  <a:gd name="connsiteX21" fmla="*/ 427672 w 571500"/>
                  <a:gd name="connsiteY21" fmla="*/ 159068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1500" h="571500">
                    <a:moveTo>
                      <a:pt x="286703" y="0"/>
                    </a:moveTo>
                    <a:cubicBezTo>
                      <a:pt x="128588" y="0"/>
                      <a:pt x="0" y="128588"/>
                      <a:pt x="0" y="286703"/>
                    </a:cubicBezTo>
                    <a:cubicBezTo>
                      <a:pt x="0" y="444817"/>
                      <a:pt x="128588" y="573405"/>
                      <a:pt x="286703" y="573405"/>
                    </a:cubicBezTo>
                    <a:cubicBezTo>
                      <a:pt x="444818" y="573405"/>
                      <a:pt x="573405" y="445770"/>
                      <a:pt x="573405" y="286703"/>
                    </a:cubicBezTo>
                    <a:cubicBezTo>
                      <a:pt x="573405" y="128588"/>
                      <a:pt x="444818" y="0"/>
                      <a:pt x="286703" y="0"/>
                    </a:cubicBezTo>
                    <a:close/>
                    <a:moveTo>
                      <a:pt x="144780" y="435292"/>
                    </a:moveTo>
                    <a:cubicBezTo>
                      <a:pt x="144780" y="435292"/>
                      <a:pt x="168593" y="333375"/>
                      <a:pt x="207645" y="372428"/>
                    </a:cubicBezTo>
                    <a:cubicBezTo>
                      <a:pt x="246698" y="411480"/>
                      <a:pt x="144780" y="435292"/>
                      <a:pt x="144780" y="435292"/>
                    </a:cubicBezTo>
                    <a:close/>
                    <a:moveTo>
                      <a:pt x="427672" y="159068"/>
                    </a:moveTo>
                    <a:cubicBezTo>
                      <a:pt x="426720" y="272415"/>
                      <a:pt x="367665" y="327660"/>
                      <a:pt x="320040" y="353378"/>
                    </a:cubicBezTo>
                    <a:lnTo>
                      <a:pt x="330518" y="397193"/>
                    </a:lnTo>
                    <a:lnTo>
                      <a:pt x="307658" y="420053"/>
                    </a:lnTo>
                    <a:lnTo>
                      <a:pt x="254318" y="366713"/>
                    </a:lnTo>
                    <a:cubicBezTo>
                      <a:pt x="254318" y="376238"/>
                      <a:pt x="250508" y="385763"/>
                      <a:pt x="242888" y="393383"/>
                    </a:cubicBezTo>
                    <a:lnTo>
                      <a:pt x="185738" y="336233"/>
                    </a:lnTo>
                    <a:cubicBezTo>
                      <a:pt x="193358" y="328613"/>
                      <a:pt x="202883" y="324803"/>
                      <a:pt x="212408" y="324803"/>
                    </a:cubicBezTo>
                    <a:lnTo>
                      <a:pt x="159068" y="271463"/>
                    </a:lnTo>
                    <a:lnTo>
                      <a:pt x="181928" y="248602"/>
                    </a:lnTo>
                    <a:lnTo>
                      <a:pt x="225743" y="259080"/>
                    </a:lnTo>
                    <a:cubicBezTo>
                      <a:pt x="251460" y="212408"/>
                      <a:pt x="306705" y="153352"/>
                      <a:pt x="421005" y="152400"/>
                    </a:cubicBezTo>
                    <a:lnTo>
                      <a:pt x="428625" y="152400"/>
                    </a:lnTo>
                    <a:lnTo>
                      <a:pt x="427672" y="159068"/>
                    </a:lnTo>
                    <a:close/>
                  </a:path>
                </a:pathLst>
              </a:custGeom>
              <a:solidFill>
                <a:schemeClr val="accent1"/>
              </a:solidFill>
              <a:ln w="9525" cap="flat">
                <a:noFill/>
                <a:prstDash val="solid"/>
                <a:miter/>
              </a:ln>
            </p:spPr>
            <p:txBody>
              <a:bodyPr rtlCol="0" anchor="ctr"/>
              <a:lstStyle/>
              <a:p>
                <a:endParaRPr lang="en-US" dirty="0"/>
              </a:p>
            </p:txBody>
          </p:sp>
        </p:grpSp>
      </p:grpSp>
      <p:grpSp>
        <p:nvGrpSpPr>
          <p:cNvPr id="526" name="Group 525">
            <a:extLst>
              <a:ext uri="{FF2B5EF4-FFF2-40B4-BE49-F238E27FC236}">
                <a16:creationId xmlns:a16="http://schemas.microsoft.com/office/drawing/2014/main" id="{8C72B2A3-F5F3-4A38-81CC-F06420461976}"/>
              </a:ext>
            </a:extLst>
          </p:cNvPr>
          <p:cNvGrpSpPr/>
          <p:nvPr/>
        </p:nvGrpSpPr>
        <p:grpSpPr>
          <a:xfrm>
            <a:off x="6857921" y="3789764"/>
            <a:ext cx="638521" cy="638521"/>
            <a:chOff x="4849241" y="3538714"/>
            <a:chExt cx="638521" cy="638521"/>
          </a:xfrm>
        </p:grpSpPr>
        <p:sp>
          <p:nvSpPr>
            <p:cNvPr id="527" name="Oval 526">
              <a:extLst>
                <a:ext uri="{FF2B5EF4-FFF2-40B4-BE49-F238E27FC236}">
                  <a16:creationId xmlns:a16="http://schemas.microsoft.com/office/drawing/2014/main" id="{CADD50A1-3D45-4AB8-9D85-36F72520B4DE}"/>
                </a:ext>
              </a:extLst>
            </p:cNvPr>
            <p:cNvSpPr/>
            <p:nvPr/>
          </p:nvSpPr>
          <p:spPr bwMode="auto">
            <a:xfrm>
              <a:off x="4849241" y="3538714"/>
              <a:ext cx="638521" cy="638521"/>
            </a:xfrm>
            <a:prstGeom prst="ellipse">
              <a:avLst/>
            </a:prstGeom>
            <a:solidFill>
              <a:srgbClr val="FFC0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 tIns="548640" rIns="4572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900" i="1" dirty="0">
                  <a:solidFill>
                    <a:schemeClr val="tx1"/>
                  </a:solidFill>
                  <a:ea typeface="Segoe UI" pitchFamily="34" charset="0"/>
                  <a:cs typeface="Segoe UI" pitchFamily="34" charset="0"/>
                </a:rPr>
                <a:t>3</a:t>
              </a:r>
              <a:r>
                <a:rPr lang="en-US" sz="900" i="1" baseline="30000" dirty="0">
                  <a:solidFill>
                    <a:schemeClr val="tx1"/>
                  </a:solidFill>
                  <a:ea typeface="Segoe UI" pitchFamily="34" charset="0"/>
                  <a:cs typeface="Segoe UI" pitchFamily="34" charset="0"/>
                </a:rPr>
                <a:t>rd</a:t>
              </a:r>
              <a:r>
                <a:rPr lang="en-US" sz="900" i="1" dirty="0">
                  <a:solidFill>
                    <a:schemeClr val="tx1"/>
                  </a:solidFill>
                  <a:ea typeface="Segoe UI" pitchFamily="34" charset="0"/>
                  <a:cs typeface="Segoe UI" pitchFamily="34" charset="0"/>
                </a:rPr>
                <a:t> party</a:t>
              </a:r>
              <a:br>
                <a:rPr lang="en-US" sz="900" i="1" dirty="0">
                  <a:solidFill>
                    <a:schemeClr val="tx1"/>
                  </a:solidFill>
                  <a:ea typeface="Segoe UI" pitchFamily="34" charset="0"/>
                  <a:cs typeface="Segoe UI" pitchFamily="34" charset="0"/>
                </a:rPr>
              </a:br>
              <a:r>
                <a:rPr lang="en-US" sz="900" i="1" dirty="0">
                  <a:solidFill>
                    <a:schemeClr val="tx1"/>
                  </a:solidFill>
                  <a:ea typeface="Segoe UI" pitchFamily="34" charset="0"/>
                  <a:cs typeface="Segoe UI" pitchFamily="34" charset="0"/>
                </a:rPr>
                <a:t>apps</a:t>
              </a:r>
            </a:p>
          </p:txBody>
        </p:sp>
        <p:grpSp>
          <p:nvGrpSpPr>
            <p:cNvPr id="528" name="Group 527">
              <a:extLst>
                <a:ext uri="{FF2B5EF4-FFF2-40B4-BE49-F238E27FC236}">
                  <a16:creationId xmlns:a16="http://schemas.microsoft.com/office/drawing/2014/main" id="{0A3DBCA2-EADC-4E06-AC43-C1DF7AFE7B46}"/>
                </a:ext>
              </a:extLst>
            </p:cNvPr>
            <p:cNvGrpSpPr/>
            <p:nvPr/>
          </p:nvGrpSpPr>
          <p:grpSpPr>
            <a:xfrm>
              <a:off x="5041272" y="3610756"/>
              <a:ext cx="254459" cy="265403"/>
              <a:chOff x="-773256" y="4348567"/>
              <a:chExt cx="885825" cy="923925"/>
            </a:xfrm>
          </p:grpSpPr>
          <p:sp>
            <p:nvSpPr>
              <p:cNvPr id="529" name="Freeform: Shape 528">
                <a:extLst>
                  <a:ext uri="{FF2B5EF4-FFF2-40B4-BE49-F238E27FC236}">
                    <a16:creationId xmlns:a16="http://schemas.microsoft.com/office/drawing/2014/main" id="{80D8118F-C2B6-4CC1-9745-3799DFBDA40D}"/>
                  </a:ext>
                </a:extLst>
              </p:cNvPr>
              <p:cNvSpPr/>
              <p:nvPr/>
            </p:nvSpPr>
            <p:spPr>
              <a:xfrm>
                <a:off x="-773256" y="4348567"/>
                <a:ext cx="885825" cy="923925"/>
              </a:xfrm>
              <a:custGeom>
                <a:avLst/>
                <a:gdLst>
                  <a:gd name="connsiteX0" fmla="*/ 867728 w 885825"/>
                  <a:gd name="connsiteY0" fmla="*/ 466130 h 923925"/>
                  <a:gd name="connsiteX1" fmla="*/ 847725 w 885825"/>
                  <a:gd name="connsiteY1" fmla="*/ 486132 h 923925"/>
                  <a:gd name="connsiteX2" fmla="*/ 442913 w 885825"/>
                  <a:gd name="connsiteY2" fmla="*/ 890945 h 923925"/>
                  <a:gd name="connsiteX3" fmla="*/ 39053 w 885825"/>
                  <a:gd name="connsiteY3" fmla="*/ 486132 h 923925"/>
                  <a:gd name="connsiteX4" fmla="*/ 415290 w 885825"/>
                  <a:gd name="connsiteY4" fmla="*/ 83225 h 923925"/>
                  <a:gd name="connsiteX5" fmla="*/ 397193 w 885825"/>
                  <a:gd name="connsiteY5" fmla="*/ 96560 h 923925"/>
                  <a:gd name="connsiteX6" fmla="*/ 393383 w 885825"/>
                  <a:gd name="connsiteY6" fmla="*/ 124182 h 923925"/>
                  <a:gd name="connsiteX7" fmla="*/ 408623 w 885825"/>
                  <a:gd name="connsiteY7" fmla="*/ 131802 h 923925"/>
                  <a:gd name="connsiteX8" fmla="*/ 421005 w 885825"/>
                  <a:gd name="connsiteY8" fmla="*/ 127992 h 923925"/>
                  <a:gd name="connsiteX9" fmla="*/ 485775 w 885825"/>
                  <a:gd name="connsiteY9" fmla="*/ 78462 h 923925"/>
                  <a:gd name="connsiteX10" fmla="*/ 493395 w 885825"/>
                  <a:gd name="connsiteY10" fmla="*/ 62270 h 923925"/>
                  <a:gd name="connsiteX11" fmla="*/ 484823 w 885825"/>
                  <a:gd name="connsiteY11" fmla="*/ 47030 h 923925"/>
                  <a:gd name="connsiteX12" fmla="*/ 420053 w 885825"/>
                  <a:gd name="connsiteY12" fmla="*/ 3215 h 923925"/>
                  <a:gd name="connsiteX13" fmla="*/ 392430 w 885825"/>
                  <a:gd name="connsiteY13" fmla="*/ 8930 h 923925"/>
                  <a:gd name="connsiteX14" fmla="*/ 399098 w 885825"/>
                  <a:gd name="connsiteY14" fmla="*/ 34647 h 923925"/>
                  <a:gd name="connsiteX15" fmla="*/ 412433 w 885825"/>
                  <a:gd name="connsiteY15" fmla="*/ 43220 h 923925"/>
                  <a:gd name="connsiteX16" fmla="*/ 0 w 885825"/>
                  <a:gd name="connsiteY16" fmla="*/ 486132 h 923925"/>
                  <a:gd name="connsiteX17" fmla="*/ 443865 w 885825"/>
                  <a:gd name="connsiteY17" fmla="*/ 929997 h 923925"/>
                  <a:gd name="connsiteX18" fmla="*/ 886778 w 885825"/>
                  <a:gd name="connsiteY18" fmla="*/ 486132 h 923925"/>
                  <a:gd name="connsiteX19" fmla="*/ 867728 w 885825"/>
                  <a:gd name="connsiteY19" fmla="*/ 46613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5825" h="923925">
                    <a:moveTo>
                      <a:pt x="867728" y="466130"/>
                    </a:moveTo>
                    <a:cubicBezTo>
                      <a:pt x="857250" y="466130"/>
                      <a:pt x="847725" y="474702"/>
                      <a:pt x="847725" y="486132"/>
                    </a:cubicBezTo>
                    <a:cubicBezTo>
                      <a:pt x="847725" y="709017"/>
                      <a:pt x="666750" y="890945"/>
                      <a:pt x="442913" y="890945"/>
                    </a:cubicBezTo>
                    <a:cubicBezTo>
                      <a:pt x="219075" y="890945"/>
                      <a:pt x="39053" y="709017"/>
                      <a:pt x="39053" y="486132"/>
                    </a:cubicBezTo>
                    <a:cubicBezTo>
                      <a:pt x="39053" y="272772"/>
                      <a:pt x="205740" y="97512"/>
                      <a:pt x="415290" y="83225"/>
                    </a:cubicBezTo>
                    <a:lnTo>
                      <a:pt x="397193" y="96560"/>
                    </a:lnTo>
                    <a:cubicBezTo>
                      <a:pt x="388620" y="103227"/>
                      <a:pt x="386715" y="115610"/>
                      <a:pt x="393383" y="124182"/>
                    </a:cubicBezTo>
                    <a:cubicBezTo>
                      <a:pt x="397193" y="128945"/>
                      <a:pt x="402908" y="131802"/>
                      <a:pt x="408623" y="131802"/>
                    </a:cubicBezTo>
                    <a:cubicBezTo>
                      <a:pt x="412433" y="131802"/>
                      <a:pt x="417195" y="130850"/>
                      <a:pt x="421005" y="127992"/>
                    </a:cubicBezTo>
                    <a:lnTo>
                      <a:pt x="485775" y="78462"/>
                    </a:lnTo>
                    <a:cubicBezTo>
                      <a:pt x="490538" y="74652"/>
                      <a:pt x="493395" y="68937"/>
                      <a:pt x="493395" y="62270"/>
                    </a:cubicBezTo>
                    <a:cubicBezTo>
                      <a:pt x="493395" y="55602"/>
                      <a:pt x="489585" y="49887"/>
                      <a:pt x="484823" y="47030"/>
                    </a:cubicBezTo>
                    <a:lnTo>
                      <a:pt x="420053" y="3215"/>
                    </a:lnTo>
                    <a:cubicBezTo>
                      <a:pt x="411480" y="-2500"/>
                      <a:pt x="399098" y="-595"/>
                      <a:pt x="392430" y="8930"/>
                    </a:cubicBezTo>
                    <a:cubicBezTo>
                      <a:pt x="387668" y="16550"/>
                      <a:pt x="389573" y="28932"/>
                      <a:pt x="399098" y="34647"/>
                    </a:cubicBezTo>
                    <a:lnTo>
                      <a:pt x="412433" y="43220"/>
                    </a:lnTo>
                    <a:cubicBezTo>
                      <a:pt x="181928" y="59412"/>
                      <a:pt x="0" y="251817"/>
                      <a:pt x="0" y="486132"/>
                    </a:cubicBezTo>
                    <a:cubicBezTo>
                      <a:pt x="0" y="730925"/>
                      <a:pt x="199073" y="929997"/>
                      <a:pt x="443865" y="929997"/>
                    </a:cubicBezTo>
                    <a:cubicBezTo>
                      <a:pt x="688658" y="929997"/>
                      <a:pt x="886778" y="729972"/>
                      <a:pt x="886778" y="486132"/>
                    </a:cubicBezTo>
                    <a:cubicBezTo>
                      <a:pt x="886778" y="474702"/>
                      <a:pt x="878205" y="466130"/>
                      <a:pt x="867728" y="466130"/>
                    </a:cubicBezTo>
                    <a:close/>
                  </a:path>
                </a:pathLst>
              </a:custGeom>
              <a:solidFill>
                <a:schemeClr val="accent2"/>
              </a:solidFill>
              <a:ln w="9525" cap="flat">
                <a:noFill/>
                <a:prstDash val="solid"/>
                <a:miter/>
              </a:ln>
            </p:spPr>
            <p:txBody>
              <a:bodyPr rtlCol="0" anchor="ctr"/>
              <a:lstStyle/>
              <a:p>
                <a:endParaRPr lang="en-US" dirty="0"/>
              </a:p>
            </p:txBody>
          </p:sp>
          <p:sp>
            <p:nvSpPr>
              <p:cNvPr id="530" name="Freeform: Shape 529">
                <a:extLst>
                  <a:ext uri="{FF2B5EF4-FFF2-40B4-BE49-F238E27FC236}">
                    <a16:creationId xmlns:a16="http://schemas.microsoft.com/office/drawing/2014/main" id="{5419D75C-5C2B-47FC-B808-F6E430DDEA6F}"/>
                  </a:ext>
                </a:extLst>
              </p:cNvPr>
              <p:cNvSpPr/>
              <p:nvPr/>
            </p:nvSpPr>
            <p:spPr>
              <a:xfrm>
                <a:off x="55420" y="4708017"/>
                <a:ext cx="47625" cy="47625"/>
              </a:xfrm>
              <a:custGeom>
                <a:avLst/>
                <a:gdLst>
                  <a:gd name="connsiteX0" fmla="*/ 47625 w 47625"/>
                  <a:gd name="connsiteY0" fmla="*/ 23812 h 47625"/>
                  <a:gd name="connsiteX1" fmla="*/ 23813 w 47625"/>
                  <a:gd name="connsiteY1" fmla="*/ 47625 h 47625"/>
                  <a:gd name="connsiteX2" fmla="*/ 0 w 47625"/>
                  <a:gd name="connsiteY2" fmla="*/ 23812 h 47625"/>
                  <a:gd name="connsiteX3" fmla="*/ 23813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3" y="47625"/>
                    </a:cubicBezTo>
                    <a:cubicBezTo>
                      <a:pt x="10661" y="47625"/>
                      <a:pt x="0" y="36964"/>
                      <a:pt x="0" y="23812"/>
                    </a:cubicBezTo>
                    <a:cubicBezTo>
                      <a:pt x="0" y="10661"/>
                      <a:pt x="10661" y="0"/>
                      <a:pt x="23813"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531" name="Freeform: Shape 530">
                <a:extLst>
                  <a:ext uri="{FF2B5EF4-FFF2-40B4-BE49-F238E27FC236}">
                    <a16:creationId xmlns:a16="http://schemas.microsoft.com/office/drawing/2014/main" id="{2FE08440-728E-41CC-9353-1BE17B4812EA}"/>
                  </a:ext>
                </a:extLst>
              </p:cNvPr>
              <p:cNvSpPr/>
              <p:nvPr/>
            </p:nvSpPr>
            <p:spPr>
              <a:xfrm>
                <a:off x="23987" y="4618482"/>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dirty="0"/>
              </a:p>
            </p:txBody>
          </p:sp>
          <p:sp>
            <p:nvSpPr>
              <p:cNvPr id="532" name="Freeform: Shape 531">
                <a:extLst>
                  <a:ext uri="{FF2B5EF4-FFF2-40B4-BE49-F238E27FC236}">
                    <a16:creationId xmlns:a16="http://schemas.microsoft.com/office/drawing/2014/main" id="{E2BC1154-3C75-4032-B7D8-EB5A4A5047D7}"/>
                  </a:ext>
                </a:extLst>
              </p:cNvPr>
              <p:cNvSpPr/>
              <p:nvPr/>
            </p:nvSpPr>
            <p:spPr>
              <a:xfrm>
                <a:off x="-33163" y="4535614"/>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dirty="0"/>
              </a:p>
            </p:txBody>
          </p:sp>
          <p:sp>
            <p:nvSpPr>
              <p:cNvPr id="533" name="Freeform: Shape 532">
                <a:extLst>
                  <a:ext uri="{FF2B5EF4-FFF2-40B4-BE49-F238E27FC236}">
                    <a16:creationId xmlns:a16="http://schemas.microsoft.com/office/drawing/2014/main" id="{B6B910BD-934F-4D58-8763-86323DCEA747}"/>
                  </a:ext>
                </a:extLst>
              </p:cNvPr>
              <p:cNvSpPr/>
              <p:nvPr/>
            </p:nvSpPr>
            <p:spPr>
              <a:xfrm>
                <a:off x="-112220" y="4463224"/>
                <a:ext cx="47625" cy="38100"/>
              </a:xfrm>
              <a:custGeom>
                <a:avLst/>
                <a:gdLst>
                  <a:gd name="connsiteX0" fmla="*/ 47625 w 47625"/>
                  <a:gd name="connsiteY0" fmla="*/ 23812 h 38100"/>
                  <a:gd name="connsiteX1" fmla="*/ 23812 w 47625"/>
                  <a:gd name="connsiteY1" fmla="*/ 47625 h 38100"/>
                  <a:gd name="connsiteX2" fmla="*/ 0 w 47625"/>
                  <a:gd name="connsiteY2" fmla="*/ 23812 h 38100"/>
                  <a:gd name="connsiteX3" fmla="*/ 23812 w 47625"/>
                  <a:gd name="connsiteY3" fmla="*/ 0 h 38100"/>
                  <a:gd name="connsiteX4" fmla="*/ 47625 w 47625"/>
                  <a:gd name="connsiteY4" fmla="*/ 2381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8100">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534" name="Freeform: Shape 533">
                <a:extLst>
                  <a:ext uri="{FF2B5EF4-FFF2-40B4-BE49-F238E27FC236}">
                    <a16:creationId xmlns:a16="http://schemas.microsoft.com/office/drawing/2014/main" id="{A1402735-07CF-4EBF-84C2-9DD08FC3452B}"/>
                  </a:ext>
                </a:extLst>
              </p:cNvPr>
              <p:cNvSpPr/>
              <p:nvPr/>
            </p:nvSpPr>
            <p:spPr>
              <a:xfrm>
                <a:off x="-207470" y="4413694"/>
                <a:ext cx="47625" cy="47625"/>
              </a:xfrm>
              <a:custGeom>
                <a:avLst/>
                <a:gdLst>
                  <a:gd name="connsiteX0" fmla="*/ 47625 w 47625"/>
                  <a:gd name="connsiteY0" fmla="*/ 23812 h 47625"/>
                  <a:gd name="connsiteX1" fmla="*/ 23812 w 47625"/>
                  <a:gd name="connsiteY1" fmla="*/ 47625 h 47625"/>
                  <a:gd name="connsiteX2" fmla="*/ 0 w 47625"/>
                  <a:gd name="connsiteY2" fmla="*/ 23812 h 47625"/>
                  <a:gd name="connsiteX3" fmla="*/ 23812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535" name="Freeform: Shape 534">
                <a:extLst>
                  <a:ext uri="{FF2B5EF4-FFF2-40B4-BE49-F238E27FC236}">
                    <a16:creationId xmlns:a16="http://schemas.microsoft.com/office/drawing/2014/main" id="{98844CEA-B4D1-47FB-9135-C64686ACDE98}"/>
                  </a:ext>
                </a:extLst>
              </p:cNvPr>
              <p:cNvSpPr/>
              <p:nvPr/>
            </p:nvSpPr>
            <p:spPr>
              <a:xfrm>
                <a:off x="-285575" y="4739449"/>
                <a:ext cx="47625" cy="47625"/>
              </a:xfrm>
              <a:custGeom>
                <a:avLst/>
                <a:gdLst>
                  <a:gd name="connsiteX0" fmla="*/ 55245 w 47625"/>
                  <a:gd name="connsiteY0" fmla="*/ 27622 h 47625"/>
                  <a:gd name="connsiteX1" fmla="*/ 27622 w 47625"/>
                  <a:gd name="connsiteY1" fmla="*/ 55245 h 47625"/>
                  <a:gd name="connsiteX2" fmla="*/ 0 w 47625"/>
                  <a:gd name="connsiteY2" fmla="*/ 27622 h 47625"/>
                  <a:gd name="connsiteX3" fmla="*/ 27622 w 47625"/>
                  <a:gd name="connsiteY3" fmla="*/ 0 h 47625"/>
                  <a:gd name="connsiteX4" fmla="*/ 55245 w 47625"/>
                  <a:gd name="connsiteY4" fmla="*/ 2762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5245" y="27622"/>
                    </a:moveTo>
                    <a:cubicBezTo>
                      <a:pt x="55245" y="42878"/>
                      <a:pt x="42878" y="55245"/>
                      <a:pt x="27622" y="55245"/>
                    </a:cubicBezTo>
                    <a:cubicBezTo>
                      <a:pt x="12367" y="55245"/>
                      <a:pt x="0" y="42878"/>
                      <a:pt x="0" y="27622"/>
                    </a:cubicBezTo>
                    <a:cubicBezTo>
                      <a:pt x="0" y="12367"/>
                      <a:pt x="12367" y="0"/>
                      <a:pt x="27622" y="0"/>
                    </a:cubicBezTo>
                    <a:cubicBezTo>
                      <a:pt x="42878" y="0"/>
                      <a:pt x="55245" y="12367"/>
                      <a:pt x="55245" y="27622"/>
                    </a:cubicBezTo>
                    <a:close/>
                  </a:path>
                </a:pathLst>
              </a:custGeom>
              <a:solidFill>
                <a:schemeClr val="accent1"/>
              </a:solidFill>
              <a:ln w="9525" cap="flat">
                <a:noFill/>
                <a:prstDash val="solid"/>
                <a:miter/>
              </a:ln>
            </p:spPr>
            <p:txBody>
              <a:bodyPr rtlCol="0" anchor="ctr"/>
              <a:lstStyle/>
              <a:p>
                <a:endParaRPr lang="en-US" dirty="0"/>
              </a:p>
            </p:txBody>
          </p:sp>
          <p:sp>
            <p:nvSpPr>
              <p:cNvPr id="536" name="Freeform: Shape 535">
                <a:extLst>
                  <a:ext uri="{FF2B5EF4-FFF2-40B4-BE49-F238E27FC236}">
                    <a16:creationId xmlns:a16="http://schemas.microsoft.com/office/drawing/2014/main" id="{954D1EBD-F690-47FA-8CCC-FB7F88980115}"/>
                  </a:ext>
                </a:extLst>
              </p:cNvPr>
              <p:cNvSpPr/>
              <p:nvPr/>
            </p:nvSpPr>
            <p:spPr>
              <a:xfrm>
                <a:off x="-616093" y="4545139"/>
                <a:ext cx="571500" cy="571500"/>
              </a:xfrm>
              <a:custGeom>
                <a:avLst/>
                <a:gdLst>
                  <a:gd name="connsiteX0" fmla="*/ 286703 w 571500"/>
                  <a:gd name="connsiteY0" fmla="*/ 0 h 571500"/>
                  <a:gd name="connsiteX1" fmla="*/ 0 w 571500"/>
                  <a:gd name="connsiteY1" fmla="*/ 286703 h 571500"/>
                  <a:gd name="connsiteX2" fmla="*/ 286703 w 571500"/>
                  <a:gd name="connsiteY2" fmla="*/ 573405 h 571500"/>
                  <a:gd name="connsiteX3" fmla="*/ 573405 w 571500"/>
                  <a:gd name="connsiteY3" fmla="*/ 286703 h 571500"/>
                  <a:gd name="connsiteX4" fmla="*/ 286703 w 571500"/>
                  <a:gd name="connsiteY4" fmla="*/ 0 h 571500"/>
                  <a:gd name="connsiteX5" fmla="*/ 144780 w 571500"/>
                  <a:gd name="connsiteY5" fmla="*/ 435292 h 571500"/>
                  <a:gd name="connsiteX6" fmla="*/ 207645 w 571500"/>
                  <a:gd name="connsiteY6" fmla="*/ 372428 h 571500"/>
                  <a:gd name="connsiteX7" fmla="*/ 144780 w 571500"/>
                  <a:gd name="connsiteY7" fmla="*/ 435292 h 571500"/>
                  <a:gd name="connsiteX8" fmla="*/ 427672 w 571500"/>
                  <a:gd name="connsiteY8" fmla="*/ 159068 h 571500"/>
                  <a:gd name="connsiteX9" fmla="*/ 320040 w 571500"/>
                  <a:gd name="connsiteY9" fmla="*/ 353378 h 571500"/>
                  <a:gd name="connsiteX10" fmla="*/ 330518 w 571500"/>
                  <a:gd name="connsiteY10" fmla="*/ 397193 h 571500"/>
                  <a:gd name="connsiteX11" fmla="*/ 307658 w 571500"/>
                  <a:gd name="connsiteY11" fmla="*/ 420053 h 571500"/>
                  <a:gd name="connsiteX12" fmla="*/ 254318 w 571500"/>
                  <a:gd name="connsiteY12" fmla="*/ 366713 h 571500"/>
                  <a:gd name="connsiteX13" fmla="*/ 242888 w 571500"/>
                  <a:gd name="connsiteY13" fmla="*/ 393383 h 571500"/>
                  <a:gd name="connsiteX14" fmla="*/ 185738 w 571500"/>
                  <a:gd name="connsiteY14" fmla="*/ 336233 h 571500"/>
                  <a:gd name="connsiteX15" fmla="*/ 212408 w 571500"/>
                  <a:gd name="connsiteY15" fmla="*/ 324803 h 571500"/>
                  <a:gd name="connsiteX16" fmla="*/ 159068 w 571500"/>
                  <a:gd name="connsiteY16" fmla="*/ 271463 h 571500"/>
                  <a:gd name="connsiteX17" fmla="*/ 181928 w 571500"/>
                  <a:gd name="connsiteY17" fmla="*/ 248602 h 571500"/>
                  <a:gd name="connsiteX18" fmla="*/ 225743 w 571500"/>
                  <a:gd name="connsiteY18" fmla="*/ 259080 h 571500"/>
                  <a:gd name="connsiteX19" fmla="*/ 421005 w 571500"/>
                  <a:gd name="connsiteY19" fmla="*/ 152400 h 571500"/>
                  <a:gd name="connsiteX20" fmla="*/ 428625 w 571500"/>
                  <a:gd name="connsiteY20" fmla="*/ 152400 h 571500"/>
                  <a:gd name="connsiteX21" fmla="*/ 427672 w 571500"/>
                  <a:gd name="connsiteY21" fmla="*/ 159068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1500" h="571500">
                    <a:moveTo>
                      <a:pt x="286703" y="0"/>
                    </a:moveTo>
                    <a:cubicBezTo>
                      <a:pt x="128588" y="0"/>
                      <a:pt x="0" y="128588"/>
                      <a:pt x="0" y="286703"/>
                    </a:cubicBezTo>
                    <a:cubicBezTo>
                      <a:pt x="0" y="444817"/>
                      <a:pt x="128588" y="573405"/>
                      <a:pt x="286703" y="573405"/>
                    </a:cubicBezTo>
                    <a:cubicBezTo>
                      <a:pt x="444818" y="573405"/>
                      <a:pt x="573405" y="445770"/>
                      <a:pt x="573405" y="286703"/>
                    </a:cubicBezTo>
                    <a:cubicBezTo>
                      <a:pt x="573405" y="128588"/>
                      <a:pt x="444818" y="0"/>
                      <a:pt x="286703" y="0"/>
                    </a:cubicBezTo>
                    <a:close/>
                    <a:moveTo>
                      <a:pt x="144780" y="435292"/>
                    </a:moveTo>
                    <a:cubicBezTo>
                      <a:pt x="144780" y="435292"/>
                      <a:pt x="168593" y="333375"/>
                      <a:pt x="207645" y="372428"/>
                    </a:cubicBezTo>
                    <a:cubicBezTo>
                      <a:pt x="246698" y="411480"/>
                      <a:pt x="144780" y="435292"/>
                      <a:pt x="144780" y="435292"/>
                    </a:cubicBezTo>
                    <a:close/>
                    <a:moveTo>
                      <a:pt x="427672" y="159068"/>
                    </a:moveTo>
                    <a:cubicBezTo>
                      <a:pt x="426720" y="272415"/>
                      <a:pt x="367665" y="327660"/>
                      <a:pt x="320040" y="353378"/>
                    </a:cubicBezTo>
                    <a:lnTo>
                      <a:pt x="330518" y="397193"/>
                    </a:lnTo>
                    <a:lnTo>
                      <a:pt x="307658" y="420053"/>
                    </a:lnTo>
                    <a:lnTo>
                      <a:pt x="254318" y="366713"/>
                    </a:lnTo>
                    <a:cubicBezTo>
                      <a:pt x="254318" y="376238"/>
                      <a:pt x="250508" y="385763"/>
                      <a:pt x="242888" y="393383"/>
                    </a:cubicBezTo>
                    <a:lnTo>
                      <a:pt x="185738" y="336233"/>
                    </a:lnTo>
                    <a:cubicBezTo>
                      <a:pt x="193358" y="328613"/>
                      <a:pt x="202883" y="324803"/>
                      <a:pt x="212408" y="324803"/>
                    </a:cubicBezTo>
                    <a:lnTo>
                      <a:pt x="159068" y="271463"/>
                    </a:lnTo>
                    <a:lnTo>
                      <a:pt x="181928" y="248602"/>
                    </a:lnTo>
                    <a:lnTo>
                      <a:pt x="225743" y="259080"/>
                    </a:lnTo>
                    <a:cubicBezTo>
                      <a:pt x="251460" y="212408"/>
                      <a:pt x="306705" y="153352"/>
                      <a:pt x="421005" y="152400"/>
                    </a:cubicBezTo>
                    <a:lnTo>
                      <a:pt x="428625" y="152400"/>
                    </a:lnTo>
                    <a:lnTo>
                      <a:pt x="427672" y="159068"/>
                    </a:lnTo>
                    <a:close/>
                  </a:path>
                </a:pathLst>
              </a:custGeom>
              <a:solidFill>
                <a:schemeClr val="accent1"/>
              </a:solidFill>
              <a:ln w="9525" cap="flat">
                <a:noFill/>
                <a:prstDash val="solid"/>
                <a:miter/>
              </a:ln>
            </p:spPr>
            <p:txBody>
              <a:bodyPr rtlCol="0" anchor="ctr"/>
              <a:lstStyle/>
              <a:p>
                <a:endParaRPr lang="en-US" dirty="0"/>
              </a:p>
            </p:txBody>
          </p:sp>
        </p:grpSp>
      </p:grpSp>
      <p:sp>
        <p:nvSpPr>
          <p:cNvPr id="5" name="Rectangle 4">
            <a:extLst>
              <a:ext uri="{FF2B5EF4-FFF2-40B4-BE49-F238E27FC236}">
                <a16:creationId xmlns:a16="http://schemas.microsoft.com/office/drawing/2014/main" id="{17AE55E1-428D-4678-9D4A-E888CBD1EBC2}"/>
              </a:ext>
            </a:extLst>
          </p:cNvPr>
          <p:cNvSpPr/>
          <p:nvPr/>
        </p:nvSpPr>
        <p:spPr bwMode="auto">
          <a:xfrm>
            <a:off x="5156179" y="4501444"/>
            <a:ext cx="2033863" cy="274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504" name="Group 20503">
            <a:extLst>
              <a:ext uri="{FF2B5EF4-FFF2-40B4-BE49-F238E27FC236}">
                <a16:creationId xmlns:a16="http://schemas.microsoft.com/office/drawing/2014/main" id="{082D9ABA-FB72-48CB-90D6-83731A328D6D}"/>
              </a:ext>
            </a:extLst>
          </p:cNvPr>
          <p:cNvGrpSpPr/>
          <p:nvPr/>
        </p:nvGrpSpPr>
        <p:grpSpPr>
          <a:xfrm>
            <a:off x="5951898" y="4282449"/>
            <a:ext cx="483808" cy="483808"/>
            <a:chOff x="5949377" y="4282449"/>
            <a:chExt cx="483808" cy="483808"/>
          </a:xfrm>
        </p:grpSpPr>
        <p:sp>
          <p:nvSpPr>
            <p:cNvPr id="20503" name="Oval 20502">
              <a:extLst>
                <a:ext uri="{FF2B5EF4-FFF2-40B4-BE49-F238E27FC236}">
                  <a16:creationId xmlns:a16="http://schemas.microsoft.com/office/drawing/2014/main" id="{1009486C-237E-4DC6-8C29-CECA0BDCBD72}"/>
                </a:ext>
              </a:extLst>
            </p:cNvPr>
            <p:cNvSpPr/>
            <p:nvPr/>
          </p:nvSpPr>
          <p:spPr bwMode="auto">
            <a:xfrm>
              <a:off x="5949377" y="4282449"/>
              <a:ext cx="483808" cy="483808"/>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502" name="Group 20501">
              <a:extLst>
                <a:ext uri="{FF2B5EF4-FFF2-40B4-BE49-F238E27FC236}">
                  <a16:creationId xmlns:a16="http://schemas.microsoft.com/office/drawing/2014/main" id="{DB316BEA-29D9-4DC7-84E7-104CDFB7D238}"/>
                </a:ext>
              </a:extLst>
            </p:cNvPr>
            <p:cNvGrpSpPr/>
            <p:nvPr/>
          </p:nvGrpSpPr>
          <p:grpSpPr>
            <a:xfrm>
              <a:off x="5999400" y="4330065"/>
              <a:ext cx="383762" cy="388578"/>
              <a:chOff x="8109175" y="4981811"/>
              <a:chExt cx="1615916" cy="1636205"/>
            </a:xfrm>
          </p:grpSpPr>
          <p:sp>
            <p:nvSpPr>
              <p:cNvPr id="486" name="Freeform: Shape 485">
                <a:extLst>
                  <a:ext uri="{FF2B5EF4-FFF2-40B4-BE49-F238E27FC236}">
                    <a16:creationId xmlns:a16="http://schemas.microsoft.com/office/drawing/2014/main" id="{B56DF583-E901-4F3A-8D84-8D8E0F32E08D}"/>
                  </a:ext>
                </a:extLst>
              </p:cNvPr>
              <p:cNvSpPr/>
              <p:nvPr/>
            </p:nvSpPr>
            <p:spPr>
              <a:xfrm>
                <a:off x="8109175" y="4981811"/>
                <a:ext cx="1615916" cy="1636205"/>
              </a:xfrm>
              <a:custGeom>
                <a:avLst/>
                <a:gdLst>
                  <a:gd name="connsiteX0" fmla="*/ 807911 w 1615916"/>
                  <a:gd name="connsiteY0" fmla="*/ 379000 h 1636205"/>
                  <a:gd name="connsiteX1" fmla="*/ 374428 w 1615916"/>
                  <a:gd name="connsiteY1" fmla="*/ 818007 h 1636205"/>
                  <a:gd name="connsiteX2" fmla="*/ 807911 w 1615916"/>
                  <a:gd name="connsiteY2" fmla="*/ 1257015 h 1636205"/>
                  <a:gd name="connsiteX3" fmla="*/ 1241394 w 1615916"/>
                  <a:gd name="connsiteY3" fmla="*/ 818007 h 1636205"/>
                  <a:gd name="connsiteX4" fmla="*/ 807911 w 1615916"/>
                  <a:gd name="connsiteY4" fmla="*/ 379000 h 1636205"/>
                  <a:gd name="connsiteX5" fmla="*/ 743712 w 1615916"/>
                  <a:gd name="connsiteY5" fmla="*/ 0 h 1636205"/>
                  <a:gd name="connsiteX6" fmla="*/ 871919 w 1615916"/>
                  <a:gd name="connsiteY6" fmla="*/ 0 h 1636205"/>
                  <a:gd name="connsiteX7" fmla="*/ 925925 w 1615916"/>
                  <a:gd name="connsiteY7" fmla="*/ 54007 h 1636205"/>
                  <a:gd name="connsiteX8" fmla="*/ 925925 w 1615916"/>
                  <a:gd name="connsiteY8" fmla="*/ 98393 h 1636205"/>
                  <a:gd name="connsiteX9" fmla="*/ 1034701 w 1615916"/>
                  <a:gd name="connsiteY9" fmla="*/ 263176 h 1636205"/>
                  <a:gd name="connsiteX10" fmla="*/ 1226630 w 1615916"/>
                  <a:gd name="connsiteY10" fmla="*/ 224504 h 1636205"/>
                  <a:gd name="connsiteX11" fmla="*/ 1256919 w 1615916"/>
                  <a:gd name="connsiteY11" fmla="*/ 193929 h 1636205"/>
                  <a:gd name="connsiteX12" fmla="*/ 1333786 w 1615916"/>
                  <a:gd name="connsiteY12" fmla="*/ 194024 h 1636205"/>
                  <a:gd name="connsiteX13" fmla="*/ 1425035 w 1615916"/>
                  <a:gd name="connsiteY13" fmla="*/ 286417 h 1636205"/>
                  <a:gd name="connsiteX14" fmla="*/ 1425131 w 1615916"/>
                  <a:gd name="connsiteY14" fmla="*/ 362331 h 1636205"/>
                  <a:gd name="connsiteX15" fmla="*/ 1393984 w 1615916"/>
                  <a:gd name="connsiteY15" fmla="*/ 393954 h 1636205"/>
                  <a:gd name="connsiteX16" fmla="*/ 1355789 w 1615916"/>
                  <a:gd name="connsiteY16" fmla="*/ 588264 h 1636205"/>
                  <a:gd name="connsiteX17" fmla="*/ 1518571 w 1615916"/>
                  <a:gd name="connsiteY17" fmla="*/ 698373 h 1636205"/>
                  <a:gd name="connsiteX18" fmla="*/ 1561910 w 1615916"/>
                  <a:gd name="connsiteY18" fmla="*/ 698373 h 1636205"/>
                  <a:gd name="connsiteX19" fmla="*/ 1615916 w 1615916"/>
                  <a:gd name="connsiteY19" fmla="*/ 752380 h 1636205"/>
                  <a:gd name="connsiteX20" fmla="*/ 1615916 w 1615916"/>
                  <a:gd name="connsiteY20" fmla="*/ 883920 h 1636205"/>
                  <a:gd name="connsiteX21" fmla="*/ 1561910 w 1615916"/>
                  <a:gd name="connsiteY21" fmla="*/ 937927 h 1636205"/>
                  <a:gd name="connsiteX22" fmla="*/ 1518761 w 1615916"/>
                  <a:gd name="connsiteY22" fmla="*/ 937927 h 1636205"/>
                  <a:gd name="connsiteX23" fmla="*/ 1355979 w 1615916"/>
                  <a:gd name="connsiteY23" fmla="*/ 1048036 h 1636205"/>
                  <a:gd name="connsiteX24" fmla="*/ 1394174 w 1615916"/>
                  <a:gd name="connsiteY24" fmla="*/ 1242346 h 1636205"/>
                  <a:gd name="connsiteX25" fmla="*/ 1425321 w 1615916"/>
                  <a:gd name="connsiteY25" fmla="*/ 1273969 h 1636205"/>
                  <a:gd name="connsiteX26" fmla="*/ 1425226 w 1615916"/>
                  <a:gd name="connsiteY26" fmla="*/ 1349883 h 1636205"/>
                  <a:gd name="connsiteX27" fmla="*/ 1333976 w 1615916"/>
                  <a:gd name="connsiteY27" fmla="*/ 1442276 h 1636205"/>
                  <a:gd name="connsiteX28" fmla="*/ 1257110 w 1615916"/>
                  <a:gd name="connsiteY28" fmla="*/ 1442371 h 1636205"/>
                  <a:gd name="connsiteX29" fmla="*/ 1226820 w 1615916"/>
                  <a:gd name="connsiteY29" fmla="*/ 1411796 h 1636205"/>
                  <a:gd name="connsiteX30" fmla="*/ 1034891 w 1615916"/>
                  <a:gd name="connsiteY30" fmla="*/ 1373124 h 1636205"/>
                  <a:gd name="connsiteX31" fmla="*/ 926116 w 1615916"/>
                  <a:gd name="connsiteY31" fmla="*/ 1537907 h 1636205"/>
                  <a:gd name="connsiteX32" fmla="*/ 926116 w 1615916"/>
                  <a:gd name="connsiteY32" fmla="*/ 1582198 h 1636205"/>
                  <a:gd name="connsiteX33" fmla="*/ 872109 w 1615916"/>
                  <a:gd name="connsiteY33" fmla="*/ 1636205 h 1636205"/>
                  <a:gd name="connsiteX34" fmla="*/ 743712 w 1615916"/>
                  <a:gd name="connsiteY34" fmla="*/ 1636205 h 1636205"/>
                  <a:gd name="connsiteX35" fmla="*/ 689705 w 1615916"/>
                  <a:gd name="connsiteY35" fmla="*/ 1582198 h 1636205"/>
                  <a:gd name="connsiteX36" fmla="*/ 689705 w 1615916"/>
                  <a:gd name="connsiteY36" fmla="*/ 1537907 h 1636205"/>
                  <a:gd name="connsiteX37" fmla="*/ 580930 w 1615916"/>
                  <a:gd name="connsiteY37" fmla="*/ 1373124 h 1636205"/>
                  <a:gd name="connsiteX38" fmla="*/ 389001 w 1615916"/>
                  <a:gd name="connsiteY38" fmla="*/ 1411796 h 1636205"/>
                  <a:gd name="connsiteX39" fmla="*/ 358712 w 1615916"/>
                  <a:gd name="connsiteY39" fmla="*/ 1442371 h 1636205"/>
                  <a:gd name="connsiteX40" fmla="*/ 281845 w 1615916"/>
                  <a:gd name="connsiteY40" fmla="*/ 1442276 h 1636205"/>
                  <a:gd name="connsiteX41" fmla="*/ 190595 w 1615916"/>
                  <a:gd name="connsiteY41" fmla="*/ 1349883 h 1636205"/>
                  <a:gd name="connsiteX42" fmla="*/ 190500 w 1615916"/>
                  <a:gd name="connsiteY42" fmla="*/ 1273969 h 1636205"/>
                  <a:gd name="connsiteX43" fmla="*/ 221742 w 1615916"/>
                  <a:gd name="connsiteY43" fmla="*/ 1242155 h 1636205"/>
                  <a:gd name="connsiteX44" fmla="*/ 259937 w 1615916"/>
                  <a:gd name="connsiteY44" fmla="*/ 1047845 h 1636205"/>
                  <a:gd name="connsiteX45" fmla="*/ 97155 w 1615916"/>
                  <a:gd name="connsiteY45" fmla="*/ 937736 h 1636205"/>
                  <a:gd name="connsiteX46" fmla="*/ 54007 w 1615916"/>
                  <a:gd name="connsiteY46" fmla="*/ 937736 h 1636205"/>
                  <a:gd name="connsiteX47" fmla="*/ 0 w 1615916"/>
                  <a:gd name="connsiteY47" fmla="*/ 883730 h 1636205"/>
                  <a:gd name="connsiteX48" fmla="*/ 0 w 1615916"/>
                  <a:gd name="connsiteY48" fmla="*/ 752380 h 1636205"/>
                  <a:gd name="connsiteX49" fmla="*/ 54007 w 1615916"/>
                  <a:gd name="connsiteY49" fmla="*/ 698278 h 1636205"/>
                  <a:gd name="connsiteX50" fmla="*/ 96965 w 1615916"/>
                  <a:gd name="connsiteY50" fmla="*/ 698278 h 1636205"/>
                  <a:gd name="connsiteX51" fmla="*/ 259747 w 1615916"/>
                  <a:gd name="connsiteY51" fmla="*/ 588169 h 1636205"/>
                  <a:gd name="connsiteX52" fmla="*/ 221552 w 1615916"/>
                  <a:gd name="connsiteY52" fmla="*/ 393859 h 1636205"/>
                  <a:gd name="connsiteX53" fmla="*/ 190405 w 1615916"/>
                  <a:gd name="connsiteY53" fmla="*/ 362236 h 1636205"/>
                  <a:gd name="connsiteX54" fmla="*/ 190500 w 1615916"/>
                  <a:gd name="connsiteY54" fmla="*/ 286322 h 1636205"/>
                  <a:gd name="connsiteX55" fmla="*/ 281845 w 1615916"/>
                  <a:gd name="connsiteY55" fmla="*/ 193929 h 1636205"/>
                  <a:gd name="connsiteX56" fmla="*/ 358712 w 1615916"/>
                  <a:gd name="connsiteY56" fmla="*/ 193834 h 1636205"/>
                  <a:gd name="connsiteX57" fmla="*/ 389001 w 1615916"/>
                  <a:gd name="connsiteY57" fmla="*/ 224409 h 1636205"/>
                  <a:gd name="connsiteX58" fmla="*/ 580930 w 1615916"/>
                  <a:gd name="connsiteY58" fmla="*/ 263081 h 1636205"/>
                  <a:gd name="connsiteX59" fmla="*/ 689705 w 1615916"/>
                  <a:gd name="connsiteY59" fmla="*/ 98298 h 1636205"/>
                  <a:gd name="connsiteX60" fmla="*/ 689705 w 1615916"/>
                  <a:gd name="connsiteY60" fmla="*/ 54007 h 1636205"/>
                  <a:gd name="connsiteX61" fmla="*/ 743712 w 1615916"/>
                  <a:gd name="connsiteY61" fmla="*/ 0 h 1636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615916" h="1636205">
                    <a:moveTo>
                      <a:pt x="807911" y="379000"/>
                    </a:moveTo>
                    <a:cubicBezTo>
                      <a:pt x="568928" y="379000"/>
                      <a:pt x="374428" y="575977"/>
                      <a:pt x="374428" y="818007"/>
                    </a:cubicBezTo>
                    <a:cubicBezTo>
                      <a:pt x="374428" y="1060038"/>
                      <a:pt x="568928" y="1257015"/>
                      <a:pt x="807911" y="1257015"/>
                    </a:cubicBezTo>
                    <a:cubicBezTo>
                      <a:pt x="1046893" y="1257015"/>
                      <a:pt x="1241394" y="1060133"/>
                      <a:pt x="1241394" y="818007"/>
                    </a:cubicBezTo>
                    <a:cubicBezTo>
                      <a:pt x="1241394" y="575977"/>
                      <a:pt x="1046893" y="379000"/>
                      <a:pt x="807911" y="379000"/>
                    </a:cubicBezTo>
                    <a:close/>
                    <a:moveTo>
                      <a:pt x="743712" y="0"/>
                    </a:moveTo>
                    <a:lnTo>
                      <a:pt x="871919" y="0"/>
                    </a:lnTo>
                    <a:cubicBezTo>
                      <a:pt x="901732" y="0"/>
                      <a:pt x="925925" y="24194"/>
                      <a:pt x="925925" y="54007"/>
                    </a:cubicBezTo>
                    <a:lnTo>
                      <a:pt x="925925" y="98393"/>
                    </a:lnTo>
                    <a:cubicBezTo>
                      <a:pt x="925925" y="172022"/>
                      <a:pt x="967550" y="235077"/>
                      <a:pt x="1034701" y="263176"/>
                    </a:cubicBezTo>
                    <a:cubicBezTo>
                      <a:pt x="1101662" y="291370"/>
                      <a:pt x="1175385" y="276606"/>
                      <a:pt x="1226630" y="224504"/>
                    </a:cubicBezTo>
                    <a:lnTo>
                      <a:pt x="1256919" y="193929"/>
                    </a:lnTo>
                    <a:cubicBezTo>
                      <a:pt x="1278160" y="172593"/>
                      <a:pt x="1312640" y="172593"/>
                      <a:pt x="1333786" y="194024"/>
                    </a:cubicBezTo>
                    <a:lnTo>
                      <a:pt x="1425035" y="286417"/>
                    </a:lnTo>
                    <a:cubicBezTo>
                      <a:pt x="1445800" y="307467"/>
                      <a:pt x="1445895" y="341281"/>
                      <a:pt x="1425131" y="362331"/>
                    </a:cubicBezTo>
                    <a:lnTo>
                      <a:pt x="1393984" y="393954"/>
                    </a:lnTo>
                    <a:cubicBezTo>
                      <a:pt x="1342549" y="445770"/>
                      <a:pt x="1327976" y="520446"/>
                      <a:pt x="1355789" y="588264"/>
                    </a:cubicBezTo>
                    <a:cubicBezTo>
                      <a:pt x="1383602" y="656273"/>
                      <a:pt x="1445895" y="698373"/>
                      <a:pt x="1518571" y="698373"/>
                    </a:cubicBezTo>
                    <a:lnTo>
                      <a:pt x="1561910" y="698373"/>
                    </a:lnTo>
                    <a:cubicBezTo>
                      <a:pt x="1591723" y="698373"/>
                      <a:pt x="1615916" y="722567"/>
                      <a:pt x="1615916" y="752380"/>
                    </a:cubicBezTo>
                    <a:lnTo>
                      <a:pt x="1615916" y="883920"/>
                    </a:lnTo>
                    <a:cubicBezTo>
                      <a:pt x="1615916" y="913733"/>
                      <a:pt x="1591723" y="937927"/>
                      <a:pt x="1561910" y="937927"/>
                    </a:cubicBezTo>
                    <a:lnTo>
                      <a:pt x="1518761" y="937927"/>
                    </a:lnTo>
                    <a:cubicBezTo>
                      <a:pt x="1445990" y="937927"/>
                      <a:pt x="1383792" y="980027"/>
                      <a:pt x="1355979" y="1048036"/>
                    </a:cubicBezTo>
                    <a:cubicBezTo>
                      <a:pt x="1328166" y="1115854"/>
                      <a:pt x="1342739" y="1190435"/>
                      <a:pt x="1394174" y="1242346"/>
                    </a:cubicBezTo>
                    <a:lnTo>
                      <a:pt x="1425321" y="1273969"/>
                    </a:lnTo>
                    <a:cubicBezTo>
                      <a:pt x="1445990" y="1295019"/>
                      <a:pt x="1445990" y="1328833"/>
                      <a:pt x="1425226" y="1349883"/>
                    </a:cubicBezTo>
                    <a:lnTo>
                      <a:pt x="1333976" y="1442276"/>
                    </a:lnTo>
                    <a:cubicBezTo>
                      <a:pt x="1312831" y="1463707"/>
                      <a:pt x="1278255" y="1463707"/>
                      <a:pt x="1257110" y="1442371"/>
                    </a:cubicBezTo>
                    <a:lnTo>
                      <a:pt x="1226820" y="1411796"/>
                    </a:lnTo>
                    <a:cubicBezTo>
                      <a:pt x="1175576" y="1359789"/>
                      <a:pt x="1101852" y="1345025"/>
                      <a:pt x="1034891" y="1373124"/>
                    </a:cubicBezTo>
                    <a:cubicBezTo>
                      <a:pt x="967645" y="1401223"/>
                      <a:pt x="926116" y="1464278"/>
                      <a:pt x="926116" y="1537907"/>
                    </a:cubicBezTo>
                    <a:lnTo>
                      <a:pt x="926116" y="1582198"/>
                    </a:lnTo>
                    <a:cubicBezTo>
                      <a:pt x="926116" y="1612011"/>
                      <a:pt x="901922" y="1636205"/>
                      <a:pt x="872109" y="1636205"/>
                    </a:cubicBezTo>
                    <a:lnTo>
                      <a:pt x="743712" y="1636205"/>
                    </a:lnTo>
                    <a:cubicBezTo>
                      <a:pt x="713899" y="1636205"/>
                      <a:pt x="689705" y="1612011"/>
                      <a:pt x="689705" y="1582198"/>
                    </a:cubicBezTo>
                    <a:lnTo>
                      <a:pt x="689705" y="1537907"/>
                    </a:lnTo>
                    <a:cubicBezTo>
                      <a:pt x="689705" y="1464278"/>
                      <a:pt x="648081" y="1401223"/>
                      <a:pt x="580930" y="1373124"/>
                    </a:cubicBezTo>
                    <a:cubicBezTo>
                      <a:pt x="513969" y="1344930"/>
                      <a:pt x="440246" y="1359694"/>
                      <a:pt x="389001" y="1411796"/>
                    </a:cubicBezTo>
                    <a:lnTo>
                      <a:pt x="358712" y="1442371"/>
                    </a:lnTo>
                    <a:cubicBezTo>
                      <a:pt x="337471" y="1463707"/>
                      <a:pt x="302990" y="1463707"/>
                      <a:pt x="281845" y="1442276"/>
                    </a:cubicBezTo>
                    <a:lnTo>
                      <a:pt x="190595" y="1349883"/>
                    </a:lnTo>
                    <a:cubicBezTo>
                      <a:pt x="169831" y="1328833"/>
                      <a:pt x="169736" y="1295019"/>
                      <a:pt x="190500" y="1273969"/>
                    </a:cubicBezTo>
                    <a:lnTo>
                      <a:pt x="221742" y="1242155"/>
                    </a:lnTo>
                    <a:cubicBezTo>
                      <a:pt x="273177" y="1190339"/>
                      <a:pt x="287750" y="1115663"/>
                      <a:pt x="259937" y="1047845"/>
                    </a:cubicBezTo>
                    <a:cubicBezTo>
                      <a:pt x="232124" y="979837"/>
                      <a:pt x="169831" y="937736"/>
                      <a:pt x="97155" y="937736"/>
                    </a:cubicBezTo>
                    <a:lnTo>
                      <a:pt x="54007" y="937736"/>
                    </a:lnTo>
                    <a:cubicBezTo>
                      <a:pt x="24194" y="937736"/>
                      <a:pt x="0" y="913543"/>
                      <a:pt x="0" y="883730"/>
                    </a:cubicBezTo>
                    <a:lnTo>
                      <a:pt x="0" y="752380"/>
                    </a:lnTo>
                    <a:cubicBezTo>
                      <a:pt x="0" y="722567"/>
                      <a:pt x="24194" y="698373"/>
                      <a:pt x="54007" y="698278"/>
                    </a:cubicBezTo>
                    <a:lnTo>
                      <a:pt x="96965" y="698278"/>
                    </a:lnTo>
                    <a:cubicBezTo>
                      <a:pt x="169736" y="698278"/>
                      <a:pt x="231934" y="656177"/>
                      <a:pt x="259747" y="588169"/>
                    </a:cubicBezTo>
                    <a:cubicBezTo>
                      <a:pt x="287560" y="520351"/>
                      <a:pt x="272987" y="445770"/>
                      <a:pt x="221552" y="393859"/>
                    </a:cubicBezTo>
                    <a:lnTo>
                      <a:pt x="190405" y="362236"/>
                    </a:lnTo>
                    <a:cubicBezTo>
                      <a:pt x="169736" y="341186"/>
                      <a:pt x="169736" y="307372"/>
                      <a:pt x="190500" y="286322"/>
                    </a:cubicBezTo>
                    <a:lnTo>
                      <a:pt x="281845" y="193929"/>
                    </a:lnTo>
                    <a:cubicBezTo>
                      <a:pt x="302990" y="172498"/>
                      <a:pt x="337566" y="172498"/>
                      <a:pt x="358712" y="193834"/>
                    </a:cubicBezTo>
                    <a:lnTo>
                      <a:pt x="389001" y="224409"/>
                    </a:lnTo>
                    <a:cubicBezTo>
                      <a:pt x="440246" y="276416"/>
                      <a:pt x="513969" y="291179"/>
                      <a:pt x="580930" y="263081"/>
                    </a:cubicBezTo>
                    <a:cubicBezTo>
                      <a:pt x="648176" y="234982"/>
                      <a:pt x="689705" y="171926"/>
                      <a:pt x="689705" y="98298"/>
                    </a:cubicBezTo>
                    <a:lnTo>
                      <a:pt x="689705" y="54007"/>
                    </a:lnTo>
                    <a:cubicBezTo>
                      <a:pt x="689705" y="24194"/>
                      <a:pt x="713899" y="0"/>
                      <a:pt x="743712" y="0"/>
                    </a:cubicBezTo>
                    <a:close/>
                  </a:path>
                </a:pathLst>
              </a:custGeom>
              <a:solidFill>
                <a:schemeClr val="accent1"/>
              </a:solidFill>
              <a:ln w="9525" cap="flat">
                <a:noFill/>
                <a:prstDash val="solid"/>
                <a:miter/>
              </a:ln>
            </p:spPr>
            <p:txBody>
              <a:bodyPr rtlCol="0" anchor="ctr"/>
              <a:lstStyle/>
              <a:p>
                <a:endParaRPr lang="en-US" dirty="0"/>
              </a:p>
            </p:txBody>
          </p:sp>
          <p:sp>
            <p:nvSpPr>
              <p:cNvPr id="487" name="Freeform: Shape 486">
                <a:extLst>
                  <a:ext uri="{FF2B5EF4-FFF2-40B4-BE49-F238E27FC236}">
                    <a16:creationId xmlns:a16="http://schemas.microsoft.com/office/drawing/2014/main" id="{7FF011D3-9B4E-406F-8BA2-E1646F06D407}"/>
                  </a:ext>
                </a:extLst>
              </p:cNvPr>
              <p:cNvSpPr/>
              <p:nvPr/>
            </p:nvSpPr>
            <p:spPr>
              <a:xfrm>
                <a:off x="8562376" y="5440725"/>
                <a:ext cx="709422" cy="718376"/>
              </a:xfrm>
              <a:custGeom>
                <a:avLst/>
                <a:gdLst>
                  <a:gd name="connsiteX0" fmla="*/ 512563 w 709422"/>
                  <a:gd name="connsiteY0" fmla="*/ 216098 h 718376"/>
                  <a:gd name="connsiteX1" fmla="*/ 484631 w 709422"/>
                  <a:gd name="connsiteY1" fmla="*/ 227456 h 718376"/>
                  <a:gd name="connsiteX2" fmla="*/ 349757 w 709422"/>
                  <a:gd name="connsiteY2" fmla="*/ 361759 h 718376"/>
                  <a:gd name="connsiteX3" fmla="*/ 273557 w 709422"/>
                  <a:gd name="connsiteY3" fmla="*/ 361759 h 718376"/>
                  <a:gd name="connsiteX4" fmla="*/ 224599 w 709422"/>
                  <a:gd name="connsiteY4" fmla="*/ 313086 h 718376"/>
                  <a:gd name="connsiteX5" fmla="*/ 168877 w 709422"/>
                  <a:gd name="connsiteY5" fmla="*/ 313467 h 718376"/>
                  <a:gd name="connsiteX6" fmla="*/ 169449 w 709422"/>
                  <a:gd name="connsiteY6" fmla="*/ 369950 h 718376"/>
                  <a:gd name="connsiteX7" fmla="*/ 283844 w 709422"/>
                  <a:gd name="connsiteY7" fmla="*/ 483869 h 718376"/>
                  <a:gd name="connsiteX8" fmla="*/ 287178 w 709422"/>
                  <a:gd name="connsiteY8" fmla="*/ 486632 h 718376"/>
                  <a:gd name="connsiteX9" fmla="*/ 289750 w 709422"/>
                  <a:gd name="connsiteY9" fmla="*/ 488822 h 718376"/>
                  <a:gd name="connsiteX10" fmla="*/ 294131 w 709422"/>
                  <a:gd name="connsiteY10" fmla="*/ 491204 h 718376"/>
                  <a:gd name="connsiteX11" fmla="*/ 296703 w 709422"/>
                  <a:gd name="connsiteY11" fmla="*/ 492442 h 718376"/>
                  <a:gd name="connsiteX12" fmla="*/ 301846 w 709422"/>
                  <a:gd name="connsiteY12" fmla="*/ 494061 h 718376"/>
                  <a:gd name="connsiteX13" fmla="*/ 304037 w 709422"/>
                  <a:gd name="connsiteY13" fmla="*/ 494633 h 718376"/>
                  <a:gd name="connsiteX14" fmla="*/ 311562 w 709422"/>
                  <a:gd name="connsiteY14" fmla="*/ 495395 h 718376"/>
                  <a:gd name="connsiteX15" fmla="*/ 319087 w 709422"/>
                  <a:gd name="connsiteY15" fmla="*/ 494633 h 718376"/>
                  <a:gd name="connsiteX16" fmla="*/ 321277 w 709422"/>
                  <a:gd name="connsiteY16" fmla="*/ 494061 h 718376"/>
                  <a:gd name="connsiteX17" fmla="*/ 326421 w 709422"/>
                  <a:gd name="connsiteY17" fmla="*/ 492442 h 718376"/>
                  <a:gd name="connsiteX18" fmla="*/ 328993 w 709422"/>
                  <a:gd name="connsiteY18" fmla="*/ 491204 h 718376"/>
                  <a:gd name="connsiteX19" fmla="*/ 333374 w 709422"/>
                  <a:gd name="connsiteY19" fmla="*/ 488822 h 718376"/>
                  <a:gd name="connsiteX20" fmla="*/ 335946 w 709422"/>
                  <a:gd name="connsiteY20" fmla="*/ 486632 h 718376"/>
                  <a:gd name="connsiteX21" fmla="*/ 339280 w 709422"/>
                  <a:gd name="connsiteY21" fmla="*/ 483869 h 718376"/>
                  <a:gd name="connsiteX22" fmla="*/ 539876 w 709422"/>
                  <a:gd name="connsiteY22" fmla="*/ 284511 h 718376"/>
                  <a:gd name="connsiteX23" fmla="*/ 540352 w 709422"/>
                  <a:gd name="connsiteY23" fmla="*/ 228028 h 718376"/>
                  <a:gd name="connsiteX24" fmla="*/ 512563 w 709422"/>
                  <a:gd name="connsiteY24" fmla="*/ 216098 h 718376"/>
                  <a:gd name="connsiteX25" fmla="*/ 354711 w 709422"/>
                  <a:gd name="connsiteY25" fmla="*/ 0 h 718376"/>
                  <a:gd name="connsiteX26" fmla="*/ 709422 w 709422"/>
                  <a:gd name="connsiteY26" fmla="*/ 359188 h 718376"/>
                  <a:gd name="connsiteX27" fmla="*/ 354711 w 709422"/>
                  <a:gd name="connsiteY27" fmla="*/ 718376 h 718376"/>
                  <a:gd name="connsiteX28" fmla="*/ 0 w 709422"/>
                  <a:gd name="connsiteY28" fmla="*/ 359188 h 718376"/>
                  <a:gd name="connsiteX29" fmla="*/ 354711 w 709422"/>
                  <a:gd name="connsiteY29" fmla="*/ 0 h 718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09422" h="718376">
                    <a:moveTo>
                      <a:pt x="512563" y="216098"/>
                    </a:moveTo>
                    <a:cubicBezTo>
                      <a:pt x="502490" y="216003"/>
                      <a:pt x="492394" y="219789"/>
                      <a:pt x="484631" y="227456"/>
                    </a:cubicBezTo>
                    <a:lnTo>
                      <a:pt x="349757" y="361759"/>
                    </a:lnTo>
                    <a:cubicBezTo>
                      <a:pt x="328707" y="382714"/>
                      <a:pt x="294607" y="382714"/>
                      <a:pt x="273557" y="361759"/>
                    </a:cubicBezTo>
                    <a:lnTo>
                      <a:pt x="224599" y="313086"/>
                    </a:lnTo>
                    <a:cubicBezTo>
                      <a:pt x="209073" y="297465"/>
                      <a:pt x="184213" y="297751"/>
                      <a:pt x="168877" y="313467"/>
                    </a:cubicBezTo>
                    <a:cubicBezTo>
                      <a:pt x="153733" y="329279"/>
                      <a:pt x="153923" y="354615"/>
                      <a:pt x="169449" y="369950"/>
                    </a:cubicBezTo>
                    <a:lnTo>
                      <a:pt x="283844" y="483869"/>
                    </a:lnTo>
                    <a:cubicBezTo>
                      <a:pt x="284797" y="485012"/>
                      <a:pt x="286035" y="485870"/>
                      <a:pt x="287178" y="486632"/>
                    </a:cubicBezTo>
                    <a:cubicBezTo>
                      <a:pt x="287940" y="487394"/>
                      <a:pt x="288797" y="488251"/>
                      <a:pt x="289750" y="488822"/>
                    </a:cubicBezTo>
                    <a:cubicBezTo>
                      <a:pt x="291178" y="489584"/>
                      <a:pt x="292798" y="490442"/>
                      <a:pt x="294131" y="491204"/>
                    </a:cubicBezTo>
                    <a:cubicBezTo>
                      <a:pt x="294893" y="491680"/>
                      <a:pt x="295750" y="492061"/>
                      <a:pt x="296703" y="492442"/>
                    </a:cubicBezTo>
                    <a:cubicBezTo>
                      <a:pt x="298322" y="493299"/>
                      <a:pt x="300037" y="493680"/>
                      <a:pt x="301846" y="494061"/>
                    </a:cubicBezTo>
                    <a:cubicBezTo>
                      <a:pt x="302704" y="494252"/>
                      <a:pt x="303275" y="494442"/>
                      <a:pt x="304037" y="494633"/>
                    </a:cubicBezTo>
                    <a:cubicBezTo>
                      <a:pt x="306418" y="495204"/>
                      <a:pt x="308990" y="495395"/>
                      <a:pt x="311562" y="495395"/>
                    </a:cubicBezTo>
                    <a:cubicBezTo>
                      <a:pt x="314134" y="495395"/>
                      <a:pt x="316515" y="495204"/>
                      <a:pt x="319087" y="494633"/>
                    </a:cubicBezTo>
                    <a:cubicBezTo>
                      <a:pt x="319944" y="494442"/>
                      <a:pt x="320515" y="494252"/>
                      <a:pt x="321277" y="494061"/>
                    </a:cubicBezTo>
                    <a:cubicBezTo>
                      <a:pt x="323087" y="493680"/>
                      <a:pt x="324802" y="493204"/>
                      <a:pt x="326421" y="492442"/>
                    </a:cubicBezTo>
                    <a:cubicBezTo>
                      <a:pt x="327373" y="491966"/>
                      <a:pt x="328231" y="491585"/>
                      <a:pt x="328993" y="491204"/>
                    </a:cubicBezTo>
                    <a:cubicBezTo>
                      <a:pt x="330421" y="490442"/>
                      <a:pt x="332041" y="489584"/>
                      <a:pt x="333374" y="488822"/>
                    </a:cubicBezTo>
                    <a:cubicBezTo>
                      <a:pt x="334327" y="488251"/>
                      <a:pt x="335184" y="487394"/>
                      <a:pt x="335946" y="486632"/>
                    </a:cubicBezTo>
                    <a:cubicBezTo>
                      <a:pt x="337089" y="485870"/>
                      <a:pt x="338327" y="485108"/>
                      <a:pt x="339280" y="483869"/>
                    </a:cubicBezTo>
                    <a:lnTo>
                      <a:pt x="539876" y="284511"/>
                    </a:lnTo>
                    <a:cubicBezTo>
                      <a:pt x="555402" y="268985"/>
                      <a:pt x="555688" y="243839"/>
                      <a:pt x="540352" y="228028"/>
                    </a:cubicBezTo>
                    <a:cubicBezTo>
                      <a:pt x="532684" y="220170"/>
                      <a:pt x="522636" y="216194"/>
                      <a:pt x="512563" y="216098"/>
                    </a:cubicBezTo>
                    <a:close/>
                    <a:moveTo>
                      <a:pt x="354711" y="0"/>
                    </a:moveTo>
                    <a:cubicBezTo>
                      <a:pt x="550164" y="0"/>
                      <a:pt x="709327" y="160973"/>
                      <a:pt x="709422" y="359188"/>
                    </a:cubicBezTo>
                    <a:cubicBezTo>
                      <a:pt x="709422" y="557117"/>
                      <a:pt x="550164" y="718376"/>
                      <a:pt x="354711" y="718376"/>
                    </a:cubicBezTo>
                    <a:cubicBezTo>
                      <a:pt x="158972" y="718376"/>
                      <a:pt x="0" y="557117"/>
                      <a:pt x="0" y="359188"/>
                    </a:cubicBezTo>
                    <a:cubicBezTo>
                      <a:pt x="0" y="160973"/>
                      <a:pt x="159067" y="0"/>
                      <a:pt x="354711" y="0"/>
                    </a:cubicBezTo>
                    <a:close/>
                  </a:path>
                </a:pathLst>
              </a:custGeom>
              <a:solidFill>
                <a:schemeClr val="accent3"/>
              </a:solidFill>
              <a:ln w="9525" cap="flat">
                <a:noFill/>
                <a:prstDash val="solid"/>
                <a:miter/>
              </a:ln>
            </p:spPr>
            <p:txBody>
              <a:bodyPr rtlCol="0" anchor="ctr"/>
              <a:lstStyle/>
              <a:p>
                <a:endParaRPr lang="en-US" dirty="0"/>
              </a:p>
            </p:txBody>
          </p:sp>
        </p:grpSp>
      </p:grpSp>
      <p:sp>
        <p:nvSpPr>
          <p:cNvPr id="453" name="TextBox 452">
            <a:extLst>
              <a:ext uri="{FF2B5EF4-FFF2-40B4-BE49-F238E27FC236}">
                <a16:creationId xmlns:a16="http://schemas.microsoft.com/office/drawing/2014/main" id="{09CD1B07-F850-4F7E-9541-0A7C75B65582}"/>
              </a:ext>
            </a:extLst>
          </p:cNvPr>
          <p:cNvSpPr txBox="1"/>
          <p:nvPr/>
        </p:nvSpPr>
        <p:spPr>
          <a:xfrm>
            <a:off x="5398745" y="3029659"/>
            <a:ext cx="1590115" cy="215444"/>
          </a:xfrm>
          <a:prstGeom prst="rect">
            <a:avLst/>
          </a:prstGeom>
          <a:noFill/>
          <a:ln w="6350">
            <a:noFill/>
          </a:ln>
        </p:spPr>
        <p:txBody>
          <a:bodyPr wrap="none" lIns="0" tIns="0" rIns="0" bIns="0" rtlCol="0" anchor="ctr">
            <a:spAutoFit/>
          </a:bodyPr>
          <a:lstStyle/>
          <a:p>
            <a:pPr algn="ctr"/>
            <a:r>
              <a:rPr lang="en-US" sz="1400" b="1" dirty="0"/>
              <a:t>Azure Marketplace</a:t>
            </a:r>
          </a:p>
        </p:txBody>
      </p:sp>
      <p:grpSp>
        <p:nvGrpSpPr>
          <p:cNvPr id="351" name="Group 350">
            <a:extLst>
              <a:ext uri="{FF2B5EF4-FFF2-40B4-BE49-F238E27FC236}">
                <a16:creationId xmlns:a16="http://schemas.microsoft.com/office/drawing/2014/main" id="{B06C249F-164C-4155-88A8-A8BE2733B14D}"/>
              </a:ext>
            </a:extLst>
          </p:cNvPr>
          <p:cNvGrpSpPr/>
          <p:nvPr/>
        </p:nvGrpSpPr>
        <p:grpSpPr>
          <a:xfrm>
            <a:off x="10052458" y="146014"/>
            <a:ext cx="2033626" cy="1015650"/>
            <a:chOff x="10052458" y="146014"/>
            <a:chExt cx="2033626" cy="1015650"/>
          </a:xfrm>
        </p:grpSpPr>
        <p:pic>
          <p:nvPicPr>
            <p:cNvPr id="359" name="Picture 358">
              <a:extLst>
                <a:ext uri="{FF2B5EF4-FFF2-40B4-BE49-F238E27FC236}">
                  <a16:creationId xmlns:a16="http://schemas.microsoft.com/office/drawing/2014/main" id="{082AFA72-CC3A-4FCC-AE7E-1353CB886F30}"/>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360" name="Rectangle 359">
              <a:extLst>
                <a:ext uri="{FF2B5EF4-FFF2-40B4-BE49-F238E27FC236}">
                  <a16:creationId xmlns:a16="http://schemas.microsoft.com/office/drawing/2014/main" id="{494D87D0-47F0-446D-B788-24FE0E07FA30}"/>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implified Management</a:t>
              </a:r>
            </a:p>
          </p:txBody>
        </p:sp>
      </p:grpSp>
    </p:spTree>
    <p:extLst>
      <p:ext uri="{BB962C8B-B14F-4D97-AF65-F5344CB8AC3E}">
        <p14:creationId xmlns:p14="http://schemas.microsoft.com/office/powerpoint/2010/main" val="157595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 name="think-cell Slide" r:id="rId8" imgW="425" imgH="424" progId="TCLayout.ActiveDocument.1">
                  <p:embed/>
                </p:oleObj>
              </mc:Choice>
              <mc:Fallback>
                <p:oleObj name="think-cell Slide" r:id="rId8"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99" name="Freeform 199">
            <a:extLst>
              <a:ext uri="{FF2B5EF4-FFF2-40B4-BE49-F238E27FC236}">
                <a16:creationId xmlns:a16="http://schemas.microsoft.com/office/drawing/2014/main" id="{6817DD8C-F887-42E9-AFBE-AE24FED935BB}"/>
              </a:ext>
            </a:extLst>
          </p:cNvPr>
          <p:cNvSpPr/>
          <p:nvPr/>
        </p:nvSpPr>
        <p:spPr>
          <a:xfrm>
            <a:off x="767286" y="1245870"/>
            <a:ext cx="10657428" cy="10096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1440" tIns="45720" rIns="91440" bIns="73152" rtlCol="0" anchor="b">
            <a:noAutofit/>
          </a:bodyPr>
          <a:lstStyle/>
          <a:p>
            <a:pPr algn="ctr" defTabSz="932472" fontAlgn="base"/>
            <a:r>
              <a:rPr lang="en-IN" sz="2400" kern="0" dirty="0">
                <a:solidFill>
                  <a:schemeClr val="bg1">
                    <a:lumMod val="75000"/>
                  </a:schemeClr>
                </a:solidFill>
                <a:latin typeface="+mj-lt"/>
                <a:cs typeface="JF Flat" panose="02000500000000000000" pitchFamily="2" charset="-78"/>
              </a:rPr>
              <a:t>Windows Virtual Desktop</a:t>
            </a:r>
          </a:p>
        </p:txBody>
      </p:sp>
      <p:sp>
        <p:nvSpPr>
          <p:cNvPr id="300" name="Freeform 200">
            <a:extLst>
              <a:ext uri="{FF2B5EF4-FFF2-40B4-BE49-F238E27FC236}">
                <a16:creationId xmlns:a16="http://schemas.microsoft.com/office/drawing/2014/main" id="{EB3BAC38-4087-48DB-9456-8EA97897E6CB}"/>
              </a:ext>
            </a:extLst>
          </p:cNvPr>
          <p:cNvSpPr>
            <a:spLocks noChangeArrowheads="1"/>
          </p:cNvSpPr>
          <p:nvPr/>
        </p:nvSpPr>
        <p:spPr bwMode="auto">
          <a:xfrm>
            <a:off x="767285" y="6278383"/>
            <a:ext cx="10657430" cy="285930"/>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1440" tIns="45720" rIns="91440" bIns="4572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ctr" defTabSz="1088105" eaLnBrk="1" fontAlgn="auto" latinLnBrk="0" hangingPunct="1">
              <a:buClrTx/>
              <a:buSzTx/>
              <a:buFontTx/>
              <a:buNone/>
              <a:tabLst/>
              <a:defRPr/>
            </a:pPr>
            <a:endParaRPr kumimoji="0" lang="en-US" sz="1600" b="0" i="0" u="none" strike="noStrike" kern="0" cap="none" spc="0" normalizeH="0" baseline="0" noProof="0" dirty="0">
              <a:ln>
                <a:noFill/>
              </a:ln>
              <a:effectLst/>
              <a:uLnTx/>
              <a:uFillTx/>
              <a:latin typeface="+mn-lt"/>
              <a:cs typeface="JF Flat" panose="02000500000000000000" pitchFamily="2" charset="-78"/>
            </a:endParaRPr>
          </a:p>
        </p:txBody>
      </p:sp>
      <p:sp>
        <p:nvSpPr>
          <p:cNvPr id="301" name="Rectangle 300">
            <a:extLst>
              <a:ext uri="{FF2B5EF4-FFF2-40B4-BE49-F238E27FC236}">
                <a16:creationId xmlns:a16="http://schemas.microsoft.com/office/drawing/2014/main" id="{A3894B7F-7840-4B28-B64E-EA1D7D9FF068}"/>
              </a:ext>
            </a:extLst>
          </p:cNvPr>
          <p:cNvSpPr/>
          <p:nvPr/>
        </p:nvSpPr>
        <p:spPr bwMode="auto">
          <a:xfrm>
            <a:off x="4407444"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Enhanced Security</a:t>
            </a:r>
          </a:p>
        </p:txBody>
      </p:sp>
      <p:sp>
        <p:nvSpPr>
          <p:cNvPr id="302" name="Rectangle 301">
            <a:extLst>
              <a:ext uri="{FF2B5EF4-FFF2-40B4-BE49-F238E27FC236}">
                <a16:creationId xmlns:a16="http://schemas.microsoft.com/office/drawing/2014/main" id="{E32DB1AD-AB91-4A2B-A486-DF85B7FD262C}"/>
              </a:ext>
            </a:extLst>
          </p:cNvPr>
          <p:cNvSpPr/>
          <p:nvPr/>
        </p:nvSpPr>
        <p:spPr bwMode="auto">
          <a:xfrm>
            <a:off x="7839679"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implified Management</a:t>
            </a:r>
          </a:p>
        </p:txBody>
      </p:sp>
      <p:sp>
        <p:nvSpPr>
          <p:cNvPr id="304" name="Rectangle 303">
            <a:extLst>
              <a:ext uri="{FF2B5EF4-FFF2-40B4-BE49-F238E27FC236}">
                <a16:creationId xmlns:a16="http://schemas.microsoft.com/office/drawing/2014/main" id="{F9DCCDA3-815C-449B-9A2B-99D469D68921}"/>
              </a:ext>
            </a:extLst>
          </p:cNvPr>
          <p:cNvSpPr/>
          <p:nvPr/>
        </p:nvSpPr>
        <p:spPr bwMode="auto">
          <a:xfrm>
            <a:off x="975207" y="3300768"/>
            <a:ext cx="10241585" cy="933430"/>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altLang="zh-CN" sz="1600" dirty="0">
                <a:solidFill>
                  <a:schemeClr val="tx1"/>
                </a:solidFill>
                <a:latin typeface="+mj-lt"/>
                <a:cs typeface="Segoe UI" pitchFamily="34" charset="0"/>
              </a:rPr>
              <a:t>Azure</a:t>
            </a:r>
            <a:endParaRPr lang="en-US" sz="1600" dirty="0">
              <a:solidFill>
                <a:schemeClr val="tx1"/>
              </a:solidFill>
              <a:latin typeface="+mj-lt"/>
              <a:cs typeface="Segoe UI" pitchFamily="34" charset="0"/>
            </a:endParaRPr>
          </a:p>
        </p:txBody>
      </p:sp>
      <p:sp>
        <p:nvSpPr>
          <p:cNvPr id="305" name="Rectangle 304">
            <a:extLst>
              <a:ext uri="{FF2B5EF4-FFF2-40B4-BE49-F238E27FC236}">
                <a16:creationId xmlns:a16="http://schemas.microsoft.com/office/drawing/2014/main" id="{9765E7D5-C8A2-438D-90A1-122CF576D49F}"/>
              </a:ext>
            </a:extLst>
          </p:cNvPr>
          <p:cNvSpPr/>
          <p:nvPr/>
        </p:nvSpPr>
        <p:spPr bwMode="auto">
          <a:xfrm>
            <a:off x="975208"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Best User Experience</a:t>
            </a:r>
          </a:p>
        </p:txBody>
      </p:sp>
      <p:sp>
        <p:nvSpPr>
          <p:cNvPr id="307" name="TextBox 306">
            <a:extLst>
              <a:ext uri="{FF2B5EF4-FFF2-40B4-BE49-F238E27FC236}">
                <a16:creationId xmlns:a16="http://schemas.microsoft.com/office/drawing/2014/main" id="{3EE054FF-FA13-43E1-8CDA-D90E38E11193}"/>
              </a:ext>
            </a:extLst>
          </p:cNvPr>
          <p:cNvSpPr txBox="1"/>
          <p:nvPr/>
        </p:nvSpPr>
        <p:spPr>
          <a:xfrm>
            <a:off x="3178753" y="3613595"/>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lvl1pPr>
          </a:lstStyle>
          <a:p>
            <a:r>
              <a:rPr lang="en-US" dirty="0"/>
              <a:t>Standardized, Global, &amp; Secure</a:t>
            </a:r>
          </a:p>
        </p:txBody>
      </p:sp>
      <p:grpSp>
        <p:nvGrpSpPr>
          <p:cNvPr id="342" name="Group 341">
            <a:extLst>
              <a:ext uri="{FF2B5EF4-FFF2-40B4-BE49-F238E27FC236}">
                <a16:creationId xmlns:a16="http://schemas.microsoft.com/office/drawing/2014/main" id="{E731A1C3-902B-4A02-912E-B0CB20616A5E}"/>
              </a:ext>
            </a:extLst>
          </p:cNvPr>
          <p:cNvGrpSpPr/>
          <p:nvPr/>
        </p:nvGrpSpPr>
        <p:grpSpPr>
          <a:xfrm>
            <a:off x="3124214" y="2758441"/>
            <a:ext cx="1120333" cy="385043"/>
            <a:chOff x="8598308" y="5131729"/>
            <a:chExt cx="2593567" cy="965651"/>
          </a:xfrm>
          <a:solidFill>
            <a:schemeClr val="bg1">
              <a:lumMod val="75000"/>
            </a:schemeClr>
          </a:solidFill>
        </p:grpSpPr>
        <p:grpSp>
          <p:nvGrpSpPr>
            <p:cNvPr id="343" name="Group 342">
              <a:extLst>
                <a:ext uri="{FF2B5EF4-FFF2-40B4-BE49-F238E27FC236}">
                  <a16:creationId xmlns:a16="http://schemas.microsoft.com/office/drawing/2014/main" id="{3CDC7BA7-C638-48BF-9A04-CEC216D1AF00}"/>
                </a:ext>
              </a:extLst>
            </p:cNvPr>
            <p:cNvGrpSpPr>
              <a:grpSpLocks noChangeAspect="1"/>
            </p:cNvGrpSpPr>
            <p:nvPr/>
          </p:nvGrpSpPr>
          <p:grpSpPr>
            <a:xfrm>
              <a:off x="8706960" y="5131729"/>
              <a:ext cx="2361059" cy="927114"/>
              <a:chOff x="13708063" y="7653374"/>
              <a:chExt cx="17978438" cy="7059577"/>
            </a:xfrm>
            <a:grpFill/>
          </p:grpSpPr>
          <p:sp>
            <p:nvSpPr>
              <p:cNvPr id="345" name="Freeform 5">
                <a:extLst>
                  <a:ext uri="{FF2B5EF4-FFF2-40B4-BE49-F238E27FC236}">
                    <a16:creationId xmlns:a16="http://schemas.microsoft.com/office/drawing/2014/main" id="{CAD16301-3171-442F-983E-52A3A85E45AB}"/>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6" name="Freeform 6">
                <a:extLst>
                  <a:ext uri="{FF2B5EF4-FFF2-40B4-BE49-F238E27FC236}">
                    <a16:creationId xmlns:a16="http://schemas.microsoft.com/office/drawing/2014/main" id="{2A7C4CBD-1A14-428F-9ED4-D78C68EA9068}"/>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7" name="Freeform 7">
                <a:extLst>
                  <a:ext uri="{FF2B5EF4-FFF2-40B4-BE49-F238E27FC236}">
                    <a16:creationId xmlns:a16="http://schemas.microsoft.com/office/drawing/2014/main" id="{607E1423-6E26-433E-94AF-71C81CC42052}"/>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8" name="Freeform 8">
                <a:extLst>
                  <a:ext uri="{FF2B5EF4-FFF2-40B4-BE49-F238E27FC236}">
                    <a16:creationId xmlns:a16="http://schemas.microsoft.com/office/drawing/2014/main" id="{58CF5AE9-7F76-4D95-95D1-8A6180CB98EA}"/>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9" name="Freeform 9">
                <a:extLst>
                  <a:ext uri="{FF2B5EF4-FFF2-40B4-BE49-F238E27FC236}">
                    <a16:creationId xmlns:a16="http://schemas.microsoft.com/office/drawing/2014/main" id="{6A706563-77E5-478F-9404-6B2074619175}"/>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0" name="Freeform 10">
                <a:extLst>
                  <a:ext uri="{FF2B5EF4-FFF2-40B4-BE49-F238E27FC236}">
                    <a16:creationId xmlns:a16="http://schemas.microsoft.com/office/drawing/2014/main" id="{6927CDD6-FCF9-44C3-969B-985E5D92B498}"/>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1" name="Freeform 11">
                <a:extLst>
                  <a:ext uri="{FF2B5EF4-FFF2-40B4-BE49-F238E27FC236}">
                    <a16:creationId xmlns:a16="http://schemas.microsoft.com/office/drawing/2014/main" id="{8707400F-C111-41F1-95DD-7E1F22B22498}"/>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2" name="Freeform 12">
                <a:extLst>
                  <a:ext uri="{FF2B5EF4-FFF2-40B4-BE49-F238E27FC236}">
                    <a16:creationId xmlns:a16="http://schemas.microsoft.com/office/drawing/2014/main" id="{D28A2CC9-F0D8-455F-9D41-86DB36A23571}"/>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3" name="Freeform 13">
                <a:extLst>
                  <a:ext uri="{FF2B5EF4-FFF2-40B4-BE49-F238E27FC236}">
                    <a16:creationId xmlns:a16="http://schemas.microsoft.com/office/drawing/2014/main" id="{5C26CC4A-A775-4189-B0FC-115C909FC7B8}"/>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4" name="Freeform 14">
                <a:extLst>
                  <a:ext uri="{FF2B5EF4-FFF2-40B4-BE49-F238E27FC236}">
                    <a16:creationId xmlns:a16="http://schemas.microsoft.com/office/drawing/2014/main" id="{A384BDB2-728D-43A5-BFA8-9EF466BD58C7}"/>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5" name="Freeform 15">
                <a:extLst>
                  <a:ext uri="{FF2B5EF4-FFF2-40B4-BE49-F238E27FC236}">
                    <a16:creationId xmlns:a16="http://schemas.microsoft.com/office/drawing/2014/main" id="{A4953A8A-EF86-4BC4-8D30-71F39063C966}"/>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6" name="Freeform 16">
                <a:extLst>
                  <a:ext uri="{FF2B5EF4-FFF2-40B4-BE49-F238E27FC236}">
                    <a16:creationId xmlns:a16="http://schemas.microsoft.com/office/drawing/2014/main" id="{23D2DAB5-96A3-4A09-9CFA-09E2EE74AC9D}"/>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7" name="Freeform 17">
                <a:extLst>
                  <a:ext uri="{FF2B5EF4-FFF2-40B4-BE49-F238E27FC236}">
                    <a16:creationId xmlns:a16="http://schemas.microsoft.com/office/drawing/2014/main" id="{1573907A-3BC3-49DB-A2E1-CAFBEC7D471A}"/>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8" name="Freeform 18">
                <a:extLst>
                  <a:ext uri="{FF2B5EF4-FFF2-40B4-BE49-F238E27FC236}">
                    <a16:creationId xmlns:a16="http://schemas.microsoft.com/office/drawing/2014/main" id="{A90C9D40-94FC-4E09-9CB4-AC5AEFCA377D}"/>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9" name="Freeform 19">
                <a:extLst>
                  <a:ext uri="{FF2B5EF4-FFF2-40B4-BE49-F238E27FC236}">
                    <a16:creationId xmlns:a16="http://schemas.microsoft.com/office/drawing/2014/main" id="{38CA9AD4-BEF4-4568-8BDC-8766998776AA}"/>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0" name="Freeform 20">
                <a:extLst>
                  <a:ext uri="{FF2B5EF4-FFF2-40B4-BE49-F238E27FC236}">
                    <a16:creationId xmlns:a16="http://schemas.microsoft.com/office/drawing/2014/main" id="{B1CF7128-DA13-4BF5-85D9-DE1613FE1DB3}"/>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1" name="Freeform 21">
                <a:extLst>
                  <a:ext uri="{FF2B5EF4-FFF2-40B4-BE49-F238E27FC236}">
                    <a16:creationId xmlns:a16="http://schemas.microsoft.com/office/drawing/2014/main" id="{46BB89AE-0DC7-4D36-AC44-1E2FD37B014C}"/>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2" name="Freeform 22">
                <a:extLst>
                  <a:ext uri="{FF2B5EF4-FFF2-40B4-BE49-F238E27FC236}">
                    <a16:creationId xmlns:a16="http://schemas.microsoft.com/office/drawing/2014/main" id="{1BDBE9EE-2C9B-4819-BE12-942465F9551D}"/>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3" name="Freeform 23">
                <a:extLst>
                  <a:ext uri="{FF2B5EF4-FFF2-40B4-BE49-F238E27FC236}">
                    <a16:creationId xmlns:a16="http://schemas.microsoft.com/office/drawing/2014/main" id="{3B2B0F6C-CC28-4039-91E8-4BD47F18E7DB}"/>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4" name="Freeform 24">
                <a:extLst>
                  <a:ext uri="{FF2B5EF4-FFF2-40B4-BE49-F238E27FC236}">
                    <a16:creationId xmlns:a16="http://schemas.microsoft.com/office/drawing/2014/main" id="{998E776F-D383-44D5-86CA-C4FD0BE7882E}"/>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5" name="Freeform 25">
                <a:extLst>
                  <a:ext uri="{FF2B5EF4-FFF2-40B4-BE49-F238E27FC236}">
                    <a16:creationId xmlns:a16="http://schemas.microsoft.com/office/drawing/2014/main" id="{81D386F6-0987-4BD4-95F9-2290AC6E70CE}"/>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6" name="Freeform 26">
                <a:extLst>
                  <a:ext uri="{FF2B5EF4-FFF2-40B4-BE49-F238E27FC236}">
                    <a16:creationId xmlns:a16="http://schemas.microsoft.com/office/drawing/2014/main" id="{C7367BEE-B8B9-439C-AA36-D02EB483FB9D}"/>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7" name="Freeform 27">
                <a:extLst>
                  <a:ext uri="{FF2B5EF4-FFF2-40B4-BE49-F238E27FC236}">
                    <a16:creationId xmlns:a16="http://schemas.microsoft.com/office/drawing/2014/main" id="{DF2E6DE8-223A-4F60-BBBD-33FA34C98D73}"/>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8" name="Freeform 28">
                <a:extLst>
                  <a:ext uri="{FF2B5EF4-FFF2-40B4-BE49-F238E27FC236}">
                    <a16:creationId xmlns:a16="http://schemas.microsoft.com/office/drawing/2014/main" id="{FEDF8E59-2FDD-444A-90F3-D49804F0A00F}"/>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9" name="Freeform 30">
                <a:extLst>
                  <a:ext uri="{FF2B5EF4-FFF2-40B4-BE49-F238E27FC236}">
                    <a16:creationId xmlns:a16="http://schemas.microsoft.com/office/drawing/2014/main" id="{FC41E085-AF3D-411A-8EA1-853E5E5F7A37}"/>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0" name="Freeform 31">
                <a:extLst>
                  <a:ext uri="{FF2B5EF4-FFF2-40B4-BE49-F238E27FC236}">
                    <a16:creationId xmlns:a16="http://schemas.microsoft.com/office/drawing/2014/main" id="{9DDE5F13-12B3-4C4A-88A8-36FB7E5EB60B}"/>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1" name="Freeform 32">
                <a:extLst>
                  <a:ext uri="{FF2B5EF4-FFF2-40B4-BE49-F238E27FC236}">
                    <a16:creationId xmlns:a16="http://schemas.microsoft.com/office/drawing/2014/main" id="{00C287D5-8F19-4070-B980-4777194BD322}"/>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2" name="Freeform 33">
                <a:extLst>
                  <a:ext uri="{FF2B5EF4-FFF2-40B4-BE49-F238E27FC236}">
                    <a16:creationId xmlns:a16="http://schemas.microsoft.com/office/drawing/2014/main" id="{0DF4E258-4304-46A7-A1D9-BB2D1C98DCFA}"/>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3" name="Freeform 37">
                <a:extLst>
                  <a:ext uri="{FF2B5EF4-FFF2-40B4-BE49-F238E27FC236}">
                    <a16:creationId xmlns:a16="http://schemas.microsoft.com/office/drawing/2014/main" id="{2F384A80-6A66-49F5-A1FE-D0533ADAE5BE}"/>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4" name="Rectangle 38">
                <a:extLst>
                  <a:ext uri="{FF2B5EF4-FFF2-40B4-BE49-F238E27FC236}">
                    <a16:creationId xmlns:a16="http://schemas.microsoft.com/office/drawing/2014/main" id="{D018CB4F-33CF-406A-8AF0-286BCBB26D49}"/>
                  </a:ext>
                </a:extLst>
              </p:cNvPr>
              <p:cNvSpPr>
                <a:spLocks noChangeArrowheads="1"/>
              </p:cNvSpPr>
              <p:nvPr/>
            </p:nvSpPr>
            <p:spPr bwMode="auto">
              <a:xfrm>
                <a:off x="17970018" y="7900981"/>
                <a:ext cx="4603121" cy="263207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5" name="Freeform 39">
                <a:extLst>
                  <a:ext uri="{FF2B5EF4-FFF2-40B4-BE49-F238E27FC236}">
                    <a16:creationId xmlns:a16="http://schemas.microsoft.com/office/drawing/2014/main" id="{0487ADA6-729B-4B2F-A70F-2AA8914E5299}"/>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6" name="Freeform 40">
                <a:extLst>
                  <a:ext uri="{FF2B5EF4-FFF2-40B4-BE49-F238E27FC236}">
                    <a16:creationId xmlns:a16="http://schemas.microsoft.com/office/drawing/2014/main" id="{CAB258ED-F5EE-414E-BE15-5A3889DBF236}"/>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7" name="Freeform 41">
                <a:extLst>
                  <a:ext uri="{FF2B5EF4-FFF2-40B4-BE49-F238E27FC236}">
                    <a16:creationId xmlns:a16="http://schemas.microsoft.com/office/drawing/2014/main" id="{496EDF49-F300-45EA-A023-04BDE96FDF01}"/>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8" name="Rectangle 42">
                <a:extLst>
                  <a:ext uri="{FF2B5EF4-FFF2-40B4-BE49-F238E27FC236}">
                    <a16:creationId xmlns:a16="http://schemas.microsoft.com/office/drawing/2014/main" id="{BAF429C2-25FA-46A7-AF15-99637E1C3156}"/>
                  </a:ext>
                </a:extLst>
              </p:cNvPr>
              <p:cNvSpPr>
                <a:spLocks noChangeArrowheads="1"/>
              </p:cNvSpPr>
              <p:nvPr/>
            </p:nvSpPr>
            <p:spPr bwMode="auto">
              <a:xfrm>
                <a:off x="25590501" y="11085513"/>
                <a:ext cx="998538" cy="1984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9" name="Freeform 43">
                <a:extLst>
                  <a:ext uri="{FF2B5EF4-FFF2-40B4-BE49-F238E27FC236}">
                    <a16:creationId xmlns:a16="http://schemas.microsoft.com/office/drawing/2014/main" id="{3335A22F-9420-4BE2-BEA4-4ECCE13B6153}"/>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0" name="Rectangle 44">
                <a:extLst>
                  <a:ext uri="{FF2B5EF4-FFF2-40B4-BE49-F238E27FC236}">
                    <a16:creationId xmlns:a16="http://schemas.microsoft.com/office/drawing/2014/main" id="{DBF9A925-E020-4167-BE39-FBA755515D3D}"/>
                  </a:ext>
                </a:extLst>
              </p:cNvPr>
              <p:cNvSpPr>
                <a:spLocks noChangeArrowheads="1"/>
              </p:cNvSpPr>
              <p:nvPr/>
            </p:nvSpPr>
            <p:spPr bwMode="auto">
              <a:xfrm>
                <a:off x="28171776" y="12095163"/>
                <a:ext cx="968375" cy="2000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9" name="Freeform 45">
                <a:extLst>
                  <a:ext uri="{FF2B5EF4-FFF2-40B4-BE49-F238E27FC236}">
                    <a16:creationId xmlns:a16="http://schemas.microsoft.com/office/drawing/2014/main" id="{33CBB678-B233-4C2D-B11B-DFA3A96D07FD}"/>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0" name="Freeform 46">
                <a:extLst>
                  <a:ext uri="{FF2B5EF4-FFF2-40B4-BE49-F238E27FC236}">
                    <a16:creationId xmlns:a16="http://schemas.microsoft.com/office/drawing/2014/main" id="{46C179E2-5621-4DF6-B41E-DD0D2768E12B}"/>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1" name="Freeform 47">
                <a:extLst>
                  <a:ext uri="{FF2B5EF4-FFF2-40B4-BE49-F238E27FC236}">
                    <a16:creationId xmlns:a16="http://schemas.microsoft.com/office/drawing/2014/main" id="{2F829D84-1E6B-4C96-9C50-8AD46C9A785A}"/>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2" name="Freeform 48">
                <a:extLst>
                  <a:ext uri="{FF2B5EF4-FFF2-40B4-BE49-F238E27FC236}">
                    <a16:creationId xmlns:a16="http://schemas.microsoft.com/office/drawing/2014/main" id="{3AE8CD04-0FF3-478F-A9BC-CB0D7EFDA6D3}"/>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3" name="Freeform 49">
                <a:extLst>
                  <a:ext uri="{FF2B5EF4-FFF2-40B4-BE49-F238E27FC236}">
                    <a16:creationId xmlns:a16="http://schemas.microsoft.com/office/drawing/2014/main" id="{EB06DF96-F818-4C95-8FDA-C5E83C5BF95C}"/>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4" name="Rectangle 50">
                <a:extLst>
                  <a:ext uri="{FF2B5EF4-FFF2-40B4-BE49-F238E27FC236}">
                    <a16:creationId xmlns:a16="http://schemas.microsoft.com/office/drawing/2014/main" id="{948738D3-4B19-4E32-991A-77D568BC5BBC}"/>
                  </a:ext>
                </a:extLst>
              </p:cNvPr>
              <p:cNvSpPr>
                <a:spLocks noChangeArrowheads="1"/>
              </p:cNvSpPr>
              <p:nvPr/>
            </p:nvSpPr>
            <p:spPr bwMode="auto">
              <a:xfrm>
                <a:off x="27790339" y="9455158"/>
                <a:ext cx="2580131" cy="167481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5" name="Freeform 51">
                <a:extLst>
                  <a:ext uri="{FF2B5EF4-FFF2-40B4-BE49-F238E27FC236}">
                    <a16:creationId xmlns:a16="http://schemas.microsoft.com/office/drawing/2014/main" id="{37AAF63B-7123-4F04-A0F5-877C03D360CD}"/>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6" name="Freeform 52">
                <a:extLst>
                  <a:ext uri="{FF2B5EF4-FFF2-40B4-BE49-F238E27FC236}">
                    <a16:creationId xmlns:a16="http://schemas.microsoft.com/office/drawing/2014/main" id="{DD64C88B-7869-4A23-8C94-F76936A14454}"/>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7" name="Freeform 53">
                <a:extLst>
                  <a:ext uri="{FF2B5EF4-FFF2-40B4-BE49-F238E27FC236}">
                    <a16:creationId xmlns:a16="http://schemas.microsoft.com/office/drawing/2014/main" id="{72405FED-7FFF-4530-8562-34FB5DC86D53}"/>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8" name="Freeform 54">
                <a:extLst>
                  <a:ext uri="{FF2B5EF4-FFF2-40B4-BE49-F238E27FC236}">
                    <a16:creationId xmlns:a16="http://schemas.microsoft.com/office/drawing/2014/main" id="{E9197855-E9BA-4B32-A374-FB9A9E1F073A}"/>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9" name="Freeform 55">
                <a:extLst>
                  <a:ext uri="{FF2B5EF4-FFF2-40B4-BE49-F238E27FC236}">
                    <a16:creationId xmlns:a16="http://schemas.microsoft.com/office/drawing/2014/main" id="{6E1C89BF-0F45-466A-BEC6-F14502D5A2CC}"/>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0" name="Freeform 56">
                <a:extLst>
                  <a:ext uri="{FF2B5EF4-FFF2-40B4-BE49-F238E27FC236}">
                    <a16:creationId xmlns:a16="http://schemas.microsoft.com/office/drawing/2014/main" id="{EEDAAA1B-013E-47B3-AF48-5CACEE79F6F7}"/>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1" name="Freeform 57">
                <a:extLst>
                  <a:ext uri="{FF2B5EF4-FFF2-40B4-BE49-F238E27FC236}">
                    <a16:creationId xmlns:a16="http://schemas.microsoft.com/office/drawing/2014/main" id="{5919003F-3F1A-4622-B6EC-7D910023672E}"/>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2" name="Freeform 58">
                <a:extLst>
                  <a:ext uri="{FF2B5EF4-FFF2-40B4-BE49-F238E27FC236}">
                    <a16:creationId xmlns:a16="http://schemas.microsoft.com/office/drawing/2014/main" id="{821D66D6-4BF3-41CA-84BF-2A62AC8336D5}"/>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3" name="Freeform 59">
                <a:extLst>
                  <a:ext uri="{FF2B5EF4-FFF2-40B4-BE49-F238E27FC236}">
                    <a16:creationId xmlns:a16="http://schemas.microsoft.com/office/drawing/2014/main" id="{6B4E6331-8D81-4389-BF0E-2B24894B3D86}"/>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4" name="Freeform 60">
                <a:extLst>
                  <a:ext uri="{FF2B5EF4-FFF2-40B4-BE49-F238E27FC236}">
                    <a16:creationId xmlns:a16="http://schemas.microsoft.com/office/drawing/2014/main" id="{06BA414A-84E6-4B1D-8526-34A823177F99}"/>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5" name="Freeform 61">
                <a:extLst>
                  <a:ext uri="{FF2B5EF4-FFF2-40B4-BE49-F238E27FC236}">
                    <a16:creationId xmlns:a16="http://schemas.microsoft.com/office/drawing/2014/main" id="{8523F90A-F19F-415A-9249-74ED38D85017}"/>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6" name="Freeform 62">
                <a:extLst>
                  <a:ext uri="{FF2B5EF4-FFF2-40B4-BE49-F238E27FC236}">
                    <a16:creationId xmlns:a16="http://schemas.microsoft.com/office/drawing/2014/main" id="{E40EFC78-610F-482A-810A-BCB226D895BD}"/>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7" name="Freeform 63">
                <a:extLst>
                  <a:ext uri="{FF2B5EF4-FFF2-40B4-BE49-F238E27FC236}">
                    <a16:creationId xmlns:a16="http://schemas.microsoft.com/office/drawing/2014/main" id="{56BBC508-089E-40FA-B224-65E88DA33D92}"/>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8" name="Freeform 64">
                <a:extLst>
                  <a:ext uri="{FF2B5EF4-FFF2-40B4-BE49-F238E27FC236}">
                    <a16:creationId xmlns:a16="http://schemas.microsoft.com/office/drawing/2014/main" id="{C29B08B9-90E0-4626-8B82-D62D51BFE6DA}"/>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9" name="Freeform 65">
                <a:extLst>
                  <a:ext uri="{FF2B5EF4-FFF2-40B4-BE49-F238E27FC236}">
                    <a16:creationId xmlns:a16="http://schemas.microsoft.com/office/drawing/2014/main" id="{04D1E029-9311-40BE-AF50-AABFAF73BBB3}"/>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0" name="Freeform 66">
                <a:extLst>
                  <a:ext uri="{FF2B5EF4-FFF2-40B4-BE49-F238E27FC236}">
                    <a16:creationId xmlns:a16="http://schemas.microsoft.com/office/drawing/2014/main" id="{5464B4F4-EF11-41FB-A2EB-6EB4600F48C9}"/>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1" name="Freeform 67">
                <a:extLst>
                  <a:ext uri="{FF2B5EF4-FFF2-40B4-BE49-F238E27FC236}">
                    <a16:creationId xmlns:a16="http://schemas.microsoft.com/office/drawing/2014/main" id="{3CBE68A0-EEEA-466A-99DA-84E3876AF899}"/>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2" name="Freeform 68">
                <a:extLst>
                  <a:ext uri="{FF2B5EF4-FFF2-40B4-BE49-F238E27FC236}">
                    <a16:creationId xmlns:a16="http://schemas.microsoft.com/office/drawing/2014/main" id="{FD124671-2149-4AC2-AE0B-D2BD1D25928A}"/>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3" name="Freeform 69">
                <a:extLst>
                  <a:ext uri="{FF2B5EF4-FFF2-40B4-BE49-F238E27FC236}">
                    <a16:creationId xmlns:a16="http://schemas.microsoft.com/office/drawing/2014/main" id="{EAB611B4-4F35-48FC-A75D-1A7E67C9A3E7}"/>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4" name="Freeform 70">
                <a:extLst>
                  <a:ext uri="{FF2B5EF4-FFF2-40B4-BE49-F238E27FC236}">
                    <a16:creationId xmlns:a16="http://schemas.microsoft.com/office/drawing/2014/main" id="{03C24E7D-4845-42E8-8639-0EBE94D2310A}"/>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5" name="Freeform 71">
                <a:extLst>
                  <a:ext uri="{FF2B5EF4-FFF2-40B4-BE49-F238E27FC236}">
                    <a16:creationId xmlns:a16="http://schemas.microsoft.com/office/drawing/2014/main" id="{B383A8A2-02EC-4147-B833-B97CFDD398E5}"/>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6" name="Freeform 72">
                <a:extLst>
                  <a:ext uri="{FF2B5EF4-FFF2-40B4-BE49-F238E27FC236}">
                    <a16:creationId xmlns:a16="http://schemas.microsoft.com/office/drawing/2014/main" id="{745B0964-66B8-48B7-BAEA-B8CAFA7C4098}"/>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7" name="Freeform 73">
                <a:extLst>
                  <a:ext uri="{FF2B5EF4-FFF2-40B4-BE49-F238E27FC236}">
                    <a16:creationId xmlns:a16="http://schemas.microsoft.com/office/drawing/2014/main" id="{0982707A-F589-4651-AA67-DEB94E75899C}"/>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8" name="Freeform 74">
                <a:extLst>
                  <a:ext uri="{FF2B5EF4-FFF2-40B4-BE49-F238E27FC236}">
                    <a16:creationId xmlns:a16="http://schemas.microsoft.com/office/drawing/2014/main" id="{4838634C-CB11-4503-91DC-36B7F47D8943}"/>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9" name="Freeform 75">
                <a:extLst>
                  <a:ext uri="{FF2B5EF4-FFF2-40B4-BE49-F238E27FC236}">
                    <a16:creationId xmlns:a16="http://schemas.microsoft.com/office/drawing/2014/main" id="{38C01D88-0EFC-48E9-B5C8-784B8610FDA2}"/>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0" name="Freeform 76">
                <a:extLst>
                  <a:ext uri="{FF2B5EF4-FFF2-40B4-BE49-F238E27FC236}">
                    <a16:creationId xmlns:a16="http://schemas.microsoft.com/office/drawing/2014/main" id="{5A267E60-9DEE-4609-AF2E-8D4A70CD8C57}"/>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1" name="Freeform 77">
                <a:extLst>
                  <a:ext uri="{FF2B5EF4-FFF2-40B4-BE49-F238E27FC236}">
                    <a16:creationId xmlns:a16="http://schemas.microsoft.com/office/drawing/2014/main" id="{22A81CFA-8C7A-462D-8643-33F53EC4E40F}"/>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2" name="Freeform 78">
                <a:extLst>
                  <a:ext uri="{FF2B5EF4-FFF2-40B4-BE49-F238E27FC236}">
                    <a16:creationId xmlns:a16="http://schemas.microsoft.com/office/drawing/2014/main" id="{D8F34F89-A1F4-4D62-B05C-A2D012BE5C18}"/>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3" name="Freeform 79">
                <a:extLst>
                  <a:ext uri="{FF2B5EF4-FFF2-40B4-BE49-F238E27FC236}">
                    <a16:creationId xmlns:a16="http://schemas.microsoft.com/office/drawing/2014/main" id="{E9504217-D03F-4DCB-A40C-704332770900}"/>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4" name="Freeform 80">
                <a:extLst>
                  <a:ext uri="{FF2B5EF4-FFF2-40B4-BE49-F238E27FC236}">
                    <a16:creationId xmlns:a16="http://schemas.microsoft.com/office/drawing/2014/main" id="{71CB1E26-71C7-4F1F-8907-C76A6136DFD7}"/>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5" name="Freeform 81">
                <a:extLst>
                  <a:ext uri="{FF2B5EF4-FFF2-40B4-BE49-F238E27FC236}">
                    <a16:creationId xmlns:a16="http://schemas.microsoft.com/office/drawing/2014/main" id="{4E38EDDA-FF37-4CEC-BBFF-1F349044D525}"/>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344" name="Rectangle 343">
              <a:extLst>
                <a:ext uri="{FF2B5EF4-FFF2-40B4-BE49-F238E27FC236}">
                  <a16:creationId xmlns:a16="http://schemas.microsoft.com/office/drawing/2014/main" id="{72F71412-C982-4D8E-AF41-BD9484DC1F46}"/>
                </a:ext>
              </a:extLst>
            </p:cNvPr>
            <p:cNvSpPr/>
            <p:nvPr/>
          </p:nvSpPr>
          <p:spPr bwMode="auto">
            <a:xfrm>
              <a:off x="8598308" y="6051661"/>
              <a:ext cx="259356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426" name="Group 425">
            <a:extLst>
              <a:ext uri="{FF2B5EF4-FFF2-40B4-BE49-F238E27FC236}">
                <a16:creationId xmlns:a16="http://schemas.microsoft.com/office/drawing/2014/main" id="{1A2E5A18-C2CC-4A4E-A749-87059804D6DD}"/>
              </a:ext>
            </a:extLst>
          </p:cNvPr>
          <p:cNvGrpSpPr>
            <a:grpSpLocks noChangeAspect="1"/>
          </p:cNvGrpSpPr>
          <p:nvPr/>
        </p:nvGrpSpPr>
        <p:grpSpPr>
          <a:xfrm>
            <a:off x="6697244" y="2633218"/>
            <a:ext cx="943275" cy="575451"/>
            <a:chOff x="880735" y="570156"/>
            <a:chExt cx="9823008" cy="5992590"/>
          </a:xfrm>
        </p:grpSpPr>
        <p:grpSp>
          <p:nvGrpSpPr>
            <p:cNvPr id="427" name="Group 426">
              <a:extLst>
                <a:ext uri="{FF2B5EF4-FFF2-40B4-BE49-F238E27FC236}">
                  <a16:creationId xmlns:a16="http://schemas.microsoft.com/office/drawing/2014/main" id="{8B93E916-9DD6-4603-BA96-2B5E18A65E2F}"/>
                </a:ext>
              </a:extLst>
            </p:cNvPr>
            <p:cNvGrpSpPr/>
            <p:nvPr/>
          </p:nvGrpSpPr>
          <p:grpSpPr>
            <a:xfrm>
              <a:off x="880735" y="570156"/>
              <a:ext cx="9823008" cy="5216554"/>
              <a:chOff x="880735" y="570156"/>
              <a:chExt cx="9823008" cy="5216554"/>
            </a:xfrm>
          </p:grpSpPr>
          <p:grpSp>
            <p:nvGrpSpPr>
              <p:cNvPr id="432" name="Group 431">
                <a:extLst>
                  <a:ext uri="{FF2B5EF4-FFF2-40B4-BE49-F238E27FC236}">
                    <a16:creationId xmlns:a16="http://schemas.microsoft.com/office/drawing/2014/main" id="{87D6BD37-2263-4C22-A8B8-7D7F3F93E7DF}"/>
                  </a:ext>
                </a:extLst>
              </p:cNvPr>
              <p:cNvGrpSpPr/>
              <p:nvPr/>
            </p:nvGrpSpPr>
            <p:grpSpPr>
              <a:xfrm>
                <a:off x="1860203" y="570156"/>
                <a:ext cx="3248557" cy="3248553"/>
                <a:chOff x="3695059" y="2057989"/>
                <a:chExt cx="825500" cy="825500"/>
              </a:xfrm>
            </p:grpSpPr>
            <p:sp>
              <p:nvSpPr>
                <p:cNvPr id="612" name="Oval 611">
                  <a:extLst>
                    <a:ext uri="{FF2B5EF4-FFF2-40B4-BE49-F238E27FC236}">
                      <a16:creationId xmlns:a16="http://schemas.microsoft.com/office/drawing/2014/main" id="{E01E3DB4-9A04-4E90-8736-4D3BECD58E35}"/>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32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13" name="Freeform 82">
                  <a:extLst>
                    <a:ext uri="{FF2B5EF4-FFF2-40B4-BE49-F238E27FC236}">
                      <a16:creationId xmlns:a16="http://schemas.microsoft.com/office/drawing/2014/main" id="{FFCBD98C-8F5E-49C8-9151-7BD3EE802105}"/>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sp>
            <p:nvSpPr>
              <p:cNvPr id="433" name="Rectangle 432">
                <a:extLst>
                  <a:ext uri="{FF2B5EF4-FFF2-40B4-BE49-F238E27FC236}">
                    <a16:creationId xmlns:a16="http://schemas.microsoft.com/office/drawing/2014/main" id="{E1652FAC-BCFC-40F3-9E1D-F5AFA3239C71}"/>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4" name="Rectangle 433">
                <a:extLst>
                  <a:ext uri="{FF2B5EF4-FFF2-40B4-BE49-F238E27FC236}">
                    <a16:creationId xmlns:a16="http://schemas.microsoft.com/office/drawing/2014/main" id="{16882BB7-85BF-4498-B520-72AEE1458F44}"/>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5" name="Freeform 7">
                <a:extLst>
                  <a:ext uri="{FF2B5EF4-FFF2-40B4-BE49-F238E27FC236}">
                    <a16:creationId xmlns:a16="http://schemas.microsoft.com/office/drawing/2014/main" id="{24E8BDC6-BAE0-4F5B-9632-F57A94A8DBC9}"/>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6" name="Freeform 8">
                <a:extLst>
                  <a:ext uri="{FF2B5EF4-FFF2-40B4-BE49-F238E27FC236}">
                    <a16:creationId xmlns:a16="http://schemas.microsoft.com/office/drawing/2014/main" id="{2EBAF983-C698-4B8A-9EB0-CE355F54C358}"/>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7" name="Rectangle 436">
                <a:extLst>
                  <a:ext uri="{FF2B5EF4-FFF2-40B4-BE49-F238E27FC236}">
                    <a16:creationId xmlns:a16="http://schemas.microsoft.com/office/drawing/2014/main" id="{F0179E97-6412-432E-994E-BE9D1BD571AD}"/>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8" name="Rectangle 437">
                <a:extLst>
                  <a:ext uri="{FF2B5EF4-FFF2-40B4-BE49-F238E27FC236}">
                    <a16:creationId xmlns:a16="http://schemas.microsoft.com/office/drawing/2014/main" id="{E284274B-BF26-4A53-B38D-AA9FDAF19C68}"/>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9" name="Rectangle 438">
                <a:extLst>
                  <a:ext uri="{FF2B5EF4-FFF2-40B4-BE49-F238E27FC236}">
                    <a16:creationId xmlns:a16="http://schemas.microsoft.com/office/drawing/2014/main" id="{C85FB731-11CB-4CE4-A8AB-1A93B9CBD097}"/>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0" name="Rectangle 439">
                <a:extLst>
                  <a:ext uri="{FF2B5EF4-FFF2-40B4-BE49-F238E27FC236}">
                    <a16:creationId xmlns:a16="http://schemas.microsoft.com/office/drawing/2014/main" id="{5DE408A2-1BD2-4C8C-B471-09007D943419}"/>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1" name="Rectangle 440">
                <a:extLst>
                  <a:ext uri="{FF2B5EF4-FFF2-40B4-BE49-F238E27FC236}">
                    <a16:creationId xmlns:a16="http://schemas.microsoft.com/office/drawing/2014/main" id="{070A3215-54A3-49BA-9D1B-3F2BCE984C2A}"/>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2" name="Rectangle 441">
                <a:extLst>
                  <a:ext uri="{FF2B5EF4-FFF2-40B4-BE49-F238E27FC236}">
                    <a16:creationId xmlns:a16="http://schemas.microsoft.com/office/drawing/2014/main" id="{4F6D4233-35C1-4F20-BEC8-528E5C7E363E}"/>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3" name="Rectangle 442">
                <a:extLst>
                  <a:ext uri="{FF2B5EF4-FFF2-40B4-BE49-F238E27FC236}">
                    <a16:creationId xmlns:a16="http://schemas.microsoft.com/office/drawing/2014/main" id="{46907C23-D2F1-4CD0-9681-6DE440BEB19D}"/>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4" name="Rectangle 443">
                <a:extLst>
                  <a:ext uri="{FF2B5EF4-FFF2-40B4-BE49-F238E27FC236}">
                    <a16:creationId xmlns:a16="http://schemas.microsoft.com/office/drawing/2014/main" id="{3FC2C538-0AC3-4CFC-A5F2-75D22F16D1F6}"/>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5" name="Rectangle 444">
                <a:extLst>
                  <a:ext uri="{FF2B5EF4-FFF2-40B4-BE49-F238E27FC236}">
                    <a16:creationId xmlns:a16="http://schemas.microsoft.com/office/drawing/2014/main" id="{3FC8CD0B-E8C5-4840-9C05-BC9854BA80C2}"/>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6" name="Rectangle 445">
                <a:extLst>
                  <a:ext uri="{FF2B5EF4-FFF2-40B4-BE49-F238E27FC236}">
                    <a16:creationId xmlns:a16="http://schemas.microsoft.com/office/drawing/2014/main" id="{3F529515-8E1E-4180-A46C-9BE0D4BFD2EA}"/>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7" name="Freeform 19">
                <a:extLst>
                  <a:ext uri="{FF2B5EF4-FFF2-40B4-BE49-F238E27FC236}">
                    <a16:creationId xmlns:a16="http://schemas.microsoft.com/office/drawing/2014/main" id="{B769432A-445A-48B8-993B-9AEF00D0D4BC}"/>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8" name="Freeform 20">
                <a:extLst>
                  <a:ext uri="{FF2B5EF4-FFF2-40B4-BE49-F238E27FC236}">
                    <a16:creationId xmlns:a16="http://schemas.microsoft.com/office/drawing/2014/main" id="{D6527FCC-815E-4688-A4E1-FD987B6D2F6E}"/>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9" name="Freeform 21">
                <a:extLst>
                  <a:ext uri="{FF2B5EF4-FFF2-40B4-BE49-F238E27FC236}">
                    <a16:creationId xmlns:a16="http://schemas.microsoft.com/office/drawing/2014/main" id="{22DF041E-3B5B-4B88-807B-655D47CD916A}"/>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0" name="Rectangle 449">
                <a:extLst>
                  <a:ext uri="{FF2B5EF4-FFF2-40B4-BE49-F238E27FC236}">
                    <a16:creationId xmlns:a16="http://schemas.microsoft.com/office/drawing/2014/main" id="{9785455F-52E0-46CB-86C4-B40AE96909F4}"/>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1" name="Rectangle 450">
                <a:extLst>
                  <a:ext uri="{FF2B5EF4-FFF2-40B4-BE49-F238E27FC236}">
                    <a16:creationId xmlns:a16="http://schemas.microsoft.com/office/drawing/2014/main" id="{88466632-0B7B-48FE-86CB-4FB2F07E5D45}"/>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2" name="Rectangle 451">
                <a:extLst>
                  <a:ext uri="{FF2B5EF4-FFF2-40B4-BE49-F238E27FC236}">
                    <a16:creationId xmlns:a16="http://schemas.microsoft.com/office/drawing/2014/main" id="{4A7CF3BB-A6FA-4891-9C3C-EFC2094E4E08}"/>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3" name="Rectangle 452">
                <a:extLst>
                  <a:ext uri="{FF2B5EF4-FFF2-40B4-BE49-F238E27FC236}">
                    <a16:creationId xmlns:a16="http://schemas.microsoft.com/office/drawing/2014/main" id="{200DEFAC-CB4E-449A-A83F-C8C879095D91}"/>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4" name="Rectangle 453">
                <a:extLst>
                  <a:ext uri="{FF2B5EF4-FFF2-40B4-BE49-F238E27FC236}">
                    <a16:creationId xmlns:a16="http://schemas.microsoft.com/office/drawing/2014/main" id="{28021C9A-ADDE-4A10-ADC2-736A9E4BAD0A}"/>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5" name="Rectangle 454">
                <a:extLst>
                  <a:ext uri="{FF2B5EF4-FFF2-40B4-BE49-F238E27FC236}">
                    <a16:creationId xmlns:a16="http://schemas.microsoft.com/office/drawing/2014/main" id="{8EB12B4A-C035-437A-9552-647D46D10101}"/>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6" name="Rectangle 455">
                <a:extLst>
                  <a:ext uri="{FF2B5EF4-FFF2-40B4-BE49-F238E27FC236}">
                    <a16:creationId xmlns:a16="http://schemas.microsoft.com/office/drawing/2014/main" id="{2B4EABF4-7E71-4147-B71C-5CDA07BCB15A}"/>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7" name="Rectangle 456">
                <a:extLst>
                  <a:ext uri="{FF2B5EF4-FFF2-40B4-BE49-F238E27FC236}">
                    <a16:creationId xmlns:a16="http://schemas.microsoft.com/office/drawing/2014/main" id="{4F4FA2A5-EF50-4D19-8098-A8AAD3A60697}"/>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8" name="Rectangle 457">
                <a:extLst>
                  <a:ext uri="{FF2B5EF4-FFF2-40B4-BE49-F238E27FC236}">
                    <a16:creationId xmlns:a16="http://schemas.microsoft.com/office/drawing/2014/main" id="{15FC7A14-FA1C-4246-BCD7-77B6A9FE9968}"/>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9" name="Rectangle 458">
                <a:extLst>
                  <a:ext uri="{FF2B5EF4-FFF2-40B4-BE49-F238E27FC236}">
                    <a16:creationId xmlns:a16="http://schemas.microsoft.com/office/drawing/2014/main" id="{815A6DE9-B8D8-4AF0-88A3-B360C3C4ECC0}"/>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0" name="Rectangle 459">
                <a:extLst>
                  <a:ext uri="{FF2B5EF4-FFF2-40B4-BE49-F238E27FC236}">
                    <a16:creationId xmlns:a16="http://schemas.microsoft.com/office/drawing/2014/main" id="{499E4727-DBF6-4FB5-B3A1-73FDB54CFF4B}"/>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1" name="Freeform 33">
                <a:extLst>
                  <a:ext uri="{FF2B5EF4-FFF2-40B4-BE49-F238E27FC236}">
                    <a16:creationId xmlns:a16="http://schemas.microsoft.com/office/drawing/2014/main" id="{8AB409FC-C9DD-4064-A93E-63EA3C066D21}"/>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2" name="Freeform 34">
                <a:extLst>
                  <a:ext uri="{FF2B5EF4-FFF2-40B4-BE49-F238E27FC236}">
                    <a16:creationId xmlns:a16="http://schemas.microsoft.com/office/drawing/2014/main" id="{BBFAED85-0834-4E67-99BC-A2DC62957C17}"/>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3" name="Freeform 36">
                <a:extLst>
                  <a:ext uri="{FF2B5EF4-FFF2-40B4-BE49-F238E27FC236}">
                    <a16:creationId xmlns:a16="http://schemas.microsoft.com/office/drawing/2014/main" id="{ECA73649-E687-4643-BFE7-EE510FAADCE9}"/>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4" name="Freeform 37">
                <a:extLst>
                  <a:ext uri="{FF2B5EF4-FFF2-40B4-BE49-F238E27FC236}">
                    <a16:creationId xmlns:a16="http://schemas.microsoft.com/office/drawing/2014/main" id="{4F7E5490-A0AD-4A34-ABEC-EC6F627EB2DE}"/>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5" name="Freeform 38">
                <a:extLst>
                  <a:ext uri="{FF2B5EF4-FFF2-40B4-BE49-F238E27FC236}">
                    <a16:creationId xmlns:a16="http://schemas.microsoft.com/office/drawing/2014/main" id="{2403CC80-BAA6-4F52-B4A8-6AD3D5E35EB7}"/>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6" name="Freeform 39">
                <a:extLst>
                  <a:ext uri="{FF2B5EF4-FFF2-40B4-BE49-F238E27FC236}">
                    <a16:creationId xmlns:a16="http://schemas.microsoft.com/office/drawing/2014/main" id="{3FA1F688-0C57-44B5-A1E6-553EB2BB2FD8}"/>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7" name="Freeform 40">
                <a:extLst>
                  <a:ext uri="{FF2B5EF4-FFF2-40B4-BE49-F238E27FC236}">
                    <a16:creationId xmlns:a16="http://schemas.microsoft.com/office/drawing/2014/main" id="{50FFCCF2-D2C4-4BE1-A8A7-0A3F4650FD41}"/>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8" name="Freeform 41">
                <a:extLst>
                  <a:ext uri="{FF2B5EF4-FFF2-40B4-BE49-F238E27FC236}">
                    <a16:creationId xmlns:a16="http://schemas.microsoft.com/office/drawing/2014/main" id="{DFE76CDB-7330-4A87-B947-143D12F556CD}"/>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9" name="Freeform 42">
                <a:extLst>
                  <a:ext uri="{FF2B5EF4-FFF2-40B4-BE49-F238E27FC236}">
                    <a16:creationId xmlns:a16="http://schemas.microsoft.com/office/drawing/2014/main" id="{2919C979-5D46-4059-8808-832C2BBE9732}"/>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0" name="Freeform 43">
                <a:extLst>
                  <a:ext uri="{FF2B5EF4-FFF2-40B4-BE49-F238E27FC236}">
                    <a16:creationId xmlns:a16="http://schemas.microsoft.com/office/drawing/2014/main" id="{A0F0B8ED-34F6-43F7-BA6A-B944E30B8682}"/>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1" name="Freeform 44">
                <a:extLst>
                  <a:ext uri="{FF2B5EF4-FFF2-40B4-BE49-F238E27FC236}">
                    <a16:creationId xmlns:a16="http://schemas.microsoft.com/office/drawing/2014/main" id="{68BA2B23-EE0A-4107-B4F5-0125C7B076D9}"/>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2" name="Freeform 45">
                <a:extLst>
                  <a:ext uri="{FF2B5EF4-FFF2-40B4-BE49-F238E27FC236}">
                    <a16:creationId xmlns:a16="http://schemas.microsoft.com/office/drawing/2014/main" id="{895F2ECC-1799-4B8E-9304-1425FAB05A17}"/>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3" name="Rectangle 46">
                <a:extLst>
                  <a:ext uri="{FF2B5EF4-FFF2-40B4-BE49-F238E27FC236}">
                    <a16:creationId xmlns:a16="http://schemas.microsoft.com/office/drawing/2014/main" id="{B84332D5-1870-46A6-BB01-8BA3D823859E}"/>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4" name="Rectangle 47">
                <a:extLst>
                  <a:ext uri="{FF2B5EF4-FFF2-40B4-BE49-F238E27FC236}">
                    <a16:creationId xmlns:a16="http://schemas.microsoft.com/office/drawing/2014/main" id="{ED176D99-BA89-4083-B11E-AEE7733930F5}"/>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5" name="Freeform 48">
                <a:extLst>
                  <a:ext uri="{FF2B5EF4-FFF2-40B4-BE49-F238E27FC236}">
                    <a16:creationId xmlns:a16="http://schemas.microsoft.com/office/drawing/2014/main" id="{46483CAE-EC91-481A-8D13-B326DBF0F456}"/>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6" name="Freeform 49">
                <a:extLst>
                  <a:ext uri="{FF2B5EF4-FFF2-40B4-BE49-F238E27FC236}">
                    <a16:creationId xmlns:a16="http://schemas.microsoft.com/office/drawing/2014/main" id="{D0D48B21-A461-45F7-A50E-78420F6E8F12}"/>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7" name="Freeform 157">
                <a:extLst>
                  <a:ext uri="{FF2B5EF4-FFF2-40B4-BE49-F238E27FC236}">
                    <a16:creationId xmlns:a16="http://schemas.microsoft.com/office/drawing/2014/main" id="{B8664981-8A16-4374-9D5B-08C1F56DDF9B}"/>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8" name="Freeform 125">
                <a:extLst>
                  <a:ext uri="{FF2B5EF4-FFF2-40B4-BE49-F238E27FC236}">
                    <a16:creationId xmlns:a16="http://schemas.microsoft.com/office/drawing/2014/main" id="{1284C317-B6D6-4B0A-84E9-39B4AA40499C}"/>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8C00"/>
                  </a:solidFill>
                  <a:effectLst/>
                  <a:uLnTx/>
                  <a:uFillTx/>
                  <a:latin typeface="Times New Roman" charset="0"/>
                  <a:ea typeface="ＭＳ Ｐゴシック" charset="0"/>
                </a:endParaRPr>
              </a:p>
            </p:txBody>
          </p:sp>
          <p:grpSp>
            <p:nvGrpSpPr>
              <p:cNvPr id="479" name="Group 478">
                <a:extLst>
                  <a:ext uri="{FF2B5EF4-FFF2-40B4-BE49-F238E27FC236}">
                    <a16:creationId xmlns:a16="http://schemas.microsoft.com/office/drawing/2014/main" id="{BBCDB7B5-75BF-47B9-BF9C-5D1FAB71B749}"/>
                  </a:ext>
                </a:extLst>
              </p:cNvPr>
              <p:cNvGrpSpPr/>
              <p:nvPr/>
            </p:nvGrpSpPr>
            <p:grpSpPr>
              <a:xfrm>
                <a:off x="880735" y="3233589"/>
                <a:ext cx="4515429" cy="2553121"/>
                <a:chOff x="2267710" y="3645408"/>
                <a:chExt cx="1887955" cy="1067493"/>
              </a:xfrm>
              <a:solidFill>
                <a:schemeClr val="bg1">
                  <a:lumMod val="75000"/>
                </a:schemeClr>
              </a:solidFill>
            </p:grpSpPr>
            <p:sp>
              <p:nvSpPr>
                <p:cNvPr id="480" name="Freeform 151">
                  <a:extLst>
                    <a:ext uri="{FF2B5EF4-FFF2-40B4-BE49-F238E27FC236}">
                      <a16:creationId xmlns:a16="http://schemas.microsoft.com/office/drawing/2014/main" id="{B3B681B5-141C-45B5-91B6-A921CFEFEA09}"/>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1" name="Freeform 152">
                  <a:extLst>
                    <a:ext uri="{FF2B5EF4-FFF2-40B4-BE49-F238E27FC236}">
                      <a16:creationId xmlns:a16="http://schemas.microsoft.com/office/drawing/2014/main" id="{B5498593-305C-444A-AB0F-084765C2C431}"/>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2" name="Freeform 158">
                  <a:extLst>
                    <a:ext uri="{FF2B5EF4-FFF2-40B4-BE49-F238E27FC236}">
                      <a16:creationId xmlns:a16="http://schemas.microsoft.com/office/drawing/2014/main" id="{9E23B5A6-BA2F-4DE4-A6B6-2E31C79A93A9}"/>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3" name="Freeform 168">
                  <a:extLst>
                    <a:ext uri="{FF2B5EF4-FFF2-40B4-BE49-F238E27FC236}">
                      <a16:creationId xmlns:a16="http://schemas.microsoft.com/office/drawing/2014/main" id="{B00FA57D-7CAC-4893-9DC0-766E4A4902C5}"/>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84" name="Group 483">
                  <a:extLst>
                    <a:ext uri="{FF2B5EF4-FFF2-40B4-BE49-F238E27FC236}">
                      <a16:creationId xmlns:a16="http://schemas.microsoft.com/office/drawing/2014/main" id="{753EE63D-C16D-419C-8170-BA6A3A5D532B}"/>
                    </a:ext>
                  </a:extLst>
                </p:cNvPr>
                <p:cNvGrpSpPr/>
                <p:nvPr/>
              </p:nvGrpSpPr>
              <p:grpSpPr>
                <a:xfrm>
                  <a:off x="2677694" y="3839497"/>
                  <a:ext cx="1155716" cy="644026"/>
                  <a:chOff x="2726462" y="3839497"/>
                  <a:chExt cx="1155716" cy="644026"/>
                </a:xfrm>
                <a:grpFill/>
              </p:grpSpPr>
              <p:sp>
                <p:nvSpPr>
                  <p:cNvPr id="485" name="Freeform 153">
                    <a:extLst>
                      <a:ext uri="{FF2B5EF4-FFF2-40B4-BE49-F238E27FC236}">
                        <a16:creationId xmlns:a16="http://schemas.microsoft.com/office/drawing/2014/main" id="{66B27C56-16C8-49A2-9F2F-42DF2CF46569}"/>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6" name="Freeform 154">
                    <a:extLst>
                      <a:ext uri="{FF2B5EF4-FFF2-40B4-BE49-F238E27FC236}">
                        <a16:creationId xmlns:a16="http://schemas.microsoft.com/office/drawing/2014/main" id="{B3842A1E-913F-400B-A68B-47D9366E0210}"/>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7" name="Freeform 155">
                    <a:extLst>
                      <a:ext uri="{FF2B5EF4-FFF2-40B4-BE49-F238E27FC236}">
                        <a16:creationId xmlns:a16="http://schemas.microsoft.com/office/drawing/2014/main" id="{F9B7F714-CD9E-4210-AAF5-1B03A446475A}"/>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8" name="Freeform 156">
                    <a:extLst>
                      <a:ext uri="{FF2B5EF4-FFF2-40B4-BE49-F238E27FC236}">
                        <a16:creationId xmlns:a16="http://schemas.microsoft.com/office/drawing/2014/main" id="{B52943BF-0250-4A52-A00D-3450F02B6CCB}"/>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9" name="Freeform 157">
                    <a:extLst>
                      <a:ext uri="{FF2B5EF4-FFF2-40B4-BE49-F238E27FC236}">
                        <a16:creationId xmlns:a16="http://schemas.microsoft.com/office/drawing/2014/main" id="{94168004-C916-40B8-BD99-FA4C76E9D07D}"/>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0" name="Freeform 159">
                    <a:extLst>
                      <a:ext uri="{FF2B5EF4-FFF2-40B4-BE49-F238E27FC236}">
                        <a16:creationId xmlns:a16="http://schemas.microsoft.com/office/drawing/2014/main" id="{81533215-D35B-4462-B1CD-0EF8884EF2F0}"/>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1" name="Freeform 160">
                    <a:extLst>
                      <a:ext uri="{FF2B5EF4-FFF2-40B4-BE49-F238E27FC236}">
                        <a16:creationId xmlns:a16="http://schemas.microsoft.com/office/drawing/2014/main" id="{FD18318B-BD5E-4E56-8004-2E62507DD328}"/>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2" name="Freeform 161">
                    <a:extLst>
                      <a:ext uri="{FF2B5EF4-FFF2-40B4-BE49-F238E27FC236}">
                        <a16:creationId xmlns:a16="http://schemas.microsoft.com/office/drawing/2014/main" id="{4340A27D-7D30-411B-AA3E-6F493BFC2592}"/>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3" name="Freeform 162">
                    <a:extLst>
                      <a:ext uri="{FF2B5EF4-FFF2-40B4-BE49-F238E27FC236}">
                        <a16:creationId xmlns:a16="http://schemas.microsoft.com/office/drawing/2014/main" id="{2C7B0E30-723E-4655-9FBD-320644B4948D}"/>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4" name="Freeform 163">
                    <a:extLst>
                      <a:ext uri="{FF2B5EF4-FFF2-40B4-BE49-F238E27FC236}">
                        <a16:creationId xmlns:a16="http://schemas.microsoft.com/office/drawing/2014/main" id="{42F9D00A-DF28-4996-A596-9D54E2BED7A1}"/>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5" name="Freeform 164">
                    <a:extLst>
                      <a:ext uri="{FF2B5EF4-FFF2-40B4-BE49-F238E27FC236}">
                        <a16:creationId xmlns:a16="http://schemas.microsoft.com/office/drawing/2014/main" id="{EE2D8446-5BA1-44DB-87FF-33237405FD52}"/>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6" name="Freeform 165">
                    <a:extLst>
                      <a:ext uri="{FF2B5EF4-FFF2-40B4-BE49-F238E27FC236}">
                        <a16:creationId xmlns:a16="http://schemas.microsoft.com/office/drawing/2014/main" id="{2D6A3FA9-1688-4A98-A0FE-D7C11E576697}"/>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7" name="Freeform 166">
                    <a:extLst>
                      <a:ext uri="{FF2B5EF4-FFF2-40B4-BE49-F238E27FC236}">
                        <a16:creationId xmlns:a16="http://schemas.microsoft.com/office/drawing/2014/main" id="{45BCA769-C883-475F-BCCD-876D1F7A2966}"/>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8" name="Freeform 167">
                    <a:extLst>
                      <a:ext uri="{FF2B5EF4-FFF2-40B4-BE49-F238E27FC236}">
                        <a16:creationId xmlns:a16="http://schemas.microsoft.com/office/drawing/2014/main" id="{C5F817FC-8947-4021-B4A6-7458F66F1F56}"/>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9" name="Freeform 169">
                    <a:extLst>
                      <a:ext uri="{FF2B5EF4-FFF2-40B4-BE49-F238E27FC236}">
                        <a16:creationId xmlns:a16="http://schemas.microsoft.com/office/drawing/2014/main" id="{7A91E672-C71C-4979-A2DB-2003BC7A53D7}"/>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0" name="Freeform 170">
                    <a:extLst>
                      <a:ext uri="{FF2B5EF4-FFF2-40B4-BE49-F238E27FC236}">
                        <a16:creationId xmlns:a16="http://schemas.microsoft.com/office/drawing/2014/main" id="{1398F62C-A155-412B-B40F-C8EA2088ECE9}"/>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1" name="Freeform 171">
                    <a:extLst>
                      <a:ext uri="{FF2B5EF4-FFF2-40B4-BE49-F238E27FC236}">
                        <a16:creationId xmlns:a16="http://schemas.microsoft.com/office/drawing/2014/main" id="{3BB0523B-1610-4563-A441-8DBAAFE39EF9}"/>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2" name="Freeform 172">
                    <a:extLst>
                      <a:ext uri="{FF2B5EF4-FFF2-40B4-BE49-F238E27FC236}">
                        <a16:creationId xmlns:a16="http://schemas.microsoft.com/office/drawing/2014/main" id="{8371ED5D-3F90-451A-B165-C6A5BB39E233}"/>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3" name="Freeform 173">
                    <a:extLst>
                      <a:ext uri="{FF2B5EF4-FFF2-40B4-BE49-F238E27FC236}">
                        <a16:creationId xmlns:a16="http://schemas.microsoft.com/office/drawing/2014/main" id="{AD2867A7-98C0-494A-95D4-1F56C2CC0912}"/>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4" name="Freeform 174">
                    <a:extLst>
                      <a:ext uri="{FF2B5EF4-FFF2-40B4-BE49-F238E27FC236}">
                        <a16:creationId xmlns:a16="http://schemas.microsoft.com/office/drawing/2014/main" id="{050E3481-7D4A-4755-9223-F8AA901AD0C4}"/>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5" name="Freeform 175">
                    <a:extLst>
                      <a:ext uri="{FF2B5EF4-FFF2-40B4-BE49-F238E27FC236}">
                        <a16:creationId xmlns:a16="http://schemas.microsoft.com/office/drawing/2014/main" id="{A28E53A3-679B-4E05-A550-D0D452378373}"/>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6" name="Freeform 176">
                    <a:extLst>
                      <a:ext uri="{FF2B5EF4-FFF2-40B4-BE49-F238E27FC236}">
                        <a16:creationId xmlns:a16="http://schemas.microsoft.com/office/drawing/2014/main" id="{3FC0DAB4-3D0A-4287-B8EB-B0A614CF975E}"/>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7" name="Freeform 177">
                    <a:extLst>
                      <a:ext uri="{FF2B5EF4-FFF2-40B4-BE49-F238E27FC236}">
                        <a16:creationId xmlns:a16="http://schemas.microsoft.com/office/drawing/2014/main" id="{70EFD33B-EF35-48D5-911D-83D83DD7094A}"/>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8" name="Freeform 186">
                    <a:extLst>
                      <a:ext uri="{FF2B5EF4-FFF2-40B4-BE49-F238E27FC236}">
                        <a16:creationId xmlns:a16="http://schemas.microsoft.com/office/drawing/2014/main" id="{0430D995-996A-4C4B-82B4-DCFF32B2382E}"/>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9" name="Freeform 187">
                    <a:extLst>
                      <a:ext uri="{FF2B5EF4-FFF2-40B4-BE49-F238E27FC236}">
                        <a16:creationId xmlns:a16="http://schemas.microsoft.com/office/drawing/2014/main" id="{49F1182F-A4CC-43E9-B23A-AA2B92CCA5CE}"/>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0" name="Freeform 188">
                    <a:extLst>
                      <a:ext uri="{FF2B5EF4-FFF2-40B4-BE49-F238E27FC236}">
                        <a16:creationId xmlns:a16="http://schemas.microsoft.com/office/drawing/2014/main" id="{B565CBDE-EFA5-4F73-9B34-FBD81DB0B6E0}"/>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1" name="Freeform 189">
                    <a:extLst>
                      <a:ext uri="{FF2B5EF4-FFF2-40B4-BE49-F238E27FC236}">
                        <a16:creationId xmlns:a16="http://schemas.microsoft.com/office/drawing/2014/main" id="{75A677FC-D18F-4798-97F0-0DFB764E6E03}"/>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7" name="Freeform 190">
                    <a:extLst>
                      <a:ext uri="{FF2B5EF4-FFF2-40B4-BE49-F238E27FC236}">
                        <a16:creationId xmlns:a16="http://schemas.microsoft.com/office/drawing/2014/main" id="{58BFE39C-E814-469B-85CA-E19FAE2FFA89}"/>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428" name="Group 427">
              <a:extLst>
                <a:ext uri="{FF2B5EF4-FFF2-40B4-BE49-F238E27FC236}">
                  <a16:creationId xmlns:a16="http://schemas.microsoft.com/office/drawing/2014/main" id="{FD74C3A7-92C4-4EA2-97DD-F8F18B8AC5FC}"/>
                </a:ext>
              </a:extLst>
            </p:cNvPr>
            <p:cNvGrpSpPr/>
            <p:nvPr/>
          </p:nvGrpSpPr>
          <p:grpSpPr>
            <a:xfrm>
              <a:off x="3852490" y="3233304"/>
              <a:ext cx="3961965" cy="3329442"/>
              <a:chOff x="3484242" y="3413760"/>
              <a:chExt cx="1656542" cy="1392080"/>
            </a:xfrm>
          </p:grpSpPr>
          <p:sp>
            <p:nvSpPr>
              <p:cNvPr id="429" name="Freeform: Shape 428">
                <a:extLst>
                  <a:ext uri="{FF2B5EF4-FFF2-40B4-BE49-F238E27FC236}">
                    <a16:creationId xmlns:a16="http://schemas.microsoft.com/office/drawing/2014/main" id="{5F661624-BBD0-45F7-AE5F-6D962AA7A06C}"/>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0" name="Freeform: Shape 429">
                <a:extLst>
                  <a:ext uri="{FF2B5EF4-FFF2-40B4-BE49-F238E27FC236}">
                    <a16:creationId xmlns:a16="http://schemas.microsoft.com/office/drawing/2014/main" id="{E22E7254-80D6-43E6-97A1-E32E813BF1AB}"/>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1" name="Freeform 164">
                <a:extLst>
                  <a:ext uri="{FF2B5EF4-FFF2-40B4-BE49-F238E27FC236}">
                    <a16:creationId xmlns:a16="http://schemas.microsoft.com/office/drawing/2014/main" id="{767255AE-31F5-4CD8-AB16-0B9B25C73944}"/>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grpSp>
        <p:nvGrpSpPr>
          <p:cNvPr id="614" name="Group 613">
            <a:extLst>
              <a:ext uri="{FF2B5EF4-FFF2-40B4-BE49-F238E27FC236}">
                <a16:creationId xmlns:a16="http://schemas.microsoft.com/office/drawing/2014/main" id="{66DFFEFA-C6A4-4F95-B21D-17E32644D28B}"/>
              </a:ext>
            </a:extLst>
          </p:cNvPr>
          <p:cNvGrpSpPr/>
          <p:nvPr/>
        </p:nvGrpSpPr>
        <p:grpSpPr>
          <a:xfrm>
            <a:off x="10504155" y="2496766"/>
            <a:ext cx="616488" cy="651720"/>
            <a:chOff x="13973841" y="3823518"/>
            <a:chExt cx="1577751" cy="1687170"/>
          </a:xfrm>
          <a:solidFill>
            <a:schemeClr val="bg1">
              <a:lumMod val="75000"/>
            </a:schemeClr>
          </a:solidFill>
        </p:grpSpPr>
        <p:sp>
          <p:nvSpPr>
            <p:cNvPr id="615" name="Oval 240">
              <a:extLst>
                <a:ext uri="{FF2B5EF4-FFF2-40B4-BE49-F238E27FC236}">
                  <a16:creationId xmlns:a16="http://schemas.microsoft.com/office/drawing/2014/main" id="{930DDAE7-2E2D-4E2D-8DA6-3E530A3113FF}"/>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16" name="Oval 242">
              <a:extLst>
                <a:ext uri="{FF2B5EF4-FFF2-40B4-BE49-F238E27FC236}">
                  <a16:creationId xmlns:a16="http://schemas.microsoft.com/office/drawing/2014/main" id="{4B6F4E39-13D2-4257-9A29-23B94467D330}"/>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17" name="Freeform 129">
              <a:extLst>
                <a:ext uri="{FF2B5EF4-FFF2-40B4-BE49-F238E27FC236}">
                  <a16:creationId xmlns:a16="http://schemas.microsoft.com/office/drawing/2014/main" id="{E4FF833D-EE98-4B89-ACC7-7406890D9BD4}"/>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18" name="Freeform 130">
              <a:extLst>
                <a:ext uri="{FF2B5EF4-FFF2-40B4-BE49-F238E27FC236}">
                  <a16:creationId xmlns:a16="http://schemas.microsoft.com/office/drawing/2014/main" id="{B9E935A3-6620-40D8-9708-469335D9C9AE}"/>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19" name="Freeform 232">
              <a:extLst>
                <a:ext uri="{FF2B5EF4-FFF2-40B4-BE49-F238E27FC236}">
                  <a16:creationId xmlns:a16="http://schemas.microsoft.com/office/drawing/2014/main" id="{A3DD640D-068D-43D3-BFD8-F8ED535FB39C}"/>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pic>
          <p:nvPicPr>
            <p:cNvPr id="620" name="Graphic 619">
              <a:extLst>
                <a:ext uri="{FF2B5EF4-FFF2-40B4-BE49-F238E27FC236}">
                  <a16:creationId xmlns:a16="http://schemas.microsoft.com/office/drawing/2014/main" id="{EFDF1294-52F4-49AA-9A58-6AA8EB8B257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715068" y="3908875"/>
              <a:ext cx="192326" cy="150595"/>
            </a:xfrm>
            <a:prstGeom prst="rect">
              <a:avLst/>
            </a:prstGeom>
          </p:spPr>
        </p:pic>
        <p:sp>
          <p:nvSpPr>
            <p:cNvPr id="621" name="Oval 240">
              <a:extLst>
                <a:ext uri="{FF2B5EF4-FFF2-40B4-BE49-F238E27FC236}">
                  <a16:creationId xmlns:a16="http://schemas.microsoft.com/office/drawing/2014/main" id="{3EF8FC9C-B069-4297-BAB1-06A1224E0AF6}"/>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2" name="Oval 240">
              <a:extLst>
                <a:ext uri="{FF2B5EF4-FFF2-40B4-BE49-F238E27FC236}">
                  <a16:creationId xmlns:a16="http://schemas.microsoft.com/office/drawing/2014/main" id="{6DFA7D6B-21F2-42FA-AE8C-0221230E12BF}"/>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3" name="Circle: Hollow 622">
              <a:extLst>
                <a:ext uri="{FF2B5EF4-FFF2-40B4-BE49-F238E27FC236}">
                  <a16:creationId xmlns:a16="http://schemas.microsoft.com/office/drawing/2014/main" id="{5277D550-EC23-40C6-B0BD-A2DD37FA7624}"/>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sp>
          <p:nvSpPr>
            <p:cNvPr id="624" name="Freeform 501">
              <a:extLst>
                <a:ext uri="{FF2B5EF4-FFF2-40B4-BE49-F238E27FC236}">
                  <a16:creationId xmlns:a16="http://schemas.microsoft.com/office/drawing/2014/main" id="{34DEFC0A-86CE-44D8-BC62-69B71D7DE346}"/>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5" name="Rounded Rectangle 13">
              <a:extLst>
                <a:ext uri="{FF2B5EF4-FFF2-40B4-BE49-F238E27FC236}">
                  <a16:creationId xmlns:a16="http://schemas.microsoft.com/office/drawing/2014/main" id="{2C3C8EE5-0D2E-40C4-9FF6-1FBBA4AE3521}"/>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626" name="Freeform: Shape 625">
              <a:extLst>
                <a:ext uri="{FF2B5EF4-FFF2-40B4-BE49-F238E27FC236}">
                  <a16:creationId xmlns:a16="http://schemas.microsoft.com/office/drawing/2014/main" id="{9E512566-226C-4489-A7A4-993AB466B00A}"/>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sp>
        <p:nvSpPr>
          <p:cNvPr id="306" name="Rectangle 305">
            <a:extLst>
              <a:ext uri="{FF2B5EF4-FFF2-40B4-BE49-F238E27FC236}">
                <a16:creationId xmlns:a16="http://schemas.microsoft.com/office/drawing/2014/main" id="{C906F723-643C-45F0-8408-BFF0763C1AA5}"/>
              </a:ext>
            </a:extLst>
          </p:cNvPr>
          <p:cNvSpPr/>
          <p:nvPr/>
        </p:nvSpPr>
        <p:spPr bwMode="auto">
          <a:xfrm>
            <a:off x="975207" y="5299783"/>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trong Partner Ecosystem</a:t>
            </a:r>
          </a:p>
        </p:txBody>
      </p:sp>
      <p:sp>
        <p:nvSpPr>
          <p:cNvPr id="309" name="TextBox 308">
            <a:extLst>
              <a:ext uri="{FF2B5EF4-FFF2-40B4-BE49-F238E27FC236}">
                <a16:creationId xmlns:a16="http://schemas.microsoft.com/office/drawing/2014/main" id="{796852DC-F86B-48DA-B39D-2733756B1744}"/>
              </a:ext>
            </a:extLst>
          </p:cNvPr>
          <p:cNvSpPr txBox="1"/>
          <p:nvPr/>
        </p:nvSpPr>
        <p:spPr>
          <a:xfrm>
            <a:off x="3178753" y="5612610"/>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lvl1pPr>
          </a:lstStyle>
          <a:p>
            <a:r>
              <a:rPr lang="en-US" altLang="zh-CN" dirty="0">
                <a:solidFill>
                  <a:schemeClr val="bg1">
                    <a:lumMod val="75000"/>
                  </a:schemeClr>
                </a:solidFill>
              </a:rPr>
              <a:t>Extensive</a:t>
            </a:r>
            <a:r>
              <a:rPr lang="en-US" dirty="0">
                <a:solidFill>
                  <a:schemeClr val="bg1">
                    <a:lumMod val="75000"/>
                  </a:schemeClr>
                </a:solidFill>
              </a:rPr>
              <a:t>, Integrated, &amp; </a:t>
            </a:r>
            <a:r>
              <a:rPr lang="en-US" altLang="zh-CN" dirty="0">
                <a:solidFill>
                  <a:schemeClr val="bg1">
                    <a:lumMod val="75000"/>
                  </a:schemeClr>
                </a:solidFill>
              </a:rPr>
              <a:t>Experienced</a:t>
            </a:r>
            <a:endParaRPr lang="en-US" dirty="0">
              <a:solidFill>
                <a:schemeClr val="bg1">
                  <a:lumMod val="75000"/>
                </a:schemeClr>
              </a:solidFill>
            </a:endParaRPr>
          </a:p>
        </p:txBody>
      </p:sp>
      <p:grpSp>
        <p:nvGrpSpPr>
          <p:cNvPr id="627" name="Group 626">
            <a:extLst>
              <a:ext uri="{FF2B5EF4-FFF2-40B4-BE49-F238E27FC236}">
                <a16:creationId xmlns:a16="http://schemas.microsoft.com/office/drawing/2014/main" id="{1F418C8D-4E63-417D-BCE8-DD948A77DA23}"/>
              </a:ext>
            </a:extLst>
          </p:cNvPr>
          <p:cNvGrpSpPr>
            <a:grpSpLocks/>
          </p:cNvGrpSpPr>
          <p:nvPr/>
        </p:nvGrpSpPr>
        <p:grpSpPr>
          <a:xfrm>
            <a:off x="1133415" y="5622295"/>
            <a:ext cx="651068" cy="609601"/>
            <a:chOff x="5965396" y="2936940"/>
            <a:chExt cx="3001924" cy="2810728"/>
          </a:xfrm>
          <a:solidFill>
            <a:srgbClr val="BFBFBF"/>
          </a:solidFill>
        </p:grpSpPr>
        <p:sp>
          <p:nvSpPr>
            <p:cNvPr id="628" name="Arc 627">
              <a:extLst>
                <a:ext uri="{FF2B5EF4-FFF2-40B4-BE49-F238E27FC236}">
                  <a16:creationId xmlns:a16="http://schemas.microsoft.com/office/drawing/2014/main" id="{460A59DF-EC14-4903-87F4-68C96AAE7D32}"/>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629" name="Group 628">
              <a:extLst>
                <a:ext uri="{FF2B5EF4-FFF2-40B4-BE49-F238E27FC236}">
                  <a16:creationId xmlns:a16="http://schemas.microsoft.com/office/drawing/2014/main" id="{210C5EAD-C43F-44BB-901A-19689DB5B3B0}"/>
                </a:ext>
              </a:extLst>
            </p:cNvPr>
            <p:cNvGrpSpPr/>
            <p:nvPr/>
          </p:nvGrpSpPr>
          <p:grpSpPr>
            <a:xfrm>
              <a:off x="6393887" y="4600791"/>
              <a:ext cx="2131513" cy="969039"/>
              <a:chOff x="6037944" y="4939646"/>
              <a:chExt cx="1762503" cy="801278"/>
            </a:xfrm>
            <a:grpFill/>
          </p:grpSpPr>
          <p:grpSp>
            <p:nvGrpSpPr>
              <p:cNvPr id="650" name="Group 649">
                <a:extLst>
                  <a:ext uri="{FF2B5EF4-FFF2-40B4-BE49-F238E27FC236}">
                    <a16:creationId xmlns:a16="http://schemas.microsoft.com/office/drawing/2014/main" id="{65591E2F-26CB-45B4-B7F6-AB601463CADF}"/>
                  </a:ext>
                </a:extLst>
              </p:cNvPr>
              <p:cNvGrpSpPr/>
              <p:nvPr/>
            </p:nvGrpSpPr>
            <p:grpSpPr>
              <a:xfrm>
                <a:off x="6056747" y="4972281"/>
                <a:ext cx="1718033" cy="610616"/>
                <a:chOff x="2058988" y="3915711"/>
                <a:chExt cx="1927661" cy="685122"/>
              </a:xfrm>
              <a:grpFill/>
            </p:grpSpPr>
            <p:sp>
              <p:nvSpPr>
                <p:cNvPr id="662" name="Freeform 6">
                  <a:extLst>
                    <a:ext uri="{FF2B5EF4-FFF2-40B4-BE49-F238E27FC236}">
                      <a16:creationId xmlns:a16="http://schemas.microsoft.com/office/drawing/2014/main" id="{D064DBB2-1761-4D60-8EEF-4F48BB85209F}"/>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63" name="Freeform 7">
                  <a:extLst>
                    <a:ext uri="{FF2B5EF4-FFF2-40B4-BE49-F238E27FC236}">
                      <a16:creationId xmlns:a16="http://schemas.microsoft.com/office/drawing/2014/main" id="{92D89E8C-48CD-426B-8433-7A3F1C44C0FD}"/>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64" name="Freeform 8">
                  <a:extLst>
                    <a:ext uri="{FF2B5EF4-FFF2-40B4-BE49-F238E27FC236}">
                      <a16:creationId xmlns:a16="http://schemas.microsoft.com/office/drawing/2014/main" id="{8A3C57C8-3ABA-410E-BF43-0C6CF5228A1E}"/>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65" name="Freeform 9">
                  <a:extLst>
                    <a:ext uri="{FF2B5EF4-FFF2-40B4-BE49-F238E27FC236}">
                      <a16:creationId xmlns:a16="http://schemas.microsoft.com/office/drawing/2014/main" id="{7476EEF8-5A7E-461B-AE7E-F743561EAB7E}"/>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66" name="Freeform 10">
                  <a:extLst>
                    <a:ext uri="{FF2B5EF4-FFF2-40B4-BE49-F238E27FC236}">
                      <a16:creationId xmlns:a16="http://schemas.microsoft.com/office/drawing/2014/main" id="{E43A382C-7BB3-4584-B539-B980364E4180}"/>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67" name="Freeform 11">
                  <a:extLst>
                    <a:ext uri="{FF2B5EF4-FFF2-40B4-BE49-F238E27FC236}">
                      <a16:creationId xmlns:a16="http://schemas.microsoft.com/office/drawing/2014/main" id="{BEA34893-1885-486E-9E98-BA516CEDA464}"/>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68" name="Freeform 12">
                  <a:extLst>
                    <a:ext uri="{FF2B5EF4-FFF2-40B4-BE49-F238E27FC236}">
                      <a16:creationId xmlns:a16="http://schemas.microsoft.com/office/drawing/2014/main" id="{43AFAC30-646F-4F94-A561-1CAA37681BC2}"/>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69" name="Freeform 13">
                  <a:extLst>
                    <a:ext uri="{FF2B5EF4-FFF2-40B4-BE49-F238E27FC236}">
                      <a16:creationId xmlns:a16="http://schemas.microsoft.com/office/drawing/2014/main" id="{F688BF46-1A1B-46F9-9A74-474881AD1348}"/>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70" name="Freeform 14">
                  <a:extLst>
                    <a:ext uri="{FF2B5EF4-FFF2-40B4-BE49-F238E27FC236}">
                      <a16:creationId xmlns:a16="http://schemas.microsoft.com/office/drawing/2014/main" id="{4A948D66-D4A6-48AA-8BCE-E2EAB0559D58}"/>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1" name="Freeform 15">
                  <a:extLst>
                    <a:ext uri="{FF2B5EF4-FFF2-40B4-BE49-F238E27FC236}">
                      <a16:creationId xmlns:a16="http://schemas.microsoft.com/office/drawing/2014/main" id="{A67E018E-D529-433A-96DF-3D5172875783}"/>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72" name="Freeform 16">
                  <a:extLst>
                    <a:ext uri="{FF2B5EF4-FFF2-40B4-BE49-F238E27FC236}">
                      <a16:creationId xmlns:a16="http://schemas.microsoft.com/office/drawing/2014/main" id="{383C5184-E7D7-428A-909B-679CD6856658}"/>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73" name="Freeform 17">
                  <a:extLst>
                    <a:ext uri="{FF2B5EF4-FFF2-40B4-BE49-F238E27FC236}">
                      <a16:creationId xmlns:a16="http://schemas.microsoft.com/office/drawing/2014/main" id="{0A8D9C45-DEF5-4B1D-995F-B99FB312C455}"/>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 name="Freeform: Shape 673">
                  <a:extLst>
                    <a:ext uri="{FF2B5EF4-FFF2-40B4-BE49-F238E27FC236}">
                      <a16:creationId xmlns:a16="http://schemas.microsoft.com/office/drawing/2014/main" id="{2EF07B72-78FA-46B5-A8FB-A47C4DED1A94}"/>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675" name="Freeform 19">
                  <a:extLst>
                    <a:ext uri="{FF2B5EF4-FFF2-40B4-BE49-F238E27FC236}">
                      <a16:creationId xmlns:a16="http://schemas.microsoft.com/office/drawing/2014/main" id="{C49A9B20-727B-4345-B18E-3FB44BA5018D}"/>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 name="Freeform 20">
                  <a:extLst>
                    <a:ext uri="{FF2B5EF4-FFF2-40B4-BE49-F238E27FC236}">
                      <a16:creationId xmlns:a16="http://schemas.microsoft.com/office/drawing/2014/main" id="{22364544-FE75-4B34-B857-569C187FD2F2}"/>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 name="Freeform 21">
                  <a:extLst>
                    <a:ext uri="{FF2B5EF4-FFF2-40B4-BE49-F238E27FC236}">
                      <a16:creationId xmlns:a16="http://schemas.microsoft.com/office/drawing/2014/main" id="{EF1214A3-DAF7-4DA4-AEC9-ECA78B3DBFAD}"/>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78" name="Freeform 23">
                  <a:extLst>
                    <a:ext uri="{FF2B5EF4-FFF2-40B4-BE49-F238E27FC236}">
                      <a16:creationId xmlns:a16="http://schemas.microsoft.com/office/drawing/2014/main" id="{15624D7C-DA2C-4854-9BB6-25506563C0C8}"/>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79" name="Freeform 24">
                  <a:extLst>
                    <a:ext uri="{FF2B5EF4-FFF2-40B4-BE49-F238E27FC236}">
                      <a16:creationId xmlns:a16="http://schemas.microsoft.com/office/drawing/2014/main" id="{AEC6C74D-1115-4ABD-A615-80CD9000A611}"/>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0" name="Freeform: Shape 679">
                  <a:extLst>
                    <a:ext uri="{FF2B5EF4-FFF2-40B4-BE49-F238E27FC236}">
                      <a16:creationId xmlns:a16="http://schemas.microsoft.com/office/drawing/2014/main" id="{07AF075D-295C-42E5-8D6B-3778F9C0D99E}"/>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681" name="Freeform 26">
                  <a:extLst>
                    <a:ext uri="{FF2B5EF4-FFF2-40B4-BE49-F238E27FC236}">
                      <a16:creationId xmlns:a16="http://schemas.microsoft.com/office/drawing/2014/main" id="{EB94A3F9-A016-4009-9400-5E21AC49F1DD}"/>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2" name="Freeform 27">
                  <a:extLst>
                    <a:ext uri="{FF2B5EF4-FFF2-40B4-BE49-F238E27FC236}">
                      <a16:creationId xmlns:a16="http://schemas.microsoft.com/office/drawing/2014/main" id="{567D66F3-5280-4544-9EF9-2F3B29B9A0A1}"/>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3" name="Freeform 28">
                  <a:extLst>
                    <a:ext uri="{FF2B5EF4-FFF2-40B4-BE49-F238E27FC236}">
                      <a16:creationId xmlns:a16="http://schemas.microsoft.com/office/drawing/2014/main" id="{6CC86BA3-8DD2-4073-AF03-B18CCBB25044}"/>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84" name="Freeform 29">
                  <a:extLst>
                    <a:ext uri="{FF2B5EF4-FFF2-40B4-BE49-F238E27FC236}">
                      <a16:creationId xmlns:a16="http://schemas.microsoft.com/office/drawing/2014/main" id="{D20A6967-36D0-40F9-9857-21435B75E529}"/>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85" name="Freeform 30">
                  <a:extLst>
                    <a:ext uri="{FF2B5EF4-FFF2-40B4-BE49-F238E27FC236}">
                      <a16:creationId xmlns:a16="http://schemas.microsoft.com/office/drawing/2014/main" id="{F0F6CFD9-AFE3-4C13-9F5D-41DA47DAB9B3}"/>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86" name="Freeform 31">
                  <a:extLst>
                    <a:ext uri="{FF2B5EF4-FFF2-40B4-BE49-F238E27FC236}">
                      <a16:creationId xmlns:a16="http://schemas.microsoft.com/office/drawing/2014/main" id="{BDD22490-19D1-4B88-9261-3BDD99CD3E88}"/>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87" name="Freeform 22">
                  <a:extLst>
                    <a:ext uri="{FF2B5EF4-FFF2-40B4-BE49-F238E27FC236}">
                      <a16:creationId xmlns:a16="http://schemas.microsoft.com/office/drawing/2014/main" id="{DEBC1298-7E0B-4FA4-87F3-6961A01C5F06}"/>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51" name="Group 650">
                <a:extLst>
                  <a:ext uri="{FF2B5EF4-FFF2-40B4-BE49-F238E27FC236}">
                    <a16:creationId xmlns:a16="http://schemas.microsoft.com/office/drawing/2014/main" id="{348281F4-3808-432F-B172-470F5E677609}"/>
                  </a:ext>
                </a:extLst>
              </p:cNvPr>
              <p:cNvGrpSpPr/>
              <p:nvPr/>
            </p:nvGrpSpPr>
            <p:grpSpPr>
              <a:xfrm>
                <a:off x="6037944" y="4939646"/>
                <a:ext cx="1762503" cy="801278"/>
                <a:chOff x="6066224" y="4894724"/>
                <a:chExt cx="2213813" cy="1006455"/>
              </a:xfrm>
              <a:grpFill/>
            </p:grpSpPr>
            <p:grpSp>
              <p:nvGrpSpPr>
                <p:cNvPr id="652" name="Group 651">
                  <a:extLst>
                    <a:ext uri="{FF2B5EF4-FFF2-40B4-BE49-F238E27FC236}">
                      <a16:creationId xmlns:a16="http://schemas.microsoft.com/office/drawing/2014/main" id="{E4487F31-23B0-4C24-86C7-5CC5F0D4E1E8}"/>
                    </a:ext>
                  </a:extLst>
                </p:cNvPr>
                <p:cNvGrpSpPr/>
                <p:nvPr/>
              </p:nvGrpSpPr>
              <p:grpSpPr>
                <a:xfrm>
                  <a:off x="6066224" y="4894724"/>
                  <a:ext cx="1082597" cy="1006455"/>
                  <a:chOff x="3869780" y="1229273"/>
                  <a:chExt cx="4710340" cy="4379047"/>
                </a:xfrm>
                <a:grpFill/>
              </p:grpSpPr>
              <p:sp>
                <p:nvSpPr>
                  <p:cNvPr id="658" name="Freeform: Shape 657">
                    <a:extLst>
                      <a:ext uri="{FF2B5EF4-FFF2-40B4-BE49-F238E27FC236}">
                        <a16:creationId xmlns:a16="http://schemas.microsoft.com/office/drawing/2014/main" id="{5A667045-92E8-4AD6-BAD1-05D4EEE6CDE0}"/>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9" name="Rectangle 658">
                    <a:extLst>
                      <a:ext uri="{FF2B5EF4-FFF2-40B4-BE49-F238E27FC236}">
                        <a16:creationId xmlns:a16="http://schemas.microsoft.com/office/drawing/2014/main" id="{C9EB0291-5EC3-49B9-A938-8C8BC1E2BC04}"/>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0" name="Freeform: Shape 659">
                    <a:extLst>
                      <a:ext uri="{FF2B5EF4-FFF2-40B4-BE49-F238E27FC236}">
                        <a16:creationId xmlns:a16="http://schemas.microsoft.com/office/drawing/2014/main" id="{973E9510-3BDC-40BD-8F17-30831562F8DC}"/>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1" name="Freeform: Shape 660">
                    <a:extLst>
                      <a:ext uri="{FF2B5EF4-FFF2-40B4-BE49-F238E27FC236}">
                        <a16:creationId xmlns:a16="http://schemas.microsoft.com/office/drawing/2014/main" id="{06E1B8A6-268F-47AD-A557-E7139BD96F53}"/>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53" name="Group 652">
                  <a:extLst>
                    <a:ext uri="{FF2B5EF4-FFF2-40B4-BE49-F238E27FC236}">
                      <a16:creationId xmlns:a16="http://schemas.microsoft.com/office/drawing/2014/main" id="{299DEA57-6A72-4979-9A70-CB14B85BAB6B}"/>
                    </a:ext>
                  </a:extLst>
                </p:cNvPr>
                <p:cNvGrpSpPr/>
                <p:nvPr/>
              </p:nvGrpSpPr>
              <p:grpSpPr>
                <a:xfrm flipH="1">
                  <a:off x="7197440" y="4894724"/>
                  <a:ext cx="1082597" cy="1006455"/>
                  <a:chOff x="3869780" y="1229273"/>
                  <a:chExt cx="4710340" cy="4379047"/>
                </a:xfrm>
                <a:grpFill/>
              </p:grpSpPr>
              <p:sp>
                <p:nvSpPr>
                  <p:cNvPr id="654" name="Freeform: Shape 653">
                    <a:extLst>
                      <a:ext uri="{FF2B5EF4-FFF2-40B4-BE49-F238E27FC236}">
                        <a16:creationId xmlns:a16="http://schemas.microsoft.com/office/drawing/2014/main" id="{1C42A355-0986-4C45-A041-44689B4C7BF2}"/>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5" name="Rectangle 654">
                    <a:extLst>
                      <a:ext uri="{FF2B5EF4-FFF2-40B4-BE49-F238E27FC236}">
                        <a16:creationId xmlns:a16="http://schemas.microsoft.com/office/drawing/2014/main" id="{E16BEBCE-E229-4BEE-909E-55183FE239BB}"/>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6" name="Freeform: Shape 655">
                    <a:extLst>
                      <a:ext uri="{FF2B5EF4-FFF2-40B4-BE49-F238E27FC236}">
                        <a16:creationId xmlns:a16="http://schemas.microsoft.com/office/drawing/2014/main" id="{C7EAB459-FA1B-41A4-8C0A-CFCB20F74B06}"/>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7" name="Freeform: Shape 656">
                    <a:extLst>
                      <a:ext uri="{FF2B5EF4-FFF2-40B4-BE49-F238E27FC236}">
                        <a16:creationId xmlns:a16="http://schemas.microsoft.com/office/drawing/2014/main" id="{72833DCF-083C-412A-AB42-1FDC477E1949}"/>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630" name="Group 629">
              <a:extLst>
                <a:ext uri="{FF2B5EF4-FFF2-40B4-BE49-F238E27FC236}">
                  <a16:creationId xmlns:a16="http://schemas.microsoft.com/office/drawing/2014/main" id="{8D4E63C3-305F-47A8-9800-CC41F7B05CEF}"/>
                </a:ext>
              </a:extLst>
            </p:cNvPr>
            <p:cNvGrpSpPr/>
            <p:nvPr/>
          </p:nvGrpSpPr>
          <p:grpSpPr>
            <a:xfrm>
              <a:off x="6546812" y="3467555"/>
              <a:ext cx="1806614" cy="1013352"/>
              <a:chOff x="6391393" y="1624932"/>
              <a:chExt cx="1350970" cy="757777"/>
            </a:xfrm>
            <a:grpFill/>
          </p:grpSpPr>
          <p:sp>
            <p:nvSpPr>
              <p:cNvPr id="648" name="Freeform 119">
                <a:extLst>
                  <a:ext uri="{FF2B5EF4-FFF2-40B4-BE49-F238E27FC236}">
                    <a16:creationId xmlns:a16="http://schemas.microsoft.com/office/drawing/2014/main" id="{09806246-631E-4577-96B7-7D43F48747D7}"/>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649" name="Freeform 120">
                <a:extLst>
                  <a:ext uri="{FF2B5EF4-FFF2-40B4-BE49-F238E27FC236}">
                    <a16:creationId xmlns:a16="http://schemas.microsoft.com/office/drawing/2014/main" id="{34DC90C3-5A12-4C20-84AF-3B43A35CD897}"/>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631" name="Group 630">
              <a:extLst>
                <a:ext uri="{FF2B5EF4-FFF2-40B4-BE49-F238E27FC236}">
                  <a16:creationId xmlns:a16="http://schemas.microsoft.com/office/drawing/2014/main" id="{B6751FE0-4417-4F1B-83FD-999CF5F39269}"/>
                </a:ext>
              </a:extLst>
            </p:cNvPr>
            <p:cNvGrpSpPr/>
            <p:nvPr/>
          </p:nvGrpSpPr>
          <p:grpSpPr>
            <a:xfrm>
              <a:off x="5965396" y="4132683"/>
              <a:ext cx="389280" cy="389280"/>
              <a:chOff x="5999956" y="4167243"/>
              <a:chExt cx="320160" cy="320160"/>
            </a:xfrm>
            <a:grpFill/>
          </p:grpSpPr>
          <p:sp>
            <p:nvSpPr>
              <p:cNvPr id="646" name="Oval 645">
                <a:extLst>
                  <a:ext uri="{FF2B5EF4-FFF2-40B4-BE49-F238E27FC236}">
                    <a16:creationId xmlns:a16="http://schemas.microsoft.com/office/drawing/2014/main" id="{28AB2D05-98F0-4C86-8A94-099854EF25BC}"/>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47" name="Freeform 339">
                <a:extLst>
                  <a:ext uri="{FF2B5EF4-FFF2-40B4-BE49-F238E27FC236}">
                    <a16:creationId xmlns:a16="http://schemas.microsoft.com/office/drawing/2014/main" id="{008A6EF9-5D55-4C02-BE67-961FA160C968}"/>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632" name="Group 631">
              <a:extLst>
                <a:ext uri="{FF2B5EF4-FFF2-40B4-BE49-F238E27FC236}">
                  <a16:creationId xmlns:a16="http://schemas.microsoft.com/office/drawing/2014/main" id="{F3D0038D-5BFC-4D46-B2F0-DC08C5CFED43}"/>
                </a:ext>
              </a:extLst>
            </p:cNvPr>
            <p:cNvGrpSpPr/>
            <p:nvPr/>
          </p:nvGrpSpPr>
          <p:grpSpPr>
            <a:xfrm>
              <a:off x="8249851" y="3414960"/>
              <a:ext cx="389280" cy="389280"/>
              <a:chOff x="8616644" y="4279108"/>
              <a:chExt cx="320160" cy="320160"/>
            </a:xfrm>
            <a:grpFill/>
          </p:grpSpPr>
          <p:sp>
            <p:nvSpPr>
              <p:cNvPr id="643" name="Oval 642">
                <a:extLst>
                  <a:ext uri="{FF2B5EF4-FFF2-40B4-BE49-F238E27FC236}">
                    <a16:creationId xmlns:a16="http://schemas.microsoft.com/office/drawing/2014/main" id="{E598EA52-0463-4373-94B1-5AE123D5EAF9}"/>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44" name="Freeform 324">
                <a:extLst>
                  <a:ext uri="{FF2B5EF4-FFF2-40B4-BE49-F238E27FC236}">
                    <a16:creationId xmlns:a16="http://schemas.microsoft.com/office/drawing/2014/main" id="{52371F45-4F50-4984-82F1-D5EA5A7A08F6}"/>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645" name="Freeform 324">
                <a:extLst>
                  <a:ext uri="{FF2B5EF4-FFF2-40B4-BE49-F238E27FC236}">
                    <a16:creationId xmlns:a16="http://schemas.microsoft.com/office/drawing/2014/main" id="{3B67E626-819D-4A6E-A120-AC8EF3F33778}"/>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633" name="Group 632">
              <a:extLst>
                <a:ext uri="{FF2B5EF4-FFF2-40B4-BE49-F238E27FC236}">
                  <a16:creationId xmlns:a16="http://schemas.microsoft.com/office/drawing/2014/main" id="{FB6F477A-64B4-4612-BC9F-40C11F5C3EDF}"/>
                </a:ext>
              </a:extLst>
            </p:cNvPr>
            <p:cNvGrpSpPr/>
            <p:nvPr/>
          </p:nvGrpSpPr>
          <p:grpSpPr>
            <a:xfrm>
              <a:off x="6310201" y="3304407"/>
              <a:ext cx="389280" cy="389280"/>
              <a:chOff x="6344761" y="3338967"/>
              <a:chExt cx="320160" cy="320160"/>
            </a:xfrm>
            <a:grpFill/>
          </p:grpSpPr>
          <p:sp>
            <p:nvSpPr>
              <p:cNvPr id="640" name="Oval 639">
                <a:extLst>
                  <a:ext uri="{FF2B5EF4-FFF2-40B4-BE49-F238E27FC236}">
                    <a16:creationId xmlns:a16="http://schemas.microsoft.com/office/drawing/2014/main" id="{8023071A-1653-40D9-98E6-6AEAC21843CE}"/>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41" name="Freeform 440">
                <a:extLst>
                  <a:ext uri="{FF2B5EF4-FFF2-40B4-BE49-F238E27FC236}">
                    <a16:creationId xmlns:a16="http://schemas.microsoft.com/office/drawing/2014/main" id="{93C047D2-2370-4492-88B6-D84CCFBC089D}"/>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642" name="Freeform 441">
                <a:extLst>
                  <a:ext uri="{FF2B5EF4-FFF2-40B4-BE49-F238E27FC236}">
                    <a16:creationId xmlns:a16="http://schemas.microsoft.com/office/drawing/2014/main" id="{E035DAFF-0295-4D89-A39A-23A42563B905}"/>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634" name="Group 633">
              <a:extLst>
                <a:ext uri="{FF2B5EF4-FFF2-40B4-BE49-F238E27FC236}">
                  <a16:creationId xmlns:a16="http://schemas.microsoft.com/office/drawing/2014/main" id="{93DB070E-23B8-46A0-A910-4B4E92EF1612}"/>
                </a:ext>
              </a:extLst>
            </p:cNvPr>
            <p:cNvGrpSpPr/>
            <p:nvPr/>
          </p:nvGrpSpPr>
          <p:grpSpPr>
            <a:xfrm>
              <a:off x="7307066" y="2936940"/>
              <a:ext cx="389134" cy="389134"/>
              <a:chOff x="9322484" y="3467555"/>
              <a:chExt cx="557223" cy="557223"/>
            </a:xfrm>
            <a:grpFill/>
          </p:grpSpPr>
          <p:sp>
            <p:nvSpPr>
              <p:cNvPr id="638" name="Oval 637">
                <a:extLst>
                  <a:ext uri="{FF2B5EF4-FFF2-40B4-BE49-F238E27FC236}">
                    <a16:creationId xmlns:a16="http://schemas.microsoft.com/office/drawing/2014/main" id="{9132E602-9993-432D-8845-00F45B64C9E0}"/>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Rectangle 74">
                <a:extLst>
                  <a:ext uri="{FF2B5EF4-FFF2-40B4-BE49-F238E27FC236}">
                    <a16:creationId xmlns:a16="http://schemas.microsoft.com/office/drawing/2014/main" id="{FAA5E1F6-8474-4B34-B6E2-99A167C5F6E5}"/>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635" name="Group 634">
              <a:extLst>
                <a:ext uri="{FF2B5EF4-FFF2-40B4-BE49-F238E27FC236}">
                  <a16:creationId xmlns:a16="http://schemas.microsoft.com/office/drawing/2014/main" id="{46C7E9B3-670A-424C-819E-02EBB267DF04}"/>
                </a:ext>
              </a:extLst>
            </p:cNvPr>
            <p:cNvGrpSpPr/>
            <p:nvPr/>
          </p:nvGrpSpPr>
          <p:grpSpPr>
            <a:xfrm>
              <a:off x="8578186" y="4208712"/>
              <a:ext cx="389134" cy="389134"/>
              <a:chOff x="8225290" y="3217894"/>
              <a:chExt cx="621190" cy="621190"/>
            </a:xfrm>
            <a:grpFill/>
          </p:grpSpPr>
          <p:sp>
            <p:nvSpPr>
              <p:cNvPr id="636" name="Oval 635">
                <a:extLst>
                  <a:ext uri="{FF2B5EF4-FFF2-40B4-BE49-F238E27FC236}">
                    <a16:creationId xmlns:a16="http://schemas.microsoft.com/office/drawing/2014/main" id="{1E373079-0FE1-4759-96DD-76A9C5FC00F5}"/>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7" name="Rounded Rectangle 4">
                <a:extLst>
                  <a:ext uri="{FF2B5EF4-FFF2-40B4-BE49-F238E27FC236}">
                    <a16:creationId xmlns:a16="http://schemas.microsoft.com/office/drawing/2014/main" id="{1AC6CB0A-CCB4-4B8F-B373-0CF6E708CEF4}"/>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a:ea typeface="+mn-ea"/>
                  <a:cs typeface="+mn-cs"/>
                </a:endParaRPr>
              </a:p>
            </p:txBody>
          </p:sp>
        </p:grpSp>
      </p:grpSp>
      <p:sp>
        <p:nvSpPr>
          <p:cNvPr id="303" name="Rectangle 302">
            <a:extLst>
              <a:ext uri="{FF2B5EF4-FFF2-40B4-BE49-F238E27FC236}">
                <a16:creationId xmlns:a16="http://schemas.microsoft.com/office/drawing/2014/main" id="{2538B3C9-9F29-47F7-B1A5-6C4C8FEE402E}"/>
              </a:ext>
            </a:extLst>
          </p:cNvPr>
          <p:cNvSpPr/>
          <p:nvPr/>
        </p:nvSpPr>
        <p:spPr bwMode="auto">
          <a:xfrm>
            <a:off x="975207" y="4308524"/>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uperior Economics</a:t>
            </a:r>
          </a:p>
        </p:txBody>
      </p:sp>
      <p:sp>
        <p:nvSpPr>
          <p:cNvPr id="308" name="TextBox 307">
            <a:extLst>
              <a:ext uri="{FF2B5EF4-FFF2-40B4-BE49-F238E27FC236}">
                <a16:creationId xmlns:a16="http://schemas.microsoft.com/office/drawing/2014/main" id="{D8D8D604-6427-4252-9DB4-237852E935B0}"/>
              </a:ext>
            </a:extLst>
          </p:cNvPr>
          <p:cNvSpPr txBox="1"/>
          <p:nvPr/>
        </p:nvSpPr>
        <p:spPr>
          <a:xfrm>
            <a:off x="3178753" y="4621351"/>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Cost effective, Flexible, &amp; Opex</a:t>
            </a:r>
          </a:p>
        </p:txBody>
      </p:sp>
      <p:grpSp>
        <p:nvGrpSpPr>
          <p:cNvPr id="844" name="Group 843">
            <a:extLst>
              <a:ext uri="{FF2B5EF4-FFF2-40B4-BE49-F238E27FC236}">
                <a16:creationId xmlns:a16="http://schemas.microsoft.com/office/drawing/2014/main" id="{79CD9F39-4965-42BD-B644-5A716B4C92AE}"/>
              </a:ext>
            </a:extLst>
          </p:cNvPr>
          <p:cNvGrpSpPr>
            <a:grpSpLocks noChangeAspect="1"/>
          </p:cNvGrpSpPr>
          <p:nvPr/>
        </p:nvGrpSpPr>
        <p:grpSpPr>
          <a:xfrm>
            <a:off x="1144771" y="4659944"/>
            <a:ext cx="626689" cy="492542"/>
            <a:chOff x="2008187" y="2241223"/>
            <a:chExt cx="1068391" cy="909679"/>
          </a:xfrm>
          <a:solidFill>
            <a:schemeClr val="bg1">
              <a:lumMod val="75000"/>
            </a:schemeClr>
          </a:solidFill>
        </p:grpSpPr>
        <p:grpSp>
          <p:nvGrpSpPr>
            <p:cNvPr id="845" name="Group 844">
              <a:extLst>
                <a:ext uri="{FF2B5EF4-FFF2-40B4-BE49-F238E27FC236}">
                  <a16:creationId xmlns:a16="http://schemas.microsoft.com/office/drawing/2014/main" id="{9339E9B0-56D0-4E40-A62C-8431D0DD3203}"/>
                </a:ext>
              </a:extLst>
            </p:cNvPr>
            <p:cNvGrpSpPr/>
            <p:nvPr/>
          </p:nvGrpSpPr>
          <p:grpSpPr>
            <a:xfrm>
              <a:off x="2064334" y="2241223"/>
              <a:ext cx="1012244" cy="811309"/>
              <a:chOff x="-1341882" y="2279901"/>
              <a:chExt cx="1941919" cy="1556440"/>
            </a:xfrm>
            <a:grpFill/>
          </p:grpSpPr>
          <p:sp>
            <p:nvSpPr>
              <p:cNvPr id="847" name="Rectangle 70">
                <a:extLst>
                  <a:ext uri="{FF2B5EF4-FFF2-40B4-BE49-F238E27FC236}">
                    <a16:creationId xmlns:a16="http://schemas.microsoft.com/office/drawing/2014/main" id="{B69EB0D4-7AE3-4D56-B129-BCB55F918FAF}"/>
                  </a:ext>
                </a:extLst>
              </p:cNvPr>
              <p:cNvSpPr>
                <a:spLocks noChangeArrowheads="1"/>
              </p:cNvSpPr>
              <p:nvPr/>
            </p:nvSpPr>
            <p:spPr bwMode="auto">
              <a:xfrm>
                <a:off x="-135529" y="2948792"/>
                <a:ext cx="175980" cy="88754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48" name="Rectangle 71">
                <a:extLst>
                  <a:ext uri="{FF2B5EF4-FFF2-40B4-BE49-F238E27FC236}">
                    <a16:creationId xmlns:a16="http://schemas.microsoft.com/office/drawing/2014/main" id="{1679995F-BA87-4EBD-85DD-4AE48970C103}"/>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9" name="Freeform 72">
                <a:extLst>
                  <a:ext uri="{FF2B5EF4-FFF2-40B4-BE49-F238E27FC236}">
                    <a16:creationId xmlns:a16="http://schemas.microsoft.com/office/drawing/2014/main" id="{1821D3AB-2B53-4216-BA81-8D9A19014593}"/>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50" name="Freeform 73">
                <a:extLst>
                  <a:ext uri="{FF2B5EF4-FFF2-40B4-BE49-F238E27FC236}">
                    <a16:creationId xmlns:a16="http://schemas.microsoft.com/office/drawing/2014/main" id="{7CE24EFA-CA8F-46C0-8C2C-DE16E3F03D77}"/>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51" name="Freeform 74">
                <a:extLst>
                  <a:ext uri="{FF2B5EF4-FFF2-40B4-BE49-F238E27FC236}">
                    <a16:creationId xmlns:a16="http://schemas.microsoft.com/office/drawing/2014/main" id="{162FA30A-2D7B-4025-874D-72DECB03DCA9}"/>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52" name="Freeform 75">
                <a:extLst>
                  <a:ext uri="{FF2B5EF4-FFF2-40B4-BE49-F238E27FC236}">
                    <a16:creationId xmlns:a16="http://schemas.microsoft.com/office/drawing/2014/main" id="{29AC9BD6-09A1-417B-8B3A-4785CC96B0C1}"/>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53" name="Freeform 76">
                <a:extLst>
                  <a:ext uri="{FF2B5EF4-FFF2-40B4-BE49-F238E27FC236}">
                    <a16:creationId xmlns:a16="http://schemas.microsoft.com/office/drawing/2014/main" id="{589E3BD6-B8E9-4843-9409-CBF3088C020D}"/>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54" name="Freeform 77">
                <a:extLst>
                  <a:ext uri="{FF2B5EF4-FFF2-40B4-BE49-F238E27FC236}">
                    <a16:creationId xmlns:a16="http://schemas.microsoft.com/office/drawing/2014/main" id="{5AE76B04-3470-407D-9F70-EFE9F807B5B3}"/>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55" name="Rectangle 78">
                <a:extLst>
                  <a:ext uri="{FF2B5EF4-FFF2-40B4-BE49-F238E27FC236}">
                    <a16:creationId xmlns:a16="http://schemas.microsoft.com/office/drawing/2014/main" id="{062B1708-AD8B-4216-8F31-41CB087EBC29}"/>
                  </a:ext>
                </a:extLst>
              </p:cNvPr>
              <p:cNvSpPr>
                <a:spLocks noChangeArrowheads="1"/>
              </p:cNvSpPr>
              <p:nvPr/>
            </p:nvSpPr>
            <p:spPr bwMode="auto">
              <a:xfrm>
                <a:off x="-427553" y="3137524"/>
                <a:ext cx="175980" cy="69881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56" name="Rectangle 79">
                <a:extLst>
                  <a:ext uri="{FF2B5EF4-FFF2-40B4-BE49-F238E27FC236}">
                    <a16:creationId xmlns:a16="http://schemas.microsoft.com/office/drawing/2014/main" id="{54D8BD70-F0AC-4CAD-BBCA-7AE441CDB845}"/>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58" name="Freeform 80">
                <a:extLst>
                  <a:ext uri="{FF2B5EF4-FFF2-40B4-BE49-F238E27FC236}">
                    <a16:creationId xmlns:a16="http://schemas.microsoft.com/office/drawing/2014/main" id="{C98E0CAB-81BF-4F84-986F-C9A1C07FEC4E}"/>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67" name="Freeform 81">
                <a:extLst>
                  <a:ext uri="{FF2B5EF4-FFF2-40B4-BE49-F238E27FC236}">
                    <a16:creationId xmlns:a16="http://schemas.microsoft.com/office/drawing/2014/main" id="{0B1D49D0-58D3-4FAC-8575-B824DDDB2BA5}"/>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68" name="Freeform 82">
                <a:extLst>
                  <a:ext uri="{FF2B5EF4-FFF2-40B4-BE49-F238E27FC236}">
                    <a16:creationId xmlns:a16="http://schemas.microsoft.com/office/drawing/2014/main" id="{BEDF3A9C-2402-4FAB-BE05-11BD0B1E7056}"/>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69" name="Freeform 83">
                <a:extLst>
                  <a:ext uri="{FF2B5EF4-FFF2-40B4-BE49-F238E27FC236}">
                    <a16:creationId xmlns:a16="http://schemas.microsoft.com/office/drawing/2014/main" id="{64DE64A8-B455-4109-A850-65B62422E9B5}"/>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70" name="Freeform 84">
                <a:extLst>
                  <a:ext uri="{FF2B5EF4-FFF2-40B4-BE49-F238E27FC236}">
                    <a16:creationId xmlns:a16="http://schemas.microsoft.com/office/drawing/2014/main" id="{DD88FCC8-7AAC-4AF7-917A-46ED4351AEAE}"/>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71" name="Freeform 85">
                <a:extLst>
                  <a:ext uri="{FF2B5EF4-FFF2-40B4-BE49-F238E27FC236}">
                    <a16:creationId xmlns:a16="http://schemas.microsoft.com/office/drawing/2014/main" id="{75A3F1B8-B256-42CD-93EF-F20391A81B29}"/>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72" name="Freeform 86">
                <a:extLst>
                  <a:ext uri="{FF2B5EF4-FFF2-40B4-BE49-F238E27FC236}">
                    <a16:creationId xmlns:a16="http://schemas.microsoft.com/office/drawing/2014/main" id="{6CFFADBF-8616-4E3D-A54B-1A14883486C4}"/>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73" name="Freeform 87">
                <a:extLst>
                  <a:ext uri="{FF2B5EF4-FFF2-40B4-BE49-F238E27FC236}">
                    <a16:creationId xmlns:a16="http://schemas.microsoft.com/office/drawing/2014/main" id="{AF8E47C5-B84D-40D4-857C-F3D062788176}"/>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74" name="Rectangle 88">
                <a:extLst>
                  <a:ext uri="{FF2B5EF4-FFF2-40B4-BE49-F238E27FC236}">
                    <a16:creationId xmlns:a16="http://schemas.microsoft.com/office/drawing/2014/main" id="{3D066D01-5D30-4E31-95CC-8574C14DE3BC}"/>
                  </a:ext>
                </a:extLst>
              </p:cNvPr>
              <p:cNvSpPr>
                <a:spLocks noChangeArrowheads="1"/>
              </p:cNvSpPr>
              <p:nvPr/>
            </p:nvSpPr>
            <p:spPr bwMode="auto">
              <a:xfrm>
                <a:off x="-718302" y="3323704"/>
                <a:ext cx="174705" cy="51263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75" name="Rectangle 89">
                <a:extLst>
                  <a:ext uri="{FF2B5EF4-FFF2-40B4-BE49-F238E27FC236}">
                    <a16:creationId xmlns:a16="http://schemas.microsoft.com/office/drawing/2014/main" id="{EF342082-B533-48A7-96F4-76254E80E118}"/>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76" name="Freeform 90">
                <a:extLst>
                  <a:ext uri="{FF2B5EF4-FFF2-40B4-BE49-F238E27FC236}">
                    <a16:creationId xmlns:a16="http://schemas.microsoft.com/office/drawing/2014/main" id="{32AE8869-DC65-4CD8-997F-4A6684D2430F}"/>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77" name="Freeform 91">
                <a:extLst>
                  <a:ext uri="{FF2B5EF4-FFF2-40B4-BE49-F238E27FC236}">
                    <a16:creationId xmlns:a16="http://schemas.microsoft.com/office/drawing/2014/main" id="{EA720C4C-2254-415C-83D7-D0EE6C209229}"/>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78" name="Freeform 92">
                <a:extLst>
                  <a:ext uri="{FF2B5EF4-FFF2-40B4-BE49-F238E27FC236}">
                    <a16:creationId xmlns:a16="http://schemas.microsoft.com/office/drawing/2014/main" id="{AAE20227-7F29-4B78-AFDA-769C8B0673F0}"/>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79" name="Freeform 93">
                <a:extLst>
                  <a:ext uri="{FF2B5EF4-FFF2-40B4-BE49-F238E27FC236}">
                    <a16:creationId xmlns:a16="http://schemas.microsoft.com/office/drawing/2014/main" id="{206D3DD2-B68D-4A90-9AFC-A85FF947174D}"/>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80" name="Freeform 94">
                <a:extLst>
                  <a:ext uri="{FF2B5EF4-FFF2-40B4-BE49-F238E27FC236}">
                    <a16:creationId xmlns:a16="http://schemas.microsoft.com/office/drawing/2014/main" id="{EA816367-3D50-4F03-9D01-603CE3519A03}"/>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81" name="Freeform 95">
                <a:extLst>
                  <a:ext uri="{FF2B5EF4-FFF2-40B4-BE49-F238E27FC236}">
                    <a16:creationId xmlns:a16="http://schemas.microsoft.com/office/drawing/2014/main" id="{821E0864-3E59-47D6-A0E5-27A3672A3340}"/>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82" name="Freeform 96">
                <a:extLst>
                  <a:ext uri="{FF2B5EF4-FFF2-40B4-BE49-F238E27FC236}">
                    <a16:creationId xmlns:a16="http://schemas.microsoft.com/office/drawing/2014/main" id="{13C336FF-713F-4FE4-BC5C-B0677CF7CFC6}"/>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83" name="Freeform 97">
                <a:extLst>
                  <a:ext uri="{FF2B5EF4-FFF2-40B4-BE49-F238E27FC236}">
                    <a16:creationId xmlns:a16="http://schemas.microsoft.com/office/drawing/2014/main" id="{090B3172-782D-49EF-B523-140E70EE2044}"/>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84" name="Rectangle 98">
                <a:extLst>
                  <a:ext uri="{FF2B5EF4-FFF2-40B4-BE49-F238E27FC236}">
                    <a16:creationId xmlns:a16="http://schemas.microsoft.com/office/drawing/2014/main" id="{B67075E1-B4BB-499D-A1CB-4E9BF56BAF35}"/>
                  </a:ext>
                </a:extLst>
              </p:cNvPr>
              <p:cNvSpPr>
                <a:spLocks noChangeArrowheads="1"/>
              </p:cNvSpPr>
              <p:nvPr/>
            </p:nvSpPr>
            <p:spPr bwMode="auto">
              <a:xfrm>
                <a:off x="-1009051" y="3511161"/>
                <a:ext cx="174705" cy="32518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85" name="Rectangle 99">
                <a:extLst>
                  <a:ext uri="{FF2B5EF4-FFF2-40B4-BE49-F238E27FC236}">
                    <a16:creationId xmlns:a16="http://schemas.microsoft.com/office/drawing/2014/main" id="{D5E94E14-2B6C-440F-B771-B87EB99D6B71}"/>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86" name="Freeform 100">
                <a:extLst>
                  <a:ext uri="{FF2B5EF4-FFF2-40B4-BE49-F238E27FC236}">
                    <a16:creationId xmlns:a16="http://schemas.microsoft.com/office/drawing/2014/main" id="{393EB143-5C77-46DD-819E-CA79338DD09A}"/>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87" name="Freeform 101">
                <a:extLst>
                  <a:ext uri="{FF2B5EF4-FFF2-40B4-BE49-F238E27FC236}">
                    <a16:creationId xmlns:a16="http://schemas.microsoft.com/office/drawing/2014/main" id="{54E9E5A9-6FDA-4C36-B74B-C305E8935D06}"/>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88" name="Freeform 102">
                <a:extLst>
                  <a:ext uri="{FF2B5EF4-FFF2-40B4-BE49-F238E27FC236}">
                    <a16:creationId xmlns:a16="http://schemas.microsoft.com/office/drawing/2014/main" id="{8FC81626-6E36-400B-8F15-48FF98169ADC}"/>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89" name="Freeform 103">
                <a:extLst>
                  <a:ext uri="{FF2B5EF4-FFF2-40B4-BE49-F238E27FC236}">
                    <a16:creationId xmlns:a16="http://schemas.microsoft.com/office/drawing/2014/main" id="{5D5ECE39-16B6-4E21-B8AC-75B0C341AAF9}"/>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0" name="Freeform 104">
                <a:extLst>
                  <a:ext uri="{FF2B5EF4-FFF2-40B4-BE49-F238E27FC236}">
                    <a16:creationId xmlns:a16="http://schemas.microsoft.com/office/drawing/2014/main" id="{71BF8169-356A-49B4-957C-33DFC305CDBA}"/>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1" name="Freeform 105">
                <a:extLst>
                  <a:ext uri="{FF2B5EF4-FFF2-40B4-BE49-F238E27FC236}">
                    <a16:creationId xmlns:a16="http://schemas.microsoft.com/office/drawing/2014/main" id="{6E764130-23DD-48D8-B301-2E8C4604E339}"/>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2" name="Freeform 106">
                <a:extLst>
                  <a:ext uri="{FF2B5EF4-FFF2-40B4-BE49-F238E27FC236}">
                    <a16:creationId xmlns:a16="http://schemas.microsoft.com/office/drawing/2014/main" id="{F3E68310-A1A3-4ED4-A8B6-3828FC9D7EA9}"/>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3" name="Freeform 107">
                <a:extLst>
                  <a:ext uri="{FF2B5EF4-FFF2-40B4-BE49-F238E27FC236}">
                    <a16:creationId xmlns:a16="http://schemas.microsoft.com/office/drawing/2014/main" id="{50F916FA-D3FD-4827-A895-8FAFCA509BC0}"/>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4" name="Rectangle 108">
                <a:extLst>
                  <a:ext uri="{FF2B5EF4-FFF2-40B4-BE49-F238E27FC236}">
                    <a16:creationId xmlns:a16="http://schemas.microsoft.com/office/drawing/2014/main" id="{F4ED13BA-629B-4417-9969-16C8BDAB4484}"/>
                  </a:ext>
                </a:extLst>
              </p:cNvPr>
              <p:cNvSpPr>
                <a:spLocks noChangeArrowheads="1"/>
              </p:cNvSpPr>
              <p:nvPr/>
            </p:nvSpPr>
            <p:spPr bwMode="auto">
              <a:xfrm>
                <a:off x="-1301075" y="3638682"/>
                <a:ext cx="175980" cy="19765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5" name="Rectangle 109">
                <a:extLst>
                  <a:ext uri="{FF2B5EF4-FFF2-40B4-BE49-F238E27FC236}">
                    <a16:creationId xmlns:a16="http://schemas.microsoft.com/office/drawing/2014/main" id="{9C79866F-5569-4AC8-AA0C-14AE66E276D7}"/>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6" name="Freeform 110">
                <a:extLst>
                  <a:ext uri="{FF2B5EF4-FFF2-40B4-BE49-F238E27FC236}">
                    <a16:creationId xmlns:a16="http://schemas.microsoft.com/office/drawing/2014/main" id="{A60D1F42-B4C6-4252-A54A-C4A6E5769A8A}"/>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7" name="Freeform 111">
                <a:extLst>
                  <a:ext uri="{FF2B5EF4-FFF2-40B4-BE49-F238E27FC236}">
                    <a16:creationId xmlns:a16="http://schemas.microsoft.com/office/drawing/2014/main" id="{149A10EE-A437-4851-8EF8-3E02B9B26390}"/>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8" name="Freeform 112">
                <a:extLst>
                  <a:ext uri="{FF2B5EF4-FFF2-40B4-BE49-F238E27FC236}">
                    <a16:creationId xmlns:a16="http://schemas.microsoft.com/office/drawing/2014/main" id="{6A5E7756-DE1E-4613-9AFB-E5420CE4AC23}"/>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9" name="Freeform 113">
                <a:extLst>
                  <a:ext uri="{FF2B5EF4-FFF2-40B4-BE49-F238E27FC236}">
                    <a16:creationId xmlns:a16="http://schemas.microsoft.com/office/drawing/2014/main" id="{56500FC6-7A15-42CE-AEDD-4CC48CB885D0}"/>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00" name="Freeform 114">
                <a:extLst>
                  <a:ext uri="{FF2B5EF4-FFF2-40B4-BE49-F238E27FC236}">
                    <a16:creationId xmlns:a16="http://schemas.microsoft.com/office/drawing/2014/main" id="{BB9F2C80-7CA6-436F-86C6-3A94F431A13F}"/>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1" name="Freeform 115">
                <a:extLst>
                  <a:ext uri="{FF2B5EF4-FFF2-40B4-BE49-F238E27FC236}">
                    <a16:creationId xmlns:a16="http://schemas.microsoft.com/office/drawing/2014/main" id="{46B86C2E-EB9A-4814-8104-22EC8996F5F2}"/>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2" name="Freeform 116">
                <a:extLst>
                  <a:ext uri="{FF2B5EF4-FFF2-40B4-BE49-F238E27FC236}">
                    <a16:creationId xmlns:a16="http://schemas.microsoft.com/office/drawing/2014/main" id="{1F32B28A-4A8C-41B1-BBB8-CF9601FC15B9}"/>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3" name="Freeform 117">
                <a:extLst>
                  <a:ext uri="{FF2B5EF4-FFF2-40B4-BE49-F238E27FC236}">
                    <a16:creationId xmlns:a16="http://schemas.microsoft.com/office/drawing/2014/main" id="{6851D2FF-39FA-4DFE-B1F9-4D8D693FF63F}"/>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1004" name="Group 1003">
                <a:extLst>
                  <a:ext uri="{FF2B5EF4-FFF2-40B4-BE49-F238E27FC236}">
                    <a16:creationId xmlns:a16="http://schemas.microsoft.com/office/drawing/2014/main" id="{67D8AE5D-D2BF-4388-B633-66166070A1FC}"/>
                  </a:ext>
                </a:extLst>
              </p:cNvPr>
              <p:cNvGrpSpPr/>
              <p:nvPr/>
            </p:nvGrpSpPr>
            <p:grpSpPr>
              <a:xfrm>
                <a:off x="-54543" y="2279901"/>
                <a:ext cx="654580" cy="588705"/>
                <a:chOff x="-54543" y="2279901"/>
                <a:chExt cx="654580" cy="588705"/>
              </a:xfrm>
              <a:grpFill/>
            </p:grpSpPr>
            <p:sp>
              <p:nvSpPr>
                <p:cNvPr id="1013" name="Freeform 68">
                  <a:extLst>
                    <a:ext uri="{FF2B5EF4-FFF2-40B4-BE49-F238E27FC236}">
                      <a16:creationId xmlns:a16="http://schemas.microsoft.com/office/drawing/2014/main" id="{01E8A21E-4E2E-4492-A094-233CB439162E}"/>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4" name="Freeform 118">
                  <a:extLst>
                    <a:ext uri="{FF2B5EF4-FFF2-40B4-BE49-F238E27FC236}">
                      <a16:creationId xmlns:a16="http://schemas.microsoft.com/office/drawing/2014/main" id="{FE7A17CB-CC33-4961-9A04-6E4CD653022A}"/>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5" name="Freeform 119">
                  <a:extLst>
                    <a:ext uri="{FF2B5EF4-FFF2-40B4-BE49-F238E27FC236}">
                      <a16:creationId xmlns:a16="http://schemas.microsoft.com/office/drawing/2014/main" id="{06CC5010-88D4-4122-8AD1-964F82BE5689}"/>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6" name="Freeform 120">
                  <a:extLst>
                    <a:ext uri="{FF2B5EF4-FFF2-40B4-BE49-F238E27FC236}">
                      <a16:creationId xmlns:a16="http://schemas.microsoft.com/office/drawing/2014/main" id="{179284CF-F7B0-448A-804C-D139414220F7}"/>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7" name="Freeform 121">
                  <a:extLst>
                    <a:ext uri="{FF2B5EF4-FFF2-40B4-BE49-F238E27FC236}">
                      <a16:creationId xmlns:a16="http://schemas.microsoft.com/office/drawing/2014/main" id="{839768CA-8875-4B4D-8E48-EC47D502C8B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8" name="Freeform 122">
                  <a:extLst>
                    <a:ext uri="{FF2B5EF4-FFF2-40B4-BE49-F238E27FC236}">
                      <a16:creationId xmlns:a16="http://schemas.microsoft.com/office/drawing/2014/main" id="{7A0BBBE1-0F64-44CC-95C3-63099FD89670}"/>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9" name="Freeform 124">
                  <a:extLst>
                    <a:ext uri="{FF2B5EF4-FFF2-40B4-BE49-F238E27FC236}">
                      <a16:creationId xmlns:a16="http://schemas.microsoft.com/office/drawing/2014/main" id="{40D524A8-467D-424E-B16D-5C4FC7BCF1CF}"/>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0" name="Freeform 125">
                  <a:extLst>
                    <a:ext uri="{FF2B5EF4-FFF2-40B4-BE49-F238E27FC236}">
                      <a16:creationId xmlns:a16="http://schemas.microsoft.com/office/drawing/2014/main" id="{9D56F681-0218-443D-8A20-00E619F81556}"/>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1" name="Freeform 126">
                  <a:extLst>
                    <a:ext uri="{FF2B5EF4-FFF2-40B4-BE49-F238E27FC236}">
                      <a16:creationId xmlns:a16="http://schemas.microsoft.com/office/drawing/2014/main" id="{A0D0B5A5-C69F-42F8-9F21-869137D4FDE2}"/>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2" name="Freeform 127">
                  <a:extLst>
                    <a:ext uri="{FF2B5EF4-FFF2-40B4-BE49-F238E27FC236}">
                      <a16:creationId xmlns:a16="http://schemas.microsoft.com/office/drawing/2014/main" id="{1B8F0761-963B-4F9A-A0CA-847E0A5FA53A}"/>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3" name="Freeform 128">
                  <a:extLst>
                    <a:ext uri="{FF2B5EF4-FFF2-40B4-BE49-F238E27FC236}">
                      <a16:creationId xmlns:a16="http://schemas.microsoft.com/office/drawing/2014/main" id="{94897B6A-BD61-4A8F-BECB-F02D8FD83290}"/>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4" name="Freeform 129">
                  <a:extLst>
                    <a:ext uri="{FF2B5EF4-FFF2-40B4-BE49-F238E27FC236}">
                      <a16:creationId xmlns:a16="http://schemas.microsoft.com/office/drawing/2014/main" id="{1C0337EA-54C2-4BB9-A4F5-ECCCD6D9ED49}"/>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25" name="Freeform 130">
                  <a:extLst>
                    <a:ext uri="{FF2B5EF4-FFF2-40B4-BE49-F238E27FC236}">
                      <a16:creationId xmlns:a16="http://schemas.microsoft.com/office/drawing/2014/main" id="{99C5F5E8-CF53-4EB9-997B-CB90A3B78571}"/>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6" name="Freeform 131">
                  <a:extLst>
                    <a:ext uri="{FF2B5EF4-FFF2-40B4-BE49-F238E27FC236}">
                      <a16:creationId xmlns:a16="http://schemas.microsoft.com/office/drawing/2014/main" id="{80BACBBF-D1A3-4F0A-A188-16533EC1D45D}"/>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7" name="Freeform 132">
                  <a:extLst>
                    <a:ext uri="{FF2B5EF4-FFF2-40B4-BE49-F238E27FC236}">
                      <a16:creationId xmlns:a16="http://schemas.microsoft.com/office/drawing/2014/main" id="{B739771C-5D71-4956-961E-1507B0D3AE29}"/>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8" name="Freeform 133">
                  <a:extLst>
                    <a:ext uri="{FF2B5EF4-FFF2-40B4-BE49-F238E27FC236}">
                      <a16:creationId xmlns:a16="http://schemas.microsoft.com/office/drawing/2014/main" id="{993F1664-119E-4119-AE77-E79EB71DB3FE}"/>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005" name="Group 1004">
                <a:extLst>
                  <a:ext uri="{FF2B5EF4-FFF2-40B4-BE49-F238E27FC236}">
                    <a16:creationId xmlns:a16="http://schemas.microsoft.com/office/drawing/2014/main" id="{2C43CC29-5D4F-4019-A799-65477A295809}"/>
                  </a:ext>
                </a:extLst>
              </p:cNvPr>
              <p:cNvGrpSpPr/>
              <p:nvPr/>
            </p:nvGrpSpPr>
            <p:grpSpPr>
              <a:xfrm>
                <a:off x="-108104" y="2554074"/>
                <a:ext cx="132971" cy="160137"/>
                <a:chOff x="7094929" y="5488305"/>
                <a:chExt cx="132971" cy="160137"/>
              </a:xfrm>
              <a:grpFill/>
            </p:grpSpPr>
            <p:sp>
              <p:nvSpPr>
                <p:cNvPr id="1011" name="Freeform 66">
                  <a:extLst>
                    <a:ext uri="{FF2B5EF4-FFF2-40B4-BE49-F238E27FC236}">
                      <a16:creationId xmlns:a16="http://schemas.microsoft.com/office/drawing/2014/main" id="{0AF1FA35-FDA7-47B8-93EA-5E2BF5E2D915}"/>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2" name="Freeform 127">
                  <a:extLst>
                    <a:ext uri="{FF2B5EF4-FFF2-40B4-BE49-F238E27FC236}">
                      <a16:creationId xmlns:a16="http://schemas.microsoft.com/office/drawing/2014/main" id="{4E9F2B66-981C-4A22-B382-12FBC3E5F5EE}"/>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1006" name="Freeform 127">
                <a:extLst>
                  <a:ext uri="{FF2B5EF4-FFF2-40B4-BE49-F238E27FC236}">
                    <a16:creationId xmlns:a16="http://schemas.microsoft.com/office/drawing/2014/main" id="{F7CCBDDD-E8FF-4A7C-8699-D269AED1DB4E}"/>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007" name="Freeform 127">
                <a:extLst>
                  <a:ext uri="{FF2B5EF4-FFF2-40B4-BE49-F238E27FC236}">
                    <a16:creationId xmlns:a16="http://schemas.microsoft.com/office/drawing/2014/main" id="{F366309A-8D16-4F8E-9866-4180E1BB4C9A}"/>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008" name="Freeform 127">
                <a:extLst>
                  <a:ext uri="{FF2B5EF4-FFF2-40B4-BE49-F238E27FC236}">
                    <a16:creationId xmlns:a16="http://schemas.microsoft.com/office/drawing/2014/main" id="{34C1C22C-2E2B-42CA-9380-774D3C63E0E5}"/>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009" name="Freeform 127">
                <a:extLst>
                  <a:ext uri="{FF2B5EF4-FFF2-40B4-BE49-F238E27FC236}">
                    <a16:creationId xmlns:a16="http://schemas.microsoft.com/office/drawing/2014/main" id="{9E5880AD-17C0-448F-AD03-D829101A5CDD}"/>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010" name="Freeform 127">
                <a:extLst>
                  <a:ext uri="{FF2B5EF4-FFF2-40B4-BE49-F238E27FC236}">
                    <a16:creationId xmlns:a16="http://schemas.microsoft.com/office/drawing/2014/main" id="{6E4A42EE-C738-4CC4-B9B4-304BEE46197F}"/>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846" name="Rectangle 845">
              <a:extLst>
                <a:ext uri="{FF2B5EF4-FFF2-40B4-BE49-F238E27FC236}">
                  <a16:creationId xmlns:a16="http://schemas.microsoft.com/office/drawing/2014/main" id="{E3578A78-C89F-4C27-8D0E-008004861AE1}"/>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1029" name="Group 1028">
            <a:extLst>
              <a:ext uri="{FF2B5EF4-FFF2-40B4-BE49-F238E27FC236}">
                <a16:creationId xmlns:a16="http://schemas.microsoft.com/office/drawing/2014/main" id="{9367F91C-D5B8-41B7-88CC-E8B2547B38B3}"/>
              </a:ext>
            </a:extLst>
          </p:cNvPr>
          <p:cNvGrpSpPr/>
          <p:nvPr/>
        </p:nvGrpSpPr>
        <p:grpSpPr>
          <a:xfrm>
            <a:off x="1119406" y="3656067"/>
            <a:ext cx="450579" cy="511733"/>
            <a:chOff x="2266365" y="4401648"/>
            <a:chExt cx="1241795" cy="1412971"/>
          </a:xfrm>
        </p:grpSpPr>
        <p:sp>
          <p:nvSpPr>
            <p:cNvPr id="1030" name="Oval 1029">
              <a:extLst>
                <a:ext uri="{FF2B5EF4-FFF2-40B4-BE49-F238E27FC236}">
                  <a16:creationId xmlns:a16="http://schemas.microsoft.com/office/drawing/2014/main" id="{0C1742A1-B560-4757-8E5E-786DDED68AE8}"/>
                </a:ext>
              </a:extLst>
            </p:cNvPr>
            <p:cNvSpPr>
              <a:spLocks noChangeArrowheads="1"/>
            </p:cNvSpPr>
            <p:nvPr/>
          </p:nvSpPr>
          <p:spPr bwMode="auto">
            <a:xfrm>
              <a:off x="2528285" y="4894661"/>
              <a:ext cx="120806" cy="12080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31" name="Oval 1030">
              <a:extLst>
                <a:ext uri="{FF2B5EF4-FFF2-40B4-BE49-F238E27FC236}">
                  <a16:creationId xmlns:a16="http://schemas.microsoft.com/office/drawing/2014/main" id="{61FB363C-01A3-428C-AC89-98D7FE6896A8}"/>
                </a:ext>
              </a:extLst>
            </p:cNvPr>
            <p:cNvSpPr>
              <a:spLocks noChangeArrowheads="1"/>
            </p:cNvSpPr>
            <p:nvPr/>
          </p:nvSpPr>
          <p:spPr bwMode="auto">
            <a:xfrm>
              <a:off x="2486096" y="5303131"/>
              <a:ext cx="109409" cy="10895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32" name="Freeform 297">
              <a:extLst>
                <a:ext uri="{FF2B5EF4-FFF2-40B4-BE49-F238E27FC236}">
                  <a16:creationId xmlns:a16="http://schemas.microsoft.com/office/drawing/2014/main" id="{7653D2D2-6FDC-4165-85FD-5A8E061E9558}"/>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33" name="Oval 1032">
              <a:extLst>
                <a:ext uri="{FF2B5EF4-FFF2-40B4-BE49-F238E27FC236}">
                  <a16:creationId xmlns:a16="http://schemas.microsoft.com/office/drawing/2014/main" id="{095F86B9-F89A-4804-9409-1E2485274797}"/>
                </a:ext>
              </a:extLst>
            </p:cNvPr>
            <p:cNvSpPr>
              <a:spLocks noChangeArrowheads="1"/>
            </p:cNvSpPr>
            <p:nvPr/>
          </p:nvSpPr>
          <p:spPr bwMode="auto">
            <a:xfrm>
              <a:off x="2781501" y="5443083"/>
              <a:ext cx="371080" cy="37153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34" name="Oval 1033">
              <a:extLst>
                <a:ext uri="{FF2B5EF4-FFF2-40B4-BE49-F238E27FC236}">
                  <a16:creationId xmlns:a16="http://schemas.microsoft.com/office/drawing/2014/main" id="{18E41673-FBB8-4BA0-AB04-D04485A7158B}"/>
                </a:ext>
              </a:extLst>
            </p:cNvPr>
            <p:cNvSpPr>
              <a:spLocks noChangeArrowheads="1"/>
            </p:cNvSpPr>
            <p:nvPr/>
          </p:nvSpPr>
          <p:spPr bwMode="auto">
            <a:xfrm>
              <a:off x="2589656" y="4673378"/>
              <a:ext cx="161835" cy="161379"/>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35" name="Oval 1034">
              <a:extLst>
                <a:ext uri="{FF2B5EF4-FFF2-40B4-BE49-F238E27FC236}">
                  <a16:creationId xmlns:a16="http://schemas.microsoft.com/office/drawing/2014/main" id="{5A4FB433-5380-49BE-BB5D-CD6AB47BEC3F}"/>
                </a:ext>
              </a:extLst>
            </p:cNvPr>
            <p:cNvSpPr>
              <a:spLocks noChangeArrowheads="1"/>
            </p:cNvSpPr>
            <p:nvPr/>
          </p:nvSpPr>
          <p:spPr bwMode="auto">
            <a:xfrm>
              <a:off x="2554542" y="5474931"/>
              <a:ext cx="144056" cy="1436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1036" name="Group 1035">
              <a:extLst>
                <a:ext uri="{FF2B5EF4-FFF2-40B4-BE49-F238E27FC236}">
                  <a16:creationId xmlns:a16="http://schemas.microsoft.com/office/drawing/2014/main" id="{CF637871-29AC-49B4-9B27-CA234EF4A527}"/>
                </a:ext>
              </a:extLst>
            </p:cNvPr>
            <p:cNvGrpSpPr/>
            <p:nvPr/>
          </p:nvGrpSpPr>
          <p:grpSpPr>
            <a:xfrm>
              <a:off x="3014928" y="5033031"/>
              <a:ext cx="459519" cy="459064"/>
              <a:chOff x="3112464" y="5057415"/>
              <a:chExt cx="459519" cy="459064"/>
            </a:xfrm>
          </p:grpSpPr>
          <p:sp>
            <p:nvSpPr>
              <p:cNvPr id="1054" name="Oval 1053">
                <a:extLst>
                  <a:ext uri="{FF2B5EF4-FFF2-40B4-BE49-F238E27FC236}">
                    <a16:creationId xmlns:a16="http://schemas.microsoft.com/office/drawing/2014/main" id="{5D4F8AE3-4D65-4881-A0FF-57AC190CB1B3}"/>
                  </a:ext>
                </a:extLst>
              </p:cNvPr>
              <p:cNvSpPr>
                <a:spLocks noChangeArrowheads="1"/>
              </p:cNvSpPr>
              <p:nvPr/>
            </p:nvSpPr>
            <p:spPr bwMode="auto">
              <a:xfrm>
                <a:off x="3112464" y="5057415"/>
                <a:ext cx="459519" cy="45906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5" name="Freeform 309">
                <a:extLst>
                  <a:ext uri="{FF2B5EF4-FFF2-40B4-BE49-F238E27FC236}">
                    <a16:creationId xmlns:a16="http://schemas.microsoft.com/office/drawing/2014/main" id="{9B6AF15C-CE19-46A0-B8FF-A8915AA20B22}"/>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6" name="Freeform 310">
                <a:extLst>
                  <a:ext uri="{FF2B5EF4-FFF2-40B4-BE49-F238E27FC236}">
                    <a16:creationId xmlns:a16="http://schemas.microsoft.com/office/drawing/2014/main" id="{AAC4FFAE-C118-4C46-AC36-24FBEA59650A}"/>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7" name="Freeform 311">
                <a:extLst>
                  <a:ext uri="{FF2B5EF4-FFF2-40B4-BE49-F238E27FC236}">
                    <a16:creationId xmlns:a16="http://schemas.microsoft.com/office/drawing/2014/main" id="{F5093B44-6779-4EC5-8568-7B65EF4C3474}"/>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8" name="Freeform 312">
                <a:extLst>
                  <a:ext uri="{FF2B5EF4-FFF2-40B4-BE49-F238E27FC236}">
                    <a16:creationId xmlns:a16="http://schemas.microsoft.com/office/drawing/2014/main" id="{6E0C96A1-0DB7-4352-8628-94DBD5DA68DF}"/>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9" name="Rectangle 1058">
                <a:extLst>
                  <a:ext uri="{FF2B5EF4-FFF2-40B4-BE49-F238E27FC236}">
                    <a16:creationId xmlns:a16="http://schemas.microsoft.com/office/drawing/2014/main" id="{58760D7F-BDF0-4F73-BD02-D27F23EBC70F}"/>
                  </a:ext>
                </a:extLst>
              </p:cNvPr>
              <p:cNvSpPr>
                <a:spLocks noChangeArrowheads="1"/>
              </p:cNvSpPr>
              <p:nvPr/>
            </p:nvSpPr>
            <p:spPr bwMode="auto">
              <a:xfrm>
                <a:off x="3303474" y="5376982"/>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60" name="Rectangle 1059">
                <a:extLst>
                  <a:ext uri="{FF2B5EF4-FFF2-40B4-BE49-F238E27FC236}">
                    <a16:creationId xmlns:a16="http://schemas.microsoft.com/office/drawing/2014/main" id="{FBEF4299-7A20-4187-B06E-B8B988C0E5FA}"/>
                  </a:ext>
                </a:extLst>
              </p:cNvPr>
              <p:cNvSpPr>
                <a:spLocks noChangeArrowheads="1"/>
              </p:cNvSpPr>
              <p:nvPr/>
            </p:nvSpPr>
            <p:spPr bwMode="auto">
              <a:xfrm>
                <a:off x="3303474" y="5396584"/>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sp>
          <p:nvSpPr>
            <p:cNvPr id="1037" name="Freeform 331">
              <a:extLst>
                <a:ext uri="{FF2B5EF4-FFF2-40B4-BE49-F238E27FC236}">
                  <a16:creationId xmlns:a16="http://schemas.microsoft.com/office/drawing/2014/main" id="{D49E50E6-DFE0-40C0-ACDA-1A782A54BA7E}"/>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38" name="Freeform 332">
              <a:extLst>
                <a:ext uri="{FF2B5EF4-FFF2-40B4-BE49-F238E27FC236}">
                  <a16:creationId xmlns:a16="http://schemas.microsoft.com/office/drawing/2014/main" id="{0514B118-DB0D-477C-839D-15F2273E146E}"/>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39" name="Rectangle 333">
              <a:extLst>
                <a:ext uri="{FF2B5EF4-FFF2-40B4-BE49-F238E27FC236}">
                  <a16:creationId xmlns:a16="http://schemas.microsoft.com/office/drawing/2014/main" id="{4C22B01A-9747-47AE-9729-7A9939BA9975}"/>
                </a:ext>
              </a:extLst>
            </p:cNvPr>
            <p:cNvSpPr>
              <a:spLocks noChangeArrowheads="1"/>
            </p:cNvSpPr>
            <p:nvPr/>
          </p:nvSpPr>
          <p:spPr bwMode="auto">
            <a:xfrm>
              <a:off x="2913704" y="5594433"/>
              <a:ext cx="106674" cy="10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0" name="Rectangle 334">
              <a:extLst>
                <a:ext uri="{FF2B5EF4-FFF2-40B4-BE49-F238E27FC236}">
                  <a16:creationId xmlns:a16="http://schemas.microsoft.com/office/drawing/2014/main" id="{5396D64F-AF67-44E7-9270-832232DA9FE4}"/>
                </a:ext>
              </a:extLst>
            </p:cNvPr>
            <p:cNvSpPr>
              <a:spLocks noChangeArrowheads="1"/>
            </p:cNvSpPr>
            <p:nvPr/>
          </p:nvSpPr>
          <p:spPr bwMode="auto">
            <a:xfrm>
              <a:off x="2913704" y="5614036"/>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1" name="Rectangle 335">
              <a:extLst>
                <a:ext uri="{FF2B5EF4-FFF2-40B4-BE49-F238E27FC236}">
                  <a16:creationId xmlns:a16="http://schemas.microsoft.com/office/drawing/2014/main" id="{E5F34761-0FCB-44F1-9C8C-D513A4AD4AF4}"/>
                </a:ext>
              </a:extLst>
            </p:cNvPr>
            <p:cNvSpPr>
              <a:spLocks noChangeArrowheads="1"/>
            </p:cNvSpPr>
            <p:nvPr/>
          </p:nvSpPr>
          <p:spPr bwMode="auto">
            <a:xfrm>
              <a:off x="2913704" y="5633182"/>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2" name="Rectangle 336">
              <a:extLst>
                <a:ext uri="{FF2B5EF4-FFF2-40B4-BE49-F238E27FC236}">
                  <a16:creationId xmlns:a16="http://schemas.microsoft.com/office/drawing/2014/main" id="{8AEA1F4F-5B8D-4754-820B-23CD4EA86784}"/>
                </a:ext>
              </a:extLst>
            </p:cNvPr>
            <p:cNvSpPr>
              <a:spLocks noChangeArrowheads="1"/>
            </p:cNvSpPr>
            <p:nvPr/>
          </p:nvSpPr>
          <p:spPr bwMode="auto">
            <a:xfrm>
              <a:off x="2913704" y="5652329"/>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3" name="Rectangle 337">
              <a:extLst>
                <a:ext uri="{FF2B5EF4-FFF2-40B4-BE49-F238E27FC236}">
                  <a16:creationId xmlns:a16="http://schemas.microsoft.com/office/drawing/2014/main" id="{A9594620-7700-47BE-BC4F-05F01E07E72D}"/>
                </a:ext>
              </a:extLst>
            </p:cNvPr>
            <p:cNvSpPr>
              <a:spLocks noChangeArrowheads="1"/>
            </p:cNvSpPr>
            <p:nvPr/>
          </p:nvSpPr>
          <p:spPr bwMode="auto">
            <a:xfrm>
              <a:off x="2913704" y="5670564"/>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1044" name="Group 1043">
              <a:extLst>
                <a:ext uri="{FF2B5EF4-FFF2-40B4-BE49-F238E27FC236}">
                  <a16:creationId xmlns:a16="http://schemas.microsoft.com/office/drawing/2014/main" id="{5FC0149C-1ADA-44FD-A02D-CA8EFB6D89A8}"/>
                </a:ext>
              </a:extLst>
            </p:cNvPr>
            <p:cNvGrpSpPr/>
            <p:nvPr/>
          </p:nvGrpSpPr>
          <p:grpSpPr>
            <a:xfrm>
              <a:off x="3120879" y="4597927"/>
              <a:ext cx="384756" cy="384300"/>
              <a:chOff x="3571983" y="4744231"/>
              <a:chExt cx="384756" cy="384300"/>
            </a:xfrm>
          </p:grpSpPr>
          <p:sp>
            <p:nvSpPr>
              <p:cNvPr id="1051" name="Oval 1050">
                <a:extLst>
                  <a:ext uri="{FF2B5EF4-FFF2-40B4-BE49-F238E27FC236}">
                    <a16:creationId xmlns:a16="http://schemas.microsoft.com/office/drawing/2014/main" id="{073F97AD-5863-4B00-80C3-33135AC44221}"/>
                  </a:ext>
                </a:extLst>
              </p:cNvPr>
              <p:cNvSpPr>
                <a:spLocks noChangeArrowheads="1"/>
              </p:cNvSpPr>
              <p:nvPr/>
            </p:nvSpPr>
            <p:spPr bwMode="auto">
              <a:xfrm>
                <a:off x="3571983" y="4744231"/>
                <a:ext cx="384756" cy="3843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2" name="Freeform 338">
                <a:extLst>
                  <a:ext uri="{FF2B5EF4-FFF2-40B4-BE49-F238E27FC236}">
                    <a16:creationId xmlns:a16="http://schemas.microsoft.com/office/drawing/2014/main" id="{F3EAD459-5599-49A4-9B15-DE47AB050159}"/>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3" name="Freeform 339">
                <a:extLst>
                  <a:ext uri="{FF2B5EF4-FFF2-40B4-BE49-F238E27FC236}">
                    <a16:creationId xmlns:a16="http://schemas.microsoft.com/office/drawing/2014/main" id="{516F469A-BA8C-41DE-8121-FD5DA5DCE36D}"/>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1045" name="Group 1044">
              <a:extLst>
                <a:ext uri="{FF2B5EF4-FFF2-40B4-BE49-F238E27FC236}">
                  <a16:creationId xmlns:a16="http://schemas.microsoft.com/office/drawing/2014/main" id="{E79E5B52-9533-411B-BE08-049E4BA6286F}"/>
                </a:ext>
              </a:extLst>
            </p:cNvPr>
            <p:cNvGrpSpPr/>
            <p:nvPr/>
          </p:nvGrpSpPr>
          <p:grpSpPr>
            <a:xfrm>
              <a:off x="2782979" y="4401648"/>
              <a:ext cx="277626" cy="278082"/>
              <a:chOff x="3843683" y="4426032"/>
              <a:chExt cx="277626" cy="278082"/>
            </a:xfrm>
          </p:grpSpPr>
          <p:sp>
            <p:nvSpPr>
              <p:cNvPr id="1046" name="Oval 1045">
                <a:extLst>
                  <a:ext uri="{FF2B5EF4-FFF2-40B4-BE49-F238E27FC236}">
                    <a16:creationId xmlns:a16="http://schemas.microsoft.com/office/drawing/2014/main" id="{B6270EBC-CF6F-40AF-812A-B013F78668E7}"/>
                  </a:ext>
                </a:extLst>
              </p:cNvPr>
              <p:cNvSpPr>
                <a:spLocks noChangeArrowheads="1"/>
              </p:cNvSpPr>
              <p:nvPr/>
            </p:nvSpPr>
            <p:spPr bwMode="auto">
              <a:xfrm>
                <a:off x="3843683" y="4426032"/>
                <a:ext cx="277626" cy="278082"/>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7" name="Freeform 340">
                <a:extLst>
                  <a:ext uri="{FF2B5EF4-FFF2-40B4-BE49-F238E27FC236}">
                    <a16:creationId xmlns:a16="http://schemas.microsoft.com/office/drawing/2014/main" id="{67551731-685D-4F46-8AD2-62F417E130B4}"/>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8" name="Freeform 341">
                <a:extLst>
                  <a:ext uri="{FF2B5EF4-FFF2-40B4-BE49-F238E27FC236}">
                    <a16:creationId xmlns:a16="http://schemas.microsoft.com/office/drawing/2014/main" id="{CEB5E603-FD30-4F6A-A7DE-23C027DA8980}"/>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9" name="Rectangle 342">
                <a:extLst>
                  <a:ext uri="{FF2B5EF4-FFF2-40B4-BE49-F238E27FC236}">
                    <a16:creationId xmlns:a16="http://schemas.microsoft.com/office/drawing/2014/main" id="{5D56CFC8-4CF6-48B4-8E42-B2DF6FF51365}"/>
                  </a:ext>
                </a:extLst>
              </p:cNvPr>
              <p:cNvSpPr>
                <a:spLocks noChangeArrowheads="1"/>
              </p:cNvSpPr>
              <p:nvPr/>
            </p:nvSpPr>
            <p:spPr bwMode="auto">
              <a:xfrm>
                <a:off x="3986827" y="4589234"/>
                <a:ext cx="41484" cy="104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0" name="Freeform 343">
                <a:extLst>
                  <a:ext uri="{FF2B5EF4-FFF2-40B4-BE49-F238E27FC236}">
                    <a16:creationId xmlns:a16="http://schemas.microsoft.com/office/drawing/2014/main" id="{B9FC0270-C97A-4BD4-8B63-3E64689226FF}"/>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spTree>
    <p:extLst>
      <p:ext uri="{BB962C8B-B14F-4D97-AF65-F5344CB8AC3E}">
        <p14:creationId xmlns:p14="http://schemas.microsoft.com/office/powerpoint/2010/main" val="13305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2AB91D-7088-493E-B9A1-F1FA2C95F7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6" name="think-cell Slide" r:id="rId6" imgW="425" imgH="424" progId="TCLayout.ActiveDocument.1">
                  <p:embed/>
                </p:oleObj>
              </mc:Choice>
              <mc:Fallback>
                <p:oleObj name="think-cell Slide" r:id="rId6" imgW="425" imgH="424" progId="TCLayout.ActiveDocument.1">
                  <p:embed/>
                  <p:pic>
                    <p:nvPicPr>
                      <p:cNvPr id="8" name="Object 7" hidden="1">
                        <a:extLst>
                          <a:ext uri="{FF2B5EF4-FFF2-40B4-BE49-F238E27FC236}">
                            <a16:creationId xmlns:a16="http://schemas.microsoft.com/office/drawing/2014/main" id="{462AB91D-7088-493E-B9A1-F1FA2C95F7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27118D0-378C-4075-A487-9F1ACFC80E2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defRPr/>
            </a:pPr>
            <a:endParaRPr kumimoji="0" lang="en-US" sz="2800" u="none" strike="noStrike" kern="1200" cap="none" spc="0" normalizeH="0" noProof="0" dirty="0">
              <a:ln>
                <a:noFill/>
              </a:ln>
              <a:gradFill>
                <a:gsLst>
                  <a:gs pos="0">
                    <a:srgbClr val="FFFFFF"/>
                  </a:gs>
                  <a:gs pos="100000">
                    <a:srgbClr val="FFFFFF"/>
                  </a:gs>
                </a:gsLst>
                <a:lin ang="5400000" scaled="0"/>
              </a:gradFill>
              <a:effectLst/>
              <a:uLnTx/>
              <a:uFillTx/>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22" name="Rectangle 121">
            <a:extLst>
              <a:ext uri="{FF2B5EF4-FFF2-40B4-BE49-F238E27FC236}">
                <a16:creationId xmlns:a16="http://schemas.microsoft.com/office/drawing/2014/main" id="{E24158E2-FB6B-404E-A46F-FF0A1AF33BD3}"/>
              </a:ext>
            </a:extLst>
          </p:cNvPr>
          <p:cNvSpPr/>
          <p:nvPr/>
        </p:nvSpPr>
        <p:spPr bwMode="auto">
          <a:xfrm>
            <a:off x="8752444" y="1930400"/>
            <a:ext cx="2860817" cy="4339916"/>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lgn="ctr" defTabSz="914411">
              <a:spcBef>
                <a:spcPts val="400"/>
              </a:spcBef>
              <a:spcAft>
                <a:spcPts val="400"/>
              </a:spcAft>
              <a:defRPr/>
            </a:pPr>
            <a:r>
              <a:rPr lang="en-US" sz="1400" dirty="0">
                <a:solidFill>
                  <a:schemeClr val="tx1"/>
                </a:solidFill>
              </a:rPr>
              <a:t>Microsoft Cyber Defense Operations Center </a:t>
            </a:r>
          </a:p>
          <a:p>
            <a:pPr lvl="0" algn="ctr" defTabSz="914411">
              <a:spcBef>
                <a:spcPts val="400"/>
              </a:spcBef>
              <a:spcAft>
                <a:spcPts val="400"/>
              </a:spcAft>
              <a:defRPr/>
            </a:pPr>
            <a:r>
              <a:rPr lang="en-US" sz="1400" b="1" dirty="0">
                <a:solidFill>
                  <a:schemeClr val="accent1"/>
                </a:solidFill>
              </a:rPr>
              <a:t>&gt;3,500 </a:t>
            </a:r>
            <a:r>
              <a:rPr lang="en-US" sz="1400" dirty="0">
                <a:solidFill>
                  <a:schemeClr val="tx1"/>
                </a:solidFill>
              </a:rPr>
              <a:t>full-time security professionals</a:t>
            </a:r>
          </a:p>
          <a:p>
            <a:pPr lvl="0" algn="ctr" defTabSz="914411">
              <a:spcBef>
                <a:spcPts val="400"/>
              </a:spcBef>
              <a:spcAft>
                <a:spcPts val="400"/>
              </a:spcAft>
              <a:defRPr/>
            </a:pPr>
            <a:r>
              <a:rPr lang="en-US" sz="1400" b="1" dirty="0">
                <a:solidFill>
                  <a:schemeClr val="accent1"/>
                </a:solidFill>
              </a:rPr>
              <a:t>6.5 trillion</a:t>
            </a:r>
            <a:r>
              <a:rPr lang="en-US" sz="1400" b="1" dirty="0">
                <a:solidFill>
                  <a:schemeClr val="tx1"/>
                </a:solidFill>
              </a:rPr>
              <a:t> </a:t>
            </a:r>
            <a:r>
              <a:rPr lang="en-US" sz="1400" dirty="0">
                <a:solidFill>
                  <a:schemeClr val="tx1"/>
                </a:solidFill>
              </a:rPr>
              <a:t>global signals daily</a:t>
            </a:r>
          </a:p>
          <a:p>
            <a:pPr lvl="0" algn="ctr" defTabSz="914411">
              <a:spcBef>
                <a:spcPts val="400"/>
              </a:spcBef>
              <a:spcAft>
                <a:spcPts val="400"/>
              </a:spcAft>
              <a:defRPr/>
            </a:pPr>
            <a:r>
              <a:rPr lang="en-US" sz="1400" dirty="0">
                <a:solidFill>
                  <a:schemeClr val="tx1"/>
                </a:solidFill>
              </a:rPr>
              <a:t> </a:t>
            </a:r>
            <a:r>
              <a:rPr lang="en-US" sz="1400" b="1" dirty="0">
                <a:solidFill>
                  <a:schemeClr val="accent1"/>
                </a:solidFill>
              </a:rPr>
              <a:t>$1 billion </a:t>
            </a:r>
            <a:r>
              <a:rPr lang="en-US" sz="1400" dirty="0">
                <a:solidFill>
                  <a:schemeClr val="tx1"/>
                </a:solidFill>
              </a:rPr>
              <a:t>annual cybersecurity investment</a:t>
            </a:r>
          </a:p>
        </p:txBody>
      </p:sp>
      <p:sp>
        <p:nvSpPr>
          <p:cNvPr id="120" name="Rectangle 119">
            <a:extLst>
              <a:ext uri="{FF2B5EF4-FFF2-40B4-BE49-F238E27FC236}">
                <a16:creationId xmlns:a16="http://schemas.microsoft.com/office/drawing/2014/main" id="{D57BDF1D-69C1-4C12-8AC5-1B17AFA9A3F2}"/>
              </a:ext>
            </a:extLst>
          </p:cNvPr>
          <p:cNvSpPr/>
          <p:nvPr/>
        </p:nvSpPr>
        <p:spPr bwMode="auto">
          <a:xfrm>
            <a:off x="5792195" y="1930400"/>
            <a:ext cx="2860817" cy="4339916"/>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731520" numCol="1" spcCol="0" rtlCol="0" fromWordArt="0" anchor="b" anchorCtr="0" forceAA="0" compatLnSpc="1">
            <a:prstTxWarp prst="textNoShape">
              <a:avLst/>
            </a:prstTxWarp>
            <a:noAutofit/>
          </a:bodyPr>
          <a:lstStyle/>
          <a:p>
            <a:pPr lvl="0" algn="ctr" defTabSz="914411">
              <a:spcBef>
                <a:spcPts val="400"/>
              </a:spcBef>
              <a:spcAft>
                <a:spcPts val="400"/>
              </a:spcAft>
              <a:defRPr/>
            </a:pPr>
            <a:r>
              <a:rPr lang="en-US" sz="1400" dirty="0">
                <a:solidFill>
                  <a:schemeClr val="tx1"/>
                </a:solidFill>
              </a:rPr>
              <a:t>Largest geographical footprint of any cloud provider with more than </a:t>
            </a:r>
            <a:r>
              <a:rPr lang="en-US" sz="1400" b="1" dirty="0">
                <a:solidFill>
                  <a:schemeClr val="accent1"/>
                </a:solidFill>
              </a:rPr>
              <a:t>54</a:t>
            </a:r>
            <a:r>
              <a:rPr lang="en-US" sz="1400" dirty="0">
                <a:solidFill>
                  <a:schemeClr val="tx1"/>
                </a:solidFill>
              </a:rPr>
              <a:t> </a:t>
            </a:r>
            <a:r>
              <a:rPr lang="en-US" sz="1400" b="1" dirty="0">
                <a:solidFill>
                  <a:schemeClr val="tx1"/>
                </a:solidFill>
              </a:rPr>
              <a:t>Azure regions</a:t>
            </a:r>
          </a:p>
        </p:txBody>
      </p:sp>
      <p:sp>
        <p:nvSpPr>
          <p:cNvPr id="4" name="Title 3">
            <a:extLst>
              <a:ext uri="{FF2B5EF4-FFF2-40B4-BE49-F238E27FC236}">
                <a16:creationId xmlns:a16="http://schemas.microsoft.com/office/drawing/2014/main" id="{152DF824-C8A1-42BF-9B17-B79B58CAD1A2}"/>
              </a:ext>
            </a:extLst>
          </p:cNvPr>
          <p:cNvSpPr>
            <a:spLocks noGrp="1"/>
          </p:cNvSpPr>
          <p:nvPr>
            <p:ph type="title"/>
          </p:nvPr>
        </p:nvSpPr>
        <p:spPr/>
        <p:txBody>
          <a:bodyPr/>
          <a:lstStyle/>
          <a:p>
            <a:r>
              <a:rPr lang="en-US" dirty="0"/>
              <a:t>Built on Azure: Standardized, Global, and Secure Cloud</a:t>
            </a:r>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352079" y="2210654"/>
            <a:ext cx="0" cy="3486442"/>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2324D38-1FB9-41F2-991C-B9331971EC8E}"/>
              </a:ext>
            </a:extLst>
          </p:cNvPr>
          <p:cNvSpPr/>
          <p:nvPr/>
        </p:nvSpPr>
        <p:spPr bwMode="auto">
          <a:xfrm>
            <a:off x="588264" y="1930399"/>
            <a:ext cx="5104499" cy="4339917"/>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lgn="ctr">
              <a:spcBef>
                <a:spcPts val="400"/>
              </a:spcBef>
              <a:defRPr/>
            </a:pPr>
            <a:r>
              <a:rPr lang="en-US" sz="1400" dirty="0">
                <a:solidFill>
                  <a:schemeClr val="tx1"/>
                </a:solidFill>
              </a:rPr>
              <a:t>Purpose-built, standardized infrastructure across geos </a:t>
            </a:r>
            <a:r>
              <a:rPr lang="en-US" sz="1400" b="1" dirty="0">
                <a:solidFill>
                  <a:schemeClr val="accent1"/>
                </a:solidFill>
              </a:rPr>
              <a:t>300,000+</a:t>
            </a:r>
            <a:r>
              <a:rPr lang="en-US" sz="1400" dirty="0">
                <a:solidFill>
                  <a:schemeClr val="accent1"/>
                </a:solidFill>
              </a:rPr>
              <a:t> </a:t>
            </a:r>
            <a:r>
              <a:rPr lang="en-US" sz="1400" dirty="0">
                <a:solidFill>
                  <a:schemeClr val="tx1"/>
                </a:solidFill>
              </a:rPr>
              <a:t>global partner ecosystem, leveraging consistent standards and IT architectures</a:t>
            </a:r>
          </a:p>
        </p:txBody>
      </p:sp>
      <p:sp>
        <p:nvSpPr>
          <p:cNvPr id="148" name="Rectangle 147">
            <a:extLst>
              <a:ext uri="{FF2B5EF4-FFF2-40B4-BE49-F238E27FC236}">
                <a16:creationId xmlns:a16="http://schemas.microsoft.com/office/drawing/2014/main" id="{BA3E91EF-8EC5-4421-ADD3-260A271DC097}"/>
              </a:ext>
            </a:extLst>
          </p:cNvPr>
          <p:cNvSpPr/>
          <p:nvPr/>
        </p:nvSpPr>
        <p:spPr bwMode="auto">
          <a:xfrm>
            <a:off x="5792195" y="1440779"/>
            <a:ext cx="2860817" cy="48962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11" rtl="0" eaLnBrk="1" fontAlgn="auto" latinLnBrk="0" hangingPunct="1">
              <a:spcBef>
                <a:spcPts val="0"/>
              </a:spcBef>
              <a:spcAft>
                <a:spcPts val="6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rPr>
              <a:t>Global</a:t>
            </a:r>
          </a:p>
        </p:txBody>
      </p:sp>
      <p:sp>
        <p:nvSpPr>
          <p:cNvPr id="154" name="Rectangle 153">
            <a:extLst>
              <a:ext uri="{FF2B5EF4-FFF2-40B4-BE49-F238E27FC236}">
                <a16:creationId xmlns:a16="http://schemas.microsoft.com/office/drawing/2014/main" id="{9610D136-44F6-475B-B686-279329AE6CBE}"/>
              </a:ext>
            </a:extLst>
          </p:cNvPr>
          <p:cNvSpPr/>
          <p:nvPr/>
        </p:nvSpPr>
        <p:spPr bwMode="auto">
          <a:xfrm>
            <a:off x="588264" y="1440779"/>
            <a:ext cx="5104499" cy="48962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11" rtl="0" eaLnBrk="1" fontAlgn="auto" latinLnBrk="0" hangingPunct="1">
              <a:spcBef>
                <a:spcPts val="0"/>
              </a:spcBef>
              <a:spcAft>
                <a:spcPts val="6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rPr>
              <a:t>Standardized</a:t>
            </a:r>
          </a:p>
        </p:txBody>
      </p:sp>
      <p:sp>
        <p:nvSpPr>
          <p:cNvPr id="61" name="TextBox 60">
            <a:extLst>
              <a:ext uri="{FF2B5EF4-FFF2-40B4-BE49-F238E27FC236}">
                <a16:creationId xmlns:a16="http://schemas.microsoft.com/office/drawing/2014/main" id="{35FC48AF-A42D-4430-9260-050B09FD0C51}"/>
              </a:ext>
            </a:extLst>
          </p:cNvPr>
          <p:cNvSpPr txBox="1"/>
          <p:nvPr/>
        </p:nvSpPr>
        <p:spPr>
          <a:xfrm>
            <a:off x="943657" y="3196817"/>
            <a:ext cx="663067" cy="184666"/>
          </a:xfrm>
          <a:prstGeom prst="rect">
            <a:avLst/>
          </a:prstGeom>
          <a:noFill/>
        </p:spPr>
        <p:txBody>
          <a:bodyPr wrap="none" lIns="0" tIns="0" rIns="0" bIns="0" rtlCol="0">
            <a:spAutoFit/>
          </a:bodyPr>
          <a:lstStyle/>
          <a:p>
            <a:pPr marL="0" marR="0" lvl="0" indent="0" algn="ctr" defTabSz="932504" rtl="0" eaLnBrk="1" fontAlgn="auto" latinLnBrk="0" hangingPunct="1">
              <a:spcBef>
                <a:spcPts val="0"/>
              </a:spcBef>
              <a:spcAft>
                <a:spcPts val="612"/>
              </a:spcAft>
              <a:buClrTx/>
              <a:buSzTx/>
              <a:buFontTx/>
              <a:buNone/>
              <a:tabLst/>
              <a:defRPr/>
            </a:pPr>
            <a:r>
              <a:rPr kumimoji="0" lang="en-US" sz="1200" b="1" i="0" u="none" strike="noStrike" kern="1200" cap="none" spc="0" normalizeH="0" baseline="0" noProof="0" dirty="0">
                <a:ln>
                  <a:noFill/>
                </a:ln>
                <a:effectLst/>
                <a:uLnTx/>
                <a:uFillTx/>
                <a:ea typeface="+mn-ea"/>
                <a:cs typeface="Segoe UI Semibold" panose="020B0702040204020203" pitchFamily="34" charset="0"/>
              </a:rPr>
              <a:t>Compute</a:t>
            </a:r>
          </a:p>
        </p:txBody>
      </p:sp>
      <p:sp>
        <p:nvSpPr>
          <p:cNvPr id="62" name="TextBox 61">
            <a:extLst>
              <a:ext uri="{FF2B5EF4-FFF2-40B4-BE49-F238E27FC236}">
                <a16:creationId xmlns:a16="http://schemas.microsoft.com/office/drawing/2014/main" id="{50DA7456-7391-49D2-A0C6-08661F6CCF05}"/>
              </a:ext>
            </a:extLst>
          </p:cNvPr>
          <p:cNvSpPr txBox="1"/>
          <p:nvPr/>
        </p:nvSpPr>
        <p:spPr>
          <a:xfrm>
            <a:off x="3069846" y="3196817"/>
            <a:ext cx="860044" cy="184666"/>
          </a:xfrm>
          <a:prstGeom prst="rect">
            <a:avLst/>
          </a:prstGeom>
          <a:noFill/>
        </p:spPr>
        <p:txBody>
          <a:bodyPr wrap="none" lIns="0" tIns="0" rIns="0" bIns="0" rtlCol="0">
            <a:spAutoFit/>
          </a:bodyPr>
          <a:lstStyle/>
          <a:p>
            <a:pPr marL="0" marR="0" lvl="0" indent="0" algn="ctr" defTabSz="932504" rtl="0" eaLnBrk="1" fontAlgn="auto" latinLnBrk="0" hangingPunct="1">
              <a:spcBef>
                <a:spcPts val="0"/>
              </a:spcBef>
              <a:spcAft>
                <a:spcPts val="612"/>
              </a:spcAft>
              <a:buClrTx/>
              <a:buSzTx/>
              <a:buFontTx/>
              <a:buNone/>
              <a:tabLst/>
              <a:defRPr/>
            </a:pPr>
            <a:r>
              <a:rPr kumimoji="0" lang="en-US" sz="1200" b="1" i="0" u="none" strike="noStrike" kern="1200" cap="none" spc="0" normalizeH="0" baseline="0" noProof="0" dirty="0">
                <a:ln>
                  <a:noFill/>
                </a:ln>
                <a:effectLst/>
                <a:uLnTx/>
                <a:uFillTx/>
                <a:ea typeface="+mn-ea"/>
                <a:cs typeface="Segoe UI Semibold" panose="020B0702040204020203" pitchFamily="34" charset="0"/>
              </a:rPr>
              <a:t>Networking</a:t>
            </a:r>
          </a:p>
        </p:txBody>
      </p:sp>
      <p:sp>
        <p:nvSpPr>
          <p:cNvPr id="63" name="TextBox 62">
            <a:extLst>
              <a:ext uri="{FF2B5EF4-FFF2-40B4-BE49-F238E27FC236}">
                <a16:creationId xmlns:a16="http://schemas.microsoft.com/office/drawing/2014/main" id="{5A03BCCB-B609-472B-9CDF-821A3568B1FC}"/>
              </a:ext>
            </a:extLst>
          </p:cNvPr>
          <p:cNvSpPr txBox="1"/>
          <p:nvPr/>
        </p:nvSpPr>
        <p:spPr>
          <a:xfrm>
            <a:off x="2081857" y="3196817"/>
            <a:ext cx="558230" cy="184666"/>
          </a:xfrm>
          <a:prstGeom prst="rect">
            <a:avLst/>
          </a:prstGeom>
          <a:noFill/>
        </p:spPr>
        <p:txBody>
          <a:bodyPr wrap="none" lIns="0" tIns="0" rIns="0" bIns="0" rtlCol="0">
            <a:spAutoFit/>
          </a:bodyPr>
          <a:lstStyle/>
          <a:p>
            <a:pPr marL="0" marR="0" lvl="0" indent="0" algn="ctr" defTabSz="932504" rtl="0" eaLnBrk="1" fontAlgn="auto" latinLnBrk="0" hangingPunct="1">
              <a:spcBef>
                <a:spcPts val="0"/>
              </a:spcBef>
              <a:spcAft>
                <a:spcPts val="612"/>
              </a:spcAft>
              <a:buClrTx/>
              <a:buSzTx/>
              <a:buFontTx/>
              <a:buNone/>
              <a:tabLst/>
              <a:defRPr/>
            </a:pPr>
            <a:r>
              <a:rPr kumimoji="0" lang="en-US" sz="1200" b="1" i="0" u="none" strike="noStrike" kern="1200" cap="none" spc="0" normalizeH="0" baseline="0" noProof="0" dirty="0">
                <a:ln>
                  <a:noFill/>
                </a:ln>
                <a:effectLst/>
                <a:uLnTx/>
                <a:uFillTx/>
                <a:ea typeface="+mn-ea"/>
                <a:cs typeface="Segoe UI Semibold" panose="020B0702040204020203" pitchFamily="34" charset="0"/>
              </a:rPr>
              <a:t>Storage</a:t>
            </a:r>
          </a:p>
        </p:txBody>
      </p:sp>
      <p:grpSp>
        <p:nvGrpSpPr>
          <p:cNvPr id="64" name="Graphic 65">
            <a:extLst>
              <a:ext uri="{FF2B5EF4-FFF2-40B4-BE49-F238E27FC236}">
                <a16:creationId xmlns:a16="http://schemas.microsoft.com/office/drawing/2014/main" id="{C6A6B38D-1F1A-4066-826A-E2CC7760A568}"/>
              </a:ext>
            </a:extLst>
          </p:cNvPr>
          <p:cNvGrpSpPr/>
          <p:nvPr/>
        </p:nvGrpSpPr>
        <p:grpSpPr>
          <a:xfrm>
            <a:off x="1029843" y="2578783"/>
            <a:ext cx="490694" cy="568521"/>
            <a:chOff x="1050375" y="2142618"/>
            <a:chExt cx="557047" cy="667675"/>
          </a:xfrm>
        </p:grpSpPr>
        <p:sp>
          <p:nvSpPr>
            <p:cNvPr id="65" name="Freeform: Shape 64">
              <a:extLst>
                <a:ext uri="{FF2B5EF4-FFF2-40B4-BE49-F238E27FC236}">
                  <a16:creationId xmlns:a16="http://schemas.microsoft.com/office/drawing/2014/main" id="{F70D47BF-E3CD-406F-BD41-F684C016FB9C}"/>
                </a:ext>
              </a:extLst>
            </p:cNvPr>
            <p:cNvSpPr/>
            <p:nvPr/>
          </p:nvSpPr>
          <p:spPr>
            <a:xfrm>
              <a:off x="1418703" y="2155633"/>
              <a:ext cx="169197" cy="156181"/>
            </a:xfrm>
            <a:custGeom>
              <a:avLst/>
              <a:gdLst>
                <a:gd name="connsiteX0" fmla="*/ 162949 w 169196"/>
                <a:gd name="connsiteY0" fmla="*/ 147331 h 156181"/>
                <a:gd name="connsiteX1" fmla="*/ 13275 w 169196"/>
                <a:gd name="connsiteY1" fmla="*/ 13275 h 156181"/>
                <a:gd name="connsiteX2" fmla="*/ 67939 w 169196"/>
                <a:gd name="connsiteY2" fmla="*/ 147331 h 156181"/>
                <a:gd name="connsiteX3" fmla="*/ 162949 w 169196"/>
                <a:gd name="connsiteY3" fmla="*/ 147331 h 156181"/>
              </a:gdLst>
              <a:ahLst/>
              <a:cxnLst>
                <a:cxn ang="0">
                  <a:pos x="connsiteX0" y="connsiteY0"/>
                </a:cxn>
                <a:cxn ang="0">
                  <a:pos x="connsiteX1" y="connsiteY1"/>
                </a:cxn>
                <a:cxn ang="0">
                  <a:pos x="connsiteX2" y="connsiteY2"/>
                </a:cxn>
                <a:cxn ang="0">
                  <a:pos x="connsiteX3" y="connsiteY3"/>
                </a:cxn>
              </a:cxnLst>
              <a:rect l="l" t="t" r="r" b="b"/>
              <a:pathLst>
                <a:path w="169196" h="156181">
                  <a:moveTo>
                    <a:pt x="162949" y="147331"/>
                  </a:moveTo>
                  <a:cubicBezTo>
                    <a:pt x="134316" y="83557"/>
                    <a:pt x="79653" y="35401"/>
                    <a:pt x="13275" y="13275"/>
                  </a:cubicBezTo>
                  <a:cubicBezTo>
                    <a:pt x="38004" y="44512"/>
                    <a:pt x="57527" y="91366"/>
                    <a:pt x="67939" y="147331"/>
                  </a:cubicBezTo>
                  <a:lnTo>
                    <a:pt x="162949" y="147331"/>
                  </a:lnTo>
                  <a:close/>
                </a:path>
              </a:pathLst>
            </a:custGeom>
            <a:solidFill>
              <a:srgbClr val="0078D4"/>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6" name="Freeform: Shape 65">
              <a:extLst>
                <a:ext uri="{FF2B5EF4-FFF2-40B4-BE49-F238E27FC236}">
                  <a16:creationId xmlns:a16="http://schemas.microsoft.com/office/drawing/2014/main" id="{27A99BC4-42D9-4B8A-8CDF-8F6AE7B6CBCF}"/>
                </a:ext>
              </a:extLst>
            </p:cNvPr>
            <p:cNvSpPr/>
            <p:nvPr/>
          </p:nvSpPr>
          <p:spPr>
            <a:xfrm>
              <a:off x="1236491" y="2142618"/>
              <a:ext cx="221257" cy="169197"/>
            </a:xfrm>
            <a:custGeom>
              <a:avLst/>
              <a:gdLst>
                <a:gd name="connsiteX0" fmla="*/ 216311 w 221257"/>
                <a:gd name="connsiteY0" fmla="*/ 160346 h 169196"/>
                <a:gd name="connsiteX1" fmla="*/ 114793 w 221257"/>
                <a:gd name="connsiteY1" fmla="*/ 13275 h 169196"/>
                <a:gd name="connsiteX2" fmla="*/ 13275 w 221257"/>
                <a:gd name="connsiteY2" fmla="*/ 160346 h 169196"/>
                <a:gd name="connsiteX3" fmla="*/ 216311 w 221257"/>
                <a:gd name="connsiteY3" fmla="*/ 160346 h 169196"/>
              </a:gdLst>
              <a:ahLst/>
              <a:cxnLst>
                <a:cxn ang="0">
                  <a:pos x="connsiteX0" y="connsiteY0"/>
                </a:cxn>
                <a:cxn ang="0">
                  <a:pos x="connsiteX1" y="connsiteY1"/>
                </a:cxn>
                <a:cxn ang="0">
                  <a:pos x="connsiteX2" y="connsiteY2"/>
                </a:cxn>
                <a:cxn ang="0">
                  <a:pos x="connsiteX3" y="connsiteY3"/>
                </a:cxn>
              </a:cxnLst>
              <a:rect l="l" t="t" r="r" b="b"/>
              <a:pathLst>
                <a:path w="221257" h="169196">
                  <a:moveTo>
                    <a:pt x="216311" y="160346"/>
                  </a:moveTo>
                  <a:cubicBezTo>
                    <a:pt x="198090" y="73145"/>
                    <a:pt x="159045" y="13275"/>
                    <a:pt x="114793" y="13275"/>
                  </a:cubicBezTo>
                  <a:cubicBezTo>
                    <a:pt x="70542" y="13275"/>
                    <a:pt x="30195" y="73145"/>
                    <a:pt x="13275" y="160346"/>
                  </a:cubicBezTo>
                  <a:lnTo>
                    <a:pt x="216311" y="160346"/>
                  </a:lnTo>
                  <a:close/>
                </a:path>
              </a:pathLst>
            </a:custGeom>
            <a:solidFill>
              <a:schemeClr val="tx1">
                <a:lumMod val="75000"/>
              </a:schemeClr>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7" name="Freeform: Shape 66">
              <a:extLst>
                <a:ext uri="{FF2B5EF4-FFF2-40B4-BE49-F238E27FC236}">
                  <a16:creationId xmlns:a16="http://schemas.microsoft.com/office/drawing/2014/main" id="{54A01367-0998-44A0-B3EE-E73165D1FFF3}"/>
                </a:ext>
              </a:extLst>
            </p:cNvPr>
            <p:cNvSpPr/>
            <p:nvPr/>
          </p:nvSpPr>
          <p:spPr>
            <a:xfrm>
              <a:off x="1107642" y="2155633"/>
              <a:ext cx="169197" cy="156181"/>
            </a:xfrm>
            <a:custGeom>
              <a:avLst/>
              <a:gdLst>
                <a:gd name="connsiteX0" fmla="*/ 108286 w 169196"/>
                <a:gd name="connsiteY0" fmla="*/ 147331 h 156181"/>
                <a:gd name="connsiteX1" fmla="*/ 162949 w 169196"/>
                <a:gd name="connsiteY1" fmla="*/ 13275 h 156181"/>
                <a:gd name="connsiteX2" fmla="*/ 13275 w 169196"/>
                <a:gd name="connsiteY2" fmla="*/ 147331 h 156181"/>
                <a:gd name="connsiteX3" fmla="*/ 108286 w 169196"/>
                <a:gd name="connsiteY3" fmla="*/ 147331 h 156181"/>
              </a:gdLst>
              <a:ahLst/>
              <a:cxnLst>
                <a:cxn ang="0">
                  <a:pos x="connsiteX0" y="connsiteY0"/>
                </a:cxn>
                <a:cxn ang="0">
                  <a:pos x="connsiteX1" y="connsiteY1"/>
                </a:cxn>
                <a:cxn ang="0">
                  <a:pos x="connsiteX2" y="connsiteY2"/>
                </a:cxn>
                <a:cxn ang="0">
                  <a:pos x="connsiteX3" y="connsiteY3"/>
                </a:cxn>
              </a:cxnLst>
              <a:rect l="l" t="t" r="r" b="b"/>
              <a:pathLst>
                <a:path w="169196" h="156181">
                  <a:moveTo>
                    <a:pt x="108286" y="147331"/>
                  </a:moveTo>
                  <a:cubicBezTo>
                    <a:pt x="118698" y="91366"/>
                    <a:pt x="138221" y="44512"/>
                    <a:pt x="162949" y="13275"/>
                  </a:cubicBezTo>
                  <a:cubicBezTo>
                    <a:pt x="96572" y="35401"/>
                    <a:pt x="41909" y="84859"/>
                    <a:pt x="13275" y="147331"/>
                  </a:cubicBezTo>
                  <a:lnTo>
                    <a:pt x="108286" y="147331"/>
                  </a:lnTo>
                  <a:close/>
                </a:path>
              </a:pathLst>
            </a:custGeom>
            <a:solidFill>
              <a:schemeClr val="tx1">
                <a:lumMod val="75000"/>
              </a:schemeClr>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8" name="Freeform: Shape 67">
              <a:extLst>
                <a:ext uri="{FF2B5EF4-FFF2-40B4-BE49-F238E27FC236}">
                  <a16:creationId xmlns:a16="http://schemas.microsoft.com/office/drawing/2014/main" id="{C3F82486-8310-46AA-BA31-D3C0256CA573}"/>
                </a:ext>
              </a:extLst>
            </p:cNvPr>
            <p:cNvSpPr/>
            <p:nvPr/>
          </p:nvSpPr>
          <p:spPr>
            <a:xfrm>
              <a:off x="1084214" y="2322226"/>
              <a:ext cx="130151" cy="91106"/>
            </a:xfrm>
            <a:custGeom>
              <a:avLst/>
              <a:gdLst>
                <a:gd name="connsiteX0" fmla="*/ 126507 w 130151"/>
                <a:gd name="connsiteY0" fmla="*/ 13275 h 91105"/>
                <a:gd name="connsiteX1" fmla="*/ 23688 w 130151"/>
                <a:gd name="connsiteY1" fmla="*/ 13275 h 91105"/>
                <a:gd name="connsiteX2" fmla="*/ 13275 w 130151"/>
                <a:gd name="connsiteY2" fmla="*/ 86160 h 91105"/>
                <a:gd name="connsiteX3" fmla="*/ 122602 w 130151"/>
                <a:gd name="connsiteY3" fmla="*/ 86160 h 91105"/>
                <a:gd name="connsiteX4" fmla="*/ 126507 w 130151"/>
                <a:gd name="connsiteY4" fmla="*/ 13275 h 91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151" h="91105">
                  <a:moveTo>
                    <a:pt x="126507" y="13275"/>
                  </a:moveTo>
                  <a:lnTo>
                    <a:pt x="23688" y="13275"/>
                  </a:lnTo>
                  <a:cubicBezTo>
                    <a:pt x="17180" y="36703"/>
                    <a:pt x="13275" y="61431"/>
                    <a:pt x="13275" y="86160"/>
                  </a:cubicBezTo>
                  <a:lnTo>
                    <a:pt x="122602" y="86160"/>
                  </a:lnTo>
                  <a:cubicBezTo>
                    <a:pt x="122602" y="61431"/>
                    <a:pt x="123904" y="36703"/>
                    <a:pt x="126507" y="13275"/>
                  </a:cubicBezTo>
                  <a:close/>
                </a:path>
              </a:pathLst>
            </a:custGeom>
            <a:solidFill>
              <a:schemeClr val="tx1">
                <a:lumMod val="75000"/>
              </a:schemeClr>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9" name="Freeform: Shape 68">
              <a:extLst>
                <a:ext uri="{FF2B5EF4-FFF2-40B4-BE49-F238E27FC236}">
                  <a16:creationId xmlns:a16="http://schemas.microsoft.com/office/drawing/2014/main" id="{0222B8A7-3612-403A-B59B-13DDA5998DAE}"/>
                </a:ext>
              </a:extLst>
            </p:cNvPr>
            <p:cNvSpPr/>
            <p:nvPr/>
          </p:nvSpPr>
          <p:spPr>
            <a:xfrm>
              <a:off x="1050375" y="2428950"/>
              <a:ext cx="416484" cy="247287"/>
            </a:xfrm>
            <a:custGeom>
              <a:avLst/>
              <a:gdLst>
                <a:gd name="connsiteX0" fmla="*/ 13275 w 416483"/>
                <a:gd name="connsiteY0" fmla="*/ 241040 h 247287"/>
                <a:gd name="connsiteX1" fmla="*/ 13275 w 416483"/>
                <a:gd name="connsiteY1" fmla="*/ 241040 h 247287"/>
                <a:gd name="connsiteX2" fmla="*/ 411538 w 416483"/>
                <a:gd name="connsiteY2" fmla="*/ 241040 h 247287"/>
                <a:gd name="connsiteX3" fmla="*/ 411538 w 416483"/>
                <a:gd name="connsiteY3" fmla="*/ 13275 h 247287"/>
                <a:gd name="connsiteX4" fmla="*/ 13275 w 416483"/>
                <a:gd name="connsiteY4" fmla="*/ 13275 h 247287"/>
                <a:gd name="connsiteX5" fmla="*/ 13275 w 416483"/>
                <a:gd name="connsiteY5" fmla="*/ 241040 h 247287"/>
                <a:gd name="connsiteX6" fmla="*/ 13275 w 416483"/>
                <a:gd name="connsiteY6" fmla="*/ 241040 h 24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483" h="247287">
                  <a:moveTo>
                    <a:pt x="13275" y="241040"/>
                  </a:moveTo>
                  <a:lnTo>
                    <a:pt x="13275" y="241040"/>
                  </a:lnTo>
                  <a:lnTo>
                    <a:pt x="411538" y="241040"/>
                  </a:lnTo>
                  <a:lnTo>
                    <a:pt x="411538" y="13275"/>
                  </a:lnTo>
                  <a:lnTo>
                    <a:pt x="13275" y="13275"/>
                  </a:lnTo>
                  <a:lnTo>
                    <a:pt x="13275" y="241040"/>
                  </a:lnTo>
                  <a:lnTo>
                    <a:pt x="13275" y="241040"/>
                  </a:lnTo>
                  <a:close/>
                </a:path>
              </a:pathLst>
            </a:custGeom>
            <a:solidFill>
              <a:srgbClr val="0078D4"/>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0" name="Freeform: Shape 69">
              <a:extLst>
                <a:ext uri="{FF2B5EF4-FFF2-40B4-BE49-F238E27FC236}">
                  <a16:creationId xmlns:a16="http://schemas.microsoft.com/office/drawing/2014/main" id="{4AB67EB9-FDA0-41F7-B766-840A7876556C}"/>
                </a:ext>
              </a:extLst>
            </p:cNvPr>
            <p:cNvSpPr/>
            <p:nvPr/>
          </p:nvSpPr>
          <p:spPr>
            <a:xfrm>
              <a:off x="1138878" y="2693157"/>
              <a:ext cx="247287" cy="117136"/>
            </a:xfrm>
            <a:custGeom>
              <a:avLst/>
              <a:gdLst>
                <a:gd name="connsiteX0" fmla="*/ 101778 w 247287"/>
                <a:gd name="connsiteY0" fmla="*/ 13275 h 117136"/>
                <a:gd name="connsiteX1" fmla="*/ 101778 w 247287"/>
                <a:gd name="connsiteY1" fmla="*/ 13275 h 117136"/>
                <a:gd name="connsiteX2" fmla="*/ 101778 w 247287"/>
                <a:gd name="connsiteY2" fmla="*/ 58828 h 117136"/>
                <a:gd name="connsiteX3" fmla="*/ 13275 w 247287"/>
                <a:gd name="connsiteY3" fmla="*/ 58828 h 117136"/>
                <a:gd name="connsiteX4" fmla="*/ 13275 w 247287"/>
                <a:gd name="connsiteY4" fmla="*/ 104381 h 117136"/>
                <a:gd name="connsiteX5" fmla="*/ 234532 w 247287"/>
                <a:gd name="connsiteY5" fmla="*/ 104381 h 117136"/>
                <a:gd name="connsiteX6" fmla="*/ 234532 w 247287"/>
                <a:gd name="connsiteY6" fmla="*/ 58828 h 117136"/>
                <a:gd name="connsiteX7" fmla="*/ 146030 w 247287"/>
                <a:gd name="connsiteY7" fmla="*/ 58828 h 117136"/>
                <a:gd name="connsiteX8" fmla="*/ 146030 w 247287"/>
                <a:gd name="connsiteY8" fmla="*/ 13275 h 117136"/>
                <a:gd name="connsiteX9" fmla="*/ 101778 w 247287"/>
                <a:gd name="connsiteY9" fmla="*/ 13275 h 117136"/>
                <a:gd name="connsiteX10" fmla="*/ 101778 w 247287"/>
                <a:gd name="connsiteY10" fmla="*/ 13275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287" h="117136">
                  <a:moveTo>
                    <a:pt x="101778" y="13275"/>
                  </a:moveTo>
                  <a:lnTo>
                    <a:pt x="101778" y="13275"/>
                  </a:lnTo>
                  <a:lnTo>
                    <a:pt x="101778" y="58828"/>
                  </a:lnTo>
                  <a:lnTo>
                    <a:pt x="13275" y="58828"/>
                  </a:lnTo>
                  <a:lnTo>
                    <a:pt x="13275" y="104381"/>
                  </a:lnTo>
                  <a:lnTo>
                    <a:pt x="234532" y="104381"/>
                  </a:lnTo>
                  <a:lnTo>
                    <a:pt x="234532" y="58828"/>
                  </a:lnTo>
                  <a:lnTo>
                    <a:pt x="146030" y="58828"/>
                  </a:lnTo>
                  <a:lnTo>
                    <a:pt x="146030" y="13275"/>
                  </a:lnTo>
                  <a:lnTo>
                    <a:pt x="101778" y="13275"/>
                  </a:lnTo>
                  <a:lnTo>
                    <a:pt x="101778" y="13275"/>
                  </a:lnTo>
                  <a:close/>
                </a:path>
              </a:pathLst>
            </a:custGeom>
            <a:solidFill>
              <a:srgbClr val="0078D4"/>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1" name="Freeform: Shape 70">
              <a:extLst>
                <a:ext uri="{FF2B5EF4-FFF2-40B4-BE49-F238E27FC236}">
                  <a16:creationId xmlns:a16="http://schemas.microsoft.com/office/drawing/2014/main" id="{42D182E8-0D60-44B7-AF85-B07617C9E474}"/>
                </a:ext>
              </a:extLst>
            </p:cNvPr>
            <p:cNvSpPr/>
            <p:nvPr/>
          </p:nvSpPr>
          <p:spPr>
            <a:xfrm>
              <a:off x="1226079" y="2322226"/>
              <a:ext cx="247287" cy="91106"/>
            </a:xfrm>
            <a:custGeom>
              <a:avLst/>
              <a:gdLst>
                <a:gd name="connsiteX0" fmla="*/ 231929 w 247287"/>
                <a:gd name="connsiteY0" fmla="*/ 13275 h 91105"/>
                <a:gd name="connsiteX1" fmla="*/ 18481 w 247287"/>
                <a:gd name="connsiteY1" fmla="*/ 13275 h 91105"/>
                <a:gd name="connsiteX2" fmla="*/ 13275 w 247287"/>
                <a:gd name="connsiteY2" fmla="*/ 86160 h 91105"/>
                <a:gd name="connsiteX3" fmla="*/ 235834 w 247287"/>
                <a:gd name="connsiteY3" fmla="*/ 86160 h 91105"/>
                <a:gd name="connsiteX4" fmla="*/ 231929 w 247287"/>
                <a:gd name="connsiteY4" fmla="*/ 13275 h 91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287" h="91105">
                  <a:moveTo>
                    <a:pt x="231929" y="13275"/>
                  </a:moveTo>
                  <a:lnTo>
                    <a:pt x="18481" y="13275"/>
                  </a:lnTo>
                  <a:cubicBezTo>
                    <a:pt x="15878" y="36703"/>
                    <a:pt x="13275" y="61431"/>
                    <a:pt x="13275" y="86160"/>
                  </a:cubicBezTo>
                  <a:lnTo>
                    <a:pt x="235834" y="86160"/>
                  </a:lnTo>
                  <a:cubicBezTo>
                    <a:pt x="235834" y="61431"/>
                    <a:pt x="234532" y="36703"/>
                    <a:pt x="231929" y="13275"/>
                  </a:cubicBezTo>
                  <a:close/>
                </a:path>
              </a:pathLst>
            </a:custGeom>
            <a:solidFill>
              <a:schemeClr val="tx1">
                <a:lumMod val="75000"/>
              </a:schemeClr>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2" name="Freeform: Shape 71">
              <a:extLst>
                <a:ext uri="{FF2B5EF4-FFF2-40B4-BE49-F238E27FC236}">
                  <a16:creationId xmlns:a16="http://schemas.microsoft.com/office/drawing/2014/main" id="{377A272B-4BBC-4D78-8688-EA5160AFF334}"/>
                </a:ext>
              </a:extLst>
            </p:cNvPr>
            <p:cNvSpPr/>
            <p:nvPr/>
          </p:nvSpPr>
          <p:spPr>
            <a:xfrm>
              <a:off x="1477271" y="2322226"/>
              <a:ext cx="130151" cy="169197"/>
            </a:xfrm>
            <a:custGeom>
              <a:avLst/>
              <a:gdLst>
                <a:gd name="connsiteX0" fmla="*/ 116095 w 130151"/>
                <a:gd name="connsiteY0" fmla="*/ 13275 h 169196"/>
                <a:gd name="connsiteX1" fmla="*/ 13275 w 130151"/>
                <a:gd name="connsiteY1" fmla="*/ 13275 h 169196"/>
                <a:gd name="connsiteX2" fmla="*/ 17180 w 130151"/>
                <a:gd name="connsiteY2" fmla="*/ 86160 h 169196"/>
                <a:gd name="connsiteX3" fmla="*/ 17180 w 130151"/>
                <a:gd name="connsiteY3" fmla="*/ 159045 h 169196"/>
                <a:gd name="connsiteX4" fmla="*/ 116095 w 130151"/>
                <a:gd name="connsiteY4" fmla="*/ 159045 h 169196"/>
                <a:gd name="connsiteX5" fmla="*/ 126507 w 130151"/>
                <a:gd name="connsiteY5" fmla="*/ 86160 h 169196"/>
                <a:gd name="connsiteX6" fmla="*/ 116095 w 130151"/>
                <a:gd name="connsiteY6" fmla="*/ 13275 h 16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151" h="169196">
                  <a:moveTo>
                    <a:pt x="116095" y="13275"/>
                  </a:moveTo>
                  <a:lnTo>
                    <a:pt x="13275" y="13275"/>
                  </a:lnTo>
                  <a:cubicBezTo>
                    <a:pt x="15878" y="36703"/>
                    <a:pt x="17180" y="61431"/>
                    <a:pt x="17180" y="86160"/>
                  </a:cubicBezTo>
                  <a:lnTo>
                    <a:pt x="17180" y="159045"/>
                  </a:lnTo>
                  <a:lnTo>
                    <a:pt x="116095" y="159045"/>
                  </a:lnTo>
                  <a:cubicBezTo>
                    <a:pt x="122602" y="135618"/>
                    <a:pt x="126507" y="110889"/>
                    <a:pt x="126507" y="86160"/>
                  </a:cubicBezTo>
                  <a:cubicBezTo>
                    <a:pt x="126507" y="61431"/>
                    <a:pt x="123904" y="36703"/>
                    <a:pt x="116095" y="13275"/>
                  </a:cubicBezTo>
                  <a:close/>
                </a:path>
              </a:pathLst>
            </a:custGeom>
            <a:solidFill>
              <a:srgbClr val="0078D4"/>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3" name="Freeform: Shape 72">
              <a:extLst>
                <a:ext uri="{FF2B5EF4-FFF2-40B4-BE49-F238E27FC236}">
                  <a16:creationId xmlns:a16="http://schemas.microsoft.com/office/drawing/2014/main" id="{0941B2D8-58FF-4713-9914-E00FCEC4911B}"/>
                </a:ext>
              </a:extLst>
            </p:cNvPr>
            <p:cNvSpPr/>
            <p:nvPr/>
          </p:nvSpPr>
          <p:spPr>
            <a:xfrm>
              <a:off x="1481176" y="2501835"/>
              <a:ext cx="104121" cy="117136"/>
            </a:xfrm>
            <a:custGeom>
              <a:avLst/>
              <a:gdLst>
                <a:gd name="connsiteX0" fmla="*/ 13275 w 104120"/>
                <a:gd name="connsiteY0" fmla="*/ 13275 h 117136"/>
                <a:gd name="connsiteX1" fmla="*/ 13275 w 104120"/>
                <a:gd name="connsiteY1" fmla="*/ 116095 h 117136"/>
                <a:gd name="connsiteX2" fmla="*/ 99175 w 104120"/>
                <a:gd name="connsiteY2" fmla="*/ 13275 h 117136"/>
                <a:gd name="connsiteX3" fmla="*/ 13275 w 104120"/>
                <a:gd name="connsiteY3" fmla="*/ 13275 h 117136"/>
              </a:gdLst>
              <a:ahLst/>
              <a:cxnLst>
                <a:cxn ang="0">
                  <a:pos x="connsiteX0" y="connsiteY0"/>
                </a:cxn>
                <a:cxn ang="0">
                  <a:pos x="connsiteX1" y="connsiteY1"/>
                </a:cxn>
                <a:cxn ang="0">
                  <a:pos x="connsiteX2" y="connsiteY2"/>
                </a:cxn>
                <a:cxn ang="0">
                  <a:pos x="connsiteX3" y="connsiteY3"/>
                </a:cxn>
              </a:cxnLst>
              <a:rect l="l" t="t" r="r" b="b"/>
              <a:pathLst>
                <a:path w="104120" h="117136">
                  <a:moveTo>
                    <a:pt x="13275" y="13275"/>
                  </a:moveTo>
                  <a:lnTo>
                    <a:pt x="13275" y="116095"/>
                  </a:lnTo>
                  <a:cubicBezTo>
                    <a:pt x="51019" y="90065"/>
                    <a:pt x="79653" y="54924"/>
                    <a:pt x="99175" y="13275"/>
                  </a:cubicBezTo>
                  <a:cubicBezTo>
                    <a:pt x="99175" y="13275"/>
                    <a:pt x="13275" y="13275"/>
                    <a:pt x="13275" y="13275"/>
                  </a:cubicBezTo>
                  <a:close/>
                </a:path>
              </a:pathLst>
            </a:custGeom>
            <a:solidFill>
              <a:srgbClr val="0078D4"/>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nvGrpSpPr>
          <p:cNvPr id="74" name="Graphic 66">
            <a:extLst>
              <a:ext uri="{FF2B5EF4-FFF2-40B4-BE49-F238E27FC236}">
                <a16:creationId xmlns:a16="http://schemas.microsoft.com/office/drawing/2014/main" id="{053B9A9B-0143-4F36-9361-696C466D0A25}"/>
              </a:ext>
            </a:extLst>
          </p:cNvPr>
          <p:cNvGrpSpPr/>
          <p:nvPr/>
        </p:nvGrpSpPr>
        <p:grpSpPr>
          <a:xfrm>
            <a:off x="3239448" y="2577063"/>
            <a:ext cx="520840" cy="560558"/>
            <a:chOff x="1047382" y="3594520"/>
            <a:chExt cx="566157" cy="641645"/>
          </a:xfrm>
          <a:solidFill>
            <a:schemeClr val="tx2"/>
          </a:solidFill>
        </p:grpSpPr>
        <p:sp>
          <p:nvSpPr>
            <p:cNvPr id="75" name="Freeform: Shape 74">
              <a:extLst>
                <a:ext uri="{FF2B5EF4-FFF2-40B4-BE49-F238E27FC236}">
                  <a16:creationId xmlns:a16="http://schemas.microsoft.com/office/drawing/2014/main" id="{26380CB7-5BB6-40FC-A047-6FFE4813EEE6}"/>
                </a:ext>
              </a:extLst>
            </p:cNvPr>
            <p:cNvSpPr/>
            <p:nvPr/>
          </p:nvSpPr>
          <p:spPr>
            <a:xfrm>
              <a:off x="1207468" y="3860028"/>
              <a:ext cx="247287" cy="156181"/>
            </a:xfrm>
            <a:custGeom>
              <a:avLst/>
              <a:gdLst>
                <a:gd name="connsiteX0" fmla="*/ 215400 w 247287"/>
                <a:gd name="connsiteY0" fmla="*/ 151626 h 156181"/>
                <a:gd name="connsiteX1" fmla="*/ 125596 w 247287"/>
                <a:gd name="connsiteY1" fmla="*/ 64425 h 156181"/>
                <a:gd name="connsiteX2" fmla="*/ 37093 w 247287"/>
                <a:gd name="connsiteY2" fmla="*/ 151626 h 156181"/>
                <a:gd name="connsiteX3" fmla="*/ 9761 w 247287"/>
                <a:gd name="connsiteY3" fmla="*/ 124294 h 156181"/>
                <a:gd name="connsiteX4" fmla="*/ 125596 w 247287"/>
                <a:gd name="connsiteY4" fmla="*/ 9761 h 156181"/>
                <a:gd name="connsiteX5" fmla="*/ 242732 w 247287"/>
                <a:gd name="connsiteY5" fmla="*/ 124294 h 15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287" h="156181">
                  <a:moveTo>
                    <a:pt x="215400" y="151626"/>
                  </a:moveTo>
                  <a:lnTo>
                    <a:pt x="125596" y="64425"/>
                  </a:lnTo>
                  <a:lnTo>
                    <a:pt x="37093" y="151626"/>
                  </a:lnTo>
                  <a:lnTo>
                    <a:pt x="9761" y="124294"/>
                  </a:lnTo>
                  <a:lnTo>
                    <a:pt x="125596" y="9761"/>
                  </a:lnTo>
                  <a:lnTo>
                    <a:pt x="242732" y="124294"/>
                  </a:lnTo>
                  <a:close/>
                </a:path>
              </a:pathLst>
            </a:custGeom>
            <a:solidFill>
              <a:schemeClr val="tx1">
                <a:lumMod val="75000"/>
              </a:scheme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6" name="Freeform: Shape 75">
              <a:extLst>
                <a:ext uri="{FF2B5EF4-FFF2-40B4-BE49-F238E27FC236}">
                  <a16:creationId xmlns:a16="http://schemas.microsoft.com/office/drawing/2014/main" id="{C1ADFFB4-FAA1-4CA4-8429-453D79D9145C}"/>
                </a:ext>
              </a:extLst>
            </p:cNvPr>
            <p:cNvSpPr/>
            <p:nvPr/>
          </p:nvSpPr>
          <p:spPr>
            <a:xfrm>
              <a:off x="1259528" y="3594520"/>
              <a:ext cx="143166" cy="143166"/>
            </a:xfrm>
            <a:custGeom>
              <a:avLst/>
              <a:gdLst>
                <a:gd name="connsiteX0" fmla="*/ 74837 w 143166"/>
                <a:gd name="connsiteY0" fmla="*/ 134706 h 143166"/>
                <a:gd name="connsiteX1" fmla="*/ 74837 w 143166"/>
                <a:gd name="connsiteY1" fmla="*/ 134706 h 143166"/>
                <a:gd name="connsiteX2" fmla="*/ 138611 w 143166"/>
                <a:gd name="connsiteY2" fmla="*/ 72234 h 143166"/>
                <a:gd name="connsiteX3" fmla="*/ 100867 w 143166"/>
                <a:gd name="connsiteY3" fmla="*/ 14967 h 143166"/>
                <a:gd name="connsiteX4" fmla="*/ 74837 w 143166"/>
                <a:gd name="connsiteY4" fmla="*/ 9761 h 143166"/>
                <a:gd name="connsiteX5" fmla="*/ 48807 w 143166"/>
                <a:gd name="connsiteY5" fmla="*/ 14967 h 143166"/>
                <a:gd name="connsiteX6" fmla="*/ 9761 w 143166"/>
                <a:gd name="connsiteY6" fmla="*/ 72234 h 143166"/>
                <a:gd name="connsiteX7" fmla="*/ 74837 w 143166"/>
                <a:gd name="connsiteY7" fmla="*/ 134706 h 143166"/>
                <a:gd name="connsiteX8" fmla="*/ 74837 w 143166"/>
                <a:gd name="connsiteY8" fmla="*/ 134706 h 143166"/>
                <a:gd name="connsiteX9" fmla="*/ 74837 w 143166"/>
                <a:gd name="connsiteY9" fmla="*/ 134706 h 143166"/>
                <a:gd name="connsiteX10" fmla="*/ 74837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4837" y="134706"/>
                  </a:moveTo>
                  <a:lnTo>
                    <a:pt x="74837" y="134706"/>
                  </a:lnTo>
                  <a:cubicBezTo>
                    <a:pt x="109978" y="134706"/>
                    <a:pt x="138611" y="107375"/>
                    <a:pt x="138611" y="72234"/>
                  </a:cubicBezTo>
                  <a:cubicBezTo>
                    <a:pt x="138611" y="46204"/>
                    <a:pt x="122993" y="25379"/>
                    <a:pt x="100867" y="14967"/>
                  </a:cubicBezTo>
                  <a:cubicBezTo>
                    <a:pt x="93058" y="11063"/>
                    <a:pt x="83948" y="9761"/>
                    <a:pt x="74837" y="9761"/>
                  </a:cubicBezTo>
                  <a:cubicBezTo>
                    <a:pt x="65726" y="9761"/>
                    <a:pt x="56616" y="11063"/>
                    <a:pt x="48807" y="14967"/>
                  </a:cubicBezTo>
                  <a:cubicBezTo>
                    <a:pt x="25379" y="25379"/>
                    <a:pt x="9761" y="46204"/>
                    <a:pt x="9761" y="72234"/>
                  </a:cubicBezTo>
                  <a:cubicBezTo>
                    <a:pt x="9761" y="107375"/>
                    <a:pt x="38395" y="134706"/>
                    <a:pt x="74837" y="134706"/>
                  </a:cubicBezTo>
                  <a:lnTo>
                    <a:pt x="74837" y="134706"/>
                  </a:lnTo>
                  <a:lnTo>
                    <a:pt x="74837" y="134706"/>
                  </a:lnTo>
                  <a:lnTo>
                    <a:pt x="74837" y="134706"/>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7" name="Freeform: Shape 76">
              <a:extLst>
                <a:ext uri="{FF2B5EF4-FFF2-40B4-BE49-F238E27FC236}">
                  <a16:creationId xmlns:a16="http://schemas.microsoft.com/office/drawing/2014/main" id="{3F469E8D-5DC4-4ABE-834D-4C67962A0281}"/>
                </a:ext>
              </a:extLst>
            </p:cNvPr>
            <p:cNvSpPr/>
            <p:nvPr/>
          </p:nvSpPr>
          <p:spPr>
            <a:xfrm>
              <a:off x="1226990" y="3735083"/>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3687"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8" name="Freeform: Shape 77">
              <a:extLst>
                <a:ext uri="{FF2B5EF4-FFF2-40B4-BE49-F238E27FC236}">
                  <a16:creationId xmlns:a16="http://schemas.microsoft.com/office/drawing/2014/main" id="{BFC2C602-511C-4002-A3DE-E7FAF5ECFC98}"/>
                </a:ext>
              </a:extLst>
            </p:cNvPr>
            <p:cNvSpPr/>
            <p:nvPr/>
          </p:nvSpPr>
          <p:spPr>
            <a:xfrm>
              <a:off x="1081221" y="3992782"/>
              <a:ext cx="143166" cy="143166"/>
            </a:xfrm>
            <a:custGeom>
              <a:avLst/>
              <a:gdLst>
                <a:gd name="connsiteX0" fmla="*/ 73535 w 143166"/>
                <a:gd name="connsiteY0" fmla="*/ 134706 h 143166"/>
                <a:gd name="connsiteX1" fmla="*/ 73535 w 143166"/>
                <a:gd name="connsiteY1" fmla="*/ 134706 h 143166"/>
                <a:gd name="connsiteX2" fmla="*/ 137310 w 143166"/>
                <a:gd name="connsiteY2" fmla="*/ 72234 h 143166"/>
                <a:gd name="connsiteX3" fmla="*/ 99566 w 143166"/>
                <a:gd name="connsiteY3" fmla="*/ 14967 h 143166"/>
                <a:gd name="connsiteX4" fmla="*/ 73535 w 143166"/>
                <a:gd name="connsiteY4" fmla="*/ 9761 h 143166"/>
                <a:gd name="connsiteX5" fmla="*/ 47505 w 143166"/>
                <a:gd name="connsiteY5" fmla="*/ 14967 h 143166"/>
                <a:gd name="connsiteX6" fmla="*/ 9761 w 143166"/>
                <a:gd name="connsiteY6" fmla="*/ 72234 h 143166"/>
                <a:gd name="connsiteX7" fmla="*/ 73535 w 143166"/>
                <a:gd name="connsiteY7" fmla="*/ 134706 h 143166"/>
                <a:gd name="connsiteX8" fmla="*/ 73535 w 143166"/>
                <a:gd name="connsiteY8" fmla="*/ 134706 h 143166"/>
                <a:gd name="connsiteX9" fmla="*/ 73535 w 143166"/>
                <a:gd name="connsiteY9" fmla="*/ 134706 h 143166"/>
                <a:gd name="connsiteX10" fmla="*/ 73535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3535" y="134706"/>
                  </a:moveTo>
                  <a:lnTo>
                    <a:pt x="73535" y="134706"/>
                  </a:lnTo>
                  <a:cubicBezTo>
                    <a:pt x="108676" y="134706"/>
                    <a:pt x="137310" y="107375"/>
                    <a:pt x="137310" y="72234"/>
                  </a:cubicBezTo>
                  <a:cubicBezTo>
                    <a:pt x="137310" y="46204"/>
                    <a:pt x="121691" y="25379"/>
                    <a:pt x="99566" y="14967"/>
                  </a:cubicBezTo>
                  <a:cubicBezTo>
                    <a:pt x="91757" y="11063"/>
                    <a:pt x="82646" y="9761"/>
                    <a:pt x="73535" y="9761"/>
                  </a:cubicBezTo>
                  <a:cubicBezTo>
                    <a:pt x="64425" y="9761"/>
                    <a:pt x="55314" y="11063"/>
                    <a:pt x="47505" y="14967"/>
                  </a:cubicBezTo>
                  <a:cubicBezTo>
                    <a:pt x="25379" y="25379"/>
                    <a:pt x="9761" y="46204"/>
                    <a:pt x="9761" y="72234"/>
                  </a:cubicBezTo>
                  <a:cubicBezTo>
                    <a:pt x="9761" y="106073"/>
                    <a:pt x="38395" y="134706"/>
                    <a:pt x="73535" y="134706"/>
                  </a:cubicBezTo>
                  <a:lnTo>
                    <a:pt x="73535" y="134706"/>
                  </a:lnTo>
                  <a:lnTo>
                    <a:pt x="73535" y="134706"/>
                  </a:lnTo>
                  <a:lnTo>
                    <a:pt x="73535" y="134706"/>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9" name="Freeform: Shape 78">
              <a:extLst>
                <a:ext uri="{FF2B5EF4-FFF2-40B4-BE49-F238E27FC236}">
                  <a16:creationId xmlns:a16="http://schemas.microsoft.com/office/drawing/2014/main" id="{0796BB6C-93A4-4063-8CE2-A32CEF7AEF44}"/>
                </a:ext>
              </a:extLst>
            </p:cNvPr>
            <p:cNvSpPr/>
            <p:nvPr/>
          </p:nvSpPr>
          <p:spPr>
            <a:xfrm>
              <a:off x="1047382" y="4132044"/>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4988"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80" name="Freeform: Shape 79">
              <a:extLst>
                <a:ext uri="{FF2B5EF4-FFF2-40B4-BE49-F238E27FC236}">
                  <a16:creationId xmlns:a16="http://schemas.microsoft.com/office/drawing/2014/main" id="{31B0DF5A-27A0-4650-BCA2-D9EA7A14FF09}"/>
                </a:ext>
              </a:extLst>
            </p:cNvPr>
            <p:cNvSpPr/>
            <p:nvPr/>
          </p:nvSpPr>
          <p:spPr>
            <a:xfrm>
              <a:off x="1439137" y="3992782"/>
              <a:ext cx="143166" cy="143166"/>
            </a:xfrm>
            <a:custGeom>
              <a:avLst/>
              <a:gdLst>
                <a:gd name="connsiteX0" fmla="*/ 73535 w 143166"/>
                <a:gd name="connsiteY0" fmla="*/ 134706 h 143166"/>
                <a:gd name="connsiteX1" fmla="*/ 73535 w 143166"/>
                <a:gd name="connsiteY1" fmla="*/ 134706 h 143166"/>
                <a:gd name="connsiteX2" fmla="*/ 137310 w 143166"/>
                <a:gd name="connsiteY2" fmla="*/ 72234 h 143166"/>
                <a:gd name="connsiteX3" fmla="*/ 99566 w 143166"/>
                <a:gd name="connsiteY3" fmla="*/ 14967 h 143166"/>
                <a:gd name="connsiteX4" fmla="*/ 73535 w 143166"/>
                <a:gd name="connsiteY4" fmla="*/ 9761 h 143166"/>
                <a:gd name="connsiteX5" fmla="*/ 47505 w 143166"/>
                <a:gd name="connsiteY5" fmla="*/ 14967 h 143166"/>
                <a:gd name="connsiteX6" fmla="*/ 9761 w 143166"/>
                <a:gd name="connsiteY6" fmla="*/ 72234 h 143166"/>
                <a:gd name="connsiteX7" fmla="*/ 73535 w 143166"/>
                <a:gd name="connsiteY7" fmla="*/ 134706 h 143166"/>
                <a:gd name="connsiteX8" fmla="*/ 73535 w 143166"/>
                <a:gd name="connsiteY8" fmla="*/ 134706 h 143166"/>
                <a:gd name="connsiteX9" fmla="*/ 73535 w 143166"/>
                <a:gd name="connsiteY9" fmla="*/ 134706 h 143166"/>
                <a:gd name="connsiteX10" fmla="*/ 73535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3535" y="134706"/>
                  </a:moveTo>
                  <a:lnTo>
                    <a:pt x="73535" y="134706"/>
                  </a:lnTo>
                  <a:cubicBezTo>
                    <a:pt x="108676" y="134706"/>
                    <a:pt x="137310" y="107375"/>
                    <a:pt x="137310" y="72234"/>
                  </a:cubicBezTo>
                  <a:cubicBezTo>
                    <a:pt x="137310" y="46204"/>
                    <a:pt x="121691" y="25379"/>
                    <a:pt x="99566" y="14967"/>
                  </a:cubicBezTo>
                  <a:cubicBezTo>
                    <a:pt x="91757" y="11063"/>
                    <a:pt x="82646" y="9761"/>
                    <a:pt x="73535" y="9761"/>
                  </a:cubicBezTo>
                  <a:cubicBezTo>
                    <a:pt x="64425" y="9761"/>
                    <a:pt x="55314" y="11063"/>
                    <a:pt x="47505" y="14967"/>
                  </a:cubicBezTo>
                  <a:cubicBezTo>
                    <a:pt x="25379" y="25379"/>
                    <a:pt x="9761" y="46204"/>
                    <a:pt x="9761" y="72234"/>
                  </a:cubicBezTo>
                  <a:cubicBezTo>
                    <a:pt x="9761" y="106073"/>
                    <a:pt x="38395" y="134706"/>
                    <a:pt x="73535" y="134706"/>
                  </a:cubicBezTo>
                  <a:lnTo>
                    <a:pt x="73535" y="134706"/>
                  </a:lnTo>
                  <a:lnTo>
                    <a:pt x="73535" y="134706"/>
                  </a:lnTo>
                  <a:lnTo>
                    <a:pt x="73535" y="134706"/>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81" name="Freeform: Shape 80">
              <a:extLst>
                <a:ext uri="{FF2B5EF4-FFF2-40B4-BE49-F238E27FC236}">
                  <a16:creationId xmlns:a16="http://schemas.microsoft.com/office/drawing/2014/main" id="{139090C9-BE38-467E-ABDA-CB0E8545CAA9}"/>
                </a:ext>
              </a:extLst>
            </p:cNvPr>
            <p:cNvSpPr/>
            <p:nvPr/>
          </p:nvSpPr>
          <p:spPr>
            <a:xfrm>
              <a:off x="1405297" y="4132044"/>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4988"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nvGrpSpPr>
          <p:cNvPr id="82" name="Group 81">
            <a:extLst>
              <a:ext uri="{FF2B5EF4-FFF2-40B4-BE49-F238E27FC236}">
                <a16:creationId xmlns:a16="http://schemas.microsoft.com/office/drawing/2014/main" id="{C3C381C2-D74E-4578-A805-CEAC11DB8B69}"/>
              </a:ext>
            </a:extLst>
          </p:cNvPr>
          <p:cNvGrpSpPr/>
          <p:nvPr/>
        </p:nvGrpSpPr>
        <p:grpSpPr>
          <a:xfrm>
            <a:off x="2065547" y="2612069"/>
            <a:ext cx="590851" cy="455241"/>
            <a:chOff x="2621280" y="2235200"/>
            <a:chExt cx="4531360" cy="3840480"/>
          </a:xfrm>
        </p:grpSpPr>
        <p:sp>
          <p:nvSpPr>
            <p:cNvPr id="83" name="Rectangle: Rounded Corners 82">
              <a:extLst>
                <a:ext uri="{FF2B5EF4-FFF2-40B4-BE49-F238E27FC236}">
                  <a16:creationId xmlns:a16="http://schemas.microsoft.com/office/drawing/2014/main" id="{A08641A8-A3F0-4E3B-8922-92F93FA70A73}"/>
                </a:ext>
              </a:extLst>
            </p:cNvPr>
            <p:cNvSpPr/>
            <p:nvPr/>
          </p:nvSpPr>
          <p:spPr bwMode="auto">
            <a:xfrm>
              <a:off x="2621280" y="2235200"/>
              <a:ext cx="4531360" cy="3840480"/>
            </a:xfrm>
            <a:prstGeom prst="roundRect">
              <a:avLst>
                <a:gd name="adj" fmla="val 635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 name="Rectangle: Top Corners Rounded 83">
              <a:extLst>
                <a:ext uri="{FF2B5EF4-FFF2-40B4-BE49-F238E27FC236}">
                  <a16:creationId xmlns:a16="http://schemas.microsoft.com/office/drawing/2014/main" id="{C5228303-65D2-4DF4-8D17-0E17B3A9BE16}"/>
                </a:ext>
              </a:extLst>
            </p:cNvPr>
            <p:cNvSpPr/>
            <p:nvPr/>
          </p:nvSpPr>
          <p:spPr bwMode="auto">
            <a:xfrm>
              <a:off x="2621280" y="2235200"/>
              <a:ext cx="4531360" cy="690880"/>
            </a:xfrm>
            <a:prstGeom prst="round2SameRect">
              <a:avLst>
                <a:gd name="adj1" fmla="val 31373"/>
                <a:gd name="adj2"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 name="Rectangle 84">
              <a:extLst>
                <a:ext uri="{FF2B5EF4-FFF2-40B4-BE49-F238E27FC236}">
                  <a16:creationId xmlns:a16="http://schemas.microsoft.com/office/drawing/2014/main" id="{530837FF-B6CB-42E5-BA9D-038E87680432}"/>
                </a:ext>
              </a:extLst>
            </p:cNvPr>
            <p:cNvSpPr/>
            <p:nvPr/>
          </p:nvSpPr>
          <p:spPr bwMode="auto">
            <a:xfrm>
              <a:off x="2940631"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 name="Rectangle 85">
              <a:extLst>
                <a:ext uri="{FF2B5EF4-FFF2-40B4-BE49-F238E27FC236}">
                  <a16:creationId xmlns:a16="http://schemas.microsoft.com/office/drawing/2014/main" id="{164F05DF-50FD-4C9F-9201-42057F7F93EB}"/>
                </a:ext>
              </a:extLst>
            </p:cNvPr>
            <p:cNvSpPr/>
            <p:nvPr/>
          </p:nvSpPr>
          <p:spPr bwMode="auto">
            <a:xfrm>
              <a:off x="4360490"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7" name="Rectangle 86">
              <a:extLst>
                <a:ext uri="{FF2B5EF4-FFF2-40B4-BE49-F238E27FC236}">
                  <a16:creationId xmlns:a16="http://schemas.microsoft.com/office/drawing/2014/main" id="{99C387D8-042D-45D2-A08A-33D596D9A540}"/>
                </a:ext>
              </a:extLst>
            </p:cNvPr>
            <p:cNvSpPr/>
            <p:nvPr/>
          </p:nvSpPr>
          <p:spPr bwMode="auto">
            <a:xfrm>
              <a:off x="5780348"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8" name="Rectangle 87">
              <a:extLst>
                <a:ext uri="{FF2B5EF4-FFF2-40B4-BE49-F238E27FC236}">
                  <a16:creationId xmlns:a16="http://schemas.microsoft.com/office/drawing/2014/main" id="{1B416646-F23B-4E7F-81AB-2D58DA8D8F1E}"/>
                </a:ext>
              </a:extLst>
            </p:cNvPr>
            <p:cNvSpPr/>
            <p:nvPr/>
          </p:nvSpPr>
          <p:spPr bwMode="auto">
            <a:xfrm>
              <a:off x="2940631" y="4186848"/>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9" name="Rectangle 88">
              <a:extLst>
                <a:ext uri="{FF2B5EF4-FFF2-40B4-BE49-F238E27FC236}">
                  <a16:creationId xmlns:a16="http://schemas.microsoft.com/office/drawing/2014/main" id="{6E61E52F-F85E-4C18-AFA1-61A293FCC129}"/>
                </a:ext>
              </a:extLst>
            </p:cNvPr>
            <p:cNvSpPr/>
            <p:nvPr/>
          </p:nvSpPr>
          <p:spPr bwMode="auto">
            <a:xfrm>
              <a:off x="4360490" y="4186848"/>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 name="Rectangle 89">
              <a:extLst>
                <a:ext uri="{FF2B5EF4-FFF2-40B4-BE49-F238E27FC236}">
                  <a16:creationId xmlns:a16="http://schemas.microsoft.com/office/drawing/2014/main" id="{FC0A411F-AF9B-4ABF-8F7E-C3B898BC9AD2}"/>
                </a:ext>
              </a:extLst>
            </p:cNvPr>
            <p:cNvSpPr/>
            <p:nvPr/>
          </p:nvSpPr>
          <p:spPr bwMode="auto">
            <a:xfrm>
              <a:off x="5780348" y="4186848"/>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1" name="Rectangle 90">
              <a:extLst>
                <a:ext uri="{FF2B5EF4-FFF2-40B4-BE49-F238E27FC236}">
                  <a16:creationId xmlns:a16="http://schemas.microsoft.com/office/drawing/2014/main" id="{40D92470-CA90-4EBB-9655-D6E72520EFEA}"/>
                </a:ext>
              </a:extLst>
            </p:cNvPr>
            <p:cNvSpPr/>
            <p:nvPr/>
          </p:nvSpPr>
          <p:spPr bwMode="auto">
            <a:xfrm>
              <a:off x="2940631"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2" name="Rectangle 91">
              <a:extLst>
                <a:ext uri="{FF2B5EF4-FFF2-40B4-BE49-F238E27FC236}">
                  <a16:creationId xmlns:a16="http://schemas.microsoft.com/office/drawing/2014/main" id="{DFB52352-54BF-4EE4-92CB-6F0929DA9DE5}"/>
                </a:ext>
              </a:extLst>
            </p:cNvPr>
            <p:cNvSpPr/>
            <p:nvPr/>
          </p:nvSpPr>
          <p:spPr bwMode="auto">
            <a:xfrm>
              <a:off x="4360490"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3" name="Rectangle 92">
              <a:extLst>
                <a:ext uri="{FF2B5EF4-FFF2-40B4-BE49-F238E27FC236}">
                  <a16:creationId xmlns:a16="http://schemas.microsoft.com/office/drawing/2014/main" id="{6B5DED88-33AF-4FAE-87CD-3398CBD6C73B}"/>
                </a:ext>
              </a:extLst>
            </p:cNvPr>
            <p:cNvSpPr/>
            <p:nvPr/>
          </p:nvSpPr>
          <p:spPr bwMode="auto">
            <a:xfrm>
              <a:off x="5780348"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220FCB06-C138-4B8D-8439-2736C9403B05}"/>
              </a:ext>
            </a:extLst>
          </p:cNvPr>
          <p:cNvSpPr txBox="1"/>
          <p:nvPr/>
        </p:nvSpPr>
        <p:spPr>
          <a:xfrm>
            <a:off x="1467330" y="1985575"/>
            <a:ext cx="3346365" cy="215444"/>
          </a:xfrm>
          <a:prstGeom prst="rect">
            <a:avLst/>
          </a:prstGeom>
          <a:noFill/>
        </p:spPr>
        <p:txBody>
          <a:bodyPr wrap="non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1" i="1" u="none" strike="noStrike" kern="1200" cap="none" spc="0" normalizeH="0" baseline="0" noProof="0" dirty="0">
                <a:ln>
                  <a:noFill/>
                </a:ln>
                <a:effectLst/>
                <a:uLnTx/>
                <a:uFillTx/>
                <a:ea typeface="+mn-ea"/>
                <a:cs typeface="+mn-cs"/>
              </a:rPr>
              <a:t>Consistent infrastructure across regions</a:t>
            </a:r>
          </a:p>
        </p:txBody>
      </p:sp>
      <p:sp>
        <p:nvSpPr>
          <p:cNvPr id="95" name="TextBox 94">
            <a:extLst>
              <a:ext uri="{FF2B5EF4-FFF2-40B4-BE49-F238E27FC236}">
                <a16:creationId xmlns:a16="http://schemas.microsoft.com/office/drawing/2014/main" id="{C4A3725B-70D2-40D0-B469-408F1D8CA38B}"/>
              </a:ext>
            </a:extLst>
          </p:cNvPr>
          <p:cNvSpPr txBox="1"/>
          <p:nvPr/>
        </p:nvSpPr>
        <p:spPr>
          <a:xfrm>
            <a:off x="1497467" y="3524506"/>
            <a:ext cx="3286092" cy="215444"/>
          </a:xfrm>
          <a:prstGeom prst="rect">
            <a:avLst/>
          </a:prstGeom>
          <a:noFill/>
        </p:spPr>
        <p:txBody>
          <a:bodyPr wrap="non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1" i="1" u="none" strike="noStrike" kern="1200" cap="none" spc="0" normalizeH="0" baseline="0" noProof="0" dirty="0">
                <a:ln>
                  <a:noFill/>
                </a:ln>
                <a:effectLst/>
                <a:uLnTx/>
                <a:uFillTx/>
                <a:ea typeface="+mn-ea"/>
                <a:cs typeface="+mn-cs"/>
              </a:rPr>
              <a:t>Partner ecosystem across multiple sites</a:t>
            </a:r>
          </a:p>
        </p:txBody>
      </p:sp>
      <p:sp>
        <p:nvSpPr>
          <p:cNvPr id="12" name="Rectangle 11">
            <a:extLst>
              <a:ext uri="{FF2B5EF4-FFF2-40B4-BE49-F238E27FC236}">
                <a16:creationId xmlns:a16="http://schemas.microsoft.com/office/drawing/2014/main" id="{D76A6E12-FC2B-4EBD-B8E7-96BADC394853}"/>
              </a:ext>
            </a:extLst>
          </p:cNvPr>
          <p:cNvSpPr/>
          <p:nvPr/>
        </p:nvSpPr>
        <p:spPr bwMode="auto">
          <a:xfrm>
            <a:off x="673165" y="3808188"/>
            <a:ext cx="2162950" cy="2926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US" sz="1600" b="1" i="0" u="none" strike="noStrike" kern="1200" cap="none" spc="0" normalizeH="0" baseline="0" noProof="0" dirty="0">
                <a:ln>
                  <a:noFill/>
                </a:ln>
                <a:solidFill>
                  <a:schemeClr val="tx2"/>
                </a:solidFill>
                <a:effectLst/>
                <a:uLnTx/>
                <a:uFillTx/>
                <a:ea typeface="Segoe UI" pitchFamily="34" charset="0"/>
                <a:cs typeface="Segoe UI" pitchFamily="34" charset="0"/>
              </a:rPr>
              <a:t>SI</a:t>
            </a:r>
          </a:p>
        </p:txBody>
      </p:sp>
      <p:sp>
        <p:nvSpPr>
          <p:cNvPr id="98" name="Rectangle 97">
            <a:extLst>
              <a:ext uri="{FF2B5EF4-FFF2-40B4-BE49-F238E27FC236}">
                <a16:creationId xmlns:a16="http://schemas.microsoft.com/office/drawing/2014/main" id="{7228AE8B-C3C9-4977-A58B-8D9703BABF56}"/>
              </a:ext>
            </a:extLst>
          </p:cNvPr>
          <p:cNvSpPr/>
          <p:nvPr/>
        </p:nvSpPr>
        <p:spPr bwMode="auto">
          <a:xfrm>
            <a:off x="2921016" y="3808188"/>
            <a:ext cx="2684885" cy="2926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US" sz="1600" b="1" i="0" u="none" strike="noStrike" kern="1200" cap="none" spc="0" normalizeH="0" baseline="0" noProof="0" dirty="0">
                <a:ln>
                  <a:noFill/>
                </a:ln>
                <a:solidFill>
                  <a:schemeClr val="tx2"/>
                </a:solidFill>
                <a:effectLst/>
                <a:uLnTx/>
                <a:uFillTx/>
                <a:ea typeface="Segoe UI" pitchFamily="34" charset="0"/>
                <a:cs typeface="Segoe UI" pitchFamily="34" charset="0"/>
              </a:rPr>
              <a:t>ISV/IHV</a:t>
            </a:r>
          </a:p>
        </p:txBody>
      </p:sp>
      <p:pic>
        <p:nvPicPr>
          <p:cNvPr id="103" name="Picture 102" descr="A close up of a logo&#10;&#10;Description automatically generated">
            <a:extLst>
              <a:ext uri="{FF2B5EF4-FFF2-40B4-BE49-F238E27FC236}">
                <a16:creationId xmlns:a16="http://schemas.microsoft.com/office/drawing/2014/main" id="{E3359FC6-E4B6-4154-9320-09B8F7FAF65B}"/>
              </a:ext>
            </a:extLst>
          </p:cNvPr>
          <p:cNvPicPr>
            <a:picLocks noChangeAspect="1"/>
          </p:cNvPicPr>
          <p:nvPr/>
        </p:nvPicPr>
        <p:blipFill>
          <a:blip r:embed="rId8"/>
          <a:stretch>
            <a:fillRect/>
          </a:stretch>
        </p:blipFill>
        <p:spPr>
          <a:xfrm>
            <a:off x="866268" y="4597588"/>
            <a:ext cx="1111845" cy="194701"/>
          </a:xfrm>
          <a:prstGeom prst="rect">
            <a:avLst/>
          </a:prstGeom>
        </p:spPr>
      </p:pic>
      <p:pic>
        <p:nvPicPr>
          <p:cNvPr id="106" name="Graphic 105">
            <a:extLst>
              <a:ext uri="{FF2B5EF4-FFF2-40B4-BE49-F238E27FC236}">
                <a16:creationId xmlns:a16="http://schemas.microsoft.com/office/drawing/2014/main" id="{07D61036-FA43-479E-9553-656023FC4EE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56898" y="5019813"/>
            <a:ext cx="944166" cy="200964"/>
          </a:xfrm>
          <a:prstGeom prst="rect">
            <a:avLst/>
          </a:prstGeom>
        </p:spPr>
      </p:pic>
      <p:pic>
        <p:nvPicPr>
          <p:cNvPr id="107" name="Picture 106">
            <a:extLst>
              <a:ext uri="{FF2B5EF4-FFF2-40B4-BE49-F238E27FC236}">
                <a16:creationId xmlns:a16="http://schemas.microsoft.com/office/drawing/2014/main" id="{F37F0B42-CC83-4C08-B644-0B8960415983}"/>
              </a:ext>
            </a:extLst>
          </p:cNvPr>
          <p:cNvPicPr>
            <a:picLocks noChangeAspect="1"/>
          </p:cNvPicPr>
          <p:nvPr/>
        </p:nvPicPr>
        <p:blipFill rotWithShape="1">
          <a:blip r:embed="rId11"/>
          <a:srcRect l="15764" t="21179" r="15764" b="21177"/>
          <a:stretch/>
        </p:blipFill>
        <p:spPr>
          <a:xfrm>
            <a:off x="1912002" y="4234400"/>
            <a:ext cx="720196" cy="165110"/>
          </a:xfrm>
          <a:prstGeom prst="rect">
            <a:avLst/>
          </a:prstGeom>
        </p:spPr>
      </p:pic>
      <p:pic>
        <p:nvPicPr>
          <p:cNvPr id="108" name="Picture 107">
            <a:extLst>
              <a:ext uri="{FF2B5EF4-FFF2-40B4-BE49-F238E27FC236}">
                <a16:creationId xmlns:a16="http://schemas.microsoft.com/office/drawing/2014/main" id="{A1330426-ED78-4651-8786-6EE698D7FFBA}"/>
              </a:ext>
            </a:extLst>
          </p:cNvPr>
          <p:cNvPicPr>
            <a:picLocks noChangeAspect="1"/>
          </p:cNvPicPr>
          <p:nvPr/>
        </p:nvPicPr>
        <p:blipFill>
          <a:blip r:embed="rId12"/>
          <a:stretch>
            <a:fillRect/>
          </a:stretch>
        </p:blipFill>
        <p:spPr>
          <a:xfrm>
            <a:off x="3035495" y="4270225"/>
            <a:ext cx="758718" cy="123671"/>
          </a:xfrm>
          <a:prstGeom prst="rect">
            <a:avLst/>
          </a:prstGeom>
        </p:spPr>
      </p:pic>
      <p:pic>
        <p:nvPicPr>
          <p:cNvPr id="109" name="Picture 108" descr="A close up of a logo&#10;&#10;Description automatically generated">
            <a:extLst>
              <a:ext uri="{FF2B5EF4-FFF2-40B4-BE49-F238E27FC236}">
                <a16:creationId xmlns:a16="http://schemas.microsoft.com/office/drawing/2014/main" id="{D1DFFE98-98A0-46EA-84AF-DE16EAE69357}"/>
              </a:ext>
            </a:extLst>
          </p:cNvPr>
          <p:cNvPicPr>
            <a:picLocks noChangeAspect="1"/>
          </p:cNvPicPr>
          <p:nvPr/>
        </p:nvPicPr>
        <p:blipFill rotWithShape="1">
          <a:blip r:embed="rId13">
            <a:extLst>
              <a:ext uri="{28A0092B-C50C-407E-A947-70E740481C1C}">
                <a14:useLocalDpi xmlns:a14="http://schemas.microsoft.com/office/drawing/2010/main" val="0"/>
              </a:ext>
            </a:extLst>
          </a:blip>
          <a:srcRect t="33220" b="40793"/>
          <a:stretch/>
        </p:blipFill>
        <p:spPr>
          <a:xfrm>
            <a:off x="3035494" y="4600581"/>
            <a:ext cx="1086699" cy="249290"/>
          </a:xfrm>
          <a:prstGeom prst="rect">
            <a:avLst/>
          </a:prstGeom>
        </p:spPr>
      </p:pic>
      <p:pic>
        <p:nvPicPr>
          <p:cNvPr id="110" name="Picture 10" descr="See the source image">
            <a:extLst>
              <a:ext uri="{FF2B5EF4-FFF2-40B4-BE49-F238E27FC236}">
                <a16:creationId xmlns:a16="http://schemas.microsoft.com/office/drawing/2014/main" id="{9F15F8AE-41D9-44ED-8FA7-9793A1F3197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469307" y="4631554"/>
            <a:ext cx="837772" cy="255656"/>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a:extLst>
              <a:ext uri="{FF2B5EF4-FFF2-40B4-BE49-F238E27FC236}">
                <a16:creationId xmlns:a16="http://schemas.microsoft.com/office/drawing/2014/main" id="{E69042FB-BA0B-4248-BB87-276CD658664D}"/>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t="25027" b="24011"/>
          <a:stretch/>
        </p:blipFill>
        <p:spPr>
          <a:xfrm>
            <a:off x="3052760" y="4985953"/>
            <a:ext cx="560899" cy="285842"/>
          </a:xfrm>
          <a:prstGeom prst="rect">
            <a:avLst/>
          </a:prstGeom>
        </p:spPr>
      </p:pic>
      <p:pic>
        <p:nvPicPr>
          <p:cNvPr id="112" name="Picture 111">
            <a:extLst>
              <a:ext uri="{FF2B5EF4-FFF2-40B4-BE49-F238E27FC236}">
                <a16:creationId xmlns:a16="http://schemas.microsoft.com/office/drawing/2014/main" id="{DFF50E77-CC78-4BFA-B4CD-950D7F33ACF6}"/>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l="4735" t="4735" r="4735" b="4735"/>
          <a:stretch/>
        </p:blipFill>
        <p:spPr>
          <a:xfrm>
            <a:off x="3928895" y="4227416"/>
            <a:ext cx="747880" cy="185315"/>
          </a:xfrm>
          <a:prstGeom prst="rect">
            <a:avLst/>
          </a:prstGeom>
        </p:spPr>
      </p:pic>
      <p:pic>
        <p:nvPicPr>
          <p:cNvPr id="113" name="Picture 112" descr="A close up of a sign&#10;&#10;Description automatically generated">
            <a:extLst>
              <a:ext uri="{FF2B5EF4-FFF2-40B4-BE49-F238E27FC236}">
                <a16:creationId xmlns:a16="http://schemas.microsoft.com/office/drawing/2014/main" id="{570BADCF-8BAF-449C-B0CB-FF85F7F4DE0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840002" y="4113134"/>
            <a:ext cx="504244" cy="304983"/>
          </a:xfrm>
          <a:prstGeom prst="rect">
            <a:avLst/>
          </a:prstGeom>
        </p:spPr>
      </p:pic>
      <p:pic>
        <p:nvPicPr>
          <p:cNvPr id="114" name="Picture 113">
            <a:extLst>
              <a:ext uri="{FF2B5EF4-FFF2-40B4-BE49-F238E27FC236}">
                <a16:creationId xmlns:a16="http://schemas.microsoft.com/office/drawing/2014/main" id="{9BA2A6DC-2E30-4B0E-8968-98659798EEF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529985" y="5035943"/>
            <a:ext cx="808978" cy="199998"/>
          </a:xfrm>
          <a:prstGeom prst="rect">
            <a:avLst/>
          </a:prstGeom>
        </p:spPr>
      </p:pic>
      <p:pic>
        <p:nvPicPr>
          <p:cNvPr id="13" name="Picture 12">
            <a:extLst>
              <a:ext uri="{FF2B5EF4-FFF2-40B4-BE49-F238E27FC236}">
                <a16:creationId xmlns:a16="http://schemas.microsoft.com/office/drawing/2014/main" id="{74563259-BAF9-466D-9CB9-DED37B84019C}"/>
              </a:ext>
            </a:extLst>
          </p:cNvPr>
          <p:cNvPicPr>
            <a:picLocks noChangeAspect="1"/>
          </p:cNvPicPr>
          <p:nvPr/>
        </p:nvPicPr>
        <p:blipFill>
          <a:blip r:embed="rId19"/>
          <a:stretch>
            <a:fillRect/>
          </a:stretch>
        </p:blipFill>
        <p:spPr>
          <a:xfrm>
            <a:off x="875780" y="5002211"/>
            <a:ext cx="589698" cy="236169"/>
          </a:xfrm>
          <a:prstGeom prst="rect">
            <a:avLst/>
          </a:prstGeom>
        </p:spPr>
      </p:pic>
      <p:pic>
        <p:nvPicPr>
          <p:cNvPr id="15" name="Picture 14">
            <a:extLst>
              <a:ext uri="{FF2B5EF4-FFF2-40B4-BE49-F238E27FC236}">
                <a16:creationId xmlns:a16="http://schemas.microsoft.com/office/drawing/2014/main" id="{572B7B7D-E2C6-43F6-956E-4C8F0A84090B}"/>
              </a:ext>
            </a:extLst>
          </p:cNvPr>
          <p:cNvPicPr>
            <a:picLocks noChangeAspect="1"/>
          </p:cNvPicPr>
          <p:nvPr/>
        </p:nvPicPr>
        <p:blipFill>
          <a:blip r:embed="rId20"/>
          <a:stretch>
            <a:fillRect/>
          </a:stretch>
        </p:blipFill>
        <p:spPr>
          <a:xfrm>
            <a:off x="3778925" y="5039281"/>
            <a:ext cx="525469" cy="198875"/>
          </a:xfrm>
          <a:prstGeom prst="rect">
            <a:avLst/>
          </a:prstGeom>
        </p:spPr>
      </p:pic>
      <p:cxnSp>
        <p:nvCxnSpPr>
          <p:cNvPr id="18" name="Straight Connector 17">
            <a:extLst>
              <a:ext uri="{FF2B5EF4-FFF2-40B4-BE49-F238E27FC236}">
                <a16:creationId xmlns:a16="http://schemas.microsoft.com/office/drawing/2014/main" id="{34E29B9A-F8A1-479B-A3BC-DA789E86429F}"/>
              </a:ext>
            </a:extLst>
          </p:cNvPr>
          <p:cNvCxnSpPr>
            <a:cxnSpLocks/>
          </p:cNvCxnSpPr>
          <p:nvPr/>
        </p:nvCxnSpPr>
        <p:spPr>
          <a:xfrm>
            <a:off x="4191929" y="2612069"/>
            <a:ext cx="0" cy="726939"/>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35900B17-829D-4A32-91B2-A12F69EACD00}"/>
              </a:ext>
            </a:extLst>
          </p:cNvPr>
          <p:cNvSpPr/>
          <p:nvPr/>
        </p:nvSpPr>
        <p:spPr bwMode="auto">
          <a:xfrm>
            <a:off x="8752444" y="1440779"/>
            <a:ext cx="2860817" cy="48962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11" rtl="0" eaLnBrk="1" fontAlgn="auto" latinLnBrk="0" hangingPunct="1">
              <a:spcBef>
                <a:spcPts val="0"/>
              </a:spcBef>
              <a:spcAft>
                <a:spcPts val="6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rPr>
              <a:t>Secure</a:t>
            </a:r>
          </a:p>
        </p:txBody>
      </p:sp>
      <p:pic>
        <p:nvPicPr>
          <p:cNvPr id="16" name="Graphic 15" descr="Mining tools">
            <a:extLst>
              <a:ext uri="{FF2B5EF4-FFF2-40B4-BE49-F238E27FC236}">
                <a16:creationId xmlns:a16="http://schemas.microsoft.com/office/drawing/2014/main" id="{AEE7937B-61CE-475F-BCDB-1E03ADF3355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638019" y="2664187"/>
            <a:ext cx="564242" cy="564242"/>
          </a:xfrm>
          <a:prstGeom prst="rect">
            <a:avLst/>
          </a:prstGeom>
        </p:spPr>
      </p:pic>
      <p:sp>
        <p:nvSpPr>
          <p:cNvPr id="118" name="Rectangle 117">
            <a:extLst>
              <a:ext uri="{FF2B5EF4-FFF2-40B4-BE49-F238E27FC236}">
                <a16:creationId xmlns:a16="http://schemas.microsoft.com/office/drawing/2014/main" id="{E3A0C96A-A2FB-45E5-9767-D3E590348924}"/>
              </a:ext>
            </a:extLst>
          </p:cNvPr>
          <p:cNvSpPr/>
          <p:nvPr/>
        </p:nvSpPr>
        <p:spPr bwMode="auto">
          <a:xfrm>
            <a:off x="673164" y="2267112"/>
            <a:ext cx="3476315" cy="26168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US" sz="1600" b="1" i="0" u="none" strike="noStrike" kern="1200" cap="none" spc="0" normalizeH="0" baseline="0" noProof="0" dirty="0">
                <a:ln>
                  <a:noFill/>
                </a:ln>
                <a:solidFill>
                  <a:schemeClr val="tx2"/>
                </a:solidFill>
                <a:effectLst/>
                <a:uLnTx/>
                <a:uFillTx/>
                <a:ea typeface="Segoe UI" pitchFamily="34" charset="0"/>
                <a:cs typeface="Segoe UI" pitchFamily="34" charset="0"/>
              </a:rPr>
              <a:t>IaaS</a:t>
            </a:r>
          </a:p>
        </p:txBody>
      </p:sp>
      <p:sp>
        <p:nvSpPr>
          <p:cNvPr id="119" name="Rectangle 118">
            <a:extLst>
              <a:ext uri="{FF2B5EF4-FFF2-40B4-BE49-F238E27FC236}">
                <a16:creationId xmlns:a16="http://schemas.microsoft.com/office/drawing/2014/main" id="{C4ABA15F-ED25-40FA-AF0F-FEDE0BF138BA}"/>
              </a:ext>
            </a:extLst>
          </p:cNvPr>
          <p:cNvSpPr/>
          <p:nvPr/>
        </p:nvSpPr>
        <p:spPr bwMode="auto">
          <a:xfrm>
            <a:off x="4234379" y="2267112"/>
            <a:ext cx="1371522" cy="26168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US" sz="1600" b="1" i="0" u="none" strike="noStrike" kern="1200" cap="none" spc="0" normalizeH="0" baseline="0" noProof="0" dirty="0">
                <a:ln>
                  <a:noFill/>
                </a:ln>
                <a:solidFill>
                  <a:schemeClr val="tx2"/>
                </a:solidFill>
                <a:effectLst/>
                <a:uLnTx/>
                <a:uFillTx/>
                <a:ea typeface="Segoe UI" pitchFamily="34" charset="0"/>
                <a:cs typeface="Segoe UI" pitchFamily="34" charset="0"/>
              </a:rPr>
              <a:t>PaaS</a:t>
            </a:r>
          </a:p>
        </p:txBody>
      </p:sp>
      <p:grpSp>
        <p:nvGrpSpPr>
          <p:cNvPr id="7183" name="Group 7182">
            <a:extLst>
              <a:ext uri="{FF2B5EF4-FFF2-40B4-BE49-F238E27FC236}">
                <a16:creationId xmlns:a16="http://schemas.microsoft.com/office/drawing/2014/main" id="{4FE693FC-BDAF-40CC-8526-29B2A0587D4B}"/>
              </a:ext>
            </a:extLst>
          </p:cNvPr>
          <p:cNvGrpSpPr/>
          <p:nvPr/>
        </p:nvGrpSpPr>
        <p:grpSpPr>
          <a:xfrm>
            <a:off x="9025246" y="2172007"/>
            <a:ext cx="2315212" cy="1274022"/>
            <a:chOff x="8974829" y="2092676"/>
            <a:chExt cx="2315212" cy="1274022"/>
          </a:xfrm>
        </p:grpSpPr>
        <p:sp>
          <p:nvSpPr>
            <p:cNvPr id="248" name="Freeform 5">
              <a:extLst>
                <a:ext uri="{FF2B5EF4-FFF2-40B4-BE49-F238E27FC236}">
                  <a16:creationId xmlns:a16="http://schemas.microsoft.com/office/drawing/2014/main" id="{2DEAA721-AC53-4DC3-B8C9-AA1AF7434451}"/>
                </a:ext>
              </a:extLst>
            </p:cNvPr>
            <p:cNvSpPr>
              <a:spLocks/>
            </p:cNvSpPr>
            <p:nvPr/>
          </p:nvSpPr>
          <p:spPr bwMode="auto">
            <a:xfrm>
              <a:off x="11047008" y="2761038"/>
              <a:ext cx="243033" cy="605659"/>
            </a:xfrm>
            <a:custGeom>
              <a:avLst/>
              <a:gdLst>
                <a:gd name="T0" fmla="*/ 526 w 526"/>
                <a:gd name="T1" fmla="*/ 0 h 425"/>
                <a:gd name="T2" fmla="*/ 40 w 526"/>
                <a:gd name="T3" fmla="*/ 0 h 425"/>
                <a:gd name="T4" fmla="*/ 0 w 526"/>
                <a:gd name="T5" fmla="*/ 0 h 425"/>
                <a:gd name="T6" fmla="*/ 0 w 526"/>
                <a:gd name="T7" fmla="*/ 425 h 425"/>
                <a:gd name="T8" fmla="*/ 526 w 526"/>
                <a:gd name="T9" fmla="*/ 425 h 425"/>
                <a:gd name="T10" fmla="*/ 526 w 526"/>
                <a:gd name="T11" fmla="*/ 0 h 425"/>
              </a:gdLst>
              <a:ahLst/>
              <a:cxnLst>
                <a:cxn ang="0">
                  <a:pos x="T0" y="T1"/>
                </a:cxn>
                <a:cxn ang="0">
                  <a:pos x="T2" y="T3"/>
                </a:cxn>
                <a:cxn ang="0">
                  <a:pos x="T4" y="T5"/>
                </a:cxn>
                <a:cxn ang="0">
                  <a:pos x="T6" y="T7"/>
                </a:cxn>
                <a:cxn ang="0">
                  <a:pos x="T8" y="T9"/>
                </a:cxn>
                <a:cxn ang="0">
                  <a:pos x="T10" y="T11"/>
                </a:cxn>
              </a:cxnLst>
              <a:rect l="0" t="0" r="r" b="b"/>
              <a:pathLst>
                <a:path w="526" h="425">
                  <a:moveTo>
                    <a:pt x="526" y="0"/>
                  </a:moveTo>
                  <a:lnTo>
                    <a:pt x="40" y="0"/>
                  </a:lnTo>
                  <a:lnTo>
                    <a:pt x="0" y="0"/>
                  </a:lnTo>
                  <a:lnTo>
                    <a:pt x="0" y="425"/>
                  </a:lnTo>
                  <a:lnTo>
                    <a:pt x="526" y="425"/>
                  </a:lnTo>
                  <a:lnTo>
                    <a:pt x="526" y="0"/>
                  </a:lnTo>
                  <a:close/>
                </a:path>
              </a:pathLst>
            </a:custGeom>
            <a:solidFill>
              <a:srgbClr val="FFB90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49" name="Rectangle 10">
              <a:extLst>
                <a:ext uri="{FF2B5EF4-FFF2-40B4-BE49-F238E27FC236}">
                  <a16:creationId xmlns:a16="http://schemas.microsoft.com/office/drawing/2014/main" id="{AD146121-4A80-4A31-9EBC-6A02D51EC202}"/>
                </a:ext>
              </a:extLst>
            </p:cNvPr>
            <p:cNvSpPr>
              <a:spLocks noChangeArrowheads="1"/>
            </p:cNvSpPr>
            <p:nvPr/>
          </p:nvSpPr>
          <p:spPr bwMode="auto">
            <a:xfrm>
              <a:off x="11047008" y="2862218"/>
              <a:ext cx="240096" cy="37843"/>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0" name="Freeform 11">
              <a:extLst>
                <a:ext uri="{FF2B5EF4-FFF2-40B4-BE49-F238E27FC236}">
                  <a16:creationId xmlns:a16="http://schemas.microsoft.com/office/drawing/2014/main" id="{2F95703D-01C8-4343-ABCF-4830640408DE}"/>
                </a:ext>
              </a:extLst>
            </p:cNvPr>
            <p:cNvSpPr>
              <a:spLocks/>
            </p:cNvSpPr>
            <p:nvPr/>
          </p:nvSpPr>
          <p:spPr bwMode="auto">
            <a:xfrm>
              <a:off x="8999862" y="2761038"/>
              <a:ext cx="731522" cy="605659"/>
            </a:xfrm>
            <a:custGeom>
              <a:avLst/>
              <a:gdLst>
                <a:gd name="T0" fmla="*/ 0 w 526"/>
                <a:gd name="T1" fmla="*/ 0 h 425"/>
                <a:gd name="T2" fmla="*/ 491 w 526"/>
                <a:gd name="T3" fmla="*/ 0 h 425"/>
                <a:gd name="T4" fmla="*/ 526 w 526"/>
                <a:gd name="T5" fmla="*/ 0 h 425"/>
                <a:gd name="T6" fmla="*/ 526 w 526"/>
                <a:gd name="T7" fmla="*/ 425 h 425"/>
                <a:gd name="T8" fmla="*/ 0 w 526"/>
                <a:gd name="T9" fmla="*/ 425 h 425"/>
                <a:gd name="T10" fmla="*/ 0 w 526"/>
                <a:gd name="T11" fmla="*/ 0 h 425"/>
              </a:gdLst>
              <a:ahLst/>
              <a:cxnLst>
                <a:cxn ang="0">
                  <a:pos x="T0" y="T1"/>
                </a:cxn>
                <a:cxn ang="0">
                  <a:pos x="T2" y="T3"/>
                </a:cxn>
                <a:cxn ang="0">
                  <a:pos x="T4" y="T5"/>
                </a:cxn>
                <a:cxn ang="0">
                  <a:pos x="T6" y="T7"/>
                </a:cxn>
                <a:cxn ang="0">
                  <a:pos x="T8" y="T9"/>
                </a:cxn>
                <a:cxn ang="0">
                  <a:pos x="T10" y="T11"/>
                </a:cxn>
              </a:cxnLst>
              <a:rect l="0" t="0" r="r" b="b"/>
              <a:pathLst>
                <a:path w="526" h="425">
                  <a:moveTo>
                    <a:pt x="0" y="0"/>
                  </a:moveTo>
                  <a:lnTo>
                    <a:pt x="491" y="0"/>
                  </a:lnTo>
                  <a:lnTo>
                    <a:pt x="526" y="0"/>
                  </a:lnTo>
                  <a:lnTo>
                    <a:pt x="526" y="425"/>
                  </a:lnTo>
                  <a:lnTo>
                    <a:pt x="0" y="425"/>
                  </a:lnTo>
                  <a:lnTo>
                    <a:pt x="0" y="0"/>
                  </a:lnTo>
                  <a:close/>
                </a:path>
              </a:pathLst>
            </a:custGeom>
            <a:solidFill>
              <a:srgbClr val="FFB90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1" name="Freeform 12">
              <a:extLst>
                <a:ext uri="{FF2B5EF4-FFF2-40B4-BE49-F238E27FC236}">
                  <a16:creationId xmlns:a16="http://schemas.microsoft.com/office/drawing/2014/main" id="{1405A438-CBCA-416D-81C8-514F06BFE05C}"/>
                </a:ext>
              </a:extLst>
            </p:cNvPr>
            <p:cNvSpPr>
              <a:spLocks/>
            </p:cNvSpPr>
            <p:nvPr/>
          </p:nvSpPr>
          <p:spPr bwMode="auto">
            <a:xfrm>
              <a:off x="9158404" y="2768164"/>
              <a:ext cx="572978" cy="598534"/>
            </a:xfrm>
            <a:custGeom>
              <a:avLst/>
              <a:gdLst>
                <a:gd name="T0" fmla="*/ 0 w 412"/>
                <a:gd name="T1" fmla="*/ 420 h 420"/>
                <a:gd name="T2" fmla="*/ 412 w 412"/>
                <a:gd name="T3" fmla="*/ 0 h 420"/>
                <a:gd name="T4" fmla="*/ 412 w 412"/>
                <a:gd name="T5" fmla="*/ 420 h 420"/>
                <a:gd name="T6" fmla="*/ 0 w 412"/>
                <a:gd name="T7" fmla="*/ 420 h 420"/>
              </a:gdLst>
              <a:ahLst/>
              <a:cxnLst>
                <a:cxn ang="0">
                  <a:pos x="T0" y="T1"/>
                </a:cxn>
                <a:cxn ang="0">
                  <a:pos x="T2" y="T3"/>
                </a:cxn>
                <a:cxn ang="0">
                  <a:pos x="T4" y="T5"/>
                </a:cxn>
                <a:cxn ang="0">
                  <a:pos x="T6" y="T7"/>
                </a:cxn>
              </a:cxnLst>
              <a:rect l="0" t="0" r="r" b="b"/>
              <a:pathLst>
                <a:path w="412" h="420">
                  <a:moveTo>
                    <a:pt x="0" y="420"/>
                  </a:moveTo>
                  <a:lnTo>
                    <a:pt x="412" y="0"/>
                  </a:lnTo>
                  <a:lnTo>
                    <a:pt x="412" y="420"/>
                  </a:lnTo>
                  <a:lnTo>
                    <a:pt x="0" y="420"/>
                  </a:lnTo>
                  <a:close/>
                </a:path>
              </a:pathLst>
            </a:custGeom>
            <a:solidFill>
              <a:srgbClr val="FFB900">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2" name="Rectangle 13">
              <a:extLst>
                <a:ext uri="{FF2B5EF4-FFF2-40B4-BE49-F238E27FC236}">
                  <a16:creationId xmlns:a16="http://schemas.microsoft.com/office/drawing/2014/main" id="{1A4E362E-D12E-472B-A6F4-A231799FC574}"/>
                </a:ext>
              </a:extLst>
            </p:cNvPr>
            <p:cNvSpPr>
              <a:spLocks noChangeArrowheads="1"/>
            </p:cNvSpPr>
            <p:nvPr/>
          </p:nvSpPr>
          <p:spPr bwMode="auto">
            <a:xfrm>
              <a:off x="11047008" y="3127284"/>
              <a:ext cx="73708" cy="239413"/>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3" name="Rectangle 14">
              <a:extLst>
                <a:ext uri="{FF2B5EF4-FFF2-40B4-BE49-F238E27FC236}">
                  <a16:creationId xmlns:a16="http://schemas.microsoft.com/office/drawing/2014/main" id="{501E8DCC-CCB3-4C6F-B7F9-4F7FCAF895EF}"/>
                </a:ext>
              </a:extLst>
            </p:cNvPr>
            <p:cNvSpPr>
              <a:spLocks noChangeArrowheads="1"/>
            </p:cNvSpPr>
            <p:nvPr/>
          </p:nvSpPr>
          <p:spPr bwMode="auto">
            <a:xfrm>
              <a:off x="11120717" y="3127284"/>
              <a:ext cx="91788" cy="239413"/>
            </a:xfrm>
            <a:prstGeom prst="rect">
              <a:avLst/>
            </a:prstGeom>
            <a:solidFill>
              <a:srgbClr val="FFB90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4" name="Rectangle 15">
              <a:extLst>
                <a:ext uri="{FF2B5EF4-FFF2-40B4-BE49-F238E27FC236}">
                  <a16:creationId xmlns:a16="http://schemas.microsoft.com/office/drawing/2014/main" id="{1D68E343-9ABD-4794-81CA-8074991B8C2A}"/>
                </a:ext>
              </a:extLst>
            </p:cNvPr>
            <p:cNvSpPr>
              <a:spLocks noChangeArrowheads="1"/>
            </p:cNvSpPr>
            <p:nvPr/>
          </p:nvSpPr>
          <p:spPr bwMode="auto">
            <a:xfrm>
              <a:off x="9657675" y="3127284"/>
              <a:ext cx="73708" cy="239413"/>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5" name="Rectangle 16">
              <a:extLst>
                <a:ext uri="{FF2B5EF4-FFF2-40B4-BE49-F238E27FC236}">
                  <a16:creationId xmlns:a16="http://schemas.microsoft.com/office/drawing/2014/main" id="{9A949E10-0CFD-47D3-90D0-42AE4A915514}"/>
                </a:ext>
              </a:extLst>
            </p:cNvPr>
            <p:cNvSpPr>
              <a:spLocks noChangeArrowheads="1"/>
            </p:cNvSpPr>
            <p:nvPr/>
          </p:nvSpPr>
          <p:spPr bwMode="auto">
            <a:xfrm>
              <a:off x="9731383" y="2339214"/>
              <a:ext cx="1315625" cy="887825"/>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6" name="Freeform 17">
              <a:extLst>
                <a:ext uri="{FF2B5EF4-FFF2-40B4-BE49-F238E27FC236}">
                  <a16:creationId xmlns:a16="http://schemas.microsoft.com/office/drawing/2014/main" id="{F219C952-F54A-4518-A94E-50095D3B9A3C}"/>
                </a:ext>
              </a:extLst>
            </p:cNvPr>
            <p:cNvSpPr>
              <a:spLocks/>
            </p:cNvSpPr>
            <p:nvPr/>
          </p:nvSpPr>
          <p:spPr bwMode="auto">
            <a:xfrm>
              <a:off x="10266812" y="2761038"/>
              <a:ext cx="244768" cy="466002"/>
            </a:xfrm>
            <a:custGeom>
              <a:avLst/>
              <a:gdLst>
                <a:gd name="T0" fmla="*/ 20 w 40"/>
                <a:gd name="T1" fmla="*/ 0 h 74"/>
                <a:gd name="T2" fmla="*/ 0 w 40"/>
                <a:gd name="T3" fmla="*/ 21 h 74"/>
                <a:gd name="T4" fmla="*/ 0 w 40"/>
                <a:gd name="T5" fmla="*/ 74 h 74"/>
                <a:gd name="T6" fmla="*/ 40 w 40"/>
                <a:gd name="T7" fmla="*/ 74 h 74"/>
                <a:gd name="T8" fmla="*/ 40 w 40"/>
                <a:gd name="T9" fmla="*/ 21 h 74"/>
                <a:gd name="T10" fmla="*/ 20 w 40"/>
                <a:gd name="T11" fmla="*/ 0 h 74"/>
              </a:gdLst>
              <a:ahLst/>
              <a:cxnLst>
                <a:cxn ang="0">
                  <a:pos x="T0" y="T1"/>
                </a:cxn>
                <a:cxn ang="0">
                  <a:pos x="T2" y="T3"/>
                </a:cxn>
                <a:cxn ang="0">
                  <a:pos x="T4" y="T5"/>
                </a:cxn>
                <a:cxn ang="0">
                  <a:pos x="T6" y="T7"/>
                </a:cxn>
                <a:cxn ang="0">
                  <a:pos x="T8" y="T9"/>
                </a:cxn>
                <a:cxn ang="0">
                  <a:pos x="T10" y="T11"/>
                </a:cxn>
              </a:cxnLst>
              <a:rect l="0" t="0" r="r" b="b"/>
              <a:pathLst>
                <a:path w="40" h="74">
                  <a:moveTo>
                    <a:pt x="20" y="0"/>
                  </a:moveTo>
                  <a:cubicBezTo>
                    <a:pt x="9" y="0"/>
                    <a:pt x="0" y="9"/>
                    <a:pt x="0" y="21"/>
                  </a:cubicBezTo>
                  <a:cubicBezTo>
                    <a:pt x="0" y="74"/>
                    <a:pt x="0" y="74"/>
                    <a:pt x="0" y="74"/>
                  </a:cubicBezTo>
                  <a:cubicBezTo>
                    <a:pt x="40" y="74"/>
                    <a:pt x="40" y="74"/>
                    <a:pt x="40" y="74"/>
                  </a:cubicBezTo>
                  <a:cubicBezTo>
                    <a:pt x="40" y="21"/>
                    <a:pt x="40" y="21"/>
                    <a:pt x="40" y="21"/>
                  </a:cubicBezTo>
                  <a:cubicBezTo>
                    <a:pt x="40" y="9"/>
                    <a:pt x="31" y="0"/>
                    <a:pt x="20" y="0"/>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7" name="Freeform 18">
              <a:extLst>
                <a:ext uri="{FF2B5EF4-FFF2-40B4-BE49-F238E27FC236}">
                  <a16:creationId xmlns:a16="http://schemas.microsoft.com/office/drawing/2014/main" id="{EA44C9B0-4101-40AD-B660-FF02E2E24B9D}"/>
                </a:ext>
              </a:extLst>
            </p:cNvPr>
            <p:cNvSpPr>
              <a:spLocks/>
            </p:cNvSpPr>
            <p:nvPr/>
          </p:nvSpPr>
          <p:spPr bwMode="auto">
            <a:xfrm>
              <a:off x="10652043" y="2761038"/>
              <a:ext cx="248940" cy="466002"/>
            </a:xfrm>
            <a:custGeom>
              <a:avLst/>
              <a:gdLst>
                <a:gd name="T0" fmla="*/ 21 w 41"/>
                <a:gd name="T1" fmla="*/ 0 h 74"/>
                <a:gd name="T2" fmla="*/ 0 w 41"/>
                <a:gd name="T3" fmla="*/ 21 h 74"/>
                <a:gd name="T4" fmla="*/ 0 w 41"/>
                <a:gd name="T5" fmla="*/ 74 h 74"/>
                <a:gd name="T6" fmla="*/ 41 w 41"/>
                <a:gd name="T7" fmla="*/ 74 h 74"/>
                <a:gd name="T8" fmla="*/ 41 w 41"/>
                <a:gd name="T9" fmla="*/ 21 h 74"/>
                <a:gd name="T10" fmla="*/ 21 w 41"/>
                <a:gd name="T11" fmla="*/ 0 h 74"/>
              </a:gdLst>
              <a:ahLst/>
              <a:cxnLst>
                <a:cxn ang="0">
                  <a:pos x="T0" y="T1"/>
                </a:cxn>
                <a:cxn ang="0">
                  <a:pos x="T2" y="T3"/>
                </a:cxn>
                <a:cxn ang="0">
                  <a:pos x="T4" y="T5"/>
                </a:cxn>
                <a:cxn ang="0">
                  <a:pos x="T6" y="T7"/>
                </a:cxn>
                <a:cxn ang="0">
                  <a:pos x="T8" y="T9"/>
                </a:cxn>
                <a:cxn ang="0">
                  <a:pos x="T10" y="T11"/>
                </a:cxn>
              </a:cxnLst>
              <a:rect l="0" t="0" r="r" b="b"/>
              <a:pathLst>
                <a:path w="41" h="74">
                  <a:moveTo>
                    <a:pt x="21" y="0"/>
                  </a:moveTo>
                  <a:cubicBezTo>
                    <a:pt x="9" y="0"/>
                    <a:pt x="0" y="9"/>
                    <a:pt x="0" y="21"/>
                  </a:cubicBezTo>
                  <a:cubicBezTo>
                    <a:pt x="0" y="74"/>
                    <a:pt x="0" y="74"/>
                    <a:pt x="0" y="74"/>
                  </a:cubicBezTo>
                  <a:cubicBezTo>
                    <a:pt x="41" y="74"/>
                    <a:pt x="41" y="74"/>
                    <a:pt x="41" y="74"/>
                  </a:cubicBezTo>
                  <a:cubicBezTo>
                    <a:pt x="41" y="21"/>
                    <a:pt x="41" y="21"/>
                    <a:pt x="41" y="21"/>
                  </a:cubicBezTo>
                  <a:cubicBezTo>
                    <a:pt x="41" y="9"/>
                    <a:pt x="32" y="0"/>
                    <a:pt x="21" y="0"/>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8" name="Freeform 19">
              <a:extLst>
                <a:ext uri="{FF2B5EF4-FFF2-40B4-BE49-F238E27FC236}">
                  <a16:creationId xmlns:a16="http://schemas.microsoft.com/office/drawing/2014/main" id="{94A4491E-7BAF-4B24-822F-22789BDF62DE}"/>
                </a:ext>
              </a:extLst>
            </p:cNvPr>
            <p:cNvSpPr>
              <a:spLocks/>
            </p:cNvSpPr>
            <p:nvPr/>
          </p:nvSpPr>
          <p:spPr bwMode="auto">
            <a:xfrm>
              <a:off x="9877409" y="2761038"/>
              <a:ext cx="250330" cy="466002"/>
            </a:xfrm>
            <a:custGeom>
              <a:avLst/>
              <a:gdLst>
                <a:gd name="T0" fmla="*/ 21 w 41"/>
                <a:gd name="T1" fmla="*/ 0 h 74"/>
                <a:gd name="T2" fmla="*/ 0 w 41"/>
                <a:gd name="T3" fmla="*/ 21 h 74"/>
                <a:gd name="T4" fmla="*/ 0 w 41"/>
                <a:gd name="T5" fmla="*/ 74 h 74"/>
                <a:gd name="T6" fmla="*/ 41 w 41"/>
                <a:gd name="T7" fmla="*/ 74 h 74"/>
                <a:gd name="T8" fmla="*/ 41 w 41"/>
                <a:gd name="T9" fmla="*/ 21 h 74"/>
                <a:gd name="T10" fmla="*/ 21 w 41"/>
                <a:gd name="T11" fmla="*/ 0 h 74"/>
              </a:gdLst>
              <a:ahLst/>
              <a:cxnLst>
                <a:cxn ang="0">
                  <a:pos x="T0" y="T1"/>
                </a:cxn>
                <a:cxn ang="0">
                  <a:pos x="T2" y="T3"/>
                </a:cxn>
                <a:cxn ang="0">
                  <a:pos x="T4" y="T5"/>
                </a:cxn>
                <a:cxn ang="0">
                  <a:pos x="T6" y="T7"/>
                </a:cxn>
                <a:cxn ang="0">
                  <a:pos x="T8" y="T9"/>
                </a:cxn>
                <a:cxn ang="0">
                  <a:pos x="T10" y="T11"/>
                </a:cxn>
              </a:cxnLst>
              <a:rect l="0" t="0" r="r" b="b"/>
              <a:pathLst>
                <a:path w="41" h="74">
                  <a:moveTo>
                    <a:pt x="21" y="0"/>
                  </a:moveTo>
                  <a:cubicBezTo>
                    <a:pt x="9" y="0"/>
                    <a:pt x="0" y="9"/>
                    <a:pt x="0" y="21"/>
                  </a:cubicBezTo>
                  <a:cubicBezTo>
                    <a:pt x="0" y="74"/>
                    <a:pt x="0" y="74"/>
                    <a:pt x="0" y="74"/>
                  </a:cubicBezTo>
                  <a:cubicBezTo>
                    <a:pt x="41" y="74"/>
                    <a:pt x="41" y="74"/>
                    <a:pt x="41" y="74"/>
                  </a:cubicBezTo>
                  <a:cubicBezTo>
                    <a:pt x="41" y="21"/>
                    <a:pt x="41" y="21"/>
                    <a:pt x="41" y="21"/>
                  </a:cubicBezTo>
                  <a:cubicBezTo>
                    <a:pt x="41" y="9"/>
                    <a:pt x="32" y="0"/>
                    <a:pt x="21" y="0"/>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9" name="Rectangle 20">
              <a:extLst>
                <a:ext uri="{FF2B5EF4-FFF2-40B4-BE49-F238E27FC236}">
                  <a16:creationId xmlns:a16="http://schemas.microsoft.com/office/drawing/2014/main" id="{15C02155-F39A-4B74-80EB-977DE349C52D}"/>
                </a:ext>
              </a:extLst>
            </p:cNvPr>
            <p:cNvSpPr>
              <a:spLocks noChangeArrowheads="1"/>
            </p:cNvSpPr>
            <p:nvPr/>
          </p:nvSpPr>
          <p:spPr bwMode="auto">
            <a:xfrm>
              <a:off x="9097212" y="2969100"/>
              <a:ext cx="61192" cy="10688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0" name="Rectangle 21">
              <a:extLst>
                <a:ext uri="{FF2B5EF4-FFF2-40B4-BE49-F238E27FC236}">
                  <a16:creationId xmlns:a16="http://schemas.microsoft.com/office/drawing/2014/main" id="{213B8258-AC6F-46C4-A520-885550A09AC3}"/>
                </a:ext>
              </a:extLst>
            </p:cNvPr>
            <p:cNvSpPr>
              <a:spLocks noChangeArrowheads="1"/>
            </p:cNvSpPr>
            <p:nvPr/>
          </p:nvSpPr>
          <p:spPr bwMode="auto">
            <a:xfrm>
              <a:off x="9225159" y="2969100"/>
              <a:ext cx="61192" cy="10688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1" name="Rectangle 22">
              <a:extLst>
                <a:ext uri="{FF2B5EF4-FFF2-40B4-BE49-F238E27FC236}">
                  <a16:creationId xmlns:a16="http://schemas.microsoft.com/office/drawing/2014/main" id="{DA7E223C-1502-4C0D-BC04-5BFFEFCA8AFD}"/>
                </a:ext>
              </a:extLst>
            </p:cNvPr>
            <p:cNvSpPr>
              <a:spLocks noChangeArrowheads="1"/>
            </p:cNvSpPr>
            <p:nvPr/>
          </p:nvSpPr>
          <p:spPr bwMode="auto">
            <a:xfrm>
              <a:off x="9353106" y="2969100"/>
              <a:ext cx="61192" cy="10688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2" name="Rectangle 23">
              <a:extLst>
                <a:ext uri="{FF2B5EF4-FFF2-40B4-BE49-F238E27FC236}">
                  <a16:creationId xmlns:a16="http://schemas.microsoft.com/office/drawing/2014/main" id="{1645853B-D9EA-4C47-8B47-613A42D504E6}"/>
                </a:ext>
              </a:extLst>
            </p:cNvPr>
            <p:cNvSpPr>
              <a:spLocks noChangeArrowheads="1"/>
            </p:cNvSpPr>
            <p:nvPr/>
          </p:nvSpPr>
          <p:spPr bwMode="auto">
            <a:xfrm>
              <a:off x="9481053" y="2969100"/>
              <a:ext cx="61192" cy="10688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3" name="Rectangle 24">
              <a:extLst>
                <a:ext uri="{FF2B5EF4-FFF2-40B4-BE49-F238E27FC236}">
                  <a16:creationId xmlns:a16="http://schemas.microsoft.com/office/drawing/2014/main" id="{B5037B8C-01E8-440C-A336-6B0881DBF622}"/>
                </a:ext>
              </a:extLst>
            </p:cNvPr>
            <p:cNvSpPr>
              <a:spLocks noChangeArrowheads="1"/>
            </p:cNvSpPr>
            <p:nvPr/>
          </p:nvSpPr>
          <p:spPr bwMode="auto">
            <a:xfrm>
              <a:off x="9731383" y="3227040"/>
              <a:ext cx="1315625" cy="38477"/>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4" name="Rectangle 25">
              <a:extLst>
                <a:ext uri="{FF2B5EF4-FFF2-40B4-BE49-F238E27FC236}">
                  <a16:creationId xmlns:a16="http://schemas.microsoft.com/office/drawing/2014/main" id="{6540C150-5552-4618-8A47-B19E33E6FA1A}"/>
                </a:ext>
              </a:extLst>
            </p:cNvPr>
            <p:cNvSpPr>
              <a:spLocks noChangeArrowheads="1"/>
            </p:cNvSpPr>
            <p:nvPr/>
          </p:nvSpPr>
          <p:spPr bwMode="auto">
            <a:xfrm>
              <a:off x="9700787" y="3265517"/>
              <a:ext cx="1376818" cy="31352"/>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5" name="Rectangle 26">
              <a:extLst>
                <a:ext uri="{FF2B5EF4-FFF2-40B4-BE49-F238E27FC236}">
                  <a16:creationId xmlns:a16="http://schemas.microsoft.com/office/drawing/2014/main" id="{0BFE81CE-E054-4644-8D61-8EC65D64033E}"/>
                </a:ext>
              </a:extLst>
            </p:cNvPr>
            <p:cNvSpPr>
              <a:spLocks noChangeArrowheads="1"/>
            </p:cNvSpPr>
            <p:nvPr/>
          </p:nvSpPr>
          <p:spPr bwMode="auto">
            <a:xfrm>
              <a:off x="9682708" y="3296869"/>
              <a:ext cx="1419930"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6" name="Rectangle 27">
              <a:extLst>
                <a:ext uri="{FF2B5EF4-FFF2-40B4-BE49-F238E27FC236}">
                  <a16:creationId xmlns:a16="http://schemas.microsoft.com/office/drawing/2014/main" id="{FF2194BB-B373-40D3-A4C1-AF4EC4E6D710}"/>
                </a:ext>
              </a:extLst>
            </p:cNvPr>
            <p:cNvSpPr>
              <a:spLocks noChangeArrowheads="1"/>
            </p:cNvSpPr>
            <p:nvPr/>
          </p:nvSpPr>
          <p:spPr bwMode="auto">
            <a:xfrm>
              <a:off x="9657675" y="3328220"/>
              <a:ext cx="1463042" cy="38477"/>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7" name="Rectangle 28">
              <a:extLst>
                <a:ext uri="{FF2B5EF4-FFF2-40B4-BE49-F238E27FC236}">
                  <a16:creationId xmlns:a16="http://schemas.microsoft.com/office/drawing/2014/main" id="{5C0557CB-7453-4F0F-B2AE-1BAFF0989ABE}"/>
                </a:ext>
              </a:extLst>
            </p:cNvPr>
            <p:cNvSpPr>
              <a:spLocks noChangeArrowheads="1"/>
            </p:cNvSpPr>
            <p:nvPr/>
          </p:nvSpPr>
          <p:spPr bwMode="auto">
            <a:xfrm>
              <a:off x="9567277" y="3127284"/>
              <a:ext cx="90397" cy="239413"/>
            </a:xfrm>
            <a:prstGeom prst="rect">
              <a:avLst/>
            </a:prstGeom>
            <a:solidFill>
              <a:srgbClr val="FFB90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8" name="Freeform 29">
              <a:extLst>
                <a:ext uri="{FF2B5EF4-FFF2-40B4-BE49-F238E27FC236}">
                  <a16:creationId xmlns:a16="http://schemas.microsoft.com/office/drawing/2014/main" id="{5983C719-B3FC-4120-8426-BF5F0719F6B0}"/>
                </a:ext>
              </a:extLst>
            </p:cNvPr>
            <p:cNvSpPr>
              <a:spLocks/>
            </p:cNvSpPr>
            <p:nvPr/>
          </p:nvSpPr>
          <p:spPr bwMode="auto">
            <a:xfrm>
              <a:off x="9962243" y="2092676"/>
              <a:ext cx="853905" cy="220888"/>
            </a:xfrm>
            <a:custGeom>
              <a:avLst/>
              <a:gdLst>
                <a:gd name="T0" fmla="*/ 311 w 614"/>
                <a:gd name="T1" fmla="*/ 0 h 155"/>
                <a:gd name="T2" fmla="*/ 0 w 614"/>
                <a:gd name="T3" fmla="*/ 155 h 155"/>
                <a:gd name="T4" fmla="*/ 614 w 614"/>
                <a:gd name="T5" fmla="*/ 155 h 155"/>
                <a:gd name="T6" fmla="*/ 311 w 614"/>
                <a:gd name="T7" fmla="*/ 0 h 155"/>
              </a:gdLst>
              <a:ahLst/>
              <a:cxnLst>
                <a:cxn ang="0">
                  <a:pos x="T0" y="T1"/>
                </a:cxn>
                <a:cxn ang="0">
                  <a:pos x="T2" y="T3"/>
                </a:cxn>
                <a:cxn ang="0">
                  <a:pos x="T4" y="T5"/>
                </a:cxn>
                <a:cxn ang="0">
                  <a:pos x="T6" y="T7"/>
                </a:cxn>
              </a:cxnLst>
              <a:rect l="0" t="0" r="r" b="b"/>
              <a:pathLst>
                <a:path w="614" h="155">
                  <a:moveTo>
                    <a:pt x="311" y="0"/>
                  </a:moveTo>
                  <a:lnTo>
                    <a:pt x="0" y="155"/>
                  </a:lnTo>
                  <a:lnTo>
                    <a:pt x="614" y="155"/>
                  </a:lnTo>
                  <a:lnTo>
                    <a:pt x="311" y="0"/>
                  </a:ln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9" name="Rectangle 30">
              <a:extLst>
                <a:ext uri="{FF2B5EF4-FFF2-40B4-BE49-F238E27FC236}">
                  <a16:creationId xmlns:a16="http://schemas.microsoft.com/office/drawing/2014/main" id="{F1BB4BEE-90C4-4347-82F5-0021376F89E7}"/>
                </a:ext>
              </a:extLst>
            </p:cNvPr>
            <p:cNvSpPr>
              <a:spLocks noChangeArrowheads="1"/>
            </p:cNvSpPr>
            <p:nvPr/>
          </p:nvSpPr>
          <p:spPr bwMode="auto">
            <a:xfrm>
              <a:off x="9700787" y="2597154"/>
              <a:ext cx="1376818"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0" name="Rectangle 31">
              <a:extLst>
                <a:ext uri="{FF2B5EF4-FFF2-40B4-BE49-F238E27FC236}">
                  <a16:creationId xmlns:a16="http://schemas.microsoft.com/office/drawing/2014/main" id="{345341DF-8C0C-4412-9130-A699CF1BC15D}"/>
                </a:ext>
              </a:extLst>
            </p:cNvPr>
            <p:cNvSpPr>
              <a:spLocks noChangeArrowheads="1"/>
            </p:cNvSpPr>
            <p:nvPr/>
          </p:nvSpPr>
          <p:spPr bwMode="auto">
            <a:xfrm>
              <a:off x="9700787" y="2339214"/>
              <a:ext cx="1376818"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1" name="Rectangle 32">
              <a:extLst>
                <a:ext uri="{FF2B5EF4-FFF2-40B4-BE49-F238E27FC236}">
                  <a16:creationId xmlns:a16="http://schemas.microsoft.com/office/drawing/2014/main" id="{C3AB04D2-E350-44F0-A76F-7721292FB2F2}"/>
                </a:ext>
              </a:extLst>
            </p:cNvPr>
            <p:cNvSpPr>
              <a:spLocks noChangeArrowheads="1"/>
            </p:cNvSpPr>
            <p:nvPr/>
          </p:nvSpPr>
          <p:spPr bwMode="auto">
            <a:xfrm>
              <a:off x="8974829" y="2862219"/>
              <a:ext cx="756555" cy="2565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grpSp>
          <p:nvGrpSpPr>
            <p:cNvPr id="272" name="Group 514">
              <a:extLst>
                <a:ext uri="{FF2B5EF4-FFF2-40B4-BE49-F238E27FC236}">
                  <a16:creationId xmlns:a16="http://schemas.microsoft.com/office/drawing/2014/main" id="{80C959AE-3CC8-494C-BDA9-945954B80721}"/>
                </a:ext>
              </a:extLst>
            </p:cNvPr>
            <p:cNvGrpSpPr/>
            <p:nvPr/>
          </p:nvGrpSpPr>
          <p:grpSpPr>
            <a:xfrm>
              <a:off x="10100324" y="2435450"/>
              <a:ext cx="568649" cy="931248"/>
              <a:chOff x="13636540" y="5656356"/>
              <a:chExt cx="703968" cy="1125060"/>
            </a:xfrm>
          </p:grpSpPr>
          <p:sp>
            <p:nvSpPr>
              <p:cNvPr id="273" name="Freeform 37">
                <a:extLst>
                  <a:ext uri="{FF2B5EF4-FFF2-40B4-BE49-F238E27FC236}">
                    <a16:creationId xmlns:a16="http://schemas.microsoft.com/office/drawing/2014/main" id="{D249B00D-CE24-4FFD-A433-009536858627}"/>
                  </a:ext>
                </a:extLst>
              </p:cNvPr>
              <p:cNvSpPr>
                <a:spLocks/>
              </p:cNvSpPr>
              <p:nvPr/>
            </p:nvSpPr>
            <p:spPr bwMode="auto">
              <a:xfrm>
                <a:off x="13771739" y="5656356"/>
                <a:ext cx="435124" cy="498839"/>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4" name="Rectangle 38">
                <a:extLst>
                  <a:ext uri="{FF2B5EF4-FFF2-40B4-BE49-F238E27FC236}">
                    <a16:creationId xmlns:a16="http://schemas.microsoft.com/office/drawing/2014/main" id="{6DD460FC-6AB3-4217-8209-C68195F1E74C}"/>
                  </a:ext>
                </a:extLst>
              </p:cNvPr>
              <p:cNvSpPr>
                <a:spLocks noChangeArrowheads="1"/>
              </p:cNvSpPr>
              <p:nvPr/>
            </p:nvSpPr>
            <p:spPr bwMode="auto">
              <a:xfrm>
                <a:off x="13636540" y="6125576"/>
                <a:ext cx="703968" cy="655840"/>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5" name="Rectangle 39">
                <a:extLst>
                  <a:ext uri="{FF2B5EF4-FFF2-40B4-BE49-F238E27FC236}">
                    <a16:creationId xmlns:a16="http://schemas.microsoft.com/office/drawing/2014/main" id="{5023E433-8020-4E49-9DB8-B34C65CD24C8}"/>
                  </a:ext>
                </a:extLst>
              </p:cNvPr>
              <p:cNvSpPr>
                <a:spLocks noChangeArrowheads="1"/>
              </p:cNvSpPr>
              <p:nvPr/>
            </p:nvSpPr>
            <p:spPr bwMode="auto">
              <a:xfrm>
                <a:off x="13636540" y="6125067"/>
                <a:ext cx="181820" cy="656349"/>
              </a:xfrm>
              <a:prstGeom prst="rect">
                <a:avLst/>
              </a:prstGeom>
              <a:solidFill>
                <a:srgbClr val="DC3C00">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6" name="Freeform 40">
                <a:extLst>
                  <a:ext uri="{FF2B5EF4-FFF2-40B4-BE49-F238E27FC236}">
                    <a16:creationId xmlns:a16="http://schemas.microsoft.com/office/drawing/2014/main" id="{15FC925D-84A9-4C2F-805E-4E6B4A117E34}"/>
                  </a:ext>
                </a:extLst>
              </p:cNvPr>
              <p:cNvSpPr>
                <a:spLocks/>
              </p:cNvSpPr>
              <p:nvPr/>
            </p:nvSpPr>
            <p:spPr bwMode="auto">
              <a:xfrm>
                <a:off x="13916262" y="6351001"/>
                <a:ext cx="144523" cy="251750"/>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grpSp>
      </p:grpSp>
      <p:cxnSp>
        <p:nvCxnSpPr>
          <p:cNvPr id="289" name="Straight Connector 288">
            <a:extLst>
              <a:ext uri="{FF2B5EF4-FFF2-40B4-BE49-F238E27FC236}">
                <a16:creationId xmlns:a16="http://schemas.microsoft.com/office/drawing/2014/main" id="{34961C9B-0684-4C6A-B836-65B96270228A}"/>
              </a:ext>
            </a:extLst>
          </p:cNvPr>
          <p:cNvCxnSpPr>
            <a:cxnSpLocks/>
          </p:cNvCxnSpPr>
          <p:nvPr/>
        </p:nvCxnSpPr>
        <p:spPr>
          <a:xfrm>
            <a:off x="2878566" y="4180715"/>
            <a:ext cx="0" cy="1203509"/>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3768A885-D32B-4EE8-B1A0-42E0AF2F3609}"/>
              </a:ext>
            </a:extLst>
          </p:cNvPr>
          <p:cNvPicPr>
            <a:picLocks noChangeAspect="1"/>
          </p:cNvPicPr>
          <p:nvPr/>
        </p:nvPicPr>
        <p:blipFill>
          <a:blip r:embed="rId23"/>
          <a:stretch>
            <a:fillRect/>
          </a:stretch>
        </p:blipFill>
        <p:spPr>
          <a:xfrm>
            <a:off x="875985" y="4219160"/>
            <a:ext cx="595599" cy="228245"/>
          </a:xfrm>
          <a:prstGeom prst="rect">
            <a:avLst/>
          </a:prstGeom>
        </p:spPr>
      </p:pic>
      <p:pic>
        <p:nvPicPr>
          <p:cNvPr id="7180" name="Picture 12" descr="Image result for wipro logo">
            <a:extLst>
              <a:ext uri="{FF2B5EF4-FFF2-40B4-BE49-F238E27FC236}">
                <a16:creationId xmlns:a16="http://schemas.microsoft.com/office/drawing/2014/main" id="{2D31644B-F00F-4F03-A639-32CB7D1B068A}"/>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065547" y="4469780"/>
            <a:ext cx="644925" cy="483694"/>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20">
            <a:extLst>
              <a:ext uri="{FF2B5EF4-FFF2-40B4-BE49-F238E27FC236}">
                <a16:creationId xmlns:a16="http://schemas.microsoft.com/office/drawing/2014/main" id="{1BFCBAB8-EE31-4693-9D6C-7E0071E271C2}"/>
              </a:ext>
            </a:extLst>
          </p:cNvPr>
          <p:cNvGrpSpPr>
            <a:grpSpLocks noChangeAspect="1"/>
          </p:cNvGrpSpPr>
          <p:nvPr/>
        </p:nvGrpSpPr>
        <p:grpSpPr bwMode="auto">
          <a:xfrm>
            <a:off x="6410420" y="2090874"/>
            <a:ext cx="1624366" cy="1806330"/>
            <a:chOff x="7198" y="2748"/>
            <a:chExt cx="732" cy="814"/>
          </a:xfrm>
        </p:grpSpPr>
        <p:sp>
          <p:nvSpPr>
            <p:cNvPr id="20" name="Freeform 22">
              <a:extLst>
                <a:ext uri="{FF2B5EF4-FFF2-40B4-BE49-F238E27FC236}">
                  <a16:creationId xmlns:a16="http://schemas.microsoft.com/office/drawing/2014/main" id="{3520F713-6AD2-4F55-9C6C-8B47113ED253}"/>
                </a:ext>
              </a:extLst>
            </p:cNvPr>
            <p:cNvSpPr>
              <a:spLocks/>
            </p:cNvSpPr>
            <p:nvPr/>
          </p:nvSpPr>
          <p:spPr bwMode="auto">
            <a:xfrm>
              <a:off x="7749" y="3213"/>
              <a:ext cx="123" cy="122"/>
            </a:xfrm>
            <a:custGeom>
              <a:avLst/>
              <a:gdLst>
                <a:gd name="T0" fmla="*/ 28 w 261"/>
                <a:gd name="T1" fmla="*/ 0 h 259"/>
                <a:gd name="T2" fmla="*/ 0 w 261"/>
                <a:gd name="T3" fmla="*/ 28 h 259"/>
                <a:gd name="T4" fmla="*/ 225 w 261"/>
                <a:gd name="T5" fmla="*/ 253 h 259"/>
                <a:gd name="T6" fmla="*/ 239 w 261"/>
                <a:gd name="T7" fmla="*/ 259 h 259"/>
                <a:gd name="T8" fmla="*/ 253 w 261"/>
                <a:gd name="T9" fmla="*/ 253 h 259"/>
                <a:gd name="T10" fmla="*/ 253 w 261"/>
                <a:gd name="T11" fmla="*/ 225 h 259"/>
                <a:gd name="T12" fmla="*/ 28 w 261"/>
                <a:gd name="T13" fmla="*/ 0 h 259"/>
              </a:gdLst>
              <a:ahLst/>
              <a:cxnLst>
                <a:cxn ang="0">
                  <a:pos x="T0" y="T1"/>
                </a:cxn>
                <a:cxn ang="0">
                  <a:pos x="T2" y="T3"/>
                </a:cxn>
                <a:cxn ang="0">
                  <a:pos x="T4" y="T5"/>
                </a:cxn>
                <a:cxn ang="0">
                  <a:pos x="T6" y="T7"/>
                </a:cxn>
                <a:cxn ang="0">
                  <a:pos x="T8" y="T9"/>
                </a:cxn>
                <a:cxn ang="0">
                  <a:pos x="T10" y="T11"/>
                </a:cxn>
                <a:cxn ang="0">
                  <a:pos x="T12" y="T13"/>
                </a:cxn>
              </a:cxnLst>
              <a:rect l="0" t="0" r="r" b="b"/>
              <a:pathLst>
                <a:path w="261" h="259">
                  <a:moveTo>
                    <a:pt x="28" y="0"/>
                  </a:moveTo>
                  <a:cubicBezTo>
                    <a:pt x="0" y="28"/>
                    <a:pt x="0" y="28"/>
                    <a:pt x="0" y="28"/>
                  </a:cubicBezTo>
                  <a:cubicBezTo>
                    <a:pt x="225" y="253"/>
                    <a:pt x="225" y="253"/>
                    <a:pt x="225" y="253"/>
                  </a:cubicBezTo>
                  <a:cubicBezTo>
                    <a:pt x="229" y="257"/>
                    <a:pt x="234" y="259"/>
                    <a:pt x="239" y="259"/>
                  </a:cubicBezTo>
                  <a:cubicBezTo>
                    <a:pt x="244" y="259"/>
                    <a:pt x="249" y="257"/>
                    <a:pt x="253" y="253"/>
                  </a:cubicBezTo>
                  <a:cubicBezTo>
                    <a:pt x="261" y="245"/>
                    <a:pt x="261" y="233"/>
                    <a:pt x="253" y="225"/>
                  </a:cubicBezTo>
                  <a:lnTo>
                    <a:pt x="28"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3">
              <a:extLst>
                <a:ext uri="{FF2B5EF4-FFF2-40B4-BE49-F238E27FC236}">
                  <a16:creationId xmlns:a16="http://schemas.microsoft.com/office/drawing/2014/main" id="{0DE07A9B-470B-44DD-9021-613453A77B94}"/>
                </a:ext>
              </a:extLst>
            </p:cNvPr>
            <p:cNvSpPr>
              <a:spLocks/>
            </p:cNvSpPr>
            <p:nvPr/>
          </p:nvSpPr>
          <p:spPr bwMode="auto">
            <a:xfrm>
              <a:off x="7308" y="2772"/>
              <a:ext cx="121" cy="120"/>
            </a:xfrm>
            <a:custGeom>
              <a:avLst/>
              <a:gdLst>
                <a:gd name="T0" fmla="*/ 36 w 256"/>
                <a:gd name="T1" fmla="*/ 8 h 256"/>
                <a:gd name="T2" fmla="*/ 8 w 256"/>
                <a:gd name="T3" fmla="*/ 8 h 256"/>
                <a:gd name="T4" fmla="*/ 8 w 256"/>
                <a:gd name="T5" fmla="*/ 37 h 256"/>
                <a:gd name="T6" fmla="*/ 228 w 256"/>
                <a:gd name="T7" fmla="*/ 256 h 256"/>
                <a:gd name="T8" fmla="*/ 256 w 256"/>
                <a:gd name="T9" fmla="*/ 228 h 256"/>
                <a:gd name="T10" fmla="*/ 36 w 256"/>
                <a:gd name="T11" fmla="*/ 8 h 256"/>
              </a:gdLst>
              <a:ahLst/>
              <a:cxnLst>
                <a:cxn ang="0">
                  <a:pos x="T0" y="T1"/>
                </a:cxn>
                <a:cxn ang="0">
                  <a:pos x="T2" y="T3"/>
                </a:cxn>
                <a:cxn ang="0">
                  <a:pos x="T4" y="T5"/>
                </a:cxn>
                <a:cxn ang="0">
                  <a:pos x="T6" y="T7"/>
                </a:cxn>
                <a:cxn ang="0">
                  <a:pos x="T8" y="T9"/>
                </a:cxn>
                <a:cxn ang="0">
                  <a:pos x="T10" y="T11"/>
                </a:cxn>
              </a:cxnLst>
              <a:rect l="0" t="0" r="r" b="b"/>
              <a:pathLst>
                <a:path w="256" h="256">
                  <a:moveTo>
                    <a:pt x="36" y="8"/>
                  </a:moveTo>
                  <a:cubicBezTo>
                    <a:pt x="29" y="0"/>
                    <a:pt x="16" y="0"/>
                    <a:pt x="8" y="8"/>
                  </a:cubicBezTo>
                  <a:cubicBezTo>
                    <a:pt x="0" y="16"/>
                    <a:pt x="0" y="29"/>
                    <a:pt x="8" y="37"/>
                  </a:cubicBezTo>
                  <a:cubicBezTo>
                    <a:pt x="228" y="256"/>
                    <a:pt x="228" y="256"/>
                    <a:pt x="228" y="256"/>
                  </a:cubicBezTo>
                  <a:cubicBezTo>
                    <a:pt x="256" y="228"/>
                    <a:pt x="256" y="228"/>
                    <a:pt x="256" y="228"/>
                  </a:cubicBezTo>
                  <a:lnTo>
                    <a:pt x="36" y="8"/>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4">
              <a:extLst>
                <a:ext uri="{FF2B5EF4-FFF2-40B4-BE49-F238E27FC236}">
                  <a16:creationId xmlns:a16="http://schemas.microsoft.com/office/drawing/2014/main" id="{1B923516-FF31-4BBA-80F8-8EF8AEA8EA1A}"/>
                </a:ext>
              </a:extLst>
            </p:cNvPr>
            <p:cNvSpPr>
              <a:spLocks/>
            </p:cNvSpPr>
            <p:nvPr/>
          </p:nvSpPr>
          <p:spPr bwMode="auto">
            <a:xfrm>
              <a:off x="7549" y="3416"/>
              <a:ext cx="42" cy="46"/>
            </a:xfrm>
            <a:custGeom>
              <a:avLst/>
              <a:gdLst>
                <a:gd name="T0" fmla="*/ 0 w 42"/>
                <a:gd name="T1" fmla="*/ 46 h 46"/>
                <a:gd name="T2" fmla="*/ 42 w 42"/>
                <a:gd name="T3" fmla="*/ 46 h 46"/>
                <a:gd name="T4" fmla="*/ 42 w 42"/>
                <a:gd name="T5" fmla="*/ 20 h 46"/>
                <a:gd name="T6" fmla="*/ 0 w 42"/>
                <a:gd name="T7" fmla="*/ 0 h 46"/>
                <a:gd name="T8" fmla="*/ 0 w 42"/>
                <a:gd name="T9" fmla="*/ 46 h 46"/>
              </a:gdLst>
              <a:ahLst/>
              <a:cxnLst>
                <a:cxn ang="0">
                  <a:pos x="T0" y="T1"/>
                </a:cxn>
                <a:cxn ang="0">
                  <a:pos x="T2" y="T3"/>
                </a:cxn>
                <a:cxn ang="0">
                  <a:pos x="T4" y="T5"/>
                </a:cxn>
                <a:cxn ang="0">
                  <a:pos x="T6" y="T7"/>
                </a:cxn>
                <a:cxn ang="0">
                  <a:pos x="T8" y="T9"/>
                </a:cxn>
              </a:cxnLst>
              <a:rect l="0" t="0" r="r" b="b"/>
              <a:pathLst>
                <a:path w="42" h="46">
                  <a:moveTo>
                    <a:pt x="0" y="46"/>
                  </a:moveTo>
                  <a:lnTo>
                    <a:pt x="42" y="46"/>
                  </a:lnTo>
                  <a:lnTo>
                    <a:pt x="42" y="20"/>
                  </a:lnTo>
                  <a:lnTo>
                    <a:pt x="0" y="0"/>
                  </a:lnTo>
                  <a:lnTo>
                    <a:pt x="0" y="4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5">
              <a:extLst>
                <a:ext uri="{FF2B5EF4-FFF2-40B4-BE49-F238E27FC236}">
                  <a16:creationId xmlns:a16="http://schemas.microsoft.com/office/drawing/2014/main" id="{C932AE1C-5EDE-47A3-9CF8-96D9AA3B6911}"/>
                </a:ext>
              </a:extLst>
            </p:cNvPr>
            <p:cNvSpPr>
              <a:spLocks/>
            </p:cNvSpPr>
            <p:nvPr/>
          </p:nvSpPr>
          <p:spPr bwMode="auto">
            <a:xfrm>
              <a:off x="7549" y="3400"/>
              <a:ext cx="42" cy="36"/>
            </a:xfrm>
            <a:custGeom>
              <a:avLst/>
              <a:gdLst>
                <a:gd name="T0" fmla="*/ 0 w 42"/>
                <a:gd name="T1" fmla="*/ 0 h 36"/>
                <a:gd name="T2" fmla="*/ 0 w 42"/>
                <a:gd name="T3" fmla="*/ 16 h 36"/>
                <a:gd name="T4" fmla="*/ 42 w 42"/>
                <a:gd name="T5" fmla="*/ 36 h 36"/>
                <a:gd name="T6" fmla="*/ 42 w 42"/>
                <a:gd name="T7" fmla="*/ 0 h 36"/>
                <a:gd name="T8" fmla="*/ 0 w 42"/>
                <a:gd name="T9" fmla="*/ 0 h 36"/>
              </a:gdLst>
              <a:ahLst/>
              <a:cxnLst>
                <a:cxn ang="0">
                  <a:pos x="T0" y="T1"/>
                </a:cxn>
                <a:cxn ang="0">
                  <a:pos x="T2" y="T3"/>
                </a:cxn>
                <a:cxn ang="0">
                  <a:pos x="T4" y="T5"/>
                </a:cxn>
                <a:cxn ang="0">
                  <a:pos x="T6" y="T7"/>
                </a:cxn>
                <a:cxn ang="0">
                  <a:pos x="T8" y="T9"/>
                </a:cxn>
              </a:cxnLst>
              <a:rect l="0" t="0" r="r" b="b"/>
              <a:pathLst>
                <a:path w="42" h="36">
                  <a:moveTo>
                    <a:pt x="0" y="0"/>
                  </a:moveTo>
                  <a:lnTo>
                    <a:pt x="0" y="16"/>
                  </a:lnTo>
                  <a:lnTo>
                    <a:pt x="42" y="36"/>
                  </a:lnTo>
                  <a:lnTo>
                    <a:pt x="42" y="0"/>
                  </a:lnTo>
                  <a:lnTo>
                    <a:pt x="0"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6">
              <a:extLst>
                <a:ext uri="{FF2B5EF4-FFF2-40B4-BE49-F238E27FC236}">
                  <a16:creationId xmlns:a16="http://schemas.microsoft.com/office/drawing/2014/main" id="{F6576C5B-E71B-450C-B2BD-CE0AEC98CF94}"/>
                </a:ext>
              </a:extLst>
            </p:cNvPr>
            <p:cNvSpPr>
              <a:spLocks/>
            </p:cNvSpPr>
            <p:nvPr/>
          </p:nvSpPr>
          <p:spPr bwMode="auto">
            <a:xfrm>
              <a:off x="7218" y="3514"/>
              <a:ext cx="712" cy="48"/>
            </a:xfrm>
            <a:custGeom>
              <a:avLst/>
              <a:gdLst>
                <a:gd name="T0" fmla="*/ 1462 w 1513"/>
                <a:gd name="T1" fmla="*/ 0 h 101"/>
                <a:gd name="T2" fmla="*/ 50 w 1513"/>
                <a:gd name="T3" fmla="*/ 0 h 101"/>
                <a:gd name="T4" fmla="*/ 0 w 1513"/>
                <a:gd name="T5" fmla="*/ 51 h 101"/>
                <a:gd name="T6" fmla="*/ 50 w 1513"/>
                <a:gd name="T7" fmla="*/ 101 h 101"/>
                <a:gd name="T8" fmla="*/ 1462 w 1513"/>
                <a:gd name="T9" fmla="*/ 101 h 101"/>
                <a:gd name="T10" fmla="*/ 1513 w 1513"/>
                <a:gd name="T11" fmla="*/ 51 h 101"/>
                <a:gd name="T12" fmla="*/ 1462 w 1513"/>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513" h="101">
                  <a:moveTo>
                    <a:pt x="1462" y="0"/>
                  </a:moveTo>
                  <a:cubicBezTo>
                    <a:pt x="50" y="0"/>
                    <a:pt x="50" y="0"/>
                    <a:pt x="50" y="0"/>
                  </a:cubicBezTo>
                  <a:cubicBezTo>
                    <a:pt x="23" y="0"/>
                    <a:pt x="0" y="23"/>
                    <a:pt x="0" y="51"/>
                  </a:cubicBezTo>
                  <a:cubicBezTo>
                    <a:pt x="0" y="78"/>
                    <a:pt x="23" y="101"/>
                    <a:pt x="50" y="101"/>
                  </a:cubicBezTo>
                  <a:cubicBezTo>
                    <a:pt x="1462" y="101"/>
                    <a:pt x="1462" y="101"/>
                    <a:pt x="1462" y="101"/>
                  </a:cubicBezTo>
                  <a:cubicBezTo>
                    <a:pt x="1490" y="101"/>
                    <a:pt x="1513" y="78"/>
                    <a:pt x="1513" y="51"/>
                  </a:cubicBezTo>
                  <a:cubicBezTo>
                    <a:pt x="1513" y="23"/>
                    <a:pt x="1490" y="0"/>
                    <a:pt x="1462"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7">
              <a:extLst>
                <a:ext uri="{FF2B5EF4-FFF2-40B4-BE49-F238E27FC236}">
                  <a16:creationId xmlns:a16="http://schemas.microsoft.com/office/drawing/2014/main" id="{AAFCED7D-17E7-494A-AD9D-2E7BE23DC52E}"/>
                </a:ext>
              </a:extLst>
            </p:cNvPr>
            <p:cNvSpPr>
              <a:spLocks/>
            </p:cNvSpPr>
            <p:nvPr/>
          </p:nvSpPr>
          <p:spPr bwMode="auto">
            <a:xfrm>
              <a:off x="7440" y="3441"/>
              <a:ext cx="245" cy="87"/>
            </a:xfrm>
            <a:custGeom>
              <a:avLst/>
              <a:gdLst>
                <a:gd name="T0" fmla="*/ 0 w 245"/>
                <a:gd name="T1" fmla="*/ 0 h 87"/>
                <a:gd name="T2" fmla="*/ 0 w 245"/>
                <a:gd name="T3" fmla="*/ 87 h 87"/>
                <a:gd name="T4" fmla="*/ 245 w 245"/>
                <a:gd name="T5" fmla="*/ 87 h 87"/>
                <a:gd name="T6" fmla="*/ 54 w 245"/>
                <a:gd name="T7" fmla="*/ 0 h 87"/>
                <a:gd name="T8" fmla="*/ 0 w 245"/>
                <a:gd name="T9" fmla="*/ 0 h 87"/>
              </a:gdLst>
              <a:ahLst/>
              <a:cxnLst>
                <a:cxn ang="0">
                  <a:pos x="T0" y="T1"/>
                </a:cxn>
                <a:cxn ang="0">
                  <a:pos x="T2" y="T3"/>
                </a:cxn>
                <a:cxn ang="0">
                  <a:pos x="T4" y="T5"/>
                </a:cxn>
                <a:cxn ang="0">
                  <a:pos x="T6" y="T7"/>
                </a:cxn>
                <a:cxn ang="0">
                  <a:pos x="T8" y="T9"/>
                </a:cxn>
              </a:cxnLst>
              <a:rect l="0" t="0" r="r" b="b"/>
              <a:pathLst>
                <a:path w="245" h="87">
                  <a:moveTo>
                    <a:pt x="0" y="0"/>
                  </a:moveTo>
                  <a:lnTo>
                    <a:pt x="0" y="87"/>
                  </a:lnTo>
                  <a:lnTo>
                    <a:pt x="245" y="87"/>
                  </a:lnTo>
                  <a:lnTo>
                    <a:pt x="5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8">
              <a:extLst>
                <a:ext uri="{FF2B5EF4-FFF2-40B4-BE49-F238E27FC236}">
                  <a16:creationId xmlns:a16="http://schemas.microsoft.com/office/drawing/2014/main" id="{05C710AA-6775-4F2A-AC22-78B9ACAF52AF}"/>
                </a:ext>
              </a:extLst>
            </p:cNvPr>
            <p:cNvSpPr>
              <a:spLocks/>
            </p:cNvSpPr>
            <p:nvPr/>
          </p:nvSpPr>
          <p:spPr bwMode="auto">
            <a:xfrm>
              <a:off x="7494" y="3441"/>
              <a:ext cx="206" cy="87"/>
            </a:xfrm>
            <a:custGeom>
              <a:avLst/>
              <a:gdLst>
                <a:gd name="T0" fmla="*/ 206 w 206"/>
                <a:gd name="T1" fmla="*/ 0 h 87"/>
                <a:gd name="T2" fmla="*/ 0 w 206"/>
                <a:gd name="T3" fmla="*/ 0 h 87"/>
                <a:gd name="T4" fmla="*/ 191 w 206"/>
                <a:gd name="T5" fmla="*/ 87 h 87"/>
                <a:gd name="T6" fmla="*/ 206 w 206"/>
                <a:gd name="T7" fmla="*/ 87 h 87"/>
                <a:gd name="T8" fmla="*/ 206 w 206"/>
                <a:gd name="T9" fmla="*/ 0 h 87"/>
              </a:gdLst>
              <a:ahLst/>
              <a:cxnLst>
                <a:cxn ang="0">
                  <a:pos x="T0" y="T1"/>
                </a:cxn>
                <a:cxn ang="0">
                  <a:pos x="T2" y="T3"/>
                </a:cxn>
                <a:cxn ang="0">
                  <a:pos x="T4" y="T5"/>
                </a:cxn>
                <a:cxn ang="0">
                  <a:pos x="T6" y="T7"/>
                </a:cxn>
                <a:cxn ang="0">
                  <a:pos x="T8" y="T9"/>
                </a:cxn>
              </a:cxnLst>
              <a:rect l="0" t="0" r="r" b="b"/>
              <a:pathLst>
                <a:path w="206" h="87">
                  <a:moveTo>
                    <a:pt x="206" y="0"/>
                  </a:moveTo>
                  <a:lnTo>
                    <a:pt x="0" y="0"/>
                  </a:lnTo>
                  <a:lnTo>
                    <a:pt x="191" y="87"/>
                  </a:lnTo>
                  <a:lnTo>
                    <a:pt x="206" y="87"/>
                  </a:lnTo>
                  <a:lnTo>
                    <a:pt x="206"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9">
              <a:extLst>
                <a:ext uri="{FF2B5EF4-FFF2-40B4-BE49-F238E27FC236}">
                  <a16:creationId xmlns:a16="http://schemas.microsoft.com/office/drawing/2014/main" id="{19F714BA-2D2C-4D0E-A165-72183030CE33}"/>
                </a:ext>
              </a:extLst>
            </p:cNvPr>
            <p:cNvSpPr>
              <a:spLocks/>
            </p:cNvSpPr>
            <p:nvPr/>
          </p:nvSpPr>
          <p:spPr bwMode="auto">
            <a:xfrm>
              <a:off x="7495" y="3484"/>
              <a:ext cx="304" cy="54"/>
            </a:xfrm>
            <a:custGeom>
              <a:avLst/>
              <a:gdLst>
                <a:gd name="T0" fmla="*/ 0 w 304"/>
                <a:gd name="T1" fmla="*/ 0 h 54"/>
                <a:gd name="T2" fmla="*/ 120 w 304"/>
                <a:gd name="T3" fmla="*/ 54 h 54"/>
                <a:gd name="T4" fmla="*/ 304 w 304"/>
                <a:gd name="T5" fmla="*/ 54 h 54"/>
                <a:gd name="T6" fmla="*/ 304 w 304"/>
                <a:gd name="T7" fmla="*/ 0 h 54"/>
                <a:gd name="T8" fmla="*/ 0 w 304"/>
                <a:gd name="T9" fmla="*/ 0 h 54"/>
              </a:gdLst>
              <a:ahLst/>
              <a:cxnLst>
                <a:cxn ang="0">
                  <a:pos x="T0" y="T1"/>
                </a:cxn>
                <a:cxn ang="0">
                  <a:pos x="T2" y="T3"/>
                </a:cxn>
                <a:cxn ang="0">
                  <a:pos x="T4" y="T5"/>
                </a:cxn>
                <a:cxn ang="0">
                  <a:pos x="T6" y="T7"/>
                </a:cxn>
                <a:cxn ang="0">
                  <a:pos x="T8" y="T9"/>
                </a:cxn>
              </a:cxnLst>
              <a:rect l="0" t="0" r="r" b="b"/>
              <a:pathLst>
                <a:path w="304" h="54">
                  <a:moveTo>
                    <a:pt x="0" y="0"/>
                  </a:moveTo>
                  <a:lnTo>
                    <a:pt x="120" y="54"/>
                  </a:lnTo>
                  <a:lnTo>
                    <a:pt x="304" y="54"/>
                  </a:lnTo>
                  <a:lnTo>
                    <a:pt x="304" y="0"/>
                  </a:lnTo>
                  <a:lnTo>
                    <a:pt x="0"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68" name="Freeform 30">
              <a:extLst>
                <a:ext uri="{FF2B5EF4-FFF2-40B4-BE49-F238E27FC236}">
                  <a16:creationId xmlns:a16="http://schemas.microsoft.com/office/drawing/2014/main" id="{6171763C-7370-412E-8175-9E2CD3F35C6D}"/>
                </a:ext>
              </a:extLst>
            </p:cNvPr>
            <p:cNvSpPr>
              <a:spLocks/>
            </p:cNvSpPr>
            <p:nvPr/>
          </p:nvSpPr>
          <p:spPr bwMode="auto">
            <a:xfrm>
              <a:off x="7341" y="3484"/>
              <a:ext cx="274" cy="54"/>
            </a:xfrm>
            <a:custGeom>
              <a:avLst/>
              <a:gdLst>
                <a:gd name="T0" fmla="*/ 0 w 274"/>
                <a:gd name="T1" fmla="*/ 0 h 54"/>
                <a:gd name="T2" fmla="*/ 0 w 274"/>
                <a:gd name="T3" fmla="*/ 54 h 54"/>
                <a:gd name="T4" fmla="*/ 274 w 274"/>
                <a:gd name="T5" fmla="*/ 54 h 54"/>
                <a:gd name="T6" fmla="*/ 154 w 274"/>
                <a:gd name="T7" fmla="*/ 0 h 54"/>
                <a:gd name="T8" fmla="*/ 0 w 274"/>
                <a:gd name="T9" fmla="*/ 0 h 54"/>
              </a:gdLst>
              <a:ahLst/>
              <a:cxnLst>
                <a:cxn ang="0">
                  <a:pos x="T0" y="T1"/>
                </a:cxn>
                <a:cxn ang="0">
                  <a:pos x="T2" y="T3"/>
                </a:cxn>
                <a:cxn ang="0">
                  <a:pos x="T4" y="T5"/>
                </a:cxn>
                <a:cxn ang="0">
                  <a:pos x="T6" y="T7"/>
                </a:cxn>
                <a:cxn ang="0">
                  <a:pos x="T8" y="T9"/>
                </a:cxn>
              </a:cxnLst>
              <a:rect l="0" t="0" r="r" b="b"/>
              <a:pathLst>
                <a:path w="274" h="54">
                  <a:moveTo>
                    <a:pt x="0" y="0"/>
                  </a:moveTo>
                  <a:lnTo>
                    <a:pt x="0" y="54"/>
                  </a:lnTo>
                  <a:lnTo>
                    <a:pt x="274" y="54"/>
                  </a:lnTo>
                  <a:lnTo>
                    <a:pt x="15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69" name="Freeform 31">
              <a:extLst>
                <a:ext uri="{FF2B5EF4-FFF2-40B4-BE49-F238E27FC236}">
                  <a16:creationId xmlns:a16="http://schemas.microsoft.com/office/drawing/2014/main" id="{00E56205-23D0-468E-877B-4005BE437F53}"/>
                </a:ext>
              </a:extLst>
            </p:cNvPr>
            <p:cNvSpPr>
              <a:spLocks/>
            </p:cNvSpPr>
            <p:nvPr/>
          </p:nvSpPr>
          <p:spPr bwMode="auto">
            <a:xfrm>
              <a:off x="7484" y="2925"/>
              <a:ext cx="410" cy="429"/>
            </a:xfrm>
            <a:custGeom>
              <a:avLst/>
              <a:gdLst>
                <a:gd name="T0" fmla="*/ 754 w 871"/>
                <a:gd name="T1" fmla="*/ 0 h 912"/>
                <a:gd name="T2" fmla="*/ 469 w 871"/>
                <a:gd name="T3" fmla="*/ 557 h 912"/>
                <a:gd name="T4" fmla="*/ 0 w 871"/>
                <a:gd name="T5" fmla="*/ 823 h 912"/>
                <a:gd name="T6" fmla="*/ 647 w 871"/>
                <a:gd name="T7" fmla="*/ 694 h 912"/>
                <a:gd name="T8" fmla="*/ 754 w 871"/>
                <a:gd name="T9" fmla="*/ 0 h 912"/>
              </a:gdLst>
              <a:ahLst/>
              <a:cxnLst>
                <a:cxn ang="0">
                  <a:pos x="T0" y="T1"/>
                </a:cxn>
                <a:cxn ang="0">
                  <a:pos x="T2" y="T3"/>
                </a:cxn>
                <a:cxn ang="0">
                  <a:pos x="T4" y="T5"/>
                </a:cxn>
                <a:cxn ang="0">
                  <a:pos x="T6" y="T7"/>
                </a:cxn>
                <a:cxn ang="0">
                  <a:pos x="T8" y="T9"/>
                </a:cxn>
              </a:cxnLst>
              <a:rect l="0" t="0" r="r" b="b"/>
              <a:pathLst>
                <a:path w="871" h="912">
                  <a:moveTo>
                    <a:pt x="754" y="0"/>
                  </a:moveTo>
                  <a:cubicBezTo>
                    <a:pt x="721" y="204"/>
                    <a:pt x="627" y="399"/>
                    <a:pt x="469" y="557"/>
                  </a:cubicBezTo>
                  <a:cubicBezTo>
                    <a:pt x="335" y="691"/>
                    <a:pt x="172" y="780"/>
                    <a:pt x="0" y="823"/>
                  </a:cubicBezTo>
                  <a:cubicBezTo>
                    <a:pt x="215" y="912"/>
                    <a:pt x="472" y="869"/>
                    <a:pt x="647" y="694"/>
                  </a:cubicBezTo>
                  <a:cubicBezTo>
                    <a:pt x="835" y="506"/>
                    <a:pt x="871" y="224"/>
                    <a:pt x="754"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0" name="Freeform 32">
              <a:extLst>
                <a:ext uri="{FF2B5EF4-FFF2-40B4-BE49-F238E27FC236}">
                  <a16:creationId xmlns:a16="http://schemas.microsoft.com/office/drawing/2014/main" id="{A24FCF53-C998-44B6-B7E9-2E64B4B594AB}"/>
                </a:ext>
              </a:extLst>
            </p:cNvPr>
            <p:cNvSpPr>
              <a:spLocks/>
            </p:cNvSpPr>
            <p:nvPr/>
          </p:nvSpPr>
          <p:spPr bwMode="auto">
            <a:xfrm>
              <a:off x="7284" y="2748"/>
              <a:ext cx="555" cy="564"/>
            </a:xfrm>
            <a:custGeom>
              <a:avLst/>
              <a:gdLst>
                <a:gd name="T0" fmla="*/ 1179 w 1179"/>
                <a:gd name="T1" fmla="*/ 377 h 1200"/>
                <a:gd name="T2" fmla="*/ 1072 w 1179"/>
                <a:gd name="T3" fmla="*/ 231 h 1200"/>
                <a:gd name="T4" fmla="*/ 232 w 1179"/>
                <a:gd name="T5" fmla="*/ 231 h 1200"/>
                <a:gd name="T6" fmla="*/ 232 w 1179"/>
                <a:gd name="T7" fmla="*/ 1071 h 1200"/>
                <a:gd name="T8" fmla="*/ 425 w 1179"/>
                <a:gd name="T9" fmla="*/ 1200 h 1200"/>
                <a:gd name="T10" fmla="*/ 894 w 1179"/>
                <a:gd name="T11" fmla="*/ 934 h 1200"/>
                <a:gd name="T12" fmla="*/ 1179 w 1179"/>
                <a:gd name="T13" fmla="*/ 377 h 1200"/>
              </a:gdLst>
              <a:ahLst/>
              <a:cxnLst>
                <a:cxn ang="0">
                  <a:pos x="T0" y="T1"/>
                </a:cxn>
                <a:cxn ang="0">
                  <a:pos x="T2" y="T3"/>
                </a:cxn>
                <a:cxn ang="0">
                  <a:pos x="T4" y="T5"/>
                </a:cxn>
                <a:cxn ang="0">
                  <a:pos x="T6" y="T7"/>
                </a:cxn>
                <a:cxn ang="0">
                  <a:pos x="T8" y="T9"/>
                </a:cxn>
                <a:cxn ang="0">
                  <a:pos x="T10" y="T11"/>
                </a:cxn>
                <a:cxn ang="0">
                  <a:pos x="T12" y="T13"/>
                </a:cxn>
              </a:cxnLst>
              <a:rect l="0" t="0" r="r" b="b"/>
              <a:pathLst>
                <a:path w="1179" h="1200">
                  <a:moveTo>
                    <a:pt x="1179" y="377"/>
                  </a:moveTo>
                  <a:cubicBezTo>
                    <a:pt x="1152" y="324"/>
                    <a:pt x="1116" y="275"/>
                    <a:pt x="1072" y="231"/>
                  </a:cubicBezTo>
                  <a:cubicBezTo>
                    <a:pt x="840" y="0"/>
                    <a:pt x="464" y="0"/>
                    <a:pt x="232" y="231"/>
                  </a:cubicBezTo>
                  <a:cubicBezTo>
                    <a:pt x="0" y="463"/>
                    <a:pt x="0" y="839"/>
                    <a:pt x="232" y="1071"/>
                  </a:cubicBezTo>
                  <a:cubicBezTo>
                    <a:pt x="289" y="1128"/>
                    <a:pt x="355" y="1171"/>
                    <a:pt x="425" y="1200"/>
                  </a:cubicBezTo>
                  <a:cubicBezTo>
                    <a:pt x="597" y="1157"/>
                    <a:pt x="760" y="1068"/>
                    <a:pt x="894" y="934"/>
                  </a:cubicBezTo>
                  <a:cubicBezTo>
                    <a:pt x="1052" y="776"/>
                    <a:pt x="1146" y="581"/>
                    <a:pt x="1179" y="3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1" name="Freeform 33">
              <a:extLst>
                <a:ext uri="{FF2B5EF4-FFF2-40B4-BE49-F238E27FC236}">
                  <a16:creationId xmlns:a16="http://schemas.microsoft.com/office/drawing/2014/main" id="{B21BD2A1-5A59-4829-A1C2-8501871FA645}"/>
                </a:ext>
              </a:extLst>
            </p:cNvPr>
            <p:cNvSpPr>
              <a:spLocks/>
            </p:cNvSpPr>
            <p:nvPr/>
          </p:nvSpPr>
          <p:spPr bwMode="auto">
            <a:xfrm>
              <a:off x="7198" y="2802"/>
              <a:ext cx="465" cy="610"/>
            </a:xfrm>
            <a:custGeom>
              <a:avLst/>
              <a:gdLst>
                <a:gd name="T0" fmla="*/ 792 w 987"/>
                <a:gd name="T1" fmla="*/ 1208 h 1298"/>
                <a:gd name="T2" fmla="*/ 359 w 987"/>
                <a:gd name="T3" fmla="*/ 1013 h 1298"/>
                <a:gd name="T4" fmla="*/ 359 w 987"/>
                <a:gd name="T5" fmla="*/ 62 h 1298"/>
                <a:gd name="T6" fmla="*/ 297 w 987"/>
                <a:gd name="T7" fmla="*/ 0 h 1298"/>
                <a:gd name="T8" fmla="*/ 297 w 987"/>
                <a:gd name="T9" fmla="*/ 1075 h 1298"/>
                <a:gd name="T10" fmla="*/ 787 w 987"/>
                <a:gd name="T11" fmla="*/ 1296 h 1298"/>
                <a:gd name="T12" fmla="*/ 834 w 987"/>
                <a:gd name="T13" fmla="*/ 1298 h 1298"/>
                <a:gd name="T14" fmla="*/ 987 w 987"/>
                <a:gd name="T15" fmla="*/ 1282 h 1298"/>
                <a:gd name="T16" fmla="*/ 828 w 987"/>
                <a:gd name="T17" fmla="*/ 1210 h 1298"/>
                <a:gd name="T18" fmla="*/ 792 w 987"/>
                <a:gd name="T19" fmla="*/ 1208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7" h="1298">
                  <a:moveTo>
                    <a:pt x="792" y="1208"/>
                  </a:moveTo>
                  <a:cubicBezTo>
                    <a:pt x="629" y="1198"/>
                    <a:pt x="475" y="1129"/>
                    <a:pt x="359" y="1013"/>
                  </a:cubicBezTo>
                  <a:cubicBezTo>
                    <a:pt x="97" y="751"/>
                    <a:pt x="97" y="324"/>
                    <a:pt x="359" y="62"/>
                  </a:cubicBezTo>
                  <a:cubicBezTo>
                    <a:pt x="297" y="0"/>
                    <a:pt x="297" y="0"/>
                    <a:pt x="297" y="0"/>
                  </a:cubicBezTo>
                  <a:cubicBezTo>
                    <a:pt x="0" y="296"/>
                    <a:pt x="0" y="779"/>
                    <a:pt x="297" y="1075"/>
                  </a:cubicBezTo>
                  <a:cubicBezTo>
                    <a:pt x="428" y="1206"/>
                    <a:pt x="602" y="1285"/>
                    <a:pt x="787" y="1296"/>
                  </a:cubicBezTo>
                  <a:cubicBezTo>
                    <a:pt x="803" y="1297"/>
                    <a:pt x="818" y="1298"/>
                    <a:pt x="834" y="1298"/>
                  </a:cubicBezTo>
                  <a:cubicBezTo>
                    <a:pt x="886" y="1298"/>
                    <a:pt x="937" y="1292"/>
                    <a:pt x="987" y="1282"/>
                  </a:cubicBezTo>
                  <a:cubicBezTo>
                    <a:pt x="828" y="1210"/>
                    <a:pt x="828" y="1210"/>
                    <a:pt x="828" y="1210"/>
                  </a:cubicBezTo>
                  <a:cubicBezTo>
                    <a:pt x="816" y="1210"/>
                    <a:pt x="804" y="1209"/>
                    <a:pt x="792" y="1208"/>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2" name="Freeform 34">
              <a:extLst>
                <a:ext uri="{FF2B5EF4-FFF2-40B4-BE49-F238E27FC236}">
                  <a16:creationId xmlns:a16="http://schemas.microsoft.com/office/drawing/2014/main" id="{2611A38D-D715-4638-8AC9-A430020EAC82}"/>
                </a:ext>
              </a:extLst>
            </p:cNvPr>
            <p:cNvSpPr>
              <a:spLocks/>
            </p:cNvSpPr>
            <p:nvPr/>
          </p:nvSpPr>
          <p:spPr bwMode="auto">
            <a:xfrm>
              <a:off x="7588" y="3278"/>
              <a:ext cx="256" cy="127"/>
            </a:xfrm>
            <a:custGeom>
              <a:avLst/>
              <a:gdLst>
                <a:gd name="T0" fmla="*/ 482 w 544"/>
                <a:gd name="T1" fmla="*/ 0 h 269"/>
                <a:gd name="T2" fmla="*/ 0 w 544"/>
                <a:gd name="T3" fmla="*/ 197 h 269"/>
                <a:gd name="T4" fmla="*/ 159 w 544"/>
                <a:gd name="T5" fmla="*/ 269 h 269"/>
                <a:gd name="T6" fmla="*/ 544 w 544"/>
                <a:gd name="T7" fmla="*/ 62 h 269"/>
                <a:gd name="T8" fmla="*/ 482 w 544"/>
                <a:gd name="T9" fmla="*/ 0 h 269"/>
              </a:gdLst>
              <a:ahLst/>
              <a:cxnLst>
                <a:cxn ang="0">
                  <a:pos x="T0" y="T1"/>
                </a:cxn>
                <a:cxn ang="0">
                  <a:pos x="T2" y="T3"/>
                </a:cxn>
                <a:cxn ang="0">
                  <a:pos x="T4" y="T5"/>
                </a:cxn>
                <a:cxn ang="0">
                  <a:pos x="T6" y="T7"/>
                </a:cxn>
                <a:cxn ang="0">
                  <a:pos x="T8" y="T9"/>
                </a:cxn>
              </a:cxnLst>
              <a:rect l="0" t="0" r="r" b="b"/>
              <a:pathLst>
                <a:path w="544" h="269">
                  <a:moveTo>
                    <a:pt x="482" y="0"/>
                  </a:moveTo>
                  <a:cubicBezTo>
                    <a:pt x="354" y="128"/>
                    <a:pt x="180" y="198"/>
                    <a:pt x="0" y="197"/>
                  </a:cubicBezTo>
                  <a:cubicBezTo>
                    <a:pt x="159" y="269"/>
                    <a:pt x="159" y="269"/>
                    <a:pt x="159" y="269"/>
                  </a:cubicBezTo>
                  <a:cubicBezTo>
                    <a:pt x="303" y="239"/>
                    <a:pt x="438" y="168"/>
                    <a:pt x="544" y="62"/>
                  </a:cubicBezTo>
                  <a:lnTo>
                    <a:pt x="482"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3" name="Freeform 35">
              <a:extLst>
                <a:ext uri="{FF2B5EF4-FFF2-40B4-BE49-F238E27FC236}">
                  <a16:creationId xmlns:a16="http://schemas.microsoft.com/office/drawing/2014/main" id="{E6097FDE-8581-42AD-AAD1-D17ECF56B577}"/>
                </a:ext>
              </a:extLst>
            </p:cNvPr>
            <p:cNvSpPr>
              <a:spLocks/>
            </p:cNvSpPr>
            <p:nvPr/>
          </p:nvSpPr>
          <p:spPr bwMode="auto">
            <a:xfrm>
              <a:off x="7314" y="2794"/>
              <a:ext cx="176" cy="221"/>
            </a:xfrm>
            <a:custGeom>
              <a:avLst/>
              <a:gdLst>
                <a:gd name="T0" fmla="*/ 19 w 374"/>
                <a:gd name="T1" fmla="*/ 441 h 471"/>
                <a:gd name="T2" fmla="*/ 96 w 374"/>
                <a:gd name="T3" fmla="*/ 381 h 471"/>
                <a:gd name="T4" fmla="*/ 152 w 374"/>
                <a:gd name="T5" fmla="*/ 333 h 471"/>
                <a:gd name="T6" fmla="*/ 150 w 374"/>
                <a:gd name="T7" fmla="*/ 332 h 471"/>
                <a:gd name="T8" fmla="*/ 143 w 374"/>
                <a:gd name="T9" fmla="*/ 327 h 471"/>
                <a:gd name="T10" fmla="*/ 143 w 374"/>
                <a:gd name="T11" fmla="*/ 318 h 471"/>
                <a:gd name="T12" fmla="*/ 169 w 374"/>
                <a:gd name="T13" fmla="*/ 267 h 471"/>
                <a:gd name="T14" fmla="*/ 218 w 374"/>
                <a:gd name="T15" fmla="*/ 218 h 471"/>
                <a:gd name="T16" fmla="*/ 245 w 374"/>
                <a:gd name="T17" fmla="*/ 199 h 471"/>
                <a:gd name="T18" fmla="*/ 255 w 374"/>
                <a:gd name="T19" fmla="*/ 199 h 471"/>
                <a:gd name="T20" fmla="*/ 270 w 374"/>
                <a:gd name="T21" fmla="*/ 205 h 471"/>
                <a:gd name="T22" fmla="*/ 273 w 374"/>
                <a:gd name="T23" fmla="*/ 197 h 471"/>
                <a:gd name="T24" fmla="*/ 273 w 374"/>
                <a:gd name="T25" fmla="*/ 157 h 471"/>
                <a:gd name="T26" fmla="*/ 273 w 374"/>
                <a:gd name="T27" fmla="*/ 152 h 471"/>
                <a:gd name="T28" fmla="*/ 285 w 374"/>
                <a:gd name="T29" fmla="*/ 125 h 471"/>
                <a:gd name="T30" fmla="*/ 278 w 374"/>
                <a:gd name="T31" fmla="*/ 127 h 471"/>
                <a:gd name="T32" fmla="*/ 267 w 374"/>
                <a:gd name="T33" fmla="*/ 122 h 471"/>
                <a:gd name="T34" fmla="*/ 267 w 374"/>
                <a:gd name="T35" fmla="*/ 110 h 471"/>
                <a:gd name="T36" fmla="*/ 301 w 374"/>
                <a:gd name="T37" fmla="*/ 63 h 471"/>
                <a:gd name="T38" fmla="*/ 302 w 374"/>
                <a:gd name="T39" fmla="*/ 62 h 471"/>
                <a:gd name="T40" fmla="*/ 353 w 374"/>
                <a:gd name="T41" fmla="*/ 11 h 471"/>
                <a:gd name="T42" fmla="*/ 366 w 374"/>
                <a:gd name="T43" fmla="*/ 9 h 471"/>
                <a:gd name="T44" fmla="*/ 367 w 374"/>
                <a:gd name="T45" fmla="*/ 9 h 471"/>
                <a:gd name="T46" fmla="*/ 374 w 374"/>
                <a:gd name="T47" fmla="*/ 0 h 471"/>
                <a:gd name="T48" fmla="*/ 168 w 374"/>
                <a:gd name="T49" fmla="*/ 134 h 471"/>
                <a:gd name="T50" fmla="*/ 0 w 374"/>
                <a:gd name="T51" fmla="*/ 471 h 471"/>
                <a:gd name="T52" fmla="*/ 16 w 374"/>
                <a:gd name="T53" fmla="*/ 444 h 471"/>
                <a:gd name="T54" fmla="*/ 19 w 374"/>
                <a:gd name="T55" fmla="*/ 44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4" h="471">
                  <a:moveTo>
                    <a:pt x="19" y="441"/>
                  </a:moveTo>
                  <a:cubicBezTo>
                    <a:pt x="96" y="381"/>
                    <a:pt x="96" y="381"/>
                    <a:pt x="96" y="381"/>
                  </a:cubicBezTo>
                  <a:cubicBezTo>
                    <a:pt x="152" y="333"/>
                    <a:pt x="152" y="333"/>
                    <a:pt x="152" y="333"/>
                  </a:cubicBezTo>
                  <a:cubicBezTo>
                    <a:pt x="150" y="332"/>
                    <a:pt x="150" y="332"/>
                    <a:pt x="150" y="332"/>
                  </a:cubicBezTo>
                  <a:cubicBezTo>
                    <a:pt x="147" y="332"/>
                    <a:pt x="144" y="330"/>
                    <a:pt x="143" y="327"/>
                  </a:cubicBezTo>
                  <a:cubicBezTo>
                    <a:pt x="142" y="324"/>
                    <a:pt x="141" y="321"/>
                    <a:pt x="143" y="318"/>
                  </a:cubicBezTo>
                  <a:cubicBezTo>
                    <a:pt x="146" y="309"/>
                    <a:pt x="159" y="276"/>
                    <a:pt x="169" y="267"/>
                  </a:cubicBezTo>
                  <a:cubicBezTo>
                    <a:pt x="218" y="218"/>
                    <a:pt x="218" y="218"/>
                    <a:pt x="218" y="218"/>
                  </a:cubicBezTo>
                  <a:cubicBezTo>
                    <a:pt x="224" y="211"/>
                    <a:pt x="242" y="201"/>
                    <a:pt x="245" y="199"/>
                  </a:cubicBezTo>
                  <a:cubicBezTo>
                    <a:pt x="248" y="198"/>
                    <a:pt x="252" y="198"/>
                    <a:pt x="255" y="199"/>
                  </a:cubicBezTo>
                  <a:cubicBezTo>
                    <a:pt x="256" y="199"/>
                    <a:pt x="263" y="202"/>
                    <a:pt x="270" y="205"/>
                  </a:cubicBezTo>
                  <a:cubicBezTo>
                    <a:pt x="271" y="203"/>
                    <a:pt x="272" y="200"/>
                    <a:pt x="273" y="197"/>
                  </a:cubicBezTo>
                  <a:cubicBezTo>
                    <a:pt x="273" y="157"/>
                    <a:pt x="273" y="157"/>
                    <a:pt x="273" y="157"/>
                  </a:cubicBezTo>
                  <a:cubicBezTo>
                    <a:pt x="273" y="155"/>
                    <a:pt x="273" y="154"/>
                    <a:pt x="273" y="152"/>
                  </a:cubicBezTo>
                  <a:cubicBezTo>
                    <a:pt x="285" y="125"/>
                    <a:pt x="285" y="125"/>
                    <a:pt x="285" y="125"/>
                  </a:cubicBezTo>
                  <a:cubicBezTo>
                    <a:pt x="278" y="127"/>
                    <a:pt x="278" y="127"/>
                    <a:pt x="278" y="127"/>
                  </a:cubicBezTo>
                  <a:cubicBezTo>
                    <a:pt x="274" y="128"/>
                    <a:pt x="269" y="126"/>
                    <a:pt x="267" y="122"/>
                  </a:cubicBezTo>
                  <a:cubicBezTo>
                    <a:pt x="264" y="118"/>
                    <a:pt x="264" y="113"/>
                    <a:pt x="267" y="110"/>
                  </a:cubicBezTo>
                  <a:cubicBezTo>
                    <a:pt x="301" y="63"/>
                    <a:pt x="301" y="63"/>
                    <a:pt x="301" y="63"/>
                  </a:cubicBezTo>
                  <a:cubicBezTo>
                    <a:pt x="301" y="63"/>
                    <a:pt x="301" y="62"/>
                    <a:pt x="302" y="62"/>
                  </a:cubicBezTo>
                  <a:cubicBezTo>
                    <a:pt x="353" y="11"/>
                    <a:pt x="353" y="11"/>
                    <a:pt x="353" y="11"/>
                  </a:cubicBezTo>
                  <a:cubicBezTo>
                    <a:pt x="356" y="7"/>
                    <a:pt x="362" y="6"/>
                    <a:pt x="366" y="9"/>
                  </a:cubicBezTo>
                  <a:cubicBezTo>
                    <a:pt x="366" y="9"/>
                    <a:pt x="367" y="9"/>
                    <a:pt x="367" y="9"/>
                  </a:cubicBezTo>
                  <a:cubicBezTo>
                    <a:pt x="374" y="0"/>
                    <a:pt x="374" y="0"/>
                    <a:pt x="374" y="0"/>
                  </a:cubicBezTo>
                  <a:cubicBezTo>
                    <a:pt x="299" y="29"/>
                    <a:pt x="229" y="74"/>
                    <a:pt x="168" y="134"/>
                  </a:cubicBezTo>
                  <a:cubicBezTo>
                    <a:pt x="74" y="229"/>
                    <a:pt x="18" y="348"/>
                    <a:pt x="0" y="471"/>
                  </a:cubicBezTo>
                  <a:cubicBezTo>
                    <a:pt x="16" y="444"/>
                    <a:pt x="16" y="444"/>
                    <a:pt x="16" y="444"/>
                  </a:cubicBezTo>
                  <a:cubicBezTo>
                    <a:pt x="17" y="443"/>
                    <a:pt x="17" y="442"/>
                    <a:pt x="19" y="441"/>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4" name="Freeform 36">
              <a:extLst>
                <a:ext uri="{FF2B5EF4-FFF2-40B4-BE49-F238E27FC236}">
                  <a16:creationId xmlns:a16="http://schemas.microsoft.com/office/drawing/2014/main" id="{37FA9B4E-E602-42B1-AF11-BBB124F66DBD}"/>
                </a:ext>
              </a:extLst>
            </p:cNvPr>
            <p:cNvSpPr>
              <a:spLocks/>
            </p:cNvSpPr>
            <p:nvPr/>
          </p:nvSpPr>
          <p:spPr bwMode="auto">
            <a:xfrm>
              <a:off x="7310" y="2776"/>
              <a:ext cx="256" cy="344"/>
            </a:xfrm>
            <a:custGeom>
              <a:avLst/>
              <a:gdLst>
                <a:gd name="T0" fmla="*/ 438 w 544"/>
                <a:gd name="T1" fmla="*/ 373 h 730"/>
                <a:gd name="T2" fmla="*/ 463 w 544"/>
                <a:gd name="T3" fmla="*/ 337 h 730"/>
                <a:gd name="T4" fmla="*/ 444 w 544"/>
                <a:gd name="T5" fmla="*/ 315 h 730"/>
                <a:gd name="T6" fmla="*/ 430 w 544"/>
                <a:gd name="T7" fmla="*/ 310 h 730"/>
                <a:gd name="T8" fmla="*/ 458 w 544"/>
                <a:gd name="T9" fmla="*/ 279 h 730"/>
                <a:gd name="T10" fmla="*/ 459 w 544"/>
                <a:gd name="T11" fmla="*/ 250 h 730"/>
                <a:gd name="T12" fmla="*/ 391 w 544"/>
                <a:gd name="T13" fmla="*/ 247 h 730"/>
                <a:gd name="T14" fmla="*/ 363 w 544"/>
                <a:gd name="T15" fmla="*/ 248 h 730"/>
                <a:gd name="T16" fmla="*/ 329 w 544"/>
                <a:gd name="T17" fmla="*/ 293 h 730"/>
                <a:gd name="T18" fmla="*/ 335 w 544"/>
                <a:gd name="T19" fmla="*/ 342 h 730"/>
                <a:gd name="T20" fmla="*/ 324 w 544"/>
                <a:gd name="T21" fmla="*/ 341 h 730"/>
                <a:gd name="T22" fmla="*/ 292 w 544"/>
                <a:gd name="T23" fmla="*/ 321 h 730"/>
                <a:gd name="T24" fmla="*/ 323 w 544"/>
                <a:gd name="T25" fmla="*/ 272 h 730"/>
                <a:gd name="T26" fmla="*/ 334 w 544"/>
                <a:gd name="T27" fmla="*/ 233 h 730"/>
                <a:gd name="T28" fmla="*/ 358 w 544"/>
                <a:gd name="T29" fmla="*/ 236 h 730"/>
                <a:gd name="T30" fmla="*/ 367 w 544"/>
                <a:gd name="T31" fmla="*/ 233 h 730"/>
                <a:gd name="T32" fmla="*/ 389 w 544"/>
                <a:gd name="T33" fmla="*/ 210 h 730"/>
                <a:gd name="T34" fmla="*/ 401 w 544"/>
                <a:gd name="T35" fmla="*/ 188 h 730"/>
                <a:gd name="T36" fmla="*/ 377 w 544"/>
                <a:gd name="T37" fmla="*/ 155 h 730"/>
                <a:gd name="T38" fmla="*/ 336 w 544"/>
                <a:gd name="T39" fmla="*/ 161 h 730"/>
                <a:gd name="T40" fmla="*/ 360 w 544"/>
                <a:gd name="T41" fmla="*/ 120 h 730"/>
                <a:gd name="T42" fmla="*/ 419 w 544"/>
                <a:gd name="T43" fmla="*/ 109 h 730"/>
                <a:gd name="T44" fmla="*/ 418 w 544"/>
                <a:gd name="T45" fmla="*/ 128 h 730"/>
                <a:gd name="T46" fmla="*/ 480 w 544"/>
                <a:gd name="T47" fmla="*/ 160 h 730"/>
                <a:gd name="T48" fmla="*/ 496 w 544"/>
                <a:gd name="T49" fmla="*/ 115 h 730"/>
                <a:gd name="T50" fmla="*/ 540 w 544"/>
                <a:gd name="T51" fmla="*/ 23 h 730"/>
                <a:gd name="T52" fmla="*/ 544 w 544"/>
                <a:gd name="T53" fmla="*/ 0 h 730"/>
                <a:gd name="T54" fmla="*/ 375 w 544"/>
                <a:gd name="T55" fmla="*/ 46 h 730"/>
                <a:gd name="T56" fmla="*/ 361 w 544"/>
                <a:gd name="T57" fmla="*/ 48 h 730"/>
                <a:gd name="T58" fmla="*/ 309 w 544"/>
                <a:gd name="T59" fmla="*/ 100 h 730"/>
                <a:gd name="T60" fmla="*/ 275 w 544"/>
                <a:gd name="T61" fmla="*/ 159 h 730"/>
                <a:gd name="T62" fmla="*/ 293 w 544"/>
                <a:gd name="T63" fmla="*/ 162 h 730"/>
                <a:gd name="T64" fmla="*/ 281 w 544"/>
                <a:gd name="T65" fmla="*/ 194 h 730"/>
                <a:gd name="T66" fmla="*/ 278 w 544"/>
                <a:gd name="T67" fmla="*/ 242 h 730"/>
                <a:gd name="T68" fmla="*/ 253 w 544"/>
                <a:gd name="T69" fmla="*/ 236 h 730"/>
                <a:gd name="T70" fmla="*/ 177 w 544"/>
                <a:gd name="T71" fmla="*/ 304 h 730"/>
                <a:gd name="T72" fmla="*/ 151 w 544"/>
                <a:gd name="T73" fmla="*/ 364 h 730"/>
                <a:gd name="T74" fmla="*/ 160 w 544"/>
                <a:gd name="T75" fmla="*/ 370 h 730"/>
                <a:gd name="T76" fmla="*/ 27 w 544"/>
                <a:gd name="T77" fmla="*/ 478 h 730"/>
                <a:gd name="T78" fmla="*/ 8 w 544"/>
                <a:gd name="T79" fmla="*/ 508 h 730"/>
                <a:gd name="T80" fmla="*/ 16 w 544"/>
                <a:gd name="T81" fmla="*/ 685 h 730"/>
                <a:gd name="T82" fmla="*/ 33 w 544"/>
                <a:gd name="T83" fmla="*/ 649 h 730"/>
                <a:gd name="T84" fmla="*/ 50 w 544"/>
                <a:gd name="T85" fmla="*/ 602 h 730"/>
                <a:gd name="T86" fmla="*/ 104 w 544"/>
                <a:gd name="T87" fmla="*/ 561 h 730"/>
                <a:gd name="T88" fmla="*/ 143 w 544"/>
                <a:gd name="T89" fmla="*/ 617 h 730"/>
                <a:gd name="T90" fmla="*/ 162 w 544"/>
                <a:gd name="T91" fmla="*/ 680 h 730"/>
                <a:gd name="T92" fmla="*/ 210 w 544"/>
                <a:gd name="T93" fmla="*/ 716 h 730"/>
                <a:gd name="T94" fmla="*/ 248 w 544"/>
                <a:gd name="T95" fmla="*/ 658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4" h="730">
                  <a:moveTo>
                    <a:pt x="429" y="414"/>
                  </a:moveTo>
                  <a:cubicBezTo>
                    <a:pt x="438" y="373"/>
                    <a:pt x="438" y="373"/>
                    <a:pt x="438" y="373"/>
                  </a:cubicBezTo>
                  <a:cubicBezTo>
                    <a:pt x="461" y="350"/>
                    <a:pt x="461" y="350"/>
                    <a:pt x="461" y="350"/>
                  </a:cubicBezTo>
                  <a:cubicBezTo>
                    <a:pt x="465" y="347"/>
                    <a:pt x="466" y="341"/>
                    <a:pt x="463" y="337"/>
                  </a:cubicBezTo>
                  <a:cubicBezTo>
                    <a:pt x="452" y="320"/>
                    <a:pt x="452" y="320"/>
                    <a:pt x="452" y="320"/>
                  </a:cubicBezTo>
                  <a:cubicBezTo>
                    <a:pt x="450" y="317"/>
                    <a:pt x="447" y="315"/>
                    <a:pt x="444" y="315"/>
                  </a:cubicBezTo>
                  <a:cubicBezTo>
                    <a:pt x="430" y="314"/>
                    <a:pt x="430" y="314"/>
                    <a:pt x="430" y="314"/>
                  </a:cubicBezTo>
                  <a:cubicBezTo>
                    <a:pt x="430" y="310"/>
                    <a:pt x="430" y="310"/>
                    <a:pt x="430" y="310"/>
                  </a:cubicBezTo>
                  <a:cubicBezTo>
                    <a:pt x="455" y="285"/>
                    <a:pt x="455" y="285"/>
                    <a:pt x="455" y="285"/>
                  </a:cubicBezTo>
                  <a:cubicBezTo>
                    <a:pt x="456" y="283"/>
                    <a:pt x="457" y="281"/>
                    <a:pt x="458" y="279"/>
                  </a:cubicBezTo>
                  <a:cubicBezTo>
                    <a:pt x="461" y="258"/>
                    <a:pt x="461" y="258"/>
                    <a:pt x="461" y="258"/>
                  </a:cubicBezTo>
                  <a:cubicBezTo>
                    <a:pt x="462" y="255"/>
                    <a:pt x="461" y="252"/>
                    <a:pt x="459" y="250"/>
                  </a:cubicBezTo>
                  <a:cubicBezTo>
                    <a:pt x="456" y="247"/>
                    <a:pt x="453" y="246"/>
                    <a:pt x="450" y="246"/>
                  </a:cubicBezTo>
                  <a:cubicBezTo>
                    <a:pt x="391" y="247"/>
                    <a:pt x="391" y="247"/>
                    <a:pt x="391" y="247"/>
                  </a:cubicBezTo>
                  <a:cubicBezTo>
                    <a:pt x="372" y="245"/>
                    <a:pt x="372" y="245"/>
                    <a:pt x="372" y="245"/>
                  </a:cubicBezTo>
                  <a:cubicBezTo>
                    <a:pt x="369" y="245"/>
                    <a:pt x="366" y="246"/>
                    <a:pt x="363" y="248"/>
                  </a:cubicBezTo>
                  <a:cubicBezTo>
                    <a:pt x="331" y="281"/>
                    <a:pt x="331" y="281"/>
                    <a:pt x="331" y="281"/>
                  </a:cubicBezTo>
                  <a:cubicBezTo>
                    <a:pt x="327" y="284"/>
                    <a:pt x="327" y="289"/>
                    <a:pt x="329" y="293"/>
                  </a:cubicBezTo>
                  <a:cubicBezTo>
                    <a:pt x="345" y="327"/>
                    <a:pt x="345" y="327"/>
                    <a:pt x="345" y="327"/>
                  </a:cubicBezTo>
                  <a:cubicBezTo>
                    <a:pt x="335" y="342"/>
                    <a:pt x="335" y="342"/>
                    <a:pt x="335" y="342"/>
                  </a:cubicBezTo>
                  <a:cubicBezTo>
                    <a:pt x="334" y="341"/>
                    <a:pt x="333" y="341"/>
                    <a:pt x="332" y="340"/>
                  </a:cubicBezTo>
                  <a:cubicBezTo>
                    <a:pt x="330" y="339"/>
                    <a:pt x="326" y="339"/>
                    <a:pt x="324" y="341"/>
                  </a:cubicBezTo>
                  <a:cubicBezTo>
                    <a:pt x="292" y="356"/>
                    <a:pt x="292" y="356"/>
                    <a:pt x="292" y="356"/>
                  </a:cubicBezTo>
                  <a:cubicBezTo>
                    <a:pt x="292" y="321"/>
                    <a:pt x="292" y="321"/>
                    <a:pt x="292" y="321"/>
                  </a:cubicBezTo>
                  <a:cubicBezTo>
                    <a:pt x="322" y="286"/>
                    <a:pt x="322" y="286"/>
                    <a:pt x="322" y="286"/>
                  </a:cubicBezTo>
                  <a:cubicBezTo>
                    <a:pt x="325" y="282"/>
                    <a:pt x="326" y="276"/>
                    <a:pt x="323" y="272"/>
                  </a:cubicBezTo>
                  <a:cubicBezTo>
                    <a:pt x="311" y="257"/>
                    <a:pt x="311" y="257"/>
                    <a:pt x="311" y="257"/>
                  </a:cubicBezTo>
                  <a:cubicBezTo>
                    <a:pt x="334" y="233"/>
                    <a:pt x="334" y="233"/>
                    <a:pt x="334" y="233"/>
                  </a:cubicBezTo>
                  <a:cubicBezTo>
                    <a:pt x="353" y="237"/>
                    <a:pt x="353" y="237"/>
                    <a:pt x="353" y="237"/>
                  </a:cubicBezTo>
                  <a:cubicBezTo>
                    <a:pt x="354" y="237"/>
                    <a:pt x="356" y="237"/>
                    <a:pt x="358" y="236"/>
                  </a:cubicBezTo>
                  <a:cubicBezTo>
                    <a:pt x="364" y="235"/>
                    <a:pt x="364" y="235"/>
                    <a:pt x="364" y="235"/>
                  </a:cubicBezTo>
                  <a:cubicBezTo>
                    <a:pt x="365" y="234"/>
                    <a:pt x="366" y="234"/>
                    <a:pt x="367" y="233"/>
                  </a:cubicBezTo>
                  <a:cubicBezTo>
                    <a:pt x="385" y="220"/>
                    <a:pt x="385" y="220"/>
                    <a:pt x="385" y="220"/>
                  </a:cubicBezTo>
                  <a:cubicBezTo>
                    <a:pt x="388" y="218"/>
                    <a:pt x="389" y="214"/>
                    <a:pt x="389" y="210"/>
                  </a:cubicBezTo>
                  <a:cubicBezTo>
                    <a:pt x="389" y="204"/>
                    <a:pt x="389" y="204"/>
                    <a:pt x="389" y="204"/>
                  </a:cubicBezTo>
                  <a:cubicBezTo>
                    <a:pt x="401" y="188"/>
                    <a:pt x="401" y="188"/>
                    <a:pt x="401" y="188"/>
                  </a:cubicBezTo>
                  <a:cubicBezTo>
                    <a:pt x="405" y="184"/>
                    <a:pt x="404" y="177"/>
                    <a:pt x="400" y="173"/>
                  </a:cubicBezTo>
                  <a:cubicBezTo>
                    <a:pt x="377" y="155"/>
                    <a:pt x="377" y="155"/>
                    <a:pt x="377" y="155"/>
                  </a:cubicBezTo>
                  <a:cubicBezTo>
                    <a:pt x="374" y="152"/>
                    <a:pt x="370" y="152"/>
                    <a:pt x="367" y="153"/>
                  </a:cubicBezTo>
                  <a:cubicBezTo>
                    <a:pt x="336" y="161"/>
                    <a:pt x="336" y="161"/>
                    <a:pt x="336" y="161"/>
                  </a:cubicBezTo>
                  <a:cubicBezTo>
                    <a:pt x="333" y="160"/>
                    <a:pt x="333" y="160"/>
                    <a:pt x="333" y="160"/>
                  </a:cubicBezTo>
                  <a:cubicBezTo>
                    <a:pt x="360" y="120"/>
                    <a:pt x="360" y="120"/>
                    <a:pt x="360" y="120"/>
                  </a:cubicBezTo>
                  <a:cubicBezTo>
                    <a:pt x="393" y="106"/>
                    <a:pt x="393" y="106"/>
                    <a:pt x="393" y="106"/>
                  </a:cubicBezTo>
                  <a:cubicBezTo>
                    <a:pt x="419" y="109"/>
                    <a:pt x="419" y="109"/>
                    <a:pt x="419" y="109"/>
                  </a:cubicBezTo>
                  <a:cubicBezTo>
                    <a:pt x="417" y="121"/>
                    <a:pt x="417" y="121"/>
                    <a:pt x="417" y="121"/>
                  </a:cubicBezTo>
                  <a:cubicBezTo>
                    <a:pt x="417" y="123"/>
                    <a:pt x="417" y="126"/>
                    <a:pt x="418" y="128"/>
                  </a:cubicBezTo>
                  <a:cubicBezTo>
                    <a:pt x="430" y="153"/>
                    <a:pt x="436" y="155"/>
                    <a:pt x="438" y="156"/>
                  </a:cubicBezTo>
                  <a:cubicBezTo>
                    <a:pt x="440" y="157"/>
                    <a:pt x="445" y="160"/>
                    <a:pt x="480" y="160"/>
                  </a:cubicBezTo>
                  <a:cubicBezTo>
                    <a:pt x="485" y="160"/>
                    <a:pt x="490" y="156"/>
                    <a:pt x="491" y="150"/>
                  </a:cubicBezTo>
                  <a:cubicBezTo>
                    <a:pt x="496" y="115"/>
                    <a:pt x="496" y="115"/>
                    <a:pt x="496" y="115"/>
                  </a:cubicBezTo>
                  <a:cubicBezTo>
                    <a:pt x="500" y="91"/>
                    <a:pt x="500" y="91"/>
                    <a:pt x="500" y="91"/>
                  </a:cubicBezTo>
                  <a:cubicBezTo>
                    <a:pt x="540" y="23"/>
                    <a:pt x="540" y="23"/>
                    <a:pt x="540" y="23"/>
                  </a:cubicBezTo>
                  <a:cubicBezTo>
                    <a:pt x="541" y="21"/>
                    <a:pt x="542" y="20"/>
                    <a:pt x="542" y="18"/>
                  </a:cubicBezTo>
                  <a:cubicBezTo>
                    <a:pt x="544" y="0"/>
                    <a:pt x="544" y="0"/>
                    <a:pt x="544" y="0"/>
                  </a:cubicBezTo>
                  <a:cubicBezTo>
                    <a:pt x="489" y="5"/>
                    <a:pt x="434" y="17"/>
                    <a:pt x="382" y="37"/>
                  </a:cubicBezTo>
                  <a:cubicBezTo>
                    <a:pt x="375" y="46"/>
                    <a:pt x="375" y="46"/>
                    <a:pt x="375" y="46"/>
                  </a:cubicBezTo>
                  <a:cubicBezTo>
                    <a:pt x="375" y="46"/>
                    <a:pt x="374" y="46"/>
                    <a:pt x="374" y="46"/>
                  </a:cubicBezTo>
                  <a:cubicBezTo>
                    <a:pt x="370" y="43"/>
                    <a:pt x="364" y="44"/>
                    <a:pt x="361" y="48"/>
                  </a:cubicBezTo>
                  <a:cubicBezTo>
                    <a:pt x="310" y="99"/>
                    <a:pt x="310" y="99"/>
                    <a:pt x="310" y="99"/>
                  </a:cubicBezTo>
                  <a:cubicBezTo>
                    <a:pt x="309" y="99"/>
                    <a:pt x="309" y="100"/>
                    <a:pt x="309" y="100"/>
                  </a:cubicBezTo>
                  <a:cubicBezTo>
                    <a:pt x="275" y="147"/>
                    <a:pt x="275" y="147"/>
                    <a:pt x="275" y="147"/>
                  </a:cubicBezTo>
                  <a:cubicBezTo>
                    <a:pt x="272" y="150"/>
                    <a:pt x="272" y="155"/>
                    <a:pt x="275" y="159"/>
                  </a:cubicBezTo>
                  <a:cubicBezTo>
                    <a:pt x="277" y="163"/>
                    <a:pt x="282" y="165"/>
                    <a:pt x="286" y="164"/>
                  </a:cubicBezTo>
                  <a:cubicBezTo>
                    <a:pt x="293" y="162"/>
                    <a:pt x="293" y="162"/>
                    <a:pt x="293" y="162"/>
                  </a:cubicBezTo>
                  <a:cubicBezTo>
                    <a:pt x="281" y="189"/>
                    <a:pt x="281" y="189"/>
                    <a:pt x="281" y="189"/>
                  </a:cubicBezTo>
                  <a:cubicBezTo>
                    <a:pt x="281" y="191"/>
                    <a:pt x="281" y="192"/>
                    <a:pt x="281" y="194"/>
                  </a:cubicBezTo>
                  <a:cubicBezTo>
                    <a:pt x="281" y="234"/>
                    <a:pt x="281" y="234"/>
                    <a:pt x="281" y="234"/>
                  </a:cubicBezTo>
                  <a:cubicBezTo>
                    <a:pt x="280" y="237"/>
                    <a:pt x="279" y="240"/>
                    <a:pt x="278" y="242"/>
                  </a:cubicBezTo>
                  <a:cubicBezTo>
                    <a:pt x="271" y="239"/>
                    <a:pt x="264" y="236"/>
                    <a:pt x="263" y="236"/>
                  </a:cubicBezTo>
                  <a:cubicBezTo>
                    <a:pt x="260" y="235"/>
                    <a:pt x="256" y="235"/>
                    <a:pt x="253" y="236"/>
                  </a:cubicBezTo>
                  <a:cubicBezTo>
                    <a:pt x="250" y="238"/>
                    <a:pt x="232" y="248"/>
                    <a:pt x="226" y="255"/>
                  </a:cubicBezTo>
                  <a:cubicBezTo>
                    <a:pt x="177" y="304"/>
                    <a:pt x="177" y="304"/>
                    <a:pt x="177" y="304"/>
                  </a:cubicBezTo>
                  <a:cubicBezTo>
                    <a:pt x="167" y="313"/>
                    <a:pt x="154" y="346"/>
                    <a:pt x="151" y="355"/>
                  </a:cubicBezTo>
                  <a:cubicBezTo>
                    <a:pt x="149" y="358"/>
                    <a:pt x="150" y="361"/>
                    <a:pt x="151" y="364"/>
                  </a:cubicBezTo>
                  <a:cubicBezTo>
                    <a:pt x="152" y="367"/>
                    <a:pt x="155" y="369"/>
                    <a:pt x="158" y="369"/>
                  </a:cubicBezTo>
                  <a:cubicBezTo>
                    <a:pt x="160" y="370"/>
                    <a:pt x="160" y="370"/>
                    <a:pt x="160" y="370"/>
                  </a:cubicBezTo>
                  <a:cubicBezTo>
                    <a:pt x="104" y="418"/>
                    <a:pt x="104" y="418"/>
                    <a:pt x="104" y="418"/>
                  </a:cubicBezTo>
                  <a:cubicBezTo>
                    <a:pt x="27" y="478"/>
                    <a:pt x="27" y="478"/>
                    <a:pt x="27" y="478"/>
                  </a:cubicBezTo>
                  <a:cubicBezTo>
                    <a:pt x="25" y="479"/>
                    <a:pt x="25" y="480"/>
                    <a:pt x="24" y="481"/>
                  </a:cubicBezTo>
                  <a:cubicBezTo>
                    <a:pt x="8" y="508"/>
                    <a:pt x="8" y="508"/>
                    <a:pt x="8" y="508"/>
                  </a:cubicBezTo>
                  <a:cubicBezTo>
                    <a:pt x="0" y="568"/>
                    <a:pt x="0" y="630"/>
                    <a:pt x="11" y="690"/>
                  </a:cubicBezTo>
                  <a:cubicBezTo>
                    <a:pt x="16" y="685"/>
                    <a:pt x="16" y="685"/>
                    <a:pt x="16" y="685"/>
                  </a:cubicBezTo>
                  <a:cubicBezTo>
                    <a:pt x="17" y="684"/>
                    <a:pt x="17" y="683"/>
                    <a:pt x="18" y="682"/>
                  </a:cubicBezTo>
                  <a:cubicBezTo>
                    <a:pt x="33" y="649"/>
                    <a:pt x="33" y="649"/>
                    <a:pt x="33" y="649"/>
                  </a:cubicBezTo>
                  <a:cubicBezTo>
                    <a:pt x="33" y="649"/>
                    <a:pt x="33" y="649"/>
                    <a:pt x="34" y="648"/>
                  </a:cubicBezTo>
                  <a:cubicBezTo>
                    <a:pt x="50" y="602"/>
                    <a:pt x="50" y="602"/>
                    <a:pt x="50" y="602"/>
                  </a:cubicBezTo>
                  <a:cubicBezTo>
                    <a:pt x="68" y="577"/>
                    <a:pt x="68" y="577"/>
                    <a:pt x="68" y="577"/>
                  </a:cubicBezTo>
                  <a:cubicBezTo>
                    <a:pt x="104" y="561"/>
                    <a:pt x="104" y="561"/>
                    <a:pt x="104" y="561"/>
                  </a:cubicBezTo>
                  <a:cubicBezTo>
                    <a:pt x="122" y="575"/>
                    <a:pt x="122" y="575"/>
                    <a:pt x="122" y="575"/>
                  </a:cubicBezTo>
                  <a:cubicBezTo>
                    <a:pt x="143" y="617"/>
                    <a:pt x="143" y="617"/>
                    <a:pt x="143" y="617"/>
                  </a:cubicBezTo>
                  <a:cubicBezTo>
                    <a:pt x="158" y="675"/>
                    <a:pt x="158" y="675"/>
                    <a:pt x="158" y="675"/>
                  </a:cubicBezTo>
                  <a:cubicBezTo>
                    <a:pt x="158" y="677"/>
                    <a:pt x="160" y="679"/>
                    <a:pt x="162" y="680"/>
                  </a:cubicBezTo>
                  <a:cubicBezTo>
                    <a:pt x="206" y="714"/>
                    <a:pt x="206" y="714"/>
                    <a:pt x="206" y="714"/>
                  </a:cubicBezTo>
                  <a:cubicBezTo>
                    <a:pt x="207" y="715"/>
                    <a:pt x="209" y="716"/>
                    <a:pt x="210" y="716"/>
                  </a:cubicBezTo>
                  <a:cubicBezTo>
                    <a:pt x="258" y="730"/>
                    <a:pt x="258" y="730"/>
                    <a:pt x="258" y="730"/>
                  </a:cubicBezTo>
                  <a:cubicBezTo>
                    <a:pt x="252" y="707"/>
                    <a:pt x="248" y="683"/>
                    <a:pt x="248" y="658"/>
                  </a:cubicBezTo>
                  <a:cubicBezTo>
                    <a:pt x="248" y="543"/>
                    <a:pt x="324" y="445"/>
                    <a:pt x="429" y="414"/>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5" name="Freeform 37">
              <a:extLst>
                <a:ext uri="{FF2B5EF4-FFF2-40B4-BE49-F238E27FC236}">
                  <a16:creationId xmlns:a16="http://schemas.microsoft.com/office/drawing/2014/main" id="{6A27DCB1-C682-4FEC-8551-F59B44A2EBE0}"/>
                </a:ext>
              </a:extLst>
            </p:cNvPr>
            <p:cNvSpPr>
              <a:spLocks/>
            </p:cNvSpPr>
            <p:nvPr/>
          </p:nvSpPr>
          <p:spPr bwMode="auto">
            <a:xfrm>
              <a:off x="7651" y="3017"/>
              <a:ext cx="147" cy="196"/>
            </a:xfrm>
            <a:custGeom>
              <a:avLst/>
              <a:gdLst>
                <a:gd name="T0" fmla="*/ 312 w 313"/>
                <a:gd name="T1" fmla="*/ 378 h 416"/>
                <a:gd name="T2" fmla="*/ 302 w 313"/>
                <a:gd name="T3" fmla="*/ 370 h 416"/>
                <a:gd name="T4" fmla="*/ 258 w 313"/>
                <a:gd name="T5" fmla="*/ 370 h 416"/>
                <a:gd name="T6" fmla="*/ 211 w 313"/>
                <a:gd name="T7" fmla="*/ 323 h 416"/>
                <a:gd name="T8" fmla="*/ 188 w 313"/>
                <a:gd name="T9" fmla="*/ 125 h 416"/>
                <a:gd name="T10" fmla="*/ 187 w 313"/>
                <a:gd name="T11" fmla="*/ 122 h 416"/>
                <a:gd name="T12" fmla="*/ 143 w 313"/>
                <a:gd name="T13" fmla="*/ 22 h 416"/>
                <a:gd name="T14" fmla="*/ 137 w 313"/>
                <a:gd name="T15" fmla="*/ 17 h 416"/>
                <a:gd name="T16" fmla="*/ 100 w 313"/>
                <a:gd name="T17" fmla="*/ 2 h 416"/>
                <a:gd name="T18" fmla="*/ 90 w 313"/>
                <a:gd name="T19" fmla="*/ 3 h 416"/>
                <a:gd name="T20" fmla="*/ 15 w 313"/>
                <a:gd name="T21" fmla="*/ 48 h 416"/>
                <a:gd name="T22" fmla="*/ 34 w 313"/>
                <a:gd name="T23" fmla="*/ 146 h 416"/>
                <a:gd name="T24" fmla="*/ 0 w 313"/>
                <a:gd name="T25" fmla="*/ 274 h 416"/>
                <a:gd name="T26" fmla="*/ 22 w 313"/>
                <a:gd name="T27" fmla="*/ 270 h 416"/>
                <a:gd name="T28" fmla="*/ 152 w 313"/>
                <a:gd name="T29" fmla="*/ 386 h 416"/>
                <a:gd name="T30" fmla="*/ 154 w 313"/>
                <a:gd name="T31" fmla="*/ 387 h 416"/>
                <a:gd name="T32" fmla="*/ 208 w 313"/>
                <a:gd name="T33" fmla="*/ 413 h 416"/>
                <a:gd name="T34" fmla="*/ 212 w 313"/>
                <a:gd name="T35" fmla="*/ 414 h 416"/>
                <a:gd name="T36" fmla="*/ 255 w 313"/>
                <a:gd name="T37" fmla="*/ 416 h 416"/>
                <a:gd name="T38" fmla="*/ 261 w 313"/>
                <a:gd name="T39" fmla="*/ 415 h 416"/>
                <a:gd name="T40" fmla="*/ 307 w 313"/>
                <a:gd name="T41" fmla="*/ 391 h 416"/>
                <a:gd name="T42" fmla="*/ 309 w 313"/>
                <a:gd name="T43" fmla="*/ 389 h 416"/>
                <a:gd name="T44" fmla="*/ 312 w 313"/>
                <a:gd name="T45" fmla="*/ 37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3" h="416">
                  <a:moveTo>
                    <a:pt x="312" y="378"/>
                  </a:moveTo>
                  <a:cubicBezTo>
                    <a:pt x="311" y="374"/>
                    <a:pt x="307" y="370"/>
                    <a:pt x="302" y="370"/>
                  </a:cubicBezTo>
                  <a:cubicBezTo>
                    <a:pt x="258" y="370"/>
                    <a:pt x="258" y="370"/>
                    <a:pt x="258" y="370"/>
                  </a:cubicBezTo>
                  <a:cubicBezTo>
                    <a:pt x="211" y="323"/>
                    <a:pt x="211" y="323"/>
                    <a:pt x="211" y="323"/>
                  </a:cubicBezTo>
                  <a:cubicBezTo>
                    <a:pt x="188" y="125"/>
                    <a:pt x="188" y="125"/>
                    <a:pt x="188" y="125"/>
                  </a:cubicBezTo>
                  <a:cubicBezTo>
                    <a:pt x="188" y="124"/>
                    <a:pt x="188" y="123"/>
                    <a:pt x="187" y="122"/>
                  </a:cubicBezTo>
                  <a:cubicBezTo>
                    <a:pt x="143" y="22"/>
                    <a:pt x="143" y="22"/>
                    <a:pt x="143" y="22"/>
                  </a:cubicBezTo>
                  <a:cubicBezTo>
                    <a:pt x="142" y="20"/>
                    <a:pt x="140" y="18"/>
                    <a:pt x="137" y="17"/>
                  </a:cubicBezTo>
                  <a:cubicBezTo>
                    <a:pt x="100" y="2"/>
                    <a:pt x="100" y="2"/>
                    <a:pt x="100" y="2"/>
                  </a:cubicBezTo>
                  <a:cubicBezTo>
                    <a:pt x="97" y="0"/>
                    <a:pt x="93" y="1"/>
                    <a:pt x="90" y="3"/>
                  </a:cubicBezTo>
                  <a:cubicBezTo>
                    <a:pt x="63" y="20"/>
                    <a:pt x="32" y="39"/>
                    <a:pt x="15" y="48"/>
                  </a:cubicBezTo>
                  <a:cubicBezTo>
                    <a:pt x="27" y="78"/>
                    <a:pt x="34" y="111"/>
                    <a:pt x="34" y="146"/>
                  </a:cubicBezTo>
                  <a:cubicBezTo>
                    <a:pt x="34" y="193"/>
                    <a:pt x="22" y="236"/>
                    <a:pt x="0" y="274"/>
                  </a:cubicBezTo>
                  <a:cubicBezTo>
                    <a:pt x="22" y="270"/>
                    <a:pt x="22" y="270"/>
                    <a:pt x="22" y="270"/>
                  </a:cubicBezTo>
                  <a:cubicBezTo>
                    <a:pt x="152" y="386"/>
                    <a:pt x="152" y="386"/>
                    <a:pt x="152" y="386"/>
                  </a:cubicBezTo>
                  <a:cubicBezTo>
                    <a:pt x="153" y="386"/>
                    <a:pt x="153" y="387"/>
                    <a:pt x="154" y="387"/>
                  </a:cubicBezTo>
                  <a:cubicBezTo>
                    <a:pt x="208" y="413"/>
                    <a:pt x="208" y="413"/>
                    <a:pt x="208" y="413"/>
                  </a:cubicBezTo>
                  <a:cubicBezTo>
                    <a:pt x="209" y="413"/>
                    <a:pt x="210" y="413"/>
                    <a:pt x="212" y="414"/>
                  </a:cubicBezTo>
                  <a:cubicBezTo>
                    <a:pt x="255" y="416"/>
                    <a:pt x="255" y="416"/>
                    <a:pt x="255" y="416"/>
                  </a:cubicBezTo>
                  <a:cubicBezTo>
                    <a:pt x="257" y="416"/>
                    <a:pt x="259" y="415"/>
                    <a:pt x="261" y="415"/>
                  </a:cubicBezTo>
                  <a:cubicBezTo>
                    <a:pt x="307" y="391"/>
                    <a:pt x="307" y="391"/>
                    <a:pt x="307" y="391"/>
                  </a:cubicBezTo>
                  <a:cubicBezTo>
                    <a:pt x="308" y="390"/>
                    <a:pt x="309" y="389"/>
                    <a:pt x="309" y="389"/>
                  </a:cubicBezTo>
                  <a:cubicBezTo>
                    <a:pt x="312" y="386"/>
                    <a:pt x="313" y="382"/>
                    <a:pt x="312" y="378"/>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6" name="Freeform 38">
              <a:extLst>
                <a:ext uri="{FF2B5EF4-FFF2-40B4-BE49-F238E27FC236}">
                  <a16:creationId xmlns:a16="http://schemas.microsoft.com/office/drawing/2014/main" id="{9484C03B-778A-451E-B529-AEB4EB97803C}"/>
                </a:ext>
              </a:extLst>
            </p:cNvPr>
            <p:cNvSpPr>
              <a:spLocks/>
            </p:cNvSpPr>
            <p:nvPr/>
          </p:nvSpPr>
          <p:spPr bwMode="auto">
            <a:xfrm>
              <a:off x="7530" y="2894"/>
              <a:ext cx="19" cy="26"/>
            </a:xfrm>
            <a:custGeom>
              <a:avLst/>
              <a:gdLst>
                <a:gd name="T0" fmla="*/ 24 w 41"/>
                <a:gd name="T1" fmla="*/ 7 h 55"/>
                <a:gd name="T2" fmla="*/ 13 w 41"/>
                <a:gd name="T3" fmla="*/ 1 h 55"/>
                <a:gd name="T4" fmla="*/ 4 w 41"/>
                <a:gd name="T5" fmla="*/ 10 h 55"/>
                <a:gd name="T6" fmla="*/ 0 w 41"/>
                <a:gd name="T7" fmla="*/ 43 h 55"/>
                <a:gd name="T8" fmla="*/ 5 w 41"/>
                <a:gd name="T9" fmla="*/ 53 h 55"/>
                <a:gd name="T10" fmla="*/ 9 w 41"/>
                <a:gd name="T11" fmla="*/ 55 h 55"/>
                <a:gd name="T12" fmla="*/ 41 w 41"/>
                <a:gd name="T13" fmla="*/ 23 h 55"/>
                <a:gd name="T14" fmla="*/ 36 w 41"/>
                <a:gd name="T15" fmla="*/ 19 h 55"/>
                <a:gd name="T16" fmla="*/ 28 w 41"/>
                <a:gd name="T17" fmla="*/ 16 h 55"/>
                <a:gd name="T18" fmla="*/ 24 w 41"/>
                <a:gd name="T19" fmla="*/ 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55">
                  <a:moveTo>
                    <a:pt x="24" y="7"/>
                  </a:moveTo>
                  <a:cubicBezTo>
                    <a:pt x="22" y="3"/>
                    <a:pt x="18" y="0"/>
                    <a:pt x="13" y="1"/>
                  </a:cubicBezTo>
                  <a:cubicBezTo>
                    <a:pt x="8" y="1"/>
                    <a:pt x="4" y="5"/>
                    <a:pt x="4" y="10"/>
                  </a:cubicBezTo>
                  <a:cubicBezTo>
                    <a:pt x="0" y="43"/>
                    <a:pt x="0" y="43"/>
                    <a:pt x="0" y="43"/>
                  </a:cubicBezTo>
                  <a:cubicBezTo>
                    <a:pt x="0" y="47"/>
                    <a:pt x="2" y="51"/>
                    <a:pt x="5" y="53"/>
                  </a:cubicBezTo>
                  <a:cubicBezTo>
                    <a:pt x="6" y="54"/>
                    <a:pt x="8" y="54"/>
                    <a:pt x="9" y="55"/>
                  </a:cubicBezTo>
                  <a:cubicBezTo>
                    <a:pt x="41" y="23"/>
                    <a:pt x="41" y="23"/>
                    <a:pt x="41" y="23"/>
                  </a:cubicBezTo>
                  <a:cubicBezTo>
                    <a:pt x="39" y="21"/>
                    <a:pt x="38" y="20"/>
                    <a:pt x="36" y="19"/>
                  </a:cubicBezTo>
                  <a:cubicBezTo>
                    <a:pt x="28" y="16"/>
                    <a:pt x="28" y="16"/>
                    <a:pt x="28" y="16"/>
                  </a:cubicBezTo>
                  <a:lnTo>
                    <a:pt x="24" y="7"/>
                  </a:ln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8" name="Freeform 39">
              <a:extLst>
                <a:ext uri="{FF2B5EF4-FFF2-40B4-BE49-F238E27FC236}">
                  <a16:creationId xmlns:a16="http://schemas.microsoft.com/office/drawing/2014/main" id="{A969C960-6AA2-482F-B076-4B9BB1A59A3F}"/>
                </a:ext>
              </a:extLst>
            </p:cNvPr>
            <p:cNvSpPr>
              <a:spLocks/>
            </p:cNvSpPr>
            <p:nvPr/>
          </p:nvSpPr>
          <p:spPr bwMode="auto">
            <a:xfrm>
              <a:off x="7427" y="2971"/>
              <a:ext cx="240" cy="178"/>
            </a:xfrm>
            <a:custGeom>
              <a:avLst/>
              <a:gdLst>
                <a:gd name="T0" fmla="*/ 491 w 510"/>
                <a:gd name="T1" fmla="*/ 146 h 378"/>
                <a:gd name="T2" fmla="*/ 483 w 510"/>
                <a:gd name="T3" fmla="*/ 150 h 378"/>
                <a:gd name="T4" fmla="*/ 464 w 510"/>
                <a:gd name="T5" fmla="*/ 128 h 378"/>
                <a:gd name="T6" fmla="*/ 455 w 510"/>
                <a:gd name="T7" fmla="*/ 125 h 378"/>
                <a:gd name="T8" fmla="*/ 358 w 510"/>
                <a:gd name="T9" fmla="*/ 135 h 378"/>
                <a:gd name="T10" fmla="*/ 352 w 510"/>
                <a:gd name="T11" fmla="*/ 138 h 378"/>
                <a:gd name="T12" fmla="*/ 287 w 510"/>
                <a:gd name="T13" fmla="*/ 202 h 378"/>
                <a:gd name="T14" fmla="*/ 285 w 510"/>
                <a:gd name="T15" fmla="*/ 207 h 378"/>
                <a:gd name="T16" fmla="*/ 277 w 510"/>
                <a:gd name="T17" fmla="*/ 237 h 378"/>
                <a:gd name="T18" fmla="*/ 260 w 510"/>
                <a:gd name="T19" fmla="*/ 246 h 378"/>
                <a:gd name="T20" fmla="*/ 244 w 510"/>
                <a:gd name="T21" fmla="*/ 230 h 378"/>
                <a:gd name="T22" fmla="*/ 231 w 510"/>
                <a:gd name="T23" fmla="*/ 228 h 378"/>
                <a:gd name="T24" fmla="*/ 208 w 510"/>
                <a:gd name="T25" fmla="*/ 241 h 378"/>
                <a:gd name="T26" fmla="*/ 196 w 510"/>
                <a:gd name="T27" fmla="*/ 214 h 378"/>
                <a:gd name="T28" fmla="*/ 188 w 510"/>
                <a:gd name="T29" fmla="*/ 208 h 378"/>
                <a:gd name="T30" fmla="*/ 178 w 510"/>
                <a:gd name="T31" fmla="*/ 211 h 378"/>
                <a:gd name="T32" fmla="*/ 162 w 510"/>
                <a:gd name="T33" fmla="*/ 227 h 378"/>
                <a:gd name="T34" fmla="*/ 159 w 510"/>
                <a:gd name="T35" fmla="*/ 236 h 378"/>
                <a:gd name="T36" fmla="*/ 159 w 510"/>
                <a:gd name="T37" fmla="*/ 245 h 378"/>
                <a:gd name="T38" fmla="*/ 139 w 510"/>
                <a:gd name="T39" fmla="*/ 256 h 378"/>
                <a:gd name="T40" fmla="*/ 117 w 510"/>
                <a:gd name="T41" fmla="*/ 215 h 378"/>
                <a:gd name="T42" fmla="*/ 148 w 510"/>
                <a:gd name="T43" fmla="*/ 158 h 378"/>
                <a:gd name="T44" fmla="*/ 180 w 510"/>
                <a:gd name="T45" fmla="*/ 170 h 378"/>
                <a:gd name="T46" fmla="*/ 192 w 510"/>
                <a:gd name="T47" fmla="*/ 167 h 378"/>
                <a:gd name="T48" fmla="*/ 202 w 510"/>
                <a:gd name="T49" fmla="*/ 155 h 378"/>
                <a:gd name="T50" fmla="*/ 202 w 510"/>
                <a:gd name="T51" fmla="*/ 141 h 378"/>
                <a:gd name="T52" fmla="*/ 181 w 510"/>
                <a:gd name="T53" fmla="*/ 114 h 378"/>
                <a:gd name="T54" fmla="*/ 186 w 510"/>
                <a:gd name="T55" fmla="*/ 65 h 378"/>
                <a:gd name="T56" fmla="*/ 184 w 510"/>
                <a:gd name="T57" fmla="*/ 57 h 378"/>
                <a:gd name="T58" fmla="*/ 172 w 510"/>
                <a:gd name="T59" fmla="*/ 42 h 378"/>
                <a:gd name="T60" fmla="*/ 181 w 510"/>
                <a:gd name="T61" fmla="*/ 0 h 378"/>
                <a:gd name="T62" fmla="*/ 0 w 510"/>
                <a:gd name="T63" fmla="*/ 244 h 378"/>
                <a:gd name="T64" fmla="*/ 10 w 510"/>
                <a:gd name="T65" fmla="*/ 316 h 378"/>
                <a:gd name="T66" fmla="*/ 11 w 510"/>
                <a:gd name="T67" fmla="*/ 316 h 378"/>
                <a:gd name="T68" fmla="*/ 56 w 510"/>
                <a:gd name="T69" fmla="*/ 333 h 378"/>
                <a:gd name="T70" fmla="*/ 68 w 510"/>
                <a:gd name="T71" fmla="*/ 331 h 378"/>
                <a:gd name="T72" fmla="*/ 67 w 510"/>
                <a:gd name="T73" fmla="*/ 316 h 378"/>
                <a:gd name="T74" fmla="*/ 64 w 510"/>
                <a:gd name="T75" fmla="*/ 313 h 378"/>
                <a:gd name="T76" fmla="*/ 9 w 510"/>
                <a:gd name="T77" fmla="*/ 285 h 378"/>
                <a:gd name="T78" fmla="*/ 12 w 510"/>
                <a:gd name="T79" fmla="*/ 278 h 378"/>
                <a:gd name="T80" fmla="*/ 57 w 510"/>
                <a:gd name="T81" fmla="*/ 299 h 378"/>
                <a:gd name="T82" fmla="*/ 89 w 510"/>
                <a:gd name="T83" fmla="*/ 329 h 378"/>
                <a:gd name="T84" fmla="*/ 100 w 510"/>
                <a:gd name="T85" fmla="*/ 331 h 378"/>
                <a:gd name="T86" fmla="*/ 157 w 510"/>
                <a:gd name="T87" fmla="*/ 314 h 378"/>
                <a:gd name="T88" fmla="*/ 163 w 510"/>
                <a:gd name="T89" fmla="*/ 309 h 378"/>
                <a:gd name="T90" fmla="*/ 169 w 510"/>
                <a:gd name="T91" fmla="*/ 298 h 378"/>
                <a:gd name="T92" fmla="*/ 195 w 510"/>
                <a:gd name="T93" fmla="*/ 292 h 378"/>
                <a:gd name="T94" fmla="*/ 199 w 510"/>
                <a:gd name="T95" fmla="*/ 291 h 378"/>
                <a:gd name="T96" fmla="*/ 218 w 510"/>
                <a:gd name="T97" fmla="*/ 276 h 378"/>
                <a:gd name="T98" fmla="*/ 250 w 510"/>
                <a:gd name="T99" fmla="*/ 288 h 378"/>
                <a:gd name="T100" fmla="*/ 257 w 510"/>
                <a:gd name="T101" fmla="*/ 288 h 378"/>
                <a:gd name="T102" fmla="*/ 293 w 510"/>
                <a:gd name="T103" fmla="*/ 276 h 378"/>
                <a:gd name="T104" fmla="*/ 299 w 510"/>
                <a:gd name="T105" fmla="*/ 270 h 378"/>
                <a:gd name="T106" fmla="*/ 300 w 510"/>
                <a:gd name="T107" fmla="*/ 269 h 378"/>
                <a:gd name="T108" fmla="*/ 305 w 510"/>
                <a:gd name="T109" fmla="*/ 273 h 378"/>
                <a:gd name="T110" fmla="*/ 324 w 510"/>
                <a:gd name="T111" fmla="*/ 339 h 378"/>
                <a:gd name="T112" fmla="*/ 332 w 510"/>
                <a:gd name="T113" fmla="*/ 346 h 378"/>
                <a:gd name="T114" fmla="*/ 434 w 510"/>
                <a:gd name="T115" fmla="*/ 377 h 378"/>
                <a:gd name="T116" fmla="*/ 438 w 510"/>
                <a:gd name="T117" fmla="*/ 377 h 378"/>
                <a:gd name="T118" fmla="*/ 476 w 510"/>
                <a:gd name="T119" fmla="*/ 372 h 378"/>
                <a:gd name="T120" fmla="*/ 510 w 510"/>
                <a:gd name="T121" fmla="*/ 244 h 378"/>
                <a:gd name="T122" fmla="*/ 491 w 510"/>
                <a:gd name="T123" fmla="*/ 146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0" h="378">
                  <a:moveTo>
                    <a:pt x="491" y="146"/>
                  </a:moveTo>
                  <a:cubicBezTo>
                    <a:pt x="488" y="147"/>
                    <a:pt x="485" y="149"/>
                    <a:pt x="483" y="150"/>
                  </a:cubicBezTo>
                  <a:cubicBezTo>
                    <a:pt x="478" y="143"/>
                    <a:pt x="471" y="135"/>
                    <a:pt x="464" y="128"/>
                  </a:cubicBezTo>
                  <a:cubicBezTo>
                    <a:pt x="462" y="126"/>
                    <a:pt x="458" y="125"/>
                    <a:pt x="455" y="125"/>
                  </a:cubicBezTo>
                  <a:cubicBezTo>
                    <a:pt x="358" y="135"/>
                    <a:pt x="358" y="135"/>
                    <a:pt x="358" y="135"/>
                  </a:cubicBezTo>
                  <a:cubicBezTo>
                    <a:pt x="356" y="135"/>
                    <a:pt x="353" y="136"/>
                    <a:pt x="352" y="138"/>
                  </a:cubicBezTo>
                  <a:cubicBezTo>
                    <a:pt x="287" y="202"/>
                    <a:pt x="287" y="202"/>
                    <a:pt x="287" y="202"/>
                  </a:cubicBezTo>
                  <a:cubicBezTo>
                    <a:pt x="286" y="204"/>
                    <a:pt x="285" y="205"/>
                    <a:pt x="285" y="207"/>
                  </a:cubicBezTo>
                  <a:cubicBezTo>
                    <a:pt x="277" y="237"/>
                    <a:pt x="277" y="237"/>
                    <a:pt x="277" y="237"/>
                  </a:cubicBezTo>
                  <a:cubicBezTo>
                    <a:pt x="260" y="246"/>
                    <a:pt x="260" y="246"/>
                    <a:pt x="260" y="246"/>
                  </a:cubicBezTo>
                  <a:cubicBezTo>
                    <a:pt x="244" y="230"/>
                    <a:pt x="244" y="230"/>
                    <a:pt x="244" y="230"/>
                  </a:cubicBezTo>
                  <a:cubicBezTo>
                    <a:pt x="241" y="227"/>
                    <a:pt x="236" y="226"/>
                    <a:pt x="231" y="228"/>
                  </a:cubicBezTo>
                  <a:cubicBezTo>
                    <a:pt x="208" y="241"/>
                    <a:pt x="208" y="241"/>
                    <a:pt x="208" y="241"/>
                  </a:cubicBezTo>
                  <a:cubicBezTo>
                    <a:pt x="196" y="214"/>
                    <a:pt x="196" y="214"/>
                    <a:pt x="196" y="214"/>
                  </a:cubicBezTo>
                  <a:cubicBezTo>
                    <a:pt x="194" y="211"/>
                    <a:pt x="191" y="209"/>
                    <a:pt x="188" y="208"/>
                  </a:cubicBezTo>
                  <a:cubicBezTo>
                    <a:pt x="184" y="207"/>
                    <a:pt x="181" y="208"/>
                    <a:pt x="178" y="211"/>
                  </a:cubicBezTo>
                  <a:cubicBezTo>
                    <a:pt x="162" y="227"/>
                    <a:pt x="162" y="227"/>
                    <a:pt x="162" y="227"/>
                  </a:cubicBezTo>
                  <a:cubicBezTo>
                    <a:pt x="160" y="230"/>
                    <a:pt x="159" y="233"/>
                    <a:pt x="159" y="236"/>
                  </a:cubicBezTo>
                  <a:cubicBezTo>
                    <a:pt x="159" y="239"/>
                    <a:pt x="159" y="243"/>
                    <a:pt x="159" y="245"/>
                  </a:cubicBezTo>
                  <a:cubicBezTo>
                    <a:pt x="156" y="248"/>
                    <a:pt x="148" y="252"/>
                    <a:pt x="139" y="256"/>
                  </a:cubicBezTo>
                  <a:cubicBezTo>
                    <a:pt x="117" y="215"/>
                    <a:pt x="117" y="215"/>
                    <a:pt x="117" y="215"/>
                  </a:cubicBezTo>
                  <a:cubicBezTo>
                    <a:pt x="148" y="158"/>
                    <a:pt x="148" y="158"/>
                    <a:pt x="148" y="158"/>
                  </a:cubicBezTo>
                  <a:cubicBezTo>
                    <a:pt x="180" y="170"/>
                    <a:pt x="180" y="170"/>
                    <a:pt x="180" y="170"/>
                  </a:cubicBezTo>
                  <a:cubicBezTo>
                    <a:pt x="184" y="171"/>
                    <a:pt x="189" y="170"/>
                    <a:pt x="192" y="167"/>
                  </a:cubicBezTo>
                  <a:cubicBezTo>
                    <a:pt x="202" y="155"/>
                    <a:pt x="202" y="155"/>
                    <a:pt x="202" y="155"/>
                  </a:cubicBezTo>
                  <a:cubicBezTo>
                    <a:pt x="205" y="151"/>
                    <a:pt x="205" y="145"/>
                    <a:pt x="202" y="141"/>
                  </a:cubicBezTo>
                  <a:cubicBezTo>
                    <a:pt x="181" y="114"/>
                    <a:pt x="181" y="114"/>
                    <a:pt x="181" y="114"/>
                  </a:cubicBezTo>
                  <a:cubicBezTo>
                    <a:pt x="186" y="65"/>
                    <a:pt x="186" y="65"/>
                    <a:pt x="186" y="65"/>
                  </a:cubicBezTo>
                  <a:cubicBezTo>
                    <a:pt x="186" y="62"/>
                    <a:pt x="185" y="59"/>
                    <a:pt x="184" y="57"/>
                  </a:cubicBezTo>
                  <a:cubicBezTo>
                    <a:pt x="172" y="42"/>
                    <a:pt x="172" y="42"/>
                    <a:pt x="172" y="42"/>
                  </a:cubicBezTo>
                  <a:cubicBezTo>
                    <a:pt x="181" y="0"/>
                    <a:pt x="181" y="0"/>
                    <a:pt x="181" y="0"/>
                  </a:cubicBezTo>
                  <a:cubicBezTo>
                    <a:pt x="76" y="31"/>
                    <a:pt x="0" y="129"/>
                    <a:pt x="0" y="244"/>
                  </a:cubicBezTo>
                  <a:cubicBezTo>
                    <a:pt x="0" y="269"/>
                    <a:pt x="4" y="293"/>
                    <a:pt x="10" y="316"/>
                  </a:cubicBezTo>
                  <a:cubicBezTo>
                    <a:pt x="11" y="316"/>
                    <a:pt x="11" y="316"/>
                    <a:pt x="11" y="316"/>
                  </a:cubicBezTo>
                  <a:cubicBezTo>
                    <a:pt x="56" y="333"/>
                    <a:pt x="56" y="333"/>
                    <a:pt x="56" y="333"/>
                  </a:cubicBezTo>
                  <a:cubicBezTo>
                    <a:pt x="60" y="335"/>
                    <a:pt x="65" y="334"/>
                    <a:pt x="68" y="331"/>
                  </a:cubicBezTo>
                  <a:cubicBezTo>
                    <a:pt x="72" y="326"/>
                    <a:pt x="72" y="320"/>
                    <a:pt x="67" y="316"/>
                  </a:cubicBezTo>
                  <a:cubicBezTo>
                    <a:pt x="66" y="314"/>
                    <a:pt x="65" y="314"/>
                    <a:pt x="64" y="313"/>
                  </a:cubicBezTo>
                  <a:cubicBezTo>
                    <a:pt x="9" y="285"/>
                    <a:pt x="9" y="285"/>
                    <a:pt x="9" y="285"/>
                  </a:cubicBezTo>
                  <a:cubicBezTo>
                    <a:pt x="12" y="278"/>
                    <a:pt x="12" y="278"/>
                    <a:pt x="12" y="278"/>
                  </a:cubicBezTo>
                  <a:cubicBezTo>
                    <a:pt x="57" y="299"/>
                    <a:pt x="57" y="299"/>
                    <a:pt x="57" y="299"/>
                  </a:cubicBezTo>
                  <a:cubicBezTo>
                    <a:pt x="89" y="329"/>
                    <a:pt x="89" y="329"/>
                    <a:pt x="89" y="329"/>
                  </a:cubicBezTo>
                  <a:cubicBezTo>
                    <a:pt x="92" y="332"/>
                    <a:pt x="96" y="332"/>
                    <a:pt x="100" y="331"/>
                  </a:cubicBezTo>
                  <a:cubicBezTo>
                    <a:pt x="157" y="314"/>
                    <a:pt x="157" y="314"/>
                    <a:pt x="157" y="314"/>
                  </a:cubicBezTo>
                  <a:cubicBezTo>
                    <a:pt x="159" y="313"/>
                    <a:pt x="161" y="311"/>
                    <a:pt x="163" y="309"/>
                  </a:cubicBezTo>
                  <a:cubicBezTo>
                    <a:pt x="169" y="298"/>
                    <a:pt x="169" y="298"/>
                    <a:pt x="169" y="298"/>
                  </a:cubicBezTo>
                  <a:cubicBezTo>
                    <a:pt x="195" y="292"/>
                    <a:pt x="195" y="292"/>
                    <a:pt x="195" y="292"/>
                  </a:cubicBezTo>
                  <a:cubicBezTo>
                    <a:pt x="196" y="292"/>
                    <a:pt x="198" y="291"/>
                    <a:pt x="199" y="291"/>
                  </a:cubicBezTo>
                  <a:cubicBezTo>
                    <a:pt x="218" y="276"/>
                    <a:pt x="218" y="276"/>
                    <a:pt x="218" y="276"/>
                  </a:cubicBezTo>
                  <a:cubicBezTo>
                    <a:pt x="250" y="288"/>
                    <a:pt x="250" y="288"/>
                    <a:pt x="250" y="288"/>
                  </a:cubicBezTo>
                  <a:cubicBezTo>
                    <a:pt x="252" y="288"/>
                    <a:pt x="255" y="288"/>
                    <a:pt x="257" y="288"/>
                  </a:cubicBezTo>
                  <a:cubicBezTo>
                    <a:pt x="293" y="276"/>
                    <a:pt x="293" y="276"/>
                    <a:pt x="293" y="276"/>
                  </a:cubicBezTo>
                  <a:cubicBezTo>
                    <a:pt x="296" y="275"/>
                    <a:pt x="298" y="273"/>
                    <a:pt x="299" y="270"/>
                  </a:cubicBezTo>
                  <a:cubicBezTo>
                    <a:pt x="300" y="269"/>
                    <a:pt x="300" y="269"/>
                    <a:pt x="300" y="269"/>
                  </a:cubicBezTo>
                  <a:cubicBezTo>
                    <a:pt x="305" y="273"/>
                    <a:pt x="305" y="273"/>
                    <a:pt x="305" y="273"/>
                  </a:cubicBezTo>
                  <a:cubicBezTo>
                    <a:pt x="324" y="339"/>
                    <a:pt x="324" y="339"/>
                    <a:pt x="324" y="339"/>
                  </a:cubicBezTo>
                  <a:cubicBezTo>
                    <a:pt x="325" y="342"/>
                    <a:pt x="328" y="345"/>
                    <a:pt x="332" y="346"/>
                  </a:cubicBezTo>
                  <a:cubicBezTo>
                    <a:pt x="434" y="377"/>
                    <a:pt x="434" y="377"/>
                    <a:pt x="434" y="377"/>
                  </a:cubicBezTo>
                  <a:cubicBezTo>
                    <a:pt x="435" y="378"/>
                    <a:pt x="437" y="378"/>
                    <a:pt x="438" y="377"/>
                  </a:cubicBezTo>
                  <a:cubicBezTo>
                    <a:pt x="476" y="372"/>
                    <a:pt x="476" y="372"/>
                    <a:pt x="476" y="372"/>
                  </a:cubicBezTo>
                  <a:cubicBezTo>
                    <a:pt x="498" y="334"/>
                    <a:pt x="510" y="291"/>
                    <a:pt x="510" y="244"/>
                  </a:cubicBezTo>
                  <a:cubicBezTo>
                    <a:pt x="510" y="209"/>
                    <a:pt x="503" y="176"/>
                    <a:pt x="491" y="14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9" name="Freeform 40">
              <a:extLst>
                <a:ext uri="{FF2B5EF4-FFF2-40B4-BE49-F238E27FC236}">
                  <a16:creationId xmlns:a16="http://schemas.microsoft.com/office/drawing/2014/main" id="{231A57B6-882E-4556-B5E6-1EB5395980E8}"/>
                </a:ext>
              </a:extLst>
            </p:cNvPr>
            <p:cNvSpPr>
              <a:spLocks/>
            </p:cNvSpPr>
            <p:nvPr/>
          </p:nvSpPr>
          <p:spPr bwMode="auto">
            <a:xfrm>
              <a:off x="7517" y="3039"/>
              <a:ext cx="40" cy="28"/>
            </a:xfrm>
            <a:custGeom>
              <a:avLst/>
              <a:gdLst>
                <a:gd name="T0" fmla="*/ 4 w 85"/>
                <a:gd name="T1" fmla="*/ 56 h 60"/>
                <a:gd name="T2" fmla="*/ 19 w 85"/>
                <a:gd name="T3" fmla="*/ 56 h 60"/>
                <a:gd name="T4" fmla="*/ 40 w 85"/>
                <a:gd name="T5" fmla="*/ 35 h 60"/>
                <a:gd name="T6" fmla="*/ 41 w 85"/>
                <a:gd name="T7" fmla="*/ 35 h 60"/>
                <a:gd name="T8" fmla="*/ 40 w 85"/>
                <a:gd name="T9" fmla="*/ 37 h 60"/>
                <a:gd name="T10" fmla="*/ 41 w 85"/>
                <a:gd name="T11" fmla="*/ 52 h 60"/>
                <a:gd name="T12" fmla="*/ 56 w 85"/>
                <a:gd name="T13" fmla="*/ 51 h 60"/>
                <a:gd name="T14" fmla="*/ 56 w 85"/>
                <a:gd name="T15" fmla="*/ 50 h 60"/>
                <a:gd name="T16" fmla="*/ 82 w 85"/>
                <a:gd name="T17" fmla="*/ 18 h 60"/>
                <a:gd name="T18" fmla="*/ 82 w 85"/>
                <a:gd name="T19" fmla="*/ 5 h 60"/>
                <a:gd name="T20" fmla="*/ 70 w 85"/>
                <a:gd name="T21" fmla="*/ 1 h 60"/>
                <a:gd name="T22" fmla="*/ 48 w 85"/>
                <a:gd name="T23" fmla="*/ 10 h 60"/>
                <a:gd name="T24" fmla="*/ 31 w 85"/>
                <a:gd name="T25" fmla="*/ 15 h 60"/>
                <a:gd name="T26" fmla="*/ 27 w 85"/>
                <a:gd name="T27" fmla="*/ 18 h 60"/>
                <a:gd name="T28" fmla="*/ 4 w 85"/>
                <a:gd name="T29" fmla="*/ 41 h 60"/>
                <a:gd name="T30" fmla="*/ 4 w 85"/>
                <a:gd name="T31"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60">
                  <a:moveTo>
                    <a:pt x="4" y="56"/>
                  </a:moveTo>
                  <a:cubicBezTo>
                    <a:pt x="8" y="60"/>
                    <a:pt x="15" y="60"/>
                    <a:pt x="19" y="56"/>
                  </a:cubicBezTo>
                  <a:cubicBezTo>
                    <a:pt x="40" y="35"/>
                    <a:pt x="40" y="35"/>
                    <a:pt x="40" y="35"/>
                  </a:cubicBezTo>
                  <a:cubicBezTo>
                    <a:pt x="41" y="35"/>
                    <a:pt x="41" y="35"/>
                    <a:pt x="41" y="35"/>
                  </a:cubicBezTo>
                  <a:cubicBezTo>
                    <a:pt x="40" y="37"/>
                    <a:pt x="40" y="37"/>
                    <a:pt x="40" y="37"/>
                  </a:cubicBezTo>
                  <a:cubicBezTo>
                    <a:pt x="36" y="41"/>
                    <a:pt x="37" y="48"/>
                    <a:pt x="41" y="52"/>
                  </a:cubicBezTo>
                  <a:cubicBezTo>
                    <a:pt x="46" y="55"/>
                    <a:pt x="52" y="55"/>
                    <a:pt x="56" y="51"/>
                  </a:cubicBezTo>
                  <a:cubicBezTo>
                    <a:pt x="56" y="51"/>
                    <a:pt x="56" y="51"/>
                    <a:pt x="56" y="50"/>
                  </a:cubicBezTo>
                  <a:cubicBezTo>
                    <a:pt x="82" y="18"/>
                    <a:pt x="82" y="18"/>
                    <a:pt x="82" y="18"/>
                  </a:cubicBezTo>
                  <a:cubicBezTo>
                    <a:pt x="85" y="14"/>
                    <a:pt x="85" y="9"/>
                    <a:pt x="82" y="5"/>
                  </a:cubicBezTo>
                  <a:cubicBezTo>
                    <a:pt x="79" y="1"/>
                    <a:pt x="74" y="0"/>
                    <a:pt x="70" y="1"/>
                  </a:cubicBezTo>
                  <a:cubicBezTo>
                    <a:pt x="48" y="10"/>
                    <a:pt x="48" y="10"/>
                    <a:pt x="48" y="10"/>
                  </a:cubicBezTo>
                  <a:cubicBezTo>
                    <a:pt x="31" y="15"/>
                    <a:pt x="31" y="15"/>
                    <a:pt x="31" y="15"/>
                  </a:cubicBezTo>
                  <a:cubicBezTo>
                    <a:pt x="30" y="16"/>
                    <a:pt x="28" y="17"/>
                    <a:pt x="27" y="18"/>
                  </a:cubicBezTo>
                  <a:cubicBezTo>
                    <a:pt x="4" y="41"/>
                    <a:pt x="4" y="41"/>
                    <a:pt x="4" y="41"/>
                  </a:cubicBezTo>
                  <a:cubicBezTo>
                    <a:pt x="0" y="45"/>
                    <a:pt x="0" y="52"/>
                    <a:pt x="4" y="5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81" name="Freeform 41">
              <a:extLst>
                <a:ext uri="{FF2B5EF4-FFF2-40B4-BE49-F238E27FC236}">
                  <a16:creationId xmlns:a16="http://schemas.microsoft.com/office/drawing/2014/main" id="{096E988B-40CD-41EC-AA35-F775E7EE9E1B}"/>
                </a:ext>
              </a:extLst>
            </p:cNvPr>
            <p:cNvSpPr>
              <a:spLocks/>
            </p:cNvSpPr>
            <p:nvPr/>
          </p:nvSpPr>
          <p:spPr bwMode="auto">
            <a:xfrm>
              <a:off x="7562" y="3015"/>
              <a:ext cx="25" cy="22"/>
            </a:xfrm>
            <a:custGeom>
              <a:avLst/>
              <a:gdLst>
                <a:gd name="T0" fmla="*/ 19 w 55"/>
                <a:gd name="T1" fmla="*/ 44 h 47"/>
                <a:gd name="T2" fmla="*/ 49 w 55"/>
                <a:gd name="T3" fmla="*/ 21 h 47"/>
                <a:gd name="T4" fmla="*/ 50 w 55"/>
                <a:gd name="T5" fmla="*/ 20 h 47"/>
                <a:gd name="T6" fmla="*/ 51 w 55"/>
                <a:gd name="T7" fmla="*/ 6 h 47"/>
                <a:gd name="T8" fmla="*/ 36 w 55"/>
                <a:gd name="T9" fmla="*/ 4 h 47"/>
                <a:gd name="T10" fmla="*/ 6 w 55"/>
                <a:gd name="T11" fmla="*/ 27 h 47"/>
                <a:gd name="T12" fmla="*/ 4 w 55"/>
                <a:gd name="T13" fmla="*/ 42 h 47"/>
                <a:gd name="T14" fmla="*/ 19 w 55"/>
                <a:gd name="T15" fmla="*/ 44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47">
                  <a:moveTo>
                    <a:pt x="19" y="44"/>
                  </a:moveTo>
                  <a:cubicBezTo>
                    <a:pt x="49" y="21"/>
                    <a:pt x="49" y="21"/>
                    <a:pt x="49" y="21"/>
                  </a:cubicBezTo>
                  <a:cubicBezTo>
                    <a:pt x="50" y="21"/>
                    <a:pt x="50" y="20"/>
                    <a:pt x="50" y="20"/>
                  </a:cubicBezTo>
                  <a:cubicBezTo>
                    <a:pt x="54" y="16"/>
                    <a:pt x="55" y="10"/>
                    <a:pt x="51" y="6"/>
                  </a:cubicBezTo>
                  <a:cubicBezTo>
                    <a:pt x="48" y="1"/>
                    <a:pt x="41" y="0"/>
                    <a:pt x="36" y="4"/>
                  </a:cubicBezTo>
                  <a:cubicBezTo>
                    <a:pt x="6" y="27"/>
                    <a:pt x="6" y="27"/>
                    <a:pt x="6" y="27"/>
                  </a:cubicBezTo>
                  <a:cubicBezTo>
                    <a:pt x="1" y="30"/>
                    <a:pt x="0" y="37"/>
                    <a:pt x="4" y="42"/>
                  </a:cubicBezTo>
                  <a:cubicBezTo>
                    <a:pt x="7" y="46"/>
                    <a:pt x="14" y="47"/>
                    <a:pt x="19" y="4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82" name="Freeform 42">
              <a:extLst>
                <a:ext uri="{FF2B5EF4-FFF2-40B4-BE49-F238E27FC236}">
                  <a16:creationId xmlns:a16="http://schemas.microsoft.com/office/drawing/2014/main" id="{F80C1DBD-861C-4C56-B630-B027716C4E20}"/>
                </a:ext>
              </a:extLst>
            </p:cNvPr>
            <p:cNvSpPr>
              <a:spLocks/>
            </p:cNvSpPr>
            <p:nvPr/>
          </p:nvSpPr>
          <p:spPr bwMode="auto">
            <a:xfrm>
              <a:off x="7589" y="3017"/>
              <a:ext cx="17" cy="14"/>
            </a:xfrm>
            <a:custGeom>
              <a:avLst/>
              <a:gdLst>
                <a:gd name="T0" fmla="*/ 7 w 37"/>
                <a:gd name="T1" fmla="*/ 22 h 31"/>
                <a:gd name="T2" fmla="*/ 20 w 37"/>
                <a:gd name="T3" fmla="*/ 29 h 31"/>
                <a:gd name="T4" fmla="*/ 33 w 37"/>
                <a:gd name="T5" fmla="*/ 27 h 31"/>
                <a:gd name="T6" fmla="*/ 35 w 37"/>
                <a:gd name="T7" fmla="*/ 24 h 31"/>
                <a:gd name="T8" fmla="*/ 30 w 37"/>
                <a:gd name="T9" fmla="*/ 10 h 31"/>
                <a:gd name="T10" fmla="*/ 17 w 37"/>
                <a:gd name="T11" fmla="*/ 3 h 31"/>
                <a:gd name="T12" fmla="*/ 2 w 37"/>
                <a:gd name="T13" fmla="*/ 8 h 31"/>
                <a:gd name="T14" fmla="*/ 7 w 37"/>
                <a:gd name="T15" fmla="*/ 22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1">
                  <a:moveTo>
                    <a:pt x="7" y="22"/>
                  </a:moveTo>
                  <a:cubicBezTo>
                    <a:pt x="20" y="29"/>
                    <a:pt x="20" y="29"/>
                    <a:pt x="20" y="29"/>
                  </a:cubicBezTo>
                  <a:cubicBezTo>
                    <a:pt x="25" y="31"/>
                    <a:pt x="30" y="30"/>
                    <a:pt x="33" y="27"/>
                  </a:cubicBezTo>
                  <a:cubicBezTo>
                    <a:pt x="34" y="26"/>
                    <a:pt x="34" y="25"/>
                    <a:pt x="35" y="24"/>
                  </a:cubicBezTo>
                  <a:cubicBezTo>
                    <a:pt x="37" y="19"/>
                    <a:pt x="35" y="12"/>
                    <a:pt x="30" y="10"/>
                  </a:cubicBezTo>
                  <a:cubicBezTo>
                    <a:pt x="17" y="3"/>
                    <a:pt x="17" y="3"/>
                    <a:pt x="17" y="3"/>
                  </a:cubicBezTo>
                  <a:cubicBezTo>
                    <a:pt x="12" y="0"/>
                    <a:pt x="5" y="2"/>
                    <a:pt x="2" y="8"/>
                  </a:cubicBezTo>
                  <a:cubicBezTo>
                    <a:pt x="0" y="13"/>
                    <a:pt x="2" y="20"/>
                    <a:pt x="7" y="22"/>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4" name="Group 123">
            <a:extLst>
              <a:ext uri="{FF2B5EF4-FFF2-40B4-BE49-F238E27FC236}">
                <a16:creationId xmlns:a16="http://schemas.microsoft.com/office/drawing/2014/main" id="{7567B28A-8ECD-4580-9F96-B5227BA46181}"/>
              </a:ext>
            </a:extLst>
          </p:cNvPr>
          <p:cNvGrpSpPr/>
          <p:nvPr/>
        </p:nvGrpSpPr>
        <p:grpSpPr>
          <a:xfrm>
            <a:off x="10052458" y="146014"/>
            <a:ext cx="2033626" cy="1015650"/>
            <a:chOff x="10052458" y="146014"/>
            <a:chExt cx="2033626" cy="1015650"/>
          </a:xfrm>
        </p:grpSpPr>
        <p:pic>
          <p:nvPicPr>
            <p:cNvPr id="127" name="Picture 126">
              <a:extLst>
                <a:ext uri="{FF2B5EF4-FFF2-40B4-BE49-F238E27FC236}">
                  <a16:creationId xmlns:a16="http://schemas.microsoft.com/office/drawing/2014/main" id="{2610DDBB-6B6B-40FE-8D2B-5D0F030FE4C1}"/>
                </a:ext>
              </a:extLst>
            </p:cNvPr>
            <p:cNvPicPr>
              <a:picLocks noChangeAspect="1"/>
            </p:cNvPicPr>
            <p:nvPr/>
          </p:nvPicPr>
          <p:blipFill>
            <a:blip r:embed="rId25"/>
            <a:stretch>
              <a:fillRect/>
            </a:stretch>
          </p:blipFill>
          <p:spPr>
            <a:xfrm>
              <a:off x="10052458" y="146014"/>
              <a:ext cx="2033626" cy="1015650"/>
            </a:xfrm>
            <a:prstGeom prst="rect">
              <a:avLst/>
            </a:prstGeom>
          </p:spPr>
        </p:pic>
        <p:sp>
          <p:nvSpPr>
            <p:cNvPr id="128" name="Rectangle 127">
              <a:extLst>
                <a:ext uri="{FF2B5EF4-FFF2-40B4-BE49-F238E27FC236}">
                  <a16:creationId xmlns:a16="http://schemas.microsoft.com/office/drawing/2014/main" id="{419987A0-C7D6-47D5-84D7-715EA9F54C52}"/>
                </a:ext>
              </a:extLst>
            </p:cNvPr>
            <p:cNvSpPr/>
            <p:nvPr/>
          </p:nvSpPr>
          <p:spPr bwMode="auto">
            <a:xfrm>
              <a:off x="10094230" y="917762"/>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Azure</a:t>
              </a:r>
            </a:p>
          </p:txBody>
        </p:sp>
      </p:grpSp>
    </p:spTree>
    <p:extLst>
      <p:ext uri="{BB962C8B-B14F-4D97-AF65-F5344CB8AC3E}">
        <p14:creationId xmlns:p14="http://schemas.microsoft.com/office/powerpoint/2010/main" val="2880192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2"/>
            </p:custDataLst>
            <p:extLst>
              <p:ext uri="{D42A27DB-BD31-4B8C-83A1-F6EECF244321}">
                <p14:modId xmlns:p14="http://schemas.microsoft.com/office/powerpoint/2010/main" val="164019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10" imgW="425" imgH="424" progId="TCLayout.ActiveDocument.1">
                  <p:embed/>
                </p:oleObj>
              </mc:Choice>
              <mc:Fallback>
                <p:oleObj name="think-cell Slide" r:id="rId10"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511" name="Freeform 199">
            <a:extLst>
              <a:ext uri="{FF2B5EF4-FFF2-40B4-BE49-F238E27FC236}">
                <a16:creationId xmlns:a16="http://schemas.microsoft.com/office/drawing/2014/main" id="{7A5C4CBA-5032-4A22-AEC7-5787629446D1}"/>
              </a:ext>
            </a:extLst>
          </p:cNvPr>
          <p:cNvSpPr/>
          <p:nvPr/>
        </p:nvSpPr>
        <p:spPr>
          <a:xfrm>
            <a:off x="767286" y="1245870"/>
            <a:ext cx="10657428" cy="10096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accent1"/>
          </a:solidFill>
          <a:ln w="10795" cap="flat" cmpd="sng" algn="ctr">
            <a:noFill/>
            <a:prstDash val="solid"/>
          </a:ln>
          <a:effectLst/>
        </p:spPr>
        <p:txBody>
          <a:bodyPr wrap="square" lIns="91440" tIns="45720" rIns="91440" bIns="73152" rtlCol="0" anchor="b">
            <a:noAutofit/>
          </a:bodyPr>
          <a:lstStyle/>
          <a:p>
            <a:pPr algn="ctr" defTabSz="932472" fontAlgn="base"/>
            <a:r>
              <a:rPr lang="en-IN" sz="2000" b="1" kern="0" dirty="0">
                <a:solidFill>
                  <a:schemeClr val="bg1"/>
                </a:solidFill>
                <a:cs typeface="JF Flat" panose="02000500000000000000" pitchFamily="2" charset="-78"/>
              </a:rPr>
              <a:t>Windows Virtual Desktop</a:t>
            </a:r>
          </a:p>
        </p:txBody>
      </p:sp>
      <p:sp>
        <p:nvSpPr>
          <p:cNvPr id="512" name="Freeform 200">
            <a:extLst>
              <a:ext uri="{FF2B5EF4-FFF2-40B4-BE49-F238E27FC236}">
                <a16:creationId xmlns:a16="http://schemas.microsoft.com/office/drawing/2014/main" id="{430EFF6F-B797-4414-A036-991CDABDE102}"/>
              </a:ext>
            </a:extLst>
          </p:cNvPr>
          <p:cNvSpPr>
            <a:spLocks noChangeArrowheads="1"/>
          </p:cNvSpPr>
          <p:nvPr/>
        </p:nvSpPr>
        <p:spPr bwMode="auto">
          <a:xfrm>
            <a:off x="767285" y="6278383"/>
            <a:ext cx="10657430" cy="285930"/>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1440" tIns="45720" rIns="91440" bIns="4572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ctr" defTabSz="1088105" eaLnBrk="1" fontAlgn="auto" latinLnBrk="0" hangingPunct="1">
              <a:buClrTx/>
              <a:buSzTx/>
              <a:buFontTx/>
              <a:buNone/>
              <a:tabLst/>
              <a:defRPr/>
            </a:pPr>
            <a:endParaRPr kumimoji="0" lang="en-US" sz="1600" b="0" i="0" u="none" strike="noStrike" kern="0" cap="none" spc="0" normalizeH="0" baseline="0" noProof="0">
              <a:ln>
                <a:noFill/>
              </a:ln>
              <a:effectLst/>
              <a:uLnTx/>
              <a:uFillTx/>
              <a:latin typeface="+mn-lt"/>
              <a:cs typeface="JF Flat" panose="02000500000000000000" pitchFamily="2" charset="-78"/>
            </a:endParaRPr>
          </a:p>
        </p:txBody>
      </p:sp>
      <p:sp>
        <p:nvSpPr>
          <p:cNvPr id="523" name="Rectangle 522">
            <a:extLst>
              <a:ext uri="{FF2B5EF4-FFF2-40B4-BE49-F238E27FC236}">
                <a16:creationId xmlns:a16="http://schemas.microsoft.com/office/drawing/2014/main" id="{AB155C75-830B-4988-9DBE-0538A9E83984}"/>
              </a:ext>
            </a:extLst>
          </p:cNvPr>
          <p:cNvSpPr/>
          <p:nvPr/>
        </p:nvSpPr>
        <p:spPr bwMode="auto">
          <a:xfrm>
            <a:off x="975208" y="5287126"/>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a:solidFill>
                  <a:schemeClr val="tx1"/>
                </a:solidFill>
                <a:latin typeface="+mj-lt"/>
                <a:cs typeface="Segoe UI" pitchFamily="34" charset="0"/>
              </a:rPr>
              <a:t>Strong Partner Ecosystem</a:t>
            </a:r>
          </a:p>
        </p:txBody>
      </p:sp>
      <p:grpSp>
        <p:nvGrpSpPr>
          <p:cNvPr id="524" name="Group 523">
            <a:extLst>
              <a:ext uri="{FF2B5EF4-FFF2-40B4-BE49-F238E27FC236}">
                <a16:creationId xmlns:a16="http://schemas.microsoft.com/office/drawing/2014/main" id="{2F21EF8A-7C2B-4B66-A2A6-AB56B2C12551}"/>
              </a:ext>
            </a:extLst>
          </p:cNvPr>
          <p:cNvGrpSpPr>
            <a:grpSpLocks/>
          </p:cNvGrpSpPr>
          <p:nvPr/>
        </p:nvGrpSpPr>
        <p:grpSpPr>
          <a:xfrm>
            <a:off x="1133416" y="5609638"/>
            <a:ext cx="651068" cy="609601"/>
            <a:chOff x="5965396" y="2936940"/>
            <a:chExt cx="3001924" cy="2810728"/>
          </a:xfrm>
          <a:solidFill>
            <a:srgbClr val="BFBFBF"/>
          </a:solidFill>
        </p:grpSpPr>
        <p:sp>
          <p:nvSpPr>
            <p:cNvPr id="984" name="Arc 983">
              <a:extLst>
                <a:ext uri="{FF2B5EF4-FFF2-40B4-BE49-F238E27FC236}">
                  <a16:creationId xmlns:a16="http://schemas.microsoft.com/office/drawing/2014/main" id="{AFCF8BB4-D246-4659-A879-16C81E58B2BB}"/>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985" name="Group 984">
              <a:extLst>
                <a:ext uri="{FF2B5EF4-FFF2-40B4-BE49-F238E27FC236}">
                  <a16:creationId xmlns:a16="http://schemas.microsoft.com/office/drawing/2014/main" id="{932FC739-D2E2-4F8C-BD8D-64F7E8777F77}"/>
                </a:ext>
              </a:extLst>
            </p:cNvPr>
            <p:cNvGrpSpPr/>
            <p:nvPr/>
          </p:nvGrpSpPr>
          <p:grpSpPr>
            <a:xfrm>
              <a:off x="6393887" y="4600791"/>
              <a:ext cx="2131513" cy="969039"/>
              <a:chOff x="6037944" y="4939646"/>
              <a:chExt cx="1762503" cy="801278"/>
            </a:xfrm>
            <a:grpFill/>
          </p:grpSpPr>
          <p:grpSp>
            <p:nvGrpSpPr>
              <p:cNvPr id="1006" name="Group 1005">
                <a:extLst>
                  <a:ext uri="{FF2B5EF4-FFF2-40B4-BE49-F238E27FC236}">
                    <a16:creationId xmlns:a16="http://schemas.microsoft.com/office/drawing/2014/main" id="{E6D44099-770E-49D4-AF5B-D49CD945E409}"/>
                  </a:ext>
                </a:extLst>
              </p:cNvPr>
              <p:cNvGrpSpPr/>
              <p:nvPr/>
            </p:nvGrpSpPr>
            <p:grpSpPr>
              <a:xfrm>
                <a:off x="6056747" y="4972281"/>
                <a:ext cx="1718033" cy="610616"/>
                <a:chOff x="2058988" y="3915711"/>
                <a:chExt cx="1927661" cy="685122"/>
              </a:xfrm>
              <a:grpFill/>
            </p:grpSpPr>
            <p:sp>
              <p:nvSpPr>
                <p:cNvPr id="1018" name="Freeform 6">
                  <a:extLst>
                    <a:ext uri="{FF2B5EF4-FFF2-40B4-BE49-F238E27FC236}">
                      <a16:creationId xmlns:a16="http://schemas.microsoft.com/office/drawing/2014/main" id="{28932484-B036-44CE-BF48-BF33235B2B6B}"/>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19" name="Freeform 7">
                  <a:extLst>
                    <a:ext uri="{FF2B5EF4-FFF2-40B4-BE49-F238E27FC236}">
                      <a16:creationId xmlns:a16="http://schemas.microsoft.com/office/drawing/2014/main" id="{FE7BA1EB-E5AA-4EC9-8D0D-D866501ECBFC}"/>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20" name="Freeform 8">
                  <a:extLst>
                    <a:ext uri="{FF2B5EF4-FFF2-40B4-BE49-F238E27FC236}">
                      <a16:creationId xmlns:a16="http://schemas.microsoft.com/office/drawing/2014/main" id="{F971F508-71D9-47E5-84C9-B5A49A9A39B1}"/>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21" name="Freeform 9">
                  <a:extLst>
                    <a:ext uri="{FF2B5EF4-FFF2-40B4-BE49-F238E27FC236}">
                      <a16:creationId xmlns:a16="http://schemas.microsoft.com/office/drawing/2014/main" id="{E933FA40-FA30-4E2E-A5A8-0E23506643B6}"/>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a:p>
              </p:txBody>
            </p:sp>
            <p:sp>
              <p:nvSpPr>
                <p:cNvPr id="1022" name="Freeform 10">
                  <a:extLst>
                    <a:ext uri="{FF2B5EF4-FFF2-40B4-BE49-F238E27FC236}">
                      <a16:creationId xmlns:a16="http://schemas.microsoft.com/office/drawing/2014/main" id="{06A3DAD4-8B5B-4599-9A06-0994F5F37FD7}"/>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a:p>
              </p:txBody>
            </p:sp>
            <p:sp>
              <p:nvSpPr>
                <p:cNvPr id="1023" name="Freeform 11">
                  <a:extLst>
                    <a:ext uri="{FF2B5EF4-FFF2-40B4-BE49-F238E27FC236}">
                      <a16:creationId xmlns:a16="http://schemas.microsoft.com/office/drawing/2014/main" id="{DB7B4CBC-5677-4E91-9C78-8DACECEA1368}"/>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a:p>
              </p:txBody>
            </p:sp>
            <p:sp>
              <p:nvSpPr>
                <p:cNvPr id="1024" name="Freeform 12">
                  <a:extLst>
                    <a:ext uri="{FF2B5EF4-FFF2-40B4-BE49-F238E27FC236}">
                      <a16:creationId xmlns:a16="http://schemas.microsoft.com/office/drawing/2014/main" id="{D289208E-376A-42DD-AAFC-F1672262CF18}"/>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a:p>
              </p:txBody>
            </p:sp>
            <p:sp>
              <p:nvSpPr>
                <p:cNvPr id="1025" name="Freeform 13">
                  <a:extLst>
                    <a:ext uri="{FF2B5EF4-FFF2-40B4-BE49-F238E27FC236}">
                      <a16:creationId xmlns:a16="http://schemas.microsoft.com/office/drawing/2014/main" id="{B53FFFED-2BCB-4139-8A08-848FA9D97FFF}"/>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a:p>
              </p:txBody>
            </p:sp>
            <p:sp>
              <p:nvSpPr>
                <p:cNvPr id="1026" name="Freeform 14">
                  <a:extLst>
                    <a:ext uri="{FF2B5EF4-FFF2-40B4-BE49-F238E27FC236}">
                      <a16:creationId xmlns:a16="http://schemas.microsoft.com/office/drawing/2014/main" id="{2A065A21-567E-4FD9-8898-BF9942F70BB9}"/>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7" name="Freeform 15">
                  <a:extLst>
                    <a:ext uri="{FF2B5EF4-FFF2-40B4-BE49-F238E27FC236}">
                      <a16:creationId xmlns:a16="http://schemas.microsoft.com/office/drawing/2014/main" id="{F1626A93-D04D-46CF-ABDF-18CA64606995}"/>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a:p>
              </p:txBody>
            </p:sp>
            <p:sp>
              <p:nvSpPr>
                <p:cNvPr id="1028" name="Freeform 16">
                  <a:extLst>
                    <a:ext uri="{FF2B5EF4-FFF2-40B4-BE49-F238E27FC236}">
                      <a16:creationId xmlns:a16="http://schemas.microsoft.com/office/drawing/2014/main" id="{67BC5CAA-FD48-4801-AC52-5B6367889189}"/>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a:p>
              </p:txBody>
            </p:sp>
            <p:sp>
              <p:nvSpPr>
                <p:cNvPr id="1029" name="Freeform 17">
                  <a:extLst>
                    <a:ext uri="{FF2B5EF4-FFF2-40B4-BE49-F238E27FC236}">
                      <a16:creationId xmlns:a16="http://schemas.microsoft.com/office/drawing/2014/main" id="{9E032DF7-E658-420B-8ADC-B72A83F6093C}"/>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0" name="Freeform: Shape 1029">
                  <a:extLst>
                    <a:ext uri="{FF2B5EF4-FFF2-40B4-BE49-F238E27FC236}">
                      <a16:creationId xmlns:a16="http://schemas.microsoft.com/office/drawing/2014/main" id="{C2CD7995-6728-4EA3-B9DD-51191880F579}"/>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031" name="Freeform 19">
                  <a:extLst>
                    <a:ext uri="{FF2B5EF4-FFF2-40B4-BE49-F238E27FC236}">
                      <a16:creationId xmlns:a16="http://schemas.microsoft.com/office/drawing/2014/main" id="{6A69E748-2A74-4BB7-9C95-18171EDC8BC3}"/>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Freeform 20">
                  <a:extLst>
                    <a:ext uri="{FF2B5EF4-FFF2-40B4-BE49-F238E27FC236}">
                      <a16:creationId xmlns:a16="http://schemas.microsoft.com/office/drawing/2014/main" id="{2A3679DB-B155-4799-B9F7-24EE3D27DCB5}"/>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3" name="Freeform 21">
                  <a:extLst>
                    <a:ext uri="{FF2B5EF4-FFF2-40B4-BE49-F238E27FC236}">
                      <a16:creationId xmlns:a16="http://schemas.microsoft.com/office/drawing/2014/main" id="{A453D3C1-6906-45B5-B75E-0AB2604F9174}"/>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34" name="Freeform 23">
                  <a:extLst>
                    <a:ext uri="{FF2B5EF4-FFF2-40B4-BE49-F238E27FC236}">
                      <a16:creationId xmlns:a16="http://schemas.microsoft.com/office/drawing/2014/main" id="{62C20D31-6FF3-4C76-8279-8490F0D9D6EB}"/>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35" name="Freeform 24">
                  <a:extLst>
                    <a:ext uri="{FF2B5EF4-FFF2-40B4-BE49-F238E27FC236}">
                      <a16:creationId xmlns:a16="http://schemas.microsoft.com/office/drawing/2014/main" id="{38050B3C-57E4-4284-8A8B-3632572855D6}"/>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6" name="Freeform: Shape 1035">
                  <a:extLst>
                    <a:ext uri="{FF2B5EF4-FFF2-40B4-BE49-F238E27FC236}">
                      <a16:creationId xmlns:a16="http://schemas.microsoft.com/office/drawing/2014/main" id="{3B1AD61E-2149-49F5-90C2-C18F2E2D0181}"/>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037" name="Freeform 26">
                  <a:extLst>
                    <a:ext uri="{FF2B5EF4-FFF2-40B4-BE49-F238E27FC236}">
                      <a16:creationId xmlns:a16="http://schemas.microsoft.com/office/drawing/2014/main" id="{63E82FC1-4EE9-4B6A-A7EB-F26D973CCB2E}"/>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8" name="Freeform 27">
                  <a:extLst>
                    <a:ext uri="{FF2B5EF4-FFF2-40B4-BE49-F238E27FC236}">
                      <a16:creationId xmlns:a16="http://schemas.microsoft.com/office/drawing/2014/main" id="{26A04532-8BFB-4B2F-97D8-35D098C18642}"/>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9" name="Freeform 28">
                  <a:extLst>
                    <a:ext uri="{FF2B5EF4-FFF2-40B4-BE49-F238E27FC236}">
                      <a16:creationId xmlns:a16="http://schemas.microsoft.com/office/drawing/2014/main" id="{71ABD428-A5A7-40E0-80C0-37AE3DF53DC6}"/>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40" name="Freeform 29">
                  <a:extLst>
                    <a:ext uri="{FF2B5EF4-FFF2-40B4-BE49-F238E27FC236}">
                      <a16:creationId xmlns:a16="http://schemas.microsoft.com/office/drawing/2014/main" id="{C021E89E-E8C3-44EC-BC74-1C0783C1D294}"/>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41" name="Freeform 30">
                  <a:extLst>
                    <a:ext uri="{FF2B5EF4-FFF2-40B4-BE49-F238E27FC236}">
                      <a16:creationId xmlns:a16="http://schemas.microsoft.com/office/drawing/2014/main" id="{81C14E50-26CA-4F74-B797-D46700041FF2}"/>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42" name="Freeform 31">
                  <a:extLst>
                    <a:ext uri="{FF2B5EF4-FFF2-40B4-BE49-F238E27FC236}">
                      <a16:creationId xmlns:a16="http://schemas.microsoft.com/office/drawing/2014/main" id="{2F18B2D9-7722-4134-B5C2-D86B098FEE97}"/>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43" name="Freeform 22">
                  <a:extLst>
                    <a:ext uri="{FF2B5EF4-FFF2-40B4-BE49-F238E27FC236}">
                      <a16:creationId xmlns:a16="http://schemas.microsoft.com/office/drawing/2014/main" id="{974C3592-5362-4201-A038-B3F63A90CA7B}"/>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07" name="Group 1006">
                <a:extLst>
                  <a:ext uri="{FF2B5EF4-FFF2-40B4-BE49-F238E27FC236}">
                    <a16:creationId xmlns:a16="http://schemas.microsoft.com/office/drawing/2014/main" id="{4DCD9B8B-4529-4E48-A068-C0BD9069D958}"/>
                  </a:ext>
                </a:extLst>
              </p:cNvPr>
              <p:cNvGrpSpPr/>
              <p:nvPr/>
            </p:nvGrpSpPr>
            <p:grpSpPr>
              <a:xfrm>
                <a:off x="6037944" y="4939646"/>
                <a:ext cx="1762503" cy="801278"/>
                <a:chOff x="6066224" y="4894724"/>
                <a:chExt cx="2213813" cy="1006455"/>
              </a:xfrm>
              <a:grpFill/>
            </p:grpSpPr>
            <p:grpSp>
              <p:nvGrpSpPr>
                <p:cNvPr id="1008" name="Group 1007">
                  <a:extLst>
                    <a:ext uri="{FF2B5EF4-FFF2-40B4-BE49-F238E27FC236}">
                      <a16:creationId xmlns:a16="http://schemas.microsoft.com/office/drawing/2014/main" id="{0B7F482E-89F1-4E4C-BF21-E607651DD62E}"/>
                    </a:ext>
                  </a:extLst>
                </p:cNvPr>
                <p:cNvGrpSpPr/>
                <p:nvPr/>
              </p:nvGrpSpPr>
              <p:grpSpPr>
                <a:xfrm>
                  <a:off x="6066224" y="4894724"/>
                  <a:ext cx="1082597" cy="1006455"/>
                  <a:chOff x="3869780" y="1229273"/>
                  <a:chExt cx="4710340" cy="4379047"/>
                </a:xfrm>
                <a:grpFill/>
              </p:grpSpPr>
              <p:sp>
                <p:nvSpPr>
                  <p:cNvPr id="1014" name="Freeform: Shape 1013">
                    <a:extLst>
                      <a:ext uri="{FF2B5EF4-FFF2-40B4-BE49-F238E27FC236}">
                        <a16:creationId xmlns:a16="http://schemas.microsoft.com/office/drawing/2014/main" id="{158E6624-61FB-4942-BCB7-57CE13AA2A70}"/>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5" name="Rectangle 1014">
                    <a:extLst>
                      <a:ext uri="{FF2B5EF4-FFF2-40B4-BE49-F238E27FC236}">
                        <a16:creationId xmlns:a16="http://schemas.microsoft.com/office/drawing/2014/main" id="{06EB88D3-1E79-491A-9232-AB594213D25C}"/>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6" name="Freeform: Shape 1015">
                    <a:extLst>
                      <a:ext uri="{FF2B5EF4-FFF2-40B4-BE49-F238E27FC236}">
                        <a16:creationId xmlns:a16="http://schemas.microsoft.com/office/drawing/2014/main" id="{1238C189-6E6A-4839-B42F-4C9A577405CD}"/>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7" name="Freeform: Shape 1016">
                    <a:extLst>
                      <a:ext uri="{FF2B5EF4-FFF2-40B4-BE49-F238E27FC236}">
                        <a16:creationId xmlns:a16="http://schemas.microsoft.com/office/drawing/2014/main" id="{7AA5B4D5-8BF7-4C15-A2B6-4B27423BBB30}"/>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09" name="Group 1008">
                  <a:extLst>
                    <a:ext uri="{FF2B5EF4-FFF2-40B4-BE49-F238E27FC236}">
                      <a16:creationId xmlns:a16="http://schemas.microsoft.com/office/drawing/2014/main" id="{4A100CE9-9EF5-4566-9F6B-CC345F925E2C}"/>
                    </a:ext>
                  </a:extLst>
                </p:cNvPr>
                <p:cNvGrpSpPr/>
                <p:nvPr/>
              </p:nvGrpSpPr>
              <p:grpSpPr>
                <a:xfrm flipH="1">
                  <a:off x="7197440" y="4894724"/>
                  <a:ext cx="1082597" cy="1006455"/>
                  <a:chOff x="3869780" y="1229273"/>
                  <a:chExt cx="4710340" cy="4379047"/>
                </a:xfrm>
                <a:grpFill/>
              </p:grpSpPr>
              <p:sp>
                <p:nvSpPr>
                  <p:cNvPr id="1010" name="Freeform: Shape 1009">
                    <a:extLst>
                      <a:ext uri="{FF2B5EF4-FFF2-40B4-BE49-F238E27FC236}">
                        <a16:creationId xmlns:a16="http://schemas.microsoft.com/office/drawing/2014/main" id="{E2B93D48-4A8E-4A71-A3D8-23926F7F8CC1}"/>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1" name="Rectangle 1010">
                    <a:extLst>
                      <a:ext uri="{FF2B5EF4-FFF2-40B4-BE49-F238E27FC236}">
                        <a16:creationId xmlns:a16="http://schemas.microsoft.com/office/drawing/2014/main" id="{BC00FF74-AFDE-48EA-84D6-926D9825F820}"/>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2" name="Freeform: Shape 1011">
                    <a:extLst>
                      <a:ext uri="{FF2B5EF4-FFF2-40B4-BE49-F238E27FC236}">
                        <a16:creationId xmlns:a16="http://schemas.microsoft.com/office/drawing/2014/main" id="{B6E23205-8B54-4E64-9B36-46FE42973D65}"/>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3" name="Freeform: Shape 1012">
                    <a:extLst>
                      <a:ext uri="{FF2B5EF4-FFF2-40B4-BE49-F238E27FC236}">
                        <a16:creationId xmlns:a16="http://schemas.microsoft.com/office/drawing/2014/main" id="{C63BB3A1-E638-4F10-9B0C-D6A016D951AD}"/>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986" name="Group 985">
              <a:extLst>
                <a:ext uri="{FF2B5EF4-FFF2-40B4-BE49-F238E27FC236}">
                  <a16:creationId xmlns:a16="http://schemas.microsoft.com/office/drawing/2014/main" id="{ED9BB02E-DE7B-48EF-93C5-722B66FAD81F}"/>
                </a:ext>
              </a:extLst>
            </p:cNvPr>
            <p:cNvGrpSpPr/>
            <p:nvPr/>
          </p:nvGrpSpPr>
          <p:grpSpPr>
            <a:xfrm>
              <a:off x="6546812" y="3467555"/>
              <a:ext cx="1806614" cy="1013352"/>
              <a:chOff x="6391393" y="1624932"/>
              <a:chExt cx="1350970" cy="757777"/>
            </a:xfrm>
            <a:grpFill/>
          </p:grpSpPr>
          <p:sp>
            <p:nvSpPr>
              <p:cNvPr id="1004" name="Freeform 119">
                <a:extLst>
                  <a:ext uri="{FF2B5EF4-FFF2-40B4-BE49-F238E27FC236}">
                    <a16:creationId xmlns:a16="http://schemas.microsoft.com/office/drawing/2014/main" id="{CA8665D3-0E1E-4B52-B1D8-DCBB0336786C}"/>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005" name="Freeform 120">
                <a:extLst>
                  <a:ext uri="{FF2B5EF4-FFF2-40B4-BE49-F238E27FC236}">
                    <a16:creationId xmlns:a16="http://schemas.microsoft.com/office/drawing/2014/main" id="{2BCACA4A-7E36-4EEE-95F1-8B696FF5CB89}"/>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grpSp>
          <p:nvGrpSpPr>
            <p:cNvPr id="987" name="Group 986">
              <a:extLst>
                <a:ext uri="{FF2B5EF4-FFF2-40B4-BE49-F238E27FC236}">
                  <a16:creationId xmlns:a16="http://schemas.microsoft.com/office/drawing/2014/main" id="{83A8DE57-156B-46D6-A487-67D600F104E6}"/>
                </a:ext>
              </a:extLst>
            </p:cNvPr>
            <p:cNvGrpSpPr/>
            <p:nvPr/>
          </p:nvGrpSpPr>
          <p:grpSpPr>
            <a:xfrm>
              <a:off x="5965396" y="4132683"/>
              <a:ext cx="389280" cy="389280"/>
              <a:chOff x="5999956" y="4167243"/>
              <a:chExt cx="320160" cy="320160"/>
            </a:xfrm>
            <a:grpFill/>
          </p:grpSpPr>
          <p:sp>
            <p:nvSpPr>
              <p:cNvPr id="1002" name="Oval 1001">
                <a:extLst>
                  <a:ext uri="{FF2B5EF4-FFF2-40B4-BE49-F238E27FC236}">
                    <a16:creationId xmlns:a16="http://schemas.microsoft.com/office/drawing/2014/main" id="{AA660F7D-27A7-4368-8044-E67B263FAAAB}"/>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003" name="Freeform 339">
                <a:extLst>
                  <a:ext uri="{FF2B5EF4-FFF2-40B4-BE49-F238E27FC236}">
                    <a16:creationId xmlns:a16="http://schemas.microsoft.com/office/drawing/2014/main" id="{C2820094-87A8-4CB4-9EE6-2F1C272020B1}"/>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988" name="Group 987">
              <a:extLst>
                <a:ext uri="{FF2B5EF4-FFF2-40B4-BE49-F238E27FC236}">
                  <a16:creationId xmlns:a16="http://schemas.microsoft.com/office/drawing/2014/main" id="{D873F41D-7B08-4F20-89CD-F3E62C4A0594}"/>
                </a:ext>
              </a:extLst>
            </p:cNvPr>
            <p:cNvGrpSpPr/>
            <p:nvPr/>
          </p:nvGrpSpPr>
          <p:grpSpPr>
            <a:xfrm>
              <a:off x="8249851" y="3414960"/>
              <a:ext cx="389280" cy="389280"/>
              <a:chOff x="8616644" y="4279108"/>
              <a:chExt cx="320160" cy="320160"/>
            </a:xfrm>
            <a:grpFill/>
          </p:grpSpPr>
          <p:sp>
            <p:nvSpPr>
              <p:cNvPr id="999" name="Oval 998">
                <a:extLst>
                  <a:ext uri="{FF2B5EF4-FFF2-40B4-BE49-F238E27FC236}">
                    <a16:creationId xmlns:a16="http://schemas.microsoft.com/office/drawing/2014/main" id="{C51ED7FC-7D9B-4751-9C7F-265E8E6A0A60}"/>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000" name="Freeform 324">
                <a:extLst>
                  <a:ext uri="{FF2B5EF4-FFF2-40B4-BE49-F238E27FC236}">
                    <a16:creationId xmlns:a16="http://schemas.microsoft.com/office/drawing/2014/main" id="{A98B365B-2608-4730-9E7E-792DE514B264}"/>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3F3F3F"/>
                  </a:solidFill>
                  <a:effectLst/>
                  <a:uLnTx/>
                  <a:uFillTx/>
                  <a:latin typeface="Segoe UI"/>
                  <a:ea typeface="+mn-ea"/>
                  <a:cs typeface="+mn-cs"/>
                </a:endParaRPr>
              </a:p>
            </p:txBody>
          </p:sp>
          <p:sp>
            <p:nvSpPr>
              <p:cNvPr id="1001" name="Freeform 324">
                <a:extLst>
                  <a:ext uri="{FF2B5EF4-FFF2-40B4-BE49-F238E27FC236}">
                    <a16:creationId xmlns:a16="http://schemas.microsoft.com/office/drawing/2014/main" id="{3CB452B9-EF36-4B8B-BE70-9ACF58D70892}"/>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989" name="Group 988">
              <a:extLst>
                <a:ext uri="{FF2B5EF4-FFF2-40B4-BE49-F238E27FC236}">
                  <a16:creationId xmlns:a16="http://schemas.microsoft.com/office/drawing/2014/main" id="{34586C05-5FDD-4327-B429-91B908F50A70}"/>
                </a:ext>
              </a:extLst>
            </p:cNvPr>
            <p:cNvGrpSpPr/>
            <p:nvPr/>
          </p:nvGrpSpPr>
          <p:grpSpPr>
            <a:xfrm>
              <a:off x="6310201" y="3304407"/>
              <a:ext cx="389280" cy="389280"/>
              <a:chOff x="6344761" y="3338967"/>
              <a:chExt cx="320160" cy="320160"/>
            </a:xfrm>
            <a:grpFill/>
          </p:grpSpPr>
          <p:sp>
            <p:nvSpPr>
              <p:cNvPr id="996" name="Oval 995">
                <a:extLst>
                  <a:ext uri="{FF2B5EF4-FFF2-40B4-BE49-F238E27FC236}">
                    <a16:creationId xmlns:a16="http://schemas.microsoft.com/office/drawing/2014/main" id="{97CA1139-C13E-42BF-A54C-C521B4C663EB}"/>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97" name="Freeform 440">
                <a:extLst>
                  <a:ext uri="{FF2B5EF4-FFF2-40B4-BE49-F238E27FC236}">
                    <a16:creationId xmlns:a16="http://schemas.microsoft.com/office/drawing/2014/main" id="{0DD72627-8B78-4A26-83F2-D4CDBB17841F}"/>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98" name="Freeform 441">
                <a:extLst>
                  <a:ext uri="{FF2B5EF4-FFF2-40B4-BE49-F238E27FC236}">
                    <a16:creationId xmlns:a16="http://schemas.microsoft.com/office/drawing/2014/main" id="{1291C797-7A58-4AD3-A291-B1709B1D49A6}"/>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990" name="Group 989">
              <a:extLst>
                <a:ext uri="{FF2B5EF4-FFF2-40B4-BE49-F238E27FC236}">
                  <a16:creationId xmlns:a16="http://schemas.microsoft.com/office/drawing/2014/main" id="{614A947F-4FB5-4EC6-9765-9BE7CB7A7C3F}"/>
                </a:ext>
              </a:extLst>
            </p:cNvPr>
            <p:cNvGrpSpPr/>
            <p:nvPr/>
          </p:nvGrpSpPr>
          <p:grpSpPr>
            <a:xfrm>
              <a:off x="7307066" y="2936940"/>
              <a:ext cx="389134" cy="389134"/>
              <a:chOff x="9322484" y="3467555"/>
              <a:chExt cx="557223" cy="557223"/>
            </a:xfrm>
            <a:grpFill/>
          </p:grpSpPr>
          <p:sp>
            <p:nvSpPr>
              <p:cNvPr id="994" name="Oval 993">
                <a:extLst>
                  <a:ext uri="{FF2B5EF4-FFF2-40B4-BE49-F238E27FC236}">
                    <a16:creationId xmlns:a16="http://schemas.microsoft.com/office/drawing/2014/main" id="{7D15ED5C-4E0D-4221-B15C-1092B8722A75}"/>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5" name="Rectangle 74">
                <a:extLst>
                  <a:ext uri="{FF2B5EF4-FFF2-40B4-BE49-F238E27FC236}">
                    <a16:creationId xmlns:a16="http://schemas.microsoft.com/office/drawing/2014/main" id="{D99BDC9D-6C1C-4847-93D0-964E0C2A9454}"/>
                  </a:ext>
                </a:extLst>
              </p:cNvPr>
              <p:cNvSpPr/>
              <p:nvPr>
                <p:custDataLst>
                  <p:tags r:id="rId7"/>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991" name="Group 990">
              <a:extLst>
                <a:ext uri="{FF2B5EF4-FFF2-40B4-BE49-F238E27FC236}">
                  <a16:creationId xmlns:a16="http://schemas.microsoft.com/office/drawing/2014/main" id="{4D7652E5-3755-484D-842F-D5E421166412}"/>
                </a:ext>
              </a:extLst>
            </p:cNvPr>
            <p:cNvGrpSpPr/>
            <p:nvPr/>
          </p:nvGrpSpPr>
          <p:grpSpPr>
            <a:xfrm>
              <a:off x="8578186" y="4208712"/>
              <a:ext cx="389134" cy="389134"/>
              <a:chOff x="8225290" y="3217894"/>
              <a:chExt cx="621190" cy="621190"/>
            </a:xfrm>
            <a:grpFill/>
          </p:grpSpPr>
          <p:sp>
            <p:nvSpPr>
              <p:cNvPr id="992" name="Oval 991">
                <a:extLst>
                  <a:ext uri="{FF2B5EF4-FFF2-40B4-BE49-F238E27FC236}">
                    <a16:creationId xmlns:a16="http://schemas.microsoft.com/office/drawing/2014/main" id="{018AB9ED-ACB0-46D8-9F3B-978E84659A9F}"/>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3" name="Rounded Rectangle 4">
                <a:extLst>
                  <a:ext uri="{FF2B5EF4-FFF2-40B4-BE49-F238E27FC236}">
                    <a16:creationId xmlns:a16="http://schemas.microsoft.com/office/drawing/2014/main" id="{3B8DD3D4-BCFB-4904-AFDA-2E79695A29FD}"/>
                  </a:ext>
                </a:extLst>
              </p:cNvPr>
              <p:cNvSpPr/>
              <p:nvPr>
                <p:custDataLst>
                  <p:tags r:id="rId6"/>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525" name="TextBox 524">
            <a:extLst>
              <a:ext uri="{FF2B5EF4-FFF2-40B4-BE49-F238E27FC236}">
                <a16:creationId xmlns:a16="http://schemas.microsoft.com/office/drawing/2014/main" id="{66659535-34F7-4C4B-8318-1D7346D8F519}"/>
              </a:ext>
            </a:extLst>
          </p:cNvPr>
          <p:cNvSpPr txBox="1"/>
          <p:nvPr/>
        </p:nvSpPr>
        <p:spPr>
          <a:xfrm>
            <a:off x="3178754" y="5599952"/>
            <a:ext cx="5834492" cy="307777"/>
          </a:xfrm>
          <a:prstGeom prst="rect">
            <a:avLst/>
          </a:prstGeom>
          <a:noFill/>
        </p:spPr>
        <p:txBody>
          <a:bodyPr wrap="square" lIns="91440" tIns="45720" rIns="91440" bIns="45720" rtlCol="0" anchor="ctr">
            <a:spAutoFit/>
          </a:bodyPr>
          <a:lstStyle/>
          <a:p>
            <a:pPr algn="ctr" defTabSz="914501">
              <a:spcAft>
                <a:spcPts val="588"/>
              </a:spcAft>
            </a:pPr>
            <a:r>
              <a:rPr lang="en-US" sz="1400"/>
              <a:t>Extensive, Integrated, &amp; Experienced</a:t>
            </a:r>
          </a:p>
        </p:txBody>
      </p:sp>
      <p:grpSp>
        <p:nvGrpSpPr>
          <p:cNvPr id="526" name="Group 525">
            <a:extLst>
              <a:ext uri="{FF2B5EF4-FFF2-40B4-BE49-F238E27FC236}">
                <a16:creationId xmlns:a16="http://schemas.microsoft.com/office/drawing/2014/main" id="{97FD3ABC-7A38-4009-90B9-60DEAF1B5082}"/>
              </a:ext>
            </a:extLst>
          </p:cNvPr>
          <p:cNvGrpSpPr/>
          <p:nvPr/>
        </p:nvGrpSpPr>
        <p:grpSpPr>
          <a:xfrm>
            <a:off x="1133416" y="5609638"/>
            <a:ext cx="651068" cy="609601"/>
            <a:chOff x="5965396" y="2936940"/>
            <a:chExt cx="3001924" cy="2810728"/>
          </a:xfrm>
        </p:grpSpPr>
        <p:sp>
          <p:nvSpPr>
            <p:cNvPr id="924" name="Arc 923">
              <a:extLst>
                <a:ext uri="{FF2B5EF4-FFF2-40B4-BE49-F238E27FC236}">
                  <a16:creationId xmlns:a16="http://schemas.microsoft.com/office/drawing/2014/main" id="{1A58D13F-F5F5-4F11-B0DA-E4FA880C08AC}"/>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925" name="Group 924">
              <a:extLst>
                <a:ext uri="{FF2B5EF4-FFF2-40B4-BE49-F238E27FC236}">
                  <a16:creationId xmlns:a16="http://schemas.microsoft.com/office/drawing/2014/main" id="{8DBC99BE-E06F-4F54-9BC7-45ACFA5EB0C5}"/>
                </a:ext>
              </a:extLst>
            </p:cNvPr>
            <p:cNvGrpSpPr/>
            <p:nvPr/>
          </p:nvGrpSpPr>
          <p:grpSpPr>
            <a:xfrm>
              <a:off x="6393887" y="4600791"/>
              <a:ext cx="2131513" cy="969039"/>
              <a:chOff x="6037944" y="4939646"/>
              <a:chExt cx="1762503" cy="801278"/>
            </a:xfrm>
          </p:grpSpPr>
          <p:grpSp>
            <p:nvGrpSpPr>
              <p:cNvPr id="946" name="Group 945">
                <a:extLst>
                  <a:ext uri="{FF2B5EF4-FFF2-40B4-BE49-F238E27FC236}">
                    <a16:creationId xmlns:a16="http://schemas.microsoft.com/office/drawing/2014/main" id="{9A433A37-2DE3-40DF-BA96-45B028FFA93D}"/>
                  </a:ext>
                </a:extLst>
              </p:cNvPr>
              <p:cNvGrpSpPr/>
              <p:nvPr/>
            </p:nvGrpSpPr>
            <p:grpSpPr>
              <a:xfrm>
                <a:off x="6056747" y="4972281"/>
                <a:ext cx="1718033" cy="610616"/>
                <a:chOff x="2058988" y="3915711"/>
                <a:chExt cx="1927661" cy="685122"/>
              </a:xfrm>
            </p:grpSpPr>
            <p:sp>
              <p:nvSpPr>
                <p:cNvPr id="958" name="Freeform 6">
                  <a:extLst>
                    <a:ext uri="{FF2B5EF4-FFF2-40B4-BE49-F238E27FC236}">
                      <a16:creationId xmlns:a16="http://schemas.microsoft.com/office/drawing/2014/main" id="{BFE70A64-DFB3-48C8-B7CB-53322B13D1BA}"/>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a:p>
              </p:txBody>
            </p:sp>
            <p:sp>
              <p:nvSpPr>
                <p:cNvPr id="959" name="Freeform 7">
                  <a:extLst>
                    <a:ext uri="{FF2B5EF4-FFF2-40B4-BE49-F238E27FC236}">
                      <a16:creationId xmlns:a16="http://schemas.microsoft.com/office/drawing/2014/main" id="{5BDC72E9-F3F8-40C2-9512-55BBB6A0EC2B}"/>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a:p>
              </p:txBody>
            </p:sp>
            <p:sp>
              <p:nvSpPr>
                <p:cNvPr id="960" name="Freeform 8">
                  <a:extLst>
                    <a:ext uri="{FF2B5EF4-FFF2-40B4-BE49-F238E27FC236}">
                      <a16:creationId xmlns:a16="http://schemas.microsoft.com/office/drawing/2014/main" id="{23E6B491-BCFD-4D33-8839-5A40E9D6401B}"/>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a:p>
              </p:txBody>
            </p:sp>
            <p:sp>
              <p:nvSpPr>
                <p:cNvPr id="961" name="Freeform 9">
                  <a:extLst>
                    <a:ext uri="{FF2B5EF4-FFF2-40B4-BE49-F238E27FC236}">
                      <a16:creationId xmlns:a16="http://schemas.microsoft.com/office/drawing/2014/main" id="{68F41FD1-D250-4705-8186-C354DC9748A9}"/>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a:p>
              </p:txBody>
            </p:sp>
            <p:sp>
              <p:nvSpPr>
                <p:cNvPr id="962" name="Freeform 10">
                  <a:extLst>
                    <a:ext uri="{FF2B5EF4-FFF2-40B4-BE49-F238E27FC236}">
                      <a16:creationId xmlns:a16="http://schemas.microsoft.com/office/drawing/2014/main" id="{EC89AE55-D32A-4293-A95B-0943689CF913}"/>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a:p>
              </p:txBody>
            </p:sp>
            <p:sp>
              <p:nvSpPr>
                <p:cNvPr id="963" name="Freeform 11">
                  <a:extLst>
                    <a:ext uri="{FF2B5EF4-FFF2-40B4-BE49-F238E27FC236}">
                      <a16:creationId xmlns:a16="http://schemas.microsoft.com/office/drawing/2014/main" id="{F3AEEB86-9942-429F-8619-22F8938B9954}"/>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a:p>
              </p:txBody>
            </p:sp>
            <p:sp>
              <p:nvSpPr>
                <p:cNvPr id="964" name="Freeform 12">
                  <a:extLst>
                    <a:ext uri="{FF2B5EF4-FFF2-40B4-BE49-F238E27FC236}">
                      <a16:creationId xmlns:a16="http://schemas.microsoft.com/office/drawing/2014/main" id="{ADE5E103-830C-467A-8125-365EDF6DC288}"/>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a:p>
              </p:txBody>
            </p:sp>
            <p:sp>
              <p:nvSpPr>
                <p:cNvPr id="965" name="Freeform 13">
                  <a:extLst>
                    <a:ext uri="{FF2B5EF4-FFF2-40B4-BE49-F238E27FC236}">
                      <a16:creationId xmlns:a16="http://schemas.microsoft.com/office/drawing/2014/main" id="{3D69257F-39B3-48BA-BA9D-29D8FFAA18B0}"/>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a:p>
              </p:txBody>
            </p:sp>
            <p:sp>
              <p:nvSpPr>
                <p:cNvPr id="966" name="Freeform 14">
                  <a:extLst>
                    <a:ext uri="{FF2B5EF4-FFF2-40B4-BE49-F238E27FC236}">
                      <a16:creationId xmlns:a16="http://schemas.microsoft.com/office/drawing/2014/main" id="{A209BAC7-6128-4364-B93D-80BE9F6D7727}"/>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7" name="Freeform 15">
                  <a:extLst>
                    <a:ext uri="{FF2B5EF4-FFF2-40B4-BE49-F238E27FC236}">
                      <a16:creationId xmlns:a16="http://schemas.microsoft.com/office/drawing/2014/main" id="{A7F71B11-05F3-4B63-A66B-8B1E68FCE741}"/>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a:p>
              </p:txBody>
            </p:sp>
            <p:sp>
              <p:nvSpPr>
                <p:cNvPr id="968" name="Freeform 16">
                  <a:extLst>
                    <a:ext uri="{FF2B5EF4-FFF2-40B4-BE49-F238E27FC236}">
                      <a16:creationId xmlns:a16="http://schemas.microsoft.com/office/drawing/2014/main" id="{F160696A-015E-4CFE-B662-D576B80E4729}"/>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a:p>
              </p:txBody>
            </p:sp>
            <p:sp>
              <p:nvSpPr>
                <p:cNvPr id="969" name="Freeform 17">
                  <a:extLst>
                    <a:ext uri="{FF2B5EF4-FFF2-40B4-BE49-F238E27FC236}">
                      <a16:creationId xmlns:a16="http://schemas.microsoft.com/office/drawing/2014/main" id="{B664E95C-230E-4AFF-90B3-289D14B690D9}"/>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Freeform: Shape 969">
                  <a:extLst>
                    <a:ext uri="{FF2B5EF4-FFF2-40B4-BE49-F238E27FC236}">
                      <a16:creationId xmlns:a16="http://schemas.microsoft.com/office/drawing/2014/main" id="{F734F266-16E8-406F-8B9E-D07B8B8963F6}"/>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71" name="Freeform 19">
                  <a:extLst>
                    <a:ext uri="{FF2B5EF4-FFF2-40B4-BE49-F238E27FC236}">
                      <a16:creationId xmlns:a16="http://schemas.microsoft.com/office/drawing/2014/main" id="{D2ADC3C8-A824-4BE2-BED4-9E1F6A5114B5}"/>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Freeform 20">
                  <a:extLst>
                    <a:ext uri="{FF2B5EF4-FFF2-40B4-BE49-F238E27FC236}">
                      <a16:creationId xmlns:a16="http://schemas.microsoft.com/office/drawing/2014/main" id="{AB6DDCB5-4AF5-436E-AC80-31F0A353C160}"/>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3" name="Freeform 21">
                  <a:extLst>
                    <a:ext uri="{FF2B5EF4-FFF2-40B4-BE49-F238E27FC236}">
                      <a16:creationId xmlns:a16="http://schemas.microsoft.com/office/drawing/2014/main" id="{57DD8FB3-A39C-4144-A0B2-0ED1235F5152}"/>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a:p>
              </p:txBody>
            </p:sp>
            <p:sp>
              <p:nvSpPr>
                <p:cNvPr id="974" name="Freeform 23">
                  <a:extLst>
                    <a:ext uri="{FF2B5EF4-FFF2-40B4-BE49-F238E27FC236}">
                      <a16:creationId xmlns:a16="http://schemas.microsoft.com/office/drawing/2014/main" id="{3A6A77A0-2EDC-42DD-BDA7-038A89B2996C}"/>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a:p>
              </p:txBody>
            </p:sp>
            <p:sp>
              <p:nvSpPr>
                <p:cNvPr id="975" name="Freeform 24">
                  <a:extLst>
                    <a:ext uri="{FF2B5EF4-FFF2-40B4-BE49-F238E27FC236}">
                      <a16:creationId xmlns:a16="http://schemas.microsoft.com/office/drawing/2014/main" id="{A3738DD1-512B-4CA9-9669-9F3E4C1F3E10}"/>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6" name="Freeform: Shape 975">
                  <a:extLst>
                    <a:ext uri="{FF2B5EF4-FFF2-40B4-BE49-F238E27FC236}">
                      <a16:creationId xmlns:a16="http://schemas.microsoft.com/office/drawing/2014/main" id="{2F38F437-EA6A-4213-8268-44A88A13B385}"/>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77" name="Freeform 26">
                  <a:extLst>
                    <a:ext uri="{FF2B5EF4-FFF2-40B4-BE49-F238E27FC236}">
                      <a16:creationId xmlns:a16="http://schemas.microsoft.com/office/drawing/2014/main" id="{4F60A9BE-59A4-4694-8E0B-8569DC840820}"/>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solidFill>
                  <a:srgbClr val="D7D7D7"/>
                </a:solid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8" name="Freeform 27">
                  <a:extLst>
                    <a:ext uri="{FF2B5EF4-FFF2-40B4-BE49-F238E27FC236}">
                      <a16:creationId xmlns:a16="http://schemas.microsoft.com/office/drawing/2014/main" id="{927A5E37-46E2-4E7C-BEC4-C9A8142D5B21}"/>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9" name="Freeform 28">
                  <a:extLst>
                    <a:ext uri="{FF2B5EF4-FFF2-40B4-BE49-F238E27FC236}">
                      <a16:creationId xmlns:a16="http://schemas.microsoft.com/office/drawing/2014/main" id="{4A81B5B5-C06E-41E8-A055-709799AF18C8}"/>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a:p>
              </p:txBody>
            </p:sp>
            <p:sp>
              <p:nvSpPr>
                <p:cNvPr id="980" name="Freeform 29">
                  <a:extLst>
                    <a:ext uri="{FF2B5EF4-FFF2-40B4-BE49-F238E27FC236}">
                      <a16:creationId xmlns:a16="http://schemas.microsoft.com/office/drawing/2014/main" id="{CB0D47D7-F04E-4518-9CA9-15ABB3A9C4D9}"/>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a:p>
              </p:txBody>
            </p:sp>
            <p:sp>
              <p:nvSpPr>
                <p:cNvPr id="981" name="Freeform 30">
                  <a:extLst>
                    <a:ext uri="{FF2B5EF4-FFF2-40B4-BE49-F238E27FC236}">
                      <a16:creationId xmlns:a16="http://schemas.microsoft.com/office/drawing/2014/main" id="{E14A276A-FF5F-4C2D-AA65-3AE89CB68120}"/>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a:p>
              </p:txBody>
            </p:sp>
            <p:sp>
              <p:nvSpPr>
                <p:cNvPr id="982" name="Freeform 31">
                  <a:extLst>
                    <a:ext uri="{FF2B5EF4-FFF2-40B4-BE49-F238E27FC236}">
                      <a16:creationId xmlns:a16="http://schemas.microsoft.com/office/drawing/2014/main" id="{829E3C03-E473-4CD7-8EEB-76013128E269}"/>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a:p>
              </p:txBody>
            </p:sp>
            <p:sp>
              <p:nvSpPr>
                <p:cNvPr id="983" name="Freeform 22">
                  <a:extLst>
                    <a:ext uri="{FF2B5EF4-FFF2-40B4-BE49-F238E27FC236}">
                      <a16:creationId xmlns:a16="http://schemas.microsoft.com/office/drawing/2014/main" id="{E23D2238-1984-4D47-BB8A-F4A1D8C926C9}"/>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47" name="Group 946">
                <a:extLst>
                  <a:ext uri="{FF2B5EF4-FFF2-40B4-BE49-F238E27FC236}">
                    <a16:creationId xmlns:a16="http://schemas.microsoft.com/office/drawing/2014/main" id="{2BEEC669-173C-4123-8E6B-CBDEDB33DB92}"/>
                  </a:ext>
                </a:extLst>
              </p:cNvPr>
              <p:cNvGrpSpPr/>
              <p:nvPr/>
            </p:nvGrpSpPr>
            <p:grpSpPr>
              <a:xfrm>
                <a:off x="6037944" y="4939646"/>
                <a:ext cx="1762503" cy="801278"/>
                <a:chOff x="6066224" y="4894724"/>
                <a:chExt cx="2213813" cy="1006455"/>
              </a:xfrm>
            </p:grpSpPr>
            <p:grpSp>
              <p:nvGrpSpPr>
                <p:cNvPr id="948" name="Group 947">
                  <a:extLst>
                    <a:ext uri="{FF2B5EF4-FFF2-40B4-BE49-F238E27FC236}">
                      <a16:creationId xmlns:a16="http://schemas.microsoft.com/office/drawing/2014/main" id="{341C90FA-12A6-4B7C-9A72-C99AA77E84E7}"/>
                    </a:ext>
                  </a:extLst>
                </p:cNvPr>
                <p:cNvGrpSpPr/>
                <p:nvPr/>
              </p:nvGrpSpPr>
              <p:grpSpPr>
                <a:xfrm>
                  <a:off x="6066224" y="4894724"/>
                  <a:ext cx="1082597" cy="1006455"/>
                  <a:chOff x="3869780" y="1229273"/>
                  <a:chExt cx="4710340" cy="4379047"/>
                </a:xfrm>
              </p:grpSpPr>
              <p:sp>
                <p:nvSpPr>
                  <p:cNvPr id="954" name="Freeform: Shape 953">
                    <a:extLst>
                      <a:ext uri="{FF2B5EF4-FFF2-40B4-BE49-F238E27FC236}">
                        <a16:creationId xmlns:a16="http://schemas.microsoft.com/office/drawing/2014/main" id="{72085BC1-0BE8-4483-BD86-26A762B2D60F}"/>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5" name="Rectangle 954">
                    <a:extLst>
                      <a:ext uri="{FF2B5EF4-FFF2-40B4-BE49-F238E27FC236}">
                        <a16:creationId xmlns:a16="http://schemas.microsoft.com/office/drawing/2014/main" id="{4DF1841B-4FC2-454D-A721-6951E9A1E252}"/>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6" name="Freeform: Shape 955">
                    <a:extLst>
                      <a:ext uri="{FF2B5EF4-FFF2-40B4-BE49-F238E27FC236}">
                        <a16:creationId xmlns:a16="http://schemas.microsoft.com/office/drawing/2014/main" id="{47448410-6542-4C54-A4EC-F4C5032FBE8C}"/>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7" name="Freeform: Shape 956">
                    <a:extLst>
                      <a:ext uri="{FF2B5EF4-FFF2-40B4-BE49-F238E27FC236}">
                        <a16:creationId xmlns:a16="http://schemas.microsoft.com/office/drawing/2014/main" id="{81DF6A33-7DD2-4CDD-8300-9484E9D288B3}"/>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49" name="Group 948">
                  <a:extLst>
                    <a:ext uri="{FF2B5EF4-FFF2-40B4-BE49-F238E27FC236}">
                      <a16:creationId xmlns:a16="http://schemas.microsoft.com/office/drawing/2014/main" id="{BD4B7C88-4D0E-4B97-BC46-8C8EA8A2201E}"/>
                    </a:ext>
                  </a:extLst>
                </p:cNvPr>
                <p:cNvGrpSpPr/>
                <p:nvPr/>
              </p:nvGrpSpPr>
              <p:grpSpPr>
                <a:xfrm flipH="1">
                  <a:off x="7197440" y="4894724"/>
                  <a:ext cx="1082597" cy="1006455"/>
                  <a:chOff x="3869780" y="1229273"/>
                  <a:chExt cx="4710340" cy="4379047"/>
                </a:xfrm>
              </p:grpSpPr>
              <p:sp>
                <p:nvSpPr>
                  <p:cNvPr id="950" name="Freeform: Shape 949">
                    <a:extLst>
                      <a:ext uri="{FF2B5EF4-FFF2-40B4-BE49-F238E27FC236}">
                        <a16:creationId xmlns:a16="http://schemas.microsoft.com/office/drawing/2014/main" id="{0CECD21B-37B3-4481-8D2E-C7FDE51D8B4D}"/>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1" name="Rectangle 950">
                    <a:extLst>
                      <a:ext uri="{FF2B5EF4-FFF2-40B4-BE49-F238E27FC236}">
                        <a16:creationId xmlns:a16="http://schemas.microsoft.com/office/drawing/2014/main" id="{D12EC2BA-43F1-486B-82A8-3515CAAB1FAB}"/>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2" name="Freeform: Shape 951">
                    <a:extLst>
                      <a:ext uri="{FF2B5EF4-FFF2-40B4-BE49-F238E27FC236}">
                        <a16:creationId xmlns:a16="http://schemas.microsoft.com/office/drawing/2014/main" id="{84A89ABB-9618-46BD-8E87-282337D34680}"/>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3" name="Freeform: Shape 952">
                    <a:extLst>
                      <a:ext uri="{FF2B5EF4-FFF2-40B4-BE49-F238E27FC236}">
                        <a16:creationId xmlns:a16="http://schemas.microsoft.com/office/drawing/2014/main" id="{3BF0CAAB-C733-4839-97CE-355B97EEDF41}"/>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926" name="Group 925">
              <a:extLst>
                <a:ext uri="{FF2B5EF4-FFF2-40B4-BE49-F238E27FC236}">
                  <a16:creationId xmlns:a16="http://schemas.microsoft.com/office/drawing/2014/main" id="{C0FEC49D-70AE-4036-ADAF-6B4730C8D1C7}"/>
                </a:ext>
              </a:extLst>
            </p:cNvPr>
            <p:cNvGrpSpPr/>
            <p:nvPr/>
          </p:nvGrpSpPr>
          <p:grpSpPr>
            <a:xfrm>
              <a:off x="6546812" y="3467555"/>
              <a:ext cx="1806614" cy="1013352"/>
              <a:chOff x="6391393" y="1624932"/>
              <a:chExt cx="1350970" cy="757777"/>
            </a:xfrm>
          </p:grpSpPr>
          <p:sp>
            <p:nvSpPr>
              <p:cNvPr id="944" name="Freeform 119">
                <a:extLst>
                  <a:ext uri="{FF2B5EF4-FFF2-40B4-BE49-F238E27FC236}">
                    <a16:creationId xmlns:a16="http://schemas.microsoft.com/office/drawing/2014/main" id="{0A487C93-5800-46BE-B4FC-A678C0E8328E}"/>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AB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945" name="Freeform 120">
                <a:extLst>
                  <a:ext uri="{FF2B5EF4-FFF2-40B4-BE49-F238E27FC236}">
                    <a16:creationId xmlns:a16="http://schemas.microsoft.com/office/drawing/2014/main" id="{961CCB53-50A6-4774-B6E8-39EF3EFCF3D3}"/>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grpSp>
          <p:nvGrpSpPr>
            <p:cNvPr id="927" name="Group 926">
              <a:extLst>
                <a:ext uri="{FF2B5EF4-FFF2-40B4-BE49-F238E27FC236}">
                  <a16:creationId xmlns:a16="http://schemas.microsoft.com/office/drawing/2014/main" id="{D5EA10CB-FEA4-4667-821E-01FE53C292F4}"/>
                </a:ext>
              </a:extLst>
            </p:cNvPr>
            <p:cNvGrpSpPr/>
            <p:nvPr/>
          </p:nvGrpSpPr>
          <p:grpSpPr>
            <a:xfrm>
              <a:off x="5965396" y="4132683"/>
              <a:ext cx="389280" cy="389280"/>
              <a:chOff x="5999956" y="4167243"/>
              <a:chExt cx="320160" cy="320160"/>
            </a:xfrm>
          </p:grpSpPr>
          <p:sp>
            <p:nvSpPr>
              <p:cNvPr id="942" name="Oval 941">
                <a:extLst>
                  <a:ext uri="{FF2B5EF4-FFF2-40B4-BE49-F238E27FC236}">
                    <a16:creationId xmlns:a16="http://schemas.microsoft.com/office/drawing/2014/main" id="{97624AF8-35E1-4688-ABD6-81B4E3101C18}"/>
                  </a:ext>
                </a:extLst>
              </p:cNvPr>
              <p:cNvSpPr/>
              <p:nvPr/>
            </p:nvSpPr>
            <p:spPr bwMode="auto">
              <a:xfrm>
                <a:off x="5999956" y="4167243"/>
                <a:ext cx="320160" cy="320160"/>
              </a:xfrm>
              <a:prstGeom prst="ellipse">
                <a:avLst/>
              </a:prstGeom>
              <a:solidFill>
                <a:srgbClr val="02BBF3"/>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43" name="Freeform 339">
                <a:extLst>
                  <a:ext uri="{FF2B5EF4-FFF2-40B4-BE49-F238E27FC236}">
                    <a16:creationId xmlns:a16="http://schemas.microsoft.com/office/drawing/2014/main" id="{9760A474-940C-4415-8F34-39B8699C2A64}"/>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928" name="Group 927">
              <a:extLst>
                <a:ext uri="{FF2B5EF4-FFF2-40B4-BE49-F238E27FC236}">
                  <a16:creationId xmlns:a16="http://schemas.microsoft.com/office/drawing/2014/main" id="{8B1E54AC-F49D-4757-8522-1EAF8DE23C16}"/>
                </a:ext>
              </a:extLst>
            </p:cNvPr>
            <p:cNvGrpSpPr/>
            <p:nvPr/>
          </p:nvGrpSpPr>
          <p:grpSpPr>
            <a:xfrm>
              <a:off x="8249851" y="3414960"/>
              <a:ext cx="389280" cy="389280"/>
              <a:chOff x="8616644" y="4279108"/>
              <a:chExt cx="320160" cy="320160"/>
            </a:xfrm>
          </p:grpSpPr>
          <p:sp>
            <p:nvSpPr>
              <p:cNvPr id="939" name="Oval 938">
                <a:extLst>
                  <a:ext uri="{FF2B5EF4-FFF2-40B4-BE49-F238E27FC236}">
                    <a16:creationId xmlns:a16="http://schemas.microsoft.com/office/drawing/2014/main" id="{E7E73898-7D86-4E97-9570-67755E751D14}"/>
                  </a:ext>
                </a:extLst>
              </p:cNvPr>
              <p:cNvSpPr/>
              <p:nvPr/>
            </p:nvSpPr>
            <p:spPr bwMode="auto">
              <a:xfrm>
                <a:off x="8616644" y="4279108"/>
                <a:ext cx="320160" cy="320160"/>
              </a:xfrm>
              <a:prstGeom prst="ellipse">
                <a:avLst/>
              </a:prstGeom>
              <a:solidFill>
                <a:srgbClr val="5C2E91"/>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40" name="Freeform 324">
                <a:extLst>
                  <a:ext uri="{FF2B5EF4-FFF2-40B4-BE49-F238E27FC236}">
                    <a16:creationId xmlns:a16="http://schemas.microsoft.com/office/drawing/2014/main" id="{47C92106-1552-4A0A-BDC1-1AAE47BA080D}"/>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3F3F3F"/>
                  </a:solidFill>
                  <a:effectLst/>
                  <a:uLnTx/>
                  <a:uFillTx/>
                  <a:latin typeface="Segoe UI"/>
                  <a:ea typeface="+mn-ea"/>
                  <a:cs typeface="+mn-cs"/>
                </a:endParaRPr>
              </a:p>
            </p:txBody>
          </p:sp>
          <p:sp>
            <p:nvSpPr>
              <p:cNvPr id="941" name="Freeform 324">
                <a:extLst>
                  <a:ext uri="{FF2B5EF4-FFF2-40B4-BE49-F238E27FC236}">
                    <a16:creationId xmlns:a16="http://schemas.microsoft.com/office/drawing/2014/main" id="{FAFCE6BC-B5A0-4649-B801-48855D6BFBC1}"/>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929" name="Group 928">
              <a:extLst>
                <a:ext uri="{FF2B5EF4-FFF2-40B4-BE49-F238E27FC236}">
                  <a16:creationId xmlns:a16="http://schemas.microsoft.com/office/drawing/2014/main" id="{3C7EA587-EAF5-401D-993D-CB5FD67D9298}"/>
                </a:ext>
              </a:extLst>
            </p:cNvPr>
            <p:cNvGrpSpPr/>
            <p:nvPr/>
          </p:nvGrpSpPr>
          <p:grpSpPr>
            <a:xfrm>
              <a:off x="6310201" y="3304407"/>
              <a:ext cx="389280" cy="389280"/>
              <a:chOff x="6344761" y="3338967"/>
              <a:chExt cx="320160" cy="320160"/>
            </a:xfrm>
          </p:grpSpPr>
          <p:sp>
            <p:nvSpPr>
              <p:cNvPr id="936" name="Oval 935">
                <a:extLst>
                  <a:ext uri="{FF2B5EF4-FFF2-40B4-BE49-F238E27FC236}">
                    <a16:creationId xmlns:a16="http://schemas.microsoft.com/office/drawing/2014/main" id="{7A460D4B-7CFF-4012-BE24-921800D5F1A5}"/>
                  </a:ext>
                </a:extLst>
              </p:cNvPr>
              <p:cNvSpPr/>
              <p:nvPr/>
            </p:nvSpPr>
            <p:spPr bwMode="auto">
              <a:xfrm>
                <a:off x="6344761" y="3338967"/>
                <a:ext cx="320160" cy="320160"/>
              </a:xfrm>
              <a:prstGeom prst="ellipse">
                <a:avLst/>
              </a:prstGeom>
              <a:solidFill>
                <a:srgbClr val="00827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37" name="Freeform 440">
                <a:extLst>
                  <a:ext uri="{FF2B5EF4-FFF2-40B4-BE49-F238E27FC236}">
                    <a16:creationId xmlns:a16="http://schemas.microsoft.com/office/drawing/2014/main" id="{EEC57E2D-5C0F-4742-91B1-F14D0156F2FB}"/>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38" name="Freeform 441">
                <a:extLst>
                  <a:ext uri="{FF2B5EF4-FFF2-40B4-BE49-F238E27FC236}">
                    <a16:creationId xmlns:a16="http://schemas.microsoft.com/office/drawing/2014/main" id="{5D7AFDDB-E4D4-4FEC-8876-CB1BE48680E7}"/>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930" name="Group 929">
              <a:extLst>
                <a:ext uri="{FF2B5EF4-FFF2-40B4-BE49-F238E27FC236}">
                  <a16:creationId xmlns:a16="http://schemas.microsoft.com/office/drawing/2014/main" id="{218325D5-E68A-4B74-AE6C-0F4FADB94A09}"/>
                </a:ext>
              </a:extLst>
            </p:cNvPr>
            <p:cNvGrpSpPr/>
            <p:nvPr/>
          </p:nvGrpSpPr>
          <p:grpSpPr>
            <a:xfrm>
              <a:off x="7307066" y="2936940"/>
              <a:ext cx="389134" cy="389134"/>
              <a:chOff x="9322484" y="3467555"/>
              <a:chExt cx="557223" cy="557223"/>
            </a:xfrm>
          </p:grpSpPr>
          <p:sp>
            <p:nvSpPr>
              <p:cNvPr id="934" name="Oval 933">
                <a:extLst>
                  <a:ext uri="{FF2B5EF4-FFF2-40B4-BE49-F238E27FC236}">
                    <a16:creationId xmlns:a16="http://schemas.microsoft.com/office/drawing/2014/main" id="{3A9896BF-967A-447E-A2AD-28A801522AF9}"/>
                  </a:ext>
                </a:extLst>
              </p:cNvPr>
              <p:cNvSpPr/>
              <p:nvPr/>
            </p:nvSpPr>
            <p:spPr bwMode="auto">
              <a:xfrm>
                <a:off x="9322484" y="3467555"/>
                <a:ext cx="557223" cy="55722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5" name="Rectangle 74">
                <a:extLst>
                  <a:ext uri="{FF2B5EF4-FFF2-40B4-BE49-F238E27FC236}">
                    <a16:creationId xmlns:a16="http://schemas.microsoft.com/office/drawing/2014/main" id="{C39BDAEC-E060-48D5-9015-10EB83AF654A}"/>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FFFF"/>
              </a:solid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931" name="Group 930">
              <a:extLst>
                <a:ext uri="{FF2B5EF4-FFF2-40B4-BE49-F238E27FC236}">
                  <a16:creationId xmlns:a16="http://schemas.microsoft.com/office/drawing/2014/main" id="{37121D74-23B5-41C4-A78C-E3CFD4CCAF59}"/>
                </a:ext>
              </a:extLst>
            </p:cNvPr>
            <p:cNvGrpSpPr/>
            <p:nvPr/>
          </p:nvGrpSpPr>
          <p:grpSpPr>
            <a:xfrm>
              <a:off x="8578186" y="4208712"/>
              <a:ext cx="389134" cy="389134"/>
              <a:chOff x="8225290" y="3217894"/>
              <a:chExt cx="621190" cy="621190"/>
            </a:xfrm>
          </p:grpSpPr>
          <p:sp>
            <p:nvSpPr>
              <p:cNvPr id="932" name="Oval 931">
                <a:extLst>
                  <a:ext uri="{FF2B5EF4-FFF2-40B4-BE49-F238E27FC236}">
                    <a16:creationId xmlns:a16="http://schemas.microsoft.com/office/drawing/2014/main" id="{73A64221-0E8A-4460-A753-7A4159C00E8D}"/>
                  </a:ext>
                </a:extLst>
              </p:cNvPr>
              <p:cNvSpPr/>
              <p:nvPr/>
            </p:nvSpPr>
            <p:spPr bwMode="auto">
              <a:xfrm>
                <a:off x="8225290" y="3217894"/>
                <a:ext cx="621190" cy="621190"/>
              </a:xfrm>
              <a:prstGeom prst="ellipse">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3" name="Rounded Rectangle 4">
                <a:extLst>
                  <a:ext uri="{FF2B5EF4-FFF2-40B4-BE49-F238E27FC236}">
                    <a16:creationId xmlns:a16="http://schemas.microsoft.com/office/drawing/2014/main" id="{2C930E11-EAF6-4144-AEEE-164ACABC3FF4}"/>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rgbClr val="FFFF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527" name="Rectangle 526">
            <a:extLst>
              <a:ext uri="{FF2B5EF4-FFF2-40B4-BE49-F238E27FC236}">
                <a16:creationId xmlns:a16="http://schemas.microsoft.com/office/drawing/2014/main" id="{51B4B3F5-C443-4C82-AA07-30918D30E682}"/>
              </a:ext>
            </a:extLst>
          </p:cNvPr>
          <p:cNvSpPr/>
          <p:nvPr/>
        </p:nvSpPr>
        <p:spPr bwMode="auto">
          <a:xfrm>
            <a:off x="975208" y="4295867"/>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a:solidFill>
                  <a:schemeClr val="tx1"/>
                </a:solidFill>
                <a:latin typeface="+mj-lt"/>
                <a:cs typeface="Segoe UI" pitchFamily="34" charset="0"/>
              </a:rPr>
              <a:t>Superior Economics</a:t>
            </a:r>
          </a:p>
        </p:txBody>
      </p:sp>
      <p:grpSp>
        <p:nvGrpSpPr>
          <p:cNvPr id="528" name="Group 527">
            <a:extLst>
              <a:ext uri="{FF2B5EF4-FFF2-40B4-BE49-F238E27FC236}">
                <a16:creationId xmlns:a16="http://schemas.microsoft.com/office/drawing/2014/main" id="{EDC707F7-59AC-4BD3-93AB-2FC95DDD0DCF}"/>
              </a:ext>
            </a:extLst>
          </p:cNvPr>
          <p:cNvGrpSpPr>
            <a:grpSpLocks/>
          </p:cNvGrpSpPr>
          <p:nvPr/>
        </p:nvGrpSpPr>
        <p:grpSpPr>
          <a:xfrm>
            <a:off x="1144772" y="4647287"/>
            <a:ext cx="626689" cy="492543"/>
            <a:chOff x="2008187" y="2241223"/>
            <a:chExt cx="1068391" cy="909679"/>
          </a:xfrm>
          <a:solidFill>
            <a:schemeClr val="bg1">
              <a:lumMod val="75000"/>
            </a:schemeClr>
          </a:solidFill>
        </p:grpSpPr>
        <p:grpSp>
          <p:nvGrpSpPr>
            <p:cNvPr id="849" name="Group 848">
              <a:extLst>
                <a:ext uri="{FF2B5EF4-FFF2-40B4-BE49-F238E27FC236}">
                  <a16:creationId xmlns:a16="http://schemas.microsoft.com/office/drawing/2014/main" id="{57D25738-A186-4835-BAE5-C3C83FD57A5B}"/>
                </a:ext>
              </a:extLst>
            </p:cNvPr>
            <p:cNvGrpSpPr/>
            <p:nvPr/>
          </p:nvGrpSpPr>
          <p:grpSpPr>
            <a:xfrm>
              <a:off x="2064334" y="2241223"/>
              <a:ext cx="1012244" cy="811309"/>
              <a:chOff x="-1341882" y="2279901"/>
              <a:chExt cx="1941919" cy="1556440"/>
            </a:xfrm>
            <a:grpFill/>
          </p:grpSpPr>
          <p:sp>
            <p:nvSpPr>
              <p:cNvPr id="851" name="Rectangle 70">
                <a:extLst>
                  <a:ext uri="{FF2B5EF4-FFF2-40B4-BE49-F238E27FC236}">
                    <a16:creationId xmlns:a16="http://schemas.microsoft.com/office/drawing/2014/main" id="{47F6D387-D30C-4BFF-8FB5-14A3DDD2E3DE}"/>
                  </a:ext>
                </a:extLst>
              </p:cNvPr>
              <p:cNvSpPr>
                <a:spLocks noChangeArrowheads="1"/>
              </p:cNvSpPr>
              <p:nvPr/>
            </p:nvSpPr>
            <p:spPr bwMode="auto">
              <a:xfrm>
                <a:off x="-135529" y="2948792"/>
                <a:ext cx="175980" cy="88754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52" name="Rectangle 71">
                <a:extLst>
                  <a:ext uri="{FF2B5EF4-FFF2-40B4-BE49-F238E27FC236}">
                    <a16:creationId xmlns:a16="http://schemas.microsoft.com/office/drawing/2014/main" id="{DE2C1FEE-A2AB-4353-B6A7-9DB624A9F97D}"/>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53" name="Freeform 72">
                <a:extLst>
                  <a:ext uri="{FF2B5EF4-FFF2-40B4-BE49-F238E27FC236}">
                    <a16:creationId xmlns:a16="http://schemas.microsoft.com/office/drawing/2014/main" id="{ACCC0618-983F-4822-A8B8-BD7CC97DF53A}"/>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54" name="Freeform 73">
                <a:extLst>
                  <a:ext uri="{FF2B5EF4-FFF2-40B4-BE49-F238E27FC236}">
                    <a16:creationId xmlns:a16="http://schemas.microsoft.com/office/drawing/2014/main" id="{644388D3-9978-4FA0-9317-89F0A7449801}"/>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55" name="Freeform 74">
                <a:extLst>
                  <a:ext uri="{FF2B5EF4-FFF2-40B4-BE49-F238E27FC236}">
                    <a16:creationId xmlns:a16="http://schemas.microsoft.com/office/drawing/2014/main" id="{DAEAD09D-9047-46D6-A738-15820D36B58D}"/>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56" name="Freeform 75">
                <a:extLst>
                  <a:ext uri="{FF2B5EF4-FFF2-40B4-BE49-F238E27FC236}">
                    <a16:creationId xmlns:a16="http://schemas.microsoft.com/office/drawing/2014/main" id="{DFAB6CE4-A407-4C33-A6C8-A3D912AFA58D}"/>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57" name="Freeform 76">
                <a:extLst>
                  <a:ext uri="{FF2B5EF4-FFF2-40B4-BE49-F238E27FC236}">
                    <a16:creationId xmlns:a16="http://schemas.microsoft.com/office/drawing/2014/main" id="{ECC89C7C-2215-476A-8D53-82FB5DB7A1C2}"/>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58" name="Freeform 77">
                <a:extLst>
                  <a:ext uri="{FF2B5EF4-FFF2-40B4-BE49-F238E27FC236}">
                    <a16:creationId xmlns:a16="http://schemas.microsoft.com/office/drawing/2014/main" id="{399246AA-19AC-4D0B-BAAB-04B42BCCE35F}"/>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59" name="Rectangle 78">
                <a:extLst>
                  <a:ext uri="{FF2B5EF4-FFF2-40B4-BE49-F238E27FC236}">
                    <a16:creationId xmlns:a16="http://schemas.microsoft.com/office/drawing/2014/main" id="{D88F11C1-0428-4DAE-9887-F44CA539E2F3}"/>
                  </a:ext>
                </a:extLst>
              </p:cNvPr>
              <p:cNvSpPr>
                <a:spLocks noChangeArrowheads="1"/>
              </p:cNvSpPr>
              <p:nvPr/>
            </p:nvSpPr>
            <p:spPr bwMode="auto">
              <a:xfrm>
                <a:off x="-427553" y="3137524"/>
                <a:ext cx="175980" cy="69881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60" name="Rectangle 79">
                <a:extLst>
                  <a:ext uri="{FF2B5EF4-FFF2-40B4-BE49-F238E27FC236}">
                    <a16:creationId xmlns:a16="http://schemas.microsoft.com/office/drawing/2014/main" id="{071E4BA5-0735-47D9-8D0C-E87C4D0E28EC}"/>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61" name="Freeform 80">
                <a:extLst>
                  <a:ext uri="{FF2B5EF4-FFF2-40B4-BE49-F238E27FC236}">
                    <a16:creationId xmlns:a16="http://schemas.microsoft.com/office/drawing/2014/main" id="{3565A11C-4A1D-4C87-93CA-BA78639FE9A9}"/>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62" name="Freeform 81">
                <a:extLst>
                  <a:ext uri="{FF2B5EF4-FFF2-40B4-BE49-F238E27FC236}">
                    <a16:creationId xmlns:a16="http://schemas.microsoft.com/office/drawing/2014/main" id="{1BD136E8-562F-4C16-854B-02B572263113}"/>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63" name="Freeform 82">
                <a:extLst>
                  <a:ext uri="{FF2B5EF4-FFF2-40B4-BE49-F238E27FC236}">
                    <a16:creationId xmlns:a16="http://schemas.microsoft.com/office/drawing/2014/main" id="{95CF0BAF-60D1-433A-BC12-6FDF75E200E4}"/>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64" name="Freeform 83">
                <a:extLst>
                  <a:ext uri="{FF2B5EF4-FFF2-40B4-BE49-F238E27FC236}">
                    <a16:creationId xmlns:a16="http://schemas.microsoft.com/office/drawing/2014/main" id="{DDD81D59-3D55-4C53-B375-1A022559C5B0}"/>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65" name="Freeform 84">
                <a:extLst>
                  <a:ext uri="{FF2B5EF4-FFF2-40B4-BE49-F238E27FC236}">
                    <a16:creationId xmlns:a16="http://schemas.microsoft.com/office/drawing/2014/main" id="{ABCB8511-587C-4F43-8BA8-52BE3D18E9B5}"/>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66" name="Freeform 85">
                <a:extLst>
                  <a:ext uri="{FF2B5EF4-FFF2-40B4-BE49-F238E27FC236}">
                    <a16:creationId xmlns:a16="http://schemas.microsoft.com/office/drawing/2014/main" id="{8AFD5164-E76D-4C17-8222-29DFD5F0CCD1}"/>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67" name="Freeform 86">
                <a:extLst>
                  <a:ext uri="{FF2B5EF4-FFF2-40B4-BE49-F238E27FC236}">
                    <a16:creationId xmlns:a16="http://schemas.microsoft.com/office/drawing/2014/main" id="{55EA1A74-F70E-49A6-972A-7AB07565B3C3}"/>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68" name="Freeform 87">
                <a:extLst>
                  <a:ext uri="{FF2B5EF4-FFF2-40B4-BE49-F238E27FC236}">
                    <a16:creationId xmlns:a16="http://schemas.microsoft.com/office/drawing/2014/main" id="{4CDD7467-DCF2-4ED8-8C77-B7987386B16B}"/>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69" name="Rectangle 88">
                <a:extLst>
                  <a:ext uri="{FF2B5EF4-FFF2-40B4-BE49-F238E27FC236}">
                    <a16:creationId xmlns:a16="http://schemas.microsoft.com/office/drawing/2014/main" id="{7BA83ACB-9E2B-4573-8608-FE4D5D49CE44}"/>
                  </a:ext>
                </a:extLst>
              </p:cNvPr>
              <p:cNvSpPr>
                <a:spLocks noChangeArrowheads="1"/>
              </p:cNvSpPr>
              <p:nvPr/>
            </p:nvSpPr>
            <p:spPr bwMode="auto">
              <a:xfrm>
                <a:off x="-718302" y="3323704"/>
                <a:ext cx="174705" cy="51263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70" name="Rectangle 89">
                <a:extLst>
                  <a:ext uri="{FF2B5EF4-FFF2-40B4-BE49-F238E27FC236}">
                    <a16:creationId xmlns:a16="http://schemas.microsoft.com/office/drawing/2014/main" id="{E2D6002B-2225-4514-929F-1998FA9CD315}"/>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71" name="Freeform 90">
                <a:extLst>
                  <a:ext uri="{FF2B5EF4-FFF2-40B4-BE49-F238E27FC236}">
                    <a16:creationId xmlns:a16="http://schemas.microsoft.com/office/drawing/2014/main" id="{ECF424DC-2773-4873-B789-C76135AB1957}"/>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72" name="Freeform 91">
                <a:extLst>
                  <a:ext uri="{FF2B5EF4-FFF2-40B4-BE49-F238E27FC236}">
                    <a16:creationId xmlns:a16="http://schemas.microsoft.com/office/drawing/2014/main" id="{130C4411-05E3-4EDA-82F3-95B041D1FF63}"/>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73" name="Freeform 92">
                <a:extLst>
                  <a:ext uri="{FF2B5EF4-FFF2-40B4-BE49-F238E27FC236}">
                    <a16:creationId xmlns:a16="http://schemas.microsoft.com/office/drawing/2014/main" id="{ED6CFD3B-0E80-4DC3-B684-0752263CF582}"/>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74" name="Freeform 93">
                <a:extLst>
                  <a:ext uri="{FF2B5EF4-FFF2-40B4-BE49-F238E27FC236}">
                    <a16:creationId xmlns:a16="http://schemas.microsoft.com/office/drawing/2014/main" id="{338DA2BD-60CB-4641-B24F-CE55ACAEB30D}"/>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75" name="Freeform 94">
                <a:extLst>
                  <a:ext uri="{FF2B5EF4-FFF2-40B4-BE49-F238E27FC236}">
                    <a16:creationId xmlns:a16="http://schemas.microsoft.com/office/drawing/2014/main" id="{94E22096-0D0A-480A-9361-42C7615291C9}"/>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76" name="Freeform 95">
                <a:extLst>
                  <a:ext uri="{FF2B5EF4-FFF2-40B4-BE49-F238E27FC236}">
                    <a16:creationId xmlns:a16="http://schemas.microsoft.com/office/drawing/2014/main" id="{2DCBA222-6BC4-4136-B078-32661C6FABE5}"/>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77" name="Freeform 96">
                <a:extLst>
                  <a:ext uri="{FF2B5EF4-FFF2-40B4-BE49-F238E27FC236}">
                    <a16:creationId xmlns:a16="http://schemas.microsoft.com/office/drawing/2014/main" id="{536BBA40-0761-4F72-8B2A-C2461BD4A8D9}"/>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78" name="Freeform 97">
                <a:extLst>
                  <a:ext uri="{FF2B5EF4-FFF2-40B4-BE49-F238E27FC236}">
                    <a16:creationId xmlns:a16="http://schemas.microsoft.com/office/drawing/2014/main" id="{9C752768-8BC1-47D3-9260-26DBC612B61C}"/>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79" name="Rectangle 98">
                <a:extLst>
                  <a:ext uri="{FF2B5EF4-FFF2-40B4-BE49-F238E27FC236}">
                    <a16:creationId xmlns:a16="http://schemas.microsoft.com/office/drawing/2014/main" id="{4D987FAE-9CF8-417D-9E8C-3A479138D311}"/>
                  </a:ext>
                </a:extLst>
              </p:cNvPr>
              <p:cNvSpPr>
                <a:spLocks noChangeArrowheads="1"/>
              </p:cNvSpPr>
              <p:nvPr/>
            </p:nvSpPr>
            <p:spPr bwMode="auto">
              <a:xfrm>
                <a:off x="-1009051" y="3511161"/>
                <a:ext cx="174705" cy="32518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80" name="Rectangle 99">
                <a:extLst>
                  <a:ext uri="{FF2B5EF4-FFF2-40B4-BE49-F238E27FC236}">
                    <a16:creationId xmlns:a16="http://schemas.microsoft.com/office/drawing/2014/main" id="{C870479B-A35D-4EB7-9318-3D5BBD9A27D2}"/>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81" name="Freeform 100">
                <a:extLst>
                  <a:ext uri="{FF2B5EF4-FFF2-40B4-BE49-F238E27FC236}">
                    <a16:creationId xmlns:a16="http://schemas.microsoft.com/office/drawing/2014/main" id="{F0A5FA82-64CD-430D-BC57-CD54E942B2EC}"/>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82" name="Freeform 101">
                <a:extLst>
                  <a:ext uri="{FF2B5EF4-FFF2-40B4-BE49-F238E27FC236}">
                    <a16:creationId xmlns:a16="http://schemas.microsoft.com/office/drawing/2014/main" id="{91B07E64-DE7E-4715-A295-13E2F5037141}"/>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83" name="Freeform 102">
                <a:extLst>
                  <a:ext uri="{FF2B5EF4-FFF2-40B4-BE49-F238E27FC236}">
                    <a16:creationId xmlns:a16="http://schemas.microsoft.com/office/drawing/2014/main" id="{99B1D5E3-FBEB-45A1-BE52-1F8C28C514FA}"/>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84" name="Freeform 103">
                <a:extLst>
                  <a:ext uri="{FF2B5EF4-FFF2-40B4-BE49-F238E27FC236}">
                    <a16:creationId xmlns:a16="http://schemas.microsoft.com/office/drawing/2014/main" id="{29761736-F0CE-4150-A4A9-6451A261424F}"/>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85" name="Freeform 104">
                <a:extLst>
                  <a:ext uri="{FF2B5EF4-FFF2-40B4-BE49-F238E27FC236}">
                    <a16:creationId xmlns:a16="http://schemas.microsoft.com/office/drawing/2014/main" id="{BDD03172-8C18-4DF1-883A-6BC791976E1E}"/>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86" name="Freeform 105">
                <a:extLst>
                  <a:ext uri="{FF2B5EF4-FFF2-40B4-BE49-F238E27FC236}">
                    <a16:creationId xmlns:a16="http://schemas.microsoft.com/office/drawing/2014/main" id="{6843DE34-413C-45FD-B563-C29FB361A295}"/>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87" name="Freeform 106">
                <a:extLst>
                  <a:ext uri="{FF2B5EF4-FFF2-40B4-BE49-F238E27FC236}">
                    <a16:creationId xmlns:a16="http://schemas.microsoft.com/office/drawing/2014/main" id="{2BD0E5FA-7FF2-42DE-91CC-DDBF1E6C923D}"/>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88" name="Freeform 107">
                <a:extLst>
                  <a:ext uri="{FF2B5EF4-FFF2-40B4-BE49-F238E27FC236}">
                    <a16:creationId xmlns:a16="http://schemas.microsoft.com/office/drawing/2014/main" id="{037D6E60-0303-44FE-AB1C-46B28F43C607}"/>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89" name="Rectangle 108">
                <a:extLst>
                  <a:ext uri="{FF2B5EF4-FFF2-40B4-BE49-F238E27FC236}">
                    <a16:creationId xmlns:a16="http://schemas.microsoft.com/office/drawing/2014/main" id="{1D9F0024-AEA9-4696-9F82-9A192E0F0848}"/>
                  </a:ext>
                </a:extLst>
              </p:cNvPr>
              <p:cNvSpPr>
                <a:spLocks noChangeArrowheads="1"/>
              </p:cNvSpPr>
              <p:nvPr/>
            </p:nvSpPr>
            <p:spPr bwMode="auto">
              <a:xfrm>
                <a:off x="-1301075" y="3638682"/>
                <a:ext cx="175980" cy="19765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90" name="Rectangle 109">
                <a:extLst>
                  <a:ext uri="{FF2B5EF4-FFF2-40B4-BE49-F238E27FC236}">
                    <a16:creationId xmlns:a16="http://schemas.microsoft.com/office/drawing/2014/main" id="{59C138BF-9176-4F9D-AB8A-8F7D74539CC3}"/>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91" name="Freeform 110">
                <a:extLst>
                  <a:ext uri="{FF2B5EF4-FFF2-40B4-BE49-F238E27FC236}">
                    <a16:creationId xmlns:a16="http://schemas.microsoft.com/office/drawing/2014/main" id="{D54F437D-FBA3-4DFC-9210-D18C46EF4633}"/>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92" name="Freeform 111">
                <a:extLst>
                  <a:ext uri="{FF2B5EF4-FFF2-40B4-BE49-F238E27FC236}">
                    <a16:creationId xmlns:a16="http://schemas.microsoft.com/office/drawing/2014/main" id="{84C51737-F6CD-4AD4-92A6-FD036C4C8417}"/>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93" name="Freeform 112">
                <a:extLst>
                  <a:ext uri="{FF2B5EF4-FFF2-40B4-BE49-F238E27FC236}">
                    <a16:creationId xmlns:a16="http://schemas.microsoft.com/office/drawing/2014/main" id="{1182BA58-E99C-4DAD-8087-ED844C719842}"/>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94" name="Freeform 113">
                <a:extLst>
                  <a:ext uri="{FF2B5EF4-FFF2-40B4-BE49-F238E27FC236}">
                    <a16:creationId xmlns:a16="http://schemas.microsoft.com/office/drawing/2014/main" id="{8770441F-939B-4E81-B804-6117472D3101}"/>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895" name="Freeform 114">
                <a:extLst>
                  <a:ext uri="{FF2B5EF4-FFF2-40B4-BE49-F238E27FC236}">
                    <a16:creationId xmlns:a16="http://schemas.microsoft.com/office/drawing/2014/main" id="{4AFE59F5-DA23-400B-9D61-24969DF7A4CF}"/>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96" name="Freeform 115">
                <a:extLst>
                  <a:ext uri="{FF2B5EF4-FFF2-40B4-BE49-F238E27FC236}">
                    <a16:creationId xmlns:a16="http://schemas.microsoft.com/office/drawing/2014/main" id="{E182AD60-F231-4714-A2BD-29742F69AAAB}"/>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97" name="Freeform 116">
                <a:extLst>
                  <a:ext uri="{FF2B5EF4-FFF2-40B4-BE49-F238E27FC236}">
                    <a16:creationId xmlns:a16="http://schemas.microsoft.com/office/drawing/2014/main" id="{FC6D1C7F-7681-40D3-90FC-641E8541E12D}"/>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898" name="Freeform 117">
                <a:extLst>
                  <a:ext uri="{FF2B5EF4-FFF2-40B4-BE49-F238E27FC236}">
                    <a16:creationId xmlns:a16="http://schemas.microsoft.com/office/drawing/2014/main" id="{BECE4704-7E76-49F7-B519-DF0DD4DD48C4}"/>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99" name="Group 898">
                <a:extLst>
                  <a:ext uri="{FF2B5EF4-FFF2-40B4-BE49-F238E27FC236}">
                    <a16:creationId xmlns:a16="http://schemas.microsoft.com/office/drawing/2014/main" id="{9F1A3768-6181-4E87-9BD0-C5FD07CAFF70}"/>
                  </a:ext>
                </a:extLst>
              </p:cNvPr>
              <p:cNvGrpSpPr/>
              <p:nvPr/>
            </p:nvGrpSpPr>
            <p:grpSpPr>
              <a:xfrm>
                <a:off x="-54543" y="2279901"/>
                <a:ext cx="654580" cy="588705"/>
                <a:chOff x="-54543" y="2279901"/>
                <a:chExt cx="654580" cy="588705"/>
              </a:xfrm>
              <a:grpFill/>
            </p:grpSpPr>
            <p:sp>
              <p:nvSpPr>
                <p:cNvPr id="908" name="Freeform 68">
                  <a:extLst>
                    <a:ext uri="{FF2B5EF4-FFF2-40B4-BE49-F238E27FC236}">
                      <a16:creationId xmlns:a16="http://schemas.microsoft.com/office/drawing/2014/main" id="{3D441067-11F0-421F-876A-8504AA0C8E2E}"/>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909" name="Freeform 118">
                  <a:extLst>
                    <a:ext uri="{FF2B5EF4-FFF2-40B4-BE49-F238E27FC236}">
                      <a16:creationId xmlns:a16="http://schemas.microsoft.com/office/drawing/2014/main" id="{3A4D23A9-C2F8-4E55-8747-5763E4458E88}"/>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910" name="Freeform 119">
                  <a:extLst>
                    <a:ext uri="{FF2B5EF4-FFF2-40B4-BE49-F238E27FC236}">
                      <a16:creationId xmlns:a16="http://schemas.microsoft.com/office/drawing/2014/main" id="{CAB82232-F329-4B6A-9685-4C10646D938A}"/>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911" name="Freeform 120">
                  <a:extLst>
                    <a:ext uri="{FF2B5EF4-FFF2-40B4-BE49-F238E27FC236}">
                      <a16:creationId xmlns:a16="http://schemas.microsoft.com/office/drawing/2014/main" id="{A8E6E6C6-66BB-40DD-9E4F-670A83A916E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912" name="Freeform 121">
                  <a:extLst>
                    <a:ext uri="{FF2B5EF4-FFF2-40B4-BE49-F238E27FC236}">
                      <a16:creationId xmlns:a16="http://schemas.microsoft.com/office/drawing/2014/main" id="{4C7151E7-2272-459A-8A10-DC50BA7F4791}"/>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913" name="Freeform 122">
                  <a:extLst>
                    <a:ext uri="{FF2B5EF4-FFF2-40B4-BE49-F238E27FC236}">
                      <a16:creationId xmlns:a16="http://schemas.microsoft.com/office/drawing/2014/main" id="{494BCA15-0B9D-4C83-AD1B-DE50903844D2}"/>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914" name="Freeform 124">
                  <a:extLst>
                    <a:ext uri="{FF2B5EF4-FFF2-40B4-BE49-F238E27FC236}">
                      <a16:creationId xmlns:a16="http://schemas.microsoft.com/office/drawing/2014/main" id="{80BA2BDC-AB74-4460-B683-9066A7800EDA}"/>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915" name="Freeform 125">
                  <a:extLst>
                    <a:ext uri="{FF2B5EF4-FFF2-40B4-BE49-F238E27FC236}">
                      <a16:creationId xmlns:a16="http://schemas.microsoft.com/office/drawing/2014/main" id="{07576DF7-C32F-40EE-A465-EC78BECFBE4E}"/>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916" name="Freeform 126">
                  <a:extLst>
                    <a:ext uri="{FF2B5EF4-FFF2-40B4-BE49-F238E27FC236}">
                      <a16:creationId xmlns:a16="http://schemas.microsoft.com/office/drawing/2014/main" id="{73347658-D905-4C83-A836-6E96FC8ACD91}"/>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917" name="Freeform 127">
                  <a:extLst>
                    <a:ext uri="{FF2B5EF4-FFF2-40B4-BE49-F238E27FC236}">
                      <a16:creationId xmlns:a16="http://schemas.microsoft.com/office/drawing/2014/main" id="{DA56E219-DD94-446D-8472-30D67DB863B2}"/>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918" name="Freeform 128">
                  <a:extLst>
                    <a:ext uri="{FF2B5EF4-FFF2-40B4-BE49-F238E27FC236}">
                      <a16:creationId xmlns:a16="http://schemas.microsoft.com/office/drawing/2014/main" id="{23E4DC4E-D3C4-43A4-8DEB-D66FA1BD0324}"/>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919" name="Freeform 129">
                  <a:extLst>
                    <a:ext uri="{FF2B5EF4-FFF2-40B4-BE49-F238E27FC236}">
                      <a16:creationId xmlns:a16="http://schemas.microsoft.com/office/drawing/2014/main" id="{785D007F-5C67-48A5-A863-2D1EFF1BAB14}"/>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920" name="Freeform 130">
                  <a:extLst>
                    <a:ext uri="{FF2B5EF4-FFF2-40B4-BE49-F238E27FC236}">
                      <a16:creationId xmlns:a16="http://schemas.microsoft.com/office/drawing/2014/main" id="{EE643C42-5374-4EDD-9C65-19B8178A5A4C}"/>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921" name="Freeform 131">
                  <a:extLst>
                    <a:ext uri="{FF2B5EF4-FFF2-40B4-BE49-F238E27FC236}">
                      <a16:creationId xmlns:a16="http://schemas.microsoft.com/office/drawing/2014/main" id="{546F6D8C-ED51-469C-8EF9-69B589AFD3AD}"/>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922" name="Freeform 132">
                  <a:extLst>
                    <a:ext uri="{FF2B5EF4-FFF2-40B4-BE49-F238E27FC236}">
                      <a16:creationId xmlns:a16="http://schemas.microsoft.com/office/drawing/2014/main" id="{BAE2B349-4171-4069-BCB5-4DF290D22658}"/>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923" name="Freeform 133">
                  <a:extLst>
                    <a:ext uri="{FF2B5EF4-FFF2-40B4-BE49-F238E27FC236}">
                      <a16:creationId xmlns:a16="http://schemas.microsoft.com/office/drawing/2014/main" id="{45905512-42AD-4BB2-B65A-3AE85A5E11F7}"/>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00" name="Group 899">
                <a:extLst>
                  <a:ext uri="{FF2B5EF4-FFF2-40B4-BE49-F238E27FC236}">
                    <a16:creationId xmlns:a16="http://schemas.microsoft.com/office/drawing/2014/main" id="{511384DE-453F-4040-8C97-3077A276D5AC}"/>
                  </a:ext>
                </a:extLst>
              </p:cNvPr>
              <p:cNvGrpSpPr/>
              <p:nvPr/>
            </p:nvGrpSpPr>
            <p:grpSpPr>
              <a:xfrm>
                <a:off x="-108104" y="2554074"/>
                <a:ext cx="132971" cy="160137"/>
                <a:chOff x="7094929" y="5488305"/>
                <a:chExt cx="132971" cy="160137"/>
              </a:xfrm>
              <a:grpFill/>
            </p:grpSpPr>
            <p:sp>
              <p:nvSpPr>
                <p:cNvPr id="906" name="Freeform 66">
                  <a:extLst>
                    <a:ext uri="{FF2B5EF4-FFF2-40B4-BE49-F238E27FC236}">
                      <a16:creationId xmlns:a16="http://schemas.microsoft.com/office/drawing/2014/main" id="{0C79E11B-11B2-4EF6-AA67-EF271C150F55}"/>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907" name="Freeform 127">
                  <a:extLst>
                    <a:ext uri="{FF2B5EF4-FFF2-40B4-BE49-F238E27FC236}">
                      <a16:creationId xmlns:a16="http://schemas.microsoft.com/office/drawing/2014/main" id="{C23A7070-6D89-4358-BA29-E5776ED18DCA}"/>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5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901" name="Freeform 127">
                <a:extLst>
                  <a:ext uri="{FF2B5EF4-FFF2-40B4-BE49-F238E27FC236}">
                    <a16:creationId xmlns:a16="http://schemas.microsoft.com/office/drawing/2014/main" id="{4B5A2D6B-DF1A-45EA-B770-74B7434AAE23}"/>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5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02" name="Freeform 127">
                <a:extLst>
                  <a:ext uri="{FF2B5EF4-FFF2-40B4-BE49-F238E27FC236}">
                    <a16:creationId xmlns:a16="http://schemas.microsoft.com/office/drawing/2014/main" id="{0FAB7DB6-A1D8-4142-8AC3-778E2A665EDA}"/>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5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03" name="Freeform 127">
                <a:extLst>
                  <a:ext uri="{FF2B5EF4-FFF2-40B4-BE49-F238E27FC236}">
                    <a16:creationId xmlns:a16="http://schemas.microsoft.com/office/drawing/2014/main" id="{8574F97C-3C5E-493E-82B5-CE7D34A188F3}"/>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5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04" name="Freeform 127">
                <a:extLst>
                  <a:ext uri="{FF2B5EF4-FFF2-40B4-BE49-F238E27FC236}">
                    <a16:creationId xmlns:a16="http://schemas.microsoft.com/office/drawing/2014/main" id="{FF57C76C-08F5-4AB2-A91B-4269BD9595E5}"/>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5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05" name="Freeform 127">
                <a:extLst>
                  <a:ext uri="{FF2B5EF4-FFF2-40B4-BE49-F238E27FC236}">
                    <a16:creationId xmlns:a16="http://schemas.microsoft.com/office/drawing/2014/main" id="{1DE118CD-BBDF-4132-B8F6-D2E45E38F168}"/>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5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50" name="Rectangle 849">
              <a:extLst>
                <a:ext uri="{FF2B5EF4-FFF2-40B4-BE49-F238E27FC236}">
                  <a16:creationId xmlns:a16="http://schemas.microsoft.com/office/drawing/2014/main" id="{88A8FD5C-0FBB-41B7-8AF7-BB72DA7579EF}"/>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529" name="TextBox 528">
            <a:extLst>
              <a:ext uri="{FF2B5EF4-FFF2-40B4-BE49-F238E27FC236}">
                <a16:creationId xmlns:a16="http://schemas.microsoft.com/office/drawing/2014/main" id="{DC7EB63A-A7E8-484E-8DE5-94EA4D54EB25}"/>
              </a:ext>
            </a:extLst>
          </p:cNvPr>
          <p:cNvSpPr txBox="1"/>
          <p:nvPr/>
        </p:nvSpPr>
        <p:spPr>
          <a:xfrm>
            <a:off x="3178754" y="4608693"/>
            <a:ext cx="5834492" cy="307777"/>
          </a:xfrm>
          <a:prstGeom prst="rect">
            <a:avLst/>
          </a:prstGeom>
          <a:noFill/>
        </p:spPr>
        <p:txBody>
          <a:bodyPr wrap="square" lIns="91440" tIns="45720" rIns="91440" bIns="45720" rtlCol="0" anchor="ctr">
            <a:spAutoFit/>
          </a:bodyPr>
          <a:lstStyle/>
          <a:p>
            <a:pPr algn="ctr" defTabSz="914501">
              <a:spcAft>
                <a:spcPts val="588"/>
              </a:spcAft>
            </a:pPr>
            <a:r>
              <a:rPr lang="en-US" sz="1400"/>
              <a:t>Cost effective, Flexible, &amp; </a:t>
            </a:r>
            <a:r>
              <a:rPr lang="en-US" sz="1400" err="1"/>
              <a:t>Opex</a:t>
            </a:r>
            <a:endParaRPr lang="en-US" sz="1400"/>
          </a:p>
        </p:txBody>
      </p:sp>
      <p:grpSp>
        <p:nvGrpSpPr>
          <p:cNvPr id="530" name="Group 529">
            <a:extLst>
              <a:ext uri="{FF2B5EF4-FFF2-40B4-BE49-F238E27FC236}">
                <a16:creationId xmlns:a16="http://schemas.microsoft.com/office/drawing/2014/main" id="{5D7EF772-2A01-4A8B-ADEF-5B1ACF5E7531}"/>
              </a:ext>
            </a:extLst>
          </p:cNvPr>
          <p:cNvGrpSpPr>
            <a:grpSpLocks noChangeAspect="1"/>
          </p:cNvGrpSpPr>
          <p:nvPr/>
        </p:nvGrpSpPr>
        <p:grpSpPr>
          <a:xfrm>
            <a:off x="1144772" y="4647287"/>
            <a:ext cx="626689" cy="492543"/>
            <a:chOff x="2008187" y="2241223"/>
            <a:chExt cx="1068389" cy="909679"/>
          </a:xfrm>
        </p:grpSpPr>
        <p:grpSp>
          <p:nvGrpSpPr>
            <p:cNvPr id="697" name="Group 696">
              <a:extLst>
                <a:ext uri="{FF2B5EF4-FFF2-40B4-BE49-F238E27FC236}">
                  <a16:creationId xmlns:a16="http://schemas.microsoft.com/office/drawing/2014/main" id="{3258B6F3-4FFE-4FAA-B284-D36287E3EAC1}"/>
                </a:ext>
              </a:extLst>
            </p:cNvPr>
            <p:cNvGrpSpPr/>
            <p:nvPr/>
          </p:nvGrpSpPr>
          <p:grpSpPr>
            <a:xfrm>
              <a:off x="2064334" y="2241223"/>
              <a:ext cx="1012242" cy="811309"/>
              <a:chOff x="-1341882" y="2279901"/>
              <a:chExt cx="1941915" cy="1556440"/>
            </a:xfrm>
          </p:grpSpPr>
          <p:sp>
            <p:nvSpPr>
              <p:cNvPr id="699" name="Rectangle 70">
                <a:extLst>
                  <a:ext uri="{FF2B5EF4-FFF2-40B4-BE49-F238E27FC236}">
                    <a16:creationId xmlns:a16="http://schemas.microsoft.com/office/drawing/2014/main" id="{A13E2973-0A9F-4481-A956-0ECAB931529F}"/>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700" name="Rectangle 71">
                <a:extLst>
                  <a:ext uri="{FF2B5EF4-FFF2-40B4-BE49-F238E27FC236}">
                    <a16:creationId xmlns:a16="http://schemas.microsoft.com/office/drawing/2014/main" id="{F4F2B7A6-1A98-423E-8FB5-8C2B2C3922C4}"/>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1" name="Freeform 72">
                <a:extLst>
                  <a:ext uri="{FF2B5EF4-FFF2-40B4-BE49-F238E27FC236}">
                    <a16:creationId xmlns:a16="http://schemas.microsoft.com/office/drawing/2014/main" id="{33944F66-FBC3-41EB-86C2-7CD18F2835BA}"/>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702" name="Freeform 73">
                <a:extLst>
                  <a:ext uri="{FF2B5EF4-FFF2-40B4-BE49-F238E27FC236}">
                    <a16:creationId xmlns:a16="http://schemas.microsoft.com/office/drawing/2014/main" id="{3AC9156C-38A3-436F-AC30-C3E08154FAFE}"/>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703" name="Freeform 74">
                <a:extLst>
                  <a:ext uri="{FF2B5EF4-FFF2-40B4-BE49-F238E27FC236}">
                    <a16:creationId xmlns:a16="http://schemas.microsoft.com/office/drawing/2014/main" id="{B8AAA02C-0D90-4E80-B0EF-60EBFD81E571}"/>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704" name="Freeform 75">
                <a:extLst>
                  <a:ext uri="{FF2B5EF4-FFF2-40B4-BE49-F238E27FC236}">
                    <a16:creationId xmlns:a16="http://schemas.microsoft.com/office/drawing/2014/main" id="{45CE68E2-9619-4E5E-B7EE-0A80C0BE4CD9}"/>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5" name="Freeform 76">
                <a:extLst>
                  <a:ext uri="{FF2B5EF4-FFF2-40B4-BE49-F238E27FC236}">
                    <a16:creationId xmlns:a16="http://schemas.microsoft.com/office/drawing/2014/main" id="{55D8578D-49BF-40BB-86DB-6908B3E7AF8D}"/>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706" name="Freeform 77">
                <a:extLst>
                  <a:ext uri="{FF2B5EF4-FFF2-40B4-BE49-F238E27FC236}">
                    <a16:creationId xmlns:a16="http://schemas.microsoft.com/office/drawing/2014/main" id="{42A8D8DA-9523-4EA8-B1B7-54339AE7ECAC}"/>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7" name="Rectangle 78">
                <a:extLst>
                  <a:ext uri="{FF2B5EF4-FFF2-40B4-BE49-F238E27FC236}">
                    <a16:creationId xmlns:a16="http://schemas.microsoft.com/office/drawing/2014/main" id="{BC3CA87C-6ABA-40FD-B4F3-0B78E5BA1E33}"/>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708" name="Rectangle 79">
                <a:extLst>
                  <a:ext uri="{FF2B5EF4-FFF2-40B4-BE49-F238E27FC236}">
                    <a16:creationId xmlns:a16="http://schemas.microsoft.com/office/drawing/2014/main" id="{7FDA15E1-7F42-4128-902B-4FA0AD199808}"/>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9" name="Freeform 80">
                <a:extLst>
                  <a:ext uri="{FF2B5EF4-FFF2-40B4-BE49-F238E27FC236}">
                    <a16:creationId xmlns:a16="http://schemas.microsoft.com/office/drawing/2014/main" id="{AB91B61B-212E-4FF3-974F-40EF36F62613}"/>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710" name="Freeform 81">
                <a:extLst>
                  <a:ext uri="{FF2B5EF4-FFF2-40B4-BE49-F238E27FC236}">
                    <a16:creationId xmlns:a16="http://schemas.microsoft.com/office/drawing/2014/main" id="{45DE4D02-D8C8-4AC1-B95B-27A406BB68C6}"/>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711" name="Freeform 82">
                <a:extLst>
                  <a:ext uri="{FF2B5EF4-FFF2-40B4-BE49-F238E27FC236}">
                    <a16:creationId xmlns:a16="http://schemas.microsoft.com/office/drawing/2014/main" id="{1BA12A9C-2497-470A-BBE9-43CD2F8DFFC5}"/>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712" name="Freeform 83">
                <a:extLst>
                  <a:ext uri="{FF2B5EF4-FFF2-40B4-BE49-F238E27FC236}">
                    <a16:creationId xmlns:a16="http://schemas.microsoft.com/office/drawing/2014/main" id="{D897FBC5-391C-4353-BEC5-F2F7C727A185}"/>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713" name="Freeform 84">
                <a:extLst>
                  <a:ext uri="{FF2B5EF4-FFF2-40B4-BE49-F238E27FC236}">
                    <a16:creationId xmlns:a16="http://schemas.microsoft.com/office/drawing/2014/main" id="{DB5FBBAC-AC48-4913-AAE0-5348899B69D9}"/>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4" name="Freeform 85">
                <a:extLst>
                  <a:ext uri="{FF2B5EF4-FFF2-40B4-BE49-F238E27FC236}">
                    <a16:creationId xmlns:a16="http://schemas.microsoft.com/office/drawing/2014/main" id="{B905C2B9-061D-4C3E-AE06-480409F7BAD6}"/>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5" name="Freeform 86">
                <a:extLst>
                  <a:ext uri="{FF2B5EF4-FFF2-40B4-BE49-F238E27FC236}">
                    <a16:creationId xmlns:a16="http://schemas.microsoft.com/office/drawing/2014/main" id="{B6B81FE5-291B-438F-AF84-87CB1ED90955}"/>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2" name="Freeform 87">
                <a:extLst>
                  <a:ext uri="{FF2B5EF4-FFF2-40B4-BE49-F238E27FC236}">
                    <a16:creationId xmlns:a16="http://schemas.microsoft.com/office/drawing/2014/main" id="{E80C0BE8-C606-4DD9-B8E4-131BA35692D6}"/>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3" name="Rectangle 88">
                <a:extLst>
                  <a:ext uri="{FF2B5EF4-FFF2-40B4-BE49-F238E27FC236}">
                    <a16:creationId xmlns:a16="http://schemas.microsoft.com/office/drawing/2014/main" id="{A1D456D7-CA23-4B19-9302-C6C395E44F79}"/>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794" name="Rectangle 89">
                <a:extLst>
                  <a:ext uri="{FF2B5EF4-FFF2-40B4-BE49-F238E27FC236}">
                    <a16:creationId xmlns:a16="http://schemas.microsoft.com/office/drawing/2014/main" id="{D8B7FCC5-0F84-425F-803E-2779B6B8DCA1}"/>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5" name="Freeform 90">
                <a:extLst>
                  <a:ext uri="{FF2B5EF4-FFF2-40B4-BE49-F238E27FC236}">
                    <a16:creationId xmlns:a16="http://schemas.microsoft.com/office/drawing/2014/main" id="{1EB1497E-8051-4BA0-B0E0-EC6719496D19}"/>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796" name="Freeform 91">
                <a:extLst>
                  <a:ext uri="{FF2B5EF4-FFF2-40B4-BE49-F238E27FC236}">
                    <a16:creationId xmlns:a16="http://schemas.microsoft.com/office/drawing/2014/main" id="{DF3753F5-15B2-4D6E-A3D3-E8FF84738495}"/>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798" name="Freeform 92">
                <a:extLst>
                  <a:ext uri="{FF2B5EF4-FFF2-40B4-BE49-F238E27FC236}">
                    <a16:creationId xmlns:a16="http://schemas.microsoft.com/office/drawing/2014/main" id="{84CA8C34-38E7-43CD-834C-6789AB0CF1D4}"/>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799" name="Freeform 93">
                <a:extLst>
                  <a:ext uri="{FF2B5EF4-FFF2-40B4-BE49-F238E27FC236}">
                    <a16:creationId xmlns:a16="http://schemas.microsoft.com/office/drawing/2014/main" id="{269D6771-4211-458B-8768-9301EE84BEDB}"/>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800" name="Freeform 94">
                <a:extLst>
                  <a:ext uri="{FF2B5EF4-FFF2-40B4-BE49-F238E27FC236}">
                    <a16:creationId xmlns:a16="http://schemas.microsoft.com/office/drawing/2014/main" id="{B229CE1C-201C-4D57-B855-D8C576D63452}"/>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1" name="Freeform 95">
                <a:extLst>
                  <a:ext uri="{FF2B5EF4-FFF2-40B4-BE49-F238E27FC236}">
                    <a16:creationId xmlns:a16="http://schemas.microsoft.com/office/drawing/2014/main" id="{35D82D8D-626C-4BC4-8E5B-E4179EC82813}"/>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2" name="Freeform 96">
                <a:extLst>
                  <a:ext uri="{FF2B5EF4-FFF2-40B4-BE49-F238E27FC236}">
                    <a16:creationId xmlns:a16="http://schemas.microsoft.com/office/drawing/2014/main" id="{108F2FAF-58F4-498C-9743-3CBE09D5FA00}"/>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3" name="Freeform 97">
                <a:extLst>
                  <a:ext uri="{FF2B5EF4-FFF2-40B4-BE49-F238E27FC236}">
                    <a16:creationId xmlns:a16="http://schemas.microsoft.com/office/drawing/2014/main" id="{5329AF0F-E9D5-4F63-B0F2-72776FB18EF2}"/>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4" name="Rectangle 98">
                <a:extLst>
                  <a:ext uri="{FF2B5EF4-FFF2-40B4-BE49-F238E27FC236}">
                    <a16:creationId xmlns:a16="http://schemas.microsoft.com/office/drawing/2014/main" id="{BD7ADA8A-A54B-4BC9-81FF-AEAED34BDF43}"/>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805" name="Rectangle 99">
                <a:extLst>
                  <a:ext uri="{FF2B5EF4-FFF2-40B4-BE49-F238E27FC236}">
                    <a16:creationId xmlns:a16="http://schemas.microsoft.com/office/drawing/2014/main" id="{68546088-9BA3-4B78-B4C9-6070D0AE8E8F}"/>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6" name="Freeform 100">
                <a:extLst>
                  <a:ext uri="{FF2B5EF4-FFF2-40B4-BE49-F238E27FC236}">
                    <a16:creationId xmlns:a16="http://schemas.microsoft.com/office/drawing/2014/main" id="{6EBF8BEF-A67E-40E4-974B-95FEAA028D58}"/>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807" name="Freeform 101">
                <a:extLst>
                  <a:ext uri="{FF2B5EF4-FFF2-40B4-BE49-F238E27FC236}">
                    <a16:creationId xmlns:a16="http://schemas.microsoft.com/office/drawing/2014/main" id="{E3B85AA2-6671-4EA0-B66F-662A6F1813DF}"/>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808" name="Freeform 102">
                <a:extLst>
                  <a:ext uri="{FF2B5EF4-FFF2-40B4-BE49-F238E27FC236}">
                    <a16:creationId xmlns:a16="http://schemas.microsoft.com/office/drawing/2014/main" id="{578AECEA-7156-400C-95A6-DA3C38BDA603}"/>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809" name="Freeform 103">
                <a:extLst>
                  <a:ext uri="{FF2B5EF4-FFF2-40B4-BE49-F238E27FC236}">
                    <a16:creationId xmlns:a16="http://schemas.microsoft.com/office/drawing/2014/main" id="{E48D2704-BFFB-4A24-9BD8-92F26C4DF343}"/>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810" name="Freeform 104">
                <a:extLst>
                  <a:ext uri="{FF2B5EF4-FFF2-40B4-BE49-F238E27FC236}">
                    <a16:creationId xmlns:a16="http://schemas.microsoft.com/office/drawing/2014/main" id="{E0FDB3FB-8709-4DF9-8E78-A925CC2A469E}"/>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1" name="Freeform 105">
                <a:extLst>
                  <a:ext uri="{FF2B5EF4-FFF2-40B4-BE49-F238E27FC236}">
                    <a16:creationId xmlns:a16="http://schemas.microsoft.com/office/drawing/2014/main" id="{DC314887-EE2B-499A-8455-361794EC143B}"/>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2" name="Freeform 106">
                <a:extLst>
                  <a:ext uri="{FF2B5EF4-FFF2-40B4-BE49-F238E27FC236}">
                    <a16:creationId xmlns:a16="http://schemas.microsoft.com/office/drawing/2014/main" id="{9617F71E-1F8C-4AC3-BA2B-BDF34DB67B83}"/>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3" name="Freeform 107">
                <a:extLst>
                  <a:ext uri="{FF2B5EF4-FFF2-40B4-BE49-F238E27FC236}">
                    <a16:creationId xmlns:a16="http://schemas.microsoft.com/office/drawing/2014/main" id="{62E70C87-3BA5-4DB5-B5D9-39661E3E13BC}"/>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4" name="Rectangle 108">
                <a:extLst>
                  <a:ext uri="{FF2B5EF4-FFF2-40B4-BE49-F238E27FC236}">
                    <a16:creationId xmlns:a16="http://schemas.microsoft.com/office/drawing/2014/main" id="{E1985C92-EFE1-4D0D-A6F4-9C42336F50A6}"/>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815" name="Rectangle 109">
                <a:extLst>
                  <a:ext uri="{FF2B5EF4-FFF2-40B4-BE49-F238E27FC236}">
                    <a16:creationId xmlns:a16="http://schemas.microsoft.com/office/drawing/2014/main" id="{FB2046D4-1312-4B9B-BDCE-E3C187B58004}"/>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6" name="Freeform 110">
                <a:extLst>
                  <a:ext uri="{FF2B5EF4-FFF2-40B4-BE49-F238E27FC236}">
                    <a16:creationId xmlns:a16="http://schemas.microsoft.com/office/drawing/2014/main" id="{0713DD6D-4E39-484B-83C1-37B2E589CCD7}"/>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817" name="Freeform 111">
                <a:extLst>
                  <a:ext uri="{FF2B5EF4-FFF2-40B4-BE49-F238E27FC236}">
                    <a16:creationId xmlns:a16="http://schemas.microsoft.com/office/drawing/2014/main" id="{954AA08B-5BF5-4382-967C-C2FF7802058C}"/>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818" name="Freeform 112">
                <a:extLst>
                  <a:ext uri="{FF2B5EF4-FFF2-40B4-BE49-F238E27FC236}">
                    <a16:creationId xmlns:a16="http://schemas.microsoft.com/office/drawing/2014/main" id="{5343B0E3-2BB8-4A76-B00F-9AB6D3F11546}"/>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819" name="Freeform 113">
                <a:extLst>
                  <a:ext uri="{FF2B5EF4-FFF2-40B4-BE49-F238E27FC236}">
                    <a16:creationId xmlns:a16="http://schemas.microsoft.com/office/drawing/2014/main" id="{4CA189FE-6B54-4148-A04C-E850C57E4FE6}"/>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820" name="Freeform 114">
                <a:extLst>
                  <a:ext uri="{FF2B5EF4-FFF2-40B4-BE49-F238E27FC236}">
                    <a16:creationId xmlns:a16="http://schemas.microsoft.com/office/drawing/2014/main" id="{B6F4F9D2-EFE7-47C3-9ABE-50EBE48FA793}"/>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1" name="Freeform 115">
                <a:extLst>
                  <a:ext uri="{FF2B5EF4-FFF2-40B4-BE49-F238E27FC236}">
                    <a16:creationId xmlns:a16="http://schemas.microsoft.com/office/drawing/2014/main" id="{024C689F-9A7E-4E28-AB3E-A2D0C4DDDDE3}"/>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2" name="Freeform 116">
                <a:extLst>
                  <a:ext uri="{FF2B5EF4-FFF2-40B4-BE49-F238E27FC236}">
                    <a16:creationId xmlns:a16="http://schemas.microsoft.com/office/drawing/2014/main" id="{E8FF9CED-A149-4771-9FE0-4EE798BAC855}"/>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3" name="Freeform 117">
                <a:extLst>
                  <a:ext uri="{FF2B5EF4-FFF2-40B4-BE49-F238E27FC236}">
                    <a16:creationId xmlns:a16="http://schemas.microsoft.com/office/drawing/2014/main" id="{17BB169B-AA4F-4216-9C6D-BF6973951224}"/>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824" name="Group 823">
                <a:extLst>
                  <a:ext uri="{FF2B5EF4-FFF2-40B4-BE49-F238E27FC236}">
                    <a16:creationId xmlns:a16="http://schemas.microsoft.com/office/drawing/2014/main" id="{59C48C97-6E7C-4E5B-A581-3E60646E45ED}"/>
                  </a:ext>
                </a:extLst>
              </p:cNvPr>
              <p:cNvGrpSpPr/>
              <p:nvPr/>
            </p:nvGrpSpPr>
            <p:grpSpPr>
              <a:xfrm>
                <a:off x="-54543" y="2279901"/>
                <a:ext cx="654576" cy="588705"/>
                <a:chOff x="-54543" y="2279901"/>
                <a:chExt cx="654576" cy="588705"/>
              </a:xfrm>
            </p:grpSpPr>
            <p:sp>
              <p:nvSpPr>
                <p:cNvPr id="833" name="Freeform 68">
                  <a:extLst>
                    <a:ext uri="{FF2B5EF4-FFF2-40B4-BE49-F238E27FC236}">
                      <a16:creationId xmlns:a16="http://schemas.microsoft.com/office/drawing/2014/main" id="{3222F599-8E1E-4535-8EF0-AF9D5C426109}"/>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834" name="Freeform 118">
                  <a:extLst>
                    <a:ext uri="{FF2B5EF4-FFF2-40B4-BE49-F238E27FC236}">
                      <a16:creationId xmlns:a16="http://schemas.microsoft.com/office/drawing/2014/main" id="{607A91E8-8F8B-4364-8E46-817B39446A95}"/>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835" name="Freeform 119">
                  <a:extLst>
                    <a:ext uri="{FF2B5EF4-FFF2-40B4-BE49-F238E27FC236}">
                      <a16:creationId xmlns:a16="http://schemas.microsoft.com/office/drawing/2014/main" id="{604A6588-F3D3-4F19-9038-E320A8B73244}"/>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6" name="Freeform 120">
                  <a:extLst>
                    <a:ext uri="{FF2B5EF4-FFF2-40B4-BE49-F238E27FC236}">
                      <a16:creationId xmlns:a16="http://schemas.microsoft.com/office/drawing/2014/main" id="{7242AA03-E75B-4734-B15F-5C1B37AA3898}"/>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7" name="Freeform 121">
                  <a:extLst>
                    <a:ext uri="{FF2B5EF4-FFF2-40B4-BE49-F238E27FC236}">
                      <a16:creationId xmlns:a16="http://schemas.microsoft.com/office/drawing/2014/main" id="{87AB019B-A75C-437F-8C35-11F3CD6F0BF1}"/>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8" name="Freeform 122">
                  <a:extLst>
                    <a:ext uri="{FF2B5EF4-FFF2-40B4-BE49-F238E27FC236}">
                      <a16:creationId xmlns:a16="http://schemas.microsoft.com/office/drawing/2014/main" id="{2D6820CD-52D4-4F90-AA9A-310E2D00AC7D}"/>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839" name="Freeform 124">
                  <a:extLst>
                    <a:ext uri="{FF2B5EF4-FFF2-40B4-BE49-F238E27FC236}">
                      <a16:creationId xmlns:a16="http://schemas.microsoft.com/office/drawing/2014/main" id="{32211AAA-6AD9-48F8-A8F3-F1D0A531169C}"/>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0" name="Freeform 125">
                  <a:extLst>
                    <a:ext uri="{FF2B5EF4-FFF2-40B4-BE49-F238E27FC236}">
                      <a16:creationId xmlns:a16="http://schemas.microsoft.com/office/drawing/2014/main" id="{7D47C62C-3A22-43C3-B30B-39C500ADBAC4}"/>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1" name="Freeform 126">
                  <a:extLst>
                    <a:ext uri="{FF2B5EF4-FFF2-40B4-BE49-F238E27FC236}">
                      <a16:creationId xmlns:a16="http://schemas.microsoft.com/office/drawing/2014/main" id="{C2B5D481-8335-4450-9255-7FA72F56C6AA}"/>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2" name="Freeform 127">
                  <a:extLst>
                    <a:ext uri="{FF2B5EF4-FFF2-40B4-BE49-F238E27FC236}">
                      <a16:creationId xmlns:a16="http://schemas.microsoft.com/office/drawing/2014/main" id="{04AEBE9F-87B2-495A-9538-0903EDBBF7DB}"/>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3" name="Freeform 128">
                  <a:extLst>
                    <a:ext uri="{FF2B5EF4-FFF2-40B4-BE49-F238E27FC236}">
                      <a16:creationId xmlns:a16="http://schemas.microsoft.com/office/drawing/2014/main" id="{904DA854-8F3E-489B-B102-4C75E5538E5C}"/>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4" name="Freeform 129">
                  <a:extLst>
                    <a:ext uri="{FF2B5EF4-FFF2-40B4-BE49-F238E27FC236}">
                      <a16:creationId xmlns:a16="http://schemas.microsoft.com/office/drawing/2014/main" id="{27DA7508-1A35-4826-8C5E-FA442B128AFC}"/>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845" name="Freeform 130">
                  <a:extLst>
                    <a:ext uri="{FF2B5EF4-FFF2-40B4-BE49-F238E27FC236}">
                      <a16:creationId xmlns:a16="http://schemas.microsoft.com/office/drawing/2014/main" id="{20C54D84-90ED-4EDE-9DA0-EB964E9A5793}"/>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6" name="Freeform 131">
                  <a:extLst>
                    <a:ext uri="{FF2B5EF4-FFF2-40B4-BE49-F238E27FC236}">
                      <a16:creationId xmlns:a16="http://schemas.microsoft.com/office/drawing/2014/main" id="{65257349-ED6A-485A-BCC1-AFCFA9BF95DC}"/>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7" name="Freeform 132">
                  <a:extLst>
                    <a:ext uri="{FF2B5EF4-FFF2-40B4-BE49-F238E27FC236}">
                      <a16:creationId xmlns:a16="http://schemas.microsoft.com/office/drawing/2014/main" id="{2200BEFF-B027-447B-81DA-93632E881F92}"/>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8" name="Freeform 133">
                  <a:extLst>
                    <a:ext uri="{FF2B5EF4-FFF2-40B4-BE49-F238E27FC236}">
                      <a16:creationId xmlns:a16="http://schemas.microsoft.com/office/drawing/2014/main" id="{B814B671-6D48-459C-8E7B-CAEBA0EA6D9B}"/>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825" name="Group 824">
                <a:extLst>
                  <a:ext uri="{FF2B5EF4-FFF2-40B4-BE49-F238E27FC236}">
                    <a16:creationId xmlns:a16="http://schemas.microsoft.com/office/drawing/2014/main" id="{5A8B129E-1F30-4E81-9370-CEC11141E228}"/>
                  </a:ext>
                </a:extLst>
              </p:cNvPr>
              <p:cNvGrpSpPr/>
              <p:nvPr/>
            </p:nvGrpSpPr>
            <p:grpSpPr>
              <a:xfrm>
                <a:off x="-108104" y="2554074"/>
                <a:ext cx="132971" cy="160137"/>
                <a:chOff x="7094929" y="5488305"/>
                <a:chExt cx="132971" cy="160137"/>
              </a:xfrm>
            </p:grpSpPr>
            <p:sp>
              <p:nvSpPr>
                <p:cNvPr id="831" name="Freeform 66">
                  <a:extLst>
                    <a:ext uri="{FF2B5EF4-FFF2-40B4-BE49-F238E27FC236}">
                      <a16:creationId xmlns:a16="http://schemas.microsoft.com/office/drawing/2014/main" id="{48E73270-FD55-468C-B2ED-ED25A2F58D15}"/>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832" name="Freeform 127">
                  <a:extLst>
                    <a:ext uri="{FF2B5EF4-FFF2-40B4-BE49-F238E27FC236}">
                      <a16:creationId xmlns:a16="http://schemas.microsoft.com/office/drawing/2014/main" id="{0B1363C5-5C29-4847-9772-69674963A215}"/>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a:ln>
                      <a:noFill/>
                    </a:ln>
                    <a:solidFill>
                      <a:schemeClr val="tx1"/>
                    </a:solidFill>
                    <a:effectLst/>
                    <a:uLnTx/>
                    <a:uFillTx/>
                    <a:ea typeface="Segoe UI" pitchFamily="34" charset="0"/>
                    <a:cs typeface="Segoe UI" pitchFamily="34" charset="0"/>
                  </a:endParaRPr>
                </a:p>
              </p:txBody>
            </p:sp>
          </p:grpSp>
          <p:sp>
            <p:nvSpPr>
              <p:cNvPr id="826" name="Freeform 127">
                <a:extLst>
                  <a:ext uri="{FF2B5EF4-FFF2-40B4-BE49-F238E27FC236}">
                    <a16:creationId xmlns:a16="http://schemas.microsoft.com/office/drawing/2014/main" id="{CBAAED45-B0F4-4B79-BB81-DB4AE58559B1}"/>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a:ln>
                    <a:noFill/>
                  </a:ln>
                  <a:solidFill>
                    <a:schemeClr val="tx1"/>
                  </a:solidFill>
                  <a:effectLst/>
                  <a:uLnTx/>
                  <a:uFillTx/>
                  <a:ea typeface="Segoe UI" pitchFamily="34" charset="0"/>
                  <a:cs typeface="Segoe UI" pitchFamily="34" charset="0"/>
                </a:endParaRPr>
              </a:p>
            </p:txBody>
          </p:sp>
          <p:sp>
            <p:nvSpPr>
              <p:cNvPr id="827" name="Freeform 127">
                <a:extLst>
                  <a:ext uri="{FF2B5EF4-FFF2-40B4-BE49-F238E27FC236}">
                    <a16:creationId xmlns:a16="http://schemas.microsoft.com/office/drawing/2014/main" id="{2E6CC8C0-8941-4639-9935-57642540F6F5}"/>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a:ln>
                    <a:noFill/>
                  </a:ln>
                  <a:solidFill>
                    <a:schemeClr val="tx1"/>
                  </a:solidFill>
                  <a:effectLst/>
                  <a:uLnTx/>
                  <a:uFillTx/>
                  <a:ea typeface="Segoe UI" pitchFamily="34" charset="0"/>
                  <a:cs typeface="Segoe UI" pitchFamily="34" charset="0"/>
                </a:endParaRPr>
              </a:p>
            </p:txBody>
          </p:sp>
          <p:sp>
            <p:nvSpPr>
              <p:cNvPr id="828" name="Freeform 127">
                <a:extLst>
                  <a:ext uri="{FF2B5EF4-FFF2-40B4-BE49-F238E27FC236}">
                    <a16:creationId xmlns:a16="http://schemas.microsoft.com/office/drawing/2014/main" id="{A18FD5E4-5DB3-4FA0-8724-B263E6F89521}"/>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a:ln>
                    <a:noFill/>
                  </a:ln>
                  <a:solidFill>
                    <a:schemeClr val="tx1"/>
                  </a:solidFill>
                  <a:effectLst/>
                  <a:uLnTx/>
                  <a:uFillTx/>
                  <a:ea typeface="Segoe UI" pitchFamily="34" charset="0"/>
                  <a:cs typeface="Segoe UI" pitchFamily="34" charset="0"/>
                </a:endParaRPr>
              </a:p>
            </p:txBody>
          </p:sp>
          <p:sp>
            <p:nvSpPr>
              <p:cNvPr id="829" name="Freeform 127">
                <a:extLst>
                  <a:ext uri="{FF2B5EF4-FFF2-40B4-BE49-F238E27FC236}">
                    <a16:creationId xmlns:a16="http://schemas.microsoft.com/office/drawing/2014/main" id="{91A8BF7F-7AC4-4BEC-8E85-989077CC4ED9}"/>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a:ln>
                    <a:noFill/>
                  </a:ln>
                  <a:solidFill>
                    <a:schemeClr val="tx1"/>
                  </a:solidFill>
                  <a:effectLst/>
                  <a:uLnTx/>
                  <a:uFillTx/>
                  <a:ea typeface="Segoe UI" pitchFamily="34" charset="0"/>
                  <a:cs typeface="Segoe UI" pitchFamily="34" charset="0"/>
                </a:endParaRPr>
              </a:p>
            </p:txBody>
          </p:sp>
          <p:sp>
            <p:nvSpPr>
              <p:cNvPr id="830" name="Freeform 127">
                <a:extLst>
                  <a:ext uri="{FF2B5EF4-FFF2-40B4-BE49-F238E27FC236}">
                    <a16:creationId xmlns:a16="http://schemas.microsoft.com/office/drawing/2014/main" id="{739C4CD4-8852-45C3-B476-46C99D7BE29D}"/>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a:ln>
                    <a:noFill/>
                  </a:ln>
                  <a:solidFill>
                    <a:schemeClr val="tx1"/>
                  </a:solidFill>
                  <a:effectLst/>
                  <a:uLnTx/>
                  <a:uFillTx/>
                  <a:ea typeface="Segoe UI" pitchFamily="34" charset="0"/>
                  <a:cs typeface="Segoe UI" pitchFamily="34" charset="0"/>
                </a:endParaRPr>
              </a:p>
            </p:txBody>
          </p:sp>
        </p:grpSp>
        <p:sp>
          <p:nvSpPr>
            <p:cNvPr id="698" name="Rectangle 697">
              <a:extLst>
                <a:ext uri="{FF2B5EF4-FFF2-40B4-BE49-F238E27FC236}">
                  <a16:creationId xmlns:a16="http://schemas.microsoft.com/office/drawing/2014/main" id="{BCFF75E6-8360-41F6-A50E-921D7D24CA57}"/>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a:solidFill>
                  <a:schemeClr val="tx1"/>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69C243D8-6CAB-774C-AE44-9C017EA5FEA1}"/>
              </a:ext>
            </a:extLst>
          </p:cNvPr>
          <p:cNvSpPr>
            <a:spLocks noGrp="1"/>
          </p:cNvSpPr>
          <p:nvPr>
            <p:ph type="title"/>
          </p:nvPr>
        </p:nvSpPr>
        <p:spPr>
          <a:xfrm>
            <a:off x="588264" y="457200"/>
            <a:ext cx="11018520" cy="430887"/>
          </a:xfrm>
        </p:spPr>
        <p:txBody>
          <a:bodyPr/>
          <a:lstStyle/>
          <a:p>
            <a:r>
              <a:rPr lang="en-US" dirty="0"/>
              <a:t>WVD is Microsoft’s virtualization service and delivers compelling value</a:t>
            </a:r>
          </a:p>
        </p:txBody>
      </p:sp>
      <p:sp>
        <p:nvSpPr>
          <p:cNvPr id="513" name="Rectangle 512">
            <a:extLst>
              <a:ext uri="{FF2B5EF4-FFF2-40B4-BE49-F238E27FC236}">
                <a16:creationId xmlns:a16="http://schemas.microsoft.com/office/drawing/2014/main" id="{9A75C1D5-9964-4669-9F7A-1D8D2212389E}"/>
              </a:ext>
            </a:extLst>
          </p:cNvPr>
          <p:cNvSpPr/>
          <p:nvPr/>
        </p:nvSpPr>
        <p:spPr bwMode="auto">
          <a:xfrm>
            <a:off x="4407444"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a:solidFill>
                  <a:schemeClr val="tx1"/>
                </a:solidFill>
                <a:latin typeface="+mj-lt"/>
                <a:cs typeface="Segoe UI" pitchFamily="34" charset="0"/>
              </a:rPr>
              <a:t>Enhanced Security</a:t>
            </a:r>
          </a:p>
        </p:txBody>
      </p:sp>
      <p:sp>
        <p:nvSpPr>
          <p:cNvPr id="514" name="Rectangle 513">
            <a:extLst>
              <a:ext uri="{FF2B5EF4-FFF2-40B4-BE49-F238E27FC236}">
                <a16:creationId xmlns:a16="http://schemas.microsoft.com/office/drawing/2014/main" id="{7A7A07CF-0F9B-4ABA-89DB-B12B8B03BE18}"/>
              </a:ext>
            </a:extLst>
          </p:cNvPr>
          <p:cNvSpPr/>
          <p:nvPr/>
        </p:nvSpPr>
        <p:spPr bwMode="auto">
          <a:xfrm>
            <a:off x="7839679"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a:solidFill>
                  <a:schemeClr val="tx1"/>
                </a:solidFill>
                <a:latin typeface="+mj-lt"/>
                <a:cs typeface="Segoe UI" pitchFamily="34" charset="0"/>
              </a:rPr>
              <a:t>Simplified Management</a:t>
            </a:r>
          </a:p>
        </p:txBody>
      </p:sp>
      <p:sp>
        <p:nvSpPr>
          <p:cNvPr id="515" name="Rectangle 514">
            <a:extLst>
              <a:ext uri="{FF2B5EF4-FFF2-40B4-BE49-F238E27FC236}">
                <a16:creationId xmlns:a16="http://schemas.microsoft.com/office/drawing/2014/main" id="{84820F03-79C4-4E0A-885A-8B81F1993B4B}"/>
              </a:ext>
            </a:extLst>
          </p:cNvPr>
          <p:cNvSpPr/>
          <p:nvPr/>
        </p:nvSpPr>
        <p:spPr bwMode="auto">
          <a:xfrm>
            <a:off x="975208"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a:solidFill>
                  <a:schemeClr val="tx1"/>
                </a:solidFill>
                <a:latin typeface="+mj-lt"/>
                <a:cs typeface="Segoe UI" pitchFamily="34" charset="0"/>
              </a:rPr>
              <a:t>Best User Experience</a:t>
            </a:r>
          </a:p>
        </p:txBody>
      </p:sp>
      <p:grpSp>
        <p:nvGrpSpPr>
          <p:cNvPr id="516" name="Group 515">
            <a:extLst>
              <a:ext uri="{FF2B5EF4-FFF2-40B4-BE49-F238E27FC236}">
                <a16:creationId xmlns:a16="http://schemas.microsoft.com/office/drawing/2014/main" id="{88EB42B3-9DA5-435D-973E-F5D70D9D59DE}"/>
              </a:ext>
            </a:extLst>
          </p:cNvPr>
          <p:cNvGrpSpPr>
            <a:grpSpLocks noChangeAspect="1"/>
          </p:cNvGrpSpPr>
          <p:nvPr/>
        </p:nvGrpSpPr>
        <p:grpSpPr>
          <a:xfrm>
            <a:off x="3124214" y="2758441"/>
            <a:ext cx="1120333" cy="385043"/>
            <a:chOff x="8598308" y="5131729"/>
            <a:chExt cx="2593567" cy="965651"/>
          </a:xfrm>
        </p:grpSpPr>
        <p:grpSp>
          <p:nvGrpSpPr>
            <p:cNvPr id="1206" name="Group 1205">
              <a:extLst>
                <a:ext uri="{FF2B5EF4-FFF2-40B4-BE49-F238E27FC236}">
                  <a16:creationId xmlns:a16="http://schemas.microsoft.com/office/drawing/2014/main" id="{8F091AAF-B2D7-45E2-80CC-5E3748417356}"/>
                </a:ext>
              </a:extLst>
            </p:cNvPr>
            <p:cNvGrpSpPr>
              <a:grpSpLocks noChangeAspect="1"/>
            </p:cNvGrpSpPr>
            <p:nvPr/>
          </p:nvGrpSpPr>
          <p:grpSpPr>
            <a:xfrm>
              <a:off x="8706960" y="5131729"/>
              <a:ext cx="2361059" cy="927114"/>
              <a:chOff x="13708063" y="7653374"/>
              <a:chExt cx="17978438" cy="7059577"/>
            </a:xfrm>
          </p:grpSpPr>
          <p:sp>
            <p:nvSpPr>
              <p:cNvPr id="1208" name="Freeform 5">
                <a:extLst>
                  <a:ext uri="{FF2B5EF4-FFF2-40B4-BE49-F238E27FC236}">
                    <a16:creationId xmlns:a16="http://schemas.microsoft.com/office/drawing/2014/main" id="{B0FF8DBA-E264-4107-AD88-C06867D986AF}"/>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09" name="Freeform 6">
                <a:extLst>
                  <a:ext uri="{FF2B5EF4-FFF2-40B4-BE49-F238E27FC236}">
                    <a16:creationId xmlns:a16="http://schemas.microsoft.com/office/drawing/2014/main" id="{E4DBB98F-8158-4EA9-A2FC-636D73A272F9}"/>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0" name="Freeform 7">
                <a:extLst>
                  <a:ext uri="{FF2B5EF4-FFF2-40B4-BE49-F238E27FC236}">
                    <a16:creationId xmlns:a16="http://schemas.microsoft.com/office/drawing/2014/main" id="{0C4D936E-76F3-45C3-AFEB-67D5B45071E4}"/>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1" name="Freeform 8">
                <a:extLst>
                  <a:ext uri="{FF2B5EF4-FFF2-40B4-BE49-F238E27FC236}">
                    <a16:creationId xmlns:a16="http://schemas.microsoft.com/office/drawing/2014/main" id="{A4C0253C-CE0C-4CAC-9E13-FD7111E9D178}"/>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2" name="Freeform 9">
                <a:extLst>
                  <a:ext uri="{FF2B5EF4-FFF2-40B4-BE49-F238E27FC236}">
                    <a16:creationId xmlns:a16="http://schemas.microsoft.com/office/drawing/2014/main" id="{D5AEA8BD-63DE-4C53-8547-821C062EA05B}"/>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3" name="Freeform 10">
                <a:extLst>
                  <a:ext uri="{FF2B5EF4-FFF2-40B4-BE49-F238E27FC236}">
                    <a16:creationId xmlns:a16="http://schemas.microsoft.com/office/drawing/2014/main" id="{981AFED7-4C98-494C-948A-8DF22EF5722E}"/>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4" name="Freeform 11">
                <a:extLst>
                  <a:ext uri="{FF2B5EF4-FFF2-40B4-BE49-F238E27FC236}">
                    <a16:creationId xmlns:a16="http://schemas.microsoft.com/office/drawing/2014/main" id="{67D38DFA-8BAD-40D4-9FB5-75920FC67EAD}"/>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5" name="Freeform 12">
                <a:extLst>
                  <a:ext uri="{FF2B5EF4-FFF2-40B4-BE49-F238E27FC236}">
                    <a16:creationId xmlns:a16="http://schemas.microsoft.com/office/drawing/2014/main" id="{632C0F74-7A83-4E0B-94D2-FE9DABC65FD3}"/>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6" name="Freeform 13">
                <a:extLst>
                  <a:ext uri="{FF2B5EF4-FFF2-40B4-BE49-F238E27FC236}">
                    <a16:creationId xmlns:a16="http://schemas.microsoft.com/office/drawing/2014/main" id="{B4CD5EB9-2566-4483-8675-6D1A1E2E1295}"/>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7" name="Freeform 14">
                <a:extLst>
                  <a:ext uri="{FF2B5EF4-FFF2-40B4-BE49-F238E27FC236}">
                    <a16:creationId xmlns:a16="http://schemas.microsoft.com/office/drawing/2014/main" id="{FC186FB7-A596-4A31-ACD6-AFE692719327}"/>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8" name="Freeform 15">
                <a:extLst>
                  <a:ext uri="{FF2B5EF4-FFF2-40B4-BE49-F238E27FC236}">
                    <a16:creationId xmlns:a16="http://schemas.microsoft.com/office/drawing/2014/main" id="{40126269-3925-4B55-8BD2-B1717516802E}"/>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9" name="Freeform 16">
                <a:extLst>
                  <a:ext uri="{FF2B5EF4-FFF2-40B4-BE49-F238E27FC236}">
                    <a16:creationId xmlns:a16="http://schemas.microsoft.com/office/drawing/2014/main" id="{84D85D91-39F1-4EC7-B54A-C38AB326351B}"/>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0" name="Freeform 17">
                <a:extLst>
                  <a:ext uri="{FF2B5EF4-FFF2-40B4-BE49-F238E27FC236}">
                    <a16:creationId xmlns:a16="http://schemas.microsoft.com/office/drawing/2014/main" id="{26EBFD10-9DC1-4DDD-90DF-A82FA39DD936}"/>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1" name="Freeform 18">
                <a:extLst>
                  <a:ext uri="{FF2B5EF4-FFF2-40B4-BE49-F238E27FC236}">
                    <a16:creationId xmlns:a16="http://schemas.microsoft.com/office/drawing/2014/main" id="{E130C3B3-5C1A-475C-8828-E89FC1F34153}"/>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2" name="Freeform 19">
                <a:extLst>
                  <a:ext uri="{FF2B5EF4-FFF2-40B4-BE49-F238E27FC236}">
                    <a16:creationId xmlns:a16="http://schemas.microsoft.com/office/drawing/2014/main" id="{B73B7338-44A7-4818-AE14-54DB0BFA19BF}"/>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3" name="Freeform 20">
                <a:extLst>
                  <a:ext uri="{FF2B5EF4-FFF2-40B4-BE49-F238E27FC236}">
                    <a16:creationId xmlns:a16="http://schemas.microsoft.com/office/drawing/2014/main" id="{6885A305-7C44-4AC7-A8FE-0C32F830D65C}"/>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4" name="Freeform 21">
                <a:extLst>
                  <a:ext uri="{FF2B5EF4-FFF2-40B4-BE49-F238E27FC236}">
                    <a16:creationId xmlns:a16="http://schemas.microsoft.com/office/drawing/2014/main" id="{19B460F4-FEC2-4E0E-849C-9B648BFC6C35}"/>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5" name="Freeform 22">
                <a:extLst>
                  <a:ext uri="{FF2B5EF4-FFF2-40B4-BE49-F238E27FC236}">
                    <a16:creationId xmlns:a16="http://schemas.microsoft.com/office/drawing/2014/main" id="{5C94FC4B-103E-47C1-9221-AA084E849CFE}"/>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6" name="Freeform 23">
                <a:extLst>
                  <a:ext uri="{FF2B5EF4-FFF2-40B4-BE49-F238E27FC236}">
                    <a16:creationId xmlns:a16="http://schemas.microsoft.com/office/drawing/2014/main" id="{6AFACA9F-7C83-4B3C-BCBE-60494CC2FE68}"/>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7" name="Freeform 24">
                <a:extLst>
                  <a:ext uri="{FF2B5EF4-FFF2-40B4-BE49-F238E27FC236}">
                    <a16:creationId xmlns:a16="http://schemas.microsoft.com/office/drawing/2014/main" id="{1C2AF0A8-7A8E-49E1-ABB3-16F4177175D1}"/>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8" name="Freeform 25">
                <a:extLst>
                  <a:ext uri="{FF2B5EF4-FFF2-40B4-BE49-F238E27FC236}">
                    <a16:creationId xmlns:a16="http://schemas.microsoft.com/office/drawing/2014/main" id="{8A8CFAC1-5013-479C-8A31-21C5E322D7C3}"/>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9" name="Freeform 26">
                <a:extLst>
                  <a:ext uri="{FF2B5EF4-FFF2-40B4-BE49-F238E27FC236}">
                    <a16:creationId xmlns:a16="http://schemas.microsoft.com/office/drawing/2014/main" id="{DD461DC1-4729-40CC-AD0D-44AF753BA748}"/>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0" name="Freeform 27">
                <a:extLst>
                  <a:ext uri="{FF2B5EF4-FFF2-40B4-BE49-F238E27FC236}">
                    <a16:creationId xmlns:a16="http://schemas.microsoft.com/office/drawing/2014/main" id="{6307F35C-9030-4428-B080-1D983517E9A2}"/>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1" name="Freeform 28">
                <a:extLst>
                  <a:ext uri="{FF2B5EF4-FFF2-40B4-BE49-F238E27FC236}">
                    <a16:creationId xmlns:a16="http://schemas.microsoft.com/office/drawing/2014/main" id="{863AE9FB-85CE-4C67-983D-96ACB3B5BAC8}"/>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2" name="Freeform 30">
                <a:extLst>
                  <a:ext uri="{FF2B5EF4-FFF2-40B4-BE49-F238E27FC236}">
                    <a16:creationId xmlns:a16="http://schemas.microsoft.com/office/drawing/2014/main" id="{A2673D1E-358D-4D73-BCF0-6BBE1618634A}"/>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3" name="Freeform 31">
                <a:extLst>
                  <a:ext uri="{FF2B5EF4-FFF2-40B4-BE49-F238E27FC236}">
                    <a16:creationId xmlns:a16="http://schemas.microsoft.com/office/drawing/2014/main" id="{30BA7340-6C7A-4B76-9B81-B79A2FD25B0E}"/>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4" name="Freeform 32">
                <a:extLst>
                  <a:ext uri="{FF2B5EF4-FFF2-40B4-BE49-F238E27FC236}">
                    <a16:creationId xmlns:a16="http://schemas.microsoft.com/office/drawing/2014/main" id="{0AF3D8BF-9042-44DD-B763-449BFBEEAC3B}"/>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5" name="Freeform 33">
                <a:extLst>
                  <a:ext uri="{FF2B5EF4-FFF2-40B4-BE49-F238E27FC236}">
                    <a16:creationId xmlns:a16="http://schemas.microsoft.com/office/drawing/2014/main" id="{81B47F2B-52E9-4C40-9281-68C74776EB4E}"/>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6" name="Freeform 37">
                <a:extLst>
                  <a:ext uri="{FF2B5EF4-FFF2-40B4-BE49-F238E27FC236}">
                    <a16:creationId xmlns:a16="http://schemas.microsoft.com/office/drawing/2014/main" id="{37BE8C8F-FF1E-4025-9C07-13DB106D4401}"/>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7" name="Rectangle 38">
                <a:extLst>
                  <a:ext uri="{FF2B5EF4-FFF2-40B4-BE49-F238E27FC236}">
                    <a16:creationId xmlns:a16="http://schemas.microsoft.com/office/drawing/2014/main" id="{78182F2B-3411-452F-929C-0840001E8571}"/>
                  </a:ext>
                </a:extLst>
              </p:cNvPr>
              <p:cNvSpPr>
                <a:spLocks noChangeArrowheads="1"/>
              </p:cNvSpPr>
              <p:nvPr/>
            </p:nvSpPr>
            <p:spPr bwMode="auto">
              <a:xfrm>
                <a:off x="17970018" y="7900981"/>
                <a:ext cx="4603121" cy="2632074"/>
              </a:xfrm>
              <a:prstGeom prst="rect">
                <a:avLst/>
              </a:prstGeom>
              <a:solidFill>
                <a:srgbClr val="00BC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8" name="Freeform 39">
                <a:extLst>
                  <a:ext uri="{FF2B5EF4-FFF2-40B4-BE49-F238E27FC236}">
                    <a16:creationId xmlns:a16="http://schemas.microsoft.com/office/drawing/2014/main" id="{1E9A5536-47EC-469F-B607-71676B2E3B8D}"/>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9" name="Freeform 40">
                <a:extLst>
                  <a:ext uri="{FF2B5EF4-FFF2-40B4-BE49-F238E27FC236}">
                    <a16:creationId xmlns:a16="http://schemas.microsoft.com/office/drawing/2014/main" id="{EAAE8106-983D-4DBD-A330-84B8AE705244}"/>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0" name="Freeform 41">
                <a:extLst>
                  <a:ext uri="{FF2B5EF4-FFF2-40B4-BE49-F238E27FC236}">
                    <a16:creationId xmlns:a16="http://schemas.microsoft.com/office/drawing/2014/main" id="{66C13C9E-A535-48B7-A5B1-D69D341E9012}"/>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1" name="Rectangle 42">
                <a:extLst>
                  <a:ext uri="{FF2B5EF4-FFF2-40B4-BE49-F238E27FC236}">
                    <a16:creationId xmlns:a16="http://schemas.microsoft.com/office/drawing/2014/main" id="{9B493916-3122-4449-B9F5-42AFD425D7EE}"/>
                  </a:ext>
                </a:extLst>
              </p:cNvPr>
              <p:cNvSpPr>
                <a:spLocks noChangeArrowheads="1"/>
              </p:cNvSpPr>
              <p:nvPr/>
            </p:nvSpPr>
            <p:spPr bwMode="auto">
              <a:xfrm>
                <a:off x="25590501" y="11085513"/>
                <a:ext cx="998538" cy="1984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2" name="Freeform 43">
                <a:extLst>
                  <a:ext uri="{FF2B5EF4-FFF2-40B4-BE49-F238E27FC236}">
                    <a16:creationId xmlns:a16="http://schemas.microsoft.com/office/drawing/2014/main" id="{5A490235-FD54-4D31-9D21-1719C84C745D}"/>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3" name="Rectangle 44">
                <a:extLst>
                  <a:ext uri="{FF2B5EF4-FFF2-40B4-BE49-F238E27FC236}">
                    <a16:creationId xmlns:a16="http://schemas.microsoft.com/office/drawing/2014/main" id="{B0F7ADC3-A243-4FD4-A93F-DD7E2FB7F268}"/>
                  </a:ext>
                </a:extLst>
              </p:cNvPr>
              <p:cNvSpPr>
                <a:spLocks noChangeArrowheads="1"/>
              </p:cNvSpPr>
              <p:nvPr/>
            </p:nvSpPr>
            <p:spPr bwMode="auto">
              <a:xfrm>
                <a:off x="28171776" y="12095163"/>
                <a:ext cx="968375" cy="2000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4" name="Freeform 45">
                <a:extLst>
                  <a:ext uri="{FF2B5EF4-FFF2-40B4-BE49-F238E27FC236}">
                    <a16:creationId xmlns:a16="http://schemas.microsoft.com/office/drawing/2014/main" id="{B0D94B25-27DF-4887-8ECE-5A2479CCE98F}"/>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5" name="Freeform 46">
                <a:extLst>
                  <a:ext uri="{FF2B5EF4-FFF2-40B4-BE49-F238E27FC236}">
                    <a16:creationId xmlns:a16="http://schemas.microsoft.com/office/drawing/2014/main" id="{10C93F92-6B5C-494A-9A51-55548160B71F}"/>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solidFill>
                <a:srgbClr val="B957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6" name="Freeform 47">
                <a:extLst>
                  <a:ext uri="{FF2B5EF4-FFF2-40B4-BE49-F238E27FC236}">
                    <a16:creationId xmlns:a16="http://schemas.microsoft.com/office/drawing/2014/main" id="{C20B70EF-C2B7-451E-8283-08AA7861F262}"/>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solidFill>
                <a:srgbClr val="00B29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7" name="Freeform 48">
                <a:extLst>
                  <a:ext uri="{FF2B5EF4-FFF2-40B4-BE49-F238E27FC236}">
                    <a16:creationId xmlns:a16="http://schemas.microsoft.com/office/drawing/2014/main" id="{3490729F-241E-4B9E-8D30-6A6E4D0583FA}"/>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8" name="Freeform 49">
                <a:extLst>
                  <a:ext uri="{FF2B5EF4-FFF2-40B4-BE49-F238E27FC236}">
                    <a16:creationId xmlns:a16="http://schemas.microsoft.com/office/drawing/2014/main" id="{E044EFB5-E89C-42EC-9AA7-55DE546D2810}"/>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solidFill>
                <a:srgbClr val="008DB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9" name="Rectangle 50">
                <a:extLst>
                  <a:ext uri="{FF2B5EF4-FFF2-40B4-BE49-F238E27FC236}">
                    <a16:creationId xmlns:a16="http://schemas.microsoft.com/office/drawing/2014/main" id="{513E8459-B062-4C2C-A4B9-4FA648B3AC4E}"/>
                  </a:ext>
                </a:extLst>
              </p:cNvPr>
              <p:cNvSpPr>
                <a:spLocks noChangeArrowheads="1"/>
              </p:cNvSpPr>
              <p:nvPr/>
            </p:nvSpPr>
            <p:spPr bwMode="auto">
              <a:xfrm>
                <a:off x="27790339" y="9455158"/>
                <a:ext cx="2580131" cy="1674811"/>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0" name="Freeform 51">
                <a:extLst>
                  <a:ext uri="{FF2B5EF4-FFF2-40B4-BE49-F238E27FC236}">
                    <a16:creationId xmlns:a16="http://schemas.microsoft.com/office/drawing/2014/main" id="{FF33B45A-1EED-4362-B0A3-78A0F08E2EC7}"/>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1" name="Freeform 52">
                <a:extLst>
                  <a:ext uri="{FF2B5EF4-FFF2-40B4-BE49-F238E27FC236}">
                    <a16:creationId xmlns:a16="http://schemas.microsoft.com/office/drawing/2014/main" id="{CE428D84-8C77-4AFD-8F41-251AB0DC8787}"/>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2" name="Freeform 53">
                <a:extLst>
                  <a:ext uri="{FF2B5EF4-FFF2-40B4-BE49-F238E27FC236}">
                    <a16:creationId xmlns:a16="http://schemas.microsoft.com/office/drawing/2014/main" id="{5877616E-D73D-4D9E-9776-592AA6A022F7}"/>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3" name="Freeform 54">
                <a:extLst>
                  <a:ext uri="{FF2B5EF4-FFF2-40B4-BE49-F238E27FC236}">
                    <a16:creationId xmlns:a16="http://schemas.microsoft.com/office/drawing/2014/main" id="{7BC9F003-D82B-431C-9919-2DEC685DA14A}"/>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4" name="Freeform 55">
                <a:extLst>
                  <a:ext uri="{FF2B5EF4-FFF2-40B4-BE49-F238E27FC236}">
                    <a16:creationId xmlns:a16="http://schemas.microsoft.com/office/drawing/2014/main" id="{A89BB593-9A59-4889-AE57-5DCEB30290CD}"/>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5" name="Freeform 56">
                <a:extLst>
                  <a:ext uri="{FF2B5EF4-FFF2-40B4-BE49-F238E27FC236}">
                    <a16:creationId xmlns:a16="http://schemas.microsoft.com/office/drawing/2014/main" id="{4FE62636-6762-4395-B4F2-10F88AFB9F95}"/>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6" name="Freeform 57">
                <a:extLst>
                  <a:ext uri="{FF2B5EF4-FFF2-40B4-BE49-F238E27FC236}">
                    <a16:creationId xmlns:a16="http://schemas.microsoft.com/office/drawing/2014/main" id="{DF742FD9-AA23-49F3-9AB3-869E585879E1}"/>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7" name="Freeform 58">
                <a:extLst>
                  <a:ext uri="{FF2B5EF4-FFF2-40B4-BE49-F238E27FC236}">
                    <a16:creationId xmlns:a16="http://schemas.microsoft.com/office/drawing/2014/main" id="{6475196C-2479-4F18-B5AD-9E3706314F64}"/>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8" name="Freeform 59">
                <a:extLst>
                  <a:ext uri="{FF2B5EF4-FFF2-40B4-BE49-F238E27FC236}">
                    <a16:creationId xmlns:a16="http://schemas.microsoft.com/office/drawing/2014/main" id="{EC550F78-0A97-4D8D-B6A9-8863D777779E}"/>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9" name="Freeform 60">
                <a:extLst>
                  <a:ext uri="{FF2B5EF4-FFF2-40B4-BE49-F238E27FC236}">
                    <a16:creationId xmlns:a16="http://schemas.microsoft.com/office/drawing/2014/main" id="{DA17D580-7A04-40AA-999D-97A6485D79CD}"/>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60" name="Freeform 61">
                <a:extLst>
                  <a:ext uri="{FF2B5EF4-FFF2-40B4-BE49-F238E27FC236}">
                    <a16:creationId xmlns:a16="http://schemas.microsoft.com/office/drawing/2014/main" id="{6D939785-D966-46BB-AB6E-D934E4CCAB66}"/>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61" name="Freeform 62">
                <a:extLst>
                  <a:ext uri="{FF2B5EF4-FFF2-40B4-BE49-F238E27FC236}">
                    <a16:creationId xmlns:a16="http://schemas.microsoft.com/office/drawing/2014/main" id="{0C206A31-FB43-4DA6-9041-B64E6FD8F1C9}"/>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62" name="Freeform 63">
                <a:extLst>
                  <a:ext uri="{FF2B5EF4-FFF2-40B4-BE49-F238E27FC236}">
                    <a16:creationId xmlns:a16="http://schemas.microsoft.com/office/drawing/2014/main" id="{9BAACDF9-588A-4C4D-894E-AB311DDF49F3}"/>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63" name="Freeform 64">
                <a:extLst>
                  <a:ext uri="{FF2B5EF4-FFF2-40B4-BE49-F238E27FC236}">
                    <a16:creationId xmlns:a16="http://schemas.microsoft.com/office/drawing/2014/main" id="{73F0250E-4F58-401A-9718-6428994B23B5}"/>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64" name="Freeform 65">
                <a:extLst>
                  <a:ext uri="{FF2B5EF4-FFF2-40B4-BE49-F238E27FC236}">
                    <a16:creationId xmlns:a16="http://schemas.microsoft.com/office/drawing/2014/main" id="{98C014C8-0F84-4639-9686-508DACE10F40}"/>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65" name="Freeform 66">
                <a:extLst>
                  <a:ext uri="{FF2B5EF4-FFF2-40B4-BE49-F238E27FC236}">
                    <a16:creationId xmlns:a16="http://schemas.microsoft.com/office/drawing/2014/main" id="{3547EEB3-6B74-4834-BD67-B6AD50346D3D}"/>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66" name="Freeform 67">
                <a:extLst>
                  <a:ext uri="{FF2B5EF4-FFF2-40B4-BE49-F238E27FC236}">
                    <a16:creationId xmlns:a16="http://schemas.microsoft.com/office/drawing/2014/main" id="{6D653D13-DED8-4C1C-BC80-E4A606B77E8D}"/>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67" name="Freeform 68">
                <a:extLst>
                  <a:ext uri="{FF2B5EF4-FFF2-40B4-BE49-F238E27FC236}">
                    <a16:creationId xmlns:a16="http://schemas.microsoft.com/office/drawing/2014/main" id="{7C279B0A-35FA-4FD0-AC7E-775EB78061E1}"/>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68" name="Freeform 69">
                <a:extLst>
                  <a:ext uri="{FF2B5EF4-FFF2-40B4-BE49-F238E27FC236}">
                    <a16:creationId xmlns:a16="http://schemas.microsoft.com/office/drawing/2014/main" id="{91955E3C-7451-4E43-A895-7567D2BF4C1F}"/>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69" name="Freeform 70">
                <a:extLst>
                  <a:ext uri="{FF2B5EF4-FFF2-40B4-BE49-F238E27FC236}">
                    <a16:creationId xmlns:a16="http://schemas.microsoft.com/office/drawing/2014/main" id="{D41601FA-A97C-4660-A4EB-5B26C61FC3D9}"/>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0" name="Freeform 71">
                <a:extLst>
                  <a:ext uri="{FF2B5EF4-FFF2-40B4-BE49-F238E27FC236}">
                    <a16:creationId xmlns:a16="http://schemas.microsoft.com/office/drawing/2014/main" id="{F29D009A-2555-4627-946B-0837EEC1217C}"/>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1" name="Freeform 72">
                <a:extLst>
                  <a:ext uri="{FF2B5EF4-FFF2-40B4-BE49-F238E27FC236}">
                    <a16:creationId xmlns:a16="http://schemas.microsoft.com/office/drawing/2014/main" id="{86F76830-F908-43B3-ABA2-E7B2078C9D2C}"/>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solidFill>
                <a:srgbClr val="00D8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2" name="Freeform 73">
                <a:extLst>
                  <a:ext uri="{FF2B5EF4-FFF2-40B4-BE49-F238E27FC236}">
                    <a16:creationId xmlns:a16="http://schemas.microsoft.com/office/drawing/2014/main" id="{637B824B-75CE-4947-983F-E79417BD6A03}"/>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3" name="Freeform 74">
                <a:extLst>
                  <a:ext uri="{FF2B5EF4-FFF2-40B4-BE49-F238E27FC236}">
                    <a16:creationId xmlns:a16="http://schemas.microsoft.com/office/drawing/2014/main" id="{FA1999ED-0279-470B-A1A1-FBCA2B863186}"/>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4" name="Freeform 75">
                <a:extLst>
                  <a:ext uri="{FF2B5EF4-FFF2-40B4-BE49-F238E27FC236}">
                    <a16:creationId xmlns:a16="http://schemas.microsoft.com/office/drawing/2014/main" id="{1709D7E7-CA01-4379-9DF4-C11E2FC59226}"/>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5" name="Freeform 76">
                <a:extLst>
                  <a:ext uri="{FF2B5EF4-FFF2-40B4-BE49-F238E27FC236}">
                    <a16:creationId xmlns:a16="http://schemas.microsoft.com/office/drawing/2014/main" id="{92B7F5F0-5A0E-480A-8BEF-E37BC0C6C377}"/>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solidFill>
                <a:srgbClr val="00827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6" name="Freeform 77">
                <a:extLst>
                  <a:ext uri="{FF2B5EF4-FFF2-40B4-BE49-F238E27FC236}">
                    <a16:creationId xmlns:a16="http://schemas.microsoft.com/office/drawing/2014/main" id="{25A26075-680E-48F2-94DB-F84D38FCF31D}"/>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solidFill>
                <a:srgbClr val="00827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7" name="Freeform 78">
                <a:extLst>
                  <a:ext uri="{FF2B5EF4-FFF2-40B4-BE49-F238E27FC236}">
                    <a16:creationId xmlns:a16="http://schemas.microsoft.com/office/drawing/2014/main" id="{27FC67C7-BFFA-40D0-A77E-CC92EB22E60B}"/>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8" name="Freeform 79">
                <a:extLst>
                  <a:ext uri="{FF2B5EF4-FFF2-40B4-BE49-F238E27FC236}">
                    <a16:creationId xmlns:a16="http://schemas.microsoft.com/office/drawing/2014/main" id="{51CACF17-60D6-42AE-9552-F6B08EFF25A7}"/>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9" name="Freeform 80">
                <a:extLst>
                  <a:ext uri="{FF2B5EF4-FFF2-40B4-BE49-F238E27FC236}">
                    <a16:creationId xmlns:a16="http://schemas.microsoft.com/office/drawing/2014/main" id="{477E665B-C6B9-4283-ACE4-3F3D828C5B1B}"/>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80" name="Freeform 81">
                <a:extLst>
                  <a:ext uri="{FF2B5EF4-FFF2-40B4-BE49-F238E27FC236}">
                    <a16:creationId xmlns:a16="http://schemas.microsoft.com/office/drawing/2014/main" id="{ED0F206D-8FD5-4938-96C2-27E034524ACF}"/>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207" name="Rectangle 1206">
              <a:extLst>
                <a:ext uri="{FF2B5EF4-FFF2-40B4-BE49-F238E27FC236}">
                  <a16:creationId xmlns:a16="http://schemas.microsoft.com/office/drawing/2014/main" id="{52441083-FCD5-4843-848C-2D93886F77DD}"/>
                </a:ext>
              </a:extLst>
            </p:cNvPr>
            <p:cNvSpPr/>
            <p:nvPr/>
          </p:nvSpPr>
          <p:spPr bwMode="auto">
            <a:xfrm>
              <a:off x="8598308" y="6051661"/>
              <a:ext cx="2593567" cy="45719"/>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a:solidFill>
                  <a:schemeClr val="tx1"/>
                </a:solidFill>
                <a:ea typeface="Segoe UI" pitchFamily="34" charset="0"/>
                <a:cs typeface="Segoe UI" pitchFamily="34" charset="0"/>
              </a:endParaRPr>
            </a:p>
          </p:txBody>
        </p:sp>
      </p:grpSp>
      <p:grpSp>
        <p:nvGrpSpPr>
          <p:cNvPr id="517" name="Group 516">
            <a:extLst>
              <a:ext uri="{FF2B5EF4-FFF2-40B4-BE49-F238E27FC236}">
                <a16:creationId xmlns:a16="http://schemas.microsoft.com/office/drawing/2014/main" id="{16B6755E-58CD-4334-ACF1-DBBFE4894A07}"/>
              </a:ext>
            </a:extLst>
          </p:cNvPr>
          <p:cNvGrpSpPr>
            <a:grpSpLocks/>
          </p:cNvGrpSpPr>
          <p:nvPr/>
        </p:nvGrpSpPr>
        <p:grpSpPr>
          <a:xfrm>
            <a:off x="10504155" y="2496766"/>
            <a:ext cx="616488" cy="651720"/>
            <a:chOff x="13973841" y="3823518"/>
            <a:chExt cx="1577751" cy="1687170"/>
          </a:xfrm>
          <a:solidFill>
            <a:schemeClr val="bg1">
              <a:lumMod val="75000"/>
            </a:schemeClr>
          </a:solidFill>
        </p:grpSpPr>
        <p:sp>
          <p:nvSpPr>
            <p:cNvPr id="1194" name="Oval 240">
              <a:extLst>
                <a:ext uri="{FF2B5EF4-FFF2-40B4-BE49-F238E27FC236}">
                  <a16:creationId xmlns:a16="http://schemas.microsoft.com/office/drawing/2014/main" id="{19D1AD4A-3D6B-4917-9AD2-8D196B3A8168}"/>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1195" name="Oval 242">
              <a:extLst>
                <a:ext uri="{FF2B5EF4-FFF2-40B4-BE49-F238E27FC236}">
                  <a16:creationId xmlns:a16="http://schemas.microsoft.com/office/drawing/2014/main" id="{4533E152-F7F3-4282-BB91-19D6C8032957}"/>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1196" name="Freeform 129">
              <a:extLst>
                <a:ext uri="{FF2B5EF4-FFF2-40B4-BE49-F238E27FC236}">
                  <a16:creationId xmlns:a16="http://schemas.microsoft.com/office/drawing/2014/main" id="{7F4916A6-346F-426B-AE2A-163E7AA2AAD4}"/>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1197" name="Freeform 130">
              <a:extLst>
                <a:ext uri="{FF2B5EF4-FFF2-40B4-BE49-F238E27FC236}">
                  <a16:creationId xmlns:a16="http://schemas.microsoft.com/office/drawing/2014/main" id="{2F387218-EFB9-4E18-A9A9-B3E7DD8B2A84}"/>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1198" name="Freeform 232">
              <a:extLst>
                <a:ext uri="{FF2B5EF4-FFF2-40B4-BE49-F238E27FC236}">
                  <a16:creationId xmlns:a16="http://schemas.microsoft.com/office/drawing/2014/main" id="{ED7E68AF-85A3-4226-9EA1-3394328C1D16}"/>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pic>
          <p:nvPicPr>
            <p:cNvPr id="1199" name="Graphic 1198">
              <a:extLst>
                <a:ext uri="{FF2B5EF4-FFF2-40B4-BE49-F238E27FC236}">
                  <a16:creationId xmlns:a16="http://schemas.microsoft.com/office/drawing/2014/main" id="{DD61A3B6-6B58-4851-8ECB-BE07B625620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715068" y="3908875"/>
              <a:ext cx="192326" cy="150595"/>
            </a:xfrm>
            <a:prstGeom prst="rect">
              <a:avLst/>
            </a:prstGeom>
          </p:spPr>
        </p:pic>
        <p:sp>
          <p:nvSpPr>
            <p:cNvPr id="1200" name="Oval 240">
              <a:extLst>
                <a:ext uri="{FF2B5EF4-FFF2-40B4-BE49-F238E27FC236}">
                  <a16:creationId xmlns:a16="http://schemas.microsoft.com/office/drawing/2014/main" id="{1D541FB7-3532-49F9-97DD-DB0BB5C78A14}"/>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1201" name="Oval 240">
              <a:extLst>
                <a:ext uri="{FF2B5EF4-FFF2-40B4-BE49-F238E27FC236}">
                  <a16:creationId xmlns:a16="http://schemas.microsoft.com/office/drawing/2014/main" id="{8C43809F-6BF8-4875-B9E0-5DE009059CF7}"/>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1202" name="Circle: Hollow 1201">
              <a:extLst>
                <a:ext uri="{FF2B5EF4-FFF2-40B4-BE49-F238E27FC236}">
                  <a16:creationId xmlns:a16="http://schemas.microsoft.com/office/drawing/2014/main" id="{C8FEC6BD-F534-4DE4-A04E-004F923CC12A}"/>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03" name="Freeform 501">
              <a:extLst>
                <a:ext uri="{FF2B5EF4-FFF2-40B4-BE49-F238E27FC236}">
                  <a16:creationId xmlns:a16="http://schemas.microsoft.com/office/drawing/2014/main" id="{95EAFFC0-66E2-4D24-A437-A2386EE6F926}"/>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1204" name="Rounded Rectangle 13">
              <a:extLst>
                <a:ext uri="{FF2B5EF4-FFF2-40B4-BE49-F238E27FC236}">
                  <a16:creationId xmlns:a16="http://schemas.microsoft.com/office/drawing/2014/main" id="{3FA4C9E2-D2A6-4AD3-ACD6-60B02E198E47}"/>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205" name="Freeform: Shape 1204">
              <a:extLst>
                <a:ext uri="{FF2B5EF4-FFF2-40B4-BE49-F238E27FC236}">
                  <a16:creationId xmlns:a16="http://schemas.microsoft.com/office/drawing/2014/main" id="{C524CA05-F3CE-425C-8FCF-F5C9B2E37760}"/>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518" name="Group 517">
            <a:extLst>
              <a:ext uri="{FF2B5EF4-FFF2-40B4-BE49-F238E27FC236}">
                <a16:creationId xmlns:a16="http://schemas.microsoft.com/office/drawing/2014/main" id="{BAFC0070-55AE-4857-8B4B-13845EA26F1E}"/>
              </a:ext>
            </a:extLst>
          </p:cNvPr>
          <p:cNvGrpSpPr>
            <a:grpSpLocks/>
          </p:cNvGrpSpPr>
          <p:nvPr/>
        </p:nvGrpSpPr>
        <p:grpSpPr>
          <a:xfrm>
            <a:off x="6697244" y="2633218"/>
            <a:ext cx="943275" cy="575452"/>
            <a:chOff x="880735" y="570156"/>
            <a:chExt cx="9823008" cy="5992590"/>
          </a:xfrm>
        </p:grpSpPr>
        <p:grpSp>
          <p:nvGrpSpPr>
            <p:cNvPr id="1106" name="Group 1105">
              <a:extLst>
                <a:ext uri="{FF2B5EF4-FFF2-40B4-BE49-F238E27FC236}">
                  <a16:creationId xmlns:a16="http://schemas.microsoft.com/office/drawing/2014/main" id="{85132B43-D17F-4371-8DF0-A7329A1C1768}"/>
                </a:ext>
              </a:extLst>
            </p:cNvPr>
            <p:cNvGrpSpPr/>
            <p:nvPr/>
          </p:nvGrpSpPr>
          <p:grpSpPr>
            <a:xfrm>
              <a:off x="880735" y="570156"/>
              <a:ext cx="9823008" cy="5216554"/>
              <a:chOff x="880735" y="570156"/>
              <a:chExt cx="9823008" cy="5216554"/>
            </a:xfrm>
          </p:grpSpPr>
          <p:grpSp>
            <p:nvGrpSpPr>
              <p:cNvPr id="1111" name="Group 1110">
                <a:extLst>
                  <a:ext uri="{FF2B5EF4-FFF2-40B4-BE49-F238E27FC236}">
                    <a16:creationId xmlns:a16="http://schemas.microsoft.com/office/drawing/2014/main" id="{754CC4AD-B651-484C-B3D0-157739E093FA}"/>
                  </a:ext>
                </a:extLst>
              </p:cNvPr>
              <p:cNvGrpSpPr/>
              <p:nvPr/>
            </p:nvGrpSpPr>
            <p:grpSpPr>
              <a:xfrm>
                <a:off x="1860203" y="570156"/>
                <a:ext cx="3248557" cy="3248553"/>
                <a:chOff x="3695059" y="2057989"/>
                <a:chExt cx="825500" cy="825500"/>
              </a:xfrm>
            </p:grpSpPr>
            <p:sp>
              <p:nvSpPr>
                <p:cNvPr id="1192" name="Oval 1191">
                  <a:extLst>
                    <a:ext uri="{FF2B5EF4-FFF2-40B4-BE49-F238E27FC236}">
                      <a16:creationId xmlns:a16="http://schemas.microsoft.com/office/drawing/2014/main" id="{AE380B20-3C72-4D5D-8924-FDD4DEB903EF}"/>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4000"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193" name="Freeform 82">
                  <a:extLst>
                    <a:ext uri="{FF2B5EF4-FFF2-40B4-BE49-F238E27FC236}">
                      <a16:creationId xmlns:a16="http://schemas.microsoft.com/office/drawing/2014/main" id="{BB0D5198-328C-47F2-83FA-84215C776590}"/>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grpSp>
          <p:sp>
            <p:nvSpPr>
              <p:cNvPr id="1112" name="Rectangle 1111">
                <a:extLst>
                  <a:ext uri="{FF2B5EF4-FFF2-40B4-BE49-F238E27FC236}">
                    <a16:creationId xmlns:a16="http://schemas.microsoft.com/office/drawing/2014/main" id="{3447ACEB-2902-4738-B019-942CF6A4C325}"/>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13" name="Rectangle 1112">
                <a:extLst>
                  <a:ext uri="{FF2B5EF4-FFF2-40B4-BE49-F238E27FC236}">
                    <a16:creationId xmlns:a16="http://schemas.microsoft.com/office/drawing/2014/main" id="{C215440C-A8C6-4DDA-9B1B-9C6F71D5509F}"/>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14" name="Freeform 7">
                <a:extLst>
                  <a:ext uri="{FF2B5EF4-FFF2-40B4-BE49-F238E27FC236}">
                    <a16:creationId xmlns:a16="http://schemas.microsoft.com/office/drawing/2014/main" id="{7CEE42C4-6AEC-49C3-BDCC-6541B7DCEE97}"/>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15" name="Freeform 8">
                <a:extLst>
                  <a:ext uri="{FF2B5EF4-FFF2-40B4-BE49-F238E27FC236}">
                    <a16:creationId xmlns:a16="http://schemas.microsoft.com/office/drawing/2014/main" id="{397F8E09-265A-4256-B2BF-982DB13377E1}"/>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16" name="Rectangle 1115">
                <a:extLst>
                  <a:ext uri="{FF2B5EF4-FFF2-40B4-BE49-F238E27FC236}">
                    <a16:creationId xmlns:a16="http://schemas.microsoft.com/office/drawing/2014/main" id="{BD4A37C1-F418-4E43-B49B-371B91FB7FC0}"/>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17" name="Rectangle 1116">
                <a:extLst>
                  <a:ext uri="{FF2B5EF4-FFF2-40B4-BE49-F238E27FC236}">
                    <a16:creationId xmlns:a16="http://schemas.microsoft.com/office/drawing/2014/main" id="{DA3445FE-17D2-45AF-8291-1B7B2D4822B7}"/>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18" name="Rectangle 1117">
                <a:extLst>
                  <a:ext uri="{FF2B5EF4-FFF2-40B4-BE49-F238E27FC236}">
                    <a16:creationId xmlns:a16="http://schemas.microsoft.com/office/drawing/2014/main" id="{EF865260-3A6A-42C4-B589-FC69426DDE01}"/>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19" name="Rectangle 1118">
                <a:extLst>
                  <a:ext uri="{FF2B5EF4-FFF2-40B4-BE49-F238E27FC236}">
                    <a16:creationId xmlns:a16="http://schemas.microsoft.com/office/drawing/2014/main" id="{DEECFBFB-642F-48C9-BEF8-E3563C540087}"/>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0" name="Rectangle 1119">
                <a:extLst>
                  <a:ext uri="{FF2B5EF4-FFF2-40B4-BE49-F238E27FC236}">
                    <a16:creationId xmlns:a16="http://schemas.microsoft.com/office/drawing/2014/main" id="{04501004-78A5-4518-A354-B295D7DF7B07}"/>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1" name="Rectangle 1120">
                <a:extLst>
                  <a:ext uri="{FF2B5EF4-FFF2-40B4-BE49-F238E27FC236}">
                    <a16:creationId xmlns:a16="http://schemas.microsoft.com/office/drawing/2014/main" id="{B760DA05-75C3-415B-8936-B85A0FC4C336}"/>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2" name="Rectangle 1121">
                <a:extLst>
                  <a:ext uri="{FF2B5EF4-FFF2-40B4-BE49-F238E27FC236}">
                    <a16:creationId xmlns:a16="http://schemas.microsoft.com/office/drawing/2014/main" id="{7ABA4491-D99F-444A-9216-96F680860581}"/>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3" name="Rectangle 1122">
                <a:extLst>
                  <a:ext uri="{FF2B5EF4-FFF2-40B4-BE49-F238E27FC236}">
                    <a16:creationId xmlns:a16="http://schemas.microsoft.com/office/drawing/2014/main" id="{69A008FE-2653-415D-B88F-D5D64F3815C4}"/>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4" name="Rectangle 1123">
                <a:extLst>
                  <a:ext uri="{FF2B5EF4-FFF2-40B4-BE49-F238E27FC236}">
                    <a16:creationId xmlns:a16="http://schemas.microsoft.com/office/drawing/2014/main" id="{A1E101D5-1A55-4257-9656-1F909FD65738}"/>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5" name="Rectangle 1124">
                <a:extLst>
                  <a:ext uri="{FF2B5EF4-FFF2-40B4-BE49-F238E27FC236}">
                    <a16:creationId xmlns:a16="http://schemas.microsoft.com/office/drawing/2014/main" id="{CE60D0B5-C1D3-4F19-A9D9-1D258737061C}"/>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6" name="Freeform 19">
                <a:extLst>
                  <a:ext uri="{FF2B5EF4-FFF2-40B4-BE49-F238E27FC236}">
                    <a16:creationId xmlns:a16="http://schemas.microsoft.com/office/drawing/2014/main" id="{C5B7C010-5E85-4C98-A0F3-47D616F52FA6}"/>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7" name="Freeform 20">
                <a:extLst>
                  <a:ext uri="{FF2B5EF4-FFF2-40B4-BE49-F238E27FC236}">
                    <a16:creationId xmlns:a16="http://schemas.microsoft.com/office/drawing/2014/main" id="{C94857AE-129A-438C-8783-1F168ABEC7E7}"/>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8" name="Freeform 21">
                <a:extLst>
                  <a:ext uri="{FF2B5EF4-FFF2-40B4-BE49-F238E27FC236}">
                    <a16:creationId xmlns:a16="http://schemas.microsoft.com/office/drawing/2014/main" id="{53014371-A92B-45C8-A58B-7208CDEB48E8}"/>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9" name="Rectangle 1128">
                <a:extLst>
                  <a:ext uri="{FF2B5EF4-FFF2-40B4-BE49-F238E27FC236}">
                    <a16:creationId xmlns:a16="http://schemas.microsoft.com/office/drawing/2014/main" id="{03227CC2-6ADF-427E-B6DB-64EE2BFDA60A}"/>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0" name="Rectangle 1129">
                <a:extLst>
                  <a:ext uri="{FF2B5EF4-FFF2-40B4-BE49-F238E27FC236}">
                    <a16:creationId xmlns:a16="http://schemas.microsoft.com/office/drawing/2014/main" id="{22657410-59D5-4B00-9914-E30039FEF83B}"/>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1" name="Rectangle 1130">
                <a:extLst>
                  <a:ext uri="{FF2B5EF4-FFF2-40B4-BE49-F238E27FC236}">
                    <a16:creationId xmlns:a16="http://schemas.microsoft.com/office/drawing/2014/main" id="{0AE7CD64-8F21-491F-AD6C-04839C38C8C3}"/>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2" name="Rectangle 1131">
                <a:extLst>
                  <a:ext uri="{FF2B5EF4-FFF2-40B4-BE49-F238E27FC236}">
                    <a16:creationId xmlns:a16="http://schemas.microsoft.com/office/drawing/2014/main" id="{B6316AFA-DCD2-487C-BF57-CB55F3E49B8D}"/>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3" name="Rectangle 1132">
                <a:extLst>
                  <a:ext uri="{FF2B5EF4-FFF2-40B4-BE49-F238E27FC236}">
                    <a16:creationId xmlns:a16="http://schemas.microsoft.com/office/drawing/2014/main" id="{E5938667-9D15-472D-B7D1-FC2DE914C5D9}"/>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4" name="Rectangle 1133">
                <a:extLst>
                  <a:ext uri="{FF2B5EF4-FFF2-40B4-BE49-F238E27FC236}">
                    <a16:creationId xmlns:a16="http://schemas.microsoft.com/office/drawing/2014/main" id="{0F6454F6-CEDC-4A7B-BEBC-4A89AA7413DD}"/>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5" name="Rectangle 1134">
                <a:extLst>
                  <a:ext uri="{FF2B5EF4-FFF2-40B4-BE49-F238E27FC236}">
                    <a16:creationId xmlns:a16="http://schemas.microsoft.com/office/drawing/2014/main" id="{CD415484-44CD-44C4-BBDA-C4E6170AB7FE}"/>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6" name="Rectangle 1135">
                <a:extLst>
                  <a:ext uri="{FF2B5EF4-FFF2-40B4-BE49-F238E27FC236}">
                    <a16:creationId xmlns:a16="http://schemas.microsoft.com/office/drawing/2014/main" id="{3954BE39-5B16-48A1-88C0-171861104F4E}"/>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7" name="Rectangle 1136">
                <a:extLst>
                  <a:ext uri="{FF2B5EF4-FFF2-40B4-BE49-F238E27FC236}">
                    <a16:creationId xmlns:a16="http://schemas.microsoft.com/office/drawing/2014/main" id="{78FEDD96-3D96-493F-A24B-7CE9066EA0B2}"/>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8" name="Rectangle 1137">
                <a:extLst>
                  <a:ext uri="{FF2B5EF4-FFF2-40B4-BE49-F238E27FC236}">
                    <a16:creationId xmlns:a16="http://schemas.microsoft.com/office/drawing/2014/main" id="{F9AF3879-2D3D-47E0-962D-790036F9977F}"/>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9" name="Rectangle 1138">
                <a:extLst>
                  <a:ext uri="{FF2B5EF4-FFF2-40B4-BE49-F238E27FC236}">
                    <a16:creationId xmlns:a16="http://schemas.microsoft.com/office/drawing/2014/main" id="{EBBCE4BE-A76B-4CB6-9726-99CBCA86076A}"/>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0" name="Freeform 33">
                <a:extLst>
                  <a:ext uri="{FF2B5EF4-FFF2-40B4-BE49-F238E27FC236}">
                    <a16:creationId xmlns:a16="http://schemas.microsoft.com/office/drawing/2014/main" id="{2F7B85AF-FD31-4995-9314-AE0188A7768B}"/>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1" name="Freeform 34">
                <a:extLst>
                  <a:ext uri="{FF2B5EF4-FFF2-40B4-BE49-F238E27FC236}">
                    <a16:creationId xmlns:a16="http://schemas.microsoft.com/office/drawing/2014/main" id="{8D567514-C8FD-4B2D-B683-C7E1A7A0E872}"/>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2" name="Freeform 36">
                <a:extLst>
                  <a:ext uri="{FF2B5EF4-FFF2-40B4-BE49-F238E27FC236}">
                    <a16:creationId xmlns:a16="http://schemas.microsoft.com/office/drawing/2014/main" id="{479B0CDE-77E1-4190-9462-064A1E5D247E}"/>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3" name="Freeform 37">
                <a:extLst>
                  <a:ext uri="{FF2B5EF4-FFF2-40B4-BE49-F238E27FC236}">
                    <a16:creationId xmlns:a16="http://schemas.microsoft.com/office/drawing/2014/main" id="{6DA831C7-DA5F-4904-B516-FB1957FEB128}"/>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4" name="Freeform 38">
                <a:extLst>
                  <a:ext uri="{FF2B5EF4-FFF2-40B4-BE49-F238E27FC236}">
                    <a16:creationId xmlns:a16="http://schemas.microsoft.com/office/drawing/2014/main" id="{BDE34F79-5761-4901-B032-8C37DF6270F8}"/>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5" name="Freeform 39">
                <a:extLst>
                  <a:ext uri="{FF2B5EF4-FFF2-40B4-BE49-F238E27FC236}">
                    <a16:creationId xmlns:a16="http://schemas.microsoft.com/office/drawing/2014/main" id="{7A49B005-DF3F-41AC-AD44-74057883137B}"/>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6" name="Freeform 40">
                <a:extLst>
                  <a:ext uri="{FF2B5EF4-FFF2-40B4-BE49-F238E27FC236}">
                    <a16:creationId xmlns:a16="http://schemas.microsoft.com/office/drawing/2014/main" id="{6BC62CD0-970B-4DC5-BDAA-EA3F2C9FAB18}"/>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7" name="Freeform 41">
                <a:extLst>
                  <a:ext uri="{FF2B5EF4-FFF2-40B4-BE49-F238E27FC236}">
                    <a16:creationId xmlns:a16="http://schemas.microsoft.com/office/drawing/2014/main" id="{E085EA79-DCC7-4138-85F9-982E030A83B1}"/>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8" name="Freeform 42">
                <a:extLst>
                  <a:ext uri="{FF2B5EF4-FFF2-40B4-BE49-F238E27FC236}">
                    <a16:creationId xmlns:a16="http://schemas.microsoft.com/office/drawing/2014/main" id="{5A3EB3B1-6565-460D-9168-978192CF92F2}"/>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9" name="Freeform 43">
                <a:extLst>
                  <a:ext uri="{FF2B5EF4-FFF2-40B4-BE49-F238E27FC236}">
                    <a16:creationId xmlns:a16="http://schemas.microsoft.com/office/drawing/2014/main" id="{159BEACE-0DE5-4E97-809C-14F24B6567DE}"/>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50" name="Freeform 44">
                <a:extLst>
                  <a:ext uri="{FF2B5EF4-FFF2-40B4-BE49-F238E27FC236}">
                    <a16:creationId xmlns:a16="http://schemas.microsoft.com/office/drawing/2014/main" id="{5ED39E1E-30F5-4E64-BC0C-DA2EC34B7948}"/>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51" name="Freeform 45">
                <a:extLst>
                  <a:ext uri="{FF2B5EF4-FFF2-40B4-BE49-F238E27FC236}">
                    <a16:creationId xmlns:a16="http://schemas.microsoft.com/office/drawing/2014/main" id="{D7EBA67E-3CB0-471B-9DF7-8046381392FF}"/>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52" name="Rectangle 46">
                <a:extLst>
                  <a:ext uri="{FF2B5EF4-FFF2-40B4-BE49-F238E27FC236}">
                    <a16:creationId xmlns:a16="http://schemas.microsoft.com/office/drawing/2014/main" id="{B6A1DA14-3CB7-4851-AF43-51B5338ABCAF}"/>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53" name="Rectangle 47">
                <a:extLst>
                  <a:ext uri="{FF2B5EF4-FFF2-40B4-BE49-F238E27FC236}">
                    <a16:creationId xmlns:a16="http://schemas.microsoft.com/office/drawing/2014/main" id="{D967E448-7831-44C9-9BE2-511EB619EC2D}"/>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54" name="Freeform 48">
                <a:extLst>
                  <a:ext uri="{FF2B5EF4-FFF2-40B4-BE49-F238E27FC236}">
                    <a16:creationId xmlns:a16="http://schemas.microsoft.com/office/drawing/2014/main" id="{D5D03414-BD46-4FEF-B86A-F935E5A3E5CE}"/>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55" name="Freeform 49">
                <a:extLst>
                  <a:ext uri="{FF2B5EF4-FFF2-40B4-BE49-F238E27FC236}">
                    <a16:creationId xmlns:a16="http://schemas.microsoft.com/office/drawing/2014/main" id="{883BBD65-C9A8-4894-9525-B22F044AB942}"/>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56" name="Freeform 157">
                <a:extLst>
                  <a:ext uri="{FF2B5EF4-FFF2-40B4-BE49-F238E27FC236}">
                    <a16:creationId xmlns:a16="http://schemas.microsoft.com/office/drawing/2014/main" id="{78DFD5FC-FF1C-4751-BF4C-71F0248D660E}"/>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57" name="Freeform 125">
                <a:extLst>
                  <a:ext uri="{FF2B5EF4-FFF2-40B4-BE49-F238E27FC236}">
                    <a16:creationId xmlns:a16="http://schemas.microsoft.com/office/drawing/2014/main" id="{13F524B8-0A0E-4137-B066-509DA3EF54C4}"/>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8C00"/>
                  </a:solidFill>
                  <a:effectLst/>
                  <a:uLnTx/>
                  <a:uFillTx/>
                  <a:latin typeface="Times New Roman" charset="0"/>
                  <a:ea typeface="ＭＳ Ｐゴシック" charset="0"/>
                  <a:cs typeface="+mn-cs"/>
                </a:endParaRPr>
              </a:p>
            </p:txBody>
          </p:sp>
          <p:grpSp>
            <p:nvGrpSpPr>
              <p:cNvPr id="1158" name="Group 1157">
                <a:extLst>
                  <a:ext uri="{FF2B5EF4-FFF2-40B4-BE49-F238E27FC236}">
                    <a16:creationId xmlns:a16="http://schemas.microsoft.com/office/drawing/2014/main" id="{59972B40-0653-4A13-A8E3-7722AD0BC3CC}"/>
                  </a:ext>
                </a:extLst>
              </p:cNvPr>
              <p:cNvGrpSpPr/>
              <p:nvPr/>
            </p:nvGrpSpPr>
            <p:grpSpPr>
              <a:xfrm>
                <a:off x="880735" y="3233589"/>
                <a:ext cx="4515429" cy="2553121"/>
                <a:chOff x="2267710" y="3645408"/>
                <a:chExt cx="1887955" cy="1067493"/>
              </a:xfrm>
              <a:solidFill>
                <a:schemeClr val="bg1">
                  <a:lumMod val="75000"/>
                </a:schemeClr>
              </a:solidFill>
            </p:grpSpPr>
            <p:sp>
              <p:nvSpPr>
                <p:cNvPr id="1159" name="Freeform 151">
                  <a:extLst>
                    <a:ext uri="{FF2B5EF4-FFF2-40B4-BE49-F238E27FC236}">
                      <a16:creationId xmlns:a16="http://schemas.microsoft.com/office/drawing/2014/main" id="{389E63DE-4876-4EAD-88B1-9D99FCE73B07}"/>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60" name="Freeform 152">
                  <a:extLst>
                    <a:ext uri="{FF2B5EF4-FFF2-40B4-BE49-F238E27FC236}">
                      <a16:creationId xmlns:a16="http://schemas.microsoft.com/office/drawing/2014/main" id="{8A061303-E524-4F30-9080-96D94E85781A}"/>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61" name="Freeform 158">
                  <a:extLst>
                    <a:ext uri="{FF2B5EF4-FFF2-40B4-BE49-F238E27FC236}">
                      <a16:creationId xmlns:a16="http://schemas.microsoft.com/office/drawing/2014/main" id="{53FAB1F8-38C8-4FAD-81C2-6F2F4329F1B3}"/>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62" name="Freeform 168">
                  <a:extLst>
                    <a:ext uri="{FF2B5EF4-FFF2-40B4-BE49-F238E27FC236}">
                      <a16:creationId xmlns:a16="http://schemas.microsoft.com/office/drawing/2014/main" id="{31B9EFE8-8DC3-491A-81BB-9364EBE2E740}"/>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163" name="Group 1162">
                  <a:extLst>
                    <a:ext uri="{FF2B5EF4-FFF2-40B4-BE49-F238E27FC236}">
                      <a16:creationId xmlns:a16="http://schemas.microsoft.com/office/drawing/2014/main" id="{FEE574A9-2C09-457B-ABEE-90E00200F5CF}"/>
                    </a:ext>
                  </a:extLst>
                </p:cNvPr>
                <p:cNvGrpSpPr/>
                <p:nvPr/>
              </p:nvGrpSpPr>
              <p:grpSpPr>
                <a:xfrm>
                  <a:off x="2677694" y="3839497"/>
                  <a:ext cx="1155716" cy="644026"/>
                  <a:chOff x="2726462" y="3839497"/>
                  <a:chExt cx="1155716" cy="644026"/>
                </a:xfrm>
                <a:grpFill/>
              </p:grpSpPr>
              <p:sp>
                <p:nvSpPr>
                  <p:cNvPr id="1164" name="Freeform 153">
                    <a:extLst>
                      <a:ext uri="{FF2B5EF4-FFF2-40B4-BE49-F238E27FC236}">
                        <a16:creationId xmlns:a16="http://schemas.microsoft.com/office/drawing/2014/main" id="{B721266C-0B95-48DD-9885-03297A591D64}"/>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65" name="Freeform 154">
                    <a:extLst>
                      <a:ext uri="{FF2B5EF4-FFF2-40B4-BE49-F238E27FC236}">
                        <a16:creationId xmlns:a16="http://schemas.microsoft.com/office/drawing/2014/main" id="{4E903D5A-9148-4F66-A14D-E039B81BBBB7}"/>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66" name="Freeform 155">
                    <a:extLst>
                      <a:ext uri="{FF2B5EF4-FFF2-40B4-BE49-F238E27FC236}">
                        <a16:creationId xmlns:a16="http://schemas.microsoft.com/office/drawing/2014/main" id="{C7FA00BE-16FB-4109-87A2-C1D23D8ABC64}"/>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67" name="Freeform 156">
                    <a:extLst>
                      <a:ext uri="{FF2B5EF4-FFF2-40B4-BE49-F238E27FC236}">
                        <a16:creationId xmlns:a16="http://schemas.microsoft.com/office/drawing/2014/main" id="{935BE001-3A0B-4C79-8732-78CF92BCC8C2}"/>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68" name="Freeform 157">
                    <a:extLst>
                      <a:ext uri="{FF2B5EF4-FFF2-40B4-BE49-F238E27FC236}">
                        <a16:creationId xmlns:a16="http://schemas.microsoft.com/office/drawing/2014/main" id="{2A2C4E4E-CF20-46FB-A1B5-AE82B447B6C4}"/>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69" name="Freeform 159">
                    <a:extLst>
                      <a:ext uri="{FF2B5EF4-FFF2-40B4-BE49-F238E27FC236}">
                        <a16:creationId xmlns:a16="http://schemas.microsoft.com/office/drawing/2014/main" id="{6A1CBBC9-0B1B-4772-9FD9-9AE2778E14DE}"/>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70" name="Freeform 160">
                    <a:extLst>
                      <a:ext uri="{FF2B5EF4-FFF2-40B4-BE49-F238E27FC236}">
                        <a16:creationId xmlns:a16="http://schemas.microsoft.com/office/drawing/2014/main" id="{96E88685-6780-42B7-94EE-38D27341BEE0}"/>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71" name="Freeform 161">
                    <a:extLst>
                      <a:ext uri="{FF2B5EF4-FFF2-40B4-BE49-F238E27FC236}">
                        <a16:creationId xmlns:a16="http://schemas.microsoft.com/office/drawing/2014/main" id="{0FF7DF46-6416-4587-B491-4832F47F6A2A}"/>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72" name="Freeform 162">
                    <a:extLst>
                      <a:ext uri="{FF2B5EF4-FFF2-40B4-BE49-F238E27FC236}">
                        <a16:creationId xmlns:a16="http://schemas.microsoft.com/office/drawing/2014/main" id="{7602C4B9-1B6E-4F8B-A373-94AA62BA278E}"/>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73" name="Freeform 163">
                    <a:extLst>
                      <a:ext uri="{FF2B5EF4-FFF2-40B4-BE49-F238E27FC236}">
                        <a16:creationId xmlns:a16="http://schemas.microsoft.com/office/drawing/2014/main" id="{DBF11833-2647-4DBF-8948-52668EED80D4}"/>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74" name="Freeform 164">
                    <a:extLst>
                      <a:ext uri="{FF2B5EF4-FFF2-40B4-BE49-F238E27FC236}">
                        <a16:creationId xmlns:a16="http://schemas.microsoft.com/office/drawing/2014/main" id="{61C33DCF-2450-4505-82BA-0ED7E818A0AA}"/>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75" name="Freeform 165">
                    <a:extLst>
                      <a:ext uri="{FF2B5EF4-FFF2-40B4-BE49-F238E27FC236}">
                        <a16:creationId xmlns:a16="http://schemas.microsoft.com/office/drawing/2014/main" id="{FAF12B86-92C2-4E27-9261-A8CE9077F627}"/>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76" name="Freeform 166">
                    <a:extLst>
                      <a:ext uri="{FF2B5EF4-FFF2-40B4-BE49-F238E27FC236}">
                        <a16:creationId xmlns:a16="http://schemas.microsoft.com/office/drawing/2014/main" id="{33EF9506-682A-4979-BEED-B4985F4731DD}"/>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77" name="Freeform 167">
                    <a:extLst>
                      <a:ext uri="{FF2B5EF4-FFF2-40B4-BE49-F238E27FC236}">
                        <a16:creationId xmlns:a16="http://schemas.microsoft.com/office/drawing/2014/main" id="{5FB4AAE1-4A67-4688-BEB3-8BED95F923A4}"/>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78" name="Freeform 169">
                    <a:extLst>
                      <a:ext uri="{FF2B5EF4-FFF2-40B4-BE49-F238E27FC236}">
                        <a16:creationId xmlns:a16="http://schemas.microsoft.com/office/drawing/2014/main" id="{78C9F40B-E179-4120-A547-05CFEAA3DBD1}"/>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79" name="Freeform 170">
                    <a:extLst>
                      <a:ext uri="{FF2B5EF4-FFF2-40B4-BE49-F238E27FC236}">
                        <a16:creationId xmlns:a16="http://schemas.microsoft.com/office/drawing/2014/main" id="{1E95AC16-CC26-4C7E-9EFC-A0214400D2ED}"/>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80" name="Freeform 171">
                    <a:extLst>
                      <a:ext uri="{FF2B5EF4-FFF2-40B4-BE49-F238E27FC236}">
                        <a16:creationId xmlns:a16="http://schemas.microsoft.com/office/drawing/2014/main" id="{C43BA853-DB2D-45CE-BC15-109C8618E034}"/>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81" name="Freeform 172">
                    <a:extLst>
                      <a:ext uri="{FF2B5EF4-FFF2-40B4-BE49-F238E27FC236}">
                        <a16:creationId xmlns:a16="http://schemas.microsoft.com/office/drawing/2014/main" id="{7E600A88-1A6A-4E3C-9A5B-4398DA287F51}"/>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82" name="Freeform 173">
                    <a:extLst>
                      <a:ext uri="{FF2B5EF4-FFF2-40B4-BE49-F238E27FC236}">
                        <a16:creationId xmlns:a16="http://schemas.microsoft.com/office/drawing/2014/main" id="{8FA0BB45-AE72-4881-9DD5-4D54D9236E4E}"/>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83" name="Freeform 174">
                    <a:extLst>
                      <a:ext uri="{FF2B5EF4-FFF2-40B4-BE49-F238E27FC236}">
                        <a16:creationId xmlns:a16="http://schemas.microsoft.com/office/drawing/2014/main" id="{CBB069EE-388D-4AD3-A5F4-184C8DC53F7E}"/>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84" name="Freeform 175">
                    <a:extLst>
                      <a:ext uri="{FF2B5EF4-FFF2-40B4-BE49-F238E27FC236}">
                        <a16:creationId xmlns:a16="http://schemas.microsoft.com/office/drawing/2014/main" id="{F09FCC4E-CBF6-44F0-AD99-532155E69777}"/>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85" name="Freeform 176">
                    <a:extLst>
                      <a:ext uri="{FF2B5EF4-FFF2-40B4-BE49-F238E27FC236}">
                        <a16:creationId xmlns:a16="http://schemas.microsoft.com/office/drawing/2014/main" id="{FF45CAF5-B2D0-423E-A8F0-1169B0AF6202}"/>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86" name="Freeform 177">
                    <a:extLst>
                      <a:ext uri="{FF2B5EF4-FFF2-40B4-BE49-F238E27FC236}">
                        <a16:creationId xmlns:a16="http://schemas.microsoft.com/office/drawing/2014/main" id="{C5DA6D0B-C8F1-4F19-9892-F240F013BE4E}"/>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87" name="Freeform 186">
                    <a:extLst>
                      <a:ext uri="{FF2B5EF4-FFF2-40B4-BE49-F238E27FC236}">
                        <a16:creationId xmlns:a16="http://schemas.microsoft.com/office/drawing/2014/main" id="{73057E8A-C60B-411C-B9D1-F66B0FADA91B}"/>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88" name="Freeform 187">
                    <a:extLst>
                      <a:ext uri="{FF2B5EF4-FFF2-40B4-BE49-F238E27FC236}">
                        <a16:creationId xmlns:a16="http://schemas.microsoft.com/office/drawing/2014/main" id="{29EE76FE-7ADD-47AD-920B-FC4E528E1BC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89" name="Freeform 188">
                    <a:extLst>
                      <a:ext uri="{FF2B5EF4-FFF2-40B4-BE49-F238E27FC236}">
                        <a16:creationId xmlns:a16="http://schemas.microsoft.com/office/drawing/2014/main" id="{AC008BE0-0980-4133-9C4B-65B5FB8FC23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90" name="Freeform 189">
                    <a:extLst>
                      <a:ext uri="{FF2B5EF4-FFF2-40B4-BE49-F238E27FC236}">
                        <a16:creationId xmlns:a16="http://schemas.microsoft.com/office/drawing/2014/main" id="{29BA7DAF-D9AD-4DA2-B843-8F8910F2364D}"/>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sp>
                <p:nvSpPr>
                  <p:cNvPr id="1191" name="Freeform 190">
                    <a:extLst>
                      <a:ext uri="{FF2B5EF4-FFF2-40B4-BE49-F238E27FC236}">
                        <a16:creationId xmlns:a16="http://schemas.microsoft.com/office/drawing/2014/main" id="{37EC908F-11DE-454D-BE0E-A74E7F834440}"/>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1107" name="Group 1106">
              <a:extLst>
                <a:ext uri="{FF2B5EF4-FFF2-40B4-BE49-F238E27FC236}">
                  <a16:creationId xmlns:a16="http://schemas.microsoft.com/office/drawing/2014/main" id="{58120152-3A44-4EBC-B0B4-28FDD43B7CA7}"/>
                </a:ext>
              </a:extLst>
            </p:cNvPr>
            <p:cNvGrpSpPr/>
            <p:nvPr/>
          </p:nvGrpSpPr>
          <p:grpSpPr>
            <a:xfrm>
              <a:off x="3852490" y="3233304"/>
              <a:ext cx="3961965" cy="3329442"/>
              <a:chOff x="3484242" y="3413760"/>
              <a:chExt cx="1656542" cy="1392080"/>
            </a:xfrm>
          </p:grpSpPr>
          <p:sp>
            <p:nvSpPr>
              <p:cNvPr id="1108" name="Freeform: Shape 1107">
                <a:extLst>
                  <a:ext uri="{FF2B5EF4-FFF2-40B4-BE49-F238E27FC236}">
                    <a16:creationId xmlns:a16="http://schemas.microsoft.com/office/drawing/2014/main" id="{CEBE1BB7-830A-4B4E-B872-BA82F83882AA}"/>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09" name="Freeform: Shape 1108">
                <a:extLst>
                  <a:ext uri="{FF2B5EF4-FFF2-40B4-BE49-F238E27FC236}">
                    <a16:creationId xmlns:a16="http://schemas.microsoft.com/office/drawing/2014/main" id="{420F0176-3E43-4EA7-8352-3409418581B3}"/>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10" name="Freeform 164">
                <a:extLst>
                  <a:ext uri="{FF2B5EF4-FFF2-40B4-BE49-F238E27FC236}">
                    <a16:creationId xmlns:a16="http://schemas.microsoft.com/office/drawing/2014/main" id="{48C3D035-8446-4240-81B9-F092A79E40E1}"/>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grpSp>
      </p:grpSp>
      <p:sp>
        <p:nvSpPr>
          <p:cNvPr id="519" name="Rectangle 518">
            <a:extLst>
              <a:ext uri="{FF2B5EF4-FFF2-40B4-BE49-F238E27FC236}">
                <a16:creationId xmlns:a16="http://schemas.microsoft.com/office/drawing/2014/main" id="{408B4B1A-E098-49D3-9B7D-659CDF074283}"/>
              </a:ext>
            </a:extLst>
          </p:cNvPr>
          <p:cNvSpPr/>
          <p:nvPr/>
        </p:nvSpPr>
        <p:spPr bwMode="auto">
          <a:xfrm>
            <a:off x="975208" y="3304608"/>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altLang="zh-CN" sz="1600">
                <a:solidFill>
                  <a:schemeClr val="tx1"/>
                </a:solidFill>
                <a:latin typeface="+mj-lt"/>
                <a:cs typeface="Segoe UI" pitchFamily="34" charset="0"/>
              </a:rPr>
              <a:t>Azure</a:t>
            </a:r>
          </a:p>
        </p:txBody>
      </p:sp>
      <p:grpSp>
        <p:nvGrpSpPr>
          <p:cNvPr id="520" name="Group 519">
            <a:extLst>
              <a:ext uri="{FF2B5EF4-FFF2-40B4-BE49-F238E27FC236}">
                <a16:creationId xmlns:a16="http://schemas.microsoft.com/office/drawing/2014/main" id="{3E320590-C278-41D4-9146-F88BFB8D855B}"/>
              </a:ext>
            </a:extLst>
          </p:cNvPr>
          <p:cNvGrpSpPr>
            <a:grpSpLocks/>
          </p:cNvGrpSpPr>
          <p:nvPr/>
        </p:nvGrpSpPr>
        <p:grpSpPr>
          <a:xfrm>
            <a:off x="1119407" y="3659907"/>
            <a:ext cx="450579" cy="511733"/>
            <a:chOff x="2266365" y="4401648"/>
            <a:chExt cx="1241795" cy="1412971"/>
          </a:xfrm>
          <a:solidFill>
            <a:schemeClr val="bg1">
              <a:lumMod val="75000"/>
            </a:schemeClr>
          </a:solidFill>
        </p:grpSpPr>
        <p:sp>
          <p:nvSpPr>
            <p:cNvPr id="1075" name="Oval 1074">
              <a:extLst>
                <a:ext uri="{FF2B5EF4-FFF2-40B4-BE49-F238E27FC236}">
                  <a16:creationId xmlns:a16="http://schemas.microsoft.com/office/drawing/2014/main" id="{7B6FF338-51AC-45A2-9C75-E7B4DA44E150}"/>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6" name="Oval 1075">
              <a:extLst>
                <a:ext uri="{FF2B5EF4-FFF2-40B4-BE49-F238E27FC236}">
                  <a16:creationId xmlns:a16="http://schemas.microsoft.com/office/drawing/2014/main" id="{F8767EBE-7AD6-4DF3-852D-9BB158BCAA5B}"/>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7" name="Freeform 297">
              <a:extLst>
                <a:ext uri="{FF2B5EF4-FFF2-40B4-BE49-F238E27FC236}">
                  <a16:creationId xmlns:a16="http://schemas.microsoft.com/office/drawing/2014/main" id="{9B7AD8A2-4E61-4BA5-BD24-31C17E1FB5D5}"/>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8" name="Oval 1077">
              <a:extLst>
                <a:ext uri="{FF2B5EF4-FFF2-40B4-BE49-F238E27FC236}">
                  <a16:creationId xmlns:a16="http://schemas.microsoft.com/office/drawing/2014/main" id="{D154137D-B40D-4CD1-B77B-0E9888888240}"/>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9" name="Oval 1078">
              <a:extLst>
                <a:ext uri="{FF2B5EF4-FFF2-40B4-BE49-F238E27FC236}">
                  <a16:creationId xmlns:a16="http://schemas.microsoft.com/office/drawing/2014/main" id="{97C2709C-1694-4F61-8BDF-A2770773DBCE}"/>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0" name="Oval 1079">
              <a:extLst>
                <a:ext uri="{FF2B5EF4-FFF2-40B4-BE49-F238E27FC236}">
                  <a16:creationId xmlns:a16="http://schemas.microsoft.com/office/drawing/2014/main" id="{3F5F5714-2266-47BC-ADCA-FB85CC1F648D}"/>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nvGrpSpPr>
            <p:cNvPr id="1081" name="Group 1080">
              <a:extLst>
                <a:ext uri="{FF2B5EF4-FFF2-40B4-BE49-F238E27FC236}">
                  <a16:creationId xmlns:a16="http://schemas.microsoft.com/office/drawing/2014/main" id="{E560C352-D0FE-4731-8CC0-75AC90D1739B}"/>
                </a:ext>
              </a:extLst>
            </p:cNvPr>
            <p:cNvGrpSpPr/>
            <p:nvPr/>
          </p:nvGrpSpPr>
          <p:grpSpPr>
            <a:xfrm>
              <a:off x="3014928" y="5033031"/>
              <a:ext cx="459519" cy="459064"/>
              <a:chOff x="3112464" y="5057415"/>
              <a:chExt cx="459519" cy="459064"/>
            </a:xfrm>
            <a:grpFill/>
          </p:grpSpPr>
          <p:sp>
            <p:nvSpPr>
              <p:cNvPr id="1099" name="Oval 1098">
                <a:extLst>
                  <a:ext uri="{FF2B5EF4-FFF2-40B4-BE49-F238E27FC236}">
                    <a16:creationId xmlns:a16="http://schemas.microsoft.com/office/drawing/2014/main" id="{85425DE5-084D-4A8B-8F5B-234E84D2CEB9}"/>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0" name="Freeform 309">
                <a:extLst>
                  <a:ext uri="{FF2B5EF4-FFF2-40B4-BE49-F238E27FC236}">
                    <a16:creationId xmlns:a16="http://schemas.microsoft.com/office/drawing/2014/main" id="{6C1E604A-3EAB-45A9-BA4E-51A222C87DD7}"/>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1" name="Freeform 310">
                <a:extLst>
                  <a:ext uri="{FF2B5EF4-FFF2-40B4-BE49-F238E27FC236}">
                    <a16:creationId xmlns:a16="http://schemas.microsoft.com/office/drawing/2014/main" id="{FA883592-2757-4FF7-8F6A-5E79392E1486}"/>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2" name="Freeform 311">
                <a:extLst>
                  <a:ext uri="{FF2B5EF4-FFF2-40B4-BE49-F238E27FC236}">
                    <a16:creationId xmlns:a16="http://schemas.microsoft.com/office/drawing/2014/main" id="{F6BC9EAF-AE08-47A8-B1D5-CECDC355B4C3}"/>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3" name="Freeform 312">
                <a:extLst>
                  <a:ext uri="{FF2B5EF4-FFF2-40B4-BE49-F238E27FC236}">
                    <a16:creationId xmlns:a16="http://schemas.microsoft.com/office/drawing/2014/main" id="{D8C11260-FE97-43F3-BE0D-8B72EA4A572C}"/>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4" name="Rectangle 1103">
                <a:extLst>
                  <a:ext uri="{FF2B5EF4-FFF2-40B4-BE49-F238E27FC236}">
                    <a16:creationId xmlns:a16="http://schemas.microsoft.com/office/drawing/2014/main" id="{59E2CDED-3BA4-4D98-9A00-59B66A561A2A}"/>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5" name="Rectangle 1104">
                <a:extLst>
                  <a:ext uri="{FF2B5EF4-FFF2-40B4-BE49-F238E27FC236}">
                    <a16:creationId xmlns:a16="http://schemas.microsoft.com/office/drawing/2014/main" id="{A46CC430-9AD4-4F54-BB21-B45C372820AC}"/>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sp>
          <p:nvSpPr>
            <p:cNvPr id="1082" name="Freeform 331">
              <a:extLst>
                <a:ext uri="{FF2B5EF4-FFF2-40B4-BE49-F238E27FC236}">
                  <a16:creationId xmlns:a16="http://schemas.microsoft.com/office/drawing/2014/main" id="{3EA0F48D-D96E-4395-B184-726D4283385F}"/>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3" name="Freeform 332">
              <a:extLst>
                <a:ext uri="{FF2B5EF4-FFF2-40B4-BE49-F238E27FC236}">
                  <a16:creationId xmlns:a16="http://schemas.microsoft.com/office/drawing/2014/main" id="{6194C734-CC58-478D-A0B3-C9B38F11025A}"/>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4" name="Rectangle 333">
              <a:extLst>
                <a:ext uri="{FF2B5EF4-FFF2-40B4-BE49-F238E27FC236}">
                  <a16:creationId xmlns:a16="http://schemas.microsoft.com/office/drawing/2014/main" id="{46E2FC84-746B-4C08-8D48-EA486FF17536}"/>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5" name="Rectangle 334">
              <a:extLst>
                <a:ext uri="{FF2B5EF4-FFF2-40B4-BE49-F238E27FC236}">
                  <a16:creationId xmlns:a16="http://schemas.microsoft.com/office/drawing/2014/main" id="{A7AF0ADC-E9B1-4ADC-92D8-7036B03CEED0}"/>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6" name="Rectangle 335">
              <a:extLst>
                <a:ext uri="{FF2B5EF4-FFF2-40B4-BE49-F238E27FC236}">
                  <a16:creationId xmlns:a16="http://schemas.microsoft.com/office/drawing/2014/main" id="{0AB41B36-589B-4BD6-995D-0D42FE4EBE82}"/>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7" name="Rectangle 336">
              <a:extLst>
                <a:ext uri="{FF2B5EF4-FFF2-40B4-BE49-F238E27FC236}">
                  <a16:creationId xmlns:a16="http://schemas.microsoft.com/office/drawing/2014/main" id="{7F7C06AE-8013-404A-BCE9-3CB361056561}"/>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8" name="Rectangle 337">
              <a:extLst>
                <a:ext uri="{FF2B5EF4-FFF2-40B4-BE49-F238E27FC236}">
                  <a16:creationId xmlns:a16="http://schemas.microsoft.com/office/drawing/2014/main" id="{B9342F2B-063F-49C1-97A1-189C0D640385}"/>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nvGrpSpPr>
            <p:cNvPr id="1089" name="Group 1088">
              <a:extLst>
                <a:ext uri="{FF2B5EF4-FFF2-40B4-BE49-F238E27FC236}">
                  <a16:creationId xmlns:a16="http://schemas.microsoft.com/office/drawing/2014/main" id="{D59D95B5-50FD-43CF-9FF1-EF8792E2D9D4}"/>
                </a:ext>
              </a:extLst>
            </p:cNvPr>
            <p:cNvGrpSpPr/>
            <p:nvPr/>
          </p:nvGrpSpPr>
          <p:grpSpPr>
            <a:xfrm>
              <a:off x="3120879" y="4597927"/>
              <a:ext cx="384756" cy="384300"/>
              <a:chOff x="3571983" y="4744231"/>
              <a:chExt cx="384756" cy="384300"/>
            </a:xfrm>
            <a:grpFill/>
          </p:grpSpPr>
          <p:sp>
            <p:nvSpPr>
              <p:cNvPr id="1096" name="Oval 1095">
                <a:extLst>
                  <a:ext uri="{FF2B5EF4-FFF2-40B4-BE49-F238E27FC236}">
                    <a16:creationId xmlns:a16="http://schemas.microsoft.com/office/drawing/2014/main" id="{3A073484-FA33-4E89-B519-6EF22DDED9CE}"/>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7" name="Freeform 338">
                <a:extLst>
                  <a:ext uri="{FF2B5EF4-FFF2-40B4-BE49-F238E27FC236}">
                    <a16:creationId xmlns:a16="http://schemas.microsoft.com/office/drawing/2014/main" id="{1D50BE16-C23C-43B7-A448-6C716C43AF4B}"/>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8" name="Freeform 339">
                <a:extLst>
                  <a:ext uri="{FF2B5EF4-FFF2-40B4-BE49-F238E27FC236}">
                    <a16:creationId xmlns:a16="http://schemas.microsoft.com/office/drawing/2014/main" id="{97674938-5446-42A5-B707-9D6187A5555C}"/>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nvGrpSpPr>
            <p:cNvPr id="1090" name="Group 1089">
              <a:extLst>
                <a:ext uri="{FF2B5EF4-FFF2-40B4-BE49-F238E27FC236}">
                  <a16:creationId xmlns:a16="http://schemas.microsoft.com/office/drawing/2014/main" id="{EC282288-117A-40BD-A987-10E08F506719}"/>
                </a:ext>
              </a:extLst>
            </p:cNvPr>
            <p:cNvGrpSpPr/>
            <p:nvPr/>
          </p:nvGrpSpPr>
          <p:grpSpPr>
            <a:xfrm>
              <a:off x="2782979" y="4401648"/>
              <a:ext cx="277626" cy="278082"/>
              <a:chOff x="3843683" y="4426032"/>
              <a:chExt cx="277626" cy="278082"/>
            </a:xfrm>
            <a:grpFill/>
          </p:grpSpPr>
          <p:sp>
            <p:nvSpPr>
              <p:cNvPr id="1091" name="Oval 1090">
                <a:extLst>
                  <a:ext uri="{FF2B5EF4-FFF2-40B4-BE49-F238E27FC236}">
                    <a16:creationId xmlns:a16="http://schemas.microsoft.com/office/drawing/2014/main" id="{D31D566E-743A-47B5-8FFE-AC51511E8C83}"/>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2" name="Freeform 340">
                <a:extLst>
                  <a:ext uri="{FF2B5EF4-FFF2-40B4-BE49-F238E27FC236}">
                    <a16:creationId xmlns:a16="http://schemas.microsoft.com/office/drawing/2014/main" id="{B15039E8-CEA0-4382-B767-F3F6AB678764}"/>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3" name="Freeform 341">
                <a:extLst>
                  <a:ext uri="{FF2B5EF4-FFF2-40B4-BE49-F238E27FC236}">
                    <a16:creationId xmlns:a16="http://schemas.microsoft.com/office/drawing/2014/main" id="{F50C8524-9DB2-4D72-BE49-B7AE08CD8879}"/>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4" name="Rectangle 342">
                <a:extLst>
                  <a:ext uri="{FF2B5EF4-FFF2-40B4-BE49-F238E27FC236}">
                    <a16:creationId xmlns:a16="http://schemas.microsoft.com/office/drawing/2014/main" id="{B8659BB0-5CC5-4B5E-BC8A-A436D0CE6A50}"/>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5" name="Freeform 343">
                <a:extLst>
                  <a:ext uri="{FF2B5EF4-FFF2-40B4-BE49-F238E27FC236}">
                    <a16:creationId xmlns:a16="http://schemas.microsoft.com/office/drawing/2014/main" id="{F18EDBC7-7D4D-4C18-AEB6-09CD5D41A714}"/>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sp>
        <p:nvSpPr>
          <p:cNvPr id="521" name="TextBox 520">
            <a:extLst>
              <a:ext uri="{FF2B5EF4-FFF2-40B4-BE49-F238E27FC236}">
                <a16:creationId xmlns:a16="http://schemas.microsoft.com/office/drawing/2014/main" id="{83488340-C370-4382-89C0-2637BB3ECFD8}"/>
              </a:ext>
            </a:extLst>
          </p:cNvPr>
          <p:cNvSpPr txBox="1"/>
          <p:nvPr/>
        </p:nvSpPr>
        <p:spPr>
          <a:xfrm>
            <a:off x="3178754" y="3617434"/>
            <a:ext cx="5834492" cy="307777"/>
          </a:xfrm>
          <a:prstGeom prst="rect">
            <a:avLst/>
          </a:prstGeom>
          <a:noFill/>
        </p:spPr>
        <p:txBody>
          <a:bodyPr wrap="square" lIns="91440" tIns="45720" rIns="91440" bIns="45720" rtlCol="0" anchor="ctr">
            <a:spAutoFit/>
          </a:bodyPr>
          <a:lstStyle/>
          <a:p>
            <a:pPr algn="ctr" defTabSz="914501">
              <a:spcAft>
                <a:spcPts val="588"/>
              </a:spcAft>
            </a:pPr>
            <a:r>
              <a:rPr lang="en-US" sz="1400"/>
              <a:t>Standardized, Global, &amp; Secure</a:t>
            </a:r>
          </a:p>
        </p:txBody>
      </p:sp>
      <p:grpSp>
        <p:nvGrpSpPr>
          <p:cNvPr id="522" name="Group 521">
            <a:extLst>
              <a:ext uri="{FF2B5EF4-FFF2-40B4-BE49-F238E27FC236}">
                <a16:creationId xmlns:a16="http://schemas.microsoft.com/office/drawing/2014/main" id="{BC687378-6F00-43D9-9212-28441165EE81}"/>
              </a:ext>
            </a:extLst>
          </p:cNvPr>
          <p:cNvGrpSpPr/>
          <p:nvPr/>
        </p:nvGrpSpPr>
        <p:grpSpPr>
          <a:xfrm>
            <a:off x="1119407" y="3659907"/>
            <a:ext cx="450579" cy="511733"/>
            <a:chOff x="2266365" y="4401648"/>
            <a:chExt cx="1241795" cy="1412971"/>
          </a:xfrm>
        </p:grpSpPr>
        <p:sp>
          <p:nvSpPr>
            <p:cNvPr id="1044" name="Oval 1043">
              <a:extLst>
                <a:ext uri="{FF2B5EF4-FFF2-40B4-BE49-F238E27FC236}">
                  <a16:creationId xmlns:a16="http://schemas.microsoft.com/office/drawing/2014/main" id="{4F6C7202-DB35-44A0-9A8D-B64B4DB14D08}"/>
                </a:ext>
              </a:extLst>
            </p:cNvPr>
            <p:cNvSpPr>
              <a:spLocks noChangeArrowheads="1"/>
            </p:cNvSpPr>
            <p:nvPr/>
          </p:nvSpPr>
          <p:spPr bwMode="auto">
            <a:xfrm>
              <a:off x="2528285" y="4894661"/>
              <a:ext cx="120806" cy="12080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45" name="Oval 1044">
              <a:extLst>
                <a:ext uri="{FF2B5EF4-FFF2-40B4-BE49-F238E27FC236}">
                  <a16:creationId xmlns:a16="http://schemas.microsoft.com/office/drawing/2014/main" id="{F9F2F6D1-FC40-4212-8359-E211860FB972}"/>
                </a:ext>
              </a:extLst>
            </p:cNvPr>
            <p:cNvSpPr>
              <a:spLocks noChangeArrowheads="1"/>
            </p:cNvSpPr>
            <p:nvPr/>
          </p:nvSpPr>
          <p:spPr bwMode="auto">
            <a:xfrm>
              <a:off x="2486096" y="5303131"/>
              <a:ext cx="109409" cy="10895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46" name="Freeform 297">
              <a:extLst>
                <a:ext uri="{FF2B5EF4-FFF2-40B4-BE49-F238E27FC236}">
                  <a16:creationId xmlns:a16="http://schemas.microsoft.com/office/drawing/2014/main" id="{73B696E9-ECA6-48BA-8B5A-1A0C808EC6C7}"/>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47" name="Oval 1046">
              <a:extLst>
                <a:ext uri="{FF2B5EF4-FFF2-40B4-BE49-F238E27FC236}">
                  <a16:creationId xmlns:a16="http://schemas.microsoft.com/office/drawing/2014/main" id="{3487063D-EDE4-4692-AD69-310DE5D0AEFD}"/>
                </a:ext>
              </a:extLst>
            </p:cNvPr>
            <p:cNvSpPr>
              <a:spLocks noChangeArrowheads="1"/>
            </p:cNvSpPr>
            <p:nvPr/>
          </p:nvSpPr>
          <p:spPr bwMode="auto">
            <a:xfrm>
              <a:off x="2781501" y="5443083"/>
              <a:ext cx="371080" cy="37153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48" name="Oval 1047">
              <a:extLst>
                <a:ext uri="{FF2B5EF4-FFF2-40B4-BE49-F238E27FC236}">
                  <a16:creationId xmlns:a16="http://schemas.microsoft.com/office/drawing/2014/main" id="{099598CA-BEA3-4469-B097-46E6862CF27E}"/>
                </a:ext>
              </a:extLst>
            </p:cNvPr>
            <p:cNvSpPr>
              <a:spLocks noChangeArrowheads="1"/>
            </p:cNvSpPr>
            <p:nvPr/>
          </p:nvSpPr>
          <p:spPr bwMode="auto">
            <a:xfrm>
              <a:off x="2589656" y="4673378"/>
              <a:ext cx="161835" cy="161379"/>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49" name="Oval 1048">
              <a:extLst>
                <a:ext uri="{FF2B5EF4-FFF2-40B4-BE49-F238E27FC236}">
                  <a16:creationId xmlns:a16="http://schemas.microsoft.com/office/drawing/2014/main" id="{3D96955F-6C38-4D81-9082-B282A04E7323}"/>
                </a:ext>
              </a:extLst>
            </p:cNvPr>
            <p:cNvSpPr>
              <a:spLocks noChangeArrowheads="1"/>
            </p:cNvSpPr>
            <p:nvPr/>
          </p:nvSpPr>
          <p:spPr bwMode="auto">
            <a:xfrm>
              <a:off x="2554542" y="5474931"/>
              <a:ext cx="144056" cy="1436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grpSp>
          <p:nvGrpSpPr>
            <p:cNvPr id="1050" name="Group 1049">
              <a:extLst>
                <a:ext uri="{FF2B5EF4-FFF2-40B4-BE49-F238E27FC236}">
                  <a16:creationId xmlns:a16="http://schemas.microsoft.com/office/drawing/2014/main" id="{85806484-0E6A-47C4-813C-035C15450348}"/>
                </a:ext>
              </a:extLst>
            </p:cNvPr>
            <p:cNvGrpSpPr/>
            <p:nvPr/>
          </p:nvGrpSpPr>
          <p:grpSpPr>
            <a:xfrm>
              <a:off x="3014928" y="5033031"/>
              <a:ext cx="459519" cy="459064"/>
              <a:chOff x="3112464" y="5057415"/>
              <a:chExt cx="459519" cy="459064"/>
            </a:xfrm>
          </p:grpSpPr>
          <p:sp>
            <p:nvSpPr>
              <p:cNvPr id="1068" name="Oval 1067">
                <a:extLst>
                  <a:ext uri="{FF2B5EF4-FFF2-40B4-BE49-F238E27FC236}">
                    <a16:creationId xmlns:a16="http://schemas.microsoft.com/office/drawing/2014/main" id="{B7F83259-D145-43D1-8C9E-3207EAEFDF60}"/>
                  </a:ext>
                </a:extLst>
              </p:cNvPr>
              <p:cNvSpPr>
                <a:spLocks noChangeArrowheads="1"/>
              </p:cNvSpPr>
              <p:nvPr/>
            </p:nvSpPr>
            <p:spPr bwMode="auto">
              <a:xfrm>
                <a:off x="3112464" y="5057415"/>
                <a:ext cx="459519" cy="45906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69" name="Freeform 309">
                <a:extLst>
                  <a:ext uri="{FF2B5EF4-FFF2-40B4-BE49-F238E27FC236}">
                    <a16:creationId xmlns:a16="http://schemas.microsoft.com/office/drawing/2014/main" id="{D77D8C07-701F-4C6E-BF66-50980F4F266A}"/>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70" name="Freeform 310">
                <a:extLst>
                  <a:ext uri="{FF2B5EF4-FFF2-40B4-BE49-F238E27FC236}">
                    <a16:creationId xmlns:a16="http://schemas.microsoft.com/office/drawing/2014/main" id="{9A57860D-2313-471B-9F14-498D69949015}"/>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71" name="Freeform 311">
                <a:extLst>
                  <a:ext uri="{FF2B5EF4-FFF2-40B4-BE49-F238E27FC236}">
                    <a16:creationId xmlns:a16="http://schemas.microsoft.com/office/drawing/2014/main" id="{668E14D8-13BA-43D8-B3CB-116D21D559DE}"/>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72" name="Freeform 312">
                <a:extLst>
                  <a:ext uri="{FF2B5EF4-FFF2-40B4-BE49-F238E27FC236}">
                    <a16:creationId xmlns:a16="http://schemas.microsoft.com/office/drawing/2014/main" id="{6BF08310-EC5A-48FD-BC61-1241C6E20049}"/>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73" name="Rectangle 1072">
                <a:extLst>
                  <a:ext uri="{FF2B5EF4-FFF2-40B4-BE49-F238E27FC236}">
                    <a16:creationId xmlns:a16="http://schemas.microsoft.com/office/drawing/2014/main" id="{2EE07033-DE74-4C63-945A-6F472FD11032}"/>
                  </a:ext>
                </a:extLst>
              </p:cNvPr>
              <p:cNvSpPr>
                <a:spLocks noChangeArrowheads="1"/>
              </p:cNvSpPr>
              <p:nvPr/>
            </p:nvSpPr>
            <p:spPr bwMode="auto">
              <a:xfrm>
                <a:off x="3303474" y="5376982"/>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74" name="Rectangle 1073">
                <a:extLst>
                  <a:ext uri="{FF2B5EF4-FFF2-40B4-BE49-F238E27FC236}">
                    <a16:creationId xmlns:a16="http://schemas.microsoft.com/office/drawing/2014/main" id="{1C89C039-AFB3-4CCB-8C26-372D1FF2A1AB}"/>
                  </a:ext>
                </a:extLst>
              </p:cNvPr>
              <p:cNvSpPr>
                <a:spLocks noChangeArrowheads="1"/>
              </p:cNvSpPr>
              <p:nvPr/>
            </p:nvSpPr>
            <p:spPr bwMode="auto">
              <a:xfrm>
                <a:off x="3303474" y="5396584"/>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grpSp>
        <p:sp>
          <p:nvSpPr>
            <p:cNvPr id="1051" name="Freeform 331">
              <a:extLst>
                <a:ext uri="{FF2B5EF4-FFF2-40B4-BE49-F238E27FC236}">
                  <a16:creationId xmlns:a16="http://schemas.microsoft.com/office/drawing/2014/main" id="{6F81252A-8D7C-4F01-B861-95638E85B3C2}"/>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52" name="Freeform 332">
              <a:extLst>
                <a:ext uri="{FF2B5EF4-FFF2-40B4-BE49-F238E27FC236}">
                  <a16:creationId xmlns:a16="http://schemas.microsoft.com/office/drawing/2014/main" id="{82FADEA6-4BB4-46A5-AE71-92D59D1FA2AA}"/>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53" name="Rectangle 333">
              <a:extLst>
                <a:ext uri="{FF2B5EF4-FFF2-40B4-BE49-F238E27FC236}">
                  <a16:creationId xmlns:a16="http://schemas.microsoft.com/office/drawing/2014/main" id="{6B36CD30-9D08-4E00-B1A4-B5CB2BFC1AB5}"/>
                </a:ext>
              </a:extLst>
            </p:cNvPr>
            <p:cNvSpPr>
              <a:spLocks noChangeArrowheads="1"/>
            </p:cNvSpPr>
            <p:nvPr/>
          </p:nvSpPr>
          <p:spPr bwMode="auto">
            <a:xfrm>
              <a:off x="2913704" y="5594433"/>
              <a:ext cx="106674" cy="10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54" name="Rectangle 334">
              <a:extLst>
                <a:ext uri="{FF2B5EF4-FFF2-40B4-BE49-F238E27FC236}">
                  <a16:creationId xmlns:a16="http://schemas.microsoft.com/office/drawing/2014/main" id="{26692F91-CDDF-4E52-97DB-40DBBACC52E7}"/>
                </a:ext>
              </a:extLst>
            </p:cNvPr>
            <p:cNvSpPr>
              <a:spLocks noChangeArrowheads="1"/>
            </p:cNvSpPr>
            <p:nvPr/>
          </p:nvSpPr>
          <p:spPr bwMode="auto">
            <a:xfrm>
              <a:off x="2913704" y="5614036"/>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55" name="Rectangle 335">
              <a:extLst>
                <a:ext uri="{FF2B5EF4-FFF2-40B4-BE49-F238E27FC236}">
                  <a16:creationId xmlns:a16="http://schemas.microsoft.com/office/drawing/2014/main" id="{13FB1B76-1932-444A-B2F8-7B9C7AE975CB}"/>
                </a:ext>
              </a:extLst>
            </p:cNvPr>
            <p:cNvSpPr>
              <a:spLocks noChangeArrowheads="1"/>
            </p:cNvSpPr>
            <p:nvPr/>
          </p:nvSpPr>
          <p:spPr bwMode="auto">
            <a:xfrm>
              <a:off x="2913704" y="5633182"/>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56" name="Rectangle 336">
              <a:extLst>
                <a:ext uri="{FF2B5EF4-FFF2-40B4-BE49-F238E27FC236}">
                  <a16:creationId xmlns:a16="http://schemas.microsoft.com/office/drawing/2014/main" id="{D63D7CB9-D7CC-4342-87D7-1510A319CEFE}"/>
                </a:ext>
              </a:extLst>
            </p:cNvPr>
            <p:cNvSpPr>
              <a:spLocks noChangeArrowheads="1"/>
            </p:cNvSpPr>
            <p:nvPr/>
          </p:nvSpPr>
          <p:spPr bwMode="auto">
            <a:xfrm>
              <a:off x="2913704" y="5652329"/>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57" name="Rectangle 337">
              <a:extLst>
                <a:ext uri="{FF2B5EF4-FFF2-40B4-BE49-F238E27FC236}">
                  <a16:creationId xmlns:a16="http://schemas.microsoft.com/office/drawing/2014/main" id="{69E50026-AE89-44B6-81E0-BB941ADCDD29}"/>
                </a:ext>
              </a:extLst>
            </p:cNvPr>
            <p:cNvSpPr>
              <a:spLocks noChangeArrowheads="1"/>
            </p:cNvSpPr>
            <p:nvPr/>
          </p:nvSpPr>
          <p:spPr bwMode="auto">
            <a:xfrm>
              <a:off x="2913704" y="5670564"/>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grpSp>
          <p:nvGrpSpPr>
            <p:cNvPr id="1058" name="Group 1057">
              <a:extLst>
                <a:ext uri="{FF2B5EF4-FFF2-40B4-BE49-F238E27FC236}">
                  <a16:creationId xmlns:a16="http://schemas.microsoft.com/office/drawing/2014/main" id="{0D18994F-0AA5-471A-96CD-E2CAE40E1921}"/>
                </a:ext>
              </a:extLst>
            </p:cNvPr>
            <p:cNvGrpSpPr/>
            <p:nvPr/>
          </p:nvGrpSpPr>
          <p:grpSpPr>
            <a:xfrm>
              <a:off x="3120879" y="4597927"/>
              <a:ext cx="384756" cy="384300"/>
              <a:chOff x="3571983" y="4744231"/>
              <a:chExt cx="384756" cy="384300"/>
            </a:xfrm>
          </p:grpSpPr>
          <p:sp>
            <p:nvSpPr>
              <p:cNvPr id="1065" name="Oval 1064">
                <a:extLst>
                  <a:ext uri="{FF2B5EF4-FFF2-40B4-BE49-F238E27FC236}">
                    <a16:creationId xmlns:a16="http://schemas.microsoft.com/office/drawing/2014/main" id="{38BE2EF9-9B8B-458A-88BB-8D65B7FCDC9B}"/>
                  </a:ext>
                </a:extLst>
              </p:cNvPr>
              <p:cNvSpPr>
                <a:spLocks noChangeArrowheads="1"/>
              </p:cNvSpPr>
              <p:nvPr/>
            </p:nvSpPr>
            <p:spPr bwMode="auto">
              <a:xfrm>
                <a:off x="3571983" y="4744231"/>
                <a:ext cx="384756" cy="3843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66" name="Freeform 338">
                <a:extLst>
                  <a:ext uri="{FF2B5EF4-FFF2-40B4-BE49-F238E27FC236}">
                    <a16:creationId xmlns:a16="http://schemas.microsoft.com/office/drawing/2014/main" id="{D0DBA63A-D38C-4102-951D-A0C03916510F}"/>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67" name="Freeform 339">
                <a:extLst>
                  <a:ext uri="{FF2B5EF4-FFF2-40B4-BE49-F238E27FC236}">
                    <a16:creationId xmlns:a16="http://schemas.microsoft.com/office/drawing/2014/main" id="{AD4EA357-DF4E-4FD6-BB28-38E2099DC071}"/>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grpSp>
        <p:grpSp>
          <p:nvGrpSpPr>
            <p:cNvPr id="1059" name="Group 1058">
              <a:extLst>
                <a:ext uri="{FF2B5EF4-FFF2-40B4-BE49-F238E27FC236}">
                  <a16:creationId xmlns:a16="http://schemas.microsoft.com/office/drawing/2014/main" id="{76FC65BD-CE85-44B0-9CC8-A4AFD4A5EB23}"/>
                </a:ext>
              </a:extLst>
            </p:cNvPr>
            <p:cNvGrpSpPr/>
            <p:nvPr/>
          </p:nvGrpSpPr>
          <p:grpSpPr>
            <a:xfrm>
              <a:off x="2782979" y="4401648"/>
              <a:ext cx="277626" cy="278082"/>
              <a:chOff x="3843683" y="4426032"/>
              <a:chExt cx="277626" cy="278082"/>
            </a:xfrm>
          </p:grpSpPr>
          <p:sp>
            <p:nvSpPr>
              <p:cNvPr id="1060" name="Oval 1059">
                <a:extLst>
                  <a:ext uri="{FF2B5EF4-FFF2-40B4-BE49-F238E27FC236}">
                    <a16:creationId xmlns:a16="http://schemas.microsoft.com/office/drawing/2014/main" id="{30DDB2D1-2EDA-4AF9-9CA7-8DB20FB7FE36}"/>
                  </a:ext>
                </a:extLst>
              </p:cNvPr>
              <p:cNvSpPr>
                <a:spLocks noChangeArrowheads="1"/>
              </p:cNvSpPr>
              <p:nvPr/>
            </p:nvSpPr>
            <p:spPr bwMode="auto">
              <a:xfrm>
                <a:off x="3843683" y="4426032"/>
                <a:ext cx="277626" cy="278082"/>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61" name="Freeform 340">
                <a:extLst>
                  <a:ext uri="{FF2B5EF4-FFF2-40B4-BE49-F238E27FC236}">
                    <a16:creationId xmlns:a16="http://schemas.microsoft.com/office/drawing/2014/main" id="{FE110ED3-89C4-457A-A66D-3E7F961912AA}"/>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62" name="Freeform 341">
                <a:extLst>
                  <a:ext uri="{FF2B5EF4-FFF2-40B4-BE49-F238E27FC236}">
                    <a16:creationId xmlns:a16="http://schemas.microsoft.com/office/drawing/2014/main" id="{9121E7E2-C0F6-430E-B39E-2FA7B0216BB9}"/>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63" name="Rectangle 342">
                <a:extLst>
                  <a:ext uri="{FF2B5EF4-FFF2-40B4-BE49-F238E27FC236}">
                    <a16:creationId xmlns:a16="http://schemas.microsoft.com/office/drawing/2014/main" id="{BF19887E-5A21-4728-AEE1-F341DA78DAAC}"/>
                  </a:ext>
                </a:extLst>
              </p:cNvPr>
              <p:cNvSpPr>
                <a:spLocks noChangeArrowheads="1"/>
              </p:cNvSpPr>
              <p:nvPr/>
            </p:nvSpPr>
            <p:spPr bwMode="auto">
              <a:xfrm>
                <a:off x="3986827" y="4589234"/>
                <a:ext cx="41484" cy="104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064" name="Freeform 343">
                <a:extLst>
                  <a:ext uri="{FF2B5EF4-FFF2-40B4-BE49-F238E27FC236}">
                    <a16:creationId xmlns:a16="http://schemas.microsoft.com/office/drawing/2014/main" id="{CDED0EC3-0DE7-461C-890E-BF14213C9C71}"/>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grpSp>
      </p:grpSp>
      <p:grpSp>
        <p:nvGrpSpPr>
          <p:cNvPr id="531" name="Group 530">
            <a:extLst>
              <a:ext uri="{FF2B5EF4-FFF2-40B4-BE49-F238E27FC236}">
                <a16:creationId xmlns:a16="http://schemas.microsoft.com/office/drawing/2014/main" id="{BA7BE5A5-EDB5-4E49-BBC9-0DEB14ABF2F4}"/>
              </a:ext>
            </a:extLst>
          </p:cNvPr>
          <p:cNvGrpSpPr/>
          <p:nvPr/>
        </p:nvGrpSpPr>
        <p:grpSpPr>
          <a:xfrm>
            <a:off x="6697244" y="2633218"/>
            <a:ext cx="943275" cy="575452"/>
            <a:chOff x="2462782" y="2531792"/>
            <a:chExt cx="4107114" cy="2505576"/>
          </a:xfrm>
        </p:grpSpPr>
        <p:grpSp>
          <p:nvGrpSpPr>
            <p:cNvPr id="546" name="Group 545">
              <a:extLst>
                <a:ext uri="{FF2B5EF4-FFF2-40B4-BE49-F238E27FC236}">
                  <a16:creationId xmlns:a16="http://schemas.microsoft.com/office/drawing/2014/main" id="{1E85801D-085B-4A3C-B56C-0BDEE21E34B4}"/>
                </a:ext>
              </a:extLst>
            </p:cNvPr>
            <p:cNvGrpSpPr/>
            <p:nvPr/>
          </p:nvGrpSpPr>
          <p:grpSpPr>
            <a:xfrm>
              <a:off x="2872310" y="2531792"/>
              <a:ext cx="1358259" cy="1358259"/>
              <a:chOff x="3695059" y="2057989"/>
              <a:chExt cx="825500" cy="825500"/>
            </a:xfrm>
          </p:grpSpPr>
          <p:sp>
            <p:nvSpPr>
              <p:cNvPr id="695" name="Oval 694">
                <a:extLst>
                  <a:ext uri="{FF2B5EF4-FFF2-40B4-BE49-F238E27FC236}">
                    <a16:creationId xmlns:a16="http://schemas.microsoft.com/office/drawing/2014/main" id="{BFBDE986-CE8C-4BEA-8163-2AA5D97FF9C1}"/>
                  </a:ext>
                </a:extLst>
              </p:cNvPr>
              <p:cNvSpPr/>
              <p:nvPr/>
            </p:nvSpPr>
            <p:spPr bwMode="auto">
              <a:xfrm>
                <a:off x="3695059" y="2057989"/>
                <a:ext cx="825500" cy="825500"/>
              </a:xfrm>
              <a:prstGeom prst="ellipse">
                <a:avLst/>
              </a:prstGeom>
              <a:solidFill>
                <a:srgbClr val="FFFFFF"/>
              </a:solidFill>
              <a:ln w="9525" cap="flat" cmpd="sng" algn="ctr">
                <a:solidFill>
                  <a:srgbClr val="353535">
                    <a:lumMod val="20000"/>
                    <a:lumOff val="80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96" name="Freeform 82">
                <a:extLst>
                  <a:ext uri="{FF2B5EF4-FFF2-40B4-BE49-F238E27FC236}">
                    <a16:creationId xmlns:a16="http://schemas.microsoft.com/office/drawing/2014/main" id="{6974CC3F-8F0C-4FDC-B005-FA2271AF607E}"/>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grpSp>
        <p:sp>
          <p:nvSpPr>
            <p:cNvPr id="547" name="Rectangle 546">
              <a:extLst>
                <a:ext uri="{FF2B5EF4-FFF2-40B4-BE49-F238E27FC236}">
                  <a16:creationId xmlns:a16="http://schemas.microsoft.com/office/drawing/2014/main" id="{7C913D05-1D88-467D-9738-EAFB3964FF8F}"/>
                </a:ext>
              </a:extLst>
            </p:cNvPr>
            <p:cNvSpPr>
              <a:spLocks noChangeArrowheads="1"/>
            </p:cNvSpPr>
            <p:nvPr/>
          </p:nvSpPr>
          <p:spPr bwMode="auto">
            <a:xfrm>
              <a:off x="5099042" y="4195467"/>
              <a:ext cx="364447" cy="3586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548" name="Rectangle 547">
              <a:extLst>
                <a:ext uri="{FF2B5EF4-FFF2-40B4-BE49-F238E27FC236}">
                  <a16:creationId xmlns:a16="http://schemas.microsoft.com/office/drawing/2014/main" id="{A44F6DB1-4FEB-41BA-8C98-0A17AEA2BC1B}"/>
                </a:ext>
              </a:extLst>
            </p:cNvPr>
            <p:cNvSpPr>
              <a:spLocks noChangeArrowheads="1"/>
            </p:cNvSpPr>
            <p:nvPr/>
          </p:nvSpPr>
          <p:spPr bwMode="auto">
            <a:xfrm>
              <a:off x="4708459" y="4525065"/>
              <a:ext cx="1145611" cy="5372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573" name="Freeform 7">
              <a:extLst>
                <a:ext uri="{FF2B5EF4-FFF2-40B4-BE49-F238E27FC236}">
                  <a16:creationId xmlns:a16="http://schemas.microsoft.com/office/drawing/2014/main" id="{A41F12C8-3C07-4F6E-8428-DBBE4DE61A13}"/>
                </a:ext>
              </a:extLst>
            </p:cNvPr>
            <p:cNvSpPr>
              <a:spLocks/>
            </p:cNvSpPr>
            <p:nvPr/>
          </p:nvSpPr>
          <p:spPr bwMode="auto">
            <a:xfrm>
              <a:off x="4001346" y="2747845"/>
              <a:ext cx="2568550" cy="1530384"/>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574" name="Freeform 8">
              <a:extLst>
                <a:ext uri="{FF2B5EF4-FFF2-40B4-BE49-F238E27FC236}">
                  <a16:creationId xmlns:a16="http://schemas.microsoft.com/office/drawing/2014/main" id="{1401D842-11DA-457B-B2AC-D275FA393AA6}"/>
                </a:ext>
              </a:extLst>
            </p:cNvPr>
            <p:cNvSpPr>
              <a:spLocks/>
            </p:cNvSpPr>
            <p:nvPr/>
          </p:nvSpPr>
          <p:spPr bwMode="auto">
            <a:xfrm>
              <a:off x="4071041" y="2817540"/>
              <a:ext cx="2416092" cy="1332915"/>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576" name="Rectangle 575">
              <a:extLst>
                <a:ext uri="{FF2B5EF4-FFF2-40B4-BE49-F238E27FC236}">
                  <a16:creationId xmlns:a16="http://schemas.microsoft.com/office/drawing/2014/main" id="{40DF96C7-4B5A-413A-A767-A9E703547533}"/>
                </a:ext>
              </a:extLst>
            </p:cNvPr>
            <p:cNvSpPr>
              <a:spLocks noChangeArrowheads="1"/>
            </p:cNvSpPr>
            <p:nvPr/>
          </p:nvSpPr>
          <p:spPr bwMode="auto">
            <a:xfrm>
              <a:off x="4277222" y="3028077"/>
              <a:ext cx="451566" cy="8711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577" name="Rectangle 576">
              <a:extLst>
                <a:ext uri="{FF2B5EF4-FFF2-40B4-BE49-F238E27FC236}">
                  <a16:creationId xmlns:a16="http://schemas.microsoft.com/office/drawing/2014/main" id="{7C7EE425-8A90-4C22-8ACF-456513AA5189}"/>
                </a:ext>
              </a:extLst>
            </p:cNvPr>
            <p:cNvSpPr>
              <a:spLocks noChangeArrowheads="1"/>
            </p:cNvSpPr>
            <p:nvPr/>
          </p:nvSpPr>
          <p:spPr bwMode="auto">
            <a:xfrm>
              <a:off x="4765087" y="3028077"/>
              <a:ext cx="1061397" cy="871186"/>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578" name="Rectangle 577">
              <a:extLst>
                <a:ext uri="{FF2B5EF4-FFF2-40B4-BE49-F238E27FC236}">
                  <a16:creationId xmlns:a16="http://schemas.microsoft.com/office/drawing/2014/main" id="{93EBE35F-E833-4669-A578-3E78ACC8A7A3}"/>
                </a:ext>
              </a:extLst>
            </p:cNvPr>
            <p:cNvSpPr>
              <a:spLocks noChangeArrowheads="1"/>
            </p:cNvSpPr>
            <p:nvPr/>
          </p:nvSpPr>
          <p:spPr bwMode="auto">
            <a:xfrm>
              <a:off x="4765087" y="3028077"/>
              <a:ext cx="1061397" cy="87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580" name="Rectangle 579">
              <a:extLst>
                <a:ext uri="{FF2B5EF4-FFF2-40B4-BE49-F238E27FC236}">
                  <a16:creationId xmlns:a16="http://schemas.microsoft.com/office/drawing/2014/main" id="{B624C3FD-61F0-4E45-A617-8BA3C10FE399}"/>
                </a:ext>
              </a:extLst>
            </p:cNvPr>
            <p:cNvSpPr>
              <a:spLocks noChangeArrowheads="1"/>
            </p:cNvSpPr>
            <p:nvPr/>
          </p:nvSpPr>
          <p:spPr bwMode="auto">
            <a:xfrm>
              <a:off x="5858427" y="3028077"/>
              <a:ext cx="415266" cy="19311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581" name="Rectangle 580">
              <a:extLst>
                <a:ext uri="{FF2B5EF4-FFF2-40B4-BE49-F238E27FC236}">
                  <a16:creationId xmlns:a16="http://schemas.microsoft.com/office/drawing/2014/main" id="{361EF2F1-03A4-4DBE-B66E-92C839F08D37}"/>
                </a:ext>
              </a:extLst>
            </p:cNvPr>
            <p:cNvSpPr>
              <a:spLocks noChangeArrowheads="1"/>
            </p:cNvSpPr>
            <p:nvPr/>
          </p:nvSpPr>
          <p:spPr bwMode="auto">
            <a:xfrm>
              <a:off x="5858427" y="3253133"/>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20" name="Rectangle 619">
              <a:extLst>
                <a:ext uri="{FF2B5EF4-FFF2-40B4-BE49-F238E27FC236}">
                  <a16:creationId xmlns:a16="http://schemas.microsoft.com/office/drawing/2014/main" id="{F5FE8387-DF7D-4046-A69E-0895BEE87224}"/>
                </a:ext>
              </a:extLst>
            </p:cNvPr>
            <p:cNvSpPr>
              <a:spLocks noChangeArrowheads="1"/>
            </p:cNvSpPr>
            <p:nvPr/>
          </p:nvSpPr>
          <p:spPr bwMode="auto">
            <a:xfrm>
              <a:off x="5858427" y="3253133"/>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21" name="Rectangle 620">
              <a:extLst>
                <a:ext uri="{FF2B5EF4-FFF2-40B4-BE49-F238E27FC236}">
                  <a16:creationId xmlns:a16="http://schemas.microsoft.com/office/drawing/2014/main" id="{1E5CE6EE-D311-4783-99C6-1EF7037C4BBC}"/>
                </a:ext>
              </a:extLst>
            </p:cNvPr>
            <p:cNvSpPr>
              <a:spLocks noChangeArrowheads="1"/>
            </p:cNvSpPr>
            <p:nvPr/>
          </p:nvSpPr>
          <p:spPr bwMode="auto">
            <a:xfrm>
              <a:off x="5858427" y="3479642"/>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22" name="Rectangle 621">
              <a:extLst>
                <a:ext uri="{FF2B5EF4-FFF2-40B4-BE49-F238E27FC236}">
                  <a16:creationId xmlns:a16="http://schemas.microsoft.com/office/drawing/2014/main" id="{43FE5F41-647F-456A-A017-D7FA9D36DDEC}"/>
                </a:ext>
              </a:extLst>
            </p:cNvPr>
            <p:cNvSpPr>
              <a:spLocks noChangeArrowheads="1"/>
            </p:cNvSpPr>
            <p:nvPr/>
          </p:nvSpPr>
          <p:spPr bwMode="auto">
            <a:xfrm>
              <a:off x="5858427" y="3479642"/>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23" name="Rectangle 622">
              <a:extLst>
                <a:ext uri="{FF2B5EF4-FFF2-40B4-BE49-F238E27FC236}">
                  <a16:creationId xmlns:a16="http://schemas.microsoft.com/office/drawing/2014/main" id="{3FE4E02F-15DA-42A4-BFF4-4B4185C028B3}"/>
                </a:ext>
              </a:extLst>
            </p:cNvPr>
            <p:cNvSpPr>
              <a:spLocks noChangeArrowheads="1"/>
            </p:cNvSpPr>
            <p:nvPr/>
          </p:nvSpPr>
          <p:spPr bwMode="auto">
            <a:xfrm>
              <a:off x="5858427" y="3710506"/>
              <a:ext cx="415266" cy="18875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24" name="Rectangle 623">
              <a:extLst>
                <a:ext uri="{FF2B5EF4-FFF2-40B4-BE49-F238E27FC236}">
                  <a16:creationId xmlns:a16="http://schemas.microsoft.com/office/drawing/2014/main" id="{D4564928-0263-40C3-98E8-FC6D4DCA107E}"/>
                </a:ext>
              </a:extLst>
            </p:cNvPr>
            <p:cNvSpPr>
              <a:spLocks noChangeArrowheads="1"/>
            </p:cNvSpPr>
            <p:nvPr/>
          </p:nvSpPr>
          <p:spPr bwMode="auto">
            <a:xfrm>
              <a:off x="5858427" y="3710506"/>
              <a:ext cx="415266" cy="188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25" name="Freeform 19">
              <a:extLst>
                <a:ext uri="{FF2B5EF4-FFF2-40B4-BE49-F238E27FC236}">
                  <a16:creationId xmlns:a16="http://schemas.microsoft.com/office/drawing/2014/main" id="{CA0125B0-7305-4C9F-A863-010D650910E6}"/>
                </a:ext>
              </a:extLst>
            </p:cNvPr>
            <p:cNvSpPr>
              <a:spLocks/>
            </p:cNvSpPr>
            <p:nvPr/>
          </p:nvSpPr>
          <p:spPr bwMode="auto">
            <a:xfrm>
              <a:off x="4277222" y="3982026"/>
              <a:ext cx="1996471" cy="65339"/>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26" name="Freeform 20">
              <a:extLst>
                <a:ext uri="{FF2B5EF4-FFF2-40B4-BE49-F238E27FC236}">
                  <a16:creationId xmlns:a16="http://schemas.microsoft.com/office/drawing/2014/main" id="{55321F96-FD93-409A-86BA-E7577220CE17}"/>
                </a:ext>
              </a:extLst>
            </p:cNvPr>
            <p:cNvSpPr>
              <a:spLocks/>
            </p:cNvSpPr>
            <p:nvPr/>
          </p:nvSpPr>
          <p:spPr bwMode="auto">
            <a:xfrm>
              <a:off x="4473238" y="3200862"/>
              <a:ext cx="74051" cy="110350"/>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27" name="Freeform 21">
              <a:extLst>
                <a:ext uri="{FF2B5EF4-FFF2-40B4-BE49-F238E27FC236}">
                  <a16:creationId xmlns:a16="http://schemas.microsoft.com/office/drawing/2014/main" id="{65B7D640-8A8B-4A09-8A4E-AF05469625D1}"/>
                </a:ext>
              </a:extLst>
            </p:cNvPr>
            <p:cNvSpPr>
              <a:spLocks noEditPoints="1"/>
            </p:cNvSpPr>
            <p:nvPr/>
          </p:nvSpPr>
          <p:spPr bwMode="auto">
            <a:xfrm>
              <a:off x="4367245" y="3118100"/>
              <a:ext cx="271520" cy="275876"/>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28" name="Rectangle 627">
              <a:extLst>
                <a:ext uri="{FF2B5EF4-FFF2-40B4-BE49-F238E27FC236}">
                  <a16:creationId xmlns:a16="http://schemas.microsoft.com/office/drawing/2014/main" id="{14CD5726-19F3-4745-82C8-F6EF62EA8A27}"/>
                </a:ext>
              </a:extLst>
            </p:cNvPr>
            <p:cNvSpPr>
              <a:spLocks noChangeArrowheads="1"/>
            </p:cNvSpPr>
            <p:nvPr/>
          </p:nvSpPr>
          <p:spPr bwMode="auto">
            <a:xfrm>
              <a:off x="4158160"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29" name="Rectangle 628">
              <a:extLst>
                <a:ext uri="{FF2B5EF4-FFF2-40B4-BE49-F238E27FC236}">
                  <a16:creationId xmlns:a16="http://schemas.microsoft.com/office/drawing/2014/main" id="{ED1EC3AB-DC73-40FD-98DA-70F4A7768B5D}"/>
                </a:ext>
              </a:extLst>
            </p:cNvPr>
            <p:cNvSpPr>
              <a:spLocks noChangeArrowheads="1"/>
            </p:cNvSpPr>
            <p:nvPr/>
          </p:nvSpPr>
          <p:spPr bwMode="auto">
            <a:xfrm>
              <a:off x="4445651" y="2900303"/>
              <a:ext cx="217797" cy="450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30" name="Rectangle 629">
              <a:extLst>
                <a:ext uri="{FF2B5EF4-FFF2-40B4-BE49-F238E27FC236}">
                  <a16:creationId xmlns:a16="http://schemas.microsoft.com/office/drawing/2014/main" id="{99C889DB-0B93-4C9D-A4C9-4FD8E54AEEE0}"/>
                </a:ext>
              </a:extLst>
            </p:cNvPr>
            <p:cNvSpPr>
              <a:spLocks noChangeArrowheads="1"/>
            </p:cNvSpPr>
            <p:nvPr/>
          </p:nvSpPr>
          <p:spPr bwMode="auto">
            <a:xfrm>
              <a:off x="4737499"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31" name="Rectangle 630">
              <a:extLst>
                <a:ext uri="{FF2B5EF4-FFF2-40B4-BE49-F238E27FC236}">
                  <a16:creationId xmlns:a16="http://schemas.microsoft.com/office/drawing/2014/main" id="{37468F78-B656-41CC-8B61-AED7A735CF9C}"/>
                </a:ext>
              </a:extLst>
            </p:cNvPr>
            <p:cNvSpPr>
              <a:spLocks noChangeArrowheads="1"/>
            </p:cNvSpPr>
            <p:nvPr/>
          </p:nvSpPr>
          <p:spPr bwMode="auto">
            <a:xfrm>
              <a:off x="4737499"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32" name="Rectangle 631">
              <a:extLst>
                <a:ext uri="{FF2B5EF4-FFF2-40B4-BE49-F238E27FC236}">
                  <a16:creationId xmlns:a16="http://schemas.microsoft.com/office/drawing/2014/main" id="{1E0CC171-9316-4473-870B-B4E474289687}"/>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33" name="Rectangle 632">
              <a:extLst>
                <a:ext uri="{FF2B5EF4-FFF2-40B4-BE49-F238E27FC236}">
                  <a16:creationId xmlns:a16="http://schemas.microsoft.com/office/drawing/2014/main" id="{D541A067-D991-4454-B318-1469529C3139}"/>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34" name="Rectangle 633">
              <a:extLst>
                <a:ext uri="{FF2B5EF4-FFF2-40B4-BE49-F238E27FC236}">
                  <a16:creationId xmlns:a16="http://schemas.microsoft.com/office/drawing/2014/main" id="{159C41BD-D45C-4528-B0C9-96A92AF13C1F}"/>
                </a:ext>
              </a:extLst>
            </p:cNvPr>
            <p:cNvSpPr>
              <a:spLocks noChangeArrowheads="1"/>
            </p:cNvSpPr>
            <p:nvPr/>
          </p:nvSpPr>
          <p:spPr bwMode="auto">
            <a:xfrm>
              <a:off x="5319742"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35" name="Rectangle 634">
              <a:extLst>
                <a:ext uri="{FF2B5EF4-FFF2-40B4-BE49-F238E27FC236}">
                  <a16:creationId xmlns:a16="http://schemas.microsoft.com/office/drawing/2014/main" id="{0A0CB5BB-AA36-4C30-A528-0C49B2158076}"/>
                </a:ext>
              </a:extLst>
            </p:cNvPr>
            <p:cNvSpPr>
              <a:spLocks noChangeArrowheads="1"/>
            </p:cNvSpPr>
            <p:nvPr/>
          </p:nvSpPr>
          <p:spPr bwMode="auto">
            <a:xfrm>
              <a:off x="5319742"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36" name="Rectangle 635">
              <a:extLst>
                <a:ext uri="{FF2B5EF4-FFF2-40B4-BE49-F238E27FC236}">
                  <a16:creationId xmlns:a16="http://schemas.microsoft.com/office/drawing/2014/main" id="{2BCB938D-28A1-4A3D-AAFC-FC38E9D7D55A}"/>
                </a:ext>
              </a:extLst>
            </p:cNvPr>
            <p:cNvSpPr>
              <a:spLocks noChangeArrowheads="1"/>
            </p:cNvSpPr>
            <p:nvPr/>
          </p:nvSpPr>
          <p:spPr bwMode="auto">
            <a:xfrm>
              <a:off x="5611590"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37" name="Rectangle 636">
              <a:extLst>
                <a:ext uri="{FF2B5EF4-FFF2-40B4-BE49-F238E27FC236}">
                  <a16:creationId xmlns:a16="http://schemas.microsoft.com/office/drawing/2014/main" id="{4603A3E1-F5B1-4AF0-95CA-3E1AED9014C5}"/>
                </a:ext>
              </a:extLst>
            </p:cNvPr>
            <p:cNvSpPr>
              <a:spLocks noChangeArrowheads="1"/>
            </p:cNvSpPr>
            <p:nvPr/>
          </p:nvSpPr>
          <p:spPr bwMode="auto">
            <a:xfrm>
              <a:off x="5903438"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38" name="Rectangle 637">
              <a:extLst>
                <a:ext uri="{FF2B5EF4-FFF2-40B4-BE49-F238E27FC236}">
                  <a16:creationId xmlns:a16="http://schemas.microsoft.com/office/drawing/2014/main" id="{B6249526-632F-49D4-B9F1-B26130F117CA}"/>
                </a:ext>
              </a:extLst>
            </p:cNvPr>
            <p:cNvSpPr>
              <a:spLocks noChangeArrowheads="1"/>
            </p:cNvSpPr>
            <p:nvPr/>
          </p:nvSpPr>
          <p:spPr bwMode="auto">
            <a:xfrm>
              <a:off x="6195286"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39" name="Freeform 33">
              <a:extLst>
                <a:ext uri="{FF2B5EF4-FFF2-40B4-BE49-F238E27FC236}">
                  <a16:creationId xmlns:a16="http://schemas.microsoft.com/office/drawing/2014/main" id="{8568C469-D94D-4CAB-B3F2-051F69072C8A}"/>
                </a:ext>
              </a:extLst>
            </p:cNvPr>
            <p:cNvSpPr>
              <a:spLocks noEditPoints="1"/>
            </p:cNvSpPr>
            <p:nvPr/>
          </p:nvSpPr>
          <p:spPr bwMode="auto">
            <a:xfrm>
              <a:off x="4695392" y="2747845"/>
              <a:ext cx="1874504" cy="1530384"/>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40" name="Freeform 34">
              <a:extLst>
                <a:ext uri="{FF2B5EF4-FFF2-40B4-BE49-F238E27FC236}">
                  <a16:creationId xmlns:a16="http://schemas.microsoft.com/office/drawing/2014/main" id="{2E8B3784-181D-42A0-B9D5-8F663DF32FDA}"/>
                </a:ext>
              </a:extLst>
            </p:cNvPr>
            <p:cNvSpPr>
              <a:spLocks noEditPoints="1"/>
            </p:cNvSpPr>
            <p:nvPr/>
          </p:nvSpPr>
          <p:spPr bwMode="auto">
            <a:xfrm>
              <a:off x="4765087" y="2817540"/>
              <a:ext cx="1722046" cy="1332915"/>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rgbClr val="D5D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41" name="Freeform 36">
              <a:extLst>
                <a:ext uri="{FF2B5EF4-FFF2-40B4-BE49-F238E27FC236}">
                  <a16:creationId xmlns:a16="http://schemas.microsoft.com/office/drawing/2014/main" id="{A4B7836E-8DBD-43DC-B2BD-E50D467F5585}"/>
                </a:ext>
              </a:extLst>
            </p:cNvPr>
            <p:cNvSpPr>
              <a:spLocks/>
            </p:cNvSpPr>
            <p:nvPr/>
          </p:nvSpPr>
          <p:spPr bwMode="auto">
            <a:xfrm>
              <a:off x="4975624" y="3028077"/>
              <a:ext cx="850859" cy="850859"/>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42" name="Freeform 37">
              <a:extLst>
                <a:ext uri="{FF2B5EF4-FFF2-40B4-BE49-F238E27FC236}">
                  <a16:creationId xmlns:a16="http://schemas.microsoft.com/office/drawing/2014/main" id="{860E0B4F-27FD-4372-8033-F9AFEDF9CED6}"/>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43" name="Freeform 38">
              <a:extLst>
                <a:ext uri="{FF2B5EF4-FFF2-40B4-BE49-F238E27FC236}">
                  <a16:creationId xmlns:a16="http://schemas.microsoft.com/office/drawing/2014/main" id="{B7DC2398-A108-4978-B29D-717661E99A67}"/>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44" name="Freeform 39">
              <a:extLst>
                <a:ext uri="{FF2B5EF4-FFF2-40B4-BE49-F238E27FC236}">
                  <a16:creationId xmlns:a16="http://schemas.microsoft.com/office/drawing/2014/main" id="{EC0F957B-17DE-4644-BE87-0FA40DDAC3AF}"/>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45" name="Freeform 40">
              <a:extLst>
                <a:ext uri="{FF2B5EF4-FFF2-40B4-BE49-F238E27FC236}">
                  <a16:creationId xmlns:a16="http://schemas.microsoft.com/office/drawing/2014/main" id="{81C85C57-3113-459F-8E8C-030812F4132B}"/>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46" name="Freeform 41">
              <a:extLst>
                <a:ext uri="{FF2B5EF4-FFF2-40B4-BE49-F238E27FC236}">
                  <a16:creationId xmlns:a16="http://schemas.microsoft.com/office/drawing/2014/main" id="{C14D2ADC-57EF-40E3-8A99-B37C5F2EA4E6}"/>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47" name="Freeform 42">
              <a:extLst>
                <a:ext uri="{FF2B5EF4-FFF2-40B4-BE49-F238E27FC236}">
                  <a16:creationId xmlns:a16="http://schemas.microsoft.com/office/drawing/2014/main" id="{89B4B29B-FBC0-41EF-BAC2-ACD0F41F25E2}"/>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48" name="Freeform 43">
              <a:extLst>
                <a:ext uri="{FF2B5EF4-FFF2-40B4-BE49-F238E27FC236}">
                  <a16:creationId xmlns:a16="http://schemas.microsoft.com/office/drawing/2014/main" id="{78EDBAEE-5DA6-4602-B6D9-165979F201BE}"/>
                </a:ext>
              </a:extLst>
            </p:cNvPr>
            <p:cNvSpPr>
              <a:spLocks/>
            </p:cNvSpPr>
            <p:nvPr/>
          </p:nvSpPr>
          <p:spPr bwMode="auto">
            <a:xfrm>
              <a:off x="5928122" y="3982026"/>
              <a:ext cx="345571" cy="65339"/>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49" name="Freeform 44">
              <a:extLst>
                <a:ext uri="{FF2B5EF4-FFF2-40B4-BE49-F238E27FC236}">
                  <a16:creationId xmlns:a16="http://schemas.microsoft.com/office/drawing/2014/main" id="{508061C8-CE45-4F66-B260-93190F7CBCDB}"/>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50" name="Freeform 45">
              <a:extLst>
                <a:ext uri="{FF2B5EF4-FFF2-40B4-BE49-F238E27FC236}">
                  <a16:creationId xmlns:a16="http://schemas.microsoft.com/office/drawing/2014/main" id="{B5E2BF03-2E12-4E09-AF5E-172FC64F8BF7}"/>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51" name="Rectangle 46">
              <a:extLst>
                <a:ext uri="{FF2B5EF4-FFF2-40B4-BE49-F238E27FC236}">
                  <a16:creationId xmlns:a16="http://schemas.microsoft.com/office/drawing/2014/main" id="{0774FCDD-EBC8-481C-AF27-156D23B8694B}"/>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52" name="Rectangle 47">
              <a:extLst>
                <a:ext uri="{FF2B5EF4-FFF2-40B4-BE49-F238E27FC236}">
                  <a16:creationId xmlns:a16="http://schemas.microsoft.com/office/drawing/2014/main" id="{0FF6FDA8-A5D0-44FA-BC90-2E76BCDD28C8}"/>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53" name="Freeform 48">
              <a:extLst>
                <a:ext uri="{FF2B5EF4-FFF2-40B4-BE49-F238E27FC236}">
                  <a16:creationId xmlns:a16="http://schemas.microsoft.com/office/drawing/2014/main" id="{904B8177-1CC0-404E-8A1A-D53E770BE47D}"/>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54" name="Freeform 49">
              <a:extLst>
                <a:ext uri="{FF2B5EF4-FFF2-40B4-BE49-F238E27FC236}">
                  <a16:creationId xmlns:a16="http://schemas.microsoft.com/office/drawing/2014/main" id="{63BF891F-D49D-4FF3-B9DC-F0BA5829BA27}"/>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55" name="Freeform 157">
              <a:extLst>
                <a:ext uri="{FF2B5EF4-FFF2-40B4-BE49-F238E27FC236}">
                  <a16:creationId xmlns:a16="http://schemas.microsoft.com/office/drawing/2014/main" id="{05E34871-7448-418B-A492-17B0F259728A}"/>
                </a:ext>
              </a:extLst>
            </p:cNvPr>
            <p:cNvSpPr>
              <a:spLocks/>
            </p:cNvSpPr>
            <p:nvPr/>
          </p:nvSpPr>
          <p:spPr bwMode="auto">
            <a:xfrm>
              <a:off x="4765086" y="3028077"/>
              <a:ext cx="1061397" cy="871186"/>
            </a:xfrm>
            <a:prstGeom prst="rect">
              <a:avLst/>
            </a:prstGeom>
            <a:solidFill>
              <a:srgbClr val="D83B01"/>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56" name="Freeform 125">
              <a:extLst>
                <a:ext uri="{FF2B5EF4-FFF2-40B4-BE49-F238E27FC236}">
                  <a16:creationId xmlns:a16="http://schemas.microsoft.com/office/drawing/2014/main" id="{3EE1661F-6472-4B48-BB1C-94A3ED4033B4}"/>
                </a:ext>
              </a:extLst>
            </p:cNvPr>
            <p:cNvSpPr>
              <a:spLocks noEditPoints="1"/>
            </p:cNvSpPr>
            <p:nvPr/>
          </p:nvSpPr>
          <p:spPr bwMode="auto">
            <a:xfrm>
              <a:off x="5057298" y="3154680"/>
              <a:ext cx="476972" cy="61798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8C00"/>
                </a:solidFill>
                <a:effectLst/>
                <a:uLnTx/>
                <a:uFillTx/>
                <a:latin typeface="Times New Roman" charset="0"/>
                <a:ea typeface="ＭＳ Ｐゴシック" charset="0"/>
              </a:endParaRPr>
            </a:p>
          </p:txBody>
        </p:sp>
        <p:grpSp>
          <p:nvGrpSpPr>
            <p:cNvPr id="657" name="Group 656">
              <a:extLst>
                <a:ext uri="{FF2B5EF4-FFF2-40B4-BE49-F238E27FC236}">
                  <a16:creationId xmlns:a16="http://schemas.microsoft.com/office/drawing/2014/main" id="{AF0F255E-E962-4DEF-A211-33835CAC65DE}"/>
                </a:ext>
              </a:extLst>
            </p:cNvPr>
            <p:cNvGrpSpPr/>
            <p:nvPr/>
          </p:nvGrpSpPr>
          <p:grpSpPr>
            <a:xfrm>
              <a:off x="2462782" y="3645408"/>
              <a:ext cx="1887955" cy="1067493"/>
              <a:chOff x="2267710" y="3645408"/>
              <a:chExt cx="1887955" cy="1067493"/>
            </a:xfrm>
          </p:grpSpPr>
          <p:sp>
            <p:nvSpPr>
              <p:cNvPr id="662" name="Freeform 151">
                <a:extLst>
                  <a:ext uri="{FF2B5EF4-FFF2-40B4-BE49-F238E27FC236}">
                    <a16:creationId xmlns:a16="http://schemas.microsoft.com/office/drawing/2014/main" id="{B149B080-7D24-4D09-B773-6D0FF4C56F6B}"/>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152">
                <a:extLst>
                  <a:ext uri="{FF2B5EF4-FFF2-40B4-BE49-F238E27FC236}">
                    <a16:creationId xmlns:a16="http://schemas.microsoft.com/office/drawing/2014/main" id="{4FF29F1A-6817-48D2-91FB-91BB8F6FFF39}"/>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158">
                <a:extLst>
                  <a:ext uri="{FF2B5EF4-FFF2-40B4-BE49-F238E27FC236}">
                    <a16:creationId xmlns:a16="http://schemas.microsoft.com/office/drawing/2014/main" id="{2FB055DC-F303-4D38-93A7-5BAD9EADA19D}"/>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168">
                <a:extLst>
                  <a:ext uri="{FF2B5EF4-FFF2-40B4-BE49-F238E27FC236}">
                    <a16:creationId xmlns:a16="http://schemas.microsoft.com/office/drawing/2014/main" id="{A54B4C5A-A965-4FEB-B063-D0B8E7937902}"/>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66" name="Group 665">
                <a:extLst>
                  <a:ext uri="{FF2B5EF4-FFF2-40B4-BE49-F238E27FC236}">
                    <a16:creationId xmlns:a16="http://schemas.microsoft.com/office/drawing/2014/main" id="{1689BDBE-A896-4546-950A-F056E3D319EE}"/>
                  </a:ext>
                </a:extLst>
              </p:cNvPr>
              <p:cNvGrpSpPr/>
              <p:nvPr/>
            </p:nvGrpSpPr>
            <p:grpSpPr>
              <a:xfrm>
                <a:off x="2677694" y="3839497"/>
                <a:ext cx="1155716" cy="644026"/>
                <a:chOff x="2726462" y="3839497"/>
                <a:chExt cx="1155716" cy="644026"/>
              </a:xfrm>
            </p:grpSpPr>
            <p:sp>
              <p:nvSpPr>
                <p:cNvPr id="667" name="Freeform 153">
                  <a:extLst>
                    <a:ext uri="{FF2B5EF4-FFF2-40B4-BE49-F238E27FC236}">
                      <a16:creationId xmlns:a16="http://schemas.microsoft.com/office/drawing/2014/main" id="{2616A3D6-5448-4EC8-BF02-6E2B4D5A2EA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154">
                  <a:extLst>
                    <a:ext uri="{FF2B5EF4-FFF2-40B4-BE49-F238E27FC236}">
                      <a16:creationId xmlns:a16="http://schemas.microsoft.com/office/drawing/2014/main" id="{EF0F7FC2-2EFD-47C5-9222-60517BDA1AC2}"/>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155">
                  <a:extLst>
                    <a:ext uri="{FF2B5EF4-FFF2-40B4-BE49-F238E27FC236}">
                      <a16:creationId xmlns:a16="http://schemas.microsoft.com/office/drawing/2014/main" id="{1DE663FB-407E-4296-8261-D33FA40ABC74}"/>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Freeform 156">
                  <a:extLst>
                    <a:ext uri="{FF2B5EF4-FFF2-40B4-BE49-F238E27FC236}">
                      <a16:creationId xmlns:a16="http://schemas.microsoft.com/office/drawing/2014/main" id="{F6D8134F-3AAC-4FC9-AF06-AD731A93831C}"/>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1" name="Freeform 157">
                  <a:extLst>
                    <a:ext uri="{FF2B5EF4-FFF2-40B4-BE49-F238E27FC236}">
                      <a16:creationId xmlns:a16="http://schemas.microsoft.com/office/drawing/2014/main" id="{F623DC17-08F3-42EA-8B3C-F05135803D69}"/>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Freeform 159">
                  <a:extLst>
                    <a:ext uri="{FF2B5EF4-FFF2-40B4-BE49-F238E27FC236}">
                      <a16:creationId xmlns:a16="http://schemas.microsoft.com/office/drawing/2014/main" id="{52476AF0-DCA2-4E59-B470-0CFC0BE3039C}"/>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160">
                  <a:extLst>
                    <a:ext uri="{FF2B5EF4-FFF2-40B4-BE49-F238E27FC236}">
                      <a16:creationId xmlns:a16="http://schemas.microsoft.com/office/drawing/2014/main" id="{1AB04BF5-0A40-4395-80CC-6D9FC198F8A5}"/>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161">
                  <a:extLst>
                    <a:ext uri="{FF2B5EF4-FFF2-40B4-BE49-F238E27FC236}">
                      <a16:creationId xmlns:a16="http://schemas.microsoft.com/office/drawing/2014/main" id="{E75E304D-4791-45D0-8666-FAD9BE4B8CEC}"/>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Freeform 162">
                  <a:extLst>
                    <a:ext uri="{FF2B5EF4-FFF2-40B4-BE49-F238E27FC236}">
                      <a16:creationId xmlns:a16="http://schemas.microsoft.com/office/drawing/2014/main" id="{8D445A45-FC23-435A-924C-2FD2838DA1A0}"/>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Freeform 163">
                  <a:extLst>
                    <a:ext uri="{FF2B5EF4-FFF2-40B4-BE49-F238E27FC236}">
                      <a16:creationId xmlns:a16="http://schemas.microsoft.com/office/drawing/2014/main" id="{79546076-D919-4A8B-85B7-E89DD388B61F}"/>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164">
                  <a:extLst>
                    <a:ext uri="{FF2B5EF4-FFF2-40B4-BE49-F238E27FC236}">
                      <a16:creationId xmlns:a16="http://schemas.microsoft.com/office/drawing/2014/main" id="{4E1B5C9A-A6EE-402B-8D56-58D0B47F0AF5}"/>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165">
                  <a:extLst>
                    <a:ext uri="{FF2B5EF4-FFF2-40B4-BE49-F238E27FC236}">
                      <a16:creationId xmlns:a16="http://schemas.microsoft.com/office/drawing/2014/main" id="{0129F1F4-5106-402B-8B76-A386C2C06962}"/>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66">
                  <a:extLst>
                    <a:ext uri="{FF2B5EF4-FFF2-40B4-BE49-F238E27FC236}">
                      <a16:creationId xmlns:a16="http://schemas.microsoft.com/office/drawing/2014/main" id="{C4B82F94-57A0-4CD2-B73A-29432B7DF705}"/>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167">
                  <a:extLst>
                    <a:ext uri="{FF2B5EF4-FFF2-40B4-BE49-F238E27FC236}">
                      <a16:creationId xmlns:a16="http://schemas.microsoft.com/office/drawing/2014/main" id="{DA463C26-F795-419F-A852-044B82DB4BC5}"/>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169">
                  <a:extLst>
                    <a:ext uri="{FF2B5EF4-FFF2-40B4-BE49-F238E27FC236}">
                      <a16:creationId xmlns:a16="http://schemas.microsoft.com/office/drawing/2014/main" id="{5E134F59-72CD-491F-AB20-9A4B1A63B09F}"/>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170">
                  <a:extLst>
                    <a:ext uri="{FF2B5EF4-FFF2-40B4-BE49-F238E27FC236}">
                      <a16:creationId xmlns:a16="http://schemas.microsoft.com/office/drawing/2014/main" id="{DE1A23CE-8A58-4CE2-828E-3DD98CEEBA57}"/>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171">
                  <a:extLst>
                    <a:ext uri="{FF2B5EF4-FFF2-40B4-BE49-F238E27FC236}">
                      <a16:creationId xmlns:a16="http://schemas.microsoft.com/office/drawing/2014/main" id="{9DD3BB4A-8E79-44C7-B455-7F986E9A867E}"/>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172">
                  <a:extLst>
                    <a:ext uri="{FF2B5EF4-FFF2-40B4-BE49-F238E27FC236}">
                      <a16:creationId xmlns:a16="http://schemas.microsoft.com/office/drawing/2014/main" id="{6D52AAAA-E1C6-4AA0-A5F1-359A15A377BA}"/>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173">
                  <a:extLst>
                    <a:ext uri="{FF2B5EF4-FFF2-40B4-BE49-F238E27FC236}">
                      <a16:creationId xmlns:a16="http://schemas.microsoft.com/office/drawing/2014/main" id="{A1D9D306-ECF6-4A6C-9C86-B5A45799B76B}"/>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174">
                  <a:extLst>
                    <a:ext uri="{FF2B5EF4-FFF2-40B4-BE49-F238E27FC236}">
                      <a16:creationId xmlns:a16="http://schemas.microsoft.com/office/drawing/2014/main" id="{14010404-E01F-4976-AF20-20E019719602}"/>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175">
                  <a:extLst>
                    <a:ext uri="{FF2B5EF4-FFF2-40B4-BE49-F238E27FC236}">
                      <a16:creationId xmlns:a16="http://schemas.microsoft.com/office/drawing/2014/main" id="{36110BEC-F2F6-44BB-9CF7-00B6910593D9}"/>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176">
                  <a:extLst>
                    <a:ext uri="{FF2B5EF4-FFF2-40B4-BE49-F238E27FC236}">
                      <a16:creationId xmlns:a16="http://schemas.microsoft.com/office/drawing/2014/main" id="{F6AA18F5-B898-45FF-8EC9-E04A8B8FAC5A}"/>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77">
                  <a:extLst>
                    <a:ext uri="{FF2B5EF4-FFF2-40B4-BE49-F238E27FC236}">
                      <a16:creationId xmlns:a16="http://schemas.microsoft.com/office/drawing/2014/main" id="{9B03288E-977D-4FC5-A198-B111BAB581A0}"/>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186">
                  <a:extLst>
                    <a:ext uri="{FF2B5EF4-FFF2-40B4-BE49-F238E27FC236}">
                      <a16:creationId xmlns:a16="http://schemas.microsoft.com/office/drawing/2014/main" id="{F9D3B072-2ED8-4D03-8F48-FA57BED9F197}"/>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187">
                  <a:extLst>
                    <a:ext uri="{FF2B5EF4-FFF2-40B4-BE49-F238E27FC236}">
                      <a16:creationId xmlns:a16="http://schemas.microsoft.com/office/drawing/2014/main" id="{DD69E7E1-F881-4815-AC12-1089F1A1DA6D}"/>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188">
                  <a:extLst>
                    <a:ext uri="{FF2B5EF4-FFF2-40B4-BE49-F238E27FC236}">
                      <a16:creationId xmlns:a16="http://schemas.microsoft.com/office/drawing/2014/main" id="{9B28DC72-A8BE-4A9A-8E08-FA88A231B53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189">
                  <a:extLst>
                    <a:ext uri="{FF2B5EF4-FFF2-40B4-BE49-F238E27FC236}">
                      <a16:creationId xmlns:a16="http://schemas.microsoft.com/office/drawing/2014/main" id="{CA7DEB08-89E8-44AA-B0D4-9F5C2F59E36F}"/>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190">
                  <a:extLst>
                    <a:ext uri="{FF2B5EF4-FFF2-40B4-BE49-F238E27FC236}">
                      <a16:creationId xmlns:a16="http://schemas.microsoft.com/office/drawing/2014/main" id="{1AAC2DD1-9410-405B-9CD3-8278344445B4}"/>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58" name="Group 657">
              <a:extLst>
                <a:ext uri="{FF2B5EF4-FFF2-40B4-BE49-F238E27FC236}">
                  <a16:creationId xmlns:a16="http://schemas.microsoft.com/office/drawing/2014/main" id="{FB13C764-822E-4CB1-BBCC-9DB4A19C8465}"/>
                </a:ext>
              </a:extLst>
            </p:cNvPr>
            <p:cNvGrpSpPr/>
            <p:nvPr/>
          </p:nvGrpSpPr>
          <p:grpSpPr>
            <a:xfrm>
              <a:off x="3705306" y="3645288"/>
              <a:ext cx="1656542" cy="1392080"/>
              <a:chOff x="3484242" y="3413760"/>
              <a:chExt cx="1656542" cy="1392080"/>
            </a:xfrm>
          </p:grpSpPr>
          <p:sp>
            <p:nvSpPr>
              <p:cNvPr id="659" name="Freeform: Shape 658">
                <a:extLst>
                  <a:ext uri="{FF2B5EF4-FFF2-40B4-BE49-F238E27FC236}">
                    <a16:creationId xmlns:a16="http://schemas.microsoft.com/office/drawing/2014/main" id="{18C7CC86-6728-4109-A701-F3A0B0C48BB5}"/>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60" name="Freeform: Shape 659">
                <a:extLst>
                  <a:ext uri="{FF2B5EF4-FFF2-40B4-BE49-F238E27FC236}">
                    <a16:creationId xmlns:a16="http://schemas.microsoft.com/office/drawing/2014/main" id="{3610A0EF-5361-436E-85C9-FBC875668A59}"/>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sp>
            <p:nvSpPr>
              <p:cNvPr id="661" name="Freeform 164">
                <a:extLst>
                  <a:ext uri="{FF2B5EF4-FFF2-40B4-BE49-F238E27FC236}">
                    <a16:creationId xmlns:a16="http://schemas.microsoft.com/office/drawing/2014/main" id="{87769EF0-4ED5-462C-80C2-B27DA42D55F4}"/>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Times New Roman" charset="0"/>
                  <a:ea typeface="ＭＳ Ｐゴシック" charset="0"/>
                </a:endParaRPr>
              </a:p>
            </p:txBody>
          </p:sp>
        </p:grpSp>
      </p:grpSp>
      <p:grpSp>
        <p:nvGrpSpPr>
          <p:cNvPr id="532" name="Group 531">
            <a:extLst>
              <a:ext uri="{FF2B5EF4-FFF2-40B4-BE49-F238E27FC236}">
                <a16:creationId xmlns:a16="http://schemas.microsoft.com/office/drawing/2014/main" id="{063B22D7-9B68-41B4-97AE-670A0E6EC674}"/>
              </a:ext>
            </a:extLst>
          </p:cNvPr>
          <p:cNvGrpSpPr/>
          <p:nvPr/>
        </p:nvGrpSpPr>
        <p:grpSpPr>
          <a:xfrm>
            <a:off x="10504155" y="2496766"/>
            <a:ext cx="616488" cy="651720"/>
            <a:chOff x="13973841" y="3823518"/>
            <a:chExt cx="1577751" cy="1687170"/>
          </a:xfrm>
        </p:grpSpPr>
        <p:sp>
          <p:nvSpPr>
            <p:cNvPr id="534" name="Oval 240">
              <a:extLst>
                <a:ext uri="{FF2B5EF4-FFF2-40B4-BE49-F238E27FC236}">
                  <a16:creationId xmlns:a16="http://schemas.microsoft.com/office/drawing/2014/main" id="{EBE48AEC-1791-40C0-847F-352E9179D6FD}"/>
                </a:ext>
              </a:extLst>
            </p:cNvPr>
            <p:cNvSpPr>
              <a:spLocks noChangeArrowheads="1"/>
            </p:cNvSpPr>
            <p:nvPr/>
          </p:nvSpPr>
          <p:spPr bwMode="auto">
            <a:xfrm>
              <a:off x="14642357" y="3823518"/>
              <a:ext cx="338846" cy="33814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535" name="Oval 242">
              <a:extLst>
                <a:ext uri="{FF2B5EF4-FFF2-40B4-BE49-F238E27FC236}">
                  <a16:creationId xmlns:a16="http://schemas.microsoft.com/office/drawing/2014/main" id="{1821ED19-39F6-466A-9EAB-3636D8B58A2A}"/>
                </a:ext>
              </a:extLst>
            </p:cNvPr>
            <p:cNvSpPr>
              <a:spLocks noChangeArrowheads="1"/>
            </p:cNvSpPr>
            <p:nvPr/>
          </p:nvSpPr>
          <p:spPr bwMode="auto">
            <a:xfrm>
              <a:off x="15333462" y="4428499"/>
              <a:ext cx="85417" cy="85417"/>
            </a:xfrm>
            <a:prstGeom prst="ellipse">
              <a:avLst/>
            </a:prstGeom>
            <a:solidFill>
              <a:srgbClr val="002050">
                <a:alpha val="61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536" name="Freeform 129">
              <a:extLst>
                <a:ext uri="{FF2B5EF4-FFF2-40B4-BE49-F238E27FC236}">
                  <a16:creationId xmlns:a16="http://schemas.microsoft.com/office/drawing/2014/main" id="{57984F02-1589-4803-843B-E9C62EF1FEC3}"/>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537" name="Freeform 130">
              <a:extLst>
                <a:ext uri="{FF2B5EF4-FFF2-40B4-BE49-F238E27FC236}">
                  <a16:creationId xmlns:a16="http://schemas.microsoft.com/office/drawing/2014/main" id="{A77A0E18-CF52-40E8-9173-3FE2D1506F33}"/>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538" name="Freeform 232">
              <a:extLst>
                <a:ext uri="{FF2B5EF4-FFF2-40B4-BE49-F238E27FC236}">
                  <a16:creationId xmlns:a16="http://schemas.microsoft.com/office/drawing/2014/main" id="{C83EBBE9-71A9-4391-B9D5-8974A137F376}"/>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accent2"/>
              </a:solidFill>
              <a:prstDash val="solid"/>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pic>
          <p:nvPicPr>
            <p:cNvPr id="539" name="Graphic 538">
              <a:extLst>
                <a:ext uri="{FF2B5EF4-FFF2-40B4-BE49-F238E27FC236}">
                  <a16:creationId xmlns:a16="http://schemas.microsoft.com/office/drawing/2014/main" id="{727F312C-E7AD-4D25-B5C0-A1A870A1BC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715068" y="3908875"/>
              <a:ext cx="192326" cy="150595"/>
            </a:xfrm>
            <a:prstGeom prst="rect">
              <a:avLst/>
            </a:prstGeom>
          </p:spPr>
        </p:pic>
        <p:sp>
          <p:nvSpPr>
            <p:cNvPr id="540" name="Oval 240">
              <a:extLst>
                <a:ext uri="{FF2B5EF4-FFF2-40B4-BE49-F238E27FC236}">
                  <a16:creationId xmlns:a16="http://schemas.microsoft.com/office/drawing/2014/main" id="{BD39F857-E97D-4FAB-850A-9E57B1ED592D}"/>
                </a:ext>
              </a:extLst>
            </p:cNvPr>
            <p:cNvSpPr>
              <a:spLocks noChangeArrowheads="1"/>
            </p:cNvSpPr>
            <p:nvPr/>
          </p:nvSpPr>
          <p:spPr bwMode="auto">
            <a:xfrm>
              <a:off x="13973841" y="4226340"/>
              <a:ext cx="338846" cy="33814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541" name="Oval 240">
              <a:extLst>
                <a:ext uri="{FF2B5EF4-FFF2-40B4-BE49-F238E27FC236}">
                  <a16:creationId xmlns:a16="http://schemas.microsoft.com/office/drawing/2014/main" id="{8B018D47-235C-4AC6-8EB3-18EA5003A97A}"/>
                </a:ext>
              </a:extLst>
            </p:cNvPr>
            <p:cNvSpPr>
              <a:spLocks noChangeArrowheads="1"/>
            </p:cNvSpPr>
            <p:nvPr/>
          </p:nvSpPr>
          <p:spPr bwMode="auto">
            <a:xfrm>
              <a:off x="15212746" y="4226340"/>
              <a:ext cx="338846" cy="33814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542" name="Circle: Hollow 541">
              <a:extLst>
                <a:ext uri="{FF2B5EF4-FFF2-40B4-BE49-F238E27FC236}">
                  <a16:creationId xmlns:a16="http://schemas.microsoft.com/office/drawing/2014/main" id="{35602939-8D27-41D8-9057-D24CCF5BF575}"/>
                </a:ext>
              </a:extLst>
            </p:cNvPr>
            <p:cNvSpPr/>
            <p:nvPr/>
          </p:nvSpPr>
          <p:spPr bwMode="auto">
            <a:xfrm>
              <a:off x="14092888" y="4272115"/>
              <a:ext cx="103851" cy="106413"/>
            </a:xfrm>
            <a:prstGeom prst="donu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a:solidFill>
                  <a:schemeClr val="tx1"/>
                </a:solidFill>
                <a:ea typeface="Segoe UI" pitchFamily="34" charset="0"/>
                <a:cs typeface="Segoe UI" pitchFamily="34" charset="0"/>
              </a:endParaRPr>
            </a:p>
          </p:txBody>
        </p:sp>
        <p:sp>
          <p:nvSpPr>
            <p:cNvPr id="543" name="Freeform 501">
              <a:extLst>
                <a:ext uri="{FF2B5EF4-FFF2-40B4-BE49-F238E27FC236}">
                  <a16:creationId xmlns:a16="http://schemas.microsoft.com/office/drawing/2014/main" id="{D2C7DBC1-77DF-4598-8727-0D48AEEB76FF}"/>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endParaRPr>
            </a:p>
          </p:txBody>
        </p:sp>
        <p:sp>
          <p:nvSpPr>
            <p:cNvPr id="544" name="Rounded Rectangle 13">
              <a:extLst>
                <a:ext uri="{FF2B5EF4-FFF2-40B4-BE49-F238E27FC236}">
                  <a16:creationId xmlns:a16="http://schemas.microsoft.com/office/drawing/2014/main" id="{89EAE26C-3B87-47DF-835D-13F9E15003B5}"/>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solidFill>
              <a:schemeClr val="bg1"/>
            </a:solid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ea typeface="+mn-ea"/>
                <a:cs typeface="+mn-cs"/>
              </a:endParaRPr>
            </a:p>
          </p:txBody>
        </p:sp>
        <p:sp>
          <p:nvSpPr>
            <p:cNvPr id="545" name="Freeform: Shape 544">
              <a:extLst>
                <a:ext uri="{FF2B5EF4-FFF2-40B4-BE49-F238E27FC236}">
                  <a16:creationId xmlns:a16="http://schemas.microsoft.com/office/drawing/2014/main" id="{6F8D5B5C-103F-4445-A114-8B117756E59D}"/>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61952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0" name="think-cell Slide" r:id="rId8" imgW="425" imgH="424" progId="TCLayout.ActiveDocument.1">
                  <p:embed/>
                </p:oleObj>
              </mc:Choice>
              <mc:Fallback>
                <p:oleObj name="think-cell Slide" r:id="rId8"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87" name="Freeform 199">
            <a:extLst>
              <a:ext uri="{FF2B5EF4-FFF2-40B4-BE49-F238E27FC236}">
                <a16:creationId xmlns:a16="http://schemas.microsoft.com/office/drawing/2014/main" id="{636331BA-6E8D-4FF8-9C7F-B491F7CAE165}"/>
              </a:ext>
            </a:extLst>
          </p:cNvPr>
          <p:cNvSpPr/>
          <p:nvPr/>
        </p:nvSpPr>
        <p:spPr>
          <a:xfrm>
            <a:off x="767286" y="1245870"/>
            <a:ext cx="10657428" cy="10096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1440" tIns="45720" rIns="91440" bIns="73152" rtlCol="0" anchor="b">
            <a:noAutofit/>
          </a:bodyPr>
          <a:lstStyle/>
          <a:p>
            <a:pPr algn="ctr" defTabSz="932472" fontAlgn="base"/>
            <a:r>
              <a:rPr lang="en-IN" sz="2400" kern="0" dirty="0">
                <a:solidFill>
                  <a:schemeClr val="bg1">
                    <a:lumMod val="75000"/>
                  </a:schemeClr>
                </a:solidFill>
                <a:latin typeface="+mj-lt"/>
                <a:cs typeface="JF Flat" panose="02000500000000000000" pitchFamily="2" charset="-78"/>
              </a:rPr>
              <a:t>Windows Virtual Desktop</a:t>
            </a:r>
          </a:p>
        </p:txBody>
      </p:sp>
      <p:sp>
        <p:nvSpPr>
          <p:cNvPr id="388" name="Freeform 200">
            <a:extLst>
              <a:ext uri="{FF2B5EF4-FFF2-40B4-BE49-F238E27FC236}">
                <a16:creationId xmlns:a16="http://schemas.microsoft.com/office/drawing/2014/main" id="{CD87F0B0-DADC-4471-A1C0-789453C1CFB8}"/>
              </a:ext>
            </a:extLst>
          </p:cNvPr>
          <p:cNvSpPr>
            <a:spLocks noChangeArrowheads="1"/>
          </p:cNvSpPr>
          <p:nvPr/>
        </p:nvSpPr>
        <p:spPr bwMode="auto">
          <a:xfrm>
            <a:off x="767285" y="6278383"/>
            <a:ext cx="10657430" cy="285930"/>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1440" tIns="45720" rIns="91440" bIns="4572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ctr" defTabSz="1088105" eaLnBrk="1" fontAlgn="auto" latinLnBrk="0" hangingPunct="1">
              <a:buClrTx/>
              <a:buSzTx/>
              <a:buFontTx/>
              <a:buNone/>
              <a:tabLst/>
              <a:defRPr/>
            </a:pPr>
            <a:endParaRPr kumimoji="0" lang="en-US" sz="1600" b="0" i="0" u="none" strike="noStrike" kern="0" cap="none" spc="0" normalizeH="0" baseline="0" noProof="0" dirty="0">
              <a:ln>
                <a:noFill/>
              </a:ln>
              <a:effectLst/>
              <a:uLnTx/>
              <a:uFillTx/>
              <a:latin typeface="+mn-lt"/>
              <a:cs typeface="JF Flat" panose="02000500000000000000" pitchFamily="2" charset="-78"/>
            </a:endParaRPr>
          </a:p>
        </p:txBody>
      </p:sp>
      <p:sp>
        <p:nvSpPr>
          <p:cNvPr id="389" name="Rectangle 388">
            <a:extLst>
              <a:ext uri="{FF2B5EF4-FFF2-40B4-BE49-F238E27FC236}">
                <a16:creationId xmlns:a16="http://schemas.microsoft.com/office/drawing/2014/main" id="{679C7C71-F047-4E65-A37F-E373BA735840}"/>
              </a:ext>
            </a:extLst>
          </p:cNvPr>
          <p:cNvSpPr/>
          <p:nvPr/>
        </p:nvSpPr>
        <p:spPr bwMode="auto">
          <a:xfrm>
            <a:off x="4407444"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Enhanced Security</a:t>
            </a:r>
          </a:p>
        </p:txBody>
      </p:sp>
      <p:sp>
        <p:nvSpPr>
          <p:cNvPr id="390" name="Rectangle 389">
            <a:extLst>
              <a:ext uri="{FF2B5EF4-FFF2-40B4-BE49-F238E27FC236}">
                <a16:creationId xmlns:a16="http://schemas.microsoft.com/office/drawing/2014/main" id="{06AFAB80-CA12-40E6-97D9-8D609956588F}"/>
              </a:ext>
            </a:extLst>
          </p:cNvPr>
          <p:cNvSpPr/>
          <p:nvPr/>
        </p:nvSpPr>
        <p:spPr bwMode="auto">
          <a:xfrm>
            <a:off x="7839679"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implified Management</a:t>
            </a:r>
          </a:p>
        </p:txBody>
      </p:sp>
      <p:sp>
        <p:nvSpPr>
          <p:cNvPr id="392" name="Rectangle 391">
            <a:extLst>
              <a:ext uri="{FF2B5EF4-FFF2-40B4-BE49-F238E27FC236}">
                <a16:creationId xmlns:a16="http://schemas.microsoft.com/office/drawing/2014/main" id="{3BC3D344-216A-4536-A447-312BBA728690}"/>
              </a:ext>
            </a:extLst>
          </p:cNvPr>
          <p:cNvSpPr/>
          <p:nvPr/>
        </p:nvSpPr>
        <p:spPr bwMode="auto">
          <a:xfrm>
            <a:off x="975207" y="3305926"/>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altLang="zh-CN" sz="1600" dirty="0">
                <a:solidFill>
                  <a:schemeClr val="bg1">
                    <a:lumMod val="75000"/>
                  </a:schemeClr>
                </a:solidFill>
                <a:latin typeface="+mj-lt"/>
                <a:cs typeface="Segoe UI" pitchFamily="34" charset="0"/>
              </a:rPr>
              <a:t>Azure</a:t>
            </a:r>
            <a:endParaRPr lang="en-US" sz="1600" dirty="0">
              <a:solidFill>
                <a:schemeClr val="bg1">
                  <a:lumMod val="75000"/>
                </a:schemeClr>
              </a:solidFill>
              <a:latin typeface="+mj-lt"/>
              <a:cs typeface="Segoe UI" pitchFamily="34" charset="0"/>
            </a:endParaRPr>
          </a:p>
        </p:txBody>
      </p:sp>
      <p:sp>
        <p:nvSpPr>
          <p:cNvPr id="393" name="Rectangle 392">
            <a:extLst>
              <a:ext uri="{FF2B5EF4-FFF2-40B4-BE49-F238E27FC236}">
                <a16:creationId xmlns:a16="http://schemas.microsoft.com/office/drawing/2014/main" id="{FB719C1D-2A98-44DA-A9BA-53933617C385}"/>
              </a:ext>
            </a:extLst>
          </p:cNvPr>
          <p:cNvSpPr/>
          <p:nvPr/>
        </p:nvSpPr>
        <p:spPr bwMode="auto">
          <a:xfrm>
            <a:off x="975208"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Best User Experience</a:t>
            </a:r>
          </a:p>
        </p:txBody>
      </p:sp>
      <p:sp>
        <p:nvSpPr>
          <p:cNvPr id="395" name="TextBox 394">
            <a:extLst>
              <a:ext uri="{FF2B5EF4-FFF2-40B4-BE49-F238E27FC236}">
                <a16:creationId xmlns:a16="http://schemas.microsoft.com/office/drawing/2014/main" id="{2D68213B-5819-45A0-AFA1-3EABB16201C3}"/>
              </a:ext>
            </a:extLst>
          </p:cNvPr>
          <p:cNvSpPr txBox="1"/>
          <p:nvPr/>
        </p:nvSpPr>
        <p:spPr>
          <a:xfrm>
            <a:off x="3178753" y="3618753"/>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Standardized, Global, &amp; Secure</a:t>
            </a:r>
          </a:p>
        </p:txBody>
      </p:sp>
      <p:grpSp>
        <p:nvGrpSpPr>
          <p:cNvPr id="398" name="Group 397">
            <a:extLst>
              <a:ext uri="{FF2B5EF4-FFF2-40B4-BE49-F238E27FC236}">
                <a16:creationId xmlns:a16="http://schemas.microsoft.com/office/drawing/2014/main" id="{DF2BBC70-4AD0-454D-A47A-F68A1A342B86}"/>
              </a:ext>
            </a:extLst>
          </p:cNvPr>
          <p:cNvGrpSpPr/>
          <p:nvPr/>
        </p:nvGrpSpPr>
        <p:grpSpPr>
          <a:xfrm>
            <a:off x="1119406" y="3661225"/>
            <a:ext cx="450579" cy="511733"/>
            <a:chOff x="2266365" y="4401648"/>
            <a:chExt cx="1241795" cy="1412971"/>
          </a:xfrm>
          <a:solidFill>
            <a:schemeClr val="bg1">
              <a:lumMod val="75000"/>
            </a:schemeClr>
          </a:solidFill>
        </p:grpSpPr>
        <p:sp>
          <p:nvSpPr>
            <p:cNvPr id="399" name="Oval 398">
              <a:extLst>
                <a:ext uri="{FF2B5EF4-FFF2-40B4-BE49-F238E27FC236}">
                  <a16:creationId xmlns:a16="http://schemas.microsoft.com/office/drawing/2014/main" id="{398B29B3-204E-472D-8893-0190CC5E54DC}"/>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0" name="Oval 399">
              <a:extLst>
                <a:ext uri="{FF2B5EF4-FFF2-40B4-BE49-F238E27FC236}">
                  <a16:creationId xmlns:a16="http://schemas.microsoft.com/office/drawing/2014/main" id="{CC280FBC-DBFB-48FC-BBBF-67DDBC4F1452}"/>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1" name="Freeform 297">
              <a:extLst>
                <a:ext uri="{FF2B5EF4-FFF2-40B4-BE49-F238E27FC236}">
                  <a16:creationId xmlns:a16="http://schemas.microsoft.com/office/drawing/2014/main" id="{44DE8CB0-051B-47E8-B158-CE7DD9C92BDB}"/>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2" name="Oval 401">
              <a:extLst>
                <a:ext uri="{FF2B5EF4-FFF2-40B4-BE49-F238E27FC236}">
                  <a16:creationId xmlns:a16="http://schemas.microsoft.com/office/drawing/2014/main" id="{AE669DD4-74C0-407B-9F6C-F6C43EDCC0EF}"/>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3" name="Oval 402">
              <a:extLst>
                <a:ext uri="{FF2B5EF4-FFF2-40B4-BE49-F238E27FC236}">
                  <a16:creationId xmlns:a16="http://schemas.microsoft.com/office/drawing/2014/main" id="{AE98E5F1-954B-457F-801A-2DFBA40B5FD4}"/>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4" name="Oval 403">
              <a:extLst>
                <a:ext uri="{FF2B5EF4-FFF2-40B4-BE49-F238E27FC236}">
                  <a16:creationId xmlns:a16="http://schemas.microsoft.com/office/drawing/2014/main" id="{9FD327CB-70CD-4FB4-A2D6-031364A4DA2C}"/>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405" name="Group 404">
              <a:extLst>
                <a:ext uri="{FF2B5EF4-FFF2-40B4-BE49-F238E27FC236}">
                  <a16:creationId xmlns:a16="http://schemas.microsoft.com/office/drawing/2014/main" id="{7009D39F-29D9-435F-9DD5-FC7A8CC9CD47}"/>
                </a:ext>
              </a:extLst>
            </p:cNvPr>
            <p:cNvGrpSpPr/>
            <p:nvPr/>
          </p:nvGrpSpPr>
          <p:grpSpPr>
            <a:xfrm>
              <a:off x="3014928" y="5033031"/>
              <a:ext cx="459519" cy="459064"/>
              <a:chOff x="3112464" y="5057415"/>
              <a:chExt cx="459519" cy="459064"/>
            </a:xfrm>
            <a:grpFill/>
          </p:grpSpPr>
          <p:sp>
            <p:nvSpPr>
              <p:cNvPr id="423" name="Oval 422">
                <a:extLst>
                  <a:ext uri="{FF2B5EF4-FFF2-40B4-BE49-F238E27FC236}">
                    <a16:creationId xmlns:a16="http://schemas.microsoft.com/office/drawing/2014/main" id="{9E903759-B312-49D9-BDEA-C1030D11B6BA}"/>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24" name="Freeform 309">
                <a:extLst>
                  <a:ext uri="{FF2B5EF4-FFF2-40B4-BE49-F238E27FC236}">
                    <a16:creationId xmlns:a16="http://schemas.microsoft.com/office/drawing/2014/main" id="{817A0506-E763-4207-B4E9-3CB56074EE58}"/>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25" name="Freeform 310">
                <a:extLst>
                  <a:ext uri="{FF2B5EF4-FFF2-40B4-BE49-F238E27FC236}">
                    <a16:creationId xmlns:a16="http://schemas.microsoft.com/office/drawing/2014/main" id="{309ACF51-45EE-4ECF-82EC-8877041CD688}"/>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26" name="Freeform 311">
                <a:extLst>
                  <a:ext uri="{FF2B5EF4-FFF2-40B4-BE49-F238E27FC236}">
                    <a16:creationId xmlns:a16="http://schemas.microsoft.com/office/drawing/2014/main" id="{38B327D7-F571-476A-8A74-522DC7B05139}"/>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27" name="Freeform 312">
                <a:extLst>
                  <a:ext uri="{FF2B5EF4-FFF2-40B4-BE49-F238E27FC236}">
                    <a16:creationId xmlns:a16="http://schemas.microsoft.com/office/drawing/2014/main" id="{6C3BEEA4-7B9A-40D0-A6B4-AF86AA90ECA3}"/>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28" name="Rectangle 427">
                <a:extLst>
                  <a:ext uri="{FF2B5EF4-FFF2-40B4-BE49-F238E27FC236}">
                    <a16:creationId xmlns:a16="http://schemas.microsoft.com/office/drawing/2014/main" id="{2AD2D73E-F58C-44AE-9265-876D95FD8C15}"/>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29" name="Rectangle 428">
                <a:extLst>
                  <a:ext uri="{FF2B5EF4-FFF2-40B4-BE49-F238E27FC236}">
                    <a16:creationId xmlns:a16="http://schemas.microsoft.com/office/drawing/2014/main" id="{03AE7914-A75C-43BD-BD40-260AC7CB3FFA}"/>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sp>
          <p:nvSpPr>
            <p:cNvPr id="406" name="Freeform 331">
              <a:extLst>
                <a:ext uri="{FF2B5EF4-FFF2-40B4-BE49-F238E27FC236}">
                  <a16:creationId xmlns:a16="http://schemas.microsoft.com/office/drawing/2014/main" id="{FB638100-2970-43AD-9BDD-F6379C131E01}"/>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7" name="Freeform 332">
              <a:extLst>
                <a:ext uri="{FF2B5EF4-FFF2-40B4-BE49-F238E27FC236}">
                  <a16:creationId xmlns:a16="http://schemas.microsoft.com/office/drawing/2014/main" id="{85D2E94F-5B32-4611-85FA-6D255D664399}"/>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8" name="Rectangle 333">
              <a:extLst>
                <a:ext uri="{FF2B5EF4-FFF2-40B4-BE49-F238E27FC236}">
                  <a16:creationId xmlns:a16="http://schemas.microsoft.com/office/drawing/2014/main" id="{B8A3033E-3EB7-4159-9DE2-23869B59CDA9}"/>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9" name="Rectangle 334">
              <a:extLst>
                <a:ext uri="{FF2B5EF4-FFF2-40B4-BE49-F238E27FC236}">
                  <a16:creationId xmlns:a16="http://schemas.microsoft.com/office/drawing/2014/main" id="{987CE693-76BB-473D-A774-9A0BE86AD5FB}"/>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0" name="Rectangle 335">
              <a:extLst>
                <a:ext uri="{FF2B5EF4-FFF2-40B4-BE49-F238E27FC236}">
                  <a16:creationId xmlns:a16="http://schemas.microsoft.com/office/drawing/2014/main" id="{FF17DBD3-947A-4084-81C3-36E6BDA4161E}"/>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1" name="Rectangle 336">
              <a:extLst>
                <a:ext uri="{FF2B5EF4-FFF2-40B4-BE49-F238E27FC236}">
                  <a16:creationId xmlns:a16="http://schemas.microsoft.com/office/drawing/2014/main" id="{25472EEA-C611-4049-BD4B-3AE107FB2664}"/>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2" name="Rectangle 337">
              <a:extLst>
                <a:ext uri="{FF2B5EF4-FFF2-40B4-BE49-F238E27FC236}">
                  <a16:creationId xmlns:a16="http://schemas.microsoft.com/office/drawing/2014/main" id="{7E8ECF47-6A67-44F0-B83C-57775FD0878A}"/>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413" name="Group 412">
              <a:extLst>
                <a:ext uri="{FF2B5EF4-FFF2-40B4-BE49-F238E27FC236}">
                  <a16:creationId xmlns:a16="http://schemas.microsoft.com/office/drawing/2014/main" id="{F721426C-9809-40A0-B831-4B999E5B4F04}"/>
                </a:ext>
              </a:extLst>
            </p:cNvPr>
            <p:cNvGrpSpPr/>
            <p:nvPr/>
          </p:nvGrpSpPr>
          <p:grpSpPr>
            <a:xfrm>
              <a:off x="3120879" y="4597927"/>
              <a:ext cx="384756" cy="384300"/>
              <a:chOff x="3571983" y="4744231"/>
              <a:chExt cx="384756" cy="384300"/>
            </a:xfrm>
            <a:grpFill/>
          </p:grpSpPr>
          <p:sp>
            <p:nvSpPr>
              <p:cNvPr id="420" name="Oval 419">
                <a:extLst>
                  <a:ext uri="{FF2B5EF4-FFF2-40B4-BE49-F238E27FC236}">
                    <a16:creationId xmlns:a16="http://schemas.microsoft.com/office/drawing/2014/main" id="{43D2C4A8-0527-4E4A-B3C7-46F2763677CA}"/>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21" name="Freeform 338">
                <a:extLst>
                  <a:ext uri="{FF2B5EF4-FFF2-40B4-BE49-F238E27FC236}">
                    <a16:creationId xmlns:a16="http://schemas.microsoft.com/office/drawing/2014/main" id="{F8C19A88-63E9-41F2-A560-62E88DD3552A}"/>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22" name="Freeform 339">
                <a:extLst>
                  <a:ext uri="{FF2B5EF4-FFF2-40B4-BE49-F238E27FC236}">
                    <a16:creationId xmlns:a16="http://schemas.microsoft.com/office/drawing/2014/main" id="{3821FD48-E79B-4D06-939E-426F5499D40F}"/>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414" name="Group 413">
              <a:extLst>
                <a:ext uri="{FF2B5EF4-FFF2-40B4-BE49-F238E27FC236}">
                  <a16:creationId xmlns:a16="http://schemas.microsoft.com/office/drawing/2014/main" id="{CF60DFEE-AFC8-4CB3-96E5-626599C185D8}"/>
                </a:ext>
              </a:extLst>
            </p:cNvPr>
            <p:cNvGrpSpPr/>
            <p:nvPr/>
          </p:nvGrpSpPr>
          <p:grpSpPr>
            <a:xfrm>
              <a:off x="2782979" y="4401648"/>
              <a:ext cx="277626" cy="278082"/>
              <a:chOff x="3843683" y="4426032"/>
              <a:chExt cx="277626" cy="278082"/>
            </a:xfrm>
            <a:grpFill/>
          </p:grpSpPr>
          <p:sp>
            <p:nvSpPr>
              <p:cNvPr id="415" name="Oval 414">
                <a:extLst>
                  <a:ext uri="{FF2B5EF4-FFF2-40B4-BE49-F238E27FC236}">
                    <a16:creationId xmlns:a16="http://schemas.microsoft.com/office/drawing/2014/main" id="{9AC0F7E9-50D6-4ED9-AB38-97758A12DD53}"/>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6" name="Freeform 340">
                <a:extLst>
                  <a:ext uri="{FF2B5EF4-FFF2-40B4-BE49-F238E27FC236}">
                    <a16:creationId xmlns:a16="http://schemas.microsoft.com/office/drawing/2014/main" id="{4B7CD134-FD6C-4BA4-91A5-BB71C768EE38}"/>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7" name="Freeform 341">
                <a:extLst>
                  <a:ext uri="{FF2B5EF4-FFF2-40B4-BE49-F238E27FC236}">
                    <a16:creationId xmlns:a16="http://schemas.microsoft.com/office/drawing/2014/main" id="{202D4DE3-D80D-4F08-BE0C-0D748B0F434A}"/>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8" name="Rectangle 342">
                <a:extLst>
                  <a:ext uri="{FF2B5EF4-FFF2-40B4-BE49-F238E27FC236}">
                    <a16:creationId xmlns:a16="http://schemas.microsoft.com/office/drawing/2014/main" id="{AFCA3CA6-7523-4860-843B-7A15BFA64990}"/>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9" name="Freeform 343">
                <a:extLst>
                  <a:ext uri="{FF2B5EF4-FFF2-40B4-BE49-F238E27FC236}">
                    <a16:creationId xmlns:a16="http://schemas.microsoft.com/office/drawing/2014/main" id="{28A581A4-D1A2-4D1B-A2E5-0A8C50F4EE17}"/>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grpSp>
        <p:nvGrpSpPr>
          <p:cNvPr id="685" name="Group 684">
            <a:extLst>
              <a:ext uri="{FF2B5EF4-FFF2-40B4-BE49-F238E27FC236}">
                <a16:creationId xmlns:a16="http://schemas.microsoft.com/office/drawing/2014/main" id="{916C4DE9-4AE5-413E-9634-0FB860D27D15}"/>
              </a:ext>
            </a:extLst>
          </p:cNvPr>
          <p:cNvGrpSpPr/>
          <p:nvPr/>
        </p:nvGrpSpPr>
        <p:grpSpPr>
          <a:xfrm>
            <a:off x="3124214" y="2758441"/>
            <a:ext cx="1120333" cy="385043"/>
            <a:chOff x="8598308" y="5131729"/>
            <a:chExt cx="2593567" cy="965651"/>
          </a:xfrm>
          <a:solidFill>
            <a:schemeClr val="bg1">
              <a:lumMod val="75000"/>
            </a:schemeClr>
          </a:solidFill>
        </p:grpSpPr>
        <p:grpSp>
          <p:nvGrpSpPr>
            <p:cNvPr id="686" name="Group 685">
              <a:extLst>
                <a:ext uri="{FF2B5EF4-FFF2-40B4-BE49-F238E27FC236}">
                  <a16:creationId xmlns:a16="http://schemas.microsoft.com/office/drawing/2014/main" id="{86EFCDAB-F464-4150-93E9-E029870CF0A9}"/>
                </a:ext>
              </a:extLst>
            </p:cNvPr>
            <p:cNvGrpSpPr>
              <a:grpSpLocks noChangeAspect="1"/>
            </p:cNvGrpSpPr>
            <p:nvPr/>
          </p:nvGrpSpPr>
          <p:grpSpPr>
            <a:xfrm>
              <a:off x="8706960" y="5131729"/>
              <a:ext cx="2361059" cy="927114"/>
              <a:chOff x="13708063" y="7653374"/>
              <a:chExt cx="17978438" cy="7059577"/>
            </a:xfrm>
            <a:grpFill/>
          </p:grpSpPr>
          <p:sp>
            <p:nvSpPr>
              <p:cNvPr id="688" name="Freeform 5">
                <a:extLst>
                  <a:ext uri="{FF2B5EF4-FFF2-40B4-BE49-F238E27FC236}">
                    <a16:creationId xmlns:a16="http://schemas.microsoft.com/office/drawing/2014/main" id="{D7F559CF-353C-41DA-9A1B-995E045AA909}"/>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9" name="Freeform 6">
                <a:extLst>
                  <a:ext uri="{FF2B5EF4-FFF2-40B4-BE49-F238E27FC236}">
                    <a16:creationId xmlns:a16="http://schemas.microsoft.com/office/drawing/2014/main" id="{4D59AE20-6BD1-4FCE-8877-B65697BE83A2}"/>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0" name="Freeform 7">
                <a:extLst>
                  <a:ext uri="{FF2B5EF4-FFF2-40B4-BE49-F238E27FC236}">
                    <a16:creationId xmlns:a16="http://schemas.microsoft.com/office/drawing/2014/main" id="{E09FF5EE-804D-441F-B2C8-F34FB5ABEFEF}"/>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1" name="Freeform 8">
                <a:extLst>
                  <a:ext uri="{FF2B5EF4-FFF2-40B4-BE49-F238E27FC236}">
                    <a16:creationId xmlns:a16="http://schemas.microsoft.com/office/drawing/2014/main" id="{9B669552-7FE6-4BF5-8D44-6EF960941BEC}"/>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2" name="Freeform 9">
                <a:extLst>
                  <a:ext uri="{FF2B5EF4-FFF2-40B4-BE49-F238E27FC236}">
                    <a16:creationId xmlns:a16="http://schemas.microsoft.com/office/drawing/2014/main" id="{FC67CCA1-6B2A-41A4-8DC4-B52ABBCC4800}"/>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3" name="Freeform 10">
                <a:extLst>
                  <a:ext uri="{FF2B5EF4-FFF2-40B4-BE49-F238E27FC236}">
                    <a16:creationId xmlns:a16="http://schemas.microsoft.com/office/drawing/2014/main" id="{57FB2E5D-A5E9-4B22-BBF3-0FE48B69ADF5}"/>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4" name="Freeform 11">
                <a:extLst>
                  <a:ext uri="{FF2B5EF4-FFF2-40B4-BE49-F238E27FC236}">
                    <a16:creationId xmlns:a16="http://schemas.microsoft.com/office/drawing/2014/main" id="{D92A42E5-63E3-4841-A40D-3643AF24E5E0}"/>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5" name="Freeform 12">
                <a:extLst>
                  <a:ext uri="{FF2B5EF4-FFF2-40B4-BE49-F238E27FC236}">
                    <a16:creationId xmlns:a16="http://schemas.microsoft.com/office/drawing/2014/main" id="{AD4F90A3-27B6-48DF-BD73-16F1A5E0D1D7}"/>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6" name="Freeform 13">
                <a:extLst>
                  <a:ext uri="{FF2B5EF4-FFF2-40B4-BE49-F238E27FC236}">
                    <a16:creationId xmlns:a16="http://schemas.microsoft.com/office/drawing/2014/main" id="{72A0C68C-B405-498C-960D-19A684EC843D}"/>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7" name="Freeform 14">
                <a:extLst>
                  <a:ext uri="{FF2B5EF4-FFF2-40B4-BE49-F238E27FC236}">
                    <a16:creationId xmlns:a16="http://schemas.microsoft.com/office/drawing/2014/main" id="{B534D28E-BD4B-4808-9F1A-FED98FEB7A1C}"/>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8" name="Freeform 15">
                <a:extLst>
                  <a:ext uri="{FF2B5EF4-FFF2-40B4-BE49-F238E27FC236}">
                    <a16:creationId xmlns:a16="http://schemas.microsoft.com/office/drawing/2014/main" id="{4BA31B03-C634-4244-A11F-92EE8D958CC0}"/>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9" name="Freeform 16">
                <a:extLst>
                  <a:ext uri="{FF2B5EF4-FFF2-40B4-BE49-F238E27FC236}">
                    <a16:creationId xmlns:a16="http://schemas.microsoft.com/office/drawing/2014/main" id="{C784062D-C5EE-4EA0-952A-6A51DA027D5E}"/>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0" name="Freeform 17">
                <a:extLst>
                  <a:ext uri="{FF2B5EF4-FFF2-40B4-BE49-F238E27FC236}">
                    <a16:creationId xmlns:a16="http://schemas.microsoft.com/office/drawing/2014/main" id="{4A63249D-A68F-46C3-987B-72568336C9F3}"/>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1" name="Freeform 18">
                <a:extLst>
                  <a:ext uri="{FF2B5EF4-FFF2-40B4-BE49-F238E27FC236}">
                    <a16:creationId xmlns:a16="http://schemas.microsoft.com/office/drawing/2014/main" id="{C7E6E5A5-0864-4967-806C-1CC261CD42DD}"/>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2" name="Freeform 19">
                <a:extLst>
                  <a:ext uri="{FF2B5EF4-FFF2-40B4-BE49-F238E27FC236}">
                    <a16:creationId xmlns:a16="http://schemas.microsoft.com/office/drawing/2014/main" id="{6C37581A-B9DD-4421-8E1C-0C9B80CD005B}"/>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3" name="Freeform 20">
                <a:extLst>
                  <a:ext uri="{FF2B5EF4-FFF2-40B4-BE49-F238E27FC236}">
                    <a16:creationId xmlns:a16="http://schemas.microsoft.com/office/drawing/2014/main" id="{3A5663C9-87DC-40B3-8D1E-62CF0E260634}"/>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4" name="Freeform 21">
                <a:extLst>
                  <a:ext uri="{FF2B5EF4-FFF2-40B4-BE49-F238E27FC236}">
                    <a16:creationId xmlns:a16="http://schemas.microsoft.com/office/drawing/2014/main" id="{D5B181D1-0DDE-4617-A0E0-F89CC95CA831}"/>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5" name="Freeform 22">
                <a:extLst>
                  <a:ext uri="{FF2B5EF4-FFF2-40B4-BE49-F238E27FC236}">
                    <a16:creationId xmlns:a16="http://schemas.microsoft.com/office/drawing/2014/main" id="{770282C8-029E-4FF5-A0EC-B992FFBF79F7}"/>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6" name="Freeform 23">
                <a:extLst>
                  <a:ext uri="{FF2B5EF4-FFF2-40B4-BE49-F238E27FC236}">
                    <a16:creationId xmlns:a16="http://schemas.microsoft.com/office/drawing/2014/main" id="{D89626B2-0EE8-42EB-BD25-9325FFAA1504}"/>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7" name="Freeform 24">
                <a:extLst>
                  <a:ext uri="{FF2B5EF4-FFF2-40B4-BE49-F238E27FC236}">
                    <a16:creationId xmlns:a16="http://schemas.microsoft.com/office/drawing/2014/main" id="{B357B453-C129-4E39-A20B-8C31A851253D}"/>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8" name="Freeform 25">
                <a:extLst>
                  <a:ext uri="{FF2B5EF4-FFF2-40B4-BE49-F238E27FC236}">
                    <a16:creationId xmlns:a16="http://schemas.microsoft.com/office/drawing/2014/main" id="{5CEAFEC7-EB97-49E4-826D-358A07685819}"/>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9" name="Freeform 26">
                <a:extLst>
                  <a:ext uri="{FF2B5EF4-FFF2-40B4-BE49-F238E27FC236}">
                    <a16:creationId xmlns:a16="http://schemas.microsoft.com/office/drawing/2014/main" id="{D4463F7B-44A6-4816-AE5D-3AF506292AAD}"/>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0" name="Freeform 27">
                <a:extLst>
                  <a:ext uri="{FF2B5EF4-FFF2-40B4-BE49-F238E27FC236}">
                    <a16:creationId xmlns:a16="http://schemas.microsoft.com/office/drawing/2014/main" id="{F725D16C-7312-4D35-B793-893D48FA9CAE}"/>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1" name="Freeform 28">
                <a:extLst>
                  <a:ext uri="{FF2B5EF4-FFF2-40B4-BE49-F238E27FC236}">
                    <a16:creationId xmlns:a16="http://schemas.microsoft.com/office/drawing/2014/main" id="{E7722359-BE1C-4EBA-9E05-6ACF6DFE48E5}"/>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2" name="Freeform 30">
                <a:extLst>
                  <a:ext uri="{FF2B5EF4-FFF2-40B4-BE49-F238E27FC236}">
                    <a16:creationId xmlns:a16="http://schemas.microsoft.com/office/drawing/2014/main" id="{D60F98AE-C807-41F4-BE89-C19AC931B204}"/>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3" name="Freeform 31">
                <a:extLst>
                  <a:ext uri="{FF2B5EF4-FFF2-40B4-BE49-F238E27FC236}">
                    <a16:creationId xmlns:a16="http://schemas.microsoft.com/office/drawing/2014/main" id="{3F1F3386-1B98-47D0-8F89-9789F2F49136}"/>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4" name="Freeform 32">
                <a:extLst>
                  <a:ext uri="{FF2B5EF4-FFF2-40B4-BE49-F238E27FC236}">
                    <a16:creationId xmlns:a16="http://schemas.microsoft.com/office/drawing/2014/main" id="{7CB1114E-3C01-4503-90F5-017C6F72AB6B}"/>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5" name="Freeform 33">
                <a:extLst>
                  <a:ext uri="{FF2B5EF4-FFF2-40B4-BE49-F238E27FC236}">
                    <a16:creationId xmlns:a16="http://schemas.microsoft.com/office/drawing/2014/main" id="{EA4ED88D-D46E-4E77-A797-47BA08D69289}"/>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6" name="Freeform 37">
                <a:extLst>
                  <a:ext uri="{FF2B5EF4-FFF2-40B4-BE49-F238E27FC236}">
                    <a16:creationId xmlns:a16="http://schemas.microsoft.com/office/drawing/2014/main" id="{377209A4-6A2C-470C-A0E6-72CBB5E74C81}"/>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7" name="Rectangle 38">
                <a:extLst>
                  <a:ext uri="{FF2B5EF4-FFF2-40B4-BE49-F238E27FC236}">
                    <a16:creationId xmlns:a16="http://schemas.microsoft.com/office/drawing/2014/main" id="{CA8CA55C-DF31-4D8E-A687-99965807AFD8}"/>
                  </a:ext>
                </a:extLst>
              </p:cNvPr>
              <p:cNvSpPr>
                <a:spLocks noChangeArrowheads="1"/>
              </p:cNvSpPr>
              <p:nvPr/>
            </p:nvSpPr>
            <p:spPr bwMode="auto">
              <a:xfrm>
                <a:off x="17970018" y="7900981"/>
                <a:ext cx="4603121" cy="263207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8" name="Freeform 39">
                <a:extLst>
                  <a:ext uri="{FF2B5EF4-FFF2-40B4-BE49-F238E27FC236}">
                    <a16:creationId xmlns:a16="http://schemas.microsoft.com/office/drawing/2014/main" id="{9F4D4D4D-528F-4BEC-B019-EE08D77CA2E8}"/>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9" name="Freeform 40">
                <a:extLst>
                  <a:ext uri="{FF2B5EF4-FFF2-40B4-BE49-F238E27FC236}">
                    <a16:creationId xmlns:a16="http://schemas.microsoft.com/office/drawing/2014/main" id="{4554C43C-EEE8-4B12-B0C3-4FED325741DE}"/>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0" name="Freeform 41">
                <a:extLst>
                  <a:ext uri="{FF2B5EF4-FFF2-40B4-BE49-F238E27FC236}">
                    <a16:creationId xmlns:a16="http://schemas.microsoft.com/office/drawing/2014/main" id="{51849980-4A92-48A6-9864-AB7311BBC927}"/>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1" name="Rectangle 42">
                <a:extLst>
                  <a:ext uri="{FF2B5EF4-FFF2-40B4-BE49-F238E27FC236}">
                    <a16:creationId xmlns:a16="http://schemas.microsoft.com/office/drawing/2014/main" id="{03D3CE06-19AC-4889-93DB-9DFB11C9529B}"/>
                  </a:ext>
                </a:extLst>
              </p:cNvPr>
              <p:cNvSpPr>
                <a:spLocks noChangeArrowheads="1"/>
              </p:cNvSpPr>
              <p:nvPr/>
            </p:nvSpPr>
            <p:spPr bwMode="auto">
              <a:xfrm>
                <a:off x="25590501" y="11085513"/>
                <a:ext cx="998538" cy="1984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2" name="Freeform 43">
                <a:extLst>
                  <a:ext uri="{FF2B5EF4-FFF2-40B4-BE49-F238E27FC236}">
                    <a16:creationId xmlns:a16="http://schemas.microsoft.com/office/drawing/2014/main" id="{D1BEDC82-1821-4445-A005-E497B5031333}"/>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3" name="Rectangle 44">
                <a:extLst>
                  <a:ext uri="{FF2B5EF4-FFF2-40B4-BE49-F238E27FC236}">
                    <a16:creationId xmlns:a16="http://schemas.microsoft.com/office/drawing/2014/main" id="{6BACCDE8-EB5F-4A54-9DC7-4DF19A564294}"/>
                  </a:ext>
                </a:extLst>
              </p:cNvPr>
              <p:cNvSpPr>
                <a:spLocks noChangeArrowheads="1"/>
              </p:cNvSpPr>
              <p:nvPr/>
            </p:nvSpPr>
            <p:spPr bwMode="auto">
              <a:xfrm>
                <a:off x="28171776" y="12095163"/>
                <a:ext cx="968375" cy="2000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4" name="Freeform 45">
                <a:extLst>
                  <a:ext uri="{FF2B5EF4-FFF2-40B4-BE49-F238E27FC236}">
                    <a16:creationId xmlns:a16="http://schemas.microsoft.com/office/drawing/2014/main" id="{BE5BC7A0-5028-401C-9616-CAD913F656B8}"/>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5" name="Freeform 46">
                <a:extLst>
                  <a:ext uri="{FF2B5EF4-FFF2-40B4-BE49-F238E27FC236}">
                    <a16:creationId xmlns:a16="http://schemas.microsoft.com/office/drawing/2014/main" id="{1D5617A6-0492-41D4-AF03-CB22607F7F59}"/>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6" name="Freeform 47">
                <a:extLst>
                  <a:ext uri="{FF2B5EF4-FFF2-40B4-BE49-F238E27FC236}">
                    <a16:creationId xmlns:a16="http://schemas.microsoft.com/office/drawing/2014/main" id="{1AEB9480-36AA-4142-940D-3AA7F41B856D}"/>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7" name="Freeform 48">
                <a:extLst>
                  <a:ext uri="{FF2B5EF4-FFF2-40B4-BE49-F238E27FC236}">
                    <a16:creationId xmlns:a16="http://schemas.microsoft.com/office/drawing/2014/main" id="{6937B4D5-F874-49A7-B131-66CD88CD61B4}"/>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8" name="Freeform 49">
                <a:extLst>
                  <a:ext uri="{FF2B5EF4-FFF2-40B4-BE49-F238E27FC236}">
                    <a16:creationId xmlns:a16="http://schemas.microsoft.com/office/drawing/2014/main" id="{FCD00AFD-054F-4FE6-AC7D-1FF0D430040A}"/>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9" name="Rectangle 50">
                <a:extLst>
                  <a:ext uri="{FF2B5EF4-FFF2-40B4-BE49-F238E27FC236}">
                    <a16:creationId xmlns:a16="http://schemas.microsoft.com/office/drawing/2014/main" id="{52A3B688-3FEA-4923-B4DE-90320D916D4E}"/>
                  </a:ext>
                </a:extLst>
              </p:cNvPr>
              <p:cNvSpPr>
                <a:spLocks noChangeArrowheads="1"/>
              </p:cNvSpPr>
              <p:nvPr/>
            </p:nvSpPr>
            <p:spPr bwMode="auto">
              <a:xfrm>
                <a:off x="27790339" y="9455158"/>
                <a:ext cx="2580131" cy="167481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0" name="Freeform 51">
                <a:extLst>
                  <a:ext uri="{FF2B5EF4-FFF2-40B4-BE49-F238E27FC236}">
                    <a16:creationId xmlns:a16="http://schemas.microsoft.com/office/drawing/2014/main" id="{F7A6C285-F945-4E1C-9C8E-FEF190603E89}"/>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1" name="Freeform 52">
                <a:extLst>
                  <a:ext uri="{FF2B5EF4-FFF2-40B4-BE49-F238E27FC236}">
                    <a16:creationId xmlns:a16="http://schemas.microsoft.com/office/drawing/2014/main" id="{84AF761D-7914-4CE1-949A-3ED32786766A}"/>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2" name="Freeform 53">
                <a:extLst>
                  <a:ext uri="{FF2B5EF4-FFF2-40B4-BE49-F238E27FC236}">
                    <a16:creationId xmlns:a16="http://schemas.microsoft.com/office/drawing/2014/main" id="{CF3562D3-4840-486F-9DC7-20807F53CF84}"/>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3" name="Freeform 54">
                <a:extLst>
                  <a:ext uri="{FF2B5EF4-FFF2-40B4-BE49-F238E27FC236}">
                    <a16:creationId xmlns:a16="http://schemas.microsoft.com/office/drawing/2014/main" id="{71541A3F-73B6-4BB6-8F4D-6DCA0DBAA312}"/>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4" name="Freeform 55">
                <a:extLst>
                  <a:ext uri="{FF2B5EF4-FFF2-40B4-BE49-F238E27FC236}">
                    <a16:creationId xmlns:a16="http://schemas.microsoft.com/office/drawing/2014/main" id="{F0A89D2B-06FC-4D85-BC0D-8FF7C83A8239}"/>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5" name="Freeform 56">
                <a:extLst>
                  <a:ext uri="{FF2B5EF4-FFF2-40B4-BE49-F238E27FC236}">
                    <a16:creationId xmlns:a16="http://schemas.microsoft.com/office/drawing/2014/main" id="{7E2CF097-6F9F-4996-9AB7-ECAE59E39C9E}"/>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6" name="Freeform 57">
                <a:extLst>
                  <a:ext uri="{FF2B5EF4-FFF2-40B4-BE49-F238E27FC236}">
                    <a16:creationId xmlns:a16="http://schemas.microsoft.com/office/drawing/2014/main" id="{ACFB0D85-3076-4E6D-89AC-3FFB81BBFC76}"/>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7" name="Freeform 58">
                <a:extLst>
                  <a:ext uri="{FF2B5EF4-FFF2-40B4-BE49-F238E27FC236}">
                    <a16:creationId xmlns:a16="http://schemas.microsoft.com/office/drawing/2014/main" id="{BDF50591-F858-49CC-A9E8-7E359204469F}"/>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8" name="Freeform 59">
                <a:extLst>
                  <a:ext uri="{FF2B5EF4-FFF2-40B4-BE49-F238E27FC236}">
                    <a16:creationId xmlns:a16="http://schemas.microsoft.com/office/drawing/2014/main" id="{89913143-25BA-4BB6-B655-64BEFA5824F0}"/>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9" name="Freeform 60">
                <a:extLst>
                  <a:ext uri="{FF2B5EF4-FFF2-40B4-BE49-F238E27FC236}">
                    <a16:creationId xmlns:a16="http://schemas.microsoft.com/office/drawing/2014/main" id="{5059063B-0150-4966-85B2-711BA9FDAE13}"/>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0" name="Freeform 61">
                <a:extLst>
                  <a:ext uri="{FF2B5EF4-FFF2-40B4-BE49-F238E27FC236}">
                    <a16:creationId xmlns:a16="http://schemas.microsoft.com/office/drawing/2014/main" id="{6B0ADA8E-F64F-4ECF-99C9-B48C5687C878}"/>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1" name="Freeform 62">
                <a:extLst>
                  <a:ext uri="{FF2B5EF4-FFF2-40B4-BE49-F238E27FC236}">
                    <a16:creationId xmlns:a16="http://schemas.microsoft.com/office/drawing/2014/main" id="{811928A9-F20A-4C65-A416-77432E87D96F}"/>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2" name="Freeform 63">
                <a:extLst>
                  <a:ext uri="{FF2B5EF4-FFF2-40B4-BE49-F238E27FC236}">
                    <a16:creationId xmlns:a16="http://schemas.microsoft.com/office/drawing/2014/main" id="{94EBF928-69F0-497F-BB27-F664139B5979}"/>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3" name="Freeform 64">
                <a:extLst>
                  <a:ext uri="{FF2B5EF4-FFF2-40B4-BE49-F238E27FC236}">
                    <a16:creationId xmlns:a16="http://schemas.microsoft.com/office/drawing/2014/main" id="{9AB6F762-8B8A-4872-B6F5-D60699610535}"/>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4" name="Freeform 65">
                <a:extLst>
                  <a:ext uri="{FF2B5EF4-FFF2-40B4-BE49-F238E27FC236}">
                    <a16:creationId xmlns:a16="http://schemas.microsoft.com/office/drawing/2014/main" id="{7FE71A6E-C821-43A8-B0FF-B448C21E38FF}"/>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5" name="Freeform 66">
                <a:extLst>
                  <a:ext uri="{FF2B5EF4-FFF2-40B4-BE49-F238E27FC236}">
                    <a16:creationId xmlns:a16="http://schemas.microsoft.com/office/drawing/2014/main" id="{1F91A570-9368-4A27-8672-F67BBFBF04C6}"/>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6" name="Freeform 67">
                <a:extLst>
                  <a:ext uri="{FF2B5EF4-FFF2-40B4-BE49-F238E27FC236}">
                    <a16:creationId xmlns:a16="http://schemas.microsoft.com/office/drawing/2014/main" id="{1E904A27-9E8B-4DAB-813A-EA6BD3E01DED}"/>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7" name="Freeform 68">
                <a:extLst>
                  <a:ext uri="{FF2B5EF4-FFF2-40B4-BE49-F238E27FC236}">
                    <a16:creationId xmlns:a16="http://schemas.microsoft.com/office/drawing/2014/main" id="{B5C5AD04-5995-4CE5-8420-5F89F37937E7}"/>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8" name="Freeform 69">
                <a:extLst>
                  <a:ext uri="{FF2B5EF4-FFF2-40B4-BE49-F238E27FC236}">
                    <a16:creationId xmlns:a16="http://schemas.microsoft.com/office/drawing/2014/main" id="{0AC49709-6DE3-4CB1-97F4-0DB9AC8D9B10}"/>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9" name="Freeform 70">
                <a:extLst>
                  <a:ext uri="{FF2B5EF4-FFF2-40B4-BE49-F238E27FC236}">
                    <a16:creationId xmlns:a16="http://schemas.microsoft.com/office/drawing/2014/main" id="{5DFC8AB4-E3F2-478B-B6A5-C35179E75883}"/>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0" name="Freeform 71">
                <a:extLst>
                  <a:ext uri="{FF2B5EF4-FFF2-40B4-BE49-F238E27FC236}">
                    <a16:creationId xmlns:a16="http://schemas.microsoft.com/office/drawing/2014/main" id="{91B7D547-3C7B-4755-A8C1-B9A75B958893}"/>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1" name="Freeform 72">
                <a:extLst>
                  <a:ext uri="{FF2B5EF4-FFF2-40B4-BE49-F238E27FC236}">
                    <a16:creationId xmlns:a16="http://schemas.microsoft.com/office/drawing/2014/main" id="{0A66FF50-B84F-4014-A6E9-24C43BBBB059}"/>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2" name="Freeform 73">
                <a:extLst>
                  <a:ext uri="{FF2B5EF4-FFF2-40B4-BE49-F238E27FC236}">
                    <a16:creationId xmlns:a16="http://schemas.microsoft.com/office/drawing/2014/main" id="{4F56FA0B-70CA-40C8-855D-EC230979F441}"/>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3" name="Freeform 74">
                <a:extLst>
                  <a:ext uri="{FF2B5EF4-FFF2-40B4-BE49-F238E27FC236}">
                    <a16:creationId xmlns:a16="http://schemas.microsoft.com/office/drawing/2014/main" id="{96A53349-9A45-44E6-846C-D767EBBDFE47}"/>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4" name="Freeform 75">
                <a:extLst>
                  <a:ext uri="{FF2B5EF4-FFF2-40B4-BE49-F238E27FC236}">
                    <a16:creationId xmlns:a16="http://schemas.microsoft.com/office/drawing/2014/main" id="{57D878C1-6446-4046-8C96-6F697841F703}"/>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5" name="Freeform 76">
                <a:extLst>
                  <a:ext uri="{FF2B5EF4-FFF2-40B4-BE49-F238E27FC236}">
                    <a16:creationId xmlns:a16="http://schemas.microsoft.com/office/drawing/2014/main" id="{B616EE95-4425-419F-9A2E-1CB8BCE5399C}"/>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6" name="Freeform 77">
                <a:extLst>
                  <a:ext uri="{FF2B5EF4-FFF2-40B4-BE49-F238E27FC236}">
                    <a16:creationId xmlns:a16="http://schemas.microsoft.com/office/drawing/2014/main" id="{3E00AADD-6F14-46D8-9A22-121808E66A42}"/>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7" name="Freeform 78">
                <a:extLst>
                  <a:ext uri="{FF2B5EF4-FFF2-40B4-BE49-F238E27FC236}">
                    <a16:creationId xmlns:a16="http://schemas.microsoft.com/office/drawing/2014/main" id="{E7AE849D-668A-4553-9352-08184CD338D3}"/>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8" name="Freeform 79">
                <a:extLst>
                  <a:ext uri="{FF2B5EF4-FFF2-40B4-BE49-F238E27FC236}">
                    <a16:creationId xmlns:a16="http://schemas.microsoft.com/office/drawing/2014/main" id="{9AF9D067-9D83-4334-9BE5-2DAB33E2CCFE}"/>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9" name="Freeform 80">
                <a:extLst>
                  <a:ext uri="{FF2B5EF4-FFF2-40B4-BE49-F238E27FC236}">
                    <a16:creationId xmlns:a16="http://schemas.microsoft.com/office/drawing/2014/main" id="{5634E294-9F11-4311-8879-EBA13DE9E814}"/>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0" name="Freeform 81">
                <a:extLst>
                  <a:ext uri="{FF2B5EF4-FFF2-40B4-BE49-F238E27FC236}">
                    <a16:creationId xmlns:a16="http://schemas.microsoft.com/office/drawing/2014/main" id="{9F8D713E-FDA1-4B7A-86C6-38586A7597F2}"/>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687" name="Rectangle 686">
              <a:extLst>
                <a:ext uri="{FF2B5EF4-FFF2-40B4-BE49-F238E27FC236}">
                  <a16:creationId xmlns:a16="http://schemas.microsoft.com/office/drawing/2014/main" id="{8AAFC7CD-8E99-465E-BE7B-C3088A59A773}"/>
                </a:ext>
              </a:extLst>
            </p:cNvPr>
            <p:cNvSpPr/>
            <p:nvPr/>
          </p:nvSpPr>
          <p:spPr bwMode="auto">
            <a:xfrm>
              <a:off x="8598308" y="6051661"/>
              <a:ext cx="259356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761" name="Group 760">
            <a:extLst>
              <a:ext uri="{FF2B5EF4-FFF2-40B4-BE49-F238E27FC236}">
                <a16:creationId xmlns:a16="http://schemas.microsoft.com/office/drawing/2014/main" id="{BDD63A23-F30B-474B-931F-2D729BEB973A}"/>
              </a:ext>
            </a:extLst>
          </p:cNvPr>
          <p:cNvGrpSpPr>
            <a:grpSpLocks noChangeAspect="1"/>
          </p:cNvGrpSpPr>
          <p:nvPr/>
        </p:nvGrpSpPr>
        <p:grpSpPr>
          <a:xfrm>
            <a:off x="6697244" y="2633218"/>
            <a:ext cx="943275" cy="575451"/>
            <a:chOff x="880735" y="570156"/>
            <a:chExt cx="9823008" cy="5992590"/>
          </a:xfrm>
        </p:grpSpPr>
        <p:grpSp>
          <p:nvGrpSpPr>
            <p:cNvPr id="762" name="Group 761">
              <a:extLst>
                <a:ext uri="{FF2B5EF4-FFF2-40B4-BE49-F238E27FC236}">
                  <a16:creationId xmlns:a16="http://schemas.microsoft.com/office/drawing/2014/main" id="{19CD41C4-BC20-4187-BD4B-A9F3DBB90435}"/>
                </a:ext>
              </a:extLst>
            </p:cNvPr>
            <p:cNvGrpSpPr/>
            <p:nvPr/>
          </p:nvGrpSpPr>
          <p:grpSpPr>
            <a:xfrm>
              <a:off x="880735" y="570156"/>
              <a:ext cx="9823008" cy="5216554"/>
              <a:chOff x="880735" y="570156"/>
              <a:chExt cx="9823008" cy="5216554"/>
            </a:xfrm>
          </p:grpSpPr>
          <p:grpSp>
            <p:nvGrpSpPr>
              <p:cNvPr id="767" name="Group 766">
                <a:extLst>
                  <a:ext uri="{FF2B5EF4-FFF2-40B4-BE49-F238E27FC236}">
                    <a16:creationId xmlns:a16="http://schemas.microsoft.com/office/drawing/2014/main" id="{D70B0C00-8C2A-4D92-83B3-972907894F92}"/>
                  </a:ext>
                </a:extLst>
              </p:cNvPr>
              <p:cNvGrpSpPr/>
              <p:nvPr/>
            </p:nvGrpSpPr>
            <p:grpSpPr>
              <a:xfrm>
                <a:off x="1860203" y="570156"/>
                <a:ext cx="3248557" cy="3248553"/>
                <a:chOff x="3695059" y="2057989"/>
                <a:chExt cx="825500" cy="825500"/>
              </a:xfrm>
            </p:grpSpPr>
            <p:sp>
              <p:nvSpPr>
                <p:cNvPr id="849" name="Oval 848">
                  <a:extLst>
                    <a:ext uri="{FF2B5EF4-FFF2-40B4-BE49-F238E27FC236}">
                      <a16:creationId xmlns:a16="http://schemas.microsoft.com/office/drawing/2014/main" id="{50110239-D717-460C-8768-8A4AEDE17CB4}"/>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32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50" name="Freeform 82">
                  <a:extLst>
                    <a:ext uri="{FF2B5EF4-FFF2-40B4-BE49-F238E27FC236}">
                      <a16:creationId xmlns:a16="http://schemas.microsoft.com/office/drawing/2014/main" id="{2EA7BCD9-6A35-46FB-A08A-D1E05B0C4AB6}"/>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sp>
            <p:nvSpPr>
              <p:cNvPr id="768" name="Rectangle 767">
                <a:extLst>
                  <a:ext uri="{FF2B5EF4-FFF2-40B4-BE49-F238E27FC236}">
                    <a16:creationId xmlns:a16="http://schemas.microsoft.com/office/drawing/2014/main" id="{E2732F27-A7AD-4233-90D0-559BE2FB7FAD}"/>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69" name="Rectangle 768">
                <a:extLst>
                  <a:ext uri="{FF2B5EF4-FFF2-40B4-BE49-F238E27FC236}">
                    <a16:creationId xmlns:a16="http://schemas.microsoft.com/office/drawing/2014/main" id="{EFBF80EB-6E73-4085-921A-1F76654F2B99}"/>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0" name="Freeform 7">
                <a:extLst>
                  <a:ext uri="{FF2B5EF4-FFF2-40B4-BE49-F238E27FC236}">
                    <a16:creationId xmlns:a16="http://schemas.microsoft.com/office/drawing/2014/main" id="{5739D686-C380-4F54-BDA5-42B722D80108}"/>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1" name="Freeform 8">
                <a:extLst>
                  <a:ext uri="{FF2B5EF4-FFF2-40B4-BE49-F238E27FC236}">
                    <a16:creationId xmlns:a16="http://schemas.microsoft.com/office/drawing/2014/main" id="{8E5E5BBC-E610-4E70-A026-B91684687D9A}"/>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2" name="Rectangle 771">
                <a:extLst>
                  <a:ext uri="{FF2B5EF4-FFF2-40B4-BE49-F238E27FC236}">
                    <a16:creationId xmlns:a16="http://schemas.microsoft.com/office/drawing/2014/main" id="{E116F597-7C51-4897-AC07-EA549AE42A46}"/>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3" name="Rectangle 772">
                <a:extLst>
                  <a:ext uri="{FF2B5EF4-FFF2-40B4-BE49-F238E27FC236}">
                    <a16:creationId xmlns:a16="http://schemas.microsoft.com/office/drawing/2014/main" id="{0810D6B5-C80C-40B6-A20C-267253255DE5}"/>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4" name="Rectangle 773">
                <a:extLst>
                  <a:ext uri="{FF2B5EF4-FFF2-40B4-BE49-F238E27FC236}">
                    <a16:creationId xmlns:a16="http://schemas.microsoft.com/office/drawing/2014/main" id="{67C27BBB-2F04-40AA-A038-84640763592E}"/>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5" name="Rectangle 774">
                <a:extLst>
                  <a:ext uri="{FF2B5EF4-FFF2-40B4-BE49-F238E27FC236}">
                    <a16:creationId xmlns:a16="http://schemas.microsoft.com/office/drawing/2014/main" id="{71616088-400A-4B6C-9E70-A33E49E232D6}"/>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6" name="Rectangle 775">
                <a:extLst>
                  <a:ext uri="{FF2B5EF4-FFF2-40B4-BE49-F238E27FC236}">
                    <a16:creationId xmlns:a16="http://schemas.microsoft.com/office/drawing/2014/main" id="{03213D7F-E26C-4A79-B9C2-A363E2D6EC8E}"/>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7" name="Rectangle 776">
                <a:extLst>
                  <a:ext uri="{FF2B5EF4-FFF2-40B4-BE49-F238E27FC236}">
                    <a16:creationId xmlns:a16="http://schemas.microsoft.com/office/drawing/2014/main" id="{9027A924-E8A5-4395-8E6B-02733A95D553}"/>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8" name="Rectangle 777">
                <a:extLst>
                  <a:ext uri="{FF2B5EF4-FFF2-40B4-BE49-F238E27FC236}">
                    <a16:creationId xmlns:a16="http://schemas.microsoft.com/office/drawing/2014/main" id="{EB9BAEDB-B8C7-484F-8B29-E6B4E80CD308}"/>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9" name="Rectangle 778">
                <a:extLst>
                  <a:ext uri="{FF2B5EF4-FFF2-40B4-BE49-F238E27FC236}">
                    <a16:creationId xmlns:a16="http://schemas.microsoft.com/office/drawing/2014/main" id="{5DCDF3AE-A30F-484B-8453-35B8DAC49FC5}"/>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0" name="Rectangle 779">
                <a:extLst>
                  <a:ext uri="{FF2B5EF4-FFF2-40B4-BE49-F238E27FC236}">
                    <a16:creationId xmlns:a16="http://schemas.microsoft.com/office/drawing/2014/main" id="{6E2295DB-47AB-4FA8-AB7C-61E1B74075CA}"/>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1" name="Rectangle 780">
                <a:extLst>
                  <a:ext uri="{FF2B5EF4-FFF2-40B4-BE49-F238E27FC236}">
                    <a16:creationId xmlns:a16="http://schemas.microsoft.com/office/drawing/2014/main" id="{6AB7C7AE-4AD1-4F70-A3C2-A5EC142A2523}"/>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2" name="Freeform 19">
                <a:extLst>
                  <a:ext uri="{FF2B5EF4-FFF2-40B4-BE49-F238E27FC236}">
                    <a16:creationId xmlns:a16="http://schemas.microsoft.com/office/drawing/2014/main" id="{C761F0D2-F82B-48B2-B876-F4E6794F01A5}"/>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3" name="Freeform 20">
                <a:extLst>
                  <a:ext uri="{FF2B5EF4-FFF2-40B4-BE49-F238E27FC236}">
                    <a16:creationId xmlns:a16="http://schemas.microsoft.com/office/drawing/2014/main" id="{0AB03FFB-A016-4806-93DC-AAD3E316E516}"/>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4" name="Freeform 21">
                <a:extLst>
                  <a:ext uri="{FF2B5EF4-FFF2-40B4-BE49-F238E27FC236}">
                    <a16:creationId xmlns:a16="http://schemas.microsoft.com/office/drawing/2014/main" id="{A7E4B4FD-B8C7-4704-87E1-F778D3502ABA}"/>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5" name="Rectangle 784">
                <a:extLst>
                  <a:ext uri="{FF2B5EF4-FFF2-40B4-BE49-F238E27FC236}">
                    <a16:creationId xmlns:a16="http://schemas.microsoft.com/office/drawing/2014/main" id="{D4A596C9-9E4B-4363-B241-4952A9BA5A96}"/>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6" name="Rectangle 785">
                <a:extLst>
                  <a:ext uri="{FF2B5EF4-FFF2-40B4-BE49-F238E27FC236}">
                    <a16:creationId xmlns:a16="http://schemas.microsoft.com/office/drawing/2014/main" id="{348AE00E-8436-43B9-9317-0F79712E96EF}"/>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7" name="Rectangle 786">
                <a:extLst>
                  <a:ext uri="{FF2B5EF4-FFF2-40B4-BE49-F238E27FC236}">
                    <a16:creationId xmlns:a16="http://schemas.microsoft.com/office/drawing/2014/main" id="{AD725FBB-1E6E-4A0D-9D50-00D84573CC19}"/>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8" name="Rectangle 787">
                <a:extLst>
                  <a:ext uri="{FF2B5EF4-FFF2-40B4-BE49-F238E27FC236}">
                    <a16:creationId xmlns:a16="http://schemas.microsoft.com/office/drawing/2014/main" id="{08122246-7ADA-4AAC-B387-F8BA6CB0F79B}"/>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9" name="Rectangle 788">
                <a:extLst>
                  <a:ext uri="{FF2B5EF4-FFF2-40B4-BE49-F238E27FC236}">
                    <a16:creationId xmlns:a16="http://schemas.microsoft.com/office/drawing/2014/main" id="{5E4799B7-2CA5-4D84-AA39-5E286B5B3EE7}"/>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0" name="Rectangle 789">
                <a:extLst>
                  <a:ext uri="{FF2B5EF4-FFF2-40B4-BE49-F238E27FC236}">
                    <a16:creationId xmlns:a16="http://schemas.microsoft.com/office/drawing/2014/main" id="{0F4D5927-26C1-401D-8695-6BD0AEF3F5AA}"/>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1" name="Rectangle 790">
                <a:extLst>
                  <a:ext uri="{FF2B5EF4-FFF2-40B4-BE49-F238E27FC236}">
                    <a16:creationId xmlns:a16="http://schemas.microsoft.com/office/drawing/2014/main" id="{20B028FF-A075-4E8A-99EF-B2950517FAF6}"/>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2" name="Rectangle 791">
                <a:extLst>
                  <a:ext uri="{FF2B5EF4-FFF2-40B4-BE49-F238E27FC236}">
                    <a16:creationId xmlns:a16="http://schemas.microsoft.com/office/drawing/2014/main" id="{0E1698D1-8ADC-4516-8BD6-3D1B605F68DD}"/>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3" name="Rectangle 792">
                <a:extLst>
                  <a:ext uri="{FF2B5EF4-FFF2-40B4-BE49-F238E27FC236}">
                    <a16:creationId xmlns:a16="http://schemas.microsoft.com/office/drawing/2014/main" id="{D45E0829-E060-4B93-BE33-382FA2CEA2CD}"/>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4" name="Rectangle 793">
                <a:extLst>
                  <a:ext uri="{FF2B5EF4-FFF2-40B4-BE49-F238E27FC236}">
                    <a16:creationId xmlns:a16="http://schemas.microsoft.com/office/drawing/2014/main" id="{0ECA3B8D-120F-475E-BA74-6EB16F797E30}"/>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5" name="Rectangle 794">
                <a:extLst>
                  <a:ext uri="{FF2B5EF4-FFF2-40B4-BE49-F238E27FC236}">
                    <a16:creationId xmlns:a16="http://schemas.microsoft.com/office/drawing/2014/main" id="{65D86001-F1F9-40C8-9CE8-8125B4B0B371}"/>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6" name="Freeform 33">
                <a:extLst>
                  <a:ext uri="{FF2B5EF4-FFF2-40B4-BE49-F238E27FC236}">
                    <a16:creationId xmlns:a16="http://schemas.microsoft.com/office/drawing/2014/main" id="{2225F385-24D6-477B-A835-53BE9971739B}"/>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8" name="Freeform 34">
                <a:extLst>
                  <a:ext uri="{FF2B5EF4-FFF2-40B4-BE49-F238E27FC236}">
                    <a16:creationId xmlns:a16="http://schemas.microsoft.com/office/drawing/2014/main" id="{3C2F818F-B7AA-459F-897C-A8D1379913CA}"/>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9" name="Freeform 36">
                <a:extLst>
                  <a:ext uri="{FF2B5EF4-FFF2-40B4-BE49-F238E27FC236}">
                    <a16:creationId xmlns:a16="http://schemas.microsoft.com/office/drawing/2014/main" id="{2F854805-51E1-4A50-879D-A223F38823EB}"/>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0" name="Freeform 37">
                <a:extLst>
                  <a:ext uri="{FF2B5EF4-FFF2-40B4-BE49-F238E27FC236}">
                    <a16:creationId xmlns:a16="http://schemas.microsoft.com/office/drawing/2014/main" id="{1F40CCD6-9096-4D5D-B697-E62F2E8F72B8}"/>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1" name="Freeform 38">
                <a:extLst>
                  <a:ext uri="{FF2B5EF4-FFF2-40B4-BE49-F238E27FC236}">
                    <a16:creationId xmlns:a16="http://schemas.microsoft.com/office/drawing/2014/main" id="{A1B692C7-F762-4AB7-AB5A-ACBB1093226C}"/>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2" name="Freeform 39">
                <a:extLst>
                  <a:ext uri="{FF2B5EF4-FFF2-40B4-BE49-F238E27FC236}">
                    <a16:creationId xmlns:a16="http://schemas.microsoft.com/office/drawing/2014/main" id="{78D32199-EB42-4D28-949E-CECC60964F19}"/>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3" name="Freeform 40">
                <a:extLst>
                  <a:ext uri="{FF2B5EF4-FFF2-40B4-BE49-F238E27FC236}">
                    <a16:creationId xmlns:a16="http://schemas.microsoft.com/office/drawing/2014/main" id="{29191D7E-8FC2-4A19-A588-229597F94FCA}"/>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4" name="Freeform 41">
                <a:extLst>
                  <a:ext uri="{FF2B5EF4-FFF2-40B4-BE49-F238E27FC236}">
                    <a16:creationId xmlns:a16="http://schemas.microsoft.com/office/drawing/2014/main" id="{D4118E45-6EDD-40DB-89AB-44A631762EB1}"/>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5" name="Freeform 42">
                <a:extLst>
                  <a:ext uri="{FF2B5EF4-FFF2-40B4-BE49-F238E27FC236}">
                    <a16:creationId xmlns:a16="http://schemas.microsoft.com/office/drawing/2014/main" id="{BA952B17-A18D-4A7D-A706-2AE513C97A20}"/>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6" name="Freeform 43">
                <a:extLst>
                  <a:ext uri="{FF2B5EF4-FFF2-40B4-BE49-F238E27FC236}">
                    <a16:creationId xmlns:a16="http://schemas.microsoft.com/office/drawing/2014/main" id="{E99E8FEF-0ACC-4EB6-B679-7F71958BD4E6}"/>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7" name="Freeform 44">
                <a:extLst>
                  <a:ext uri="{FF2B5EF4-FFF2-40B4-BE49-F238E27FC236}">
                    <a16:creationId xmlns:a16="http://schemas.microsoft.com/office/drawing/2014/main" id="{32F230B0-7EA4-43D6-A16E-35B4230D963B}"/>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8" name="Freeform 45">
                <a:extLst>
                  <a:ext uri="{FF2B5EF4-FFF2-40B4-BE49-F238E27FC236}">
                    <a16:creationId xmlns:a16="http://schemas.microsoft.com/office/drawing/2014/main" id="{E0828E95-6D7E-436C-AC12-ED78B19FD222}"/>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9" name="Rectangle 46">
                <a:extLst>
                  <a:ext uri="{FF2B5EF4-FFF2-40B4-BE49-F238E27FC236}">
                    <a16:creationId xmlns:a16="http://schemas.microsoft.com/office/drawing/2014/main" id="{E9378364-2E8B-42E6-8E44-52211C8C41A2}"/>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0" name="Rectangle 47">
                <a:extLst>
                  <a:ext uri="{FF2B5EF4-FFF2-40B4-BE49-F238E27FC236}">
                    <a16:creationId xmlns:a16="http://schemas.microsoft.com/office/drawing/2014/main" id="{538B6F53-2926-499B-A713-52C3CE7A731B}"/>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1" name="Freeform 48">
                <a:extLst>
                  <a:ext uri="{FF2B5EF4-FFF2-40B4-BE49-F238E27FC236}">
                    <a16:creationId xmlns:a16="http://schemas.microsoft.com/office/drawing/2014/main" id="{5D7F0689-CD39-4F34-A6FB-FAF32A5F83CD}"/>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2" name="Freeform 49">
                <a:extLst>
                  <a:ext uri="{FF2B5EF4-FFF2-40B4-BE49-F238E27FC236}">
                    <a16:creationId xmlns:a16="http://schemas.microsoft.com/office/drawing/2014/main" id="{53EB2324-4FF5-48E5-A8AC-03CCAE286667}"/>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3" name="Freeform 157">
                <a:extLst>
                  <a:ext uri="{FF2B5EF4-FFF2-40B4-BE49-F238E27FC236}">
                    <a16:creationId xmlns:a16="http://schemas.microsoft.com/office/drawing/2014/main" id="{859A0450-2024-49B2-A6A8-24B0D6C85856}"/>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4" name="Freeform 125">
                <a:extLst>
                  <a:ext uri="{FF2B5EF4-FFF2-40B4-BE49-F238E27FC236}">
                    <a16:creationId xmlns:a16="http://schemas.microsoft.com/office/drawing/2014/main" id="{0A0A313C-6725-4DD2-8EA1-18A2ABC35890}"/>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8C00"/>
                  </a:solidFill>
                  <a:effectLst/>
                  <a:uLnTx/>
                  <a:uFillTx/>
                  <a:latin typeface="Times New Roman" charset="0"/>
                  <a:ea typeface="ＭＳ Ｐゴシック" charset="0"/>
                </a:endParaRPr>
              </a:p>
            </p:txBody>
          </p:sp>
          <p:grpSp>
            <p:nvGrpSpPr>
              <p:cNvPr id="815" name="Group 814">
                <a:extLst>
                  <a:ext uri="{FF2B5EF4-FFF2-40B4-BE49-F238E27FC236}">
                    <a16:creationId xmlns:a16="http://schemas.microsoft.com/office/drawing/2014/main" id="{8FFC839E-A731-437C-BC94-A57A780F9970}"/>
                  </a:ext>
                </a:extLst>
              </p:cNvPr>
              <p:cNvGrpSpPr/>
              <p:nvPr/>
            </p:nvGrpSpPr>
            <p:grpSpPr>
              <a:xfrm>
                <a:off x="880735" y="3233589"/>
                <a:ext cx="4515429" cy="2553121"/>
                <a:chOff x="2267710" y="3645408"/>
                <a:chExt cx="1887955" cy="1067493"/>
              </a:xfrm>
              <a:solidFill>
                <a:schemeClr val="bg1">
                  <a:lumMod val="75000"/>
                </a:schemeClr>
              </a:solidFill>
            </p:grpSpPr>
            <p:sp>
              <p:nvSpPr>
                <p:cNvPr id="816" name="Freeform 151">
                  <a:extLst>
                    <a:ext uri="{FF2B5EF4-FFF2-40B4-BE49-F238E27FC236}">
                      <a16:creationId xmlns:a16="http://schemas.microsoft.com/office/drawing/2014/main" id="{863955A2-71EE-4AF0-AB2C-646F247495E8}"/>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7" name="Freeform 152">
                  <a:extLst>
                    <a:ext uri="{FF2B5EF4-FFF2-40B4-BE49-F238E27FC236}">
                      <a16:creationId xmlns:a16="http://schemas.microsoft.com/office/drawing/2014/main" id="{2405610A-19B8-4E90-8CAB-DB8C31E76735}"/>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8" name="Freeform 158">
                  <a:extLst>
                    <a:ext uri="{FF2B5EF4-FFF2-40B4-BE49-F238E27FC236}">
                      <a16:creationId xmlns:a16="http://schemas.microsoft.com/office/drawing/2014/main" id="{B4FE24A3-5BA3-46E4-BAAA-520A0DB53DED}"/>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9" name="Freeform 168">
                  <a:extLst>
                    <a:ext uri="{FF2B5EF4-FFF2-40B4-BE49-F238E27FC236}">
                      <a16:creationId xmlns:a16="http://schemas.microsoft.com/office/drawing/2014/main" id="{1A644F33-1804-43DF-9E06-B786AE0B8CEC}"/>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20" name="Group 819">
                  <a:extLst>
                    <a:ext uri="{FF2B5EF4-FFF2-40B4-BE49-F238E27FC236}">
                      <a16:creationId xmlns:a16="http://schemas.microsoft.com/office/drawing/2014/main" id="{EC2949CB-EEEB-4203-B8DE-F9F5E201111E}"/>
                    </a:ext>
                  </a:extLst>
                </p:cNvPr>
                <p:cNvGrpSpPr/>
                <p:nvPr/>
              </p:nvGrpSpPr>
              <p:grpSpPr>
                <a:xfrm>
                  <a:off x="2677694" y="3839497"/>
                  <a:ext cx="1155716" cy="644026"/>
                  <a:chOff x="2726462" y="3839497"/>
                  <a:chExt cx="1155716" cy="644026"/>
                </a:xfrm>
                <a:grpFill/>
              </p:grpSpPr>
              <p:sp>
                <p:nvSpPr>
                  <p:cNvPr id="821" name="Freeform 153">
                    <a:extLst>
                      <a:ext uri="{FF2B5EF4-FFF2-40B4-BE49-F238E27FC236}">
                        <a16:creationId xmlns:a16="http://schemas.microsoft.com/office/drawing/2014/main" id="{1417EA0F-C286-4D56-BC11-16AC709CC3C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2" name="Freeform 154">
                    <a:extLst>
                      <a:ext uri="{FF2B5EF4-FFF2-40B4-BE49-F238E27FC236}">
                        <a16:creationId xmlns:a16="http://schemas.microsoft.com/office/drawing/2014/main" id="{183E174F-FBEA-4477-B326-43A1916635C1}"/>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3" name="Freeform 155">
                    <a:extLst>
                      <a:ext uri="{FF2B5EF4-FFF2-40B4-BE49-F238E27FC236}">
                        <a16:creationId xmlns:a16="http://schemas.microsoft.com/office/drawing/2014/main" id="{C6CF4D42-BE51-44D0-9EB1-5441EF6911DE}"/>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4" name="Freeform 156">
                    <a:extLst>
                      <a:ext uri="{FF2B5EF4-FFF2-40B4-BE49-F238E27FC236}">
                        <a16:creationId xmlns:a16="http://schemas.microsoft.com/office/drawing/2014/main" id="{B111F7BF-9950-46AD-B6B2-D8B827BAA0AE}"/>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5" name="Freeform 157">
                    <a:extLst>
                      <a:ext uri="{FF2B5EF4-FFF2-40B4-BE49-F238E27FC236}">
                        <a16:creationId xmlns:a16="http://schemas.microsoft.com/office/drawing/2014/main" id="{D82FC3E2-64CE-4F98-ABEE-2BAD1BE5A177}"/>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6" name="Freeform 159">
                    <a:extLst>
                      <a:ext uri="{FF2B5EF4-FFF2-40B4-BE49-F238E27FC236}">
                        <a16:creationId xmlns:a16="http://schemas.microsoft.com/office/drawing/2014/main" id="{646F0F77-F48C-458B-9C72-F24CF3985738}"/>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7" name="Freeform 160">
                    <a:extLst>
                      <a:ext uri="{FF2B5EF4-FFF2-40B4-BE49-F238E27FC236}">
                        <a16:creationId xmlns:a16="http://schemas.microsoft.com/office/drawing/2014/main" id="{C8B561E6-06AA-41AE-B975-292AC164BE61}"/>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8" name="Freeform 161">
                    <a:extLst>
                      <a:ext uri="{FF2B5EF4-FFF2-40B4-BE49-F238E27FC236}">
                        <a16:creationId xmlns:a16="http://schemas.microsoft.com/office/drawing/2014/main" id="{DBBC23F4-13A1-49FF-95C1-EC176AB43325}"/>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9" name="Freeform 162">
                    <a:extLst>
                      <a:ext uri="{FF2B5EF4-FFF2-40B4-BE49-F238E27FC236}">
                        <a16:creationId xmlns:a16="http://schemas.microsoft.com/office/drawing/2014/main" id="{68B47C38-6B95-4AB5-A271-ACD22DC0C90B}"/>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0" name="Freeform 163">
                    <a:extLst>
                      <a:ext uri="{FF2B5EF4-FFF2-40B4-BE49-F238E27FC236}">
                        <a16:creationId xmlns:a16="http://schemas.microsoft.com/office/drawing/2014/main" id="{122B7901-9D70-4A22-9021-6601E28F7391}"/>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1" name="Freeform 164">
                    <a:extLst>
                      <a:ext uri="{FF2B5EF4-FFF2-40B4-BE49-F238E27FC236}">
                        <a16:creationId xmlns:a16="http://schemas.microsoft.com/office/drawing/2014/main" id="{8505BD0D-9950-4464-869E-5680115BEAE0}"/>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2" name="Freeform 165">
                    <a:extLst>
                      <a:ext uri="{FF2B5EF4-FFF2-40B4-BE49-F238E27FC236}">
                        <a16:creationId xmlns:a16="http://schemas.microsoft.com/office/drawing/2014/main" id="{C6A3314C-6EBD-4B0C-8299-90FF51717BE2}"/>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3" name="Freeform 166">
                    <a:extLst>
                      <a:ext uri="{FF2B5EF4-FFF2-40B4-BE49-F238E27FC236}">
                        <a16:creationId xmlns:a16="http://schemas.microsoft.com/office/drawing/2014/main" id="{F6E0CFCE-EE8B-4D9C-AB86-8F759B97D375}"/>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4" name="Freeform 167">
                    <a:extLst>
                      <a:ext uri="{FF2B5EF4-FFF2-40B4-BE49-F238E27FC236}">
                        <a16:creationId xmlns:a16="http://schemas.microsoft.com/office/drawing/2014/main" id="{8AC44FF7-6279-40D3-8B02-EBFE8032DBBE}"/>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5" name="Freeform 169">
                    <a:extLst>
                      <a:ext uri="{FF2B5EF4-FFF2-40B4-BE49-F238E27FC236}">
                        <a16:creationId xmlns:a16="http://schemas.microsoft.com/office/drawing/2014/main" id="{9EEC3BF7-69F6-4DA5-A153-57ED266F2AE5}"/>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6" name="Freeform 170">
                    <a:extLst>
                      <a:ext uri="{FF2B5EF4-FFF2-40B4-BE49-F238E27FC236}">
                        <a16:creationId xmlns:a16="http://schemas.microsoft.com/office/drawing/2014/main" id="{54029DD1-B7AD-4233-B481-D6A10F9B8A8D}"/>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7" name="Freeform 171">
                    <a:extLst>
                      <a:ext uri="{FF2B5EF4-FFF2-40B4-BE49-F238E27FC236}">
                        <a16:creationId xmlns:a16="http://schemas.microsoft.com/office/drawing/2014/main" id="{1BA3F590-F36B-4C51-8F1B-4171D635C6A9}"/>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8" name="Freeform 172">
                    <a:extLst>
                      <a:ext uri="{FF2B5EF4-FFF2-40B4-BE49-F238E27FC236}">
                        <a16:creationId xmlns:a16="http://schemas.microsoft.com/office/drawing/2014/main" id="{63552777-84A2-4F62-A4D2-F486568C6F26}"/>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9" name="Freeform 173">
                    <a:extLst>
                      <a:ext uri="{FF2B5EF4-FFF2-40B4-BE49-F238E27FC236}">
                        <a16:creationId xmlns:a16="http://schemas.microsoft.com/office/drawing/2014/main" id="{02CE565F-B8ED-44C0-9912-51F41EDC0197}"/>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0" name="Freeform 174">
                    <a:extLst>
                      <a:ext uri="{FF2B5EF4-FFF2-40B4-BE49-F238E27FC236}">
                        <a16:creationId xmlns:a16="http://schemas.microsoft.com/office/drawing/2014/main" id="{C4D10301-3749-41E0-8052-EA32607FEF0A}"/>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1" name="Freeform 175">
                    <a:extLst>
                      <a:ext uri="{FF2B5EF4-FFF2-40B4-BE49-F238E27FC236}">
                        <a16:creationId xmlns:a16="http://schemas.microsoft.com/office/drawing/2014/main" id="{286FA27A-F352-4846-8867-B9FD28B01E6E}"/>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2" name="Freeform 176">
                    <a:extLst>
                      <a:ext uri="{FF2B5EF4-FFF2-40B4-BE49-F238E27FC236}">
                        <a16:creationId xmlns:a16="http://schemas.microsoft.com/office/drawing/2014/main" id="{0B633C14-8503-4FF4-948B-92910BACBEB5}"/>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3" name="Freeform 177">
                    <a:extLst>
                      <a:ext uri="{FF2B5EF4-FFF2-40B4-BE49-F238E27FC236}">
                        <a16:creationId xmlns:a16="http://schemas.microsoft.com/office/drawing/2014/main" id="{1018A597-A99E-45F3-B145-C948CED88684}"/>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4" name="Freeform 186">
                    <a:extLst>
                      <a:ext uri="{FF2B5EF4-FFF2-40B4-BE49-F238E27FC236}">
                        <a16:creationId xmlns:a16="http://schemas.microsoft.com/office/drawing/2014/main" id="{A423F0B3-502F-46B1-9B6B-B8333322B0D6}"/>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5" name="Freeform 187">
                    <a:extLst>
                      <a:ext uri="{FF2B5EF4-FFF2-40B4-BE49-F238E27FC236}">
                        <a16:creationId xmlns:a16="http://schemas.microsoft.com/office/drawing/2014/main" id="{AE4FE0EA-6B90-4B02-BC23-8B0AEE8CDA45}"/>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6" name="Freeform 188">
                    <a:extLst>
                      <a:ext uri="{FF2B5EF4-FFF2-40B4-BE49-F238E27FC236}">
                        <a16:creationId xmlns:a16="http://schemas.microsoft.com/office/drawing/2014/main" id="{CBAE52DD-F44F-429F-8377-1A0601212234}"/>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7" name="Freeform 189">
                    <a:extLst>
                      <a:ext uri="{FF2B5EF4-FFF2-40B4-BE49-F238E27FC236}">
                        <a16:creationId xmlns:a16="http://schemas.microsoft.com/office/drawing/2014/main" id="{6687351F-6607-4E28-9B54-A49B15993087}"/>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8" name="Freeform 190">
                    <a:extLst>
                      <a:ext uri="{FF2B5EF4-FFF2-40B4-BE49-F238E27FC236}">
                        <a16:creationId xmlns:a16="http://schemas.microsoft.com/office/drawing/2014/main" id="{AD68B622-1FA5-4A25-A4AD-EA1412167D61}"/>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763" name="Group 762">
              <a:extLst>
                <a:ext uri="{FF2B5EF4-FFF2-40B4-BE49-F238E27FC236}">
                  <a16:creationId xmlns:a16="http://schemas.microsoft.com/office/drawing/2014/main" id="{DAEB63C2-049C-4A14-A11D-AA2BA77983E1}"/>
                </a:ext>
              </a:extLst>
            </p:cNvPr>
            <p:cNvGrpSpPr/>
            <p:nvPr/>
          </p:nvGrpSpPr>
          <p:grpSpPr>
            <a:xfrm>
              <a:off x="3852490" y="3233304"/>
              <a:ext cx="3961965" cy="3329442"/>
              <a:chOff x="3484242" y="3413760"/>
              <a:chExt cx="1656542" cy="1392080"/>
            </a:xfrm>
          </p:grpSpPr>
          <p:sp>
            <p:nvSpPr>
              <p:cNvPr id="764" name="Freeform: Shape 763">
                <a:extLst>
                  <a:ext uri="{FF2B5EF4-FFF2-40B4-BE49-F238E27FC236}">
                    <a16:creationId xmlns:a16="http://schemas.microsoft.com/office/drawing/2014/main" id="{40AFAF99-A673-4D8C-979B-2645A9151533}"/>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65" name="Freeform: Shape 764">
                <a:extLst>
                  <a:ext uri="{FF2B5EF4-FFF2-40B4-BE49-F238E27FC236}">
                    <a16:creationId xmlns:a16="http://schemas.microsoft.com/office/drawing/2014/main" id="{4F1C2899-B922-46DC-B493-29A7F01E5AB2}"/>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66" name="Freeform 164">
                <a:extLst>
                  <a:ext uri="{FF2B5EF4-FFF2-40B4-BE49-F238E27FC236}">
                    <a16:creationId xmlns:a16="http://schemas.microsoft.com/office/drawing/2014/main" id="{80A3C6B9-E6A2-4DEF-BE06-E2EC55053066}"/>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grpSp>
        <p:nvGrpSpPr>
          <p:cNvPr id="912" name="Group 911">
            <a:extLst>
              <a:ext uri="{FF2B5EF4-FFF2-40B4-BE49-F238E27FC236}">
                <a16:creationId xmlns:a16="http://schemas.microsoft.com/office/drawing/2014/main" id="{EF0C0D37-4681-4A8D-A6B8-5015A47E6946}"/>
              </a:ext>
            </a:extLst>
          </p:cNvPr>
          <p:cNvGrpSpPr/>
          <p:nvPr/>
        </p:nvGrpSpPr>
        <p:grpSpPr>
          <a:xfrm>
            <a:off x="10504155" y="2496766"/>
            <a:ext cx="616488" cy="651720"/>
            <a:chOff x="13973841" y="3823518"/>
            <a:chExt cx="1577751" cy="1687170"/>
          </a:xfrm>
          <a:solidFill>
            <a:schemeClr val="bg1">
              <a:lumMod val="75000"/>
            </a:schemeClr>
          </a:solidFill>
        </p:grpSpPr>
        <p:sp>
          <p:nvSpPr>
            <p:cNvPr id="913" name="Oval 240">
              <a:extLst>
                <a:ext uri="{FF2B5EF4-FFF2-40B4-BE49-F238E27FC236}">
                  <a16:creationId xmlns:a16="http://schemas.microsoft.com/office/drawing/2014/main" id="{5563D1B2-FAD8-41B1-8347-395BFB6C5D52}"/>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14" name="Oval 242">
              <a:extLst>
                <a:ext uri="{FF2B5EF4-FFF2-40B4-BE49-F238E27FC236}">
                  <a16:creationId xmlns:a16="http://schemas.microsoft.com/office/drawing/2014/main" id="{5E1D1324-E352-4E3D-B171-B9767DC3A6F7}"/>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15" name="Freeform 129">
              <a:extLst>
                <a:ext uri="{FF2B5EF4-FFF2-40B4-BE49-F238E27FC236}">
                  <a16:creationId xmlns:a16="http://schemas.microsoft.com/office/drawing/2014/main" id="{6253B879-8881-4F19-84CA-7EDAF4FF7ED0}"/>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16" name="Freeform 130">
              <a:extLst>
                <a:ext uri="{FF2B5EF4-FFF2-40B4-BE49-F238E27FC236}">
                  <a16:creationId xmlns:a16="http://schemas.microsoft.com/office/drawing/2014/main" id="{CCD88AE2-D26B-4032-A4F0-94AD07C1AC94}"/>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17" name="Freeform 232">
              <a:extLst>
                <a:ext uri="{FF2B5EF4-FFF2-40B4-BE49-F238E27FC236}">
                  <a16:creationId xmlns:a16="http://schemas.microsoft.com/office/drawing/2014/main" id="{2B8FCF27-1336-4EA3-ACCE-57DDB3F18FF2}"/>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pic>
          <p:nvPicPr>
            <p:cNvPr id="918" name="Graphic 917">
              <a:extLst>
                <a:ext uri="{FF2B5EF4-FFF2-40B4-BE49-F238E27FC236}">
                  <a16:creationId xmlns:a16="http://schemas.microsoft.com/office/drawing/2014/main" id="{66D4C9FC-36CA-4EC8-9D0E-1528B64B01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715068" y="3908875"/>
              <a:ext cx="192326" cy="150595"/>
            </a:xfrm>
            <a:prstGeom prst="rect">
              <a:avLst/>
            </a:prstGeom>
          </p:spPr>
        </p:pic>
        <p:sp>
          <p:nvSpPr>
            <p:cNvPr id="919" name="Oval 240">
              <a:extLst>
                <a:ext uri="{FF2B5EF4-FFF2-40B4-BE49-F238E27FC236}">
                  <a16:creationId xmlns:a16="http://schemas.microsoft.com/office/drawing/2014/main" id="{F1AAA0B6-5D4B-4EFA-862A-DF17AE8D07CD}"/>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20" name="Oval 240">
              <a:extLst>
                <a:ext uri="{FF2B5EF4-FFF2-40B4-BE49-F238E27FC236}">
                  <a16:creationId xmlns:a16="http://schemas.microsoft.com/office/drawing/2014/main" id="{97EC7124-6B7E-4C37-9655-57FFD0ACA2B7}"/>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21" name="Circle: Hollow 920">
              <a:extLst>
                <a:ext uri="{FF2B5EF4-FFF2-40B4-BE49-F238E27FC236}">
                  <a16:creationId xmlns:a16="http://schemas.microsoft.com/office/drawing/2014/main" id="{68AEEB01-7CD2-4D9E-808B-9029036FD6C4}"/>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sp>
          <p:nvSpPr>
            <p:cNvPr id="922" name="Freeform 501">
              <a:extLst>
                <a:ext uri="{FF2B5EF4-FFF2-40B4-BE49-F238E27FC236}">
                  <a16:creationId xmlns:a16="http://schemas.microsoft.com/office/drawing/2014/main" id="{4C3DE47E-5998-4C51-AE38-D86D2F65DA55}"/>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23" name="Rounded Rectangle 13">
              <a:extLst>
                <a:ext uri="{FF2B5EF4-FFF2-40B4-BE49-F238E27FC236}">
                  <a16:creationId xmlns:a16="http://schemas.microsoft.com/office/drawing/2014/main" id="{76382267-EA20-4700-AB74-A360BC21A4A0}"/>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924" name="Freeform: Shape 923">
              <a:extLst>
                <a:ext uri="{FF2B5EF4-FFF2-40B4-BE49-F238E27FC236}">
                  <a16:creationId xmlns:a16="http://schemas.microsoft.com/office/drawing/2014/main" id="{842AD83C-C5DE-41EF-BB10-1D3E36FDBC17}"/>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sp>
        <p:nvSpPr>
          <p:cNvPr id="394" name="Rectangle 393">
            <a:extLst>
              <a:ext uri="{FF2B5EF4-FFF2-40B4-BE49-F238E27FC236}">
                <a16:creationId xmlns:a16="http://schemas.microsoft.com/office/drawing/2014/main" id="{DCAB3259-F26B-4659-BBA6-83E6E9A666E6}"/>
              </a:ext>
            </a:extLst>
          </p:cNvPr>
          <p:cNvSpPr/>
          <p:nvPr/>
        </p:nvSpPr>
        <p:spPr bwMode="auto">
          <a:xfrm>
            <a:off x="975207" y="5295797"/>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trong Partner Ecosystem</a:t>
            </a:r>
          </a:p>
        </p:txBody>
      </p:sp>
      <p:sp>
        <p:nvSpPr>
          <p:cNvPr id="397" name="TextBox 396">
            <a:extLst>
              <a:ext uri="{FF2B5EF4-FFF2-40B4-BE49-F238E27FC236}">
                <a16:creationId xmlns:a16="http://schemas.microsoft.com/office/drawing/2014/main" id="{76FCC784-FB0B-4D20-8072-3DFD858A5580}"/>
              </a:ext>
            </a:extLst>
          </p:cNvPr>
          <p:cNvSpPr txBox="1"/>
          <p:nvPr/>
        </p:nvSpPr>
        <p:spPr>
          <a:xfrm>
            <a:off x="3178753" y="5608624"/>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lvl1pPr>
          </a:lstStyle>
          <a:p>
            <a:r>
              <a:rPr lang="en-US" altLang="zh-CN" dirty="0">
                <a:solidFill>
                  <a:schemeClr val="bg1">
                    <a:lumMod val="75000"/>
                  </a:schemeClr>
                </a:solidFill>
              </a:rPr>
              <a:t>Extensive</a:t>
            </a:r>
            <a:r>
              <a:rPr lang="en-US" dirty="0">
                <a:solidFill>
                  <a:schemeClr val="bg1">
                    <a:lumMod val="75000"/>
                  </a:schemeClr>
                </a:solidFill>
              </a:rPr>
              <a:t>, Integrated, &amp; </a:t>
            </a:r>
            <a:r>
              <a:rPr lang="en-US" altLang="zh-CN" dirty="0">
                <a:solidFill>
                  <a:schemeClr val="bg1">
                    <a:lumMod val="75000"/>
                  </a:schemeClr>
                </a:solidFill>
              </a:rPr>
              <a:t>Experienced</a:t>
            </a:r>
            <a:endParaRPr lang="en-US" dirty="0">
              <a:solidFill>
                <a:schemeClr val="bg1">
                  <a:lumMod val="75000"/>
                </a:schemeClr>
              </a:solidFill>
            </a:endParaRPr>
          </a:p>
        </p:txBody>
      </p:sp>
      <p:grpSp>
        <p:nvGrpSpPr>
          <p:cNvPr id="925" name="Group 924">
            <a:extLst>
              <a:ext uri="{FF2B5EF4-FFF2-40B4-BE49-F238E27FC236}">
                <a16:creationId xmlns:a16="http://schemas.microsoft.com/office/drawing/2014/main" id="{9D3CAD31-C289-4CA0-B6B2-600C2C1D0792}"/>
              </a:ext>
            </a:extLst>
          </p:cNvPr>
          <p:cNvGrpSpPr>
            <a:grpSpLocks/>
          </p:cNvGrpSpPr>
          <p:nvPr/>
        </p:nvGrpSpPr>
        <p:grpSpPr>
          <a:xfrm>
            <a:off x="1133415" y="5618309"/>
            <a:ext cx="651068" cy="609601"/>
            <a:chOff x="5965396" y="2936940"/>
            <a:chExt cx="3001924" cy="2810728"/>
          </a:xfrm>
          <a:solidFill>
            <a:srgbClr val="BFBFBF"/>
          </a:solidFill>
        </p:grpSpPr>
        <p:sp>
          <p:nvSpPr>
            <p:cNvPr id="926" name="Arc 925">
              <a:extLst>
                <a:ext uri="{FF2B5EF4-FFF2-40B4-BE49-F238E27FC236}">
                  <a16:creationId xmlns:a16="http://schemas.microsoft.com/office/drawing/2014/main" id="{6277CC62-FA80-4F9A-9FB6-E6AE32A4A53C}"/>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927" name="Group 926">
              <a:extLst>
                <a:ext uri="{FF2B5EF4-FFF2-40B4-BE49-F238E27FC236}">
                  <a16:creationId xmlns:a16="http://schemas.microsoft.com/office/drawing/2014/main" id="{00AEBD7A-15B5-47F8-ADDF-FD57D06CF8F1}"/>
                </a:ext>
              </a:extLst>
            </p:cNvPr>
            <p:cNvGrpSpPr/>
            <p:nvPr/>
          </p:nvGrpSpPr>
          <p:grpSpPr>
            <a:xfrm>
              <a:off x="6393887" y="4600791"/>
              <a:ext cx="2131513" cy="969039"/>
              <a:chOff x="6037944" y="4939646"/>
              <a:chExt cx="1762503" cy="801278"/>
            </a:xfrm>
            <a:grpFill/>
          </p:grpSpPr>
          <p:grpSp>
            <p:nvGrpSpPr>
              <p:cNvPr id="948" name="Group 947">
                <a:extLst>
                  <a:ext uri="{FF2B5EF4-FFF2-40B4-BE49-F238E27FC236}">
                    <a16:creationId xmlns:a16="http://schemas.microsoft.com/office/drawing/2014/main" id="{B53F0F90-9F3E-42E6-9AF6-96F852E43A51}"/>
                  </a:ext>
                </a:extLst>
              </p:cNvPr>
              <p:cNvGrpSpPr/>
              <p:nvPr/>
            </p:nvGrpSpPr>
            <p:grpSpPr>
              <a:xfrm>
                <a:off x="6056747" y="4972281"/>
                <a:ext cx="1718033" cy="610616"/>
                <a:chOff x="2058988" y="3915711"/>
                <a:chExt cx="1927661" cy="685122"/>
              </a:xfrm>
              <a:grpFill/>
            </p:grpSpPr>
            <p:sp>
              <p:nvSpPr>
                <p:cNvPr id="960" name="Freeform 6">
                  <a:extLst>
                    <a:ext uri="{FF2B5EF4-FFF2-40B4-BE49-F238E27FC236}">
                      <a16:creationId xmlns:a16="http://schemas.microsoft.com/office/drawing/2014/main" id="{DEBA5454-9D05-44D5-B19B-21C54A02DA1A}"/>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61" name="Freeform 7">
                  <a:extLst>
                    <a:ext uri="{FF2B5EF4-FFF2-40B4-BE49-F238E27FC236}">
                      <a16:creationId xmlns:a16="http://schemas.microsoft.com/office/drawing/2014/main" id="{B5171A2D-5554-499D-BDD1-8BE736879558}"/>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62" name="Freeform 8">
                  <a:extLst>
                    <a:ext uri="{FF2B5EF4-FFF2-40B4-BE49-F238E27FC236}">
                      <a16:creationId xmlns:a16="http://schemas.microsoft.com/office/drawing/2014/main" id="{2998DE61-E609-4A71-875F-CD771919A4A8}"/>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63" name="Freeform 9">
                  <a:extLst>
                    <a:ext uri="{FF2B5EF4-FFF2-40B4-BE49-F238E27FC236}">
                      <a16:creationId xmlns:a16="http://schemas.microsoft.com/office/drawing/2014/main" id="{2FCE7A74-7E26-4721-85C4-BE5404237FAD}"/>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4" name="Freeform 10">
                  <a:extLst>
                    <a:ext uri="{FF2B5EF4-FFF2-40B4-BE49-F238E27FC236}">
                      <a16:creationId xmlns:a16="http://schemas.microsoft.com/office/drawing/2014/main" id="{0E2AB17D-8650-4778-893D-48EE809F6E81}"/>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5" name="Freeform 11">
                  <a:extLst>
                    <a:ext uri="{FF2B5EF4-FFF2-40B4-BE49-F238E27FC236}">
                      <a16:creationId xmlns:a16="http://schemas.microsoft.com/office/drawing/2014/main" id="{A6E7E2C4-F2B3-4435-B216-995CA797187E}"/>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6" name="Freeform 12">
                  <a:extLst>
                    <a:ext uri="{FF2B5EF4-FFF2-40B4-BE49-F238E27FC236}">
                      <a16:creationId xmlns:a16="http://schemas.microsoft.com/office/drawing/2014/main" id="{4A4153AC-34B5-4399-952F-B699EB870C0A}"/>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7" name="Freeform 13">
                  <a:extLst>
                    <a:ext uri="{FF2B5EF4-FFF2-40B4-BE49-F238E27FC236}">
                      <a16:creationId xmlns:a16="http://schemas.microsoft.com/office/drawing/2014/main" id="{6A360C6D-4186-4A68-9B89-3D9F3D7FBFEA}"/>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8" name="Freeform 14">
                  <a:extLst>
                    <a:ext uri="{FF2B5EF4-FFF2-40B4-BE49-F238E27FC236}">
                      <a16:creationId xmlns:a16="http://schemas.microsoft.com/office/drawing/2014/main" id="{74B4AF29-62F5-4053-9EF8-3DB6F53F25D1}"/>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9" name="Freeform 15">
                  <a:extLst>
                    <a:ext uri="{FF2B5EF4-FFF2-40B4-BE49-F238E27FC236}">
                      <a16:creationId xmlns:a16="http://schemas.microsoft.com/office/drawing/2014/main" id="{D7EAAF70-A0EF-4D8D-B5EE-01D6FC5C3A16}"/>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70" name="Freeform 16">
                  <a:extLst>
                    <a:ext uri="{FF2B5EF4-FFF2-40B4-BE49-F238E27FC236}">
                      <a16:creationId xmlns:a16="http://schemas.microsoft.com/office/drawing/2014/main" id="{68C30669-89F1-4758-ABBF-0E8A708C6C19}"/>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71" name="Freeform 17">
                  <a:extLst>
                    <a:ext uri="{FF2B5EF4-FFF2-40B4-BE49-F238E27FC236}">
                      <a16:creationId xmlns:a16="http://schemas.microsoft.com/office/drawing/2014/main" id="{D056FB95-F45B-4C8B-8D8C-58EDC490E6E8}"/>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2" name="Freeform: Shape 971">
                  <a:extLst>
                    <a:ext uri="{FF2B5EF4-FFF2-40B4-BE49-F238E27FC236}">
                      <a16:creationId xmlns:a16="http://schemas.microsoft.com/office/drawing/2014/main" id="{92458AB2-9A2D-4241-958C-2AAC65CB7BAF}"/>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73" name="Freeform 19">
                  <a:extLst>
                    <a:ext uri="{FF2B5EF4-FFF2-40B4-BE49-F238E27FC236}">
                      <a16:creationId xmlns:a16="http://schemas.microsoft.com/office/drawing/2014/main" id="{E7A3965F-1564-4ECB-9924-6CBC84214E7D}"/>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4" name="Freeform 20">
                  <a:extLst>
                    <a:ext uri="{FF2B5EF4-FFF2-40B4-BE49-F238E27FC236}">
                      <a16:creationId xmlns:a16="http://schemas.microsoft.com/office/drawing/2014/main" id="{A91E6947-4D6D-4E8D-80F0-CF7BD59B1F39}"/>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5" name="Freeform 21">
                  <a:extLst>
                    <a:ext uri="{FF2B5EF4-FFF2-40B4-BE49-F238E27FC236}">
                      <a16:creationId xmlns:a16="http://schemas.microsoft.com/office/drawing/2014/main" id="{CF9A3CA2-60AA-477B-8985-D0170E97F6D7}"/>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76" name="Freeform 23">
                  <a:extLst>
                    <a:ext uri="{FF2B5EF4-FFF2-40B4-BE49-F238E27FC236}">
                      <a16:creationId xmlns:a16="http://schemas.microsoft.com/office/drawing/2014/main" id="{38C23BA6-E3BF-4A3E-B153-D2F579C80891}"/>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77" name="Freeform 24">
                  <a:extLst>
                    <a:ext uri="{FF2B5EF4-FFF2-40B4-BE49-F238E27FC236}">
                      <a16:creationId xmlns:a16="http://schemas.microsoft.com/office/drawing/2014/main" id="{2D4E34A9-5269-42A4-899A-EEC0EF33A0B6}"/>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8" name="Freeform: Shape 977">
                  <a:extLst>
                    <a:ext uri="{FF2B5EF4-FFF2-40B4-BE49-F238E27FC236}">
                      <a16:creationId xmlns:a16="http://schemas.microsoft.com/office/drawing/2014/main" id="{D244DA65-F6F7-4BCC-8E02-866E70A43EE6}"/>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79" name="Freeform 26">
                  <a:extLst>
                    <a:ext uri="{FF2B5EF4-FFF2-40B4-BE49-F238E27FC236}">
                      <a16:creationId xmlns:a16="http://schemas.microsoft.com/office/drawing/2014/main" id="{41FC5B30-D75B-4317-B106-2A376DAC02BB}"/>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0" name="Freeform 27">
                  <a:extLst>
                    <a:ext uri="{FF2B5EF4-FFF2-40B4-BE49-F238E27FC236}">
                      <a16:creationId xmlns:a16="http://schemas.microsoft.com/office/drawing/2014/main" id="{BED7D580-8883-4699-9E3A-434BF03E8897}"/>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1" name="Freeform 28">
                  <a:extLst>
                    <a:ext uri="{FF2B5EF4-FFF2-40B4-BE49-F238E27FC236}">
                      <a16:creationId xmlns:a16="http://schemas.microsoft.com/office/drawing/2014/main" id="{CB5874B5-4B92-4EF5-B744-4931BDDE22A8}"/>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82" name="Freeform 29">
                  <a:extLst>
                    <a:ext uri="{FF2B5EF4-FFF2-40B4-BE49-F238E27FC236}">
                      <a16:creationId xmlns:a16="http://schemas.microsoft.com/office/drawing/2014/main" id="{C9F07D67-4126-4D4C-8BE2-E6B35D17F2FE}"/>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83" name="Freeform 30">
                  <a:extLst>
                    <a:ext uri="{FF2B5EF4-FFF2-40B4-BE49-F238E27FC236}">
                      <a16:creationId xmlns:a16="http://schemas.microsoft.com/office/drawing/2014/main" id="{2293784A-185F-4454-A527-A65408D3E3E3}"/>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84" name="Freeform 31">
                  <a:extLst>
                    <a:ext uri="{FF2B5EF4-FFF2-40B4-BE49-F238E27FC236}">
                      <a16:creationId xmlns:a16="http://schemas.microsoft.com/office/drawing/2014/main" id="{36A19A9A-18CE-4EF6-BE0D-1C3596B19A3A}"/>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85" name="Freeform 22">
                  <a:extLst>
                    <a:ext uri="{FF2B5EF4-FFF2-40B4-BE49-F238E27FC236}">
                      <a16:creationId xmlns:a16="http://schemas.microsoft.com/office/drawing/2014/main" id="{8B4608A7-8BB5-488B-8F75-673EADE1651A}"/>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49" name="Group 948">
                <a:extLst>
                  <a:ext uri="{FF2B5EF4-FFF2-40B4-BE49-F238E27FC236}">
                    <a16:creationId xmlns:a16="http://schemas.microsoft.com/office/drawing/2014/main" id="{E079558B-CDD7-4389-9EF5-162C990B0431}"/>
                  </a:ext>
                </a:extLst>
              </p:cNvPr>
              <p:cNvGrpSpPr/>
              <p:nvPr/>
            </p:nvGrpSpPr>
            <p:grpSpPr>
              <a:xfrm>
                <a:off x="6037944" y="4939646"/>
                <a:ext cx="1762503" cy="801278"/>
                <a:chOff x="6066224" y="4894724"/>
                <a:chExt cx="2213813" cy="1006455"/>
              </a:xfrm>
              <a:grpFill/>
            </p:grpSpPr>
            <p:grpSp>
              <p:nvGrpSpPr>
                <p:cNvPr id="950" name="Group 949">
                  <a:extLst>
                    <a:ext uri="{FF2B5EF4-FFF2-40B4-BE49-F238E27FC236}">
                      <a16:creationId xmlns:a16="http://schemas.microsoft.com/office/drawing/2014/main" id="{CBA678BD-46C9-4042-8229-3BF4B51B3AA2}"/>
                    </a:ext>
                  </a:extLst>
                </p:cNvPr>
                <p:cNvGrpSpPr/>
                <p:nvPr/>
              </p:nvGrpSpPr>
              <p:grpSpPr>
                <a:xfrm>
                  <a:off x="6066224" y="4894724"/>
                  <a:ext cx="1082597" cy="1006455"/>
                  <a:chOff x="3869780" y="1229273"/>
                  <a:chExt cx="4710340" cy="4379047"/>
                </a:xfrm>
                <a:grpFill/>
              </p:grpSpPr>
              <p:sp>
                <p:nvSpPr>
                  <p:cNvPr id="956" name="Freeform: Shape 955">
                    <a:extLst>
                      <a:ext uri="{FF2B5EF4-FFF2-40B4-BE49-F238E27FC236}">
                        <a16:creationId xmlns:a16="http://schemas.microsoft.com/office/drawing/2014/main" id="{2E620E0C-A5EF-47CB-A5C0-853EC86ECF9E}"/>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7" name="Rectangle 956">
                    <a:extLst>
                      <a:ext uri="{FF2B5EF4-FFF2-40B4-BE49-F238E27FC236}">
                        <a16:creationId xmlns:a16="http://schemas.microsoft.com/office/drawing/2014/main" id="{A84FAFBE-B05D-4B08-9542-99359397D4B9}"/>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8" name="Freeform: Shape 957">
                    <a:extLst>
                      <a:ext uri="{FF2B5EF4-FFF2-40B4-BE49-F238E27FC236}">
                        <a16:creationId xmlns:a16="http://schemas.microsoft.com/office/drawing/2014/main" id="{65959E06-C521-4135-9E71-B6797945AE28}"/>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9" name="Freeform: Shape 958">
                    <a:extLst>
                      <a:ext uri="{FF2B5EF4-FFF2-40B4-BE49-F238E27FC236}">
                        <a16:creationId xmlns:a16="http://schemas.microsoft.com/office/drawing/2014/main" id="{EFA3A5E4-1E51-457B-A2CA-A161B33E8E6D}"/>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51" name="Group 950">
                  <a:extLst>
                    <a:ext uri="{FF2B5EF4-FFF2-40B4-BE49-F238E27FC236}">
                      <a16:creationId xmlns:a16="http://schemas.microsoft.com/office/drawing/2014/main" id="{45E49695-D2B2-4E7E-9D41-1EB326EF0DAE}"/>
                    </a:ext>
                  </a:extLst>
                </p:cNvPr>
                <p:cNvGrpSpPr/>
                <p:nvPr/>
              </p:nvGrpSpPr>
              <p:grpSpPr>
                <a:xfrm flipH="1">
                  <a:off x="7197440" y="4894724"/>
                  <a:ext cx="1082597" cy="1006455"/>
                  <a:chOff x="3869780" y="1229273"/>
                  <a:chExt cx="4710340" cy="4379047"/>
                </a:xfrm>
                <a:grpFill/>
              </p:grpSpPr>
              <p:sp>
                <p:nvSpPr>
                  <p:cNvPr id="952" name="Freeform: Shape 951">
                    <a:extLst>
                      <a:ext uri="{FF2B5EF4-FFF2-40B4-BE49-F238E27FC236}">
                        <a16:creationId xmlns:a16="http://schemas.microsoft.com/office/drawing/2014/main" id="{B8683F79-68D5-45BA-BAD6-9E7017E0E107}"/>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3" name="Rectangle 952">
                    <a:extLst>
                      <a:ext uri="{FF2B5EF4-FFF2-40B4-BE49-F238E27FC236}">
                        <a16:creationId xmlns:a16="http://schemas.microsoft.com/office/drawing/2014/main" id="{35491471-CA83-4573-987A-3D17BCF1135B}"/>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4" name="Freeform: Shape 953">
                    <a:extLst>
                      <a:ext uri="{FF2B5EF4-FFF2-40B4-BE49-F238E27FC236}">
                        <a16:creationId xmlns:a16="http://schemas.microsoft.com/office/drawing/2014/main" id="{2B15BF59-7D87-41D0-84A7-6CF8F313FB0F}"/>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5" name="Freeform: Shape 954">
                    <a:extLst>
                      <a:ext uri="{FF2B5EF4-FFF2-40B4-BE49-F238E27FC236}">
                        <a16:creationId xmlns:a16="http://schemas.microsoft.com/office/drawing/2014/main" id="{A1F1E473-28BD-4486-9905-51EEDB025311}"/>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928" name="Group 927">
              <a:extLst>
                <a:ext uri="{FF2B5EF4-FFF2-40B4-BE49-F238E27FC236}">
                  <a16:creationId xmlns:a16="http://schemas.microsoft.com/office/drawing/2014/main" id="{4A40288B-B9C9-45B4-AE34-0AFBB5F096F7}"/>
                </a:ext>
              </a:extLst>
            </p:cNvPr>
            <p:cNvGrpSpPr/>
            <p:nvPr/>
          </p:nvGrpSpPr>
          <p:grpSpPr>
            <a:xfrm>
              <a:off x="6546812" y="3467555"/>
              <a:ext cx="1806614" cy="1013352"/>
              <a:chOff x="6391393" y="1624932"/>
              <a:chExt cx="1350970" cy="757777"/>
            </a:xfrm>
            <a:grpFill/>
          </p:grpSpPr>
          <p:sp>
            <p:nvSpPr>
              <p:cNvPr id="946" name="Freeform 119">
                <a:extLst>
                  <a:ext uri="{FF2B5EF4-FFF2-40B4-BE49-F238E27FC236}">
                    <a16:creationId xmlns:a16="http://schemas.microsoft.com/office/drawing/2014/main" id="{76705C97-B8BC-486E-B521-DA6DBD25F6D9}"/>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947" name="Freeform 120">
                <a:extLst>
                  <a:ext uri="{FF2B5EF4-FFF2-40B4-BE49-F238E27FC236}">
                    <a16:creationId xmlns:a16="http://schemas.microsoft.com/office/drawing/2014/main" id="{0DE99DA8-D7EB-42A3-906D-740F0611C3BE}"/>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929" name="Group 928">
              <a:extLst>
                <a:ext uri="{FF2B5EF4-FFF2-40B4-BE49-F238E27FC236}">
                  <a16:creationId xmlns:a16="http://schemas.microsoft.com/office/drawing/2014/main" id="{872ADF97-5FBA-4119-90E3-8EBF441CEE90}"/>
                </a:ext>
              </a:extLst>
            </p:cNvPr>
            <p:cNvGrpSpPr/>
            <p:nvPr/>
          </p:nvGrpSpPr>
          <p:grpSpPr>
            <a:xfrm>
              <a:off x="5965396" y="4132683"/>
              <a:ext cx="389280" cy="389280"/>
              <a:chOff x="5999956" y="4167243"/>
              <a:chExt cx="320160" cy="320160"/>
            </a:xfrm>
            <a:grpFill/>
          </p:grpSpPr>
          <p:sp>
            <p:nvSpPr>
              <p:cNvPr id="944" name="Oval 943">
                <a:extLst>
                  <a:ext uri="{FF2B5EF4-FFF2-40B4-BE49-F238E27FC236}">
                    <a16:creationId xmlns:a16="http://schemas.microsoft.com/office/drawing/2014/main" id="{2621F05C-6566-4930-8CAE-DEEA18017784}"/>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45" name="Freeform 339">
                <a:extLst>
                  <a:ext uri="{FF2B5EF4-FFF2-40B4-BE49-F238E27FC236}">
                    <a16:creationId xmlns:a16="http://schemas.microsoft.com/office/drawing/2014/main" id="{F0181E23-9AF1-4C69-8DB0-6BB3797CEDE4}"/>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930" name="Group 929">
              <a:extLst>
                <a:ext uri="{FF2B5EF4-FFF2-40B4-BE49-F238E27FC236}">
                  <a16:creationId xmlns:a16="http://schemas.microsoft.com/office/drawing/2014/main" id="{36FD723E-DEB6-4106-B5FB-D7E243CF671D}"/>
                </a:ext>
              </a:extLst>
            </p:cNvPr>
            <p:cNvGrpSpPr/>
            <p:nvPr/>
          </p:nvGrpSpPr>
          <p:grpSpPr>
            <a:xfrm>
              <a:off x="8249851" y="3414960"/>
              <a:ext cx="389280" cy="389280"/>
              <a:chOff x="8616644" y="4279108"/>
              <a:chExt cx="320160" cy="320160"/>
            </a:xfrm>
            <a:grpFill/>
          </p:grpSpPr>
          <p:sp>
            <p:nvSpPr>
              <p:cNvPr id="941" name="Oval 940">
                <a:extLst>
                  <a:ext uri="{FF2B5EF4-FFF2-40B4-BE49-F238E27FC236}">
                    <a16:creationId xmlns:a16="http://schemas.microsoft.com/office/drawing/2014/main" id="{A7072F68-08D9-459F-B2C4-C5A5B7274582}"/>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42" name="Freeform 324">
                <a:extLst>
                  <a:ext uri="{FF2B5EF4-FFF2-40B4-BE49-F238E27FC236}">
                    <a16:creationId xmlns:a16="http://schemas.microsoft.com/office/drawing/2014/main" id="{F20D02EF-0F64-49A9-8CC1-4F2A5063E6CF}"/>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43" name="Freeform 324">
                <a:extLst>
                  <a:ext uri="{FF2B5EF4-FFF2-40B4-BE49-F238E27FC236}">
                    <a16:creationId xmlns:a16="http://schemas.microsoft.com/office/drawing/2014/main" id="{4A8BA96A-4213-40C0-B12E-EE76F19568CB}"/>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931" name="Group 930">
              <a:extLst>
                <a:ext uri="{FF2B5EF4-FFF2-40B4-BE49-F238E27FC236}">
                  <a16:creationId xmlns:a16="http://schemas.microsoft.com/office/drawing/2014/main" id="{CE18F9B6-558E-45A0-BD8F-CDBFF371799D}"/>
                </a:ext>
              </a:extLst>
            </p:cNvPr>
            <p:cNvGrpSpPr/>
            <p:nvPr/>
          </p:nvGrpSpPr>
          <p:grpSpPr>
            <a:xfrm>
              <a:off x="6310201" y="3304407"/>
              <a:ext cx="389280" cy="389280"/>
              <a:chOff x="6344761" y="3338967"/>
              <a:chExt cx="320160" cy="320160"/>
            </a:xfrm>
            <a:grpFill/>
          </p:grpSpPr>
          <p:sp>
            <p:nvSpPr>
              <p:cNvPr id="938" name="Oval 937">
                <a:extLst>
                  <a:ext uri="{FF2B5EF4-FFF2-40B4-BE49-F238E27FC236}">
                    <a16:creationId xmlns:a16="http://schemas.microsoft.com/office/drawing/2014/main" id="{DB7C225F-C8B4-4CA2-93CF-7E9CBEDA99CB}"/>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39" name="Freeform 440">
                <a:extLst>
                  <a:ext uri="{FF2B5EF4-FFF2-40B4-BE49-F238E27FC236}">
                    <a16:creationId xmlns:a16="http://schemas.microsoft.com/office/drawing/2014/main" id="{FA00B043-4DDA-4953-A889-83B92E89F945}"/>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40" name="Freeform 441">
                <a:extLst>
                  <a:ext uri="{FF2B5EF4-FFF2-40B4-BE49-F238E27FC236}">
                    <a16:creationId xmlns:a16="http://schemas.microsoft.com/office/drawing/2014/main" id="{A6CA069E-F483-4FE7-8B44-7A731B6CE0B5}"/>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932" name="Group 931">
              <a:extLst>
                <a:ext uri="{FF2B5EF4-FFF2-40B4-BE49-F238E27FC236}">
                  <a16:creationId xmlns:a16="http://schemas.microsoft.com/office/drawing/2014/main" id="{A4D34D2A-C795-4803-A4AD-3A63F95C0044}"/>
                </a:ext>
              </a:extLst>
            </p:cNvPr>
            <p:cNvGrpSpPr/>
            <p:nvPr/>
          </p:nvGrpSpPr>
          <p:grpSpPr>
            <a:xfrm>
              <a:off x="7307066" y="2936940"/>
              <a:ext cx="389134" cy="389134"/>
              <a:chOff x="9322484" y="3467555"/>
              <a:chExt cx="557223" cy="557223"/>
            </a:xfrm>
            <a:grpFill/>
          </p:grpSpPr>
          <p:sp>
            <p:nvSpPr>
              <p:cNvPr id="936" name="Oval 935">
                <a:extLst>
                  <a:ext uri="{FF2B5EF4-FFF2-40B4-BE49-F238E27FC236}">
                    <a16:creationId xmlns:a16="http://schemas.microsoft.com/office/drawing/2014/main" id="{372579C6-DDCE-46D7-AB73-3CF948FB7B67}"/>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7" name="Rectangle 74">
                <a:extLst>
                  <a:ext uri="{FF2B5EF4-FFF2-40B4-BE49-F238E27FC236}">
                    <a16:creationId xmlns:a16="http://schemas.microsoft.com/office/drawing/2014/main" id="{493CD9D9-CC4C-4937-8C0B-83CF2B820C88}"/>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33" name="Group 932">
              <a:extLst>
                <a:ext uri="{FF2B5EF4-FFF2-40B4-BE49-F238E27FC236}">
                  <a16:creationId xmlns:a16="http://schemas.microsoft.com/office/drawing/2014/main" id="{B5EA440D-81D1-448D-8971-1B062456327B}"/>
                </a:ext>
              </a:extLst>
            </p:cNvPr>
            <p:cNvGrpSpPr/>
            <p:nvPr/>
          </p:nvGrpSpPr>
          <p:grpSpPr>
            <a:xfrm>
              <a:off x="8578186" y="4208712"/>
              <a:ext cx="389134" cy="389134"/>
              <a:chOff x="8225290" y="3217894"/>
              <a:chExt cx="621190" cy="621190"/>
            </a:xfrm>
            <a:grpFill/>
          </p:grpSpPr>
          <p:sp>
            <p:nvSpPr>
              <p:cNvPr id="934" name="Oval 933">
                <a:extLst>
                  <a:ext uri="{FF2B5EF4-FFF2-40B4-BE49-F238E27FC236}">
                    <a16:creationId xmlns:a16="http://schemas.microsoft.com/office/drawing/2014/main" id="{71AF6C24-34EC-4569-9008-4B9C47ADCB5E}"/>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5" name="Rounded Rectangle 4">
                <a:extLst>
                  <a:ext uri="{FF2B5EF4-FFF2-40B4-BE49-F238E27FC236}">
                    <a16:creationId xmlns:a16="http://schemas.microsoft.com/office/drawing/2014/main" id="{1C849596-1392-443D-9BD4-73E733171488}"/>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a:ea typeface="+mn-ea"/>
                  <a:cs typeface="+mn-cs"/>
                </a:endParaRPr>
              </a:p>
            </p:txBody>
          </p:sp>
        </p:grpSp>
      </p:grpSp>
      <p:sp>
        <p:nvSpPr>
          <p:cNvPr id="391" name="Rectangle 390">
            <a:extLst>
              <a:ext uri="{FF2B5EF4-FFF2-40B4-BE49-F238E27FC236}">
                <a16:creationId xmlns:a16="http://schemas.microsoft.com/office/drawing/2014/main" id="{36B05D5C-6EBE-49DE-85DF-5F77CAD81EAD}"/>
              </a:ext>
            </a:extLst>
          </p:cNvPr>
          <p:cNvSpPr/>
          <p:nvPr/>
        </p:nvSpPr>
        <p:spPr bwMode="auto">
          <a:xfrm>
            <a:off x="975207" y="4304538"/>
            <a:ext cx="10241585" cy="933430"/>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tx1"/>
                </a:solidFill>
                <a:latin typeface="+mj-lt"/>
                <a:cs typeface="Segoe UI" pitchFamily="34" charset="0"/>
              </a:rPr>
              <a:t>Superior Economics</a:t>
            </a:r>
          </a:p>
        </p:txBody>
      </p:sp>
      <p:sp>
        <p:nvSpPr>
          <p:cNvPr id="396" name="TextBox 395">
            <a:extLst>
              <a:ext uri="{FF2B5EF4-FFF2-40B4-BE49-F238E27FC236}">
                <a16:creationId xmlns:a16="http://schemas.microsoft.com/office/drawing/2014/main" id="{DAC8DD6D-B699-42F7-B6A0-75E72BC8321E}"/>
              </a:ext>
            </a:extLst>
          </p:cNvPr>
          <p:cNvSpPr txBox="1"/>
          <p:nvPr/>
        </p:nvSpPr>
        <p:spPr>
          <a:xfrm>
            <a:off x="3178753" y="4617365"/>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lvl1pPr>
          </a:lstStyle>
          <a:p>
            <a:r>
              <a:rPr lang="en-US" dirty="0"/>
              <a:t>Cost effective, Flexible, &amp; Opex</a:t>
            </a:r>
          </a:p>
        </p:txBody>
      </p:sp>
      <p:grpSp>
        <p:nvGrpSpPr>
          <p:cNvPr id="986" name="Group 985">
            <a:extLst>
              <a:ext uri="{FF2B5EF4-FFF2-40B4-BE49-F238E27FC236}">
                <a16:creationId xmlns:a16="http://schemas.microsoft.com/office/drawing/2014/main" id="{8C54D33D-D027-497C-9C49-477DA7A31166}"/>
              </a:ext>
            </a:extLst>
          </p:cNvPr>
          <p:cNvGrpSpPr>
            <a:grpSpLocks noChangeAspect="1"/>
          </p:cNvGrpSpPr>
          <p:nvPr/>
        </p:nvGrpSpPr>
        <p:grpSpPr>
          <a:xfrm>
            <a:off x="1144771" y="4655958"/>
            <a:ext cx="626689" cy="492543"/>
            <a:chOff x="2008187" y="2241223"/>
            <a:chExt cx="1068389" cy="909679"/>
          </a:xfrm>
        </p:grpSpPr>
        <p:grpSp>
          <p:nvGrpSpPr>
            <p:cNvPr id="987" name="Group 986">
              <a:extLst>
                <a:ext uri="{FF2B5EF4-FFF2-40B4-BE49-F238E27FC236}">
                  <a16:creationId xmlns:a16="http://schemas.microsoft.com/office/drawing/2014/main" id="{A8711BE9-7A4D-46F2-988D-CE908D9CF4F0}"/>
                </a:ext>
              </a:extLst>
            </p:cNvPr>
            <p:cNvGrpSpPr/>
            <p:nvPr/>
          </p:nvGrpSpPr>
          <p:grpSpPr>
            <a:xfrm>
              <a:off x="2064334" y="2241223"/>
              <a:ext cx="1012242" cy="811309"/>
              <a:chOff x="-1341882" y="2279901"/>
              <a:chExt cx="1941915" cy="1556440"/>
            </a:xfrm>
          </p:grpSpPr>
          <p:sp>
            <p:nvSpPr>
              <p:cNvPr id="989" name="Rectangle 70">
                <a:extLst>
                  <a:ext uri="{FF2B5EF4-FFF2-40B4-BE49-F238E27FC236}">
                    <a16:creationId xmlns:a16="http://schemas.microsoft.com/office/drawing/2014/main" id="{B57CD5B8-2AF4-476A-94B3-9E15C1AE4BDA}"/>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0" name="Rectangle 71">
                <a:extLst>
                  <a:ext uri="{FF2B5EF4-FFF2-40B4-BE49-F238E27FC236}">
                    <a16:creationId xmlns:a16="http://schemas.microsoft.com/office/drawing/2014/main" id="{344B5AA2-94A4-4A73-A76D-E85EA8117130}"/>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1" name="Freeform 72">
                <a:extLst>
                  <a:ext uri="{FF2B5EF4-FFF2-40B4-BE49-F238E27FC236}">
                    <a16:creationId xmlns:a16="http://schemas.microsoft.com/office/drawing/2014/main" id="{CAAEB5AF-DE62-4D25-9325-153A38996BE4}"/>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2" name="Freeform 73">
                <a:extLst>
                  <a:ext uri="{FF2B5EF4-FFF2-40B4-BE49-F238E27FC236}">
                    <a16:creationId xmlns:a16="http://schemas.microsoft.com/office/drawing/2014/main" id="{755EEF40-7A1F-4E62-A7F4-2E2B80001563}"/>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3" name="Freeform 74">
                <a:extLst>
                  <a:ext uri="{FF2B5EF4-FFF2-40B4-BE49-F238E27FC236}">
                    <a16:creationId xmlns:a16="http://schemas.microsoft.com/office/drawing/2014/main" id="{7A6B380F-39AE-41B0-B28B-5BD546A142BD}"/>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4" name="Freeform 75">
                <a:extLst>
                  <a:ext uri="{FF2B5EF4-FFF2-40B4-BE49-F238E27FC236}">
                    <a16:creationId xmlns:a16="http://schemas.microsoft.com/office/drawing/2014/main" id="{5AF1615D-6317-4CDB-9398-FAD2F10A5AF7}"/>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5" name="Freeform 76">
                <a:extLst>
                  <a:ext uri="{FF2B5EF4-FFF2-40B4-BE49-F238E27FC236}">
                    <a16:creationId xmlns:a16="http://schemas.microsoft.com/office/drawing/2014/main" id="{CF77801B-5232-443F-9CC8-503A0C963C88}"/>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6" name="Freeform 77">
                <a:extLst>
                  <a:ext uri="{FF2B5EF4-FFF2-40B4-BE49-F238E27FC236}">
                    <a16:creationId xmlns:a16="http://schemas.microsoft.com/office/drawing/2014/main" id="{DD96EB80-CA16-41B8-AA47-44B984E7EA86}"/>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7" name="Rectangle 78">
                <a:extLst>
                  <a:ext uri="{FF2B5EF4-FFF2-40B4-BE49-F238E27FC236}">
                    <a16:creationId xmlns:a16="http://schemas.microsoft.com/office/drawing/2014/main" id="{6AFE139C-3A5A-4D3C-B6D7-641B4A5416CA}"/>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8" name="Rectangle 79">
                <a:extLst>
                  <a:ext uri="{FF2B5EF4-FFF2-40B4-BE49-F238E27FC236}">
                    <a16:creationId xmlns:a16="http://schemas.microsoft.com/office/drawing/2014/main" id="{2E3C8DD6-7394-47D5-9BA4-30D5B6C9CDF2}"/>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9" name="Freeform 80">
                <a:extLst>
                  <a:ext uri="{FF2B5EF4-FFF2-40B4-BE49-F238E27FC236}">
                    <a16:creationId xmlns:a16="http://schemas.microsoft.com/office/drawing/2014/main" id="{4F791BD9-CADC-4226-B9E1-9B99DAA560B7}"/>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00" name="Freeform 81">
                <a:extLst>
                  <a:ext uri="{FF2B5EF4-FFF2-40B4-BE49-F238E27FC236}">
                    <a16:creationId xmlns:a16="http://schemas.microsoft.com/office/drawing/2014/main" id="{14D9F39F-C8C2-4EBE-BD7C-64B99FCA6F29}"/>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01" name="Freeform 82">
                <a:extLst>
                  <a:ext uri="{FF2B5EF4-FFF2-40B4-BE49-F238E27FC236}">
                    <a16:creationId xmlns:a16="http://schemas.microsoft.com/office/drawing/2014/main" id="{0AF1F53F-154E-44EE-93F6-5A459F415FA7}"/>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02" name="Freeform 83">
                <a:extLst>
                  <a:ext uri="{FF2B5EF4-FFF2-40B4-BE49-F238E27FC236}">
                    <a16:creationId xmlns:a16="http://schemas.microsoft.com/office/drawing/2014/main" id="{EC289829-7DF9-4123-8B38-4A1B2B71C2BC}"/>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03" name="Freeform 84">
                <a:extLst>
                  <a:ext uri="{FF2B5EF4-FFF2-40B4-BE49-F238E27FC236}">
                    <a16:creationId xmlns:a16="http://schemas.microsoft.com/office/drawing/2014/main" id="{90F85864-1CFE-47DF-B18A-B1D3BE31839E}"/>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4" name="Freeform 85">
                <a:extLst>
                  <a:ext uri="{FF2B5EF4-FFF2-40B4-BE49-F238E27FC236}">
                    <a16:creationId xmlns:a16="http://schemas.microsoft.com/office/drawing/2014/main" id="{F92039EC-2B2D-42E6-AAF6-DED8D80AFE78}"/>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5" name="Freeform 86">
                <a:extLst>
                  <a:ext uri="{FF2B5EF4-FFF2-40B4-BE49-F238E27FC236}">
                    <a16:creationId xmlns:a16="http://schemas.microsoft.com/office/drawing/2014/main" id="{90A70492-5D34-4372-9F11-EB4E7EEB20B2}"/>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6" name="Freeform 87">
                <a:extLst>
                  <a:ext uri="{FF2B5EF4-FFF2-40B4-BE49-F238E27FC236}">
                    <a16:creationId xmlns:a16="http://schemas.microsoft.com/office/drawing/2014/main" id="{8787F2EC-AFA1-4087-B17B-30C474F239C0}"/>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7" name="Rectangle 88">
                <a:extLst>
                  <a:ext uri="{FF2B5EF4-FFF2-40B4-BE49-F238E27FC236}">
                    <a16:creationId xmlns:a16="http://schemas.microsoft.com/office/drawing/2014/main" id="{EB9A4DA1-61D3-4D3F-87D8-AF3FCE6A3132}"/>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08" name="Rectangle 89">
                <a:extLst>
                  <a:ext uri="{FF2B5EF4-FFF2-40B4-BE49-F238E27FC236}">
                    <a16:creationId xmlns:a16="http://schemas.microsoft.com/office/drawing/2014/main" id="{E4B0D8FC-6C3D-4BDD-8AAE-700E06AC831B}"/>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9" name="Freeform 90">
                <a:extLst>
                  <a:ext uri="{FF2B5EF4-FFF2-40B4-BE49-F238E27FC236}">
                    <a16:creationId xmlns:a16="http://schemas.microsoft.com/office/drawing/2014/main" id="{3AF31D7B-5D3F-4D0A-990C-29B80C744C1F}"/>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0" name="Freeform 91">
                <a:extLst>
                  <a:ext uri="{FF2B5EF4-FFF2-40B4-BE49-F238E27FC236}">
                    <a16:creationId xmlns:a16="http://schemas.microsoft.com/office/drawing/2014/main" id="{0D256FB1-A4D4-4758-856E-FFA9DAFE6FCF}"/>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1" name="Freeform 92">
                <a:extLst>
                  <a:ext uri="{FF2B5EF4-FFF2-40B4-BE49-F238E27FC236}">
                    <a16:creationId xmlns:a16="http://schemas.microsoft.com/office/drawing/2014/main" id="{DED97B63-6BE8-4E2A-A600-2A681DA7E8E7}"/>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2" name="Freeform 93">
                <a:extLst>
                  <a:ext uri="{FF2B5EF4-FFF2-40B4-BE49-F238E27FC236}">
                    <a16:creationId xmlns:a16="http://schemas.microsoft.com/office/drawing/2014/main" id="{AC524E39-4188-4DBC-9FA4-A95AB3D85F4D}"/>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3" name="Freeform 94">
                <a:extLst>
                  <a:ext uri="{FF2B5EF4-FFF2-40B4-BE49-F238E27FC236}">
                    <a16:creationId xmlns:a16="http://schemas.microsoft.com/office/drawing/2014/main" id="{706784E4-E993-4DA2-9379-25ACF0430ED4}"/>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4" name="Freeform 95">
                <a:extLst>
                  <a:ext uri="{FF2B5EF4-FFF2-40B4-BE49-F238E27FC236}">
                    <a16:creationId xmlns:a16="http://schemas.microsoft.com/office/drawing/2014/main" id="{B0204662-B3A0-4AB9-9083-56FEA475C170}"/>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5" name="Freeform 96">
                <a:extLst>
                  <a:ext uri="{FF2B5EF4-FFF2-40B4-BE49-F238E27FC236}">
                    <a16:creationId xmlns:a16="http://schemas.microsoft.com/office/drawing/2014/main" id="{16DA8EE7-FCC4-49DD-B200-A9A77017667D}"/>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6" name="Freeform 97">
                <a:extLst>
                  <a:ext uri="{FF2B5EF4-FFF2-40B4-BE49-F238E27FC236}">
                    <a16:creationId xmlns:a16="http://schemas.microsoft.com/office/drawing/2014/main" id="{CCAF8E0C-96FB-49EC-B351-A63E34DEB591}"/>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7" name="Rectangle 98">
                <a:extLst>
                  <a:ext uri="{FF2B5EF4-FFF2-40B4-BE49-F238E27FC236}">
                    <a16:creationId xmlns:a16="http://schemas.microsoft.com/office/drawing/2014/main" id="{12D5CDB9-C24D-4223-9FA1-6AD9E261B6F7}"/>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8" name="Rectangle 99">
                <a:extLst>
                  <a:ext uri="{FF2B5EF4-FFF2-40B4-BE49-F238E27FC236}">
                    <a16:creationId xmlns:a16="http://schemas.microsoft.com/office/drawing/2014/main" id="{B598B703-935B-42D5-ADD5-04082DD4D2F5}"/>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9" name="Freeform 100">
                <a:extLst>
                  <a:ext uri="{FF2B5EF4-FFF2-40B4-BE49-F238E27FC236}">
                    <a16:creationId xmlns:a16="http://schemas.microsoft.com/office/drawing/2014/main" id="{BDD2B823-042C-48E8-B25C-6B509E4BFBB3}"/>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20" name="Freeform 101">
                <a:extLst>
                  <a:ext uri="{FF2B5EF4-FFF2-40B4-BE49-F238E27FC236}">
                    <a16:creationId xmlns:a16="http://schemas.microsoft.com/office/drawing/2014/main" id="{10A8448E-8B8D-46FE-B862-5D37C531B63A}"/>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21" name="Freeform 102">
                <a:extLst>
                  <a:ext uri="{FF2B5EF4-FFF2-40B4-BE49-F238E27FC236}">
                    <a16:creationId xmlns:a16="http://schemas.microsoft.com/office/drawing/2014/main" id="{AAB16278-6969-459B-A980-204363F5F984}"/>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22" name="Freeform 103">
                <a:extLst>
                  <a:ext uri="{FF2B5EF4-FFF2-40B4-BE49-F238E27FC236}">
                    <a16:creationId xmlns:a16="http://schemas.microsoft.com/office/drawing/2014/main" id="{293AE0B1-3E9E-4028-A55C-A9A3F50F9968}"/>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23" name="Freeform 104">
                <a:extLst>
                  <a:ext uri="{FF2B5EF4-FFF2-40B4-BE49-F238E27FC236}">
                    <a16:creationId xmlns:a16="http://schemas.microsoft.com/office/drawing/2014/main" id="{B3EE26BD-F32E-4A92-987F-E5DEC7F9FED5}"/>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4" name="Freeform 105">
                <a:extLst>
                  <a:ext uri="{FF2B5EF4-FFF2-40B4-BE49-F238E27FC236}">
                    <a16:creationId xmlns:a16="http://schemas.microsoft.com/office/drawing/2014/main" id="{11FCD47A-A360-4BB0-B4A4-576A1AA0066A}"/>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5" name="Freeform 106">
                <a:extLst>
                  <a:ext uri="{FF2B5EF4-FFF2-40B4-BE49-F238E27FC236}">
                    <a16:creationId xmlns:a16="http://schemas.microsoft.com/office/drawing/2014/main" id="{18FDE107-D032-4FA4-B846-1129B04AB573}"/>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6" name="Freeform 107">
                <a:extLst>
                  <a:ext uri="{FF2B5EF4-FFF2-40B4-BE49-F238E27FC236}">
                    <a16:creationId xmlns:a16="http://schemas.microsoft.com/office/drawing/2014/main" id="{87DB84EB-B193-4E47-B705-762DCE3E88CE}"/>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7" name="Rectangle 108">
                <a:extLst>
                  <a:ext uri="{FF2B5EF4-FFF2-40B4-BE49-F238E27FC236}">
                    <a16:creationId xmlns:a16="http://schemas.microsoft.com/office/drawing/2014/main" id="{C3EA4953-E7A4-4811-9641-1F0DA15B0C52}"/>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28" name="Rectangle 109">
                <a:extLst>
                  <a:ext uri="{FF2B5EF4-FFF2-40B4-BE49-F238E27FC236}">
                    <a16:creationId xmlns:a16="http://schemas.microsoft.com/office/drawing/2014/main" id="{D7B5F29A-7BC7-4B45-B3B3-5765953B23DD}"/>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9" name="Freeform 110">
                <a:extLst>
                  <a:ext uri="{FF2B5EF4-FFF2-40B4-BE49-F238E27FC236}">
                    <a16:creationId xmlns:a16="http://schemas.microsoft.com/office/drawing/2014/main" id="{05700F5A-B5BD-4442-B764-08520E98C4EA}"/>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30" name="Freeform 111">
                <a:extLst>
                  <a:ext uri="{FF2B5EF4-FFF2-40B4-BE49-F238E27FC236}">
                    <a16:creationId xmlns:a16="http://schemas.microsoft.com/office/drawing/2014/main" id="{0ADBADC0-2593-44B4-9CA5-A48893065711}"/>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31" name="Freeform 112">
                <a:extLst>
                  <a:ext uri="{FF2B5EF4-FFF2-40B4-BE49-F238E27FC236}">
                    <a16:creationId xmlns:a16="http://schemas.microsoft.com/office/drawing/2014/main" id="{FC1644DC-3DF8-4272-9083-6E2E2D1118C6}"/>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32" name="Freeform 113">
                <a:extLst>
                  <a:ext uri="{FF2B5EF4-FFF2-40B4-BE49-F238E27FC236}">
                    <a16:creationId xmlns:a16="http://schemas.microsoft.com/office/drawing/2014/main" id="{79611F98-9E50-42D4-903A-1D31328AD167}"/>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33" name="Freeform 114">
                <a:extLst>
                  <a:ext uri="{FF2B5EF4-FFF2-40B4-BE49-F238E27FC236}">
                    <a16:creationId xmlns:a16="http://schemas.microsoft.com/office/drawing/2014/main" id="{97612547-CB60-459B-AF20-413BD47FD1DD}"/>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34" name="Freeform 115">
                <a:extLst>
                  <a:ext uri="{FF2B5EF4-FFF2-40B4-BE49-F238E27FC236}">
                    <a16:creationId xmlns:a16="http://schemas.microsoft.com/office/drawing/2014/main" id="{2C422773-D0AB-452A-8406-EBEE311BDAE6}"/>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35" name="Freeform 116">
                <a:extLst>
                  <a:ext uri="{FF2B5EF4-FFF2-40B4-BE49-F238E27FC236}">
                    <a16:creationId xmlns:a16="http://schemas.microsoft.com/office/drawing/2014/main" id="{A6607689-F095-4927-AB15-53636C7B3B8B}"/>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36" name="Freeform 117">
                <a:extLst>
                  <a:ext uri="{FF2B5EF4-FFF2-40B4-BE49-F238E27FC236}">
                    <a16:creationId xmlns:a16="http://schemas.microsoft.com/office/drawing/2014/main" id="{956FA5C2-ABC8-490C-B352-AB2ABB7B9C55}"/>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1037" name="Group 1036">
                <a:extLst>
                  <a:ext uri="{FF2B5EF4-FFF2-40B4-BE49-F238E27FC236}">
                    <a16:creationId xmlns:a16="http://schemas.microsoft.com/office/drawing/2014/main" id="{2B3A9BF0-704C-4825-B1B0-5A6C089B6E81}"/>
                  </a:ext>
                </a:extLst>
              </p:cNvPr>
              <p:cNvGrpSpPr/>
              <p:nvPr/>
            </p:nvGrpSpPr>
            <p:grpSpPr>
              <a:xfrm>
                <a:off x="-54543" y="2279901"/>
                <a:ext cx="654576" cy="588705"/>
                <a:chOff x="-54543" y="2279901"/>
                <a:chExt cx="654576" cy="588705"/>
              </a:xfrm>
            </p:grpSpPr>
            <p:sp>
              <p:nvSpPr>
                <p:cNvPr id="1046" name="Freeform 68">
                  <a:extLst>
                    <a:ext uri="{FF2B5EF4-FFF2-40B4-BE49-F238E27FC236}">
                      <a16:creationId xmlns:a16="http://schemas.microsoft.com/office/drawing/2014/main" id="{94A444E9-1CED-4E17-8DBD-CF698FA44730}"/>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47" name="Freeform 118">
                  <a:extLst>
                    <a:ext uri="{FF2B5EF4-FFF2-40B4-BE49-F238E27FC236}">
                      <a16:creationId xmlns:a16="http://schemas.microsoft.com/office/drawing/2014/main" id="{C6EDC194-0D19-4783-9DA7-71BED6BEDE11}"/>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48" name="Freeform 119">
                  <a:extLst>
                    <a:ext uri="{FF2B5EF4-FFF2-40B4-BE49-F238E27FC236}">
                      <a16:creationId xmlns:a16="http://schemas.microsoft.com/office/drawing/2014/main" id="{DA83654F-CE36-4E70-A440-08B3B0BEBA12}"/>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49" name="Freeform 120">
                  <a:extLst>
                    <a:ext uri="{FF2B5EF4-FFF2-40B4-BE49-F238E27FC236}">
                      <a16:creationId xmlns:a16="http://schemas.microsoft.com/office/drawing/2014/main" id="{35AD62F0-CEF5-4E86-9400-7975AE14FA5D}"/>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50" name="Freeform 121">
                  <a:extLst>
                    <a:ext uri="{FF2B5EF4-FFF2-40B4-BE49-F238E27FC236}">
                      <a16:creationId xmlns:a16="http://schemas.microsoft.com/office/drawing/2014/main" id="{F69C542E-E3EE-4854-89BE-055F21317B34}"/>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51" name="Freeform 122">
                  <a:extLst>
                    <a:ext uri="{FF2B5EF4-FFF2-40B4-BE49-F238E27FC236}">
                      <a16:creationId xmlns:a16="http://schemas.microsoft.com/office/drawing/2014/main" id="{8C381789-6998-4CBA-ADFA-1C10D4C2C3C9}"/>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52" name="Freeform 124">
                  <a:extLst>
                    <a:ext uri="{FF2B5EF4-FFF2-40B4-BE49-F238E27FC236}">
                      <a16:creationId xmlns:a16="http://schemas.microsoft.com/office/drawing/2014/main" id="{533124F0-CC2B-439A-A842-6377626150E5}"/>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53" name="Freeform 125">
                  <a:extLst>
                    <a:ext uri="{FF2B5EF4-FFF2-40B4-BE49-F238E27FC236}">
                      <a16:creationId xmlns:a16="http://schemas.microsoft.com/office/drawing/2014/main" id="{AD4257EC-4165-4B50-88D4-F9A4EA1CCD27}"/>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54" name="Freeform 126">
                  <a:extLst>
                    <a:ext uri="{FF2B5EF4-FFF2-40B4-BE49-F238E27FC236}">
                      <a16:creationId xmlns:a16="http://schemas.microsoft.com/office/drawing/2014/main" id="{1C21BDAF-6DD5-423B-AA26-33CB3771EE9C}"/>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55" name="Freeform 127">
                  <a:extLst>
                    <a:ext uri="{FF2B5EF4-FFF2-40B4-BE49-F238E27FC236}">
                      <a16:creationId xmlns:a16="http://schemas.microsoft.com/office/drawing/2014/main" id="{91D8CBC4-2FA3-448B-BFF9-EEB54732B688}"/>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56" name="Freeform 128">
                  <a:extLst>
                    <a:ext uri="{FF2B5EF4-FFF2-40B4-BE49-F238E27FC236}">
                      <a16:creationId xmlns:a16="http://schemas.microsoft.com/office/drawing/2014/main" id="{B73A6C7E-63F5-495C-9694-53F52DC3B2B5}"/>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57" name="Freeform 129">
                  <a:extLst>
                    <a:ext uri="{FF2B5EF4-FFF2-40B4-BE49-F238E27FC236}">
                      <a16:creationId xmlns:a16="http://schemas.microsoft.com/office/drawing/2014/main" id="{E9C1B43A-895D-474C-9393-09D07757F26E}"/>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58" name="Freeform 130">
                  <a:extLst>
                    <a:ext uri="{FF2B5EF4-FFF2-40B4-BE49-F238E27FC236}">
                      <a16:creationId xmlns:a16="http://schemas.microsoft.com/office/drawing/2014/main" id="{7A8389FF-7C79-4B9A-B1C5-C5A740AEDA19}"/>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59" name="Freeform 131">
                  <a:extLst>
                    <a:ext uri="{FF2B5EF4-FFF2-40B4-BE49-F238E27FC236}">
                      <a16:creationId xmlns:a16="http://schemas.microsoft.com/office/drawing/2014/main" id="{69A06855-678D-4D13-9A89-2D819252C3FA}"/>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60" name="Freeform 132">
                  <a:extLst>
                    <a:ext uri="{FF2B5EF4-FFF2-40B4-BE49-F238E27FC236}">
                      <a16:creationId xmlns:a16="http://schemas.microsoft.com/office/drawing/2014/main" id="{A21D7350-97BB-4AD3-AABB-12FAB221CD21}"/>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61" name="Freeform 133">
                  <a:extLst>
                    <a:ext uri="{FF2B5EF4-FFF2-40B4-BE49-F238E27FC236}">
                      <a16:creationId xmlns:a16="http://schemas.microsoft.com/office/drawing/2014/main" id="{845EF4AF-C5A3-4D01-AFF1-71345A5C5E09}"/>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038" name="Group 1037">
                <a:extLst>
                  <a:ext uri="{FF2B5EF4-FFF2-40B4-BE49-F238E27FC236}">
                    <a16:creationId xmlns:a16="http://schemas.microsoft.com/office/drawing/2014/main" id="{16370702-833A-4591-B191-378F1E51DA69}"/>
                  </a:ext>
                </a:extLst>
              </p:cNvPr>
              <p:cNvGrpSpPr/>
              <p:nvPr/>
            </p:nvGrpSpPr>
            <p:grpSpPr>
              <a:xfrm>
                <a:off x="-108104" y="2554074"/>
                <a:ext cx="132971" cy="160137"/>
                <a:chOff x="7094929" y="5488305"/>
                <a:chExt cx="132971" cy="160137"/>
              </a:xfrm>
            </p:grpSpPr>
            <p:sp>
              <p:nvSpPr>
                <p:cNvPr id="1044" name="Freeform 66">
                  <a:extLst>
                    <a:ext uri="{FF2B5EF4-FFF2-40B4-BE49-F238E27FC236}">
                      <a16:creationId xmlns:a16="http://schemas.microsoft.com/office/drawing/2014/main" id="{1A864439-C3B6-43E1-A428-CEFB2C1847FA}"/>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45" name="Freeform 127">
                  <a:extLst>
                    <a:ext uri="{FF2B5EF4-FFF2-40B4-BE49-F238E27FC236}">
                      <a16:creationId xmlns:a16="http://schemas.microsoft.com/office/drawing/2014/main" id="{5572A67E-EC0C-4048-BC95-C068F8317DB2}"/>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1039" name="Freeform 127">
                <a:extLst>
                  <a:ext uri="{FF2B5EF4-FFF2-40B4-BE49-F238E27FC236}">
                    <a16:creationId xmlns:a16="http://schemas.microsoft.com/office/drawing/2014/main" id="{FDA4A6F7-802E-4771-88B1-F08C13C9C1F7}"/>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040" name="Freeform 127">
                <a:extLst>
                  <a:ext uri="{FF2B5EF4-FFF2-40B4-BE49-F238E27FC236}">
                    <a16:creationId xmlns:a16="http://schemas.microsoft.com/office/drawing/2014/main" id="{0D692C18-4FB8-4150-B471-255CC7735869}"/>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041" name="Freeform 127">
                <a:extLst>
                  <a:ext uri="{FF2B5EF4-FFF2-40B4-BE49-F238E27FC236}">
                    <a16:creationId xmlns:a16="http://schemas.microsoft.com/office/drawing/2014/main" id="{F2E78666-3A15-43DA-A5CB-FB58B04537CE}"/>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042" name="Freeform 127">
                <a:extLst>
                  <a:ext uri="{FF2B5EF4-FFF2-40B4-BE49-F238E27FC236}">
                    <a16:creationId xmlns:a16="http://schemas.microsoft.com/office/drawing/2014/main" id="{A49AEB0D-E197-421D-9750-FB1D5191934E}"/>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043" name="Freeform 127">
                <a:extLst>
                  <a:ext uri="{FF2B5EF4-FFF2-40B4-BE49-F238E27FC236}">
                    <a16:creationId xmlns:a16="http://schemas.microsoft.com/office/drawing/2014/main" id="{7139DE51-AF24-4503-A894-FFD185CD6FC3}"/>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988" name="Rectangle 987">
              <a:extLst>
                <a:ext uri="{FF2B5EF4-FFF2-40B4-BE49-F238E27FC236}">
                  <a16:creationId xmlns:a16="http://schemas.microsoft.com/office/drawing/2014/main" id="{847482BF-1C3F-4948-B275-17835CB8168B}"/>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49681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500226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4" name="think-cell Slide" r:id="rId15" imgW="503" imgH="503" progId="TCLayout.ActiveDocument.1">
                  <p:embed/>
                </p:oleObj>
              </mc:Choice>
              <mc:Fallback>
                <p:oleObj name="think-cell Slide" r:id="rId1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Windows 10 Experience at Multi-session Cost</a:t>
            </a:r>
          </a:p>
        </p:txBody>
      </p:sp>
      <p:sp>
        <p:nvSpPr>
          <p:cNvPr id="1274" name="Rectangle 1273">
            <a:extLst>
              <a:ext uri="{FF2B5EF4-FFF2-40B4-BE49-F238E27FC236}">
                <a16:creationId xmlns:a16="http://schemas.microsoft.com/office/drawing/2014/main" id="{9CEFAC50-EB23-492C-B446-70165E03B95C}"/>
              </a:ext>
            </a:extLst>
          </p:cNvPr>
          <p:cNvSpPr/>
          <p:nvPr/>
        </p:nvSpPr>
        <p:spPr>
          <a:xfrm>
            <a:off x="533943" y="114846"/>
            <a:ext cx="3462615" cy="369332"/>
          </a:xfrm>
          <a:prstGeom prst="rect">
            <a:avLst/>
          </a:prstGeom>
        </p:spPr>
        <p:txBody>
          <a:bodyPr wrap="none">
            <a:spAutoFit/>
          </a:bodyPr>
          <a:lstStyle/>
          <a:p>
            <a:r>
              <a:rPr lang="en-US" b="1" i="1" dirty="0"/>
              <a:t>Cost-optimized infrastructure</a:t>
            </a:r>
          </a:p>
        </p:txBody>
      </p:sp>
      <p:sp>
        <p:nvSpPr>
          <p:cNvPr id="672" name="Rectangle 671">
            <a:extLst>
              <a:ext uri="{FF2B5EF4-FFF2-40B4-BE49-F238E27FC236}">
                <a16:creationId xmlns:a16="http://schemas.microsoft.com/office/drawing/2014/main" id="{583495BC-7614-4535-BB0B-FAF6C4BC7944}"/>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Note: WVD is the only way to run Windows 10 Multi-Session</a:t>
            </a:r>
          </a:p>
          <a:p>
            <a:pPr fontAlgn="base"/>
            <a:r>
              <a:rPr lang="en-US" sz="1000" dirty="0"/>
              <a:t>Note: Figures are illustrative and based on pre-configured assumptions; actual savings vary by user requirements and infrastructure configuration</a:t>
            </a:r>
          </a:p>
          <a:p>
            <a:pPr fontAlgn="base"/>
            <a:r>
              <a:rPr lang="en-US" sz="1000" dirty="0"/>
              <a:t>*The $40 PUPM for single session cost is modeled for a common configuration: Windows 10 single-session in WVD starts at ~$15 per user per month for 1 vCPU, 2 GiB RAM configuration</a:t>
            </a:r>
          </a:p>
        </p:txBody>
      </p:sp>
      <p:sp>
        <p:nvSpPr>
          <p:cNvPr id="682" name="Rectangle 681">
            <a:extLst>
              <a:ext uri="{FF2B5EF4-FFF2-40B4-BE49-F238E27FC236}">
                <a16:creationId xmlns:a16="http://schemas.microsoft.com/office/drawing/2014/main" id="{F7C3857A-0118-46D1-9AD5-C70DF3F75E3F}"/>
              </a:ext>
            </a:extLst>
          </p:cNvPr>
          <p:cNvSpPr/>
          <p:nvPr/>
        </p:nvSpPr>
        <p:spPr bwMode="auto">
          <a:xfrm>
            <a:off x="584200" y="2351226"/>
            <a:ext cx="7330440" cy="36593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683" name="TextBox 682">
            <a:extLst>
              <a:ext uri="{FF2B5EF4-FFF2-40B4-BE49-F238E27FC236}">
                <a16:creationId xmlns:a16="http://schemas.microsoft.com/office/drawing/2014/main" id="{30EDBBC4-4463-4AEC-8E8D-5A88E10847D0}"/>
              </a:ext>
            </a:extLst>
          </p:cNvPr>
          <p:cNvSpPr txBox="1"/>
          <p:nvPr/>
        </p:nvSpPr>
        <p:spPr>
          <a:xfrm>
            <a:off x="651493" y="2411901"/>
            <a:ext cx="3307089" cy="35041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1148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i="1" dirty="0">
                <a:solidFill>
                  <a:schemeClr val="tx1"/>
                </a:solidFill>
              </a:rPr>
              <a:t>1 user to 1 smaller VM with low utilization</a:t>
            </a:r>
          </a:p>
        </p:txBody>
      </p:sp>
      <p:sp>
        <p:nvSpPr>
          <p:cNvPr id="684" name="TextBox 683">
            <a:extLst>
              <a:ext uri="{FF2B5EF4-FFF2-40B4-BE49-F238E27FC236}">
                <a16:creationId xmlns:a16="http://schemas.microsoft.com/office/drawing/2014/main" id="{91BB7BC0-745B-4C15-8638-DA950C34BC95}"/>
              </a:ext>
            </a:extLst>
          </p:cNvPr>
          <p:cNvSpPr txBox="1"/>
          <p:nvPr/>
        </p:nvSpPr>
        <p:spPr>
          <a:xfrm>
            <a:off x="4540258" y="2411901"/>
            <a:ext cx="3307089" cy="350530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22860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dirty="0">
                <a:solidFill>
                  <a:schemeClr val="tx1"/>
                </a:solidFill>
              </a:rPr>
              <a:t>Many users per 1 larger VM</a:t>
            </a:r>
            <a:br>
              <a:rPr lang="en-US" sz="1200" dirty="0">
                <a:solidFill>
                  <a:schemeClr val="tx1"/>
                </a:solidFill>
              </a:rPr>
            </a:br>
            <a:r>
              <a:rPr lang="en-US" sz="1200" dirty="0">
                <a:solidFill>
                  <a:schemeClr val="tx1"/>
                </a:solidFill>
              </a:rPr>
              <a:t>with high utilization and lower operational costs </a:t>
            </a:r>
          </a:p>
        </p:txBody>
      </p:sp>
      <p:grpSp>
        <p:nvGrpSpPr>
          <p:cNvPr id="685" name="Group 684">
            <a:extLst>
              <a:ext uri="{FF2B5EF4-FFF2-40B4-BE49-F238E27FC236}">
                <a16:creationId xmlns:a16="http://schemas.microsoft.com/office/drawing/2014/main" id="{8B013AB8-33D8-4D0C-9099-EB3CE6972545}"/>
              </a:ext>
            </a:extLst>
          </p:cNvPr>
          <p:cNvGrpSpPr/>
          <p:nvPr/>
        </p:nvGrpSpPr>
        <p:grpSpPr>
          <a:xfrm>
            <a:off x="4048759" y="2550635"/>
            <a:ext cx="401322" cy="3292123"/>
            <a:chOff x="4048759" y="2770559"/>
            <a:chExt cx="401322" cy="3292123"/>
          </a:xfrm>
        </p:grpSpPr>
        <p:cxnSp>
          <p:nvCxnSpPr>
            <p:cNvPr id="686" name="Straight Connector 685">
              <a:extLst>
                <a:ext uri="{FF2B5EF4-FFF2-40B4-BE49-F238E27FC236}">
                  <a16:creationId xmlns:a16="http://schemas.microsoft.com/office/drawing/2014/main" id="{DA6BAE1F-3955-411D-B3BC-72964FDC1677}"/>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687" name="Group 686">
              <a:extLst>
                <a:ext uri="{FF2B5EF4-FFF2-40B4-BE49-F238E27FC236}">
                  <a16:creationId xmlns:a16="http://schemas.microsoft.com/office/drawing/2014/main" id="{C294D365-D0C1-46C8-B8AE-C5CFA9E4A3C8}"/>
                </a:ext>
              </a:extLst>
            </p:cNvPr>
            <p:cNvGrpSpPr/>
            <p:nvPr/>
          </p:nvGrpSpPr>
          <p:grpSpPr>
            <a:xfrm>
              <a:off x="4048759" y="4250939"/>
              <a:ext cx="401322" cy="401322"/>
              <a:chOff x="4048759" y="4228862"/>
              <a:chExt cx="401322" cy="401322"/>
            </a:xfrm>
          </p:grpSpPr>
          <p:sp>
            <p:nvSpPr>
              <p:cNvPr id="688" name="Oval 687">
                <a:extLst>
                  <a:ext uri="{FF2B5EF4-FFF2-40B4-BE49-F238E27FC236}">
                    <a16:creationId xmlns:a16="http://schemas.microsoft.com/office/drawing/2014/main" id="{8ADA2D5B-169C-4A6B-8502-F4BC8EC17224}"/>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89" name="Isosceles Triangle 688">
                <a:extLst>
                  <a:ext uri="{FF2B5EF4-FFF2-40B4-BE49-F238E27FC236}">
                    <a16:creationId xmlns:a16="http://schemas.microsoft.com/office/drawing/2014/main" id="{1846F9E0-108A-4D2D-96D6-3F3A20812F23}"/>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547" name="TextBox 1546">
            <a:extLst>
              <a:ext uri="{FF2B5EF4-FFF2-40B4-BE49-F238E27FC236}">
                <a16:creationId xmlns:a16="http://schemas.microsoft.com/office/drawing/2014/main" id="{A5B66337-AC6E-40EE-873B-952DCC9C2136}"/>
              </a:ext>
            </a:extLst>
          </p:cNvPr>
          <p:cNvSpPr txBox="1"/>
          <p:nvPr/>
        </p:nvSpPr>
        <p:spPr>
          <a:xfrm>
            <a:off x="8302299" y="2882798"/>
            <a:ext cx="3307089" cy="303265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900" dirty="0">
              <a:solidFill>
                <a:srgbClr val="FF0000"/>
              </a:solidFill>
            </a:endParaRPr>
          </a:p>
        </p:txBody>
      </p:sp>
      <p:grpSp>
        <p:nvGrpSpPr>
          <p:cNvPr id="521" name="Group 153">
            <a:extLst>
              <a:ext uri="{FF2B5EF4-FFF2-40B4-BE49-F238E27FC236}">
                <a16:creationId xmlns:a16="http://schemas.microsoft.com/office/drawing/2014/main" id="{50DE4391-5F8D-4852-BDA2-A45150AEFE2D}"/>
              </a:ext>
            </a:extLst>
          </p:cNvPr>
          <p:cNvGrpSpPr>
            <a:grpSpLocks noChangeAspect="1"/>
          </p:cNvGrpSpPr>
          <p:nvPr/>
        </p:nvGrpSpPr>
        <p:grpSpPr bwMode="auto">
          <a:xfrm>
            <a:off x="887610" y="3013291"/>
            <a:ext cx="509136" cy="508776"/>
            <a:chOff x="2501" y="790"/>
            <a:chExt cx="2832" cy="2830"/>
          </a:xfrm>
        </p:grpSpPr>
        <p:sp>
          <p:nvSpPr>
            <p:cNvPr id="522" name="Oval 154">
              <a:extLst>
                <a:ext uri="{FF2B5EF4-FFF2-40B4-BE49-F238E27FC236}">
                  <a16:creationId xmlns:a16="http://schemas.microsoft.com/office/drawing/2014/main" id="{0E893EC4-570A-4C10-ABF5-0A1C6455E40B}"/>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3" name="Freeform 155">
              <a:extLst>
                <a:ext uri="{FF2B5EF4-FFF2-40B4-BE49-F238E27FC236}">
                  <a16:creationId xmlns:a16="http://schemas.microsoft.com/office/drawing/2014/main" id="{5A1009B2-F621-4B07-B527-480CF310116A}"/>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4" name="Freeform 156">
              <a:extLst>
                <a:ext uri="{FF2B5EF4-FFF2-40B4-BE49-F238E27FC236}">
                  <a16:creationId xmlns:a16="http://schemas.microsoft.com/office/drawing/2014/main" id="{CC50413A-FBBC-4D96-ADE0-09D9C5183D13}"/>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5" name="Freeform 157">
              <a:extLst>
                <a:ext uri="{FF2B5EF4-FFF2-40B4-BE49-F238E27FC236}">
                  <a16:creationId xmlns:a16="http://schemas.microsoft.com/office/drawing/2014/main" id="{2289867E-B0BA-4ADE-88E7-BADF718BB3F5}"/>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6" name="Freeform 158">
              <a:extLst>
                <a:ext uri="{FF2B5EF4-FFF2-40B4-BE49-F238E27FC236}">
                  <a16:creationId xmlns:a16="http://schemas.microsoft.com/office/drawing/2014/main" id="{0370F3F8-F17E-45D6-87F2-AFBE60A8A4F9}"/>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7" name="Freeform 159">
              <a:extLst>
                <a:ext uri="{FF2B5EF4-FFF2-40B4-BE49-F238E27FC236}">
                  <a16:creationId xmlns:a16="http://schemas.microsoft.com/office/drawing/2014/main" id="{83CC5E8F-516A-4E00-8F19-54F18D73A241}"/>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8" name="Freeform 160">
              <a:extLst>
                <a:ext uri="{FF2B5EF4-FFF2-40B4-BE49-F238E27FC236}">
                  <a16:creationId xmlns:a16="http://schemas.microsoft.com/office/drawing/2014/main" id="{E075D3A6-E863-4608-ACFD-BD7BCA9D223F}"/>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9" name="Freeform 161">
              <a:extLst>
                <a:ext uri="{FF2B5EF4-FFF2-40B4-BE49-F238E27FC236}">
                  <a16:creationId xmlns:a16="http://schemas.microsoft.com/office/drawing/2014/main" id="{68BF8020-F4FA-4E14-8F76-A0DA9FC548FF}"/>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0" name="Freeform 162">
              <a:extLst>
                <a:ext uri="{FF2B5EF4-FFF2-40B4-BE49-F238E27FC236}">
                  <a16:creationId xmlns:a16="http://schemas.microsoft.com/office/drawing/2014/main" id="{CD5A4841-F0B5-4CD2-8DF8-B18125EBC5E8}"/>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1" name="Freeform 163">
              <a:extLst>
                <a:ext uri="{FF2B5EF4-FFF2-40B4-BE49-F238E27FC236}">
                  <a16:creationId xmlns:a16="http://schemas.microsoft.com/office/drawing/2014/main" id="{D0B64815-5C15-4614-8BE6-D4A885A5AE2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 name="Freeform 164">
              <a:extLst>
                <a:ext uri="{FF2B5EF4-FFF2-40B4-BE49-F238E27FC236}">
                  <a16:creationId xmlns:a16="http://schemas.microsoft.com/office/drawing/2014/main" id="{C6C018E2-5FEF-45E1-86A1-E8282666B51D}"/>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3" name="Oval 165">
              <a:extLst>
                <a:ext uri="{FF2B5EF4-FFF2-40B4-BE49-F238E27FC236}">
                  <a16:creationId xmlns:a16="http://schemas.microsoft.com/office/drawing/2014/main" id="{F704EEDD-97E3-452C-9045-E40BA2F47CA4}"/>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4" name="Oval 166">
              <a:extLst>
                <a:ext uri="{FF2B5EF4-FFF2-40B4-BE49-F238E27FC236}">
                  <a16:creationId xmlns:a16="http://schemas.microsoft.com/office/drawing/2014/main" id="{3CD8370C-B3C5-4707-87E0-0FDEBCCFC0E4}"/>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5" name="Freeform 167">
              <a:extLst>
                <a:ext uri="{FF2B5EF4-FFF2-40B4-BE49-F238E27FC236}">
                  <a16:creationId xmlns:a16="http://schemas.microsoft.com/office/drawing/2014/main" id="{3D72A96F-36C3-47EB-8ED2-B3835161EA68}"/>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6" name="Freeform 168">
              <a:extLst>
                <a:ext uri="{FF2B5EF4-FFF2-40B4-BE49-F238E27FC236}">
                  <a16:creationId xmlns:a16="http://schemas.microsoft.com/office/drawing/2014/main" id="{DE0316FE-03E1-4AAB-9E6D-8E46C087F06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7" name="Freeform 169">
              <a:extLst>
                <a:ext uri="{FF2B5EF4-FFF2-40B4-BE49-F238E27FC236}">
                  <a16:creationId xmlns:a16="http://schemas.microsoft.com/office/drawing/2014/main" id="{B6C48AD4-5B32-4A90-BE2D-47213CEACC8A}"/>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8" name="Freeform 170">
              <a:extLst>
                <a:ext uri="{FF2B5EF4-FFF2-40B4-BE49-F238E27FC236}">
                  <a16:creationId xmlns:a16="http://schemas.microsoft.com/office/drawing/2014/main" id="{6DCDB0E0-758B-4427-AD1A-FED2DA11CFA6}"/>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9" name="Freeform 171">
              <a:extLst>
                <a:ext uri="{FF2B5EF4-FFF2-40B4-BE49-F238E27FC236}">
                  <a16:creationId xmlns:a16="http://schemas.microsoft.com/office/drawing/2014/main" id="{C055F40D-F52B-45D3-B9AB-A218BE231F1A}"/>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0" name="Freeform 172">
              <a:extLst>
                <a:ext uri="{FF2B5EF4-FFF2-40B4-BE49-F238E27FC236}">
                  <a16:creationId xmlns:a16="http://schemas.microsoft.com/office/drawing/2014/main" id="{3B4C5CD9-EFEE-4FCD-B615-40E183984A68}"/>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1" name="Freeform 173">
              <a:extLst>
                <a:ext uri="{FF2B5EF4-FFF2-40B4-BE49-F238E27FC236}">
                  <a16:creationId xmlns:a16="http://schemas.microsoft.com/office/drawing/2014/main" id="{251C21B9-A28E-41C7-A7D6-F49AE70F793E}"/>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2" name="Freeform 174">
              <a:extLst>
                <a:ext uri="{FF2B5EF4-FFF2-40B4-BE49-F238E27FC236}">
                  <a16:creationId xmlns:a16="http://schemas.microsoft.com/office/drawing/2014/main" id="{C6F98523-E30C-426E-BAA5-D819599C4467}"/>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43" name="Group 595">
            <a:extLst>
              <a:ext uri="{FF2B5EF4-FFF2-40B4-BE49-F238E27FC236}">
                <a16:creationId xmlns:a16="http://schemas.microsoft.com/office/drawing/2014/main" id="{3323DEA7-9CCA-45FF-8008-49D5E3E99D5D}"/>
              </a:ext>
            </a:extLst>
          </p:cNvPr>
          <p:cNvGrpSpPr>
            <a:grpSpLocks noChangeAspect="1"/>
          </p:cNvGrpSpPr>
          <p:nvPr/>
        </p:nvGrpSpPr>
        <p:grpSpPr bwMode="auto">
          <a:xfrm>
            <a:off x="2050860" y="3012931"/>
            <a:ext cx="509496" cy="509136"/>
            <a:chOff x="2499" y="790"/>
            <a:chExt cx="2832" cy="2830"/>
          </a:xfrm>
        </p:grpSpPr>
        <p:sp>
          <p:nvSpPr>
            <p:cNvPr id="544" name="Oval 596">
              <a:extLst>
                <a:ext uri="{FF2B5EF4-FFF2-40B4-BE49-F238E27FC236}">
                  <a16:creationId xmlns:a16="http://schemas.microsoft.com/office/drawing/2014/main" id="{E8502D04-982F-4AC0-A13F-C5EBF8BD6311}"/>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5" name="Freeform 597">
              <a:extLst>
                <a:ext uri="{FF2B5EF4-FFF2-40B4-BE49-F238E27FC236}">
                  <a16:creationId xmlns:a16="http://schemas.microsoft.com/office/drawing/2014/main" id="{F0598D4F-6214-443E-BB8E-08867C16D985}"/>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6" name="Freeform 598">
              <a:extLst>
                <a:ext uri="{FF2B5EF4-FFF2-40B4-BE49-F238E27FC236}">
                  <a16:creationId xmlns:a16="http://schemas.microsoft.com/office/drawing/2014/main" id="{8858400A-34C0-440C-B228-84B81D9959EC}"/>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7" name="Freeform 599">
              <a:extLst>
                <a:ext uri="{FF2B5EF4-FFF2-40B4-BE49-F238E27FC236}">
                  <a16:creationId xmlns:a16="http://schemas.microsoft.com/office/drawing/2014/main" id="{4062C3A5-9435-419C-B9F2-FBDAA7E3DD34}"/>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9" name="Freeform 600">
              <a:extLst>
                <a:ext uri="{FF2B5EF4-FFF2-40B4-BE49-F238E27FC236}">
                  <a16:creationId xmlns:a16="http://schemas.microsoft.com/office/drawing/2014/main" id="{F00EBF66-12BF-4129-BF0E-A8A8FD89509E}"/>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0" name="Freeform 601">
              <a:extLst>
                <a:ext uri="{FF2B5EF4-FFF2-40B4-BE49-F238E27FC236}">
                  <a16:creationId xmlns:a16="http://schemas.microsoft.com/office/drawing/2014/main" id="{4D48B978-B142-4061-A996-DE880CE2434E}"/>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1" name="Freeform 602">
              <a:extLst>
                <a:ext uri="{FF2B5EF4-FFF2-40B4-BE49-F238E27FC236}">
                  <a16:creationId xmlns:a16="http://schemas.microsoft.com/office/drawing/2014/main" id="{600FB660-8E08-42F0-82B9-23DD77DB338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2" name="Freeform 603">
              <a:extLst>
                <a:ext uri="{FF2B5EF4-FFF2-40B4-BE49-F238E27FC236}">
                  <a16:creationId xmlns:a16="http://schemas.microsoft.com/office/drawing/2014/main" id="{C164D56D-9715-4A0C-82ED-420A018DE485}"/>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3" name="Freeform 604">
              <a:extLst>
                <a:ext uri="{FF2B5EF4-FFF2-40B4-BE49-F238E27FC236}">
                  <a16:creationId xmlns:a16="http://schemas.microsoft.com/office/drawing/2014/main" id="{DC025B73-1BCD-4C8A-BAC2-807757E7948D}"/>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4" name="Freeform 605">
              <a:extLst>
                <a:ext uri="{FF2B5EF4-FFF2-40B4-BE49-F238E27FC236}">
                  <a16:creationId xmlns:a16="http://schemas.microsoft.com/office/drawing/2014/main" id="{C62107ED-535B-460C-8415-012D235104AE}"/>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5" name="Freeform 606">
              <a:extLst>
                <a:ext uri="{FF2B5EF4-FFF2-40B4-BE49-F238E27FC236}">
                  <a16:creationId xmlns:a16="http://schemas.microsoft.com/office/drawing/2014/main" id="{8B2C0675-8197-4DA8-B91C-F7C7AA1CCAEA}"/>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7" name="Freeform 607">
              <a:extLst>
                <a:ext uri="{FF2B5EF4-FFF2-40B4-BE49-F238E27FC236}">
                  <a16:creationId xmlns:a16="http://schemas.microsoft.com/office/drawing/2014/main" id="{3F985FF4-E74B-4A63-87A4-A84299E738BB}"/>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9" name="Oval 608">
              <a:extLst>
                <a:ext uri="{FF2B5EF4-FFF2-40B4-BE49-F238E27FC236}">
                  <a16:creationId xmlns:a16="http://schemas.microsoft.com/office/drawing/2014/main" id="{36C4A960-4C21-44F8-B9D5-F682506BAE6A}"/>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0" name="Freeform 609">
              <a:extLst>
                <a:ext uri="{FF2B5EF4-FFF2-40B4-BE49-F238E27FC236}">
                  <a16:creationId xmlns:a16="http://schemas.microsoft.com/office/drawing/2014/main" id="{1FB68610-8455-4ADD-ABB6-BCDD62863A7B}"/>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1" name="Freeform 610">
              <a:extLst>
                <a:ext uri="{FF2B5EF4-FFF2-40B4-BE49-F238E27FC236}">
                  <a16:creationId xmlns:a16="http://schemas.microsoft.com/office/drawing/2014/main" id="{47088F60-FFF5-448E-AEE7-AEA934E37EB6}"/>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Freeform 611">
              <a:extLst>
                <a:ext uri="{FF2B5EF4-FFF2-40B4-BE49-F238E27FC236}">
                  <a16:creationId xmlns:a16="http://schemas.microsoft.com/office/drawing/2014/main" id="{DB7D43A1-BB44-4115-AFFA-6C1752CDDAB1}"/>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Freeform 612">
              <a:extLst>
                <a:ext uri="{FF2B5EF4-FFF2-40B4-BE49-F238E27FC236}">
                  <a16:creationId xmlns:a16="http://schemas.microsoft.com/office/drawing/2014/main" id="{64908B50-809F-44A6-9E81-F4CF5DB448C5}"/>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Freeform 613">
              <a:extLst>
                <a:ext uri="{FF2B5EF4-FFF2-40B4-BE49-F238E27FC236}">
                  <a16:creationId xmlns:a16="http://schemas.microsoft.com/office/drawing/2014/main" id="{9131C1B9-8DF7-42F0-8D82-991BB1AC8FD2}"/>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Freeform 614">
              <a:extLst>
                <a:ext uri="{FF2B5EF4-FFF2-40B4-BE49-F238E27FC236}">
                  <a16:creationId xmlns:a16="http://schemas.microsoft.com/office/drawing/2014/main" id="{C8185C8F-B4A8-4DE7-8F13-784FE617DD60}"/>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7" name="Group 925">
            <a:extLst>
              <a:ext uri="{FF2B5EF4-FFF2-40B4-BE49-F238E27FC236}">
                <a16:creationId xmlns:a16="http://schemas.microsoft.com/office/drawing/2014/main" id="{B7E1701F-DA88-4514-82E5-18B644B3D8B5}"/>
              </a:ext>
            </a:extLst>
          </p:cNvPr>
          <p:cNvGrpSpPr>
            <a:grpSpLocks noChangeAspect="1"/>
          </p:cNvGrpSpPr>
          <p:nvPr/>
        </p:nvGrpSpPr>
        <p:grpSpPr bwMode="auto">
          <a:xfrm>
            <a:off x="3213147" y="3012931"/>
            <a:ext cx="508352" cy="509136"/>
            <a:chOff x="2619" y="903"/>
            <a:chExt cx="2592" cy="2596"/>
          </a:xfrm>
        </p:grpSpPr>
        <p:sp>
          <p:nvSpPr>
            <p:cNvPr id="572" name="Oval 926">
              <a:extLst>
                <a:ext uri="{FF2B5EF4-FFF2-40B4-BE49-F238E27FC236}">
                  <a16:creationId xmlns:a16="http://schemas.microsoft.com/office/drawing/2014/main" id="{5D235F82-EA09-43D7-9B9E-1891224C4291}"/>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8" name="Freeform 927">
              <a:extLst>
                <a:ext uri="{FF2B5EF4-FFF2-40B4-BE49-F238E27FC236}">
                  <a16:creationId xmlns:a16="http://schemas.microsoft.com/office/drawing/2014/main" id="{0047920C-DB4A-49CF-9A92-387B85702F0F}"/>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1" name="Freeform 928">
              <a:extLst>
                <a:ext uri="{FF2B5EF4-FFF2-40B4-BE49-F238E27FC236}">
                  <a16:creationId xmlns:a16="http://schemas.microsoft.com/office/drawing/2014/main" id="{2F30B6E6-05D8-4A7E-BDEC-DBE574F003BD}"/>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2" name="Freeform 929">
              <a:extLst>
                <a:ext uri="{FF2B5EF4-FFF2-40B4-BE49-F238E27FC236}">
                  <a16:creationId xmlns:a16="http://schemas.microsoft.com/office/drawing/2014/main" id="{E5A292B9-D129-41EC-9A41-2C486C99B9C1}"/>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4" name="Freeform 930">
              <a:extLst>
                <a:ext uri="{FF2B5EF4-FFF2-40B4-BE49-F238E27FC236}">
                  <a16:creationId xmlns:a16="http://schemas.microsoft.com/office/drawing/2014/main" id="{3FC39A33-77F0-4EEE-9B4D-0A7AAA3E9583}"/>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5" name="Freeform 931">
              <a:extLst>
                <a:ext uri="{FF2B5EF4-FFF2-40B4-BE49-F238E27FC236}">
                  <a16:creationId xmlns:a16="http://schemas.microsoft.com/office/drawing/2014/main" id="{61E8E9BC-97CE-47B4-9BD7-9D9F286D780E}"/>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6" name="Freeform 932">
              <a:extLst>
                <a:ext uri="{FF2B5EF4-FFF2-40B4-BE49-F238E27FC236}">
                  <a16:creationId xmlns:a16="http://schemas.microsoft.com/office/drawing/2014/main" id="{867E4DE3-296E-46E1-A184-319AAF1A2627}"/>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7" name="Freeform 933">
              <a:extLst>
                <a:ext uri="{FF2B5EF4-FFF2-40B4-BE49-F238E27FC236}">
                  <a16:creationId xmlns:a16="http://schemas.microsoft.com/office/drawing/2014/main" id="{F10F30F8-7A28-4ED1-AA71-4B1E3C6671AB}"/>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4" name="Freeform 934">
              <a:extLst>
                <a:ext uri="{FF2B5EF4-FFF2-40B4-BE49-F238E27FC236}">
                  <a16:creationId xmlns:a16="http://schemas.microsoft.com/office/drawing/2014/main" id="{70ED01B1-360D-4D1B-A5AB-4C9842480561}"/>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5" name="Freeform 935">
              <a:extLst>
                <a:ext uri="{FF2B5EF4-FFF2-40B4-BE49-F238E27FC236}">
                  <a16:creationId xmlns:a16="http://schemas.microsoft.com/office/drawing/2014/main" id="{ABCDAB19-A3BD-4B40-8237-6EB96FA61E5C}"/>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6" name="Freeform 936">
              <a:extLst>
                <a:ext uri="{FF2B5EF4-FFF2-40B4-BE49-F238E27FC236}">
                  <a16:creationId xmlns:a16="http://schemas.microsoft.com/office/drawing/2014/main" id="{0AACF65E-1AB5-44DC-9011-28E00BDB6197}"/>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7" name="Freeform 937">
              <a:extLst>
                <a:ext uri="{FF2B5EF4-FFF2-40B4-BE49-F238E27FC236}">
                  <a16:creationId xmlns:a16="http://schemas.microsoft.com/office/drawing/2014/main" id="{6DA79568-6292-420B-9FB7-464EA8001918}"/>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8" name="Freeform 938">
              <a:extLst>
                <a:ext uri="{FF2B5EF4-FFF2-40B4-BE49-F238E27FC236}">
                  <a16:creationId xmlns:a16="http://schemas.microsoft.com/office/drawing/2014/main" id="{79B45DB7-1284-48A6-95F7-65044C51256A}"/>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9" name="Oval 939">
              <a:extLst>
                <a:ext uri="{FF2B5EF4-FFF2-40B4-BE49-F238E27FC236}">
                  <a16:creationId xmlns:a16="http://schemas.microsoft.com/office/drawing/2014/main" id="{3705597E-242B-4907-BA0D-B83F53293FA6}"/>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0" name="Oval 940">
              <a:extLst>
                <a:ext uri="{FF2B5EF4-FFF2-40B4-BE49-F238E27FC236}">
                  <a16:creationId xmlns:a16="http://schemas.microsoft.com/office/drawing/2014/main" id="{A367EE9D-FA29-4873-9F8C-A7A32533EDD0}"/>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1" name="Freeform 941">
              <a:extLst>
                <a:ext uri="{FF2B5EF4-FFF2-40B4-BE49-F238E27FC236}">
                  <a16:creationId xmlns:a16="http://schemas.microsoft.com/office/drawing/2014/main" id="{F74E09F0-42EC-4F85-AEDD-226FF0504630}"/>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2" name="Freeform 942">
              <a:extLst>
                <a:ext uri="{FF2B5EF4-FFF2-40B4-BE49-F238E27FC236}">
                  <a16:creationId xmlns:a16="http://schemas.microsoft.com/office/drawing/2014/main" id="{8EAE055F-911B-4F77-9293-4FDCD86599AD}"/>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3" name="Freeform 943">
              <a:extLst>
                <a:ext uri="{FF2B5EF4-FFF2-40B4-BE49-F238E27FC236}">
                  <a16:creationId xmlns:a16="http://schemas.microsoft.com/office/drawing/2014/main" id="{48155EBD-CD38-4380-9171-DA7C726C2B27}"/>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35" name="Group 153">
            <a:extLst>
              <a:ext uri="{FF2B5EF4-FFF2-40B4-BE49-F238E27FC236}">
                <a16:creationId xmlns:a16="http://schemas.microsoft.com/office/drawing/2014/main" id="{139875F6-4BAF-44AD-B05B-8ABE143C0EF8}"/>
              </a:ext>
            </a:extLst>
          </p:cNvPr>
          <p:cNvGrpSpPr>
            <a:grpSpLocks noChangeAspect="1"/>
          </p:cNvGrpSpPr>
          <p:nvPr/>
        </p:nvGrpSpPr>
        <p:grpSpPr bwMode="auto">
          <a:xfrm>
            <a:off x="4757087" y="3013291"/>
            <a:ext cx="509136" cy="508776"/>
            <a:chOff x="2501" y="790"/>
            <a:chExt cx="2832" cy="2830"/>
          </a:xfrm>
        </p:grpSpPr>
        <p:sp>
          <p:nvSpPr>
            <p:cNvPr id="836" name="Oval 154">
              <a:extLst>
                <a:ext uri="{FF2B5EF4-FFF2-40B4-BE49-F238E27FC236}">
                  <a16:creationId xmlns:a16="http://schemas.microsoft.com/office/drawing/2014/main" id="{2C5C891F-60E7-4131-B193-BF70561B30A6}"/>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7" name="Freeform 155">
              <a:extLst>
                <a:ext uri="{FF2B5EF4-FFF2-40B4-BE49-F238E27FC236}">
                  <a16:creationId xmlns:a16="http://schemas.microsoft.com/office/drawing/2014/main" id="{487BF0F5-D6FF-44D4-80FF-8CECF73D89B6}"/>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8" name="Freeform 156">
              <a:extLst>
                <a:ext uri="{FF2B5EF4-FFF2-40B4-BE49-F238E27FC236}">
                  <a16:creationId xmlns:a16="http://schemas.microsoft.com/office/drawing/2014/main" id="{8A70CC66-66FA-4A94-B59B-877A246B45C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9" name="Freeform 157">
              <a:extLst>
                <a:ext uri="{FF2B5EF4-FFF2-40B4-BE49-F238E27FC236}">
                  <a16:creationId xmlns:a16="http://schemas.microsoft.com/office/drawing/2014/main" id="{D13029FE-FAC4-4A7A-AE11-E95559A2DC60}"/>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0" name="Freeform 158">
              <a:extLst>
                <a:ext uri="{FF2B5EF4-FFF2-40B4-BE49-F238E27FC236}">
                  <a16:creationId xmlns:a16="http://schemas.microsoft.com/office/drawing/2014/main" id="{537CC49A-0B7A-4A86-9AE4-AE9E7F4B5EEA}"/>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1" name="Freeform 159">
              <a:extLst>
                <a:ext uri="{FF2B5EF4-FFF2-40B4-BE49-F238E27FC236}">
                  <a16:creationId xmlns:a16="http://schemas.microsoft.com/office/drawing/2014/main" id="{C9106BA3-6569-475D-A28C-16204AD15C23}"/>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2" name="Freeform 160">
              <a:extLst>
                <a:ext uri="{FF2B5EF4-FFF2-40B4-BE49-F238E27FC236}">
                  <a16:creationId xmlns:a16="http://schemas.microsoft.com/office/drawing/2014/main" id="{2B675966-7F94-48D0-8A0E-F79B634F8EE1}"/>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3" name="Freeform 161">
              <a:extLst>
                <a:ext uri="{FF2B5EF4-FFF2-40B4-BE49-F238E27FC236}">
                  <a16:creationId xmlns:a16="http://schemas.microsoft.com/office/drawing/2014/main" id="{E73C8528-C908-4AAA-9953-1FCAC5CF2CC1}"/>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4" name="Freeform 162">
              <a:extLst>
                <a:ext uri="{FF2B5EF4-FFF2-40B4-BE49-F238E27FC236}">
                  <a16:creationId xmlns:a16="http://schemas.microsoft.com/office/drawing/2014/main" id="{F1E5C853-3237-4634-BFE2-D4B2DDA59EE2}"/>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5" name="Freeform 163">
              <a:extLst>
                <a:ext uri="{FF2B5EF4-FFF2-40B4-BE49-F238E27FC236}">
                  <a16:creationId xmlns:a16="http://schemas.microsoft.com/office/drawing/2014/main" id="{E5DB57F5-A081-43B5-8E00-2C76025912D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6" name="Freeform 164">
              <a:extLst>
                <a:ext uri="{FF2B5EF4-FFF2-40B4-BE49-F238E27FC236}">
                  <a16:creationId xmlns:a16="http://schemas.microsoft.com/office/drawing/2014/main" id="{935A7F36-1158-4007-8FC4-41983AA7C1AF}"/>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7" name="Oval 165">
              <a:extLst>
                <a:ext uri="{FF2B5EF4-FFF2-40B4-BE49-F238E27FC236}">
                  <a16:creationId xmlns:a16="http://schemas.microsoft.com/office/drawing/2014/main" id="{0D461030-6769-447D-93F1-DE723358D8C9}"/>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8" name="Oval 166">
              <a:extLst>
                <a:ext uri="{FF2B5EF4-FFF2-40B4-BE49-F238E27FC236}">
                  <a16:creationId xmlns:a16="http://schemas.microsoft.com/office/drawing/2014/main" id="{B2568EE7-79B4-448D-B5FE-DEA2E16417C5}"/>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9" name="Freeform 167">
              <a:extLst>
                <a:ext uri="{FF2B5EF4-FFF2-40B4-BE49-F238E27FC236}">
                  <a16:creationId xmlns:a16="http://schemas.microsoft.com/office/drawing/2014/main" id="{7F741188-93EC-4D33-8EC5-152B5DA48ACF}"/>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0" name="Freeform 168">
              <a:extLst>
                <a:ext uri="{FF2B5EF4-FFF2-40B4-BE49-F238E27FC236}">
                  <a16:creationId xmlns:a16="http://schemas.microsoft.com/office/drawing/2014/main" id="{A30D59EB-11DB-47CE-9450-0C17A0636605}"/>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1" name="Freeform 169">
              <a:extLst>
                <a:ext uri="{FF2B5EF4-FFF2-40B4-BE49-F238E27FC236}">
                  <a16:creationId xmlns:a16="http://schemas.microsoft.com/office/drawing/2014/main" id="{EE250D93-5F17-46A5-847C-39D77A2EE231}"/>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2" name="Freeform 170">
              <a:extLst>
                <a:ext uri="{FF2B5EF4-FFF2-40B4-BE49-F238E27FC236}">
                  <a16:creationId xmlns:a16="http://schemas.microsoft.com/office/drawing/2014/main" id="{1A37BE15-4D17-421D-BE58-A1F8FC0BB206}"/>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3" name="Freeform 171">
              <a:extLst>
                <a:ext uri="{FF2B5EF4-FFF2-40B4-BE49-F238E27FC236}">
                  <a16:creationId xmlns:a16="http://schemas.microsoft.com/office/drawing/2014/main" id="{36414E0F-A347-4817-BFCA-195F16957E66}"/>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4" name="Freeform 172">
              <a:extLst>
                <a:ext uri="{FF2B5EF4-FFF2-40B4-BE49-F238E27FC236}">
                  <a16:creationId xmlns:a16="http://schemas.microsoft.com/office/drawing/2014/main" id="{537F4EF3-7732-4145-AE8F-5EC76936735D}"/>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5" name="Freeform 173">
              <a:extLst>
                <a:ext uri="{FF2B5EF4-FFF2-40B4-BE49-F238E27FC236}">
                  <a16:creationId xmlns:a16="http://schemas.microsoft.com/office/drawing/2014/main" id="{11DA2B0E-DA0C-4906-957E-4CBBBB8CA3F9}"/>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6" name="Freeform 174">
              <a:extLst>
                <a:ext uri="{FF2B5EF4-FFF2-40B4-BE49-F238E27FC236}">
                  <a16:creationId xmlns:a16="http://schemas.microsoft.com/office/drawing/2014/main" id="{D6D67F9A-208F-41CB-B701-4FC4F6E63344}"/>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57" name="Group 595">
            <a:extLst>
              <a:ext uri="{FF2B5EF4-FFF2-40B4-BE49-F238E27FC236}">
                <a16:creationId xmlns:a16="http://schemas.microsoft.com/office/drawing/2014/main" id="{4019ACB7-7E5F-4F8D-96FD-9E49A0A6B563}"/>
              </a:ext>
            </a:extLst>
          </p:cNvPr>
          <p:cNvGrpSpPr>
            <a:grpSpLocks noChangeAspect="1"/>
          </p:cNvGrpSpPr>
          <p:nvPr/>
        </p:nvGrpSpPr>
        <p:grpSpPr bwMode="auto">
          <a:xfrm>
            <a:off x="5920337" y="3012931"/>
            <a:ext cx="509496" cy="509136"/>
            <a:chOff x="2499" y="790"/>
            <a:chExt cx="2832" cy="2830"/>
          </a:xfrm>
        </p:grpSpPr>
        <p:sp>
          <p:nvSpPr>
            <p:cNvPr id="859" name="Oval 596">
              <a:extLst>
                <a:ext uri="{FF2B5EF4-FFF2-40B4-BE49-F238E27FC236}">
                  <a16:creationId xmlns:a16="http://schemas.microsoft.com/office/drawing/2014/main" id="{5BFD948B-B4C8-4C3A-959C-CB28BDD8DF26}"/>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0" name="Freeform 597">
              <a:extLst>
                <a:ext uri="{FF2B5EF4-FFF2-40B4-BE49-F238E27FC236}">
                  <a16:creationId xmlns:a16="http://schemas.microsoft.com/office/drawing/2014/main" id="{87DE21BB-9729-41A7-A805-A97CCA4BB0A9}"/>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1" name="Freeform 598">
              <a:extLst>
                <a:ext uri="{FF2B5EF4-FFF2-40B4-BE49-F238E27FC236}">
                  <a16:creationId xmlns:a16="http://schemas.microsoft.com/office/drawing/2014/main" id="{1D6629CF-DD68-401A-A2CC-FF9C318823EA}"/>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2" name="Freeform 599">
              <a:extLst>
                <a:ext uri="{FF2B5EF4-FFF2-40B4-BE49-F238E27FC236}">
                  <a16:creationId xmlns:a16="http://schemas.microsoft.com/office/drawing/2014/main" id="{DBAC4691-E188-47EE-892D-9B59D07BB806}"/>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3" name="Freeform 600">
              <a:extLst>
                <a:ext uri="{FF2B5EF4-FFF2-40B4-BE49-F238E27FC236}">
                  <a16:creationId xmlns:a16="http://schemas.microsoft.com/office/drawing/2014/main" id="{9B7CFA87-7C3D-4BB3-8827-A0ADEB0EF9CD}"/>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4" name="Freeform 601">
              <a:extLst>
                <a:ext uri="{FF2B5EF4-FFF2-40B4-BE49-F238E27FC236}">
                  <a16:creationId xmlns:a16="http://schemas.microsoft.com/office/drawing/2014/main" id="{82CC71DA-1460-4EB3-810D-27DE00C158F9}"/>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5" name="Freeform 602">
              <a:extLst>
                <a:ext uri="{FF2B5EF4-FFF2-40B4-BE49-F238E27FC236}">
                  <a16:creationId xmlns:a16="http://schemas.microsoft.com/office/drawing/2014/main" id="{39E9C639-665C-4113-8827-F3A20A41B555}"/>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6" name="Freeform 603">
              <a:extLst>
                <a:ext uri="{FF2B5EF4-FFF2-40B4-BE49-F238E27FC236}">
                  <a16:creationId xmlns:a16="http://schemas.microsoft.com/office/drawing/2014/main" id="{E0F9F0D2-6B30-457D-9616-DAF17F633C41}"/>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7" name="Freeform 604">
              <a:extLst>
                <a:ext uri="{FF2B5EF4-FFF2-40B4-BE49-F238E27FC236}">
                  <a16:creationId xmlns:a16="http://schemas.microsoft.com/office/drawing/2014/main" id="{7FE6A928-A700-4189-8248-B6B7C5108C89}"/>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8" name="Freeform 605">
              <a:extLst>
                <a:ext uri="{FF2B5EF4-FFF2-40B4-BE49-F238E27FC236}">
                  <a16:creationId xmlns:a16="http://schemas.microsoft.com/office/drawing/2014/main" id="{1AD948BC-C22C-4504-8849-7F9A2DE2DDFE}"/>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9" name="Freeform 606">
              <a:extLst>
                <a:ext uri="{FF2B5EF4-FFF2-40B4-BE49-F238E27FC236}">
                  <a16:creationId xmlns:a16="http://schemas.microsoft.com/office/drawing/2014/main" id="{42C19FC8-5BBC-413F-A7E2-9821004FC2E1}"/>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0" name="Freeform 607">
              <a:extLst>
                <a:ext uri="{FF2B5EF4-FFF2-40B4-BE49-F238E27FC236}">
                  <a16:creationId xmlns:a16="http://schemas.microsoft.com/office/drawing/2014/main" id="{DD53A722-9CA6-4485-B709-31D44A5D28A5}"/>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1" name="Oval 608">
              <a:extLst>
                <a:ext uri="{FF2B5EF4-FFF2-40B4-BE49-F238E27FC236}">
                  <a16:creationId xmlns:a16="http://schemas.microsoft.com/office/drawing/2014/main" id="{71FE822A-302F-4ADD-940C-22E2D47BC406}"/>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2" name="Freeform 609">
              <a:extLst>
                <a:ext uri="{FF2B5EF4-FFF2-40B4-BE49-F238E27FC236}">
                  <a16:creationId xmlns:a16="http://schemas.microsoft.com/office/drawing/2014/main" id="{FA0B5606-5735-482B-8A5E-C70A0691A62C}"/>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3" name="Freeform 610">
              <a:extLst>
                <a:ext uri="{FF2B5EF4-FFF2-40B4-BE49-F238E27FC236}">
                  <a16:creationId xmlns:a16="http://schemas.microsoft.com/office/drawing/2014/main" id="{4461F7DC-CB62-4BA6-B731-D1665CF92348}"/>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4" name="Freeform 611">
              <a:extLst>
                <a:ext uri="{FF2B5EF4-FFF2-40B4-BE49-F238E27FC236}">
                  <a16:creationId xmlns:a16="http://schemas.microsoft.com/office/drawing/2014/main" id="{E28234A3-8708-454F-89B0-DF70D4DA240F}"/>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5" name="Freeform 612">
              <a:extLst>
                <a:ext uri="{FF2B5EF4-FFF2-40B4-BE49-F238E27FC236}">
                  <a16:creationId xmlns:a16="http://schemas.microsoft.com/office/drawing/2014/main" id="{37187594-9069-48D5-9B8E-DA6724DB2CD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6" name="Freeform 613">
              <a:extLst>
                <a:ext uri="{FF2B5EF4-FFF2-40B4-BE49-F238E27FC236}">
                  <a16:creationId xmlns:a16="http://schemas.microsoft.com/office/drawing/2014/main" id="{F3FF106C-B632-4E27-A317-28B9EBAD529B}"/>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7" name="Freeform 614">
              <a:extLst>
                <a:ext uri="{FF2B5EF4-FFF2-40B4-BE49-F238E27FC236}">
                  <a16:creationId xmlns:a16="http://schemas.microsoft.com/office/drawing/2014/main" id="{B415A699-6B58-4AC2-9A02-7D656D356E3F}"/>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78" name="Group 925">
            <a:extLst>
              <a:ext uri="{FF2B5EF4-FFF2-40B4-BE49-F238E27FC236}">
                <a16:creationId xmlns:a16="http://schemas.microsoft.com/office/drawing/2014/main" id="{3C70225F-605A-41D9-9229-61DE510DA3A1}"/>
              </a:ext>
            </a:extLst>
          </p:cNvPr>
          <p:cNvGrpSpPr>
            <a:grpSpLocks noChangeAspect="1"/>
          </p:cNvGrpSpPr>
          <p:nvPr/>
        </p:nvGrpSpPr>
        <p:grpSpPr bwMode="auto">
          <a:xfrm>
            <a:off x="7082624" y="3012931"/>
            <a:ext cx="508352" cy="509136"/>
            <a:chOff x="2619" y="903"/>
            <a:chExt cx="2592" cy="2596"/>
          </a:xfrm>
        </p:grpSpPr>
        <p:sp>
          <p:nvSpPr>
            <p:cNvPr id="879" name="Oval 926">
              <a:extLst>
                <a:ext uri="{FF2B5EF4-FFF2-40B4-BE49-F238E27FC236}">
                  <a16:creationId xmlns:a16="http://schemas.microsoft.com/office/drawing/2014/main" id="{8D7B85E6-9DBE-4BB0-A0D2-E48A15B33F24}"/>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1" name="Freeform 927">
              <a:extLst>
                <a:ext uri="{FF2B5EF4-FFF2-40B4-BE49-F238E27FC236}">
                  <a16:creationId xmlns:a16="http://schemas.microsoft.com/office/drawing/2014/main" id="{C064B1E8-2D1F-413B-9B1A-9F612EFC7A0C}"/>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2" name="Freeform 928">
              <a:extLst>
                <a:ext uri="{FF2B5EF4-FFF2-40B4-BE49-F238E27FC236}">
                  <a16:creationId xmlns:a16="http://schemas.microsoft.com/office/drawing/2014/main" id="{377EE528-9AFC-4575-84A9-627B40F23037}"/>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3" name="Freeform 929">
              <a:extLst>
                <a:ext uri="{FF2B5EF4-FFF2-40B4-BE49-F238E27FC236}">
                  <a16:creationId xmlns:a16="http://schemas.microsoft.com/office/drawing/2014/main" id="{F537C189-6265-4B6A-92E8-A02ED5BE83AC}"/>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4" name="Freeform 930">
              <a:extLst>
                <a:ext uri="{FF2B5EF4-FFF2-40B4-BE49-F238E27FC236}">
                  <a16:creationId xmlns:a16="http://schemas.microsoft.com/office/drawing/2014/main" id="{B66821EA-842C-44BB-9FBB-D88D193CF9A7}"/>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5" name="Freeform 931">
              <a:extLst>
                <a:ext uri="{FF2B5EF4-FFF2-40B4-BE49-F238E27FC236}">
                  <a16:creationId xmlns:a16="http://schemas.microsoft.com/office/drawing/2014/main" id="{18D37329-5A48-4C3F-B94F-8E1782EE53E2}"/>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6" name="Freeform 932">
              <a:extLst>
                <a:ext uri="{FF2B5EF4-FFF2-40B4-BE49-F238E27FC236}">
                  <a16:creationId xmlns:a16="http://schemas.microsoft.com/office/drawing/2014/main" id="{ECB8019A-832E-48F4-9B07-D44DB60D06D6}"/>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7" name="Freeform 933">
              <a:extLst>
                <a:ext uri="{FF2B5EF4-FFF2-40B4-BE49-F238E27FC236}">
                  <a16:creationId xmlns:a16="http://schemas.microsoft.com/office/drawing/2014/main" id="{E44EE68C-9AA0-4B2F-A5D5-CF24BD18DE3A}"/>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8" name="Freeform 934">
              <a:extLst>
                <a:ext uri="{FF2B5EF4-FFF2-40B4-BE49-F238E27FC236}">
                  <a16:creationId xmlns:a16="http://schemas.microsoft.com/office/drawing/2014/main" id="{A2994A54-95C2-4211-B736-A2F0FD3A792E}"/>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9" name="Freeform 935">
              <a:extLst>
                <a:ext uri="{FF2B5EF4-FFF2-40B4-BE49-F238E27FC236}">
                  <a16:creationId xmlns:a16="http://schemas.microsoft.com/office/drawing/2014/main" id="{099E57D7-EEDD-46CA-9CE1-94288A23C584}"/>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0" name="Freeform 936">
              <a:extLst>
                <a:ext uri="{FF2B5EF4-FFF2-40B4-BE49-F238E27FC236}">
                  <a16:creationId xmlns:a16="http://schemas.microsoft.com/office/drawing/2014/main" id="{5A0E26A5-BF0F-45A6-8698-DA20D342B946}"/>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1" name="Freeform 937">
              <a:extLst>
                <a:ext uri="{FF2B5EF4-FFF2-40B4-BE49-F238E27FC236}">
                  <a16:creationId xmlns:a16="http://schemas.microsoft.com/office/drawing/2014/main" id="{6F5FB282-5FF3-4CB2-9A93-A620FA2432C2}"/>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2" name="Freeform 938">
              <a:extLst>
                <a:ext uri="{FF2B5EF4-FFF2-40B4-BE49-F238E27FC236}">
                  <a16:creationId xmlns:a16="http://schemas.microsoft.com/office/drawing/2014/main" id="{3C8865B0-B73F-4294-B432-D47F5E2DBB91}"/>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3" name="Oval 939">
              <a:extLst>
                <a:ext uri="{FF2B5EF4-FFF2-40B4-BE49-F238E27FC236}">
                  <a16:creationId xmlns:a16="http://schemas.microsoft.com/office/drawing/2014/main" id="{FD7CC0D1-72A5-4483-9F78-010D0444D10C}"/>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4" name="Oval 940">
              <a:extLst>
                <a:ext uri="{FF2B5EF4-FFF2-40B4-BE49-F238E27FC236}">
                  <a16:creationId xmlns:a16="http://schemas.microsoft.com/office/drawing/2014/main" id="{22042727-8D5E-49CF-87CA-BCC34D303F8E}"/>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5" name="Freeform 941">
              <a:extLst>
                <a:ext uri="{FF2B5EF4-FFF2-40B4-BE49-F238E27FC236}">
                  <a16:creationId xmlns:a16="http://schemas.microsoft.com/office/drawing/2014/main" id="{F7C097EE-309F-4228-88A3-C9DE97116382}"/>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6" name="Freeform 942">
              <a:extLst>
                <a:ext uri="{FF2B5EF4-FFF2-40B4-BE49-F238E27FC236}">
                  <a16:creationId xmlns:a16="http://schemas.microsoft.com/office/drawing/2014/main" id="{EAD8101B-F0E9-4456-BC13-BB819BBD23CE}"/>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7" name="Freeform 943">
              <a:extLst>
                <a:ext uri="{FF2B5EF4-FFF2-40B4-BE49-F238E27FC236}">
                  <a16:creationId xmlns:a16="http://schemas.microsoft.com/office/drawing/2014/main" id="{FAF344E5-D2D7-40F1-8FE0-EBDD6BAEDC95}"/>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17" name="TextBox 816">
            <a:extLst>
              <a:ext uri="{FF2B5EF4-FFF2-40B4-BE49-F238E27FC236}">
                <a16:creationId xmlns:a16="http://schemas.microsoft.com/office/drawing/2014/main" id="{232A438B-7B52-4D5E-B12C-B54451461297}"/>
              </a:ext>
            </a:extLst>
          </p:cNvPr>
          <p:cNvSpPr txBox="1"/>
          <p:nvPr/>
        </p:nvSpPr>
        <p:spPr>
          <a:xfrm>
            <a:off x="2718213" y="2928315"/>
            <a:ext cx="301366" cy="492443"/>
          </a:xfrm>
          <a:prstGeom prst="rect">
            <a:avLst/>
          </a:prstGeom>
          <a:noFill/>
        </p:spPr>
        <p:txBody>
          <a:bodyPr wrap="none" lIns="0" tIns="0" rIns="0" bIns="0" rtlCol="0" anchor="ctr">
            <a:spAutoFit/>
          </a:bodyPr>
          <a:lstStyle/>
          <a:p>
            <a:pPr algn="ctr"/>
            <a:r>
              <a:rPr lang="en-US" sz="3200" dirty="0">
                <a:gradFill>
                  <a:gsLst>
                    <a:gs pos="2917">
                      <a:schemeClr val="tx1"/>
                    </a:gs>
                    <a:gs pos="30000">
                      <a:schemeClr val="tx1"/>
                    </a:gs>
                  </a:gsLst>
                  <a:lin ang="5400000" scaled="0"/>
                </a:gradFill>
              </a:rPr>
              <a:t>…</a:t>
            </a:r>
          </a:p>
        </p:txBody>
      </p:sp>
      <p:sp>
        <p:nvSpPr>
          <p:cNvPr id="818" name="TextBox 817">
            <a:extLst>
              <a:ext uri="{FF2B5EF4-FFF2-40B4-BE49-F238E27FC236}">
                <a16:creationId xmlns:a16="http://schemas.microsoft.com/office/drawing/2014/main" id="{2E78F58A-F28B-402F-B3AB-4BBA02419494}"/>
              </a:ext>
            </a:extLst>
          </p:cNvPr>
          <p:cNvSpPr txBox="1"/>
          <p:nvPr/>
        </p:nvSpPr>
        <p:spPr>
          <a:xfrm>
            <a:off x="6600441" y="2928315"/>
            <a:ext cx="301366" cy="492443"/>
          </a:xfrm>
          <a:prstGeom prst="rect">
            <a:avLst/>
          </a:prstGeom>
          <a:noFill/>
        </p:spPr>
        <p:txBody>
          <a:bodyPr wrap="none" lIns="0" tIns="0" rIns="0" bIns="0" rtlCol="0" anchor="ctr">
            <a:spAutoFit/>
          </a:bodyPr>
          <a:lstStyle/>
          <a:p>
            <a:pPr algn="ctr"/>
            <a:r>
              <a:rPr lang="en-US" sz="3200" dirty="0">
                <a:gradFill>
                  <a:gsLst>
                    <a:gs pos="2917">
                      <a:schemeClr val="tx1"/>
                    </a:gs>
                    <a:gs pos="30000">
                      <a:schemeClr val="tx1"/>
                    </a:gs>
                  </a:gsLst>
                  <a:lin ang="5400000" scaled="0"/>
                </a:gradFill>
              </a:rPr>
              <a:t>…</a:t>
            </a:r>
          </a:p>
        </p:txBody>
      </p:sp>
      <p:sp>
        <p:nvSpPr>
          <p:cNvPr id="926" name="Right Brace 925">
            <a:extLst>
              <a:ext uri="{FF2B5EF4-FFF2-40B4-BE49-F238E27FC236}">
                <a16:creationId xmlns:a16="http://schemas.microsoft.com/office/drawing/2014/main" id="{667DB69A-6B5E-4F4E-A7E8-2462D9B9507E}"/>
              </a:ext>
            </a:extLst>
          </p:cNvPr>
          <p:cNvSpPr/>
          <p:nvPr/>
        </p:nvSpPr>
        <p:spPr>
          <a:xfrm rot="5400000">
            <a:off x="1023289" y="3325682"/>
            <a:ext cx="227233" cy="721040"/>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48" name="Right Brace 947">
            <a:extLst>
              <a:ext uri="{FF2B5EF4-FFF2-40B4-BE49-F238E27FC236}">
                <a16:creationId xmlns:a16="http://schemas.microsoft.com/office/drawing/2014/main" id="{CCA6C377-547D-4236-BA84-66D60C481F01}"/>
              </a:ext>
            </a:extLst>
          </p:cNvPr>
          <p:cNvSpPr/>
          <p:nvPr/>
        </p:nvSpPr>
        <p:spPr>
          <a:xfrm rot="5400000">
            <a:off x="2185245" y="3325682"/>
            <a:ext cx="227233" cy="721040"/>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49" name="Right Brace 948">
            <a:extLst>
              <a:ext uri="{FF2B5EF4-FFF2-40B4-BE49-F238E27FC236}">
                <a16:creationId xmlns:a16="http://schemas.microsoft.com/office/drawing/2014/main" id="{012DE69D-4519-4E67-9E49-2AA7AA411032}"/>
              </a:ext>
            </a:extLst>
          </p:cNvPr>
          <p:cNvSpPr/>
          <p:nvPr/>
        </p:nvSpPr>
        <p:spPr>
          <a:xfrm rot="5400000">
            <a:off x="3347201" y="3325682"/>
            <a:ext cx="227233" cy="721040"/>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50" name="Right Brace 949">
            <a:extLst>
              <a:ext uri="{FF2B5EF4-FFF2-40B4-BE49-F238E27FC236}">
                <a16:creationId xmlns:a16="http://schemas.microsoft.com/office/drawing/2014/main" id="{6F17DF0F-584A-48FE-B84A-F607C9FF0411}"/>
              </a:ext>
            </a:extLst>
          </p:cNvPr>
          <p:cNvSpPr/>
          <p:nvPr/>
        </p:nvSpPr>
        <p:spPr>
          <a:xfrm rot="5400000">
            <a:off x="6060414" y="2269257"/>
            <a:ext cx="227233" cy="28338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51" name="Rectangle 950">
            <a:extLst>
              <a:ext uri="{FF2B5EF4-FFF2-40B4-BE49-F238E27FC236}">
                <a16:creationId xmlns:a16="http://schemas.microsoft.com/office/drawing/2014/main" id="{4883D01F-849E-4A1B-94FF-B69546E4F104}"/>
              </a:ext>
            </a:extLst>
          </p:cNvPr>
          <p:cNvSpPr/>
          <p:nvPr/>
        </p:nvSpPr>
        <p:spPr bwMode="auto">
          <a:xfrm>
            <a:off x="715441" y="5750186"/>
            <a:ext cx="162528" cy="109264"/>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7432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900" dirty="0">
                <a:solidFill>
                  <a:schemeClr val="tx1"/>
                </a:solidFill>
                <a:ea typeface="Segoe UI" pitchFamily="34" charset="0"/>
                <a:cs typeface="Segoe UI" pitchFamily="34" charset="0"/>
              </a:rPr>
              <a:t>Utilization</a:t>
            </a:r>
          </a:p>
        </p:txBody>
      </p:sp>
      <p:grpSp>
        <p:nvGrpSpPr>
          <p:cNvPr id="5" name="Group 4">
            <a:extLst>
              <a:ext uri="{FF2B5EF4-FFF2-40B4-BE49-F238E27FC236}">
                <a16:creationId xmlns:a16="http://schemas.microsoft.com/office/drawing/2014/main" id="{C10F77AA-FA1B-46F8-80AC-63B9B6EBDD80}"/>
              </a:ext>
            </a:extLst>
          </p:cNvPr>
          <p:cNvGrpSpPr/>
          <p:nvPr/>
        </p:nvGrpSpPr>
        <p:grpSpPr>
          <a:xfrm>
            <a:off x="5752409" y="4156324"/>
            <a:ext cx="904001" cy="1130186"/>
            <a:chOff x="5997806" y="4552950"/>
            <a:chExt cx="330020" cy="815480"/>
          </a:xfrm>
        </p:grpSpPr>
        <p:pic>
          <p:nvPicPr>
            <p:cNvPr id="664" name="Picture 663">
              <a:extLst>
                <a:ext uri="{FF2B5EF4-FFF2-40B4-BE49-F238E27FC236}">
                  <a16:creationId xmlns:a16="http://schemas.microsoft.com/office/drawing/2014/main" id="{AB9E4B97-8F18-4416-A411-A0CA3106F080}"/>
                </a:ext>
              </a:extLst>
            </p:cNvPr>
            <p:cNvPicPr>
              <a:picLocks noChangeAspect="1"/>
            </p:cNvPicPr>
            <p:nvPr/>
          </p:nvPicPr>
          <p:blipFill>
            <a:blip r:embed="rId17"/>
            <a:stretch>
              <a:fillRect/>
            </a:stretch>
          </p:blipFill>
          <p:spPr>
            <a:xfrm>
              <a:off x="5997806" y="4552950"/>
              <a:ext cx="330020" cy="815480"/>
            </a:xfrm>
            <a:prstGeom prst="rect">
              <a:avLst/>
            </a:prstGeom>
          </p:spPr>
        </p:pic>
        <p:sp>
          <p:nvSpPr>
            <p:cNvPr id="1262" name="Rectangle 1261">
              <a:extLst>
                <a:ext uri="{FF2B5EF4-FFF2-40B4-BE49-F238E27FC236}">
                  <a16:creationId xmlns:a16="http://schemas.microsoft.com/office/drawing/2014/main" id="{1ECC98D3-8BFE-4B34-B378-BFB2A8A331AA}"/>
                </a:ext>
              </a:extLst>
            </p:cNvPr>
            <p:cNvSpPr/>
            <p:nvPr/>
          </p:nvSpPr>
          <p:spPr bwMode="auto">
            <a:xfrm>
              <a:off x="6101306" y="529398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63" name="Rectangle 1262">
              <a:extLst>
                <a:ext uri="{FF2B5EF4-FFF2-40B4-BE49-F238E27FC236}">
                  <a16:creationId xmlns:a16="http://schemas.microsoft.com/office/drawing/2014/main" id="{3B1FB699-0EFA-4B80-9A52-83B3F55A789F}"/>
                </a:ext>
              </a:extLst>
            </p:cNvPr>
            <p:cNvSpPr/>
            <p:nvPr/>
          </p:nvSpPr>
          <p:spPr bwMode="auto">
            <a:xfrm>
              <a:off x="6101306" y="5204670"/>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64" name="Rectangle 1263">
              <a:extLst>
                <a:ext uri="{FF2B5EF4-FFF2-40B4-BE49-F238E27FC236}">
                  <a16:creationId xmlns:a16="http://schemas.microsoft.com/office/drawing/2014/main" id="{52482298-48C8-43FC-B805-A1F4EC089155}"/>
                </a:ext>
              </a:extLst>
            </p:cNvPr>
            <p:cNvSpPr/>
            <p:nvPr/>
          </p:nvSpPr>
          <p:spPr bwMode="auto">
            <a:xfrm>
              <a:off x="6101306" y="5115353"/>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65" name="Rectangle 1264">
              <a:extLst>
                <a:ext uri="{FF2B5EF4-FFF2-40B4-BE49-F238E27FC236}">
                  <a16:creationId xmlns:a16="http://schemas.microsoft.com/office/drawing/2014/main" id="{099AE632-9A67-4322-82DC-D13D9C318B7F}"/>
                </a:ext>
              </a:extLst>
            </p:cNvPr>
            <p:cNvSpPr/>
            <p:nvPr/>
          </p:nvSpPr>
          <p:spPr bwMode="auto">
            <a:xfrm>
              <a:off x="6101306" y="5026036"/>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66" name="Rectangle 1265">
              <a:extLst>
                <a:ext uri="{FF2B5EF4-FFF2-40B4-BE49-F238E27FC236}">
                  <a16:creationId xmlns:a16="http://schemas.microsoft.com/office/drawing/2014/main" id="{7875F7DB-266F-4572-A082-181F9875D825}"/>
                </a:ext>
              </a:extLst>
            </p:cNvPr>
            <p:cNvSpPr/>
            <p:nvPr/>
          </p:nvSpPr>
          <p:spPr bwMode="auto">
            <a:xfrm>
              <a:off x="6101306" y="493671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67" name="Rectangle 1266">
              <a:extLst>
                <a:ext uri="{FF2B5EF4-FFF2-40B4-BE49-F238E27FC236}">
                  <a16:creationId xmlns:a16="http://schemas.microsoft.com/office/drawing/2014/main" id="{DFD6BD3E-3F2D-46B4-AEFE-AD3C397DFDFC}"/>
                </a:ext>
              </a:extLst>
            </p:cNvPr>
            <p:cNvSpPr/>
            <p:nvPr/>
          </p:nvSpPr>
          <p:spPr bwMode="auto">
            <a:xfrm>
              <a:off x="6101306" y="4847402"/>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68" name="Rectangle 1267">
              <a:extLst>
                <a:ext uri="{FF2B5EF4-FFF2-40B4-BE49-F238E27FC236}">
                  <a16:creationId xmlns:a16="http://schemas.microsoft.com/office/drawing/2014/main" id="{4AC9DDA3-223F-4587-A329-B5F5C213898C}"/>
                </a:ext>
              </a:extLst>
            </p:cNvPr>
            <p:cNvSpPr/>
            <p:nvPr/>
          </p:nvSpPr>
          <p:spPr bwMode="auto">
            <a:xfrm>
              <a:off x="6101306" y="4758085"/>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69" name="Rectangle 1268">
              <a:extLst>
                <a:ext uri="{FF2B5EF4-FFF2-40B4-BE49-F238E27FC236}">
                  <a16:creationId xmlns:a16="http://schemas.microsoft.com/office/drawing/2014/main" id="{40ECB529-18E5-4FC8-B0FD-C98E8DA72C2D}"/>
                </a:ext>
              </a:extLst>
            </p:cNvPr>
            <p:cNvSpPr/>
            <p:nvPr/>
          </p:nvSpPr>
          <p:spPr bwMode="auto">
            <a:xfrm>
              <a:off x="6101306" y="4668768"/>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763FAA9F-D425-4E46-A9A0-E17F0083E875}"/>
              </a:ext>
            </a:extLst>
          </p:cNvPr>
          <p:cNvGrpSpPr/>
          <p:nvPr/>
        </p:nvGrpSpPr>
        <p:grpSpPr>
          <a:xfrm>
            <a:off x="977168" y="4266351"/>
            <a:ext cx="2655165" cy="815480"/>
            <a:chOff x="977168" y="4552950"/>
            <a:chExt cx="2655165" cy="815480"/>
          </a:xfrm>
        </p:grpSpPr>
        <p:pic>
          <p:nvPicPr>
            <p:cNvPr id="936" name="Picture 935">
              <a:extLst>
                <a:ext uri="{FF2B5EF4-FFF2-40B4-BE49-F238E27FC236}">
                  <a16:creationId xmlns:a16="http://schemas.microsoft.com/office/drawing/2014/main" id="{C1AA4037-E0C2-4912-B9D3-D70F1AE320AC}"/>
                </a:ext>
              </a:extLst>
            </p:cNvPr>
            <p:cNvPicPr>
              <a:picLocks noChangeAspect="1"/>
            </p:cNvPicPr>
            <p:nvPr/>
          </p:nvPicPr>
          <p:blipFill>
            <a:blip r:embed="rId17"/>
            <a:stretch>
              <a:fillRect/>
            </a:stretch>
          </p:blipFill>
          <p:spPr>
            <a:xfrm>
              <a:off x="977168" y="4552950"/>
              <a:ext cx="330020" cy="815480"/>
            </a:xfrm>
            <a:prstGeom prst="rect">
              <a:avLst/>
            </a:prstGeom>
          </p:spPr>
        </p:pic>
        <p:grpSp>
          <p:nvGrpSpPr>
            <p:cNvPr id="937" name="Group 936">
              <a:extLst>
                <a:ext uri="{FF2B5EF4-FFF2-40B4-BE49-F238E27FC236}">
                  <a16:creationId xmlns:a16="http://schemas.microsoft.com/office/drawing/2014/main" id="{4FF0EA46-B5B5-4926-95B3-2A034DD530E2}"/>
                </a:ext>
              </a:extLst>
            </p:cNvPr>
            <p:cNvGrpSpPr/>
            <p:nvPr/>
          </p:nvGrpSpPr>
          <p:grpSpPr>
            <a:xfrm>
              <a:off x="1075762" y="5079655"/>
              <a:ext cx="121634" cy="272841"/>
              <a:chOff x="8615966" y="345865"/>
              <a:chExt cx="121634" cy="272841"/>
            </a:xfrm>
          </p:grpSpPr>
          <p:sp>
            <p:nvSpPr>
              <p:cNvPr id="938" name="Rectangle 937">
                <a:extLst>
                  <a:ext uri="{FF2B5EF4-FFF2-40B4-BE49-F238E27FC236}">
                    <a16:creationId xmlns:a16="http://schemas.microsoft.com/office/drawing/2014/main" id="{8790D3CF-A6FA-4297-A743-0DA7936811C2}"/>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39" name="Rectangle 938">
                <a:extLst>
                  <a:ext uri="{FF2B5EF4-FFF2-40B4-BE49-F238E27FC236}">
                    <a16:creationId xmlns:a16="http://schemas.microsoft.com/office/drawing/2014/main" id="{D4AE9460-55A5-4335-999D-68377196761D}"/>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40" name="Rectangle 939">
                <a:extLst>
                  <a:ext uri="{FF2B5EF4-FFF2-40B4-BE49-F238E27FC236}">
                    <a16:creationId xmlns:a16="http://schemas.microsoft.com/office/drawing/2014/main" id="{5D0F5FE5-936A-4709-BDA2-2F6DC8B97276}"/>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942" name="Picture 941">
              <a:extLst>
                <a:ext uri="{FF2B5EF4-FFF2-40B4-BE49-F238E27FC236}">
                  <a16:creationId xmlns:a16="http://schemas.microsoft.com/office/drawing/2014/main" id="{CC1C3636-5624-40CC-947F-F728AC824CE4}"/>
                </a:ext>
              </a:extLst>
            </p:cNvPr>
            <p:cNvPicPr>
              <a:picLocks noChangeAspect="1"/>
            </p:cNvPicPr>
            <p:nvPr/>
          </p:nvPicPr>
          <p:blipFill>
            <a:blip r:embed="rId17"/>
            <a:stretch>
              <a:fillRect/>
            </a:stretch>
          </p:blipFill>
          <p:spPr>
            <a:xfrm>
              <a:off x="2140598" y="4552950"/>
              <a:ext cx="330020" cy="815480"/>
            </a:xfrm>
            <a:prstGeom prst="rect">
              <a:avLst/>
            </a:prstGeom>
          </p:spPr>
        </p:pic>
        <p:grpSp>
          <p:nvGrpSpPr>
            <p:cNvPr id="943" name="Group 942">
              <a:extLst>
                <a:ext uri="{FF2B5EF4-FFF2-40B4-BE49-F238E27FC236}">
                  <a16:creationId xmlns:a16="http://schemas.microsoft.com/office/drawing/2014/main" id="{82A74D1D-BA99-45DF-8409-6F3A5DFC0DA0}"/>
                </a:ext>
              </a:extLst>
            </p:cNvPr>
            <p:cNvGrpSpPr/>
            <p:nvPr/>
          </p:nvGrpSpPr>
          <p:grpSpPr>
            <a:xfrm>
              <a:off x="2237718" y="5079655"/>
              <a:ext cx="121634" cy="272841"/>
              <a:chOff x="8615966" y="345865"/>
              <a:chExt cx="121634" cy="272841"/>
            </a:xfrm>
          </p:grpSpPr>
          <p:sp>
            <p:nvSpPr>
              <p:cNvPr id="944" name="Rectangle 943">
                <a:extLst>
                  <a:ext uri="{FF2B5EF4-FFF2-40B4-BE49-F238E27FC236}">
                    <a16:creationId xmlns:a16="http://schemas.microsoft.com/office/drawing/2014/main" id="{2A0F58D1-708E-418B-9F2D-1364375F1A9E}"/>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45" name="Rectangle 944">
                <a:extLst>
                  <a:ext uri="{FF2B5EF4-FFF2-40B4-BE49-F238E27FC236}">
                    <a16:creationId xmlns:a16="http://schemas.microsoft.com/office/drawing/2014/main" id="{F06BC569-1B67-4643-AF7F-484C4697493A}"/>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46" name="Rectangle 945">
                <a:extLst>
                  <a:ext uri="{FF2B5EF4-FFF2-40B4-BE49-F238E27FC236}">
                    <a16:creationId xmlns:a16="http://schemas.microsoft.com/office/drawing/2014/main" id="{7A29C0B6-FD6A-4636-A9FF-B8BA2D54F20D}"/>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947" name="Picture 946">
              <a:extLst>
                <a:ext uri="{FF2B5EF4-FFF2-40B4-BE49-F238E27FC236}">
                  <a16:creationId xmlns:a16="http://schemas.microsoft.com/office/drawing/2014/main" id="{4DC2AC37-61F2-42BE-BF0E-230FC957F11B}"/>
                </a:ext>
              </a:extLst>
            </p:cNvPr>
            <p:cNvPicPr>
              <a:picLocks noChangeAspect="1"/>
            </p:cNvPicPr>
            <p:nvPr/>
          </p:nvPicPr>
          <p:blipFill>
            <a:blip r:embed="rId17"/>
            <a:stretch>
              <a:fillRect/>
            </a:stretch>
          </p:blipFill>
          <p:spPr>
            <a:xfrm>
              <a:off x="3302313" y="4552950"/>
              <a:ext cx="330020" cy="815480"/>
            </a:xfrm>
            <a:prstGeom prst="rect">
              <a:avLst/>
            </a:prstGeom>
          </p:spPr>
        </p:pic>
        <p:grpSp>
          <p:nvGrpSpPr>
            <p:cNvPr id="666" name="Group 665">
              <a:extLst>
                <a:ext uri="{FF2B5EF4-FFF2-40B4-BE49-F238E27FC236}">
                  <a16:creationId xmlns:a16="http://schemas.microsoft.com/office/drawing/2014/main" id="{D2D849E2-1C02-4B94-A77F-34CE07ADFFAE}"/>
                </a:ext>
              </a:extLst>
            </p:cNvPr>
            <p:cNvGrpSpPr/>
            <p:nvPr/>
          </p:nvGrpSpPr>
          <p:grpSpPr>
            <a:xfrm>
              <a:off x="3404704" y="5079655"/>
              <a:ext cx="121634" cy="272841"/>
              <a:chOff x="8615966" y="345865"/>
              <a:chExt cx="121634" cy="272841"/>
            </a:xfrm>
          </p:grpSpPr>
          <p:sp>
            <p:nvSpPr>
              <p:cNvPr id="667" name="Rectangle 666">
                <a:extLst>
                  <a:ext uri="{FF2B5EF4-FFF2-40B4-BE49-F238E27FC236}">
                    <a16:creationId xmlns:a16="http://schemas.microsoft.com/office/drawing/2014/main" id="{CB8679B3-D8DB-414F-A12A-B3625A2C0BE4}"/>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68" name="Rectangle 667">
                <a:extLst>
                  <a:ext uri="{FF2B5EF4-FFF2-40B4-BE49-F238E27FC236}">
                    <a16:creationId xmlns:a16="http://schemas.microsoft.com/office/drawing/2014/main" id="{A59465CB-9474-4BB9-8B31-66C7AEEE4049}"/>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69" name="Rectangle 668">
                <a:extLst>
                  <a:ext uri="{FF2B5EF4-FFF2-40B4-BE49-F238E27FC236}">
                    <a16:creationId xmlns:a16="http://schemas.microsoft.com/office/drawing/2014/main" id="{77A5CFDD-D63A-4181-95BF-CA19CB0D54A5}"/>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679" name="Rectangle 678">
            <a:extLst>
              <a:ext uri="{FF2B5EF4-FFF2-40B4-BE49-F238E27FC236}">
                <a16:creationId xmlns:a16="http://schemas.microsoft.com/office/drawing/2014/main" id="{42DA561F-E217-4B73-8F15-3B04B480B17C}"/>
              </a:ext>
            </a:extLst>
          </p:cNvPr>
          <p:cNvSpPr/>
          <p:nvPr/>
        </p:nvSpPr>
        <p:spPr>
          <a:xfrm>
            <a:off x="8399529" y="5434610"/>
            <a:ext cx="1617751" cy="461665"/>
          </a:xfrm>
          <a:prstGeom prst="rect">
            <a:avLst/>
          </a:prstGeom>
        </p:spPr>
        <p:txBody>
          <a:bodyPr wrap="none">
            <a:spAutoFit/>
          </a:bodyPr>
          <a:lstStyle/>
          <a:p>
            <a:pPr algn="ctr"/>
            <a:r>
              <a:rPr lang="en-US" sz="1200" i="1" dirty="0"/>
              <a:t>1 user per D2s v3</a:t>
            </a:r>
          </a:p>
          <a:p>
            <a:pPr algn="ctr"/>
            <a:r>
              <a:rPr lang="en-US" sz="1200" i="1" dirty="0"/>
              <a:t>(2 vCPUs, 8 GiB RAM)</a:t>
            </a:r>
          </a:p>
        </p:txBody>
      </p:sp>
      <p:sp>
        <p:nvSpPr>
          <p:cNvPr id="680" name="Rectangle 679">
            <a:extLst>
              <a:ext uri="{FF2B5EF4-FFF2-40B4-BE49-F238E27FC236}">
                <a16:creationId xmlns:a16="http://schemas.microsoft.com/office/drawing/2014/main" id="{FE4F586F-F2B1-4BF4-845A-659F666C2A85}"/>
              </a:ext>
            </a:extLst>
          </p:cNvPr>
          <p:cNvSpPr/>
          <p:nvPr/>
        </p:nvSpPr>
        <p:spPr>
          <a:xfrm>
            <a:off x="9964739" y="5434610"/>
            <a:ext cx="1696298" cy="461665"/>
          </a:xfrm>
          <a:prstGeom prst="rect">
            <a:avLst/>
          </a:prstGeom>
        </p:spPr>
        <p:txBody>
          <a:bodyPr wrap="none">
            <a:spAutoFit/>
          </a:bodyPr>
          <a:lstStyle/>
          <a:p>
            <a:pPr algn="ctr"/>
            <a:r>
              <a:rPr lang="en-US" sz="1200" i="1" dirty="0"/>
              <a:t>32 users per D8s v3</a:t>
            </a:r>
          </a:p>
          <a:p>
            <a:pPr algn="ctr"/>
            <a:r>
              <a:rPr lang="en-US" sz="1200" i="1" dirty="0"/>
              <a:t>(8 vCPUs, 32 Gib RAM)</a:t>
            </a:r>
          </a:p>
        </p:txBody>
      </p:sp>
      <p:sp>
        <p:nvSpPr>
          <p:cNvPr id="670" name="Rectangle 669">
            <a:extLst>
              <a:ext uri="{FF2B5EF4-FFF2-40B4-BE49-F238E27FC236}">
                <a16:creationId xmlns:a16="http://schemas.microsoft.com/office/drawing/2014/main" id="{A8B6EC8C-6A4C-4496-AB26-387E19141D18}"/>
              </a:ext>
            </a:extLst>
          </p:cNvPr>
          <p:cNvSpPr/>
          <p:nvPr/>
        </p:nvSpPr>
        <p:spPr bwMode="auto">
          <a:xfrm>
            <a:off x="4594558" y="5750186"/>
            <a:ext cx="162528" cy="109264"/>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7432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900" dirty="0">
                <a:solidFill>
                  <a:schemeClr val="tx1"/>
                </a:solidFill>
                <a:ea typeface="Segoe UI" pitchFamily="34" charset="0"/>
                <a:cs typeface="Segoe UI" pitchFamily="34" charset="0"/>
              </a:rPr>
              <a:t>Utilization</a:t>
            </a:r>
          </a:p>
        </p:txBody>
      </p:sp>
      <p:sp>
        <p:nvSpPr>
          <p:cNvPr id="979" name="TextBox 978">
            <a:extLst>
              <a:ext uri="{FF2B5EF4-FFF2-40B4-BE49-F238E27FC236}">
                <a16:creationId xmlns:a16="http://schemas.microsoft.com/office/drawing/2014/main" id="{03FB94A6-F206-4BC0-8C88-046858A9ED34}"/>
              </a:ext>
            </a:extLst>
          </p:cNvPr>
          <p:cNvSpPr txBox="1"/>
          <p:nvPr/>
        </p:nvSpPr>
        <p:spPr>
          <a:xfrm>
            <a:off x="4540258" y="2411799"/>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400" b="1" dirty="0">
                <a:solidFill>
                  <a:schemeClr val="bg1"/>
                </a:solidFill>
              </a:rPr>
              <a:t>Windows 10 Enterprise </a:t>
            </a:r>
          </a:p>
          <a:p>
            <a:pPr algn="ctr">
              <a:lnSpc>
                <a:spcPct val="90000"/>
              </a:lnSpc>
            </a:pPr>
            <a:r>
              <a:rPr lang="en-US" sz="1400" b="1" dirty="0">
                <a:solidFill>
                  <a:schemeClr val="bg1"/>
                </a:solidFill>
              </a:rPr>
              <a:t>Multi-session in WVD</a:t>
            </a:r>
          </a:p>
        </p:txBody>
      </p:sp>
      <p:sp>
        <p:nvSpPr>
          <p:cNvPr id="980" name="TextBox 979">
            <a:extLst>
              <a:ext uri="{FF2B5EF4-FFF2-40B4-BE49-F238E27FC236}">
                <a16:creationId xmlns:a16="http://schemas.microsoft.com/office/drawing/2014/main" id="{0CD77451-9621-4FFD-859D-36DD5AE5C18C}"/>
              </a:ext>
            </a:extLst>
          </p:cNvPr>
          <p:cNvSpPr txBox="1"/>
          <p:nvPr/>
        </p:nvSpPr>
        <p:spPr>
          <a:xfrm>
            <a:off x="651493" y="2411799"/>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400" b="1" dirty="0">
                <a:solidFill>
                  <a:schemeClr val="bg1"/>
                </a:solidFill>
              </a:rPr>
              <a:t>Windows 10 </a:t>
            </a:r>
          </a:p>
          <a:p>
            <a:pPr algn="ctr">
              <a:lnSpc>
                <a:spcPct val="90000"/>
              </a:lnSpc>
            </a:pPr>
            <a:r>
              <a:rPr lang="en-US" sz="1400" b="1" dirty="0">
                <a:solidFill>
                  <a:schemeClr val="bg1"/>
                </a:solidFill>
              </a:rPr>
              <a:t>Single-session on-prem</a:t>
            </a:r>
          </a:p>
        </p:txBody>
      </p:sp>
      <p:sp>
        <p:nvSpPr>
          <p:cNvPr id="981" name="TextBox 980">
            <a:extLst>
              <a:ext uri="{FF2B5EF4-FFF2-40B4-BE49-F238E27FC236}">
                <a16:creationId xmlns:a16="http://schemas.microsoft.com/office/drawing/2014/main" id="{CB246B3C-34E3-4701-9A93-8BEE74B71B88}"/>
              </a:ext>
            </a:extLst>
          </p:cNvPr>
          <p:cNvSpPr txBox="1"/>
          <p:nvPr/>
        </p:nvSpPr>
        <p:spPr>
          <a:xfrm>
            <a:off x="8302299" y="2411799"/>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400" b="1" dirty="0">
                <a:solidFill>
                  <a:schemeClr val="bg1"/>
                </a:solidFill>
              </a:rPr>
              <a:t>Example Economic Benefit</a:t>
            </a:r>
          </a:p>
          <a:p>
            <a:pPr algn="ctr">
              <a:lnSpc>
                <a:spcPct val="90000"/>
              </a:lnSpc>
            </a:pPr>
            <a:r>
              <a:rPr lang="en-US" sz="1400" b="1" dirty="0">
                <a:solidFill>
                  <a:schemeClr val="bg1"/>
                </a:solidFill>
              </a:rPr>
              <a:t>$ per user per month</a:t>
            </a:r>
          </a:p>
        </p:txBody>
      </p:sp>
      <p:sp>
        <p:nvSpPr>
          <p:cNvPr id="681" name="Freeform: Shape 680">
            <a:extLst>
              <a:ext uri="{FF2B5EF4-FFF2-40B4-BE49-F238E27FC236}">
                <a16:creationId xmlns:a16="http://schemas.microsoft.com/office/drawing/2014/main" id="{D96ED127-5A5D-4A8E-B23D-4A9BA88221A7}"/>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Windows 10 single-session on-prem to Windows 10 multi-session in WVD</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Trade many small dedicated VMs for few large shared VMs (with higher utilization and lower operational costs)</a:t>
            </a:r>
          </a:p>
        </p:txBody>
      </p:sp>
      <p:grpSp>
        <p:nvGrpSpPr>
          <p:cNvPr id="690" name="Group 689">
            <a:extLst>
              <a:ext uri="{FF2B5EF4-FFF2-40B4-BE49-F238E27FC236}">
                <a16:creationId xmlns:a16="http://schemas.microsoft.com/office/drawing/2014/main" id="{118571A6-2D84-4D79-A14F-4E705DA8E505}"/>
              </a:ext>
            </a:extLst>
          </p:cNvPr>
          <p:cNvGrpSpPr>
            <a:grpSpLocks noChangeAspect="1"/>
          </p:cNvGrpSpPr>
          <p:nvPr/>
        </p:nvGrpSpPr>
        <p:grpSpPr>
          <a:xfrm>
            <a:off x="10777886" y="1372927"/>
            <a:ext cx="806355" cy="914400"/>
            <a:chOff x="797126" y="3893732"/>
            <a:chExt cx="1125722" cy="1276864"/>
          </a:xfrm>
        </p:grpSpPr>
        <p:sp>
          <p:nvSpPr>
            <p:cNvPr id="691" name="Freeform 403">
              <a:extLst>
                <a:ext uri="{FF2B5EF4-FFF2-40B4-BE49-F238E27FC236}">
                  <a16:creationId xmlns:a16="http://schemas.microsoft.com/office/drawing/2014/main" id="{314DD9C6-BCD9-4E50-8105-F4AAE1D06E7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957" name="Freeform: Shape 956">
              <a:extLst>
                <a:ext uri="{FF2B5EF4-FFF2-40B4-BE49-F238E27FC236}">
                  <a16:creationId xmlns:a16="http://schemas.microsoft.com/office/drawing/2014/main" id="{AF6305D1-90A8-4CAB-B7B0-197BA9CAEE2C}"/>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958" name="Group 957">
              <a:extLst>
                <a:ext uri="{FF2B5EF4-FFF2-40B4-BE49-F238E27FC236}">
                  <a16:creationId xmlns:a16="http://schemas.microsoft.com/office/drawing/2014/main" id="{22F2CFB2-565B-44D9-B2D2-F99D09A9C320}"/>
                </a:ext>
              </a:extLst>
            </p:cNvPr>
            <p:cNvGrpSpPr/>
            <p:nvPr/>
          </p:nvGrpSpPr>
          <p:grpSpPr>
            <a:xfrm>
              <a:off x="971699" y="4043345"/>
              <a:ext cx="773592" cy="920012"/>
              <a:chOff x="993458" y="3447450"/>
              <a:chExt cx="682781" cy="812014"/>
            </a:xfrm>
          </p:grpSpPr>
          <p:grpSp>
            <p:nvGrpSpPr>
              <p:cNvPr id="960" name="Group 959">
                <a:extLst>
                  <a:ext uri="{FF2B5EF4-FFF2-40B4-BE49-F238E27FC236}">
                    <a16:creationId xmlns:a16="http://schemas.microsoft.com/office/drawing/2014/main" id="{E1A653F0-CE86-4827-BBAA-CFA01DB8FA39}"/>
                  </a:ext>
                </a:extLst>
              </p:cNvPr>
              <p:cNvGrpSpPr/>
              <p:nvPr/>
            </p:nvGrpSpPr>
            <p:grpSpPr>
              <a:xfrm>
                <a:off x="993458" y="3447450"/>
                <a:ext cx="576652" cy="812014"/>
                <a:chOff x="499414" y="1517311"/>
                <a:chExt cx="3686809" cy="5340604"/>
              </a:xfrm>
            </p:grpSpPr>
            <p:sp>
              <p:nvSpPr>
                <p:cNvPr id="1064" name="Rectangle 1063">
                  <a:extLst>
                    <a:ext uri="{FF2B5EF4-FFF2-40B4-BE49-F238E27FC236}">
                      <a16:creationId xmlns:a16="http://schemas.microsoft.com/office/drawing/2014/main" id="{2123EE66-6602-4FE9-BF4D-668F09F5CA82}"/>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1065" name="Group 1064">
                  <a:extLst>
                    <a:ext uri="{FF2B5EF4-FFF2-40B4-BE49-F238E27FC236}">
                      <a16:creationId xmlns:a16="http://schemas.microsoft.com/office/drawing/2014/main" id="{7D00CAD2-76B3-4BED-9226-FABE868854BB}"/>
                    </a:ext>
                  </a:extLst>
                </p:cNvPr>
                <p:cNvGrpSpPr/>
                <p:nvPr/>
              </p:nvGrpSpPr>
              <p:grpSpPr>
                <a:xfrm rot="20371446">
                  <a:off x="2524661" y="2299216"/>
                  <a:ext cx="859576" cy="554927"/>
                  <a:chOff x="4775201" y="792163"/>
                  <a:chExt cx="2024063" cy="1306513"/>
                </a:xfrm>
              </p:grpSpPr>
              <p:sp>
                <p:nvSpPr>
                  <p:cNvPr id="1119" name="Freeform 354">
                    <a:extLst>
                      <a:ext uri="{FF2B5EF4-FFF2-40B4-BE49-F238E27FC236}">
                        <a16:creationId xmlns:a16="http://schemas.microsoft.com/office/drawing/2014/main" id="{68E032C3-4F7F-46AD-BA40-A213DE4FD762}"/>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0" name="Rectangle 1119">
                    <a:extLst>
                      <a:ext uri="{FF2B5EF4-FFF2-40B4-BE49-F238E27FC236}">
                        <a16:creationId xmlns:a16="http://schemas.microsoft.com/office/drawing/2014/main" id="{E6068B0A-6BC3-410D-B142-0114FA768A52}"/>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1" name="Freeform 356">
                    <a:extLst>
                      <a:ext uri="{FF2B5EF4-FFF2-40B4-BE49-F238E27FC236}">
                        <a16:creationId xmlns:a16="http://schemas.microsoft.com/office/drawing/2014/main" id="{F002BB43-2669-4B8B-865A-87B795BA8DA5}"/>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2" name="Freeform 357">
                    <a:extLst>
                      <a:ext uri="{FF2B5EF4-FFF2-40B4-BE49-F238E27FC236}">
                        <a16:creationId xmlns:a16="http://schemas.microsoft.com/office/drawing/2014/main" id="{450C3036-9582-4F1E-BDCF-7D2EAD661552}"/>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3" name="Freeform 358">
                    <a:extLst>
                      <a:ext uri="{FF2B5EF4-FFF2-40B4-BE49-F238E27FC236}">
                        <a16:creationId xmlns:a16="http://schemas.microsoft.com/office/drawing/2014/main" id="{294E2BB4-4FD0-469E-8795-211C6178FA4A}"/>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4" name="Rectangle 1123">
                    <a:extLst>
                      <a:ext uri="{FF2B5EF4-FFF2-40B4-BE49-F238E27FC236}">
                        <a16:creationId xmlns:a16="http://schemas.microsoft.com/office/drawing/2014/main" id="{C5ED647C-5D49-4490-B265-0FD58CA09FBE}"/>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5" name="Freeform 360">
                    <a:extLst>
                      <a:ext uri="{FF2B5EF4-FFF2-40B4-BE49-F238E27FC236}">
                        <a16:creationId xmlns:a16="http://schemas.microsoft.com/office/drawing/2014/main" id="{AB5939AF-79EC-4288-9B73-844EF42239FD}"/>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6" name="Rectangle 1125">
                    <a:extLst>
                      <a:ext uri="{FF2B5EF4-FFF2-40B4-BE49-F238E27FC236}">
                        <a16:creationId xmlns:a16="http://schemas.microsoft.com/office/drawing/2014/main" id="{EE6C83F6-132C-4C3C-ADB1-04CE953FE0E8}"/>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7" name="Rectangle 1126">
                    <a:extLst>
                      <a:ext uri="{FF2B5EF4-FFF2-40B4-BE49-F238E27FC236}">
                        <a16:creationId xmlns:a16="http://schemas.microsoft.com/office/drawing/2014/main" id="{0C13C44F-476E-4462-9176-346644B6C49D}"/>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8" name="Rectangle 1127">
                    <a:extLst>
                      <a:ext uri="{FF2B5EF4-FFF2-40B4-BE49-F238E27FC236}">
                        <a16:creationId xmlns:a16="http://schemas.microsoft.com/office/drawing/2014/main" id="{C6D308C1-B649-49FF-9455-DF337B4574F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9" name="Rectangle 1128">
                    <a:extLst>
                      <a:ext uri="{FF2B5EF4-FFF2-40B4-BE49-F238E27FC236}">
                        <a16:creationId xmlns:a16="http://schemas.microsoft.com/office/drawing/2014/main" id="{076B5579-4772-45C2-AF30-BA9F12EC3DD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30" name="Rectangle 1129">
                    <a:extLst>
                      <a:ext uri="{FF2B5EF4-FFF2-40B4-BE49-F238E27FC236}">
                        <a16:creationId xmlns:a16="http://schemas.microsoft.com/office/drawing/2014/main" id="{9C858401-6D12-4B33-A0B2-D0C290D69524}"/>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1066" name="Group 1065">
                  <a:extLst>
                    <a:ext uri="{FF2B5EF4-FFF2-40B4-BE49-F238E27FC236}">
                      <a16:creationId xmlns:a16="http://schemas.microsoft.com/office/drawing/2014/main" id="{738323A4-5235-4832-8FF0-559032F2C04D}"/>
                    </a:ext>
                  </a:extLst>
                </p:cNvPr>
                <p:cNvGrpSpPr/>
                <p:nvPr/>
              </p:nvGrpSpPr>
              <p:grpSpPr>
                <a:xfrm>
                  <a:off x="1190120" y="2235988"/>
                  <a:ext cx="983059" cy="983198"/>
                  <a:chOff x="5413781" y="5749281"/>
                  <a:chExt cx="652036" cy="652036"/>
                </a:xfrm>
              </p:grpSpPr>
              <p:sp>
                <p:nvSpPr>
                  <p:cNvPr id="1117" name="Oval 1116">
                    <a:extLst>
                      <a:ext uri="{FF2B5EF4-FFF2-40B4-BE49-F238E27FC236}">
                        <a16:creationId xmlns:a16="http://schemas.microsoft.com/office/drawing/2014/main" id="{EC5E7B0E-DC73-4FB0-AB44-C3C68504B9C8}"/>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118" name="Freeform 353">
                    <a:extLst>
                      <a:ext uri="{FF2B5EF4-FFF2-40B4-BE49-F238E27FC236}">
                        <a16:creationId xmlns:a16="http://schemas.microsoft.com/office/drawing/2014/main" id="{C694C50A-ABDA-4D85-B8A0-5A7FD8241E8E}"/>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67" name="Group 1066">
                  <a:extLst>
                    <a:ext uri="{FF2B5EF4-FFF2-40B4-BE49-F238E27FC236}">
                      <a16:creationId xmlns:a16="http://schemas.microsoft.com/office/drawing/2014/main" id="{A7EF5B98-FDF5-445C-BE2A-BE1B19EF1231}"/>
                    </a:ext>
                  </a:extLst>
                </p:cNvPr>
                <p:cNvGrpSpPr>
                  <a:grpSpLocks noChangeAspect="1"/>
                </p:cNvGrpSpPr>
                <p:nvPr/>
              </p:nvGrpSpPr>
              <p:grpSpPr bwMode="auto">
                <a:xfrm rot="1800000">
                  <a:off x="3563928" y="2295726"/>
                  <a:ext cx="622295" cy="847393"/>
                  <a:chOff x="6652" y="1661"/>
                  <a:chExt cx="260" cy="354"/>
                </a:xfrm>
              </p:grpSpPr>
              <p:sp>
                <p:nvSpPr>
                  <p:cNvPr id="1113" name="AutoShape 138">
                    <a:extLst>
                      <a:ext uri="{FF2B5EF4-FFF2-40B4-BE49-F238E27FC236}">
                        <a16:creationId xmlns:a16="http://schemas.microsoft.com/office/drawing/2014/main" id="{446C4EFE-1509-4AAE-AB37-753BDB66BE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114" name="Freeform 349">
                    <a:extLst>
                      <a:ext uri="{FF2B5EF4-FFF2-40B4-BE49-F238E27FC236}">
                        <a16:creationId xmlns:a16="http://schemas.microsoft.com/office/drawing/2014/main" id="{E65F9521-124A-477B-9472-F96B8F9DD06C}"/>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115" name="Rectangle 1114">
                    <a:extLst>
                      <a:ext uri="{FF2B5EF4-FFF2-40B4-BE49-F238E27FC236}">
                        <a16:creationId xmlns:a16="http://schemas.microsoft.com/office/drawing/2014/main" id="{10902183-2FAF-4A27-9D13-AB2BA25C8A33}"/>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116" name="Freeform 351">
                    <a:extLst>
                      <a:ext uri="{FF2B5EF4-FFF2-40B4-BE49-F238E27FC236}">
                        <a16:creationId xmlns:a16="http://schemas.microsoft.com/office/drawing/2014/main" id="{A8CD1FEF-2989-49B6-9B79-1AE930FCE82C}"/>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1068" name="Group 1067">
                  <a:extLst>
                    <a:ext uri="{FF2B5EF4-FFF2-40B4-BE49-F238E27FC236}">
                      <a16:creationId xmlns:a16="http://schemas.microsoft.com/office/drawing/2014/main" id="{39606AF0-BD62-4F4A-A22F-4BA13C9F1181}"/>
                    </a:ext>
                  </a:extLst>
                </p:cNvPr>
                <p:cNvGrpSpPr/>
                <p:nvPr/>
              </p:nvGrpSpPr>
              <p:grpSpPr>
                <a:xfrm flipH="1">
                  <a:off x="499414" y="3565526"/>
                  <a:ext cx="1323206" cy="3292389"/>
                  <a:chOff x="8371759" y="2973033"/>
                  <a:chExt cx="1482609" cy="3688507"/>
                </a:xfrm>
              </p:grpSpPr>
              <p:sp>
                <p:nvSpPr>
                  <p:cNvPr id="1079" name="Freeform 314">
                    <a:extLst>
                      <a:ext uri="{FF2B5EF4-FFF2-40B4-BE49-F238E27FC236}">
                        <a16:creationId xmlns:a16="http://schemas.microsoft.com/office/drawing/2014/main" id="{60B567CE-5100-48EC-AB1E-720CE20B6DF8}"/>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0" name="Freeform 315">
                    <a:extLst>
                      <a:ext uri="{FF2B5EF4-FFF2-40B4-BE49-F238E27FC236}">
                        <a16:creationId xmlns:a16="http://schemas.microsoft.com/office/drawing/2014/main" id="{C58CBE5C-3B40-477B-BCF0-114D7871371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1" name="Freeform 316">
                    <a:extLst>
                      <a:ext uri="{FF2B5EF4-FFF2-40B4-BE49-F238E27FC236}">
                        <a16:creationId xmlns:a16="http://schemas.microsoft.com/office/drawing/2014/main" id="{F4D23F04-6F9B-424D-92D7-3C8B1F76EEC3}"/>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2" name="Rectangle 1081">
                    <a:extLst>
                      <a:ext uri="{FF2B5EF4-FFF2-40B4-BE49-F238E27FC236}">
                        <a16:creationId xmlns:a16="http://schemas.microsoft.com/office/drawing/2014/main" id="{EA190B0E-BC9D-44F1-9F24-E14ACDDC085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3" name="Rectangle 1082">
                    <a:extLst>
                      <a:ext uri="{FF2B5EF4-FFF2-40B4-BE49-F238E27FC236}">
                        <a16:creationId xmlns:a16="http://schemas.microsoft.com/office/drawing/2014/main" id="{AA89EB4E-D84F-4A30-AF2B-A21D21263A3B}"/>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4" name="Rectangle 1083">
                    <a:extLst>
                      <a:ext uri="{FF2B5EF4-FFF2-40B4-BE49-F238E27FC236}">
                        <a16:creationId xmlns:a16="http://schemas.microsoft.com/office/drawing/2014/main" id="{B8FF3A5F-59B4-47B0-8FED-26F33F1D3B27}"/>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5" name="Rectangle 1084">
                    <a:extLst>
                      <a:ext uri="{FF2B5EF4-FFF2-40B4-BE49-F238E27FC236}">
                        <a16:creationId xmlns:a16="http://schemas.microsoft.com/office/drawing/2014/main" id="{F8314A44-4386-466E-91D4-EA0D7B3B6700}"/>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6" name="Freeform 321">
                    <a:extLst>
                      <a:ext uri="{FF2B5EF4-FFF2-40B4-BE49-F238E27FC236}">
                        <a16:creationId xmlns:a16="http://schemas.microsoft.com/office/drawing/2014/main" id="{E2860A56-5E17-436B-953B-FFD79C47C20C}"/>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7" name="Rectangle 1086">
                    <a:extLst>
                      <a:ext uri="{FF2B5EF4-FFF2-40B4-BE49-F238E27FC236}">
                        <a16:creationId xmlns:a16="http://schemas.microsoft.com/office/drawing/2014/main" id="{6CAB6BA7-E64F-4314-92F2-A4AB8703E5BC}"/>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8" name="Rectangle 1087">
                    <a:extLst>
                      <a:ext uri="{FF2B5EF4-FFF2-40B4-BE49-F238E27FC236}">
                        <a16:creationId xmlns:a16="http://schemas.microsoft.com/office/drawing/2014/main" id="{EF68993C-958D-40E1-A6C1-8AA01C71986C}"/>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89" name="Freeform 324">
                    <a:extLst>
                      <a:ext uri="{FF2B5EF4-FFF2-40B4-BE49-F238E27FC236}">
                        <a16:creationId xmlns:a16="http://schemas.microsoft.com/office/drawing/2014/main" id="{F3FF38D9-91FF-4069-A988-FE6C3F2A3AA9}"/>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90" name="Freeform 325">
                    <a:extLst>
                      <a:ext uri="{FF2B5EF4-FFF2-40B4-BE49-F238E27FC236}">
                        <a16:creationId xmlns:a16="http://schemas.microsoft.com/office/drawing/2014/main" id="{09CC35D0-89D3-46C4-A5CA-76B2D2E01BB9}"/>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91" name="Freeform 326">
                    <a:extLst>
                      <a:ext uri="{FF2B5EF4-FFF2-40B4-BE49-F238E27FC236}">
                        <a16:creationId xmlns:a16="http://schemas.microsoft.com/office/drawing/2014/main" id="{1E21191C-FEDD-4428-B949-2C1B87DD63EF}"/>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92" name="Freeform 327">
                    <a:extLst>
                      <a:ext uri="{FF2B5EF4-FFF2-40B4-BE49-F238E27FC236}">
                        <a16:creationId xmlns:a16="http://schemas.microsoft.com/office/drawing/2014/main" id="{5D46392C-14A4-4F5C-B081-67943C135797}"/>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93" name="Freeform 328">
                    <a:extLst>
                      <a:ext uri="{FF2B5EF4-FFF2-40B4-BE49-F238E27FC236}">
                        <a16:creationId xmlns:a16="http://schemas.microsoft.com/office/drawing/2014/main" id="{EC3E4294-32B5-4C74-AC3A-2AF2AFC659E4}"/>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94" name="Freeform 329">
                    <a:extLst>
                      <a:ext uri="{FF2B5EF4-FFF2-40B4-BE49-F238E27FC236}">
                        <a16:creationId xmlns:a16="http://schemas.microsoft.com/office/drawing/2014/main" id="{C254C02B-0DD3-489E-9CA0-45668A288B00}"/>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95" name="Freeform 330">
                    <a:extLst>
                      <a:ext uri="{FF2B5EF4-FFF2-40B4-BE49-F238E27FC236}">
                        <a16:creationId xmlns:a16="http://schemas.microsoft.com/office/drawing/2014/main" id="{282291FF-B74D-470E-9DD8-AE8778360CC5}"/>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96" name="Freeform 331">
                    <a:extLst>
                      <a:ext uri="{FF2B5EF4-FFF2-40B4-BE49-F238E27FC236}">
                        <a16:creationId xmlns:a16="http://schemas.microsoft.com/office/drawing/2014/main" id="{72DFF547-68D4-4069-B813-F4B72FBC2B89}"/>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97" name="Freeform 332">
                    <a:extLst>
                      <a:ext uri="{FF2B5EF4-FFF2-40B4-BE49-F238E27FC236}">
                        <a16:creationId xmlns:a16="http://schemas.microsoft.com/office/drawing/2014/main" id="{6E139F68-AFE0-435D-BE2A-3C454770372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98" name="Freeform 333">
                    <a:extLst>
                      <a:ext uri="{FF2B5EF4-FFF2-40B4-BE49-F238E27FC236}">
                        <a16:creationId xmlns:a16="http://schemas.microsoft.com/office/drawing/2014/main" id="{72228ED0-7E5F-420B-8A19-877755086DD0}"/>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099" name="Freeform 334">
                    <a:extLst>
                      <a:ext uri="{FF2B5EF4-FFF2-40B4-BE49-F238E27FC236}">
                        <a16:creationId xmlns:a16="http://schemas.microsoft.com/office/drawing/2014/main" id="{44A0E317-BBA8-456B-9B5C-3A3139AAA3ED}"/>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100" name="Freeform 335">
                    <a:extLst>
                      <a:ext uri="{FF2B5EF4-FFF2-40B4-BE49-F238E27FC236}">
                        <a16:creationId xmlns:a16="http://schemas.microsoft.com/office/drawing/2014/main" id="{7374A5F9-4E4E-4681-B2BB-0C9DEB6EA5E0}"/>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101" name="Freeform 336">
                    <a:extLst>
                      <a:ext uri="{FF2B5EF4-FFF2-40B4-BE49-F238E27FC236}">
                        <a16:creationId xmlns:a16="http://schemas.microsoft.com/office/drawing/2014/main" id="{4B55B817-F331-405E-B934-5D3D7D440ED0}"/>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102" name="Freeform 337">
                    <a:extLst>
                      <a:ext uri="{FF2B5EF4-FFF2-40B4-BE49-F238E27FC236}">
                        <a16:creationId xmlns:a16="http://schemas.microsoft.com/office/drawing/2014/main" id="{925AA6CD-A083-4694-9187-8CC5127553FC}"/>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103" name="Freeform 338">
                    <a:extLst>
                      <a:ext uri="{FF2B5EF4-FFF2-40B4-BE49-F238E27FC236}">
                        <a16:creationId xmlns:a16="http://schemas.microsoft.com/office/drawing/2014/main" id="{3AFCBEDE-5E2A-4865-9B17-97EB059D7850}"/>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104" name="Freeform 339">
                    <a:extLst>
                      <a:ext uri="{FF2B5EF4-FFF2-40B4-BE49-F238E27FC236}">
                        <a16:creationId xmlns:a16="http://schemas.microsoft.com/office/drawing/2014/main" id="{AF397801-9D32-4F57-AFDF-AFC11611A6ED}"/>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105" name="Freeform 340">
                    <a:extLst>
                      <a:ext uri="{FF2B5EF4-FFF2-40B4-BE49-F238E27FC236}">
                        <a16:creationId xmlns:a16="http://schemas.microsoft.com/office/drawing/2014/main" id="{CFEC0F46-71E8-412B-87A3-4E16C4D9842D}"/>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106" name="Freeform 341">
                    <a:extLst>
                      <a:ext uri="{FF2B5EF4-FFF2-40B4-BE49-F238E27FC236}">
                        <a16:creationId xmlns:a16="http://schemas.microsoft.com/office/drawing/2014/main" id="{CC9273F6-AAC2-4955-852F-9FC51928C459}"/>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107" name="Freeform 342">
                    <a:extLst>
                      <a:ext uri="{FF2B5EF4-FFF2-40B4-BE49-F238E27FC236}">
                        <a16:creationId xmlns:a16="http://schemas.microsoft.com/office/drawing/2014/main" id="{51854DDF-8061-4466-823D-C5BDDE1A9D5D}"/>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108" name="Freeform 343">
                    <a:extLst>
                      <a:ext uri="{FF2B5EF4-FFF2-40B4-BE49-F238E27FC236}">
                        <a16:creationId xmlns:a16="http://schemas.microsoft.com/office/drawing/2014/main" id="{E5EFC42B-6373-4D48-AF4E-013117B894C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109" name="Freeform 344">
                    <a:extLst>
                      <a:ext uri="{FF2B5EF4-FFF2-40B4-BE49-F238E27FC236}">
                        <a16:creationId xmlns:a16="http://schemas.microsoft.com/office/drawing/2014/main" id="{DB87A1F0-0688-41C8-9E11-D2C9EFD7C2B2}"/>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110" name="Freeform 345">
                    <a:extLst>
                      <a:ext uri="{FF2B5EF4-FFF2-40B4-BE49-F238E27FC236}">
                        <a16:creationId xmlns:a16="http://schemas.microsoft.com/office/drawing/2014/main" id="{F0695966-66A2-46B7-8923-0598FC751EBC}"/>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111" name="Freeform 346">
                    <a:extLst>
                      <a:ext uri="{FF2B5EF4-FFF2-40B4-BE49-F238E27FC236}">
                        <a16:creationId xmlns:a16="http://schemas.microsoft.com/office/drawing/2014/main" id="{9C1934E0-326A-4BD5-B80C-BC2E3CE66A86}"/>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112" name="Freeform 347">
                    <a:extLst>
                      <a:ext uri="{FF2B5EF4-FFF2-40B4-BE49-F238E27FC236}">
                        <a16:creationId xmlns:a16="http://schemas.microsoft.com/office/drawing/2014/main" id="{DD696A10-39B6-465E-B5E4-E72C886053F1}"/>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1069" name="Straight Connector 1068">
                  <a:extLst>
                    <a:ext uri="{FF2B5EF4-FFF2-40B4-BE49-F238E27FC236}">
                      <a16:creationId xmlns:a16="http://schemas.microsoft.com/office/drawing/2014/main" id="{C2417410-4A34-4D9B-A125-DDF36A61C397}"/>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70" name="Straight Connector 1069">
                  <a:extLst>
                    <a:ext uri="{FF2B5EF4-FFF2-40B4-BE49-F238E27FC236}">
                      <a16:creationId xmlns:a16="http://schemas.microsoft.com/office/drawing/2014/main" id="{BDACB73E-AC6F-46DA-AEAC-86D606D4038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71" name="Straight Connector 1070">
                  <a:extLst>
                    <a:ext uri="{FF2B5EF4-FFF2-40B4-BE49-F238E27FC236}">
                      <a16:creationId xmlns:a16="http://schemas.microsoft.com/office/drawing/2014/main" id="{17E71E64-32F8-4834-BA82-B293699D91D1}"/>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72" name="Straight Connector 1071">
                  <a:extLst>
                    <a:ext uri="{FF2B5EF4-FFF2-40B4-BE49-F238E27FC236}">
                      <a16:creationId xmlns:a16="http://schemas.microsoft.com/office/drawing/2014/main" id="{D76EA6D8-D800-49D1-8CFC-AF6DDD3EE089}"/>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73" name="Group 1072">
                  <a:extLst>
                    <a:ext uri="{FF2B5EF4-FFF2-40B4-BE49-F238E27FC236}">
                      <a16:creationId xmlns:a16="http://schemas.microsoft.com/office/drawing/2014/main" id="{FDC5C509-3871-41B6-8EE9-6DE4E1A3DE9A}"/>
                    </a:ext>
                  </a:extLst>
                </p:cNvPr>
                <p:cNvGrpSpPr/>
                <p:nvPr/>
              </p:nvGrpSpPr>
              <p:grpSpPr>
                <a:xfrm>
                  <a:off x="2022695" y="1566515"/>
                  <a:ext cx="766903" cy="767014"/>
                  <a:chOff x="9123445" y="2463609"/>
                  <a:chExt cx="652033" cy="652035"/>
                </a:xfrm>
              </p:grpSpPr>
              <p:sp>
                <p:nvSpPr>
                  <p:cNvPr id="1077" name="Oval 1076">
                    <a:extLst>
                      <a:ext uri="{FF2B5EF4-FFF2-40B4-BE49-F238E27FC236}">
                        <a16:creationId xmlns:a16="http://schemas.microsoft.com/office/drawing/2014/main" id="{107B769B-0A37-4F3B-86E7-1FFFE8DA09A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78" name="Freeform 313">
                    <a:extLst>
                      <a:ext uri="{FF2B5EF4-FFF2-40B4-BE49-F238E27FC236}">
                        <a16:creationId xmlns:a16="http://schemas.microsoft.com/office/drawing/2014/main" id="{9369373D-B7EC-4FFE-9863-1AB9F0B1C9A1}"/>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1074" name="Group 1073">
                  <a:extLst>
                    <a:ext uri="{FF2B5EF4-FFF2-40B4-BE49-F238E27FC236}">
                      <a16:creationId xmlns:a16="http://schemas.microsoft.com/office/drawing/2014/main" id="{932BF326-4E95-4AE7-A54F-9F5DEE5B0E1A}"/>
                    </a:ext>
                  </a:extLst>
                </p:cNvPr>
                <p:cNvGrpSpPr/>
                <p:nvPr/>
              </p:nvGrpSpPr>
              <p:grpSpPr>
                <a:xfrm>
                  <a:off x="1973388" y="1517311"/>
                  <a:ext cx="853073" cy="853194"/>
                  <a:chOff x="9123452" y="2463609"/>
                  <a:chExt cx="652035" cy="652035"/>
                </a:xfrm>
              </p:grpSpPr>
              <p:sp>
                <p:nvSpPr>
                  <p:cNvPr id="1075" name="Oval 1074">
                    <a:extLst>
                      <a:ext uri="{FF2B5EF4-FFF2-40B4-BE49-F238E27FC236}">
                        <a16:creationId xmlns:a16="http://schemas.microsoft.com/office/drawing/2014/main" id="{66E6B68F-27B1-46D0-8E86-B92F2CA1BD9A}"/>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76" name="Freeform 311">
                    <a:extLst>
                      <a:ext uri="{FF2B5EF4-FFF2-40B4-BE49-F238E27FC236}">
                        <a16:creationId xmlns:a16="http://schemas.microsoft.com/office/drawing/2014/main" id="{6A28E6A6-BE23-48D9-90EA-62F754A2A98E}"/>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961" name="Group 960">
                <a:extLst>
                  <a:ext uri="{FF2B5EF4-FFF2-40B4-BE49-F238E27FC236}">
                    <a16:creationId xmlns:a16="http://schemas.microsoft.com/office/drawing/2014/main" id="{09CB162B-5C10-4108-B25F-508715B13D4D}"/>
                  </a:ext>
                </a:extLst>
              </p:cNvPr>
              <p:cNvGrpSpPr/>
              <p:nvPr/>
            </p:nvGrpSpPr>
            <p:grpSpPr>
              <a:xfrm>
                <a:off x="1226671" y="3909844"/>
                <a:ext cx="304563" cy="307388"/>
                <a:chOff x="4471988" y="3821062"/>
                <a:chExt cx="2035176" cy="2113013"/>
              </a:xfrm>
            </p:grpSpPr>
            <p:sp>
              <p:nvSpPr>
                <p:cNvPr id="1010" name="Rectangle 6">
                  <a:extLst>
                    <a:ext uri="{FF2B5EF4-FFF2-40B4-BE49-F238E27FC236}">
                      <a16:creationId xmlns:a16="http://schemas.microsoft.com/office/drawing/2014/main" id="{C7DC75DB-ED09-4D2F-97A2-A72A3518A82E}"/>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11" name="Freeform 7">
                  <a:extLst>
                    <a:ext uri="{FF2B5EF4-FFF2-40B4-BE49-F238E27FC236}">
                      <a16:creationId xmlns:a16="http://schemas.microsoft.com/office/drawing/2014/main" id="{B1F8E17B-68D0-4D6D-9A50-4DBE7D1A00BE}"/>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12" name="Freeform 10">
                  <a:extLst>
                    <a:ext uri="{FF2B5EF4-FFF2-40B4-BE49-F238E27FC236}">
                      <a16:creationId xmlns:a16="http://schemas.microsoft.com/office/drawing/2014/main" id="{1A19361D-1D7E-4EC2-BCAD-125753C2E11E}"/>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13" name="Freeform 11">
                  <a:extLst>
                    <a:ext uri="{FF2B5EF4-FFF2-40B4-BE49-F238E27FC236}">
                      <a16:creationId xmlns:a16="http://schemas.microsoft.com/office/drawing/2014/main" id="{58549CE2-5354-438E-BADD-1276EF410F18}"/>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14" name="Oval 12">
                  <a:extLst>
                    <a:ext uri="{FF2B5EF4-FFF2-40B4-BE49-F238E27FC236}">
                      <a16:creationId xmlns:a16="http://schemas.microsoft.com/office/drawing/2014/main" id="{A8196018-EBBC-4B4B-BECF-014A605DB9AD}"/>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15" name="Oval 13">
                  <a:extLst>
                    <a:ext uri="{FF2B5EF4-FFF2-40B4-BE49-F238E27FC236}">
                      <a16:creationId xmlns:a16="http://schemas.microsoft.com/office/drawing/2014/main" id="{DAE1557B-2694-4F33-A960-69CF0CDFEC28}"/>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16" name="Freeform 14">
                  <a:extLst>
                    <a:ext uri="{FF2B5EF4-FFF2-40B4-BE49-F238E27FC236}">
                      <a16:creationId xmlns:a16="http://schemas.microsoft.com/office/drawing/2014/main" id="{6B931A36-D28E-4B75-91EF-2E173409EEB2}"/>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17" name="Rectangle 15">
                  <a:extLst>
                    <a:ext uri="{FF2B5EF4-FFF2-40B4-BE49-F238E27FC236}">
                      <a16:creationId xmlns:a16="http://schemas.microsoft.com/office/drawing/2014/main" id="{638A7ABD-1C65-4988-80C8-895CA6694306}"/>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18" name="Rectangle 16">
                  <a:extLst>
                    <a:ext uri="{FF2B5EF4-FFF2-40B4-BE49-F238E27FC236}">
                      <a16:creationId xmlns:a16="http://schemas.microsoft.com/office/drawing/2014/main" id="{BD79427F-9F6A-43E7-AB72-5EA1B0D81D05}"/>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19" name="Freeform 17">
                  <a:extLst>
                    <a:ext uri="{FF2B5EF4-FFF2-40B4-BE49-F238E27FC236}">
                      <a16:creationId xmlns:a16="http://schemas.microsoft.com/office/drawing/2014/main" id="{1DA89DE7-F5D8-4E75-9312-006B3D160498}"/>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20" name="Freeform 18">
                  <a:extLst>
                    <a:ext uri="{FF2B5EF4-FFF2-40B4-BE49-F238E27FC236}">
                      <a16:creationId xmlns:a16="http://schemas.microsoft.com/office/drawing/2014/main" id="{137CF25B-8ED3-4E5D-990E-3B755A355329}"/>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21" name="Rectangle 19">
                  <a:extLst>
                    <a:ext uri="{FF2B5EF4-FFF2-40B4-BE49-F238E27FC236}">
                      <a16:creationId xmlns:a16="http://schemas.microsoft.com/office/drawing/2014/main" id="{451568E4-3486-419C-B14E-551E2CC2EEF3}"/>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22" name="Freeform 20">
                  <a:extLst>
                    <a:ext uri="{FF2B5EF4-FFF2-40B4-BE49-F238E27FC236}">
                      <a16:creationId xmlns:a16="http://schemas.microsoft.com/office/drawing/2014/main" id="{90DC1479-1F37-483E-9F8C-6534E663313A}"/>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23" name="Freeform 21">
                  <a:extLst>
                    <a:ext uri="{FF2B5EF4-FFF2-40B4-BE49-F238E27FC236}">
                      <a16:creationId xmlns:a16="http://schemas.microsoft.com/office/drawing/2014/main" id="{C302AEC1-D47F-4BEC-BF47-148E9ACD3EA2}"/>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24" name="Freeform 22">
                  <a:extLst>
                    <a:ext uri="{FF2B5EF4-FFF2-40B4-BE49-F238E27FC236}">
                      <a16:creationId xmlns:a16="http://schemas.microsoft.com/office/drawing/2014/main" id="{A20E94D7-5620-4811-9A3F-77766235502D}"/>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25" name="Freeform 23">
                  <a:extLst>
                    <a:ext uri="{FF2B5EF4-FFF2-40B4-BE49-F238E27FC236}">
                      <a16:creationId xmlns:a16="http://schemas.microsoft.com/office/drawing/2014/main" id="{1609F3F1-070B-4811-82B3-8AB115781AFB}"/>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26" name="Freeform 24">
                  <a:extLst>
                    <a:ext uri="{FF2B5EF4-FFF2-40B4-BE49-F238E27FC236}">
                      <a16:creationId xmlns:a16="http://schemas.microsoft.com/office/drawing/2014/main" id="{04967715-1ED7-403F-AAD4-487EAC6FE74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27" name="Rectangle 25">
                  <a:extLst>
                    <a:ext uri="{FF2B5EF4-FFF2-40B4-BE49-F238E27FC236}">
                      <a16:creationId xmlns:a16="http://schemas.microsoft.com/office/drawing/2014/main" id="{5A33D6AD-E3EB-4C5B-83B1-2873CD07B50D}"/>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28" name="Freeform 26">
                  <a:extLst>
                    <a:ext uri="{FF2B5EF4-FFF2-40B4-BE49-F238E27FC236}">
                      <a16:creationId xmlns:a16="http://schemas.microsoft.com/office/drawing/2014/main" id="{DFA18973-41F7-4D46-A89C-C74978D5AFED}"/>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29" name="Freeform 27">
                  <a:extLst>
                    <a:ext uri="{FF2B5EF4-FFF2-40B4-BE49-F238E27FC236}">
                      <a16:creationId xmlns:a16="http://schemas.microsoft.com/office/drawing/2014/main" id="{39FC89E2-D428-47A2-80CD-79408838D5DE}"/>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30" name="Freeform 28">
                  <a:extLst>
                    <a:ext uri="{FF2B5EF4-FFF2-40B4-BE49-F238E27FC236}">
                      <a16:creationId xmlns:a16="http://schemas.microsoft.com/office/drawing/2014/main" id="{EBAE79A1-8C87-4FEF-9D68-FEF7977C17B2}"/>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31" name="Freeform 29">
                  <a:extLst>
                    <a:ext uri="{FF2B5EF4-FFF2-40B4-BE49-F238E27FC236}">
                      <a16:creationId xmlns:a16="http://schemas.microsoft.com/office/drawing/2014/main" id="{19B386E1-E9E0-40C1-9EB9-B043CA980597}"/>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32" name="Freeform 30">
                  <a:extLst>
                    <a:ext uri="{FF2B5EF4-FFF2-40B4-BE49-F238E27FC236}">
                      <a16:creationId xmlns:a16="http://schemas.microsoft.com/office/drawing/2014/main" id="{3FEAA018-2B9D-4B7C-95D4-E81B3E3A771E}"/>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33" name="Freeform 31">
                  <a:extLst>
                    <a:ext uri="{FF2B5EF4-FFF2-40B4-BE49-F238E27FC236}">
                      <a16:creationId xmlns:a16="http://schemas.microsoft.com/office/drawing/2014/main" id="{B5D3A7E5-1EFF-4D44-8EF5-06FF783326E0}"/>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34" name="Freeform 32">
                  <a:extLst>
                    <a:ext uri="{FF2B5EF4-FFF2-40B4-BE49-F238E27FC236}">
                      <a16:creationId xmlns:a16="http://schemas.microsoft.com/office/drawing/2014/main" id="{EBC1BB6B-F150-4ABE-B8A6-08774CC2284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35" name="Freeform 102">
                  <a:extLst>
                    <a:ext uri="{FF2B5EF4-FFF2-40B4-BE49-F238E27FC236}">
                      <a16:creationId xmlns:a16="http://schemas.microsoft.com/office/drawing/2014/main" id="{C34915DF-A185-47DF-8863-5C6ADB175FA9}"/>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36" name="Freeform 103">
                  <a:extLst>
                    <a:ext uri="{FF2B5EF4-FFF2-40B4-BE49-F238E27FC236}">
                      <a16:creationId xmlns:a16="http://schemas.microsoft.com/office/drawing/2014/main" id="{87805B36-8160-43DD-A616-2E07044C63D3}"/>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37" name="Freeform 104">
                  <a:extLst>
                    <a:ext uri="{FF2B5EF4-FFF2-40B4-BE49-F238E27FC236}">
                      <a16:creationId xmlns:a16="http://schemas.microsoft.com/office/drawing/2014/main" id="{DEA8DC3E-7960-49EA-82B1-1B8F56F3C667}"/>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38" name="Freeform 105">
                  <a:extLst>
                    <a:ext uri="{FF2B5EF4-FFF2-40B4-BE49-F238E27FC236}">
                      <a16:creationId xmlns:a16="http://schemas.microsoft.com/office/drawing/2014/main" id="{C7DF9542-3488-4A45-B1CF-89FFF0028563}"/>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39" name="Freeform 106">
                  <a:extLst>
                    <a:ext uri="{FF2B5EF4-FFF2-40B4-BE49-F238E27FC236}">
                      <a16:creationId xmlns:a16="http://schemas.microsoft.com/office/drawing/2014/main" id="{6E433A0D-48C4-4E9C-A2F2-8A98F7702E47}"/>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40" name="Freeform 107">
                  <a:extLst>
                    <a:ext uri="{FF2B5EF4-FFF2-40B4-BE49-F238E27FC236}">
                      <a16:creationId xmlns:a16="http://schemas.microsoft.com/office/drawing/2014/main" id="{C17E64C7-564A-4962-9BAA-9BD15653D979}"/>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41" name="Freeform 108">
                  <a:extLst>
                    <a:ext uri="{FF2B5EF4-FFF2-40B4-BE49-F238E27FC236}">
                      <a16:creationId xmlns:a16="http://schemas.microsoft.com/office/drawing/2014/main" id="{A5473B8A-9AA6-42D0-A7B9-DC3849F96CF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42" name="Rectangle 1041">
                  <a:extLst>
                    <a:ext uri="{FF2B5EF4-FFF2-40B4-BE49-F238E27FC236}">
                      <a16:creationId xmlns:a16="http://schemas.microsoft.com/office/drawing/2014/main" id="{142F739B-7B3A-4309-AC69-6E09C5C1817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43" name="Freeform 110">
                  <a:extLst>
                    <a:ext uri="{FF2B5EF4-FFF2-40B4-BE49-F238E27FC236}">
                      <a16:creationId xmlns:a16="http://schemas.microsoft.com/office/drawing/2014/main" id="{7D717862-855B-49C8-B3AD-EAF55BAA4B7D}"/>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44" name="Freeform 111">
                  <a:extLst>
                    <a:ext uri="{FF2B5EF4-FFF2-40B4-BE49-F238E27FC236}">
                      <a16:creationId xmlns:a16="http://schemas.microsoft.com/office/drawing/2014/main" id="{8A270F2D-4B2E-40E3-8896-3515A6CBBF6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45" name="Freeform 112">
                  <a:extLst>
                    <a:ext uri="{FF2B5EF4-FFF2-40B4-BE49-F238E27FC236}">
                      <a16:creationId xmlns:a16="http://schemas.microsoft.com/office/drawing/2014/main" id="{11B257B4-8452-4BE4-9361-1E6A9188D624}"/>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46" name="Freeform 113">
                  <a:extLst>
                    <a:ext uri="{FF2B5EF4-FFF2-40B4-BE49-F238E27FC236}">
                      <a16:creationId xmlns:a16="http://schemas.microsoft.com/office/drawing/2014/main" id="{B50E09CA-04D3-463B-AA34-D5BC50F32081}"/>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47" name="Rectangle 1046">
                  <a:extLst>
                    <a:ext uri="{FF2B5EF4-FFF2-40B4-BE49-F238E27FC236}">
                      <a16:creationId xmlns:a16="http://schemas.microsoft.com/office/drawing/2014/main" id="{23AB9F3A-B576-4CC1-85CD-549283BEB16A}"/>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48" name="Freeform 115">
                  <a:extLst>
                    <a:ext uri="{FF2B5EF4-FFF2-40B4-BE49-F238E27FC236}">
                      <a16:creationId xmlns:a16="http://schemas.microsoft.com/office/drawing/2014/main" id="{C600C083-8C8D-437B-A722-C2DA47E0900A}"/>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49" name="Freeform 116">
                  <a:extLst>
                    <a:ext uri="{FF2B5EF4-FFF2-40B4-BE49-F238E27FC236}">
                      <a16:creationId xmlns:a16="http://schemas.microsoft.com/office/drawing/2014/main" id="{4289C70C-A353-45ED-8B26-1AD34C8DCC09}"/>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50" name="Freeform 117">
                  <a:extLst>
                    <a:ext uri="{FF2B5EF4-FFF2-40B4-BE49-F238E27FC236}">
                      <a16:creationId xmlns:a16="http://schemas.microsoft.com/office/drawing/2014/main" id="{2E00BEFD-7827-44AF-B091-85493D98A95E}"/>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51" name="Freeform 118">
                  <a:extLst>
                    <a:ext uri="{FF2B5EF4-FFF2-40B4-BE49-F238E27FC236}">
                      <a16:creationId xmlns:a16="http://schemas.microsoft.com/office/drawing/2014/main" id="{11008C7E-C587-4DDA-B3B3-33C0407307CC}"/>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52" name="Oval 1051">
                  <a:extLst>
                    <a:ext uri="{FF2B5EF4-FFF2-40B4-BE49-F238E27FC236}">
                      <a16:creationId xmlns:a16="http://schemas.microsoft.com/office/drawing/2014/main" id="{B02E4464-B11A-4523-90DE-496ADDED1ADE}"/>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53" name="Freeform 120">
                  <a:extLst>
                    <a:ext uri="{FF2B5EF4-FFF2-40B4-BE49-F238E27FC236}">
                      <a16:creationId xmlns:a16="http://schemas.microsoft.com/office/drawing/2014/main" id="{271C6D64-FC3C-46FD-A464-33F34D5029D0}"/>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54" name="Freeform 121">
                  <a:extLst>
                    <a:ext uri="{FF2B5EF4-FFF2-40B4-BE49-F238E27FC236}">
                      <a16:creationId xmlns:a16="http://schemas.microsoft.com/office/drawing/2014/main" id="{8BF97308-6BE5-40A2-A4E1-2E1279CCCD7C}"/>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55" name="Freeform 122">
                  <a:extLst>
                    <a:ext uri="{FF2B5EF4-FFF2-40B4-BE49-F238E27FC236}">
                      <a16:creationId xmlns:a16="http://schemas.microsoft.com/office/drawing/2014/main" id="{B4341FD3-BD7D-4745-A3BA-8DFD4A834D82}"/>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56" name="Freeform 123">
                  <a:extLst>
                    <a:ext uri="{FF2B5EF4-FFF2-40B4-BE49-F238E27FC236}">
                      <a16:creationId xmlns:a16="http://schemas.microsoft.com/office/drawing/2014/main" id="{0A1E3DCE-6970-4EF1-90D8-99461A113318}"/>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57" name="Freeform 124">
                  <a:extLst>
                    <a:ext uri="{FF2B5EF4-FFF2-40B4-BE49-F238E27FC236}">
                      <a16:creationId xmlns:a16="http://schemas.microsoft.com/office/drawing/2014/main" id="{4A61E456-C6FD-421D-8527-0F2357583E30}"/>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58" name="Freeform 63">
                  <a:extLst>
                    <a:ext uri="{FF2B5EF4-FFF2-40B4-BE49-F238E27FC236}">
                      <a16:creationId xmlns:a16="http://schemas.microsoft.com/office/drawing/2014/main" id="{D78D0E25-7565-4C67-BF64-74EF5184A64F}"/>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59" name="Freeform 65">
                  <a:extLst>
                    <a:ext uri="{FF2B5EF4-FFF2-40B4-BE49-F238E27FC236}">
                      <a16:creationId xmlns:a16="http://schemas.microsoft.com/office/drawing/2014/main" id="{B736134E-2DED-45E8-9E32-15AFB772D2A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60" name="Freeform 66">
                  <a:extLst>
                    <a:ext uri="{FF2B5EF4-FFF2-40B4-BE49-F238E27FC236}">
                      <a16:creationId xmlns:a16="http://schemas.microsoft.com/office/drawing/2014/main" id="{463E093C-CDA2-44D5-B890-BE22CE523669}"/>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61" name="Freeform 67">
                  <a:extLst>
                    <a:ext uri="{FF2B5EF4-FFF2-40B4-BE49-F238E27FC236}">
                      <a16:creationId xmlns:a16="http://schemas.microsoft.com/office/drawing/2014/main" id="{CE367265-A2BE-4C09-9023-B4F5C496547F}"/>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62" name="Oval 68">
                  <a:extLst>
                    <a:ext uri="{FF2B5EF4-FFF2-40B4-BE49-F238E27FC236}">
                      <a16:creationId xmlns:a16="http://schemas.microsoft.com/office/drawing/2014/main" id="{85D5E5F4-5DEF-4BAD-AF5A-506147CE9622}"/>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063" name="Oval 69">
                  <a:extLst>
                    <a:ext uri="{FF2B5EF4-FFF2-40B4-BE49-F238E27FC236}">
                      <a16:creationId xmlns:a16="http://schemas.microsoft.com/office/drawing/2014/main" id="{82E83A02-A06E-4426-9108-CFC1FFDD2415}"/>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962" name="Group 961">
                <a:extLst>
                  <a:ext uri="{FF2B5EF4-FFF2-40B4-BE49-F238E27FC236}">
                    <a16:creationId xmlns:a16="http://schemas.microsoft.com/office/drawing/2014/main" id="{EFCE45FE-404B-48B1-8BE9-BDC951122D66}"/>
                  </a:ext>
                </a:extLst>
              </p:cNvPr>
              <p:cNvGrpSpPr/>
              <p:nvPr/>
            </p:nvGrpSpPr>
            <p:grpSpPr>
              <a:xfrm>
                <a:off x="1206839" y="3914891"/>
                <a:ext cx="469400" cy="342521"/>
                <a:chOff x="1557350" y="4606481"/>
                <a:chExt cx="3001095" cy="2252753"/>
              </a:xfrm>
            </p:grpSpPr>
            <p:sp>
              <p:nvSpPr>
                <p:cNvPr id="964" name="Rectangle 963">
                  <a:extLst>
                    <a:ext uri="{FF2B5EF4-FFF2-40B4-BE49-F238E27FC236}">
                      <a16:creationId xmlns:a16="http://schemas.microsoft.com/office/drawing/2014/main" id="{8498B8D0-130B-4A4B-915F-985B9D9E5D6F}"/>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65" name="Rectangle 964">
                  <a:extLst>
                    <a:ext uri="{FF2B5EF4-FFF2-40B4-BE49-F238E27FC236}">
                      <a16:creationId xmlns:a16="http://schemas.microsoft.com/office/drawing/2014/main" id="{2CF22A82-7D4D-4CE7-93CD-3C5C345011AA}"/>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66" name="Rectangle 965">
                  <a:extLst>
                    <a:ext uri="{FF2B5EF4-FFF2-40B4-BE49-F238E27FC236}">
                      <a16:creationId xmlns:a16="http://schemas.microsoft.com/office/drawing/2014/main" id="{F4256FA6-931D-4E8D-B1B1-68DDB4ED7762}"/>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68" name="Rectangle 967">
                  <a:extLst>
                    <a:ext uri="{FF2B5EF4-FFF2-40B4-BE49-F238E27FC236}">
                      <a16:creationId xmlns:a16="http://schemas.microsoft.com/office/drawing/2014/main" id="{49FBED81-C820-482D-AAE6-F602DCB63121}"/>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69" name="Freeform 12">
                  <a:extLst>
                    <a:ext uri="{FF2B5EF4-FFF2-40B4-BE49-F238E27FC236}">
                      <a16:creationId xmlns:a16="http://schemas.microsoft.com/office/drawing/2014/main" id="{2E7AF72B-E6CB-461D-8CCA-FAE79C290C69}"/>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70" name="Rectangle 969">
                  <a:extLst>
                    <a:ext uri="{FF2B5EF4-FFF2-40B4-BE49-F238E27FC236}">
                      <a16:creationId xmlns:a16="http://schemas.microsoft.com/office/drawing/2014/main" id="{BE6954F1-2953-4870-B2FE-6D0B9F20EC0C}"/>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71" name="Freeform 14">
                  <a:extLst>
                    <a:ext uri="{FF2B5EF4-FFF2-40B4-BE49-F238E27FC236}">
                      <a16:creationId xmlns:a16="http://schemas.microsoft.com/office/drawing/2014/main" id="{25EC3068-8C41-488C-8471-6D9632979E11}"/>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72" name="Rectangle 971">
                  <a:extLst>
                    <a:ext uri="{FF2B5EF4-FFF2-40B4-BE49-F238E27FC236}">
                      <a16:creationId xmlns:a16="http://schemas.microsoft.com/office/drawing/2014/main" id="{1FAC6A51-0131-43ED-8BE6-8ACACE4C1BA4}"/>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73" name="Freeform 16">
                  <a:extLst>
                    <a:ext uri="{FF2B5EF4-FFF2-40B4-BE49-F238E27FC236}">
                      <a16:creationId xmlns:a16="http://schemas.microsoft.com/office/drawing/2014/main" id="{D583CBDE-ADA1-4564-BB5F-1B51B2F62E6B}"/>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74" name="Freeform 17">
                  <a:extLst>
                    <a:ext uri="{FF2B5EF4-FFF2-40B4-BE49-F238E27FC236}">
                      <a16:creationId xmlns:a16="http://schemas.microsoft.com/office/drawing/2014/main" id="{521C1067-0140-48A3-8189-F9F98648600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75" name="Oval 974">
                  <a:extLst>
                    <a:ext uri="{FF2B5EF4-FFF2-40B4-BE49-F238E27FC236}">
                      <a16:creationId xmlns:a16="http://schemas.microsoft.com/office/drawing/2014/main" id="{8B5543BD-6C52-4EA9-A366-BEFBBAC1FC3A}"/>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76" name="Rectangle 975">
                  <a:extLst>
                    <a:ext uri="{FF2B5EF4-FFF2-40B4-BE49-F238E27FC236}">
                      <a16:creationId xmlns:a16="http://schemas.microsoft.com/office/drawing/2014/main" id="{9F0771D2-C49B-431F-A0DD-7A349106D81E}"/>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77" name="Freeform 20">
                  <a:extLst>
                    <a:ext uri="{FF2B5EF4-FFF2-40B4-BE49-F238E27FC236}">
                      <a16:creationId xmlns:a16="http://schemas.microsoft.com/office/drawing/2014/main" id="{B326D54C-4840-4B3E-AC78-5064565E2F1C}"/>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82" name="Freeform 21">
                  <a:extLst>
                    <a:ext uri="{FF2B5EF4-FFF2-40B4-BE49-F238E27FC236}">
                      <a16:creationId xmlns:a16="http://schemas.microsoft.com/office/drawing/2014/main" id="{C5856CF0-F610-4A3D-A6B3-4FAF41D45C19}"/>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983" name="Group 982">
                  <a:extLst>
                    <a:ext uri="{FF2B5EF4-FFF2-40B4-BE49-F238E27FC236}">
                      <a16:creationId xmlns:a16="http://schemas.microsoft.com/office/drawing/2014/main" id="{DB9D509B-7920-4044-ABB0-725D50065651}"/>
                    </a:ext>
                  </a:extLst>
                </p:cNvPr>
                <p:cNvGrpSpPr/>
                <p:nvPr/>
              </p:nvGrpSpPr>
              <p:grpSpPr>
                <a:xfrm>
                  <a:off x="3298176" y="4606481"/>
                  <a:ext cx="1260269" cy="2252753"/>
                  <a:chOff x="10352191" y="4087395"/>
                  <a:chExt cx="1336826" cy="2389605"/>
                </a:xfrm>
              </p:grpSpPr>
              <p:sp>
                <p:nvSpPr>
                  <p:cNvPr id="984" name="Rectangle 983">
                    <a:extLst>
                      <a:ext uri="{FF2B5EF4-FFF2-40B4-BE49-F238E27FC236}">
                        <a16:creationId xmlns:a16="http://schemas.microsoft.com/office/drawing/2014/main" id="{EB443485-06E5-4BFA-86AE-A7144F283DB2}"/>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85" name="Round Same Side Corner Rectangle 52">
                    <a:extLst>
                      <a:ext uri="{FF2B5EF4-FFF2-40B4-BE49-F238E27FC236}">
                        <a16:creationId xmlns:a16="http://schemas.microsoft.com/office/drawing/2014/main" id="{F7F12934-9933-4162-BA85-7508007B0D6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986" name="Rectangle 985">
                    <a:extLst>
                      <a:ext uri="{FF2B5EF4-FFF2-40B4-BE49-F238E27FC236}">
                        <a16:creationId xmlns:a16="http://schemas.microsoft.com/office/drawing/2014/main" id="{53236B79-472D-411B-BAD0-D1D550F8949E}"/>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87" name="Freeform 54">
                    <a:extLst>
                      <a:ext uri="{FF2B5EF4-FFF2-40B4-BE49-F238E27FC236}">
                        <a16:creationId xmlns:a16="http://schemas.microsoft.com/office/drawing/2014/main" id="{AEB3BF95-F550-4186-BAD6-57739E09DFE4}"/>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88" name="Freeform 55">
                    <a:extLst>
                      <a:ext uri="{FF2B5EF4-FFF2-40B4-BE49-F238E27FC236}">
                        <a16:creationId xmlns:a16="http://schemas.microsoft.com/office/drawing/2014/main" id="{002E40CD-3ABC-4166-B8CE-2645790A2FEC}"/>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89" name="Freeform 56">
                    <a:extLst>
                      <a:ext uri="{FF2B5EF4-FFF2-40B4-BE49-F238E27FC236}">
                        <a16:creationId xmlns:a16="http://schemas.microsoft.com/office/drawing/2014/main" id="{BA729C6F-B14A-40F5-947F-14CE3CA06A77}"/>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90" name="Freeform 57">
                    <a:extLst>
                      <a:ext uri="{FF2B5EF4-FFF2-40B4-BE49-F238E27FC236}">
                        <a16:creationId xmlns:a16="http://schemas.microsoft.com/office/drawing/2014/main" id="{3D35C573-D8B2-4D46-8296-3C1565B8F309}"/>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91" name="Freeform 58">
                    <a:extLst>
                      <a:ext uri="{FF2B5EF4-FFF2-40B4-BE49-F238E27FC236}">
                        <a16:creationId xmlns:a16="http://schemas.microsoft.com/office/drawing/2014/main" id="{69EC6795-3F02-4A89-9C4F-87EEC2A45E1F}"/>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92" name="Freeform 59">
                    <a:extLst>
                      <a:ext uri="{FF2B5EF4-FFF2-40B4-BE49-F238E27FC236}">
                        <a16:creationId xmlns:a16="http://schemas.microsoft.com/office/drawing/2014/main" id="{40B53D80-7EF8-41DE-AC6A-BD6490789DF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93" name="Freeform 60">
                    <a:extLst>
                      <a:ext uri="{FF2B5EF4-FFF2-40B4-BE49-F238E27FC236}">
                        <a16:creationId xmlns:a16="http://schemas.microsoft.com/office/drawing/2014/main" id="{665BA32C-3A54-4959-86F4-979D12748FBE}"/>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94" name="Freeform 61">
                    <a:extLst>
                      <a:ext uri="{FF2B5EF4-FFF2-40B4-BE49-F238E27FC236}">
                        <a16:creationId xmlns:a16="http://schemas.microsoft.com/office/drawing/2014/main" id="{7A6470FC-6B30-4B3D-886E-DF994EA6B21A}"/>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95" name="Oval 994">
                    <a:extLst>
                      <a:ext uri="{FF2B5EF4-FFF2-40B4-BE49-F238E27FC236}">
                        <a16:creationId xmlns:a16="http://schemas.microsoft.com/office/drawing/2014/main" id="{4A0EB60E-CD2E-49C6-99B7-95AA950C4ED5}"/>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96" name="Freeform 63">
                    <a:extLst>
                      <a:ext uri="{FF2B5EF4-FFF2-40B4-BE49-F238E27FC236}">
                        <a16:creationId xmlns:a16="http://schemas.microsoft.com/office/drawing/2014/main" id="{B2D006B9-EDC5-4D09-8980-6222DA5BBDDF}"/>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97" name="Rectangle 996">
                    <a:extLst>
                      <a:ext uri="{FF2B5EF4-FFF2-40B4-BE49-F238E27FC236}">
                        <a16:creationId xmlns:a16="http://schemas.microsoft.com/office/drawing/2014/main" id="{1EF2D1CA-6809-463C-AB26-84A9729DACAB}"/>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98" name="Freeform 65">
                    <a:extLst>
                      <a:ext uri="{FF2B5EF4-FFF2-40B4-BE49-F238E27FC236}">
                        <a16:creationId xmlns:a16="http://schemas.microsoft.com/office/drawing/2014/main" id="{1B6F32EB-2C47-4E4C-91C1-63328FB6244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99" name="Freeform 66">
                    <a:extLst>
                      <a:ext uri="{FF2B5EF4-FFF2-40B4-BE49-F238E27FC236}">
                        <a16:creationId xmlns:a16="http://schemas.microsoft.com/office/drawing/2014/main" id="{B9DB03E3-91EA-4159-8912-A4ED7B622CEA}"/>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000" name="Rectangle 999">
                    <a:extLst>
                      <a:ext uri="{FF2B5EF4-FFF2-40B4-BE49-F238E27FC236}">
                        <a16:creationId xmlns:a16="http://schemas.microsoft.com/office/drawing/2014/main" id="{FE4E3F1C-AD18-445E-99BF-46C9A43AD6AE}"/>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001" name="Freeform 68">
                    <a:extLst>
                      <a:ext uri="{FF2B5EF4-FFF2-40B4-BE49-F238E27FC236}">
                        <a16:creationId xmlns:a16="http://schemas.microsoft.com/office/drawing/2014/main" id="{3C19583D-3BEF-4FFE-A786-B39AC7FFEDCF}"/>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002" name="Freeform 69">
                    <a:extLst>
                      <a:ext uri="{FF2B5EF4-FFF2-40B4-BE49-F238E27FC236}">
                        <a16:creationId xmlns:a16="http://schemas.microsoft.com/office/drawing/2014/main" id="{DAD8DD32-BBFD-4F5C-9371-C0B98F58249A}"/>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003" name="Freeform 70">
                    <a:extLst>
                      <a:ext uri="{FF2B5EF4-FFF2-40B4-BE49-F238E27FC236}">
                        <a16:creationId xmlns:a16="http://schemas.microsoft.com/office/drawing/2014/main" id="{1E22094F-D1D4-436F-B7FC-CB79645D42D5}"/>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004" name="Freeform 71">
                    <a:extLst>
                      <a:ext uri="{FF2B5EF4-FFF2-40B4-BE49-F238E27FC236}">
                        <a16:creationId xmlns:a16="http://schemas.microsoft.com/office/drawing/2014/main" id="{5FFEDCC6-D1A0-4D91-8C57-1BDB3EDF9B51}"/>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005" name="Freeform 72">
                    <a:extLst>
                      <a:ext uri="{FF2B5EF4-FFF2-40B4-BE49-F238E27FC236}">
                        <a16:creationId xmlns:a16="http://schemas.microsoft.com/office/drawing/2014/main" id="{F798ED3F-F62B-4A18-9134-5E2FF046EBEC}"/>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006" name="Freeform 73">
                    <a:extLst>
                      <a:ext uri="{FF2B5EF4-FFF2-40B4-BE49-F238E27FC236}">
                        <a16:creationId xmlns:a16="http://schemas.microsoft.com/office/drawing/2014/main" id="{07888B21-8455-47D3-9FF2-E3E948D89F14}"/>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007" name="Freeform 74">
                    <a:extLst>
                      <a:ext uri="{FF2B5EF4-FFF2-40B4-BE49-F238E27FC236}">
                        <a16:creationId xmlns:a16="http://schemas.microsoft.com/office/drawing/2014/main" id="{0B88A6ED-1ED3-4A8E-B6C5-DA53C8772F70}"/>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008" name="Rectangle 1007">
                    <a:extLst>
                      <a:ext uri="{FF2B5EF4-FFF2-40B4-BE49-F238E27FC236}">
                        <a16:creationId xmlns:a16="http://schemas.microsoft.com/office/drawing/2014/main" id="{A2716D0B-84B9-45A9-8409-7E52C47CFDB1}"/>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009" name="Rectangle 1008">
                    <a:extLst>
                      <a:ext uri="{FF2B5EF4-FFF2-40B4-BE49-F238E27FC236}">
                        <a16:creationId xmlns:a16="http://schemas.microsoft.com/office/drawing/2014/main" id="{8287BF19-4139-4F5A-959F-26E9949CC167}"/>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963" name="Rectangle 962">
                <a:extLst>
                  <a:ext uri="{FF2B5EF4-FFF2-40B4-BE49-F238E27FC236}">
                    <a16:creationId xmlns:a16="http://schemas.microsoft.com/office/drawing/2014/main" id="{461337AA-453C-4200-9EAB-0C039C4A456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aphicFrame>
        <p:nvGraphicFramePr>
          <p:cNvPr id="692" name="Chart 691">
            <a:extLst>
              <a:ext uri="{FF2B5EF4-FFF2-40B4-BE49-F238E27FC236}">
                <a16:creationId xmlns:a16="http://schemas.microsoft.com/office/drawing/2014/main" id="{FD551237-09AC-44F1-85D0-1E0B8731D521}"/>
              </a:ext>
            </a:extLst>
          </p:cNvPr>
          <p:cNvGraphicFramePr/>
          <p:nvPr>
            <p:custDataLst>
              <p:tags r:id="rId4"/>
            </p:custDataLst>
          </p:nvPr>
        </p:nvGraphicFramePr>
        <p:xfrm>
          <a:off x="8366125" y="3335338"/>
          <a:ext cx="3136900" cy="1676400"/>
        </p:xfrm>
        <a:graphic>
          <a:graphicData uri="http://schemas.openxmlformats.org/drawingml/2006/chart">
            <c:chart xmlns:c="http://schemas.openxmlformats.org/drawingml/2006/chart" xmlns:r="http://schemas.openxmlformats.org/officeDocument/2006/relationships" r:id="rId18"/>
          </a:graphicData>
        </a:graphic>
      </p:graphicFrame>
      <p:cxnSp>
        <p:nvCxnSpPr>
          <p:cNvPr id="673" name="Straight Connector 672">
            <a:extLst>
              <a:ext uri="{FF2B5EF4-FFF2-40B4-BE49-F238E27FC236}">
                <a16:creationId xmlns:a16="http://schemas.microsoft.com/office/drawing/2014/main" id="{75EFEF71-FC69-4DB8-8288-118FC06F0BC7}"/>
              </a:ext>
            </a:extLst>
          </p:cNvPr>
          <p:cNvCxnSpPr/>
          <p:nvPr>
            <p:custDataLst>
              <p:tags r:id="rId5"/>
            </p:custDataLst>
          </p:nvPr>
        </p:nvCxnSpPr>
        <p:spPr bwMode="gray">
          <a:xfrm>
            <a:off x="9191625" y="3095625"/>
            <a:ext cx="1485900"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4" name="Straight Connector 673">
            <a:extLst>
              <a:ext uri="{FF2B5EF4-FFF2-40B4-BE49-F238E27FC236}">
                <a16:creationId xmlns:a16="http://schemas.microsoft.com/office/drawing/2014/main" id="{674E9823-5248-4900-8A9C-2656F6D6C603}"/>
              </a:ext>
            </a:extLst>
          </p:cNvPr>
          <p:cNvCxnSpPr/>
          <p:nvPr>
            <p:custDataLst>
              <p:tags r:id="rId6"/>
            </p:custDataLst>
          </p:nvPr>
        </p:nvCxnSpPr>
        <p:spPr bwMode="gray">
          <a:xfrm flipV="1">
            <a:off x="9191625" y="3095625"/>
            <a:ext cx="0" cy="7620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B13AED75-DF5B-414C-B541-0B6A01B1F2C1}"/>
              </a:ext>
            </a:extLst>
          </p:cNvPr>
          <p:cNvCxnSpPr/>
          <p:nvPr>
            <p:custDataLst>
              <p:tags r:id="rId7"/>
            </p:custDataLst>
          </p:nvPr>
        </p:nvCxnSpPr>
        <p:spPr bwMode="gray">
          <a:xfrm>
            <a:off x="10677525" y="3095625"/>
            <a:ext cx="0" cy="1339850"/>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676" name="Text Placeholder 3">
            <a:extLst>
              <a:ext uri="{FF2B5EF4-FFF2-40B4-BE49-F238E27FC236}">
                <a16:creationId xmlns:a16="http://schemas.microsoft.com/office/drawing/2014/main" id="{DD089544-987A-4BE3-9D96-80AB3233C1C0}"/>
              </a:ext>
            </a:extLst>
          </p:cNvPr>
          <p:cNvSpPr>
            <a:spLocks noGrp="1"/>
          </p:cNvSpPr>
          <p:nvPr>
            <p:custDataLst>
              <p:tags r:id="rId8"/>
            </p:custDataLst>
          </p:nvPr>
        </p:nvSpPr>
        <p:spPr bwMode="auto">
          <a:xfrm>
            <a:off x="8709025" y="5030788"/>
            <a:ext cx="965200"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B04AE23-C292-4156-B09B-AD2425EE531E}" type="datetime'W''indo''''ws'''''' 10 ''S''in''''g''l''e'''' Sessio''n'''''">
              <a:rPr lang="en-US" altLang="en-US" sz="1200" smtClean="0">
                <a:solidFill>
                  <a:schemeClr val="tx1"/>
                </a:solidFill>
                <a:cs typeface="+mn-cs"/>
                <a:sym typeface="+mn-lt"/>
              </a:rPr>
              <a:pPr marL="0" indent="0" algn="ctr">
                <a:spcBef>
                  <a:spcPct val="0"/>
                </a:spcBef>
                <a:spcAft>
                  <a:spcPct val="0"/>
                </a:spcAft>
                <a:buNone/>
              </a:pPr>
              <a:t>Windows 10 Single Session</a:t>
            </a:fld>
            <a:endParaRPr lang="en-US" sz="1200" dirty="0">
              <a:solidFill>
                <a:schemeClr val="tx1"/>
              </a:solidFill>
              <a:cs typeface="+mn-cs"/>
              <a:sym typeface="+mn-lt"/>
            </a:endParaRPr>
          </a:p>
        </p:txBody>
      </p:sp>
      <p:sp>
        <p:nvSpPr>
          <p:cNvPr id="671" name="Text Placeholder 3">
            <a:extLst>
              <a:ext uri="{FF2B5EF4-FFF2-40B4-BE49-F238E27FC236}">
                <a16:creationId xmlns:a16="http://schemas.microsoft.com/office/drawing/2014/main" id="{454F934F-46BE-490A-BB69-CE03238F4244}"/>
              </a:ext>
            </a:extLst>
          </p:cNvPr>
          <p:cNvSpPr>
            <a:spLocks noGrp="1"/>
          </p:cNvSpPr>
          <p:nvPr>
            <p:custDataLst>
              <p:tags r:id="rId9"/>
            </p:custDataLst>
          </p:nvPr>
        </p:nvSpPr>
        <p:spPr bwMode="gray">
          <a:xfrm>
            <a:off x="9024938" y="3209925"/>
            <a:ext cx="3349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8B8A0081-3699-4437-9436-650DC2639BAD}" type="datetime'''''''''''''4''''''''''''''''''''0'''''''''''''">
              <a:rPr lang="en-US" altLang="en-US" sz="1200" smtClean="0">
                <a:solidFill>
                  <a:schemeClr val="tx1"/>
                </a:solidFill>
                <a:cs typeface="+mn-cs"/>
                <a:sym typeface="+mn-lt"/>
              </a:rPr>
              <a:pPr marL="0" indent="0" algn="ctr">
                <a:spcBef>
                  <a:spcPct val="0"/>
                </a:spcBef>
                <a:spcAft>
                  <a:spcPct val="0"/>
                </a:spcAft>
                <a:buNone/>
              </a:pPr>
              <a:t>40</a:t>
            </a:fld>
            <a:r>
              <a:rPr lang="en-US" altLang="en-US" sz="1200" baseline="30000" dirty="0">
                <a:solidFill>
                  <a:schemeClr val="tx1"/>
                </a:solidFill>
                <a:cs typeface="+mn-cs"/>
                <a:sym typeface="+mn-lt"/>
              </a:rPr>
              <a:t>*</a:t>
            </a:r>
            <a:endParaRPr lang="en-US" sz="1200" baseline="30000" dirty="0">
              <a:solidFill>
                <a:schemeClr val="tx1"/>
              </a:solidFill>
              <a:cs typeface="+mn-cs"/>
              <a:sym typeface="+mn-lt"/>
            </a:endParaRPr>
          </a:p>
        </p:txBody>
      </p:sp>
      <p:sp>
        <p:nvSpPr>
          <p:cNvPr id="677" name="Text Placeholder 3">
            <a:extLst>
              <a:ext uri="{FF2B5EF4-FFF2-40B4-BE49-F238E27FC236}">
                <a16:creationId xmlns:a16="http://schemas.microsoft.com/office/drawing/2014/main" id="{42DF45BE-36A2-4603-A01E-58D3116FD576}"/>
              </a:ext>
            </a:extLst>
          </p:cNvPr>
          <p:cNvSpPr>
            <a:spLocks noGrp="1"/>
          </p:cNvSpPr>
          <p:nvPr>
            <p:custDataLst>
              <p:tags r:id="rId10"/>
            </p:custDataLst>
          </p:nvPr>
        </p:nvSpPr>
        <p:spPr bwMode="auto">
          <a:xfrm>
            <a:off x="10225088" y="5030788"/>
            <a:ext cx="906463"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C3A76F9-3C4E-4C9A-B51E-E0A163B989D3}" type="datetime'Wind''ows'''''' 1''0 M''ul''''t''i''-s''e''s''''sion'''''">
              <a:rPr lang="en-US" altLang="en-US" sz="1200" smtClean="0">
                <a:solidFill>
                  <a:schemeClr val="tx1"/>
                </a:solidFill>
                <a:cs typeface="+mn-cs"/>
                <a:sym typeface="+mn-lt"/>
              </a:rPr>
              <a:pPr marL="0" indent="0" algn="ctr">
                <a:spcBef>
                  <a:spcPct val="0"/>
                </a:spcBef>
                <a:spcAft>
                  <a:spcPct val="0"/>
                </a:spcAft>
                <a:buNone/>
              </a:pPr>
              <a:t>Windows 10 Multi-session</a:t>
            </a:fld>
            <a:endParaRPr lang="en-US" sz="1200" dirty="0">
              <a:solidFill>
                <a:schemeClr val="tx1"/>
              </a:solidFill>
              <a:cs typeface="+mn-cs"/>
              <a:sym typeface="+mn-lt"/>
            </a:endParaRPr>
          </a:p>
        </p:txBody>
      </p:sp>
      <p:sp>
        <p:nvSpPr>
          <p:cNvPr id="959" name="Text Placeholder 3">
            <a:extLst>
              <a:ext uri="{FF2B5EF4-FFF2-40B4-BE49-F238E27FC236}">
                <a16:creationId xmlns:a16="http://schemas.microsoft.com/office/drawing/2014/main" id="{20A6ADE2-DAB1-4BE5-8A28-DD1F5A0BF0B9}"/>
              </a:ext>
            </a:extLst>
          </p:cNvPr>
          <p:cNvSpPr>
            <a:spLocks noGrp="1"/>
          </p:cNvSpPr>
          <p:nvPr>
            <p:custDataLst>
              <p:tags r:id="rId11"/>
            </p:custDataLst>
          </p:nvPr>
        </p:nvSpPr>
        <p:spPr bwMode="gray">
          <a:xfrm>
            <a:off x="10572750" y="4473575"/>
            <a:ext cx="2095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D71C720E-6E19-4947-A25A-BEB53FEB7E2C}" type="datetime'''''''''''''''''''''''''''''''''''7'''">
              <a:rPr lang="en-US" altLang="en-US" sz="1200" smtClean="0">
                <a:solidFill>
                  <a:schemeClr val="tx1"/>
                </a:solidFill>
                <a:cs typeface="+mn-cs"/>
                <a:sym typeface="+mn-lt"/>
              </a:rPr>
              <a:pPr marL="0" indent="0" algn="ctr">
                <a:spcBef>
                  <a:spcPct val="0"/>
                </a:spcBef>
                <a:spcAft>
                  <a:spcPct val="0"/>
                </a:spcAft>
                <a:buNone/>
              </a:pPr>
              <a:t>7</a:t>
            </a:fld>
            <a:endParaRPr lang="en-US" sz="1200" dirty="0">
              <a:solidFill>
                <a:schemeClr val="tx1"/>
              </a:solidFill>
              <a:cs typeface="+mn-cs"/>
              <a:sym typeface="+mn-lt"/>
            </a:endParaRPr>
          </a:p>
        </p:txBody>
      </p:sp>
      <p:sp>
        <p:nvSpPr>
          <p:cNvPr id="678" name="Text Placeholder 3">
            <a:extLst>
              <a:ext uri="{FF2B5EF4-FFF2-40B4-BE49-F238E27FC236}">
                <a16:creationId xmlns:a16="http://schemas.microsoft.com/office/drawing/2014/main" id="{6A8CB8B3-94C5-4131-8D56-C1EF255B2F64}"/>
              </a:ext>
            </a:extLst>
          </p:cNvPr>
          <p:cNvSpPr>
            <a:spLocks noGrp="1"/>
          </p:cNvSpPr>
          <p:nvPr>
            <p:custDataLst>
              <p:tags r:id="rId12"/>
            </p:custDataLst>
          </p:nvPr>
        </p:nvSpPr>
        <p:spPr bwMode="auto">
          <a:xfrm>
            <a:off x="9631363" y="2944813"/>
            <a:ext cx="606425" cy="301625"/>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00" b="1" dirty="0">
                <a:solidFill>
                  <a:schemeClr val="tx1"/>
                </a:solidFill>
              </a:rPr>
              <a:t>-85%</a:t>
            </a:r>
            <a:endParaRPr lang="en-US" sz="1400" b="1" dirty="0">
              <a:solidFill>
                <a:schemeClr val="tx1"/>
              </a:solidFill>
              <a:sym typeface="+mn-lt"/>
            </a:endParaRPr>
          </a:p>
        </p:txBody>
      </p:sp>
      <p:sp>
        <p:nvSpPr>
          <p:cNvPr id="9" name="Graphic 7">
            <a:extLst>
              <a:ext uri="{FF2B5EF4-FFF2-40B4-BE49-F238E27FC236}">
                <a16:creationId xmlns:a16="http://schemas.microsoft.com/office/drawing/2014/main" id="{ABAD50CA-19C2-4815-AC75-CEF7716B890D}"/>
              </a:ext>
            </a:extLst>
          </p:cNvPr>
          <p:cNvSpPr/>
          <p:nvPr/>
        </p:nvSpPr>
        <p:spPr>
          <a:xfrm>
            <a:off x="1074135"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dirty="0"/>
          </a:p>
        </p:txBody>
      </p:sp>
      <p:sp>
        <p:nvSpPr>
          <p:cNvPr id="693" name="Graphic 7">
            <a:extLst>
              <a:ext uri="{FF2B5EF4-FFF2-40B4-BE49-F238E27FC236}">
                <a16:creationId xmlns:a16="http://schemas.microsoft.com/office/drawing/2014/main" id="{05B5A827-ABD2-438A-A0FD-6B741E313B28}"/>
              </a:ext>
            </a:extLst>
          </p:cNvPr>
          <p:cNvSpPr/>
          <p:nvPr/>
        </p:nvSpPr>
        <p:spPr>
          <a:xfrm>
            <a:off x="2237565"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dirty="0"/>
          </a:p>
        </p:txBody>
      </p:sp>
      <p:sp>
        <p:nvSpPr>
          <p:cNvPr id="694" name="Graphic 7">
            <a:extLst>
              <a:ext uri="{FF2B5EF4-FFF2-40B4-BE49-F238E27FC236}">
                <a16:creationId xmlns:a16="http://schemas.microsoft.com/office/drawing/2014/main" id="{D8715887-34C0-436B-A143-172EA7A2B967}"/>
              </a:ext>
            </a:extLst>
          </p:cNvPr>
          <p:cNvSpPr/>
          <p:nvPr/>
        </p:nvSpPr>
        <p:spPr>
          <a:xfrm>
            <a:off x="3399280"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dirty="0"/>
          </a:p>
        </p:txBody>
      </p:sp>
      <p:grpSp>
        <p:nvGrpSpPr>
          <p:cNvPr id="10" name="Group 9">
            <a:extLst>
              <a:ext uri="{FF2B5EF4-FFF2-40B4-BE49-F238E27FC236}">
                <a16:creationId xmlns:a16="http://schemas.microsoft.com/office/drawing/2014/main" id="{271EE84A-4EDB-453B-B625-1B3EB9FA1FA6}"/>
              </a:ext>
            </a:extLst>
          </p:cNvPr>
          <p:cNvGrpSpPr/>
          <p:nvPr/>
        </p:nvGrpSpPr>
        <p:grpSpPr>
          <a:xfrm>
            <a:off x="6023121" y="3849989"/>
            <a:ext cx="303928" cy="256164"/>
            <a:chOff x="6004725" y="3849989"/>
            <a:chExt cx="303928" cy="256164"/>
          </a:xfrm>
        </p:grpSpPr>
        <p:sp>
          <p:nvSpPr>
            <p:cNvPr id="695" name="Graphic 7">
              <a:extLst>
                <a:ext uri="{FF2B5EF4-FFF2-40B4-BE49-F238E27FC236}">
                  <a16:creationId xmlns:a16="http://schemas.microsoft.com/office/drawing/2014/main" id="{1C0F884A-537F-4DB2-ACA5-119A58A388A0}"/>
                </a:ext>
              </a:extLst>
            </p:cNvPr>
            <p:cNvSpPr/>
            <p:nvPr/>
          </p:nvSpPr>
          <p:spPr>
            <a:xfrm>
              <a:off x="6004725"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4"/>
            </a:solidFill>
            <a:ln w="27214" cap="flat">
              <a:noFill/>
              <a:prstDash val="solid"/>
              <a:miter/>
            </a:ln>
          </p:spPr>
          <p:txBody>
            <a:bodyPr rtlCol="0" anchor="ctr"/>
            <a:lstStyle/>
            <a:p>
              <a:endParaRPr lang="en-US" dirty="0"/>
            </a:p>
          </p:txBody>
        </p:sp>
        <p:sp>
          <p:nvSpPr>
            <p:cNvPr id="696" name="Graphic 7">
              <a:extLst>
                <a:ext uri="{FF2B5EF4-FFF2-40B4-BE49-F238E27FC236}">
                  <a16:creationId xmlns:a16="http://schemas.microsoft.com/office/drawing/2014/main" id="{6059F1A0-475D-4120-9762-6E3F2A2EED46}"/>
                </a:ext>
              </a:extLst>
            </p:cNvPr>
            <p:cNvSpPr/>
            <p:nvPr/>
          </p:nvSpPr>
          <p:spPr>
            <a:xfrm>
              <a:off x="6172566"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4"/>
            </a:solidFill>
            <a:ln w="27214" cap="flat">
              <a:noFill/>
              <a:prstDash val="solid"/>
              <a:miter/>
            </a:ln>
          </p:spPr>
          <p:txBody>
            <a:bodyPr rtlCol="0" anchor="ctr"/>
            <a:lstStyle/>
            <a:p>
              <a:endParaRPr lang="en-US" dirty="0"/>
            </a:p>
          </p:txBody>
        </p:sp>
      </p:grpSp>
      <p:grpSp>
        <p:nvGrpSpPr>
          <p:cNvPr id="369" name="Group 368">
            <a:extLst>
              <a:ext uri="{FF2B5EF4-FFF2-40B4-BE49-F238E27FC236}">
                <a16:creationId xmlns:a16="http://schemas.microsoft.com/office/drawing/2014/main" id="{1E45392A-F1FE-43E6-8508-33F79B41ADD6}"/>
              </a:ext>
            </a:extLst>
          </p:cNvPr>
          <p:cNvGrpSpPr/>
          <p:nvPr/>
        </p:nvGrpSpPr>
        <p:grpSpPr>
          <a:xfrm>
            <a:off x="10052458" y="146014"/>
            <a:ext cx="2033626" cy="1015650"/>
            <a:chOff x="10052458" y="146014"/>
            <a:chExt cx="2033626" cy="1015650"/>
          </a:xfrm>
        </p:grpSpPr>
        <p:pic>
          <p:nvPicPr>
            <p:cNvPr id="370" name="Picture 369">
              <a:extLst>
                <a:ext uri="{FF2B5EF4-FFF2-40B4-BE49-F238E27FC236}">
                  <a16:creationId xmlns:a16="http://schemas.microsoft.com/office/drawing/2014/main" id="{A44B715C-7E9A-44CE-B601-477BD683B26E}"/>
                </a:ext>
              </a:extLst>
            </p:cNvPr>
            <p:cNvPicPr>
              <a:picLocks noChangeAspect="1"/>
            </p:cNvPicPr>
            <p:nvPr/>
          </p:nvPicPr>
          <p:blipFill>
            <a:blip r:embed="rId19"/>
            <a:stretch>
              <a:fillRect/>
            </a:stretch>
          </p:blipFill>
          <p:spPr>
            <a:xfrm>
              <a:off x="10052458" y="146014"/>
              <a:ext cx="2033626" cy="1015650"/>
            </a:xfrm>
            <a:prstGeom prst="rect">
              <a:avLst/>
            </a:prstGeom>
          </p:spPr>
        </p:pic>
        <p:sp>
          <p:nvSpPr>
            <p:cNvPr id="371" name="Rectangle 370">
              <a:extLst>
                <a:ext uri="{FF2B5EF4-FFF2-40B4-BE49-F238E27FC236}">
                  <a16:creationId xmlns:a16="http://schemas.microsoft.com/office/drawing/2014/main" id="{95EA8E65-D0D1-4F55-9084-48C553587584}"/>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3307676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2670814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8" name="think-cell Slide" r:id="rId19" imgW="503" imgH="503" progId="TCLayout.ActiveDocument.1">
                  <p:embed/>
                </p:oleObj>
              </mc:Choice>
              <mc:Fallback>
                <p:oleObj name="think-cell Slide" r:id="rId19"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544" name="Rectangle 543">
            <a:extLst>
              <a:ext uri="{FF2B5EF4-FFF2-40B4-BE49-F238E27FC236}">
                <a16:creationId xmlns:a16="http://schemas.microsoft.com/office/drawing/2014/main" id="{64138279-6031-4E1D-912F-A40207257A55}"/>
              </a:ext>
            </a:extLst>
          </p:cNvPr>
          <p:cNvSpPr/>
          <p:nvPr/>
        </p:nvSpPr>
        <p:spPr bwMode="auto">
          <a:xfrm>
            <a:off x="584200" y="2351226"/>
            <a:ext cx="7330440" cy="36593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549" name="TextBox 548">
            <a:extLst>
              <a:ext uri="{FF2B5EF4-FFF2-40B4-BE49-F238E27FC236}">
                <a16:creationId xmlns:a16="http://schemas.microsoft.com/office/drawing/2014/main" id="{DBCE5651-A8B6-47DA-BD91-FB1D4154C9AE}"/>
              </a:ext>
            </a:extLst>
          </p:cNvPr>
          <p:cNvSpPr txBox="1"/>
          <p:nvPr/>
        </p:nvSpPr>
        <p:spPr>
          <a:xfrm>
            <a:off x="651493" y="2411901"/>
            <a:ext cx="3307089" cy="35041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555" name="TextBox 554">
            <a:extLst>
              <a:ext uri="{FF2B5EF4-FFF2-40B4-BE49-F238E27FC236}">
                <a16:creationId xmlns:a16="http://schemas.microsoft.com/office/drawing/2014/main" id="{CED3D012-17E9-4DF4-867A-BEC4CEBB4C60}"/>
              </a:ext>
            </a:extLst>
          </p:cNvPr>
          <p:cNvSpPr txBox="1"/>
          <p:nvPr/>
        </p:nvSpPr>
        <p:spPr>
          <a:xfrm>
            <a:off x="4540258" y="2411901"/>
            <a:ext cx="3307089" cy="350530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grpSp>
        <p:nvGrpSpPr>
          <p:cNvPr id="557" name="Group 556">
            <a:extLst>
              <a:ext uri="{FF2B5EF4-FFF2-40B4-BE49-F238E27FC236}">
                <a16:creationId xmlns:a16="http://schemas.microsoft.com/office/drawing/2014/main" id="{CDD8872B-E28F-49A3-8DE4-98DF519A5DE4}"/>
              </a:ext>
            </a:extLst>
          </p:cNvPr>
          <p:cNvGrpSpPr/>
          <p:nvPr/>
        </p:nvGrpSpPr>
        <p:grpSpPr>
          <a:xfrm>
            <a:off x="4048759" y="2550635"/>
            <a:ext cx="401322" cy="3292123"/>
            <a:chOff x="4048759" y="2770559"/>
            <a:chExt cx="401322" cy="3292123"/>
          </a:xfrm>
        </p:grpSpPr>
        <p:cxnSp>
          <p:nvCxnSpPr>
            <p:cNvPr id="558" name="Straight Connector 557">
              <a:extLst>
                <a:ext uri="{FF2B5EF4-FFF2-40B4-BE49-F238E27FC236}">
                  <a16:creationId xmlns:a16="http://schemas.microsoft.com/office/drawing/2014/main" id="{D53E6953-97D2-4F72-B5A7-92D8FFDF4799}"/>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729" name="Group 728">
              <a:extLst>
                <a:ext uri="{FF2B5EF4-FFF2-40B4-BE49-F238E27FC236}">
                  <a16:creationId xmlns:a16="http://schemas.microsoft.com/office/drawing/2014/main" id="{2BDA2086-F4AD-4C2E-B699-3F70536BE55C}"/>
                </a:ext>
              </a:extLst>
            </p:cNvPr>
            <p:cNvGrpSpPr/>
            <p:nvPr/>
          </p:nvGrpSpPr>
          <p:grpSpPr>
            <a:xfrm>
              <a:off x="4048759" y="4250939"/>
              <a:ext cx="401322" cy="401322"/>
              <a:chOff x="4048759" y="4228862"/>
              <a:chExt cx="401322" cy="401322"/>
            </a:xfrm>
          </p:grpSpPr>
          <p:sp>
            <p:nvSpPr>
              <p:cNvPr id="730" name="Oval 729">
                <a:extLst>
                  <a:ext uri="{FF2B5EF4-FFF2-40B4-BE49-F238E27FC236}">
                    <a16:creationId xmlns:a16="http://schemas.microsoft.com/office/drawing/2014/main" id="{0DE8E444-44DF-492C-84C3-78EEEFAE6468}"/>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33" name="Isosceles Triangle 732">
                <a:extLst>
                  <a:ext uri="{FF2B5EF4-FFF2-40B4-BE49-F238E27FC236}">
                    <a16:creationId xmlns:a16="http://schemas.microsoft.com/office/drawing/2014/main" id="{1A744358-18BB-4BB4-B315-D225CE3CDE13}"/>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50" name="TextBox 549">
            <a:extLst>
              <a:ext uri="{FF2B5EF4-FFF2-40B4-BE49-F238E27FC236}">
                <a16:creationId xmlns:a16="http://schemas.microsoft.com/office/drawing/2014/main" id="{724E0FEE-1A05-48C9-AA9E-695ABD00F29C}"/>
              </a:ext>
            </a:extLst>
          </p:cNvPr>
          <p:cNvSpPr txBox="1"/>
          <p:nvPr/>
        </p:nvSpPr>
        <p:spPr>
          <a:xfrm>
            <a:off x="4540258" y="2411799"/>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400" b="1" dirty="0">
                <a:solidFill>
                  <a:schemeClr val="bg1"/>
                </a:solidFill>
              </a:rPr>
              <a:t>WVD</a:t>
            </a:r>
          </a:p>
        </p:txBody>
      </p:sp>
      <p:sp>
        <p:nvSpPr>
          <p:cNvPr id="548" name="TextBox 547">
            <a:extLst>
              <a:ext uri="{FF2B5EF4-FFF2-40B4-BE49-F238E27FC236}">
                <a16:creationId xmlns:a16="http://schemas.microsoft.com/office/drawing/2014/main" id="{D3CFE680-404A-42B3-8928-B6F2F02F5C85}"/>
              </a:ext>
            </a:extLst>
          </p:cNvPr>
          <p:cNvSpPr txBox="1"/>
          <p:nvPr/>
        </p:nvSpPr>
        <p:spPr>
          <a:xfrm>
            <a:off x="651493" y="2411799"/>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400" b="1" dirty="0">
                <a:solidFill>
                  <a:schemeClr val="bg1"/>
                </a:solidFill>
              </a:rPr>
              <a:t>On-prem Virtualization</a:t>
            </a:r>
          </a:p>
        </p:txBody>
      </p:sp>
      <p:sp>
        <p:nvSpPr>
          <p:cNvPr id="1547" name="TextBox 1546">
            <a:extLst>
              <a:ext uri="{FF2B5EF4-FFF2-40B4-BE49-F238E27FC236}">
                <a16:creationId xmlns:a16="http://schemas.microsoft.com/office/drawing/2014/main" id="{A5B66337-AC6E-40EE-873B-952DCC9C2136}"/>
              </a:ext>
            </a:extLst>
          </p:cNvPr>
          <p:cNvSpPr txBox="1"/>
          <p:nvPr/>
        </p:nvSpPr>
        <p:spPr>
          <a:xfrm>
            <a:off x="8302299" y="2876907"/>
            <a:ext cx="3307089" cy="303855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fontAlgn="auto">
              <a:spcBef>
                <a:spcPts val="0"/>
              </a:spcBef>
              <a:spcAft>
                <a:spcPts val="0"/>
              </a:spcAft>
            </a:pPr>
            <a:r>
              <a:rPr lang="en-US" sz="850" dirty="0">
                <a:solidFill>
                  <a:schemeClr val="tx1"/>
                </a:solidFill>
                <a:ea typeface="+mn-ea"/>
                <a:cs typeface="+mn-cs"/>
              </a:rPr>
              <a:t>*On-prem cost varies widely depending on asset depreciation, RI cost on cloud is used as the proxy for average on-prem cost</a:t>
            </a:r>
          </a:p>
        </p:txBody>
      </p:sp>
      <p:sp>
        <p:nvSpPr>
          <p:cNvPr id="1539" name="TextBox 1538">
            <a:extLst>
              <a:ext uri="{FF2B5EF4-FFF2-40B4-BE49-F238E27FC236}">
                <a16:creationId xmlns:a16="http://schemas.microsoft.com/office/drawing/2014/main" id="{D26ED4D4-4E2F-47F6-AE57-3ECD9C741372}"/>
              </a:ext>
            </a:extLst>
          </p:cNvPr>
          <p:cNvSpPr txBox="1"/>
          <p:nvPr/>
        </p:nvSpPr>
        <p:spPr>
          <a:xfrm>
            <a:off x="8302299" y="2411799"/>
            <a:ext cx="3307089" cy="475488"/>
          </a:xfrm>
          <a:prstGeom prst="rect">
            <a:avLst/>
          </a:prstGeom>
          <a:solidFill>
            <a:schemeClr val="accent1"/>
          </a:solidFill>
          <a:ln w="6350">
            <a:solidFill>
              <a:schemeClr val="accent1"/>
            </a:solidFill>
          </a:ln>
        </p:spPr>
        <p:txBody>
          <a:bodyPr wrap="square" lIns="0" tIns="45720" rIns="0" bIns="45720" rtlCol="0" anchor="ctr">
            <a:noAutofit/>
          </a:bodyPr>
          <a:lstStyle/>
          <a:p>
            <a:pPr algn="ctr">
              <a:lnSpc>
                <a:spcPct val="90000"/>
              </a:lnSpc>
            </a:pPr>
            <a:r>
              <a:rPr lang="en-US" sz="1400" b="1" dirty="0">
                <a:solidFill>
                  <a:schemeClr val="bg1"/>
                </a:solidFill>
              </a:rPr>
              <a:t>(Compute) Example Economic Benefit</a:t>
            </a:r>
          </a:p>
          <a:p>
            <a:pPr algn="ctr">
              <a:lnSpc>
                <a:spcPct val="90000"/>
              </a:lnSpc>
            </a:pPr>
            <a:r>
              <a:rPr lang="en-US" sz="1400" b="1" dirty="0">
                <a:solidFill>
                  <a:schemeClr val="bg1"/>
                </a:solidFill>
              </a:rPr>
              <a:t>$ per month for 25 VMs</a:t>
            </a:r>
          </a:p>
        </p:txBody>
      </p:sp>
      <p:sp>
        <p:nvSpPr>
          <p:cNvPr id="334" name="Arrow: Right 333">
            <a:extLst>
              <a:ext uri="{FF2B5EF4-FFF2-40B4-BE49-F238E27FC236}">
                <a16:creationId xmlns:a16="http://schemas.microsoft.com/office/drawing/2014/main" id="{200C6E47-E0B1-4C21-9E33-493EFEDB74A5}"/>
              </a:ext>
            </a:extLst>
          </p:cNvPr>
          <p:cNvSpPr/>
          <p:nvPr/>
        </p:nvSpPr>
        <p:spPr bwMode="auto">
          <a:xfrm>
            <a:off x="7954902" y="4004883"/>
            <a:ext cx="307135" cy="352067"/>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42" name="TextBox 541">
            <a:extLst>
              <a:ext uri="{FF2B5EF4-FFF2-40B4-BE49-F238E27FC236}">
                <a16:creationId xmlns:a16="http://schemas.microsoft.com/office/drawing/2014/main" id="{CFBC7A77-5543-4E19-B84E-F471AAA595F8}"/>
              </a:ext>
            </a:extLst>
          </p:cNvPr>
          <p:cNvSpPr txBox="1"/>
          <p:nvPr/>
        </p:nvSpPr>
        <p:spPr>
          <a:xfrm>
            <a:off x="1111377" y="2982461"/>
            <a:ext cx="2387320" cy="184666"/>
          </a:xfrm>
          <a:prstGeom prst="rect">
            <a:avLst/>
          </a:prstGeom>
          <a:noFill/>
        </p:spPr>
        <p:txBody>
          <a:bodyPr wrap="none" lIns="0" tIns="0" rIns="0" bIns="0" rtlCol="0">
            <a:spAutoFit/>
          </a:bodyPr>
          <a:lstStyle/>
          <a:p>
            <a:pPr algn="ctr"/>
            <a:r>
              <a:rPr lang="en-US" sz="1200" b="1" i="1" dirty="0">
                <a:solidFill>
                  <a:schemeClr val="tx2"/>
                </a:solidFill>
              </a:rPr>
              <a:t>Provision and pay for </a:t>
            </a:r>
            <a:r>
              <a:rPr lang="en-US" sz="1200" b="1" i="1" u="sng" dirty="0">
                <a:solidFill>
                  <a:schemeClr val="tx2"/>
                </a:solidFill>
              </a:rPr>
              <a:t>peak</a:t>
            </a:r>
            <a:r>
              <a:rPr lang="en-US" sz="1200" b="1" i="1" dirty="0">
                <a:solidFill>
                  <a:schemeClr val="tx2"/>
                </a:solidFill>
              </a:rPr>
              <a:t> usage</a:t>
            </a:r>
          </a:p>
        </p:txBody>
      </p:sp>
      <p:sp>
        <p:nvSpPr>
          <p:cNvPr id="556" name="TextBox 555">
            <a:extLst>
              <a:ext uri="{FF2B5EF4-FFF2-40B4-BE49-F238E27FC236}">
                <a16:creationId xmlns:a16="http://schemas.microsoft.com/office/drawing/2014/main" id="{BAF33940-7E0A-4D8C-BCF3-58CF3C14F717}"/>
              </a:ext>
            </a:extLst>
          </p:cNvPr>
          <p:cNvSpPr txBox="1"/>
          <p:nvPr/>
        </p:nvSpPr>
        <p:spPr>
          <a:xfrm>
            <a:off x="4949648" y="2982461"/>
            <a:ext cx="2488310" cy="184666"/>
          </a:xfrm>
          <a:prstGeom prst="rect">
            <a:avLst/>
          </a:prstGeom>
          <a:noFill/>
        </p:spPr>
        <p:txBody>
          <a:bodyPr wrap="none" lIns="0" tIns="0" rIns="0" bIns="0" rtlCol="0">
            <a:spAutoFit/>
          </a:bodyPr>
          <a:lstStyle/>
          <a:p>
            <a:pPr algn="ctr"/>
            <a:r>
              <a:rPr lang="en-US" sz="1200" b="1" i="1" dirty="0">
                <a:solidFill>
                  <a:schemeClr val="tx2"/>
                </a:solidFill>
              </a:rPr>
              <a:t>Provision and pay for </a:t>
            </a:r>
            <a:r>
              <a:rPr lang="en-US" sz="1200" b="1" i="1" u="sng" dirty="0">
                <a:solidFill>
                  <a:schemeClr val="tx2"/>
                </a:solidFill>
              </a:rPr>
              <a:t>actual</a:t>
            </a:r>
            <a:r>
              <a:rPr lang="en-US" sz="1200" b="1" i="1" dirty="0">
                <a:solidFill>
                  <a:schemeClr val="tx2"/>
                </a:solidFill>
              </a:rPr>
              <a:t> usage</a:t>
            </a:r>
          </a:p>
        </p:txBody>
      </p:sp>
      <p:sp>
        <p:nvSpPr>
          <p:cNvPr id="11" name="TextBox 10">
            <a:extLst>
              <a:ext uri="{FF2B5EF4-FFF2-40B4-BE49-F238E27FC236}">
                <a16:creationId xmlns:a16="http://schemas.microsoft.com/office/drawing/2014/main" id="{722C12B6-C187-4CBA-BBB1-011ACC296741}"/>
              </a:ext>
            </a:extLst>
          </p:cNvPr>
          <p:cNvSpPr txBox="1"/>
          <p:nvPr/>
        </p:nvSpPr>
        <p:spPr>
          <a:xfrm>
            <a:off x="1060253" y="5505043"/>
            <a:ext cx="1828801" cy="153888"/>
          </a:xfrm>
          <a:prstGeom prst="rect">
            <a:avLst/>
          </a:prstGeom>
          <a:noFill/>
        </p:spPr>
        <p:txBody>
          <a:bodyPr wrap="square" lIns="0" tIns="0" rIns="0" bIns="0" rtlCol="0">
            <a:spAutoFit/>
          </a:bodyPr>
          <a:lstStyle/>
          <a:p>
            <a:pPr algn="l"/>
            <a:r>
              <a:rPr lang="en-US" sz="1000" dirty="0"/>
              <a:t>Amount of resource used</a:t>
            </a:r>
          </a:p>
        </p:txBody>
      </p:sp>
      <p:sp>
        <p:nvSpPr>
          <p:cNvPr id="740" name="TextBox 739">
            <a:extLst>
              <a:ext uri="{FF2B5EF4-FFF2-40B4-BE49-F238E27FC236}">
                <a16:creationId xmlns:a16="http://schemas.microsoft.com/office/drawing/2014/main" id="{2A21869B-2257-4E8C-8A36-7C97B67874D6}"/>
              </a:ext>
            </a:extLst>
          </p:cNvPr>
          <p:cNvSpPr txBox="1"/>
          <p:nvPr/>
        </p:nvSpPr>
        <p:spPr>
          <a:xfrm>
            <a:off x="1060253" y="5657443"/>
            <a:ext cx="1828801" cy="153888"/>
          </a:xfrm>
          <a:prstGeom prst="rect">
            <a:avLst/>
          </a:prstGeom>
          <a:noFill/>
        </p:spPr>
        <p:txBody>
          <a:bodyPr wrap="square" lIns="0" tIns="0" rIns="0" bIns="0" rtlCol="0">
            <a:spAutoFit/>
          </a:bodyPr>
          <a:lstStyle/>
          <a:p>
            <a:pPr algn="l"/>
            <a:r>
              <a:rPr lang="en-US" sz="1000" dirty="0"/>
              <a:t>Amount of resource paid for</a:t>
            </a:r>
          </a:p>
        </p:txBody>
      </p:sp>
      <p:cxnSp>
        <p:nvCxnSpPr>
          <p:cNvPr id="13" name="Straight Connector 12">
            <a:extLst>
              <a:ext uri="{FF2B5EF4-FFF2-40B4-BE49-F238E27FC236}">
                <a16:creationId xmlns:a16="http://schemas.microsoft.com/office/drawing/2014/main" id="{324AB30B-216C-4DEF-8819-E12328FE2BBC}"/>
              </a:ext>
            </a:extLst>
          </p:cNvPr>
          <p:cNvCxnSpPr/>
          <p:nvPr/>
        </p:nvCxnSpPr>
        <p:spPr>
          <a:xfrm>
            <a:off x="775675" y="5602304"/>
            <a:ext cx="195679"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4A5F7D1B-537B-490A-B170-BCDF59A0846A}"/>
              </a:ext>
            </a:extLst>
          </p:cNvPr>
          <p:cNvCxnSpPr/>
          <p:nvPr/>
        </p:nvCxnSpPr>
        <p:spPr>
          <a:xfrm>
            <a:off x="775675" y="5748354"/>
            <a:ext cx="195679" cy="0"/>
          </a:xfrm>
          <a:prstGeom prst="line">
            <a:avLst/>
          </a:prstGeom>
          <a:ln w="19050">
            <a:solidFill>
              <a:schemeClr val="accent3"/>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2" name="TextBox 741">
            <a:extLst>
              <a:ext uri="{FF2B5EF4-FFF2-40B4-BE49-F238E27FC236}">
                <a16:creationId xmlns:a16="http://schemas.microsoft.com/office/drawing/2014/main" id="{0B9B240B-11BB-4BAE-9EB8-B0F8BE08B505}"/>
              </a:ext>
            </a:extLst>
          </p:cNvPr>
          <p:cNvSpPr txBox="1"/>
          <p:nvPr/>
        </p:nvSpPr>
        <p:spPr>
          <a:xfrm>
            <a:off x="4931743" y="5335090"/>
            <a:ext cx="1828801" cy="153888"/>
          </a:xfrm>
          <a:prstGeom prst="rect">
            <a:avLst/>
          </a:prstGeom>
          <a:noFill/>
        </p:spPr>
        <p:txBody>
          <a:bodyPr wrap="square" lIns="0" tIns="0" rIns="0" bIns="0" rtlCol="0">
            <a:spAutoFit/>
          </a:bodyPr>
          <a:lstStyle/>
          <a:p>
            <a:pPr algn="l"/>
            <a:r>
              <a:rPr lang="en-US" sz="1000" dirty="0"/>
              <a:t>Amount of resource used</a:t>
            </a:r>
          </a:p>
        </p:txBody>
      </p:sp>
      <p:sp>
        <p:nvSpPr>
          <p:cNvPr id="743" name="TextBox 742">
            <a:extLst>
              <a:ext uri="{FF2B5EF4-FFF2-40B4-BE49-F238E27FC236}">
                <a16:creationId xmlns:a16="http://schemas.microsoft.com/office/drawing/2014/main" id="{3A34C9E6-87AD-42EE-91F4-E3A1701BF886}"/>
              </a:ext>
            </a:extLst>
          </p:cNvPr>
          <p:cNvSpPr txBox="1"/>
          <p:nvPr/>
        </p:nvSpPr>
        <p:spPr>
          <a:xfrm>
            <a:off x="4931743" y="5657443"/>
            <a:ext cx="1828801" cy="153888"/>
          </a:xfrm>
          <a:prstGeom prst="rect">
            <a:avLst/>
          </a:prstGeom>
          <a:noFill/>
        </p:spPr>
        <p:txBody>
          <a:bodyPr wrap="square" lIns="0" tIns="0" rIns="0" bIns="0" rtlCol="0">
            <a:spAutoFit/>
          </a:bodyPr>
          <a:lstStyle/>
          <a:p>
            <a:pPr algn="l"/>
            <a:r>
              <a:rPr lang="en-US" sz="1000" dirty="0"/>
              <a:t>Amount of pay-as-you-go</a:t>
            </a:r>
          </a:p>
        </p:txBody>
      </p:sp>
      <p:cxnSp>
        <p:nvCxnSpPr>
          <p:cNvPr id="744" name="Straight Connector 743">
            <a:extLst>
              <a:ext uri="{FF2B5EF4-FFF2-40B4-BE49-F238E27FC236}">
                <a16:creationId xmlns:a16="http://schemas.microsoft.com/office/drawing/2014/main" id="{2CFB1AB7-CF98-45C9-AA66-9DD4C6C52A08}"/>
              </a:ext>
            </a:extLst>
          </p:cNvPr>
          <p:cNvCxnSpPr/>
          <p:nvPr/>
        </p:nvCxnSpPr>
        <p:spPr>
          <a:xfrm>
            <a:off x="4647165" y="5432351"/>
            <a:ext cx="195679"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5" name="Straight Connector 744">
            <a:extLst>
              <a:ext uri="{FF2B5EF4-FFF2-40B4-BE49-F238E27FC236}">
                <a16:creationId xmlns:a16="http://schemas.microsoft.com/office/drawing/2014/main" id="{40E37D50-5A34-4C24-9652-C87B167FCE20}"/>
              </a:ext>
            </a:extLst>
          </p:cNvPr>
          <p:cNvCxnSpPr/>
          <p:nvPr/>
        </p:nvCxnSpPr>
        <p:spPr>
          <a:xfrm>
            <a:off x="4647165" y="5748354"/>
            <a:ext cx="195679" cy="0"/>
          </a:xfrm>
          <a:prstGeom prst="line">
            <a:avLst/>
          </a:prstGeom>
          <a:ln w="19050">
            <a:solidFill>
              <a:schemeClr val="accent4"/>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1DDD8FF-E416-4409-9E82-21C3B1C92DBE}"/>
              </a:ext>
            </a:extLst>
          </p:cNvPr>
          <p:cNvSpPr/>
          <p:nvPr/>
        </p:nvSpPr>
        <p:spPr bwMode="auto">
          <a:xfrm>
            <a:off x="4645452" y="5522031"/>
            <a:ext cx="195679" cy="11991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65760" tIns="0" rIns="0" bIns="0" numCol="1" spcCol="0" rtlCol="0" fromWordArt="0" anchor="ctr" anchorCtr="0" forceAA="0" compatLnSpc="1">
            <a:prstTxWarp prst="textNoShape">
              <a:avLst/>
            </a:prstTxWarp>
            <a:noAutofit/>
          </a:bodyPr>
          <a:lstStyle/>
          <a:p>
            <a:r>
              <a:rPr lang="en-US" sz="1000" dirty="0">
                <a:solidFill>
                  <a:schemeClr val="tx1"/>
                </a:solidFill>
              </a:rPr>
              <a:t>Amount of reserved instance paid for</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Cost Effective Compute and Storage</a:t>
            </a:r>
            <a:r>
              <a:rPr lang="en-US" baseline="30000" dirty="0"/>
              <a:t>*</a:t>
            </a:r>
          </a:p>
        </p:txBody>
      </p:sp>
      <p:sp>
        <p:nvSpPr>
          <p:cNvPr id="934" name="Rectangle 933">
            <a:extLst>
              <a:ext uri="{FF2B5EF4-FFF2-40B4-BE49-F238E27FC236}">
                <a16:creationId xmlns:a16="http://schemas.microsoft.com/office/drawing/2014/main" id="{EC4ED81D-2E44-4532-A77A-BA906D1DD670}"/>
              </a:ext>
            </a:extLst>
          </p:cNvPr>
          <p:cNvSpPr/>
          <p:nvPr/>
        </p:nvSpPr>
        <p:spPr>
          <a:xfrm>
            <a:off x="533943" y="114846"/>
            <a:ext cx="3462615" cy="369332"/>
          </a:xfrm>
          <a:prstGeom prst="rect">
            <a:avLst/>
          </a:prstGeom>
        </p:spPr>
        <p:txBody>
          <a:bodyPr wrap="none">
            <a:spAutoFit/>
          </a:bodyPr>
          <a:lstStyle/>
          <a:p>
            <a:r>
              <a:rPr lang="en-US" b="1" i="1" dirty="0"/>
              <a:t>Cost-optimized infrastructure</a:t>
            </a:r>
          </a:p>
        </p:txBody>
      </p:sp>
      <p:graphicFrame>
        <p:nvGraphicFramePr>
          <p:cNvPr id="539" name="Chart 538">
            <a:extLst>
              <a:ext uri="{FF2B5EF4-FFF2-40B4-BE49-F238E27FC236}">
                <a16:creationId xmlns:a16="http://schemas.microsoft.com/office/drawing/2014/main" id="{25CDE5EC-A43A-4769-B42F-236BA49D61BD}"/>
              </a:ext>
            </a:extLst>
          </p:cNvPr>
          <p:cNvGraphicFramePr/>
          <p:nvPr>
            <p:custDataLst>
              <p:tags r:id="rId4"/>
            </p:custDataLst>
          </p:nvPr>
        </p:nvGraphicFramePr>
        <p:xfrm>
          <a:off x="8589963" y="3365500"/>
          <a:ext cx="2713037" cy="1800225"/>
        </p:xfrm>
        <a:graphic>
          <a:graphicData uri="http://schemas.openxmlformats.org/drawingml/2006/chart">
            <c:chart xmlns:c="http://schemas.openxmlformats.org/drawingml/2006/chart" xmlns:r="http://schemas.openxmlformats.org/officeDocument/2006/relationships" r:id="rId21"/>
          </a:graphicData>
        </a:graphic>
      </p:graphicFrame>
      <p:cxnSp>
        <p:nvCxnSpPr>
          <p:cNvPr id="518" name="Straight Connector 517">
            <a:extLst>
              <a:ext uri="{FF2B5EF4-FFF2-40B4-BE49-F238E27FC236}">
                <a16:creationId xmlns:a16="http://schemas.microsoft.com/office/drawing/2014/main" id="{A3BB2FC0-9D2B-48E4-9601-6018A16F6504}"/>
              </a:ext>
            </a:extLst>
          </p:cNvPr>
          <p:cNvCxnSpPr/>
          <p:nvPr>
            <p:custDataLst>
              <p:tags r:id="rId5"/>
            </p:custDataLst>
          </p:nvPr>
        </p:nvCxnSpPr>
        <p:spPr bwMode="gray">
          <a:xfrm flipV="1">
            <a:off x="9309100" y="3125788"/>
            <a:ext cx="0" cy="7620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7" name="Straight Connector 516">
            <a:extLst>
              <a:ext uri="{FF2B5EF4-FFF2-40B4-BE49-F238E27FC236}">
                <a16:creationId xmlns:a16="http://schemas.microsoft.com/office/drawing/2014/main" id="{94C268A6-338B-4ADF-837F-D358BED9D520}"/>
              </a:ext>
            </a:extLst>
          </p:cNvPr>
          <p:cNvCxnSpPr/>
          <p:nvPr>
            <p:custDataLst>
              <p:tags r:id="rId6"/>
            </p:custDataLst>
          </p:nvPr>
        </p:nvCxnSpPr>
        <p:spPr bwMode="gray">
          <a:xfrm>
            <a:off x="9309100" y="3125788"/>
            <a:ext cx="1274763"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9" name="Straight Connector 518">
            <a:extLst>
              <a:ext uri="{FF2B5EF4-FFF2-40B4-BE49-F238E27FC236}">
                <a16:creationId xmlns:a16="http://schemas.microsoft.com/office/drawing/2014/main" id="{C76FF0B2-7F2F-496B-9FFE-EAB89ED6ACF1}"/>
              </a:ext>
            </a:extLst>
          </p:cNvPr>
          <p:cNvCxnSpPr/>
          <p:nvPr>
            <p:custDataLst>
              <p:tags r:id="rId7"/>
            </p:custDataLst>
          </p:nvPr>
        </p:nvCxnSpPr>
        <p:spPr bwMode="gray">
          <a:xfrm>
            <a:off x="10583863" y="3125788"/>
            <a:ext cx="0" cy="530225"/>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522" name="Text Placeholder 3">
            <a:extLst>
              <a:ext uri="{FF2B5EF4-FFF2-40B4-BE49-F238E27FC236}">
                <a16:creationId xmlns:a16="http://schemas.microsoft.com/office/drawing/2014/main" id="{1DF1266A-6C59-4B76-B069-8EFE1A44CBC5}"/>
              </a:ext>
            </a:extLst>
          </p:cNvPr>
          <p:cNvSpPr>
            <a:spLocks noGrp="1"/>
          </p:cNvSpPr>
          <p:nvPr>
            <p:custDataLst>
              <p:tags r:id="rId8"/>
            </p:custDataLst>
          </p:nvPr>
        </p:nvSpPr>
        <p:spPr bwMode="auto">
          <a:xfrm>
            <a:off x="11080750" y="4800600"/>
            <a:ext cx="1317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D067C11-3968-4DBD-852D-43DF1DB9ED45}" type="datetime'''RI'''''''''''''''''''''''''''''''''''''''''''''''">
              <a:rPr lang="en-US" altLang="en-US" sz="1200" smtClean="0">
                <a:solidFill>
                  <a:schemeClr val="tx1"/>
                </a:solidFill>
                <a:cs typeface="+mn-cs"/>
                <a:sym typeface="+mn-lt"/>
              </a:rPr>
              <a:pPr marL="0" indent="0">
                <a:spcBef>
                  <a:spcPct val="0"/>
                </a:spcBef>
                <a:spcAft>
                  <a:spcPct val="0"/>
                </a:spcAft>
                <a:buNone/>
              </a:pPr>
              <a:t>RI</a:t>
            </a:fld>
            <a:endParaRPr lang="en-US" sz="1200" dirty="0">
              <a:solidFill>
                <a:schemeClr val="tx1"/>
              </a:solidFill>
              <a:cs typeface="+mn-cs"/>
              <a:sym typeface="+mn-lt"/>
            </a:endParaRPr>
          </a:p>
        </p:txBody>
      </p:sp>
      <p:sp>
        <p:nvSpPr>
          <p:cNvPr id="545" name="Text Placeholder 3">
            <a:extLst>
              <a:ext uri="{FF2B5EF4-FFF2-40B4-BE49-F238E27FC236}">
                <a16:creationId xmlns:a16="http://schemas.microsoft.com/office/drawing/2014/main" id="{FA57D3F6-7177-46BA-B2AC-3E7EEDF4B702}"/>
              </a:ext>
            </a:extLst>
          </p:cNvPr>
          <p:cNvSpPr>
            <a:spLocks noGrp="1"/>
          </p:cNvSpPr>
          <p:nvPr>
            <p:custDataLst>
              <p:tags r:id="rId9"/>
            </p:custDataLst>
          </p:nvPr>
        </p:nvSpPr>
        <p:spPr bwMode="gray">
          <a:xfrm>
            <a:off x="9064625" y="3240088"/>
            <a:ext cx="4905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2AE7091B-DC1D-4EDE-8A7E-AE7AA80693F9}" type="datetime'''2'''''''''''',8''''''''''''5''''0'''''''''''''''''''''">
              <a:rPr lang="en-US" altLang="en-US" sz="1200" smtClean="0">
                <a:solidFill>
                  <a:schemeClr val="tx1"/>
                </a:solidFill>
                <a:cs typeface="+mn-cs"/>
                <a:sym typeface="+mn-lt"/>
              </a:rPr>
              <a:pPr marL="0" indent="0" algn="ctr">
                <a:spcBef>
                  <a:spcPct val="0"/>
                </a:spcBef>
                <a:spcAft>
                  <a:spcPct val="0"/>
                </a:spcAft>
                <a:buNone/>
              </a:pPr>
              <a:t>2,850</a:t>
            </a:fld>
            <a:endParaRPr lang="en-US" sz="1200" dirty="0">
              <a:solidFill>
                <a:schemeClr val="tx1"/>
              </a:solidFill>
              <a:cs typeface="+mn-cs"/>
              <a:sym typeface="+mn-lt"/>
            </a:endParaRPr>
          </a:p>
        </p:txBody>
      </p:sp>
      <p:sp>
        <p:nvSpPr>
          <p:cNvPr id="521" name="Text Placeholder 3">
            <a:extLst>
              <a:ext uri="{FF2B5EF4-FFF2-40B4-BE49-F238E27FC236}">
                <a16:creationId xmlns:a16="http://schemas.microsoft.com/office/drawing/2014/main" id="{392AEF2B-6565-4B88-B33A-55EA57218043}"/>
              </a:ext>
            </a:extLst>
          </p:cNvPr>
          <p:cNvSpPr>
            <a:spLocks noGrp="1"/>
          </p:cNvSpPr>
          <p:nvPr>
            <p:custDataLst>
              <p:tags r:id="rId10"/>
            </p:custDataLst>
          </p:nvPr>
        </p:nvSpPr>
        <p:spPr bwMode="auto">
          <a:xfrm>
            <a:off x="11080750" y="4210050"/>
            <a:ext cx="3460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A115FDD-CB37-46F7-826D-C800A557E7A5}" type="datetime'''''''''''''''''''''''''''P''AY''''''''''''''''''''G'''''''''">
              <a:rPr lang="en-US" altLang="en-US" sz="1200" smtClean="0">
                <a:solidFill>
                  <a:schemeClr val="tx1"/>
                </a:solidFill>
                <a:cs typeface="+mn-cs"/>
                <a:sym typeface="+mn-lt"/>
              </a:rPr>
              <a:pPr marL="0" indent="0">
                <a:spcBef>
                  <a:spcPct val="0"/>
                </a:spcBef>
                <a:spcAft>
                  <a:spcPct val="0"/>
                </a:spcAft>
                <a:buNone/>
              </a:pPr>
              <a:t>PAYG</a:t>
            </a:fld>
            <a:endParaRPr lang="en-US" sz="1200" dirty="0">
              <a:solidFill>
                <a:schemeClr val="tx1"/>
              </a:solidFill>
              <a:cs typeface="+mn-cs"/>
              <a:sym typeface="+mn-lt"/>
            </a:endParaRPr>
          </a:p>
        </p:txBody>
      </p:sp>
      <p:sp>
        <p:nvSpPr>
          <p:cNvPr id="523" name="Text Placeholder 3">
            <a:extLst>
              <a:ext uri="{FF2B5EF4-FFF2-40B4-BE49-F238E27FC236}">
                <a16:creationId xmlns:a16="http://schemas.microsoft.com/office/drawing/2014/main" id="{6EBEA22B-65E5-4657-B00B-07FF030516C7}"/>
              </a:ext>
            </a:extLst>
          </p:cNvPr>
          <p:cNvSpPr>
            <a:spLocks noGrp="1"/>
          </p:cNvSpPr>
          <p:nvPr>
            <p:custDataLst>
              <p:tags r:id="rId11"/>
            </p:custDataLst>
          </p:nvPr>
        </p:nvSpPr>
        <p:spPr bwMode="auto">
          <a:xfrm>
            <a:off x="8966200" y="5184775"/>
            <a:ext cx="6873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F7696F5-A344-4A06-BD0E-9A193F858CD1}" type="datetime'O''''''''''''''''n''''''-p''''r''e''''''''''''''''''''m'">
              <a:rPr lang="en-US" altLang="en-US" sz="1200" smtClean="0">
                <a:solidFill>
                  <a:schemeClr val="tx1"/>
                </a:solidFill>
                <a:cs typeface="+mn-cs"/>
                <a:sym typeface="+mn-lt"/>
              </a:rPr>
              <a:pPr marL="0" indent="0" algn="ctr">
                <a:spcBef>
                  <a:spcPct val="0"/>
                </a:spcBef>
                <a:spcAft>
                  <a:spcPct val="0"/>
                </a:spcAft>
                <a:buNone/>
              </a:pPr>
              <a:t>On-prem</a:t>
            </a:fld>
            <a:r>
              <a:rPr lang="en-US" altLang="en-US" sz="1200" dirty="0">
                <a:solidFill>
                  <a:schemeClr val="tx1"/>
                </a:solidFill>
                <a:cs typeface="+mn-cs"/>
                <a:sym typeface="+mn-lt"/>
              </a:rPr>
              <a:t>*</a:t>
            </a:r>
            <a:endParaRPr lang="en-US" sz="1200" dirty="0">
              <a:solidFill>
                <a:schemeClr val="tx1"/>
              </a:solidFill>
              <a:cs typeface="+mn-cs"/>
              <a:sym typeface="+mn-lt"/>
            </a:endParaRPr>
          </a:p>
        </p:txBody>
      </p:sp>
      <p:sp>
        <p:nvSpPr>
          <p:cNvPr id="746" name="Text Placeholder 3">
            <a:extLst>
              <a:ext uri="{FF2B5EF4-FFF2-40B4-BE49-F238E27FC236}">
                <a16:creationId xmlns:a16="http://schemas.microsoft.com/office/drawing/2014/main" id="{4E4306CF-3A8A-4BD9-A421-6277EF2D00E2}"/>
              </a:ext>
            </a:extLst>
          </p:cNvPr>
          <p:cNvSpPr>
            <a:spLocks noGrp="1"/>
          </p:cNvSpPr>
          <p:nvPr>
            <p:custDataLst>
              <p:tags r:id="rId12"/>
            </p:custDataLst>
          </p:nvPr>
        </p:nvSpPr>
        <p:spPr bwMode="gray">
          <a:xfrm>
            <a:off x="10396538" y="4800600"/>
            <a:ext cx="3746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7A67B977-2902-4984-B7F9-AE45449B8877}" type="datetime'''''''''''''''''''''''6''''''''''''''''''7''0'''''''">
              <a:rPr lang="en-US" altLang="en-US" sz="1200" smtClean="0">
                <a:solidFill>
                  <a:schemeClr val="tx1"/>
                </a:solidFill>
                <a:cs typeface="+mn-cs"/>
                <a:sym typeface="+mn-lt"/>
              </a:rPr>
              <a:pPr marL="0" indent="0" algn="ctr">
                <a:spcBef>
                  <a:spcPct val="0"/>
                </a:spcBef>
                <a:spcAft>
                  <a:spcPct val="0"/>
                </a:spcAft>
                <a:buNone/>
              </a:pPr>
              <a:t>670</a:t>
            </a:fld>
            <a:endParaRPr lang="en-US" sz="1200" dirty="0">
              <a:solidFill>
                <a:schemeClr val="tx1"/>
              </a:solidFill>
              <a:cs typeface="+mn-cs"/>
              <a:sym typeface="+mn-lt"/>
            </a:endParaRPr>
          </a:p>
        </p:txBody>
      </p:sp>
      <p:sp>
        <p:nvSpPr>
          <p:cNvPr id="553" name="Text Placeholder 3">
            <a:extLst>
              <a:ext uri="{FF2B5EF4-FFF2-40B4-BE49-F238E27FC236}">
                <a16:creationId xmlns:a16="http://schemas.microsoft.com/office/drawing/2014/main" id="{08D603C8-ED10-4D2C-BE12-4B00838B81B7}"/>
              </a:ext>
            </a:extLst>
          </p:cNvPr>
          <p:cNvSpPr>
            <a:spLocks noGrp="1"/>
          </p:cNvSpPr>
          <p:nvPr>
            <p:custDataLst>
              <p:tags r:id="rId13"/>
            </p:custDataLst>
          </p:nvPr>
        </p:nvSpPr>
        <p:spPr bwMode="gray">
          <a:xfrm>
            <a:off x="10339388" y="4210050"/>
            <a:ext cx="4905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bg1"/>
                </a:solidFill>
                <a:cs typeface="+mn-cs"/>
                <a:sym typeface="+mn-lt"/>
              </a:rPr>
              <a:t>$</a:t>
            </a:r>
            <a:fld id="{C4D5F662-B9CD-44BC-B0E9-F09875D5C36B}" type="datetime'1'''''''''''''''''''''''',''''''''''''''''''3''9''0'">
              <a:rPr lang="en-US" altLang="en-US" sz="1200" smtClean="0">
                <a:solidFill>
                  <a:schemeClr val="bg1"/>
                </a:solidFill>
                <a:cs typeface="+mn-cs"/>
                <a:sym typeface="+mn-lt"/>
              </a:rPr>
              <a:pPr marL="0" indent="0" algn="ctr">
                <a:spcBef>
                  <a:spcPct val="0"/>
                </a:spcBef>
                <a:spcAft>
                  <a:spcPct val="0"/>
                </a:spcAft>
                <a:buNone/>
              </a:pPr>
              <a:t>1,390</a:t>
            </a:fld>
            <a:endParaRPr lang="en-US" sz="1200" dirty="0">
              <a:solidFill>
                <a:schemeClr val="bg1"/>
              </a:solidFill>
              <a:cs typeface="+mn-cs"/>
              <a:sym typeface="+mn-lt"/>
            </a:endParaRPr>
          </a:p>
        </p:txBody>
      </p:sp>
      <p:sp>
        <p:nvSpPr>
          <p:cNvPr id="524" name="Text Placeholder 3">
            <a:extLst>
              <a:ext uri="{FF2B5EF4-FFF2-40B4-BE49-F238E27FC236}">
                <a16:creationId xmlns:a16="http://schemas.microsoft.com/office/drawing/2014/main" id="{EA12601D-2534-4FB6-A182-C3A8286B2E4B}"/>
              </a:ext>
            </a:extLst>
          </p:cNvPr>
          <p:cNvSpPr>
            <a:spLocks noGrp="1"/>
          </p:cNvSpPr>
          <p:nvPr>
            <p:custDataLst>
              <p:tags r:id="rId14"/>
            </p:custDataLst>
          </p:nvPr>
        </p:nvSpPr>
        <p:spPr bwMode="auto">
          <a:xfrm>
            <a:off x="10287000" y="5184775"/>
            <a:ext cx="5953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33C6A62-1972-4F9E-A955-B1FB197EA9D8}" type="datetime'''''R''I+''''''PA''''''Y''''''''''''''''G'''''''''''''''''''''">
              <a:rPr lang="en-US" altLang="en-US" sz="1200" smtClean="0">
                <a:solidFill>
                  <a:schemeClr val="tx1"/>
                </a:solidFill>
                <a:cs typeface="+mn-cs"/>
                <a:sym typeface="+mn-lt"/>
              </a:rPr>
              <a:pPr marL="0" indent="0" algn="ctr">
                <a:spcBef>
                  <a:spcPct val="0"/>
                </a:spcBef>
                <a:spcAft>
                  <a:spcPct val="0"/>
                </a:spcAft>
                <a:buNone/>
              </a:pPr>
              <a:t>RI+PAYG</a:t>
            </a:fld>
            <a:endParaRPr lang="en-US" sz="1200" dirty="0">
              <a:solidFill>
                <a:schemeClr val="tx1"/>
              </a:solidFill>
              <a:cs typeface="+mn-cs"/>
              <a:sym typeface="+mn-lt"/>
            </a:endParaRPr>
          </a:p>
        </p:txBody>
      </p:sp>
      <p:sp>
        <p:nvSpPr>
          <p:cNvPr id="525" name="Text Placeholder 3">
            <a:extLst>
              <a:ext uri="{FF2B5EF4-FFF2-40B4-BE49-F238E27FC236}">
                <a16:creationId xmlns:a16="http://schemas.microsoft.com/office/drawing/2014/main" id="{F410D628-69E3-4C6E-B2DD-87EF1421FFFF}"/>
              </a:ext>
            </a:extLst>
          </p:cNvPr>
          <p:cNvSpPr>
            <a:spLocks noGrp="1"/>
          </p:cNvSpPr>
          <p:nvPr>
            <p:custDataLst>
              <p:tags r:id="rId15"/>
            </p:custDataLst>
          </p:nvPr>
        </p:nvSpPr>
        <p:spPr bwMode="gray">
          <a:xfrm>
            <a:off x="10339388" y="3694113"/>
            <a:ext cx="4905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90B5656A-24F5-42BB-A62C-1A9E660674D4}" type="datetime'''''''''''2'''''''''''',''''0''''''''''''''''''''6''''0'">
              <a:rPr lang="en-US" altLang="en-US" sz="1200" smtClean="0">
                <a:solidFill>
                  <a:schemeClr val="tx1"/>
                </a:solidFill>
                <a:cs typeface="+mn-cs"/>
                <a:sym typeface="+mn-lt"/>
              </a:rPr>
              <a:pPr marL="0" indent="0" algn="ctr">
                <a:spcBef>
                  <a:spcPct val="0"/>
                </a:spcBef>
                <a:spcAft>
                  <a:spcPct val="0"/>
                </a:spcAft>
                <a:buNone/>
              </a:pPr>
              <a:t>2,060</a:t>
            </a:fld>
            <a:endParaRPr lang="en-US" sz="1200" dirty="0">
              <a:solidFill>
                <a:schemeClr val="tx1"/>
              </a:solidFill>
              <a:cs typeface="+mn-cs"/>
              <a:sym typeface="+mn-lt"/>
            </a:endParaRPr>
          </a:p>
        </p:txBody>
      </p:sp>
      <p:sp>
        <p:nvSpPr>
          <p:cNvPr id="526" name="Text Placeholder 3">
            <a:extLst>
              <a:ext uri="{FF2B5EF4-FFF2-40B4-BE49-F238E27FC236}">
                <a16:creationId xmlns:a16="http://schemas.microsoft.com/office/drawing/2014/main" id="{B6646927-064B-4307-AFF4-75B011072A20}"/>
              </a:ext>
            </a:extLst>
          </p:cNvPr>
          <p:cNvSpPr>
            <a:spLocks noGrp="1"/>
          </p:cNvSpPr>
          <p:nvPr>
            <p:custDataLst>
              <p:tags r:id="rId16"/>
            </p:custDataLst>
          </p:nvPr>
        </p:nvSpPr>
        <p:spPr bwMode="auto">
          <a:xfrm>
            <a:off x="9642475" y="2974975"/>
            <a:ext cx="606425" cy="301625"/>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400" b="1" dirty="0">
                <a:solidFill>
                  <a:schemeClr val="tx1"/>
                </a:solidFill>
                <a:cs typeface="+mn-cs"/>
                <a:sym typeface="+mn-lt"/>
              </a:rPr>
              <a:t>-30%</a:t>
            </a:r>
          </a:p>
        </p:txBody>
      </p:sp>
      <p:sp>
        <p:nvSpPr>
          <p:cNvPr id="541" name="Freeform: Shape 540">
            <a:extLst>
              <a:ext uri="{FF2B5EF4-FFF2-40B4-BE49-F238E27FC236}">
                <a16:creationId xmlns:a16="http://schemas.microsoft.com/office/drawing/2014/main" id="{ED9A7233-8720-4924-99CC-273CA3642847}"/>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on-prem virtualization to WVD</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Pay for actual usage instead of peak usage; optimize compute by using both Pay-as-you-go and Reserved Instance</a:t>
            </a:r>
          </a:p>
        </p:txBody>
      </p:sp>
      <p:grpSp>
        <p:nvGrpSpPr>
          <p:cNvPr id="543" name="Group 542">
            <a:extLst>
              <a:ext uri="{FF2B5EF4-FFF2-40B4-BE49-F238E27FC236}">
                <a16:creationId xmlns:a16="http://schemas.microsoft.com/office/drawing/2014/main" id="{6404359A-797E-4728-880E-16B3E82D0D7F}"/>
              </a:ext>
            </a:extLst>
          </p:cNvPr>
          <p:cNvGrpSpPr>
            <a:grpSpLocks noChangeAspect="1"/>
          </p:cNvGrpSpPr>
          <p:nvPr/>
        </p:nvGrpSpPr>
        <p:grpSpPr>
          <a:xfrm>
            <a:off x="10777886" y="1372927"/>
            <a:ext cx="806355" cy="914400"/>
            <a:chOff x="797126" y="3893732"/>
            <a:chExt cx="1125722" cy="1276864"/>
          </a:xfrm>
        </p:grpSpPr>
        <p:sp>
          <p:nvSpPr>
            <p:cNvPr id="546" name="Freeform 403">
              <a:extLst>
                <a:ext uri="{FF2B5EF4-FFF2-40B4-BE49-F238E27FC236}">
                  <a16:creationId xmlns:a16="http://schemas.microsoft.com/office/drawing/2014/main" id="{56762D17-A3DA-4B7A-9F98-37F5410962D4}"/>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547" name="Freeform: Shape 546">
              <a:extLst>
                <a:ext uri="{FF2B5EF4-FFF2-40B4-BE49-F238E27FC236}">
                  <a16:creationId xmlns:a16="http://schemas.microsoft.com/office/drawing/2014/main" id="{ED79D829-C27D-48BB-B2D5-E5A7F57EE6A9}"/>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551" name="Group 550">
              <a:extLst>
                <a:ext uri="{FF2B5EF4-FFF2-40B4-BE49-F238E27FC236}">
                  <a16:creationId xmlns:a16="http://schemas.microsoft.com/office/drawing/2014/main" id="{B755C55D-E42E-4236-8474-80EE483E3AAE}"/>
                </a:ext>
              </a:extLst>
            </p:cNvPr>
            <p:cNvGrpSpPr/>
            <p:nvPr/>
          </p:nvGrpSpPr>
          <p:grpSpPr>
            <a:xfrm>
              <a:off x="971699" y="4043345"/>
              <a:ext cx="773592" cy="920012"/>
              <a:chOff x="993458" y="3447450"/>
              <a:chExt cx="682781" cy="812014"/>
            </a:xfrm>
          </p:grpSpPr>
          <p:grpSp>
            <p:nvGrpSpPr>
              <p:cNvPr id="554" name="Group 553">
                <a:extLst>
                  <a:ext uri="{FF2B5EF4-FFF2-40B4-BE49-F238E27FC236}">
                    <a16:creationId xmlns:a16="http://schemas.microsoft.com/office/drawing/2014/main" id="{CACFBB67-D7B0-4411-B696-2D88A93D9CF8}"/>
                  </a:ext>
                </a:extLst>
              </p:cNvPr>
              <p:cNvGrpSpPr/>
              <p:nvPr/>
            </p:nvGrpSpPr>
            <p:grpSpPr>
              <a:xfrm>
                <a:off x="993458" y="3447450"/>
                <a:ext cx="576652" cy="812014"/>
                <a:chOff x="499414" y="1517311"/>
                <a:chExt cx="3686809" cy="5340604"/>
              </a:xfrm>
            </p:grpSpPr>
            <p:sp>
              <p:nvSpPr>
                <p:cNvPr id="844" name="Rectangle 843">
                  <a:extLst>
                    <a:ext uri="{FF2B5EF4-FFF2-40B4-BE49-F238E27FC236}">
                      <a16:creationId xmlns:a16="http://schemas.microsoft.com/office/drawing/2014/main" id="{93F5BBA4-DF0C-4DE2-BE61-6F2BE7BD2A47}"/>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845" name="Group 844">
                  <a:extLst>
                    <a:ext uri="{FF2B5EF4-FFF2-40B4-BE49-F238E27FC236}">
                      <a16:creationId xmlns:a16="http://schemas.microsoft.com/office/drawing/2014/main" id="{D5F513D0-FB43-417F-8A6E-624518D59FE8}"/>
                    </a:ext>
                  </a:extLst>
                </p:cNvPr>
                <p:cNvGrpSpPr/>
                <p:nvPr/>
              </p:nvGrpSpPr>
              <p:grpSpPr>
                <a:xfrm rot="20371446">
                  <a:off x="2524661" y="2299216"/>
                  <a:ext cx="859576" cy="554927"/>
                  <a:chOff x="4775201" y="792163"/>
                  <a:chExt cx="2024063" cy="1306513"/>
                </a:xfrm>
              </p:grpSpPr>
              <p:sp>
                <p:nvSpPr>
                  <p:cNvPr id="899" name="Freeform 354">
                    <a:extLst>
                      <a:ext uri="{FF2B5EF4-FFF2-40B4-BE49-F238E27FC236}">
                        <a16:creationId xmlns:a16="http://schemas.microsoft.com/office/drawing/2014/main" id="{137B82CD-1EAB-4113-8628-1340199C5D0C}"/>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0" name="Rectangle 899">
                    <a:extLst>
                      <a:ext uri="{FF2B5EF4-FFF2-40B4-BE49-F238E27FC236}">
                        <a16:creationId xmlns:a16="http://schemas.microsoft.com/office/drawing/2014/main" id="{C3F2555E-D50F-43AC-9519-F272A761EA1E}"/>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1" name="Freeform 356">
                    <a:extLst>
                      <a:ext uri="{FF2B5EF4-FFF2-40B4-BE49-F238E27FC236}">
                        <a16:creationId xmlns:a16="http://schemas.microsoft.com/office/drawing/2014/main" id="{A9F99D2A-E69A-451C-8CFC-68AB074F02B2}"/>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2" name="Freeform 357">
                    <a:extLst>
                      <a:ext uri="{FF2B5EF4-FFF2-40B4-BE49-F238E27FC236}">
                        <a16:creationId xmlns:a16="http://schemas.microsoft.com/office/drawing/2014/main" id="{73F92F1F-F72B-404A-A247-FD299B86FC45}"/>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3" name="Freeform 358">
                    <a:extLst>
                      <a:ext uri="{FF2B5EF4-FFF2-40B4-BE49-F238E27FC236}">
                        <a16:creationId xmlns:a16="http://schemas.microsoft.com/office/drawing/2014/main" id="{8019764E-7153-47BE-9FB8-76114DF328E8}"/>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4" name="Rectangle 903">
                    <a:extLst>
                      <a:ext uri="{FF2B5EF4-FFF2-40B4-BE49-F238E27FC236}">
                        <a16:creationId xmlns:a16="http://schemas.microsoft.com/office/drawing/2014/main" id="{21BCDA4D-6C4A-4484-A350-DD3A5DFCF748}"/>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5" name="Freeform 360">
                    <a:extLst>
                      <a:ext uri="{FF2B5EF4-FFF2-40B4-BE49-F238E27FC236}">
                        <a16:creationId xmlns:a16="http://schemas.microsoft.com/office/drawing/2014/main" id="{3C861770-5CFB-4AC4-928F-7A4DF5180A8D}"/>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6" name="Rectangle 905">
                    <a:extLst>
                      <a:ext uri="{FF2B5EF4-FFF2-40B4-BE49-F238E27FC236}">
                        <a16:creationId xmlns:a16="http://schemas.microsoft.com/office/drawing/2014/main" id="{99680F6B-14ED-4D8A-BF89-682CF204C671}"/>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7" name="Rectangle 906">
                    <a:extLst>
                      <a:ext uri="{FF2B5EF4-FFF2-40B4-BE49-F238E27FC236}">
                        <a16:creationId xmlns:a16="http://schemas.microsoft.com/office/drawing/2014/main" id="{A160306D-579E-44D2-B2EF-B46D6C8FEE61}"/>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8" name="Rectangle 907">
                    <a:extLst>
                      <a:ext uri="{FF2B5EF4-FFF2-40B4-BE49-F238E27FC236}">
                        <a16:creationId xmlns:a16="http://schemas.microsoft.com/office/drawing/2014/main" id="{8556C367-33C8-45F1-B8FD-5F9C3A649CBE}"/>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9" name="Rectangle 908">
                    <a:extLst>
                      <a:ext uri="{FF2B5EF4-FFF2-40B4-BE49-F238E27FC236}">
                        <a16:creationId xmlns:a16="http://schemas.microsoft.com/office/drawing/2014/main" id="{CE8D33CA-D9FF-4014-A8DF-6B41115A0B2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10" name="Rectangle 909">
                    <a:extLst>
                      <a:ext uri="{FF2B5EF4-FFF2-40B4-BE49-F238E27FC236}">
                        <a16:creationId xmlns:a16="http://schemas.microsoft.com/office/drawing/2014/main" id="{00C63450-9B80-4CBC-B336-D9681560776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846" name="Group 845">
                  <a:extLst>
                    <a:ext uri="{FF2B5EF4-FFF2-40B4-BE49-F238E27FC236}">
                      <a16:creationId xmlns:a16="http://schemas.microsoft.com/office/drawing/2014/main" id="{127A4B1F-E6F9-437E-AB0E-666E33DAC53D}"/>
                    </a:ext>
                  </a:extLst>
                </p:cNvPr>
                <p:cNvGrpSpPr/>
                <p:nvPr/>
              </p:nvGrpSpPr>
              <p:grpSpPr>
                <a:xfrm>
                  <a:off x="1190120" y="2235988"/>
                  <a:ext cx="983059" cy="983198"/>
                  <a:chOff x="5413781" y="5749281"/>
                  <a:chExt cx="652036" cy="652036"/>
                </a:xfrm>
              </p:grpSpPr>
              <p:sp>
                <p:nvSpPr>
                  <p:cNvPr id="897" name="Oval 896">
                    <a:extLst>
                      <a:ext uri="{FF2B5EF4-FFF2-40B4-BE49-F238E27FC236}">
                        <a16:creationId xmlns:a16="http://schemas.microsoft.com/office/drawing/2014/main" id="{C355380D-7362-4A3C-BBE9-15AE29EDD5C0}"/>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98" name="Freeform 353">
                    <a:extLst>
                      <a:ext uri="{FF2B5EF4-FFF2-40B4-BE49-F238E27FC236}">
                        <a16:creationId xmlns:a16="http://schemas.microsoft.com/office/drawing/2014/main" id="{D40466EB-50EC-457B-BC12-DD5D272B7970}"/>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7" name="Group 846">
                  <a:extLst>
                    <a:ext uri="{FF2B5EF4-FFF2-40B4-BE49-F238E27FC236}">
                      <a16:creationId xmlns:a16="http://schemas.microsoft.com/office/drawing/2014/main" id="{0C73580F-21CF-4EFF-9642-449E174038C6}"/>
                    </a:ext>
                  </a:extLst>
                </p:cNvPr>
                <p:cNvGrpSpPr>
                  <a:grpSpLocks noChangeAspect="1"/>
                </p:cNvGrpSpPr>
                <p:nvPr/>
              </p:nvGrpSpPr>
              <p:grpSpPr bwMode="auto">
                <a:xfrm rot="1800000">
                  <a:off x="3563928" y="2295726"/>
                  <a:ext cx="622295" cy="847393"/>
                  <a:chOff x="6652" y="1661"/>
                  <a:chExt cx="260" cy="354"/>
                </a:xfrm>
              </p:grpSpPr>
              <p:sp>
                <p:nvSpPr>
                  <p:cNvPr id="893" name="AutoShape 138">
                    <a:extLst>
                      <a:ext uri="{FF2B5EF4-FFF2-40B4-BE49-F238E27FC236}">
                        <a16:creationId xmlns:a16="http://schemas.microsoft.com/office/drawing/2014/main" id="{9A228277-74E4-46C1-B2FE-06523598FFC1}"/>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894" name="Freeform 349">
                    <a:extLst>
                      <a:ext uri="{FF2B5EF4-FFF2-40B4-BE49-F238E27FC236}">
                        <a16:creationId xmlns:a16="http://schemas.microsoft.com/office/drawing/2014/main" id="{8F4FCF4D-FCD9-4B34-A42D-A8E83C41C69A}"/>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895" name="Rectangle 894">
                    <a:extLst>
                      <a:ext uri="{FF2B5EF4-FFF2-40B4-BE49-F238E27FC236}">
                        <a16:creationId xmlns:a16="http://schemas.microsoft.com/office/drawing/2014/main" id="{6D24F2A8-0964-4C31-8CBA-ECE1572658B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896" name="Freeform 351">
                    <a:extLst>
                      <a:ext uri="{FF2B5EF4-FFF2-40B4-BE49-F238E27FC236}">
                        <a16:creationId xmlns:a16="http://schemas.microsoft.com/office/drawing/2014/main" id="{138E23E5-3145-42A3-950E-01B74C015459}"/>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848" name="Group 847">
                  <a:extLst>
                    <a:ext uri="{FF2B5EF4-FFF2-40B4-BE49-F238E27FC236}">
                      <a16:creationId xmlns:a16="http://schemas.microsoft.com/office/drawing/2014/main" id="{C8780CCB-5B09-4282-B2F5-E2E17BDD555F}"/>
                    </a:ext>
                  </a:extLst>
                </p:cNvPr>
                <p:cNvGrpSpPr/>
                <p:nvPr/>
              </p:nvGrpSpPr>
              <p:grpSpPr>
                <a:xfrm flipH="1">
                  <a:off x="499414" y="3565526"/>
                  <a:ext cx="1323206" cy="3292389"/>
                  <a:chOff x="8371759" y="2973033"/>
                  <a:chExt cx="1482609" cy="3688507"/>
                </a:xfrm>
              </p:grpSpPr>
              <p:sp>
                <p:nvSpPr>
                  <p:cNvPr id="859" name="Freeform 314">
                    <a:extLst>
                      <a:ext uri="{FF2B5EF4-FFF2-40B4-BE49-F238E27FC236}">
                        <a16:creationId xmlns:a16="http://schemas.microsoft.com/office/drawing/2014/main" id="{456A7AEB-9E1E-42C5-841B-CA3D440B073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0" name="Freeform 315">
                    <a:extLst>
                      <a:ext uri="{FF2B5EF4-FFF2-40B4-BE49-F238E27FC236}">
                        <a16:creationId xmlns:a16="http://schemas.microsoft.com/office/drawing/2014/main" id="{BA52707F-F93D-488A-956D-E486994129A5}"/>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1" name="Freeform 316">
                    <a:extLst>
                      <a:ext uri="{FF2B5EF4-FFF2-40B4-BE49-F238E27FC236}">
                        <a16:creationId xmlns:a16="http://schemas.microsoft.com/office/drawing/2014/main" id="{25F707D2-8B9E-4D03-B53D-C8F71FF86AF2}"/>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2" name="Rectangle 861">
                    <a:extLst>
                      <a:ext uri="{FF2B5EF4-FFF2-40B4-BE49-F238E27FC236}">
                        <a16:creationId xmlns:a16="http://schemas.microsoft.com/office/drawing/2014/main" id="{268D2D45-CC49-4AC0-B6AC-9C1C299419A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3" name="Rectangle 862">
                    <a:extLst>
                      <a:ext uri="{FF2B5EF4-FFF2-40B4-BE49-F238E27FC236}">
                        <a16:creationId xmlns:a16="http://schemas.microsoft.com/office/drawing/2014/main" id="{C6BAAEF7-1AF9-403F-AD3F-3AB1CF72D095}"/>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4" name="Rectangle 863">
                    <a:extLst>
                      <a:ext uri="{FF2B5EF4-FFF2-40B4-BE49-F238E27FC236}">
                        <a16:creationId xmlns:a16="http://schemas.microsoft.com/office/drawing/2014/main" id="{0DC29CFC-AC07-4E0C-978B-513C30BEC76B}"/>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5" name="Rectangle 864">
                    <a:extLst>
                      <a:ext uri="{FF2B5EF4-FFF2-40B4-BE49-F238E27FC236}">
                        <a16:creationId xmlns:a16="http://schemas.microsoft.com/office/drawing/2014/main" id="{6557846E-0797-46F1-A5B9-F84A30F97436}"/>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6" name="Freeform 321">
                    <a:extLst>
                      <a:ext uri="{FF2B5EF4-FFF2-40B4-BE49-F238E27FC236}">
                        <a16:creationId xmlns:a16="http://schemas.microsoft.com/office/drawing/2014/main" id="{8524A84F-7C80-4634-B5D7-9E07C48107CE}"/>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7" name="Rectangle 866">
                    <a:extLst>
                      <a:ext uri="{FF2B5EF4-FFF2-40B4-BE49-F238E27FC236}">
                        <a16:creationId xmlns:a16="http://schemas.microsoft.com/office/drawing/2014/main" id="{5A951FA4-7D9A-4FD2-83E2-F36927F24D2A}"/>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8" name="Rectangle 867">
                    <a:extLst>
                      <a:ext uri="{FF2B5EF4-FFF2-40B4-BE49-F238E27FC236}">
                        <a16:creationId xmlns:a16="http://schemas.microsoft.com/office/drawing/2014/main" id="{CBF14A3F-9BF5-48BE-B310-AE61C6993C77}"/>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9" name="Freeform 324">
                    <a:extLst>
                      <a:ext uri="{FF2B5EF4-FFF2-40B4-BE49-F238E27FC236}">
                        <a16:creationId xmlns:a16="http://schemas.microsoft.com/office/drawing/2014/main" id="{0D905745-44B2-4462-B3A3-36A6F5964049}"/>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0" name="Freeform 325">
                    <a:extLst>
                      <a:ext uri="{FF2B5EF4-FFF2-40B4-BE49-F238E27FC236}">
                        <a16:creationId xmlns:a16="http://schemas.microsoft.com/office/drawing/2014/main" id="{373ECB1E-922E-46B5-A226-6E7E4CC602E3}"/>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1" name="Freeform 326">
                    <a:extLst>
                      <a:ext uri="{FF2B5EF4-FFF2-40B4-BE49-F238E27FC236}">
                        <a16:creationId xmlns:a16="http://schemas.microsoft.com/office/drawing/2014/main" id="{8EDE4EB9-0199-4029-9ECC-1114C12437AF}"/>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2" name="Freeform 327">
                    <a:extLst>
                      <a:ext uri="{FF2B5EF4-FFF2-40B4-BE49-F238E27FC236}">
                        <a16:creationId xmlns:a16="http://schemas.microsoft.com/office/drawing/2014/main" id="{6F87FCD0-35DF-4C22-B036-268CA53B0461}"/>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3" name="Freeform 328">
                    <a:extLst>
                      <a:ext uri="{FF2B5EF4-FFF2-40B4-BE49-F238E27FC236}">
                        <a16:creationId xmlns:a16="http://schemas.microsoft.com/office/drawing/2014/main" id="{E26AD5F5-D749-473B-A7A5-8574B9327758}"/>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4" name="Freeform 329">
                    <a:extLst>
                      <a:ext uri="{FF2B5EF4-FFF2-40B4-BE49-F238E27FC236}">
                        <a16:creationId xmlns:a16="http://schemas.microsoft.com/office/drawing/2014/main" id="{49193765-3FD6-4D85-8345-3DFA323FB93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5" name="Freeform 330">
                    <a:extLst>
                      <a:ext uri="{FF2B5EF4-FFF2-40B4-BE49-F238E27FC236}">
                        <a16:creationId xmlns:a16="http://schemas.microsoft.com/office/drawing/2014/main" id="{70E084CA-DE1C-4530-AAE7-A3F0F6134F4B}"/>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6" name="Freeform 331">
                    <a:extLst>
                      <a:ext uri="{FF2B5EF4-FFF2-40B4-BE49-F238E27FC236}">
                        <a16:creationId xmlns:a16="http://schemas.microsoft.com/office/drawing/2014/main" id="{8B24BE6B-BE7F-4CEB-85C0-2AC95A1A9F59}"/>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7" name="Freeform 332">
                    <a:extLst>
                      <a:ext uri="{FF2B5EF4-FFF2-40B4-BE49-F238E27FC236}">
                        <a16:creationId xmlns:a16="http://schemas.microsoft.com/office/drawing/2014/main" id="{DAAFB908-6CCC-4079-9501-B41B349B1275}"/>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8" name="Freeform 333">
                    <a:extLst>
                      <a:ext uri="{FF2B5EF4-FFF2-40B4-BE49-F238E27FC236}">
                        <a16:creationId xmlns:a16="http://schemas.microsoft.com/office/drawing/2014/main" id="{973363E7-A586-47E9-AE0A-CBB4B2959359}"/>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9" name="Freeform 334">
                    <a:extLst>
                      <a:ext uri="{FF2B5EF4-FFF2-40B4-BE49-F238E27FC236}">
                        <a16:creationId xmlns:a16="http://schemas.microsoft.com/office/drawing/2014/main" id="{E2CC7759-1F74-405D-BB44-C89AE8F779F8}"/>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0" name="Freeform 335">
                    <a:extLst>
                      <a:ext uri="{FF2B5EF4-FFF2-40B4-BE49-F238E27FC236}">
                        <a16:creationId xmlns:a16="http://schemas.microsoft.com/office/drawing/2014/main" id="{B99A0863-B522-47DD-8D2E-DE202F77387C}"/>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1" name="Freeform 336">
                    <a:extLst>
                      <a:ext uri="{FF2B5EF4-FFF2-40B4-BE49-F238E27FC236}">
                        <a16:creationId xmlns:a16="http://schemas.microsoft.com/office/drawing/2014/main" id="{E41BA30D-2EE5-4425-855A-D7858C450E22}"/>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2" name="Freeform 337">
                    <a:extLst>
                      <a:ext uri="{FF2B5EF4-FFF2-40B4-BE49-F238E27FC236}">
                        <a16:creationId xmlns:a16="http://schemas.microsoft.com/office/drawing/2014/main" id="{1D8283AB-B67E-4857-B2BE-C8503AC0EBF4}"/>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3" name="Freeform 338">
                    <a:extLst>
                      <a:ext uri="{FF2B5EF4-FFF2-40B4-BE49-F238E27FC236}">
                        <a16:creationId xmlns:a16="http://schemas.microsoft.com/office/drawing/2014/main" id="{2F7A4446-A42D-4A7F-BF2F-B3126265C231}"/>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4" name="Freeform 339">
                    <a:extLst>
                      <a:ext uri="{FF2B5EF4-FFF2-40B4-BE49-F238E27FC236}">
                        <a16:creationId xmlns:a16="http://schemas.microsoft.com/office/drawing/2014/main" id="{8904AADA-0EFD-4676-8520-8429E167FF45}"/>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5" name="Freeform 340">
                    <a:extLst>
                      <a:ext uri="{FF2B5EF4-FFF2-40B4-BE49-F238E27FC236}">
                        <a16:creationId xmlns:a16="http://schemas.microsoft.com/office/drawing/2014/main" id="{9990EB7F-A3F6-49FC-9894-37F1BEE6D39F}"/>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6" name="Freeform 341">
                    <a:extLst>
                      <a:ext uri="{FF2B5EF4-FFF2-40B4-BE49-F238E27FC236}">
                        <a16:creationId xmlns:a16="http://schemas.microsoft.com/office/drawing/2014/main" id="{E653C6F3-D7C6-4B30-9DB6-CC3A7BAD95D3}"/>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7" name="Freeform 342">
                    <a:extLst>
                      <a:ext uri="{FF2B5EF4-FFF2-40B4-BE49-F238E27FC236}">
                        <a16:creationId xmlns:a16="http://schemas.microsoft.com/office/drawing/2014/main" id="{F1232C2E-218D-472B-A6B6-D8461A66E11F}"/>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8" name="Freeform 343">
                    <a:extLst>
                      <a:ext uri="{FF2B5EF4-FFF2-40B4-BE49-F238E27FC236}">
                        <a16:creationId xmlns:a16="http://schemas.microsoft.com/office/drawing/2014/main" id="{CB482528-CBF0-40CD-884E-B80BBDDAB9EA}"/>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9" name="Freeform 344">
                    <a:extLst>
                      <a:ext uri="{FF2B5EF4-FFF2-40B4-BE49-F238E27FC236}">
                        <a16:creationId xmlns:a16="http://schemas.microsoft.com/office/drawing/2014/main" id="{C079BADE-2676-4950-B9F9-DB6E908F7826}"/>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90" name="Freeform 345">
                    <a:extLst>
                      <a:ext uri="{FF2B5EF4-FFF2-40B4-BE49-F238E27FC236}">
                        <a16:creationId xmlns:a16="http://schemas.microsoft.com/office/drawing/2014/main" id="{F57B3E36-95BC-4B75-A4E7-DE271B5678E7}"/>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91" name="Freeform 346">
                    <a:extLst>
                      <a:ext uri="{FF2B5EF4-FFF2-40B4-BE49-F238E27FC236}">
                        <a16:creationId xmlns:a16="http://schemas.microsoft.com/office/drawing/2014/main" id="{56ABDBC5-148D-46A4-BDC8-C64033F1878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92" name="Freeform 347">
                    <a:extLst>
                      <a:ext uri="{FF2B5EF4-FFF2-40B4-BE49-F238E27FC236}">
                        <a16:creationId xmlns:a16="http://schemas.microsoft.com/office/drawing/2014/main" id="{7467DE4C-A2A2-4E4D-B8F5-C7E601FCEA3E}"/>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849" name="Straight Connector 848">
                  <a:extLst>
                    <a:ext uri="{FF2B5EF4-FFF2-40B4-BE49-F238E27FC236}">
                      <a16:creationId xmlns:a16="http://schemas.microsoft.com/office/drawing/2014/main" id="{53CC9178-845E-4254-B208-49170805B18A}"/>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850" name="Straight Connector 849">
                  <a:extLst>
                    <a:ext uri="{FF2B5EF4-FFF2-40B4-BE49-F238E27FC236}">
                      <a16:creationId xmlns:a16="http://schemas.microsoft.com/office/drawing/2014/main" id="{547BE1B3-D5C6-46A8-A748-75ECD1A6CE6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851" name="Straight Connector 850">
                  <a:extLst>
                    <a:ext uri="{FF2B5EF4-FFF2-40B4-BE49-F238E27FC236}">
                      <a16:creationId xmlns:a16="http://schemas.microsoft.com/office/drawing/2014/main" id="{256C38C1-BCA3-4533-A6D9-CF434B495F1D}"/>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852" name="Straight Connector 851">
                  <a:extLst>
                    <a:ext uri="{FF2B5EF4-FFF2-40B4-BE49-F238E27FC236}">
                      <a16:creationId xmlns:a16="http://schemas.microsoft.com/office/drawing/2014/main" id="{F7C82243-B36B-4B2D-86BC-4CD845EBB6A3}"/>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853" name="Group 852">
                  <a:extLst>
                    <a:ext uri="{FF2B5EF4-FFF2-40B4-BE49-F238E27FC236}">
                      <a16:creationId xmlns:a16="http://schemas.microsoft.com/office/drawing/2014/main" id="{D7C9EF1D-B55B-4AE8-B172-60E2524C8642}"/>
                    </a:ext>
                  </a:extLst>
                </p:cNvPr>
                <p:cNvGrpSpPr/>
                <p:nvPr/>
              </p:nvGrpSpPr>
              <p:grpSpPr>
                <a:xfrm>
                  <a:off x="2022695" y="1566515"/>
                  <a:ext cx="766903" cy="767014"/>
                  <a:chOff x="9123445" y="2463609"/>
                  <a:chExt cx="652033" cy="652035"/>
                </a:xfrm>
              </p:grpSpPr>
              <p:sp>
                <p:nvSpPr>
                  <p:cNvPr id="857" name="Oval 856">
                    <a:extLst>
                      <a:ext uri="{FF2B5EF4-FFF2-40B4-BE49-F238E27FC236}">
                        <a16:creationId xmlns:a16="http://schemas.microsoft.com/office/drawing/2014/main" id="{0F79F7A6-F164-4FE5-A120-AF54678E2740}"/>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58" name="Freeform 313">
                    <a:extLst>
                      <a:ext uri="{FF2B5EF4-FFF2-40B4-BE49-F238E27FC236}">
                        <a16:creationId xmlns:a16="http://schemas.microsoft.com/office/drawing/2014/main" id="{075716F5-0BE9-4BD2-BD62-5DF4C980B129}"/>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854" name="Group 853">
                  <a:extLst>
                    <a:ext uri="{FF2B5EF4-FFF2-40B4-BE49-F238E27FC236}">
                      <a16:creationId xmlns:a16="http://schemas.microsoft.com/office/drawing/2014/main" id="{879D8C45-868B-438C-9D4C-F2D8D71EB1A3}"/>
                    </a:ext>
                  </a:extLst>
                </p:cNvPr>
                <p:cNvGrpSpPr/>
                <p:nvPr/>
              </p:nvGrpSpPr>
              <p:grpSpPr>
                <a:xfrm>
                  <a:off x="1973388" y="1517311"/>
                  <a:ext cx="853073" cy="853194"/>
                  <a:chOff x="9123452" y="2463609"/>
                  <a:chExt cx="652035" cy="652035"/>
                </a:xfrm>
              </p:grpSpPr>
              <p:sp>
                <p:nvSpPr>
                  <p:cNvPr id="855" name="Oval 854">
                    <a:extLst>
                      <a:ext uri="{FF2B5EF4-FFF2-40B4-BE49-F238E27FC236}">
                        <a16:creationId xmlns:a16="http://schemas.microsoft.com/office/drawing/2014/main" id="{0F3AC661-AE7D-4623-9C4E-4AE720649275}"/>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56" name="Freeform 311">
                    <a:extLst>
                      <a:ext uri="{FF2B5EF4-FFF2-40B4-BE49-F238E27FC236}">
                        <a16:creationId xmlns:a16="http://schemas.microsoft.com/office/drawing/2014/main" id="{1D51EF5D-DE71-4D8B-BE9C-8CBDD0BB6DD1}"/>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739" name="Group 738">
                <a:extLst>
                  <a:ext uri="{FF2B5EF4-FFF2-40B4-BE49-F238E27FC236}">
                    <a16:creationId xmlns:a16="http://schemas.microsoft.com/office/drawing/2014/main" id="{84D03436-4551-4AA5-AD93-DBED4636C25D}"/>
                  </a:ext>
                </a:extLst>
              </p:cNvPr>
              <p:cNvGrpSpPr/>
              <p:nvPr/>
            </p:nvGrpSpPr>
            <p:grpSpPr>
              <a:xfrm>
                <a:off x="1226671" y="3909844"/>
                <a:ext cx="304563" cy="307388"/>
                <a:chOff x="4471988" y="3821062"/>
                <a:chExt cx="2035176" cy="2113013"/>
              </a:xfrm>
            </p:grpSpPr>
            <p:sp>
              <p:nvSpPr>
                <p:cNvPr id="790" name="Rectangle 6">
                  <a:extLst>
                    <a:ext uri="{FF2B5EF4-FFF2-40B4-BE49-F238E27FC236}">
                      <a16:creationId xmlns:a16="http://schemas.microsoft.com/office/drawing/2014/main" id="{8C723BDA-1BD5-4F23-946F-45A2AE9A8E6A}"/>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1" name="Freeform 7">
                  <a:extLst>
                    <a:ext uri="{FF2B5EF4-FFF2-40B4-BE49-F238E27FC236}">
                      <a16:creationId xmlns:a16="http://schemas.microsoft.com/office/drawing/2014/main" id="{FB281916-0E0B-4D33-9F90-8D3287436A44}"/>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2" name="Freeform 10">
                  <a:extLst>
                    <a:ext uri="{FF2B5EF4-FFF2-40B4-BE49-F238E27FC236}">
                      <a16:creationId xmlns:a16="http://schemas.microsoft.com/office/drawing/2014/main" id="{1B939EB3-2444-4CFD-AB0D-E106A935B5AF}"/>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3" name="Freeform 11">
                  <a:extLst>
                    <a:ext uri="{FF2B5EF4-FFF2-40B4-BE49-F238E27FC236}">
                      <a16:creationId xmlns:a16="http://schemas.microsoft.com/office/drawing/2014/main" id="{0D756582-8008-43FA-A183-77D5B90B871E}"/>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4" name="Oval 12">
                  <a:extLst>
                    <a:ext uri="{FF2B5EF4-FFF2-40B4-BE49-F238E27FC236}">
                      <a16:creationId xmlns:a16="http://schemas.microsoft.com/office/drawing/2014/main" id="{BC45BB7D-DDE2-4031-AC4C-B5EB5C0DB357}"/>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5" name="Oval 13">
                  <a:extLst>
                    <a:ext uri="{FF2B5EF4-FFF2-40B4-BE49-F238E27FC236}">
                      <a16:creationId xmlns:a16="http://schemas.microsoft.com/office/drawing/2014/main" id="{4752FB88-33E9-4425-A41F-9905AF4025CC}"/>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6" name="Freeform 14">
                  <a:extLst>
                    <a:ext uri="{FF2B5EF4-FFF2-40B4-BE49-F238E27FC236}">
                      <a16:creationId xmlns:a16="http://schemas.microsoft.com/office/drawing/2014/main" id="{A1DFE2B3-B646-4463-A6F9-72D6215B1A74}"/>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7" name="Rectangle 15">
                  <a:extLst>
                    <a:ext uri="{FF2B5EF4-FFF2-40B4-BE49-F238E27FC236}">
                      <a16:creationId xmlns:a16="http://schemas.microsoft.com/office/drawing/2014/main" id="{55535236-6808-4613-B3C6-86EF1607E610}"/>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8" name="Rectangle 16">
                  <a:extLst>
                    <a:ext uri="{FF2B5EF4-FFF2-40B4-BE49-F238E27FC236}">
                      <a16:creationId xmlns:a16="http://schemas.microsoft.com/office/drawing/2014/main" id="{C16FDDDE-53FB-4569-B384-735C959BDCAF}"/>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9" name="Freeform 17">
                  <a:extLst>
                    <a:ext uri="{FF2B5EF4-FFF2-40B4-BE49-F238E27FC236}">
                      <a16:creationId xmlns:a16="http://schemas.microsoft.com/office/drawing/2014/main" id="{A09A280B-335E-4EF3-AE38-7FE6C42F5E3C}"/>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0" name="Freeform 18">
                  <a:extLst>
                    <a:ext uri="{FF2B5EF4-FFF2-40B4-BE49-F238E27FC236}">
                      <a16:creationId xmlns:a16="http://schemas.microsoft.com/office/drawing/2014/main" id="{A33B6AE4-32D3-430C-8E58-80A3203F62FC}"/>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1" name="Rectangle 19">
                  <a:extLst>
                    <a:ext uri="{FF2B5EF4-FFF2-40B4-BE49-F238E27FC236}">
                      <a16:creationId xmlns:a16="http://schemas.microsoft.com/office/drawing/2014/main" id="{60F50E3B-5CF9-407B-BF54-85A5A7096146}"/>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2" name="Freeform 20">
                  <a:extLst>
                    <a:ext uri="{FF2B5EF4-FFF2-40B4-BE49-F238E27FC236}">
                      <a16:creationId xmlns:a16="http://schemas.microsoft.com/office/drawing/2014/main" id="{F6528AA6-68CC-4B0C-A0D5-2F3053086AB9}"/>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3" name="Freeform 21">
                  <a:extLst>
                    <a:ext uri="{FF2B5EF4-FFF2-40B4-BE49-F238E27FC236}">
                      <a16:creationId xmlns:a16="http://schemas.microsoft.com/office/drawing/2014/main" id="{46D3292B-EAA8-46E4-851B-49AB82D5927F}"/>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4" name="Freeform 22">
                  <a:extLst>
                    <a:ext uri="{FF2B5EF4-FFF2-40B4-BE49-F238E27FC236}">
                      <a16:creationId xmlns:a16="http://schemas.microsoft.com/office/drawing/2014/main" id="{1DA0B45D-196D-4691-B931-2142BE5E53EA}"/>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5" name="Freeform 23">
                  <a:extLst>
                    <a:ext uri="{FF2B5EF4-FFF2-40B4-BE49-F238E27FC236}">
                      <a16:creationId xmlns:a16="http://schemas.microsoft.com/office/drawing/2014/main" id="{1807CA9C-49AF-4F8C-90FC-A09191C66037}"/>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6" name="Freeform 24">
                  <a:extLst>
                    <a:ext uri="{FF2B5EF4-FFF2-40B4-BE49-F238E27FC236}">
                      <a16:creationId xmlns:a16="http://schemas.microsoft.com/office/drawing/2014/main" id="{693D3C95-980B-44BD-9D7D-3DCFB00FFBD8}"/>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7" name="Rectangle 25">
                  <a:extLst>
                    <a:ext uri="{FF2B5EF4-FFF2-40B4-BE49-F238E27FC236}">
                      <a16:creationId xmlns:a16="http://schemas.microsoft.com/office/drawing/2014/main" id="{99841E79-B0B9-43EF-B777-C0722987556F}"/>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8" name="Freeform 26">
                  <a:extLst>
                    <a:ext uri="{FF2B5EF4-FFF2-40B4-BE49-F238E27FC236}">
                      <a16:creationId xmlns:a16="http://schemas.microsoft.com/office/drawing/2014/main" id="{7AEBBE5B-E764-4459-B408-B0DA8DB199A7}"/>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9" name="Freeform 27">
                  <a:extLst>
                    <a:ext uri="{FF2B5EF4-FFF2-40B4-BE49-F238E27FC236}">
                      <a16:creationId xmlns:a16="http://schemas.microsoft.com/office/drawing/2014/main" id="{A2783562-190D-4BCE-A527-46C9B5203B1B}"/>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0" name="Freeform 28">
                  <a:extLst>
                    <a:ext uri="{FF2B5EF4-FFF2-40B4-BE49-F238E27FC236}">
                      <a16:creationId xmlns:a16="http://schemas.microsoft.com/office/drawing/2014/main" id="{5CB735CB-38CB-45D0-A8BC-3BD87524BFB1}"/>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1" name="Freeform 29">
                  <a:extLst>
                    <a:ext uri="{FF2B5EF4-FFF2-40B4-BE49-F238E27FC236}">
                      <a16:creationId xmlns:a16="http://schemas.microsoft.com/office/drawing/2014/main" id="{6A2A646D-22E2-4EC5-ABC1-FF1B8EE1D108}"/>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2" name="Freeform 30">
                  <a:extLst>
                    <a:ext uri="{FF2B5EF4-FFF2-40B4-BE49-F238E27FC236}">
                      <a16:creationId xmlns:a16="http://schemas.microsoft.com/office/drawing/2014/main" id="{0089A1D1-952D-4FD6-81EA-EF0B3706AAE3}"/>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3" name="Freeform 31">
                  <a:extLst>
                    <a:ext uri="{FF2B5EF4-FFF2-40B4-BE49-F238E27FC236}">
                      <a16:creationId xmlns:a16="http://schemas.microsoft.com/office/drawing/2014/main" id="{4EE13BD0-7A46-418F-83B2-21D84A0C2F6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4" name="Freeform 32">
                  <a:extLst>
                    <a:ext uri="{FF2B5EF4-FFF2-40B4-BE49-F238E27FC236}">
                      <a16:creationId xmlns:a16="http://schemas.microsoft.com/office/drawing/2014/main" id="{9EC5A335-EF3A-4001-A4C9-5A92741BB835}"/>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5" name="Freeform 102">
                  <a:extLst>
                    <a:ext uri="{FF2B5EF4-FFF2-40B4-BE49-F238E27FC236}">
                      <a16:creationId xmlns:a16="http://schemas.microsoft.com/office/drawing/2014/main" id="{7CBF8F9B-F6D6-422D-94CB-8A22D73655ED}"/>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6" name="Freeform 103">
                  <a:extLst>
                    <a:ext uri="{FF2B5EF4-FFF2-40B4-BE49-F238E27FC236}">
                      <a16:creationId xmlns:a16="http://schemas.microsoft.com/office/drawing/2014/main" id="{2D385FA1-07AE-4742-8147-3784F2C333B2}"/>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7" name="Freeform 104">
                  <a:extLst>
                    <a:ext uri="{FF2B5EF4-FFF2-40B4-BE49-F238E27FC236}">
                      <a16:creationId xmlns:a16="http://schemas.microsoft.com/office/drawing/2014/main" id="{83C956C7-37FF-45D7-82D3-A2CC9B73D341}"/>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8" name="Freeform 105">
                  <a:extLst>
                    <a:ext uri="{FF2B5EF4-FFF2-40B4-BE49-F238E27FC236}">
                      <a16:creationId xmlns:a16="http://schemas.microsoft.com/office/drawing/2014/main" id="{F6211722-E60A-4D67-9725-ED4F48ED9D3A}"/>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9" name="Freeform 106">
                  <a:extLst>
                    <a:ext uri="{FF2B5EF4-FFF2-40B4-BE49-F238E27FC236}">
                      <a16:creationId xmlns:a16="http://schemas.microsoft.com/office/drawing/2014/main" id="{FD601588-5978-4DB1-AF65-5BB213796EFB}"/>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0" name="Freeform 107">
                  <a:extLst>
                    <a:ext uri="{FF2B5EF4-FFF2-40B4-BE49-F238E27FC236}">
                      <a16:creationId xmlns:a16="http://schemas.microsoft.com/office/drawing/2014/main" id="{A7DA552F-FDB2-441C-AE65-8B7BA49FEC64}"/>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1" name="Freeform 108">
                  <a:extLst>
                    <a:ext uri="{FF2B5EF4-FFF2-40B4-BE49-F238E27FC236}">
                      <a16:creationId xmlns:a16="http://schemas.microsoft.com/office/drawing/2014/main" id="{029AB8C5-EF15-4F57-9769-12EFA24E6068}"/>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2" name="Rectangle 821">
                  <a:extLst>
                    <a:ext uri="{FF2B5EF4-FFF2-40B4-BE49-F238E27FC236}">
                      <a16:creationId xmlns:a16="http://schemas.microsoft.com/office/drawing/2014/main" id="{96F509B3-2013-4EB3-89C8-A7036F616539}"/>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3" name="Freeform 110">
                  <a:extLst>
                    <a:ext uri="{FF2B5EF4-FFF2-40B4-BE49-F238E27FC236}">
                      <a16:creationId xmlns:a16="http://schemas.microsoft.com/office/drawing/2014/main" id="{56E84FE6-213B-454B-ACCC-AA154E44D02E}"/>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4" name="Freeform 111">
                  <a:extLst>
                    <a:ext uri="{FF2B5EF4-FFF2-40B4-BE49-F238E27FC236}">
                      <a16:creationId xmlns:a16="http://schemas.microsoft.com/office/drawing/2014/main" id="{8D075F68-090C-415B-A0ED-F853DD4CFC62}"/>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5" name="Freeform 112">
                  <a:extLst>
                    <a:ext uri="{FF2B5EF4-FFF2-40B4-BE49-F238E27FC236}">
                      <a16:creationId xmlns:a16="http://schemas.microsoft.com/office/drawing/2014/main" id="{590A1918-CABB-4766-8340-AB3B0278458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6" name="Freeform 113">
                  <a:extLst>
                    <a:ext uri="{FF2B5EF4-FFF2-40B4-BE49-F238E27FC236}">
                      <a16:creationId xmlns:a16="http://schemas.microsoft.com/office/drawing/2014/main" id="{5A414FF2-26E1-4FD3-8667-A3600B952E4E}"/>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7" name="Rectangle 826">
                  <a:extLst>
                    <a:ext uri="{FF2B5EF4-FFF2-40B4-BE49-F238E27FC236}">
                      <a16:creationId xmlns:a16="http://schemas.microsoft.com/office/drawing/2014/main" id="{701285B1-E8D2-48C6-8EB3-4D3B1337CFC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8" name="Freeform 115">
                  <a:extLst>
                    <a:ext uri="{FF2B5EF4-FFF2-40B4-BE49-F238E27FC236}">
                      <a16:creationId xmlns:a16="http://schemas.microsoft.com/office/drawing/2014/main" id="{88A39EEC-0B93-474A-A557-C4E9BC469476}"/>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9" name="Freeform 116">
                  <a:extLst>
                    <a:ext uri="{FF2B5EF4-FFF2-40B4-BE49-F238E27FC236}">
                      <a16:creationId xmlns:a16="http://schemas.microsoft.com/office/drawing/2014/main" id="{FAFE6851-82A3-4320-B57B-4AAF7713AD14}"/>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0" name="Freeform 117">
                  <a:extLst>
                    <a:ext uri="{FF2B5EF4-FFF2-40B4-BE49-F238E27FC236}">
                      <a16:creationId xmlns:a16="http://schemas.microsoft.com/office/drawing/2014/main" id="{494942E1-AB2C-4B4E-A2CF-57F7BD7E1D26}"/>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1" name="Freeform 118">
                  <a:extLst>
                    <a:ext uri="{FF2B5EF4-FFF2-40B4-BE49-F238E27FC236}">
                      <a16:creationId xmlns:a16="http://schemas.microsoft.com/office/drawing/2014/main" id="{F8CF4880-ECCE-4113-9338-ABABCEB45D8D}"/>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2" name="Oval 831">
                  <a:extLst>
                    <a:ext uri="{FF2B5EF4-FFF2-40B4-BE49-F238E27FC236}">
                      <a16:creationId xmlns:a16="http://schemas.microsoft.com/office/drawing/2014/main" id="{2296FD28-DA30-4891-BB2E-1A1402CB4914}"/>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3" name="Freeform 120">
                  <a:extLst>
                    <a:ext uri="{FF2B5EF4-FFF2-40B4-BE49-F238E27FC236}">
                      <a16:creationId xmlns:a16="http://schemas.microsoft.com/office/drawing/2014/main" id="{CA2CD9B3-499F-4F2C-A372-894398C1EE2B}"/>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4" name="Freeform 121">
                  <a:extLst>
                    <a:ext uri="{FF2B5EF4-FFF2-40B4-BE49-F238E27FC236}">
                      <a16:creationId xmlns:a16="http://schemas.microsoft.com/office/drawing/2014/main" id="{34516EC1-57B8-430C-9A7F-A0CB6D4EF51F}"/>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5" name="Freeform 122">
                  <a:extLst>
                    <a:ext uri="{FF2B5EF4-FFF2-40B4-BE49-F238E27FC236}">
                      <a16:creationId xmlns:a16="http://schemas.microsoft.com/office/drawing/2014/main" id="{24FC5B0E-C2C4-4536-AF90-E8CDC04FF3BF}"/>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6" name="Freeform 123">
                  <a:extLst>
                    <a:ext uri="{FF2B5EF4-FFF2-40B4-BE49-F238E27FC236}">
                      <a16:creationId xmlns:a16="http://schemas.microsoft.com/office/drawing/2014/main" id="{7BD01EBA-8C31-47A7-ADE8-AA819016D81D}"/>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7" name="Freeform 124">
                  <a:extLst>
                    <a:ext uri="{FF2B5EF4-FFF2-40B4-BE49-F238E27FC236}">
                      <a16:creationId xmlns:a16="http://schemas.microsoft.com/office/drawing/2014/main" id="{DE520C7A-5C79-4847-8605-5BC8F59EF286}"/>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8" name="Freeform 63">
                  <a:extLst>
                    <a:ext uri="{FF2B5EF4-FFF2-40B4-BE49-F238E27FC236}">
                      <a16:creationId xmlns:a16="http://schemas.microsoft.com/office/drawing/2014/main" id="{E320E9D6-1B3C-4374-8D42-5ECE462BDD42}"/>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9" name="Freeform 65">
                  <a:extLst>
                    <a:ext uri="{FF2B5EF4-FFF2-40B4-BE49-F238E27FC236}">
                      <a16:creationId xmlns:a16="http://schemas.microsoft.com/office/drawing/2014/main" id="{68C51C64-AF67-4BF9-9B7C-C93A69B5D10A}"/>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0" name="Freeform 66">
                  <a:extLst>
                    <a:ext uri="{FF2B5EF4-FFF2-40B4-BE49-F238E27FC236}">
                      <a16:creationId xmlns:a16="http://schemas.microsoft.com/office/drawing/2014/main" id="{0CF48BF8-0481-4768-ACCC-F3016D835AAA}"/>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1" name="Freeform 67">
                  <a:extLst>
                    <a:ext uri="{FF2B5EF4-FFF2-40B4-BE49-F238E27FC236}">
                      <a16:creationId xmlns:a16="http://schemas.microsoft.com/office/drawing/2014/main" id="{1A7FD186-870B-4447-9247-09A459F66A5A}"/>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2" name="Oval 68">
                  <a:extLst>
                    <a:ext uri="{FF2B5EF4-FFF2-40B4-BE49-F238E27FC236}">
                      <a16:creationId xmlns:a16="http://schemas.microsoft.com/office/drawing/2014/main" id="{CEA63652-8F61-43AE-90AC-3CA78F231EC0}"/>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3" name="Oval 69">
                  <a:extLst>
                    <a:ext uri="{FF2B5EF4-FFF2-40B4-BE49-F238E27FC236}">
                      <a16:creationId xmlns:a16="http://schemas.microsoft.com/office/drawing/2014/main" id="{0557A6A4-A52F-4305-9DDA-A7241C711C07}"/>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747" name="Group 746">
                <a:extLst>
                  <a:ext uri="{FF2B5EF4-FFF2-40B4-BE49-F238E27FC236}">
                    <a16:creationId xmlns:a16="http://schemas.microsoft.com/office/drawing/2014/main" id="{651E24D5-EA23-4B0C-9BC9-E2A991524914}"/>
                  </a:ext>
                </a:extLst>
              </p:cNvPr>
              <p:cNvGrpSpPr/>
              <p:nvPr/>
            </p:nvGrpSpPr>
            <p:grpSpPr>
              <a:xfrm>
                <a:off x="1206839" y="3914891"/>
                <a:ext cx="469400" cy="342521"/>
                <a:chOff x="1557350" y="4606481"/>
                <a:chExt cx="3001095" cy="2252753"/>
              </a:xfrm>
            </p:grpSpPr>
            <p:sp>
              <p:nvSpPr>
                <p:cNvPr id="749" name="Rectangle 748">
                  <a:extLst>
                    <a:ext uri="{FF2B5EF4-FFF2-40B4-BE49-F238E27FC236}">
                      <a16:creationId xmlns:a16="http://schemas.microsoft.com/office/drawing/2014/main" id="{49F87885-15F7-4139-8AC3-1ACC1DD0A0F2}"/>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0" name="Rectangle 749">
                  <a:extLst>
                    <a:ext uri="{FF2B5EF4-FFF2-40B4-BE49-F238E27FC236}">
                      <a16:creationId xmlns:a16="http://schemas.microsoft.com/office/drawing/2014/main" id="{FC06400E-8FA0-4F05-A977-3C4E8ADE4154}"/>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1" name="Rectangle 750">
                  <a:extLst>
                    <a:ext uri="{FF2B5EF4-FFF2-40B4-BE49-F238E27FC236}">
                      <a16:creationId xmlns:a16="http://schemas.microsoft.com/office/drawing/2014/main" id="{4D25F88C-9AFD-4D42-B342-FCF2A5B4CE6C}"/>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2" name="Rectangle 751">
                  <a:extLst>
                    <a:ext uri="{FF2B5EF4-FFF2-40B4-BE49-F238E27FC236}">
                      <a16:creationId xmlns:a16="http://schemas.microsoft.com/office/drawing/2014/main" id="{8D322FE1-39CC-44AD-9803-FA27956C1E37}"/>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3" name="Freeform 12">
                  <a:extLst>
                    <a:ext uri="{FF2B5EF4-FFF2-40B4-BE49-F238E27FC236}">
                      <a16:creationId xmlns:a16="http://schemas.microsoft.com/office/drawing/2014/main" id="{7D913AC4-0D5D-409C-B192-840E9BC0DB9D}"/>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4" name="Rectangle 753">
                  <a:extLst>
                    <a:ext uri="{FF2B5EF4-FFF2-40B4-BE49-F238E27FC236}">
                      <a16:creationId xmlns:a16="http://schemas.microsoft.com/office/drawing/2014/main" id="{197C8BEF-4829-43D3-8E84-760696E74534}"/>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5" name="Freeform 14">
                  <a:extLst>
                    <a:ext uri="{FF2B5EF4-FFF2-40B4-BE49-F238E27FC236}">
                      <a16:creationId xmlns:a16="http://schemas.microsoft.com/office/drawing/2014/main" id="{3976496A-B293-4A6E-88AE-FDE5D099ED7D}"/>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6" name="Rectangle 755">
                  <a:extLst>
                    <a:ext uri="{FF2B5EF4-FFF2-40B4-BE49-F238E27FC236}">
                      <a16:creationId xmlns:a16="http://schemas.microsoft.com/office/drawing/2014/main" id="{CBC505BA-B0C1-46DB-90FE-03B8830FE85A}"/>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7" name="Freeform 16">
                  <a:extLst>
                    <a:ext uri="{FF2B5EF4-FFF2-40B4-BE49-F238E27FC236}">
                      <a16:creationId xmlns:a16="http://schemas.microsoft.com/office/drawing/2014/main" id="{BE2CCB01-3151-4BD0-AB8D-C9966AC188A9}"/>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8" name="Freeform 17">
                  <a:extLst>
                    <a:ext uri="{FF2B5EF4-FFF2-40B4-BE49-F238E27FC236}">
                      <a16:creationId xmlns:a16="http://schemas.microsoft.com/office/drawing/2014/main" id="{DDC18D95-B101-4727-B28D-BA2FBB64CD83}"/>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9" name="Oval 758">
                  <a:extLst>
                    <a:ext uri="{FF2B5EF4-FFF2-40B4-BE49-F238E27FC236}">
                      <a16:creationId xmlns:a16="http://schemas.microsoft.com/office/drawing/2014/main" id="{22E661C6-3BD5-4DA1-9878-43A4B9E27777}"/>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0" name="Rectangle 759">
                  <a:extLst>
                    <a:ext uri="{FF2B5EF4-FFF2-40B4-BE49-F238E27FC236}">
                      <a16:creationId xmlns:a16="http://schemas.microsoft.com/office/drawing/2014/main" id="{9E45B7A5-78F5-4B8E-9ECF-B53DECE4433F}"/>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1" name="Freeform 20">
                  <a:extLst>
                    <a:ext uri="{FF2B5EF4-FFF2-40B4-BE49-F238E27FC236}">
                      <a16:creationId xmlns:a16="http://schemas.microsoft.com/office/drawing/2014/main" id="{21FF74D7-FF58-44DD-B81C-87A6816206E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2" name="Freeform 21">
                  <a:extLst>
                    <a:ext uri="{FF2B5EF4-FFF2-40B4-BE49-F238E27FC236}">
                      <a16:creationId xmlns:a16="http://schemas.microsoft.com/office/drawing/2014/main" id="{CE7C35D3-2B6C-46B3-B410-78F88B850940}"/>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763" name="Group 762">
                  <a:extLst>
                    <a:ext uri="{FF2B5EF4-FFF2-40B4-BE49-F238E27FC236}">
                      <a16:creationId xmlns:a16="http://schemas.microsoft.com/office/drawing/2014/main" id="{F3D183C6-E172-47DC-8EE7-385685CF8E73}"/>
                    </a:ext>
                  </a:extLst>
                </p:cNvPr>
                <p:cNvGrpSpPr/>
                <p:nvPr/>
              </p:nvGrpSpPr>
              <p:grpSpPr>
                <a:xfrm>
                  <a:off x="3298176" y="4606481"/>
                  <a:ext cx="1260269" cy="2252753"/>
                  <a:chOff x="10352191" y="4087395"/>
                  <a:chExt cx="1336826" cy="2389605"/>
                </a:xfrm>
              </p:grpSpPr>
              <p:sp>
                <p:nvSpPr>
                  <p:cNvPr id="764" name="Rectangle 763">
                    <a:extLst>
                      <a:ext uri="{FF2B5EF4-FFF2-40B4-BE49-F238E27FC236}">
                        <a16:creationId xmlns:a16="http://schemas.microsoft.com/office/drawing/2014/main" id="{0C8C2C6A-7D7B-4EAE-9801-265F081FFD60}"/>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5" name="Round Same Side Corner Rectangle 52">
                    <a:extLst>
                      <a:ext uri="{FF2B5EF4-FFF2-40B4-BE49-F238E27FC236}">
                        <a16:creationId xmlns:a16="http://schemas.microsoft.com/office/drawing/2014/main" id="{135FF6DF-1810-4A92-8F2E-544F3EE51CE8}"/>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766" name="Rectangle 765">
                    <a:extLst>
                      <a:ext uri="{FF2B5EF4-FFF2-40B4-BE49-F238E27FC236}">
                        <a16:creationId xmlns:a16="http://schemas.microsoft.com/office/drawing/2014/main" id="{A9348FAE-955A-4B96-B0F6-CB089DC0F863}"/>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7" name="Freeform 54">
                    <a:extLst>
                      <a:ext uri="{FF2B5EF4-FFF2-40B4-BE49-F238E27FC236}">
                        <a16:creationId xmlns:a16="http://schemas.microsoft.com/office/drawing/2014/main" id="{AD7D5E89-7E04-4B27-ADF2-7C16F6943C89}"/>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8" name="Freeform 55">
                    <a:extLst>
                      <a:ext uri="{FF2B5EF4-FFF2-40B4-BE49-F238E27FC236}">
                        <a16:creationId xmlns:a16="http://schemas.microsoft.com/office/drawing/2014/main" id="{1C6137AA-A3E2-42B0-88A0-5C3217839A6F}"/>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9" name="Freeform 56">
                    <a:extLst>
                      <a:ext uri="{FF2B5EF4-FFF2-40B4-BE49-F238E27FC236}">
                        <a16:creationId xmlns:a16="http://schemas.microsoft.com/office/drawing/2014/main" id="{ADB0D908-C524-4DDB-9C2C-8C9226F6BA36}"/>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0" name="Freeform 57">
                    <a:extLst>
                      <a:ext uri="{FF2B5EF4-FFF2-40B4-BE49-F238E27FC236}">
                        <a16:creationId xmlns:a16="http://schemas.microsoft.com/office/drawing/2014/main" id="{B9B03005-DBA2-4766-AB32-2F786DEE9508}"/>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1" name="Freeform 58">
                    <a:extLst>
                      <a:ext uri="{FF2B5EF4-FFF2-40B4-BE49-F238E27FC236}">
                        <a16:creationId xmlns:a16="http://schemas.microsoft.com/office/drawing/2014/main" id="{AEFC4458-175E-4F8B-973E-44991FFAE109}"/>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2" name="Freeform 59">
                    <a:extLst>
                      <a:ext uri="{FF2B5EF4-FFF2-40B4-BE49-F238E27FC236}">
                        <a16:creationId xmlns:a16="http://schemas.microsoft.com/office/drawing/2014/main" id="{41BE4041-B6F5-48B7-AB8E-346145555046}"/>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3" name="Freeform 60">
                    <a:extLst>
                      <a:ext uri="{FF2B5EF4-FFF2-40B4-BE49-F238E27FC236}">
                        <a16:creationId xmlns:a16="http://schemas.microsoft.com/office/drawing/2014/main" id="{EAC2025B-76C9-487F-878C-42E6D77F69F5}"/>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4" name="Freeform 61">
                    <a:extLst>
                      <a:ext uri="{FF2B5EF4-FFF2-40B4-BE49-F238E27FC236}">
                        <a16:creationId xmlns:a16="http://schemas.microsoft.com/office/drawing/2014/main" id="{C5B968A9-DCFA-496E-BC5A-2B691D4DD6D2}"/>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5" name="Oval 774">
                    <a:extLst>
                      <a:ext uri="{FF2B5EF4-FFF2-40B4-BE49-F238E27FC236}">
                        <a16:creationId xmlns:a16="http://schemas.microsoft.com/office/drawing/2014/main" id="{65E8503B-BF79-440E-811A-B50BAEC9CCC4}"/>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6" name="Freeform 63">
                    <a:extLst>
                      <a:ext uri="{FF2B5EF4-FFF2-40B4-BE49-F238E27FC236}">
                        <a16:creationId xmlns:a16="http://schemas.microsoft.com/office/drawing/2014/main" id="{3A8E58E0-C8E4-4A19-9C99-D3C3C304A748}"/>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7" name="Rectangle 776">
                    <a:extLst>
                      <a:ext uri="{FF2B5EF4-FFF2-40B4-BE49-F238E27FC236}">
                        <a16:creationId xmlns:a16="http://schemas.microsoft.com/office/drawing/2014/main" id="{40604F70-8A1C-4376-98A5-8D7544765CF3}"/>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8" name="Freeform 65">
                    <a:extLst>
                      <a:ext uri="{FF2B5EF4-FFF2-40B4-BE49-F238E27FC236}">
                        <a16:creationId xmlns:a16="http://schemas.microsoft.com/office/drawing/2014/main" id="{9D770056-6E36-4090-91E6-D2CBA99D3226}"/>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9" name="Freeform 66">
                    <a:extLst>
                      <a:ext uri="{FF2B5EF4-FFF2-40B4-BE49-F238E27FC236}">
                        <a16:creationId xmlns:a16="http://schemas.microsoft.com/office/drawing/2014/main" id="{76BE738E-0AF4-4CA2-8F37-D65BF6D4FB2A}"/>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0" name="Rectangle 779">
                    <a:extLst>
                      <a:ext uri="{FF2B5EF4-FFF2-40B4-BE49-F238E27FC236}">
                        <a16:creationId xmlns:a16="http://schemas.microsoft.com/office/drawing/2014/main" id="{F9F923E6-CEE5-489E-9A81-2B1330E654DE}"/>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1" name="Freeform 68">
                    <a:extLst>
                      <a:ext uri="{FF2B5EF4-FFF2-40B4-BE49-F238E27FC236}">
                        <a16:creationId xmlns:a16="http://schemas.microsoft.com/office/drawing/2014/main" id="{47EE0214-3C1F-4DFA-B7E7-87EBF7FCFD19}"/>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2" name="Freeform 69">
                    <a:extLst>
                      <a:ext uri="{FF2B5EF4-FFF2-40B4-BE49-F238E27FC236}">
                        <a16:creationId xmlns:a16="http://schemas.microsoft.com/office/drawing/2014/main" id="{179F8BD5-7249-4FE5-BDE1-10F9CEB5A4BC}"/>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3" name="Freeform 70">
                    <a:extLst>
                      <a:ext uri="{FF2B5EF4-FFF2-40B4-BE49-F238E27FC236}">
                        <a16:creationId xmlns:a16="http://schemas.microsoft.com/office/drawing/2014/main" id="{2351B40F-60D1-4CAB-B4F5-EC37000C1B27}"/>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4" name="Freeform 71">
                    <a:extLst>
                      <a:ext uri="{FF2B5EF4-FFF2-40B4-BE49-F238E27FC236}">
                        <a16:creationId xmlns:a16="http://schemas.microsoft.com/office/drawing/2014/main" id="{E0D46951-AC3D-4DE2-A680-3985D174B0EF}"/>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5" name="Freeform 72">
                    <a:extLst>
                      <a:ext uri="{FF2B5EF4-FFF2-40B4-BE49-F238E27FC236}">
                        <a16:creationId xmlns:a16="http://schemas.microsoft.com/office/drawing/2014/main" id="{A7D6707E-EA81-45E3-9FD9-125BF46D3250}"/>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6" name="Freeform 73">
                    <a:extLst>
                      <a:ext uri="{FF2B5EF4-FFF2-40B4-BE49-F238E27FC236}">
                        <a16:creationId xmlns:a16="http://schemas.microsoft.com/office/drawing/2014/main" id="{F7571E54-E8FC-4CEA-BBCB-2D8333E0EC49}"/>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7" name="Freeform 74">
                    <a:extLst>
                      <a:ext uri="{FF2B5EF4-FFF2-40B4-BE49-F238E27FC236}">
                        <a16:creationId xmlns:a16="http://schemas.microsoft.com/office/drawing/2014/main" id="{B855F831-6BED-41B7-A341-56759572008E}"/>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8" name="Rectangle 787">
                    <a:extLst>
                      <a:ext uri="{FF2B5EF4-FFF2-40B4-BE49-F238E27FC236}">
                        <a16:creationId xmlns:a16="http://schemas.microsoft.com/office/drawing/2014/main" id="{64226177-EA6E-44C8-BB43-D712999B1EBA}"/>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9" name="Rectangle 788">
                    <a:extLst>
                      <a:ext uri="{FF2B5EF4-FFF2-40B4-BE49-F238E27FC236}">
                        <a16:creationId xmlns:a16="http://schemas.microsoft.com/office/drawing/2014/main" id="{8D506718-B982-4B93-B3BF-68AD87E4438C}"/>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748" name="Rectangle 747">
                <a:extLst>
                  <a:ext uri="{FF2B5EF4-FFF2-40B4-BE49-F238E27FC236}">
                    <a16:creationId xmlns:a16="http://schemas.microsoft.com/office/drawing/2014/main" id="{2EC2A895-DB26-46F8-AF06-01CB5497AE54}"/>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552" name="Rectangle 551">
            <a:extLst>
              <a:ext uri="{FF2B5EF4-FFF2-40B4-BE49-F238E27FC236}">
                <a16:creationId xmlns:a16="http://schemas.microsoft.com/office/drawing/2014/main" id="{40A8EECD-4F67-430D-91C2-17C1489A1629}"/>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When using Azure NetApp Files or Azure Files for storage, customers pay for actual consumed storage (vs. pay for fixed-sized disks)</a:t>
            </a:r>
          </a:p>
          <a:p>
            <a:pPr fontAlgn="base"/>
            <a:r>
              <a:rPr lang="en-US" sz="1000" dirty="0"/>
              <a:t>Note: Figures are illustrative and based on pre-configured assumptions; actual savings vary by user requirements and infrastructure configuration</a:t>
            </a:r>
          </a:p>
        </p:txBody>
      </p:sp>
      <p:grpSp>
        <p:nvGrpSpPr>
          <p:cNvPr id="565" name="Group 564">
            <a:extLst>
              <a:ext uri="{FF2B5EF4-FFF2-40B4-BE49-F238E27FC236}">
                <a16:creationId xmlns:a16="http://schemas.microsoft.com/office/drawing/2014/main" id="{8D24D404-3B73-44BC-BC2E-DF5D1BB9E393}"/>
              </a:ext>
            </a:extLst>
          </p:cNvPr>
          <p:cNvGrpSpPr/>
          <p:nvPr/>
        </p:nvGrpSpPr>
        <p:grpSpPr>
          <a:xfrm>
            <a:off x="834208" y="3289741"/>
            <a:ext cx="3035239" cy="1947112"/>
            <a:chOff x="1174915" y="3881438"/>
            <a:chExt cx="1849273" cy="1186312"/>
          </a:xfrm>
        </p:grpSpPr>
        <p:sp>
          <p:nvSpPr>
            <p:cNvPr id="566" name="Rectangle 565">
              <a:extLst>
                <a:ext uri="{FF2B5EF4-FFF2-40B4-BE49-F238E27FC236}">
                  <a16:creationId xmlns:a16="http://schemas.microsoft.com/office/drawing/2014/main" id="{55BB8BF6-4892-479B-83DE-FEE3308C66F1}"/>
                </a:ext>
              </a:extLst>
            </p:cNvPr>
            <p:cNvSpPr/>
            <p:nvPr/>
          </p:nvSpPr>
          <p:spPr bwMode="auto">
            <a:xfrm>
              <a:off x="1400092" y="3962437"/>
              <a:ext cx="1554480" cy="9144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sp>
          <p:nvSpPr>
            <p:cNvPr id="567" name="Freeform: Shape 566">
              <a:extLst>
                <a:ext uri="{FF2B5EF4-FFF2-40B4-BE49-F238E27FC236}">
                  <a16:creationId xmlns:a16="http://schemas.microsoft.com/office/drawing/2014/main" id="{D82F1675-3009-41B9-8E6A-DAFE1B6F52BD}"/>
                </a:ext>
              </a:extLst>
            </p:cNvPr>
            <p:cNvSpPr/>
            <p:nvPr/>
          </p:nvSpPr>
          <p:spPr bwMode="auto">
            <a:xfrm>
              <a:off x="1395413" y="3881438"/>
              <a:ext cx="1628775" cy="1000125"/>
            </a:xfrm>
            <a:custGeom>
              <a:avLst/>
              <a:gdLst>
                <a:gd name="connsiteX0" fmla="*/ 0 w 1628775"/>
                <a:gd name="connsiteY0" fmla="*/ 0 h 1000125"/>
                <a:gd name="connsiteX1" fmla="*/ 0 w 1628775"/>
                <a:gd name="connsiteY1" fmla="*/ 1000125 h 1000125"/>
                <a:gd name="connsiteX2" fmla="*/ 1628775 w 1628775"/>
                <a:gd name="connsiteY2" fmla="*/ 1000125 h 1000125"/>
              </a:gdLst>
              <a:ahLst/>
              <a:cxnLst>
                <a:cxn ang="0">
                  <a:pos x="connsiteX0" y="connsiteY0"/>
                </a:cxn>
                <a:cxn ang="0">
                  <a:pos x="connsiteX1" y="connsiteY1"/>
                </a:cxn>
                <a:cxn ang="0">
                  <a:pos x="connsiteX2" y="connsiteY2"/>
                </a:cxn>
              </a:cxnLst>
              <a:rect l="l" t="t" r="r" b="b"/>
              <a:pathLst>
                <a:path w="1628775" h="1000125">
                  <a:moveTo>
                    <a:pt x="0" y="0"/>
                  </a:moveTo>
                  <a:lnTo>
                    <a:pt x="0" y="1000125"/>
                  </a:lnTo>
                  <a:lnTo>
                    <a:pt x="1628775" y="1000125"/>
                  </a:lnTo>
                </a:path>
              </a:pathLst>
            </a:custGeom>
            <a:noFill/>
            <a:ln w="12700">
              <a:solidFill>
                <a:schemeClr val="tx1">
                  <a:lumMod val="50000"/>
                  <a:lumOff val="50000"/>
                </a:schemeClr>
              </a:solidFill>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p>
          </p:txBody>
        </p:sp>
        <p:cxnSp>
          <p:nvCxnSpPr>
            <p:cNvPr id="568" name="Straight Connector 567">
              <a:extLst>
                <a:ext uri="{FF2B5EF4-FFF2-40B4-BE49-F238E27FC236}">
                  <a16:creationId xmlns:a16="http://schemas.microsoft.com/office/drawing/2014/main" id="{2B907C81-824B-4DF1-AD24-DE3F040DE300}"/>
                </a:ext>
              </a:extLst>
            </p:cNvPr>
            <p:cNvCxnSpPr>
              <a:cxnSpLocks/>
            </p:cNvCxnSpPr>
            <p:nvPr/>
          </p:nvCxnSpPr>
          <p:spPr>
            <a:xfrm>
              <a:off x="1402398" y="4122028"/>
              <a:ext cx="1554480" cy="0"/>
            </a:xfrm>
            <a:prstGeom prst="line">
              <a:avLst/>
            </a:prstGeom>
            <a:ln w="12700">
              <a:solidFill>
                <a:schemeClr val="accent3">
                  <a:alpha val="99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9" name="Freeform: Shape 568">
              <a:extLst>
                <a:ext uri="{FF2B5EF4-FFF2-40B4-BE49-F238E27FC236}">
                  <a16:creationId xmlns:a16="http://schemas.microsoft.com/office/drawing/2014/main" id="{6723F0B6-E512-49BB-A4B3-730E00035565}"/>
                </a:ext>
              </a:extLst>
            </p:cNvPr>
            <p:cNvSpPr/>
            <p:nvPr/>
          </p:nvSpPr>
          <p:spPr bwMode="auto">
            <a:xfrm>
              <a:off x="1400968" y="4157663"/>
              <a:ext cx="1542692" cy="562768"/>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562768">
                  <a:moveTo>
                    <a:pt x="0" y="223837"/>
                  </a:moveTo>
                  <a:lnTo>
                    <a:pt x="130175" y="42862"/>
                  </a:lnTo>
                  <a:lnTo>
                    <a:pt x="271463" y="481806"/>
                  </a:lnTo>
                  <a:lnTo>
                    <a:pt x="578286" y="0"/>
                  </a:lnTo>
                  <a:lnTo>
                    <a:pt x="634206" y="414337"/>
                  </a:lnTo>
                  <a:lnTo>
                    <a:pt x="759261" y="154781"/>
                  </a:lnTo>
                  <a:lnTo>
                    <a:pt x="898525" y="427037"/>
                  </a:lnTo>
                  <a:lnTo>
                    <a:pt x="981075" y="30162"/>
                  </a:lnTo>
                  <a:lnTo>
                    <a:pt x="1092994" y="562768"/>
                  </a:lnTo>
                  <a:lnTo>
                    <a:pt x="1175980" y="197642"/>
                  </a:lnTo>
                  <a:lnTo>
                    <a:pt x="1421248" y="471488"/>
                  </a:lnTo>
                  <a:lnTo>
                    <a:pt x="1555750" y="223837"/>
                  </a:lnTo>
                </a:path>
              </a:pathLst>
            </a:custGeom>
            <a:noFill/>
            <a:ln w="19050">
              <a:solidFill>
                <a:schemeClr val="tx2"/>
              </a:solidFill>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570" name="TextBox 569">
              <a:extLst>
                <a:ext uri="{FF2B5EF4-FFF2-40B4-BE49-F238E27FC236}">
                  <a16:creationId xmlns:a16="http://schemas.microsoft.com/office/drawing/2014/main" id="{271CBAC6-70CE-4B71-9C5B-0C23FEDFB635}"/>
                </a:ext>
              </a:extLst>
            </p:cNvPr>
            <p:cNvSpPr txBox="1"/>
            <p:nvPr/>
          </p:nvSpPr>
          <p:spPr>
            <a:xfrm>
              <a:off x="2065719" y="4928378"/>
              <a:ext cx="288162" cy="139372"/>
            </a:xfrm>
            <a:prstGeom prst="rect">
              <a:avLst/>
            </a:prstGeom>
            <a:noFill/>
          </p:spPr>
          <p:txBody>
            <a:bodyPr wrap="square" lIns="0" tIns="0" rIns="0" bIns="0" rtlCol="0">
              <a:spAutoFit/>
            </a:bodyPr>
            <a:lstStyle/>
            <a:p>
              <a:pPr algn="ctr"/>
              <a:r>
                <a:rPr lang="en-US" sz="1200" b="1" dirty="0"/>
                <a:t>Time</a:t>
              </a:r>
            </a:p>
          </p:txBody>
        </p:sp>
        <p:sp>
          <p:nvSpPr>
            <p:cNvPr id="571" name="TextBox 570">
              <a:extLst>
                <a:ext uri="{FF2B5EF4-FFF2-40B4-BE49-F238E27FC236}">
                  <a16:creationId xmlns:a16="http://schemas.microsoft.com/office/drawing/2014/main" id="{496B3F54-AAF4-4D1C-8F4A-BDB7E20B3246}"/>
                </a:ext>
              </a:extLst>
            </p:cNvPr>
            <p:cNvSpPr txBox="1"/>
            <p:nvPr/>
          </p:nvSpPr>
          <p:spPr>
            <a:xfrm rot="16200000">
              <a:off x="794132" y="4333657"/>
              <a:ext cx="900938" cy="139372"/>
            </a:xfrm>
            <a:prstGeom prst="rect">
              <a:avLst/>
            </a:prstGeom>
            <a:noFill/>
          </p:spPr>
          <p:txBody>
            <a:bodyPr wrap="square" lIns="0" tIns="0" rIns="0" bIns="0" rtlCol="0">
              <a:spAutoFit/>
            </a:bodyPr>
            <a:lstStyle/>
            <a:p>
              <a:pPr algn="ctr"/>
              <a:r>
                <a:rPr lang="en-US" sz="1200" b="1" dirty="0"/>
                <a:t>Resource Usage</a:t>
              </a:r>
            </a:p>
          </p:txBody>
        </p:sp>
      </p:grpSp>
      <p:grpSp>
        <p:nvGrpSpPr>
          <p:cNvPr id="572" name="Group 571">
            <a:extLst>
              <a:ext uri="{FF2B5EF4-FFF2-40B4-BE49-F238E27FC236}">
                <a16:creationId xmlns:a16="http://schemas.microsoft.com/office/drawing/2014/main" id="{693D5EDC-7253-4B70-B6E4-8142703853A6}"/>
              </a:ext>
            </a:extLst>
          </p:cNvPr>
          <p:cNvGrpSpPr/>
          <p:nvPr/>
        </p:nvGrpSpPr>
        <p:grpSpPr>
          <a:xfrm>
            <a:off x="4700905" y="3289741"/>
            <a:ext cx="3035238" cy="1947112"/>
            <a:chOff x="4920666" y="3656316"/>
            <a:chExt cx="2546273" cy="1633440"/>
          </a:xfrm>
        </p:grpSpPr>
        <p:sp>
          <p:nvSpPr>
            <p:cNvPr id="573" name="Rectangle 572">
              <a:extLst>
                <a:ext uri="{FF2B5EF4-FFF2-40B4-BE49-F238E27FC236}">
                  <a16:creationId xmlns:a16="http://schemas.microsoft.com/office/drawing/2014/main" id="{511463FB-39FF-4DFE-B363-768DA0A6C832}"/>
                </a:ext>
              </a:extLst>
            </p:cNvPr>
            <p:cNvSpPr/>
            <p:nvPr/>
          </p:nvSpPr>
          <p:spPr bwMode="auto">
            <a:xfrm>
              <a:off x="5233888" y="3767844"/>
              <a:ext cx="2140372" cy="125904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sp>
          <p:nvSpPr>
            <p:cNvPr id="574" name="Rectangle 573">
              <a:extLst>
                <a:ext uri="{FF2B5EF4-FFF2-40B4-BE49-F238E27FC236}">
                  <a16:creationId xmlns:a16="http://schemas.microsoft.com/office/drawing/2014/main" id="{129E3FB9-B258-4620-ADC6-0AA1FEE1949C}"/>
                </a:ext>
              </a:extLst>
            </p:cNvPr>
            <p:cNvSpPr/>
            <p:nvPr/>
          </p:nvSpPr>
          <p:spPr bwMode="auto">
            <a:xfrm>
              <a:off x="5233888" y="4791169"/>
              <a:ext cx="2140372" cy="235718"/>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sp>
          <p:nvSpPr>
            <p:cNvPr id="575" name="Freeform: Shape 574">
              <a:extLst>
                <a:ext uri="{FF2B5EF4-FFF2-40B4-BE49-F238E27FC236}">
                  <a16:creationId xmlns:a16="http://schemas.microsoft.com/office/drawing/2014/main" id="{4DA67027-D514-4A62-AA31-2548A92683F2}"/>
                </a:ext>
              </a:extLst>
            </p:cNvPr>
            <p:cNvSpPr/>
            <p:nvPr/>
          </p:nvSpPr>
          <p:spPr bwMode="auto">
            <a:xfrm>
              <a:off x="5224270" y="3656316"/>
              <a:ext cx="2242669" cy="1377078"/>
            </a:xfrm>
            <a:custGeom>
              <a:avLst/>
              <a:gdLst>
                <a:gd name="connsiteX0" fmla="*/ 0 w 1628775"/>
                <a:gd name="connsiteY0" fmla="*/ 0 h 1000125"/>
                <a:gd name="connsiteX1" fmla="*/ 0 w 1628775"/>
                <a:gd name="connsiteY1" fmla="*/ 1000125 h 1000125"/>
                <a:gd name="connsiteX2" fmla="*/ 1628775 w 1628775"/>
                <a:gd name="connsiteY2" fmla="*/ 1000125 h 1000125"/>
              </a:gdLst>
              <a:ahLst/>
              <a:cxnLst>
                <a:cxn ang="0">
                  <a:pos x="connsiteX0" y="connsiteY0"/>
                </a:cxn>
                <a:cxn ang="0">
                  <a:pos x="connsiteX1" y="connsiteY1"/>
                </a:cxn>
                <a:cxn ang="0">
                  <a:pos x="connsiteX2" y="connsiteY2"/>
                </a:cxn>
              </a:cxnLst>
              <a:rect l="l" t="t" r="r" b="b"/>
              <a:pathLst>
                <a:path w="1628775" h="1000125">
                  <a:moveTo>
                    <a:pt x="0" y="0"/>
                  </a:moveTo>
                  <a:lnTo>
                    <a:pt x="0" y="1000125"/>
                  </a:lnTo>
                  <a:lnTo>
                    <a:pt x="1628775" y="1000125"/>
                  </a:lnTo>
                </a:path>
              </a:pathLst>
            </a:custGeom>
            <a:noFill/>
            <a:ln w="12700">
              <a:solidFill>
                <a:schemeClr val="tx1">
                  <a:lumMod val="50000"/>
                  <a:lumOff val="50000"/>
                </a:schemeClr>
              </a:solidFill>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p>
          </p:txBody>
        </p:sp>
        <p:sp>
          <p:nvSpPr>
            <p:cNvPr id="576" name="TextBox 575">
              <a:extLst>
                <a:ext uri="{FF2B5EF4-FFF2-40B4-BE49-F238E27FC236}">
                  <a16:creationId xmlns:a16="http://schemas.microsoft.com/office/drawing/2014/main" id="{314A2CDC-B1B9-40E3-8391-42280F334AC3}"/>
                </a:ext>
              </a:extLst>
            </p:cNvPr>
            <p:cNvSpPr txBox="1"/>
            <p:nvPr/>
          </p:nvSpPr>
          <p:spPr>
            <a:xfrm>
              <a:off x="6147218" y="5097854"/>
              <a:ext cx="396772" cy="191902"/>
            </a:xfrm>
            <a:prstGeom prst="rect">
              <a:avLst/>
            </a:prstGeom>
            <a:noFill/>
          </p:spPr>
          <p:txBody>
            <a:bodyPr wrap="square" lIns="0" tIns="0" rIns="0" bIns="0" rtlCol="0">
              <a:spAutoFit/>
            </a:bodyPr>
            <a:lstStyle/>
            <a:p>
              <a:pPr algn="ctr"/>
              <a:r>
                <a:rPr lang="en-US" sz="1200" b="1" dirty="0"/>
                <a:t>Time</a:t>
              </a:r>
            </a:p>
          </p:txBody>
        </p:sp>
        <p:sp>
          <p:nvSpPr>
            <p:cNvPr id="577" name="TextBox 576">
              <a:extLst>
                <a:ext uri="{FF2B5EF4-FFF2-40B4-BE49-F238E27FC236}">
                  <a16:creationId xmlns:a16="http://schemas.microsoft.com/office/drawing/2014/main" id="{3FB88101-10F0-448D-B16B-5255E722F6C8}"/>
                </a:ext>
              </a:extLst>
            </p:cNvPr>
            <p:cNvSpPr txBox="1"/>
            <p:nvPr/>
          </p:nvSpPr>
          <p:spPr>
            <a:xfrm rot="16200000">
              <a:off x="4396363" y="4278979"/>
              <a:ext cx="1240507" cy="191902"/>
            </a:xfrm>
            <a:prstGeom prst="rect">
              <a:avLst/>
            </a:prstGeom>
            <a:noFill/>
          </p:spPr>
          <p:txBody>
            <a:bodyPr wrap="square" lIns="0" tIns="0" rIns="0" bIns="0" rtlCol="0">
              <a:spAutoFit/>
            </a:bodyPr>
            <a:lstStyle/>
            <a:p>
              <a:pPr algn="ctr"/>
              <a:r>
                <a:rPr lang="en-US" sz="1200" b="1" dirty="0"/>
                <a:t>Resource Usage</a:t>
              </a:r>
            </a:p>
          </p:txBody>
        </p:sp>
        <p:sp>
          <p:nvSpPr>
            <p:cNvPr id="578" name="Freeform: Shape 577">
              <a:extLst>
                <a:ext uri="{FF2B5EF4-FFF2-40B4-BE49-F238E27FC236}">
                  <a16:creationId xmlns:a16="http://schemas.microsoft.com/office/drawing/2014/main" id="{228146E1-74EE-4421-9300-CD7A0B3C1DB0}"/>
                </a:ext>
              </a:extLst>
            </p:cNvPr>
            <p:cNvSpPr/>
            <p:nvPr/>
          </p:nvSpPr>
          <p:spPr bwMode="auto">
            <a:xfrm>
              <a:off x="5231919" y="3977120"/>
              <a:ext cx="2124141" cy="653566"/>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43812 w 1555750"/>
                <a:gd name="connsiteY4" fmla="*/ 454818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43812 w 1555750"/>
                <a:gd name="connsiteY4" fmla="*/ 454818 h 562768"/>
                <a:gd name="connsiteX5" fmla="*/ 759261 w 1555750"/>
                <a:gd name="connsiteY5" fmla="*/ 154781 h 562768"/>
                <a:gd name="connsiteX6" fmla="*/ 886518 w 1555750"/>
                <a:gd name="connsiteY6" fmla="*/ 460375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471488"/>
                <a:gd name="connsiteX1" fmla="*/ 130175 w 1555750"/>
                <a:gd name="connsiteY1" fmla="*/ 42862 h 471488"/>
                <a:gd name="connsiteX2" fmla="*/ 281069 w 1555750"/>
                <a:gd name="connsiteY2" fmla="*/ 460375 h 471488"/>
                <a:gd name="connsiteX3" fmla="*/ 578286 w 1555750"/>
                <a:gd name="connsiteY3" fmla="*/ 0 h 471488"/>
                <a:gd name="connsiteX4" fmla="*/ 643812 w 1555750"/>
                <a:gd name="connsiteY4" fmla="*/ 454818 h 471488"/>
                <a:gd name="connsiteX5" fmla="*/ 759261 w 1555750"/>
                <a:gd name="connsiteY5" fmla="*/ 154781 h 471488"/>
                <a:gd name="connsiteX6" fmla="*/ 886518 w 1555750"/>
                <a:gd name="connsiteY6" fmla="*/ 460375 h 471488"/>
                <a:gd name="connsiteX7" fmla="*/ 981075 w 1555750"/>
                <a:gd name="connsiteY7" fmla="*/ 30162 h 471488"/>
                <a:gd name="connsiteX8" fmla="*/ 1092994 w 1555750"/>
                <a:gd name="connsiteY8" fmla="*/ 455611 h 471488"/>
                <a:gd name="connsiteX9" fmla="*/ 1175980 w 1555750"/>
                <a:gd name="connsiteY9" fmla="*/ 197642 h 471488"/>
                <a:gd name="connsiteX10" fmla="*/ 1421248 w 1555750"/>
                <a:gd name="connsiteY10" fmla="*/ 471488 h 471488"/>
                <a:gd name="connsiteX11" fmla="*/ 1555750 w 1555750"/>
                <a:gd name="connsiteY11" fmla="*/ 223837 h 471488"/>
                <a:gd name="connsiteX0" fmla="*/ 0 w 1555750"/>
                <a:gd name="connsiteY0" fmla="*/ 223837 h 460375"/>
                <a:gd name="connsiteX1" fmla="*/ 130175 w 1555750"/>
                <a:gd name="connsiteY1" fmla="*/ 42862 h 460375"/>
                <a:gd name="connsiteX2" fmla="*/ 281069 w 1555750"/>
                <a:gd name="connsiteY2" fmla="*/ 460375 h 460375"/>
                <a:gd name="connsiteX3" fmla="*/ 578286 w 1555750"/>
                <a:gd name="connsiteY3" fmla="*/ 0 h 460375"/>
                <a:gd name="connsiteX4" fmla="*/ 643812 w 1555750"/>
                <a:gd name="connsiteY4" fmla="*/ 454818 h 460375"/>
                <a:gd name="connsiteX5" fmla="*/ 759261 w 1555750"/>
                <a:gd name="connsiteY5" fmla="*/ 154781 h 460375"/>
                <a:gd name="connsiteX6" fmla="*/ 886518 w 1555750"/>
                <a:gd name="connsiteY6" fmla="*/ 460375 h 460375"/>
                <a:gd name="connsiteX7" fmla="*/ 981075 w 1555750"/>
                <a:gd name="connsiteY7" fmla="*/ 30162 h 460375"/>
                <a:gd name="connsiteX8" fmla="*/ 1092994 w 1555750"/>
                <a:gd name="connsiteY8" fmla="*/ 455611 h 460375"/>
                <a:gd name="connsiteX9" fmla="*/ 1175980 w 1555750"/>
                <a:gd name="connsiteY9" fmla="*/ 197642 h 460375"/>
                <a:gd name="connsiteX10" fmla="*/ 1411642 w 1555750"/>
                <a:gd name="connsiteY10" fmla="*/ 457201 h 460375"/>
                <a:gd name="connsiteX11" fmla="*/ 1555750 w 1555750"/>
                <a:gd name="connsiteY11" fmla="*/ 223837 h 460375"/>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9261 w 1555750"/>
                <a:gd name="connsiteY5" fmla="*/ 169069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9261 w 1555750"/>
                <a:gd name="connsiteY5" fmla="*/ 204788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200025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69068 w 1555750"/>
                <a:gd name="connsiteY7" fmla="*/ 37306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8673 w 1555750"/>
                <a:gd name="connsiteY7" fmla="*/ 23019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27773 w 1555750"/>
                <a:gd name="connsiteY1" fmla="*/ 85725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37379 w 1555750"/>
                <a:gd name="connsiteY1" fmla="*/ 80962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474663">
                  <a:moveTo>
                    <a:pt x="0" y="259556"/>
                  </a:moveTo>
                  <a:lnTo>
                    <a:pt x="137379" y="80962"/>
                  </a:lnTo>
                  <a:lnTo>
                    <a:pt x="281069" y="474663"/>
                  </a:lnTo>
                  <a:lnTo>
                    <a:pt x="595095" y="0"/>
                  </a:lnTo>
                  <a:lnTo>
                    <a:pt x="643812" y="469106"/>
                  </a:lnTo>
                  <a:lnTo>
                    <a:pt x="754457" y="185738"/>
                  </a:lnTo>
                  <a:lnTo>
                    <a:pt x="886518" y="474663"/>
                  </a:lnTo>
                  <a:lnTo>
                    <a:pt x="973871" y="15875"/>
                  </a:lnTo>
                  <a:lnTo>
                    <a:pt x="1092994" y="469899"/>
                  </a:lnTo>
                  <a:lnTo>
                    <a:pt x="1161573" y="228599"/>
                  </a:lnTo>
                  <a:lnTo>
                    <a:pt x="1411642" y="471489"/>
                  </a:lnTo>
                  <a:lnTo>
                    <a:pt x="1555750" y="238125"/>
                  </a:lnTo>
                </a:path>
              </a:pathLst>
            </a:custGeom>
            <a:noFill/>
            <a:ln w="12700">
              <a:solidFill>
                <a:schemeClr val="accent4"/>
              </a:solidFill>
              <a:prstDash val="dash"/>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p>
          </p:txBody>
        </p:sp>
        <p:sp>
          <p:nvSpPr>
            <p:cNvPr id="579" name="Freeform: Shape 578">
              <a:extLst>
                <a:ext uri="{FF2B5EF4-FFF2-40B4-BE49-F238E27FC236}">
                  <a16:creationId xmlns:a16="http://schemas.microsoft.com/office/drawing/2014/main" id="{D57278C3-594B-4296-9955-81F0C66F60B0}"/>
                </a:ext>
              </a:extLst>
            </p:cNvPr>
            <p:cNvSpPr/>
            <p:nvPr/>
          </p:nvSpPr>
          <p:spPr bwMode="auto">
            <a:xfrm>
              <a:off x="5231919" y="4036652"/>
              <a:ext cx="2124141" cy="774879"/>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562768">
                  <a:moveTo>
                    <a:pt x="0" y="223837"/>
                  </a:moveTo>
                  <a:lnTo>
                    <a:pt x="130175" y="42862"/>
                  </a:lnTo>
                  <a:lnTo>
                    <a:pt x="271463" y="481806"/>
                  </a:lnTo>
                  <a:lnTo>
                    <a:pt x="578286" y="0"/>
                  </a:lnTo>
                  <a:lnTo>
                    <a:pt x="634206" y="414337"/>
                  </a:lnTo>
                  <a:lnTo>
                    <a:pt x="759261" y="154781"/>
                  </a:lnTo>
                  <a:lnTo>
                    <a:pt x="898525" y="427037"/>
                  </a:lnTo>
                  <a:lnTo>
                    <a:pt x="981075" y="30162"/>
                  </a:lnTo>
                  <a:lnTo>
                    <a:pt x="1092994" y="562768"/>
                  </a:lnTo>
                  <a:lnTo>
                    <a:pt x="1175980" y="197642"/>
                  </a:lnTo>
                  <a:lnTo>
                    <a:pt x="1421248" y="471488"/>
                  </a:lnTo>
                  <a:lnTo>
                    <a:pt x="1555750" y="223837"/>
                  </a:lnTo>
                </a:path>
              </a:pathLst>
            </a:custGeom>
            <a:noFill/>
            <a:ln w="19050">
              <a:solidFill>
                <a:schemeClr val="tx2"/>
              </a:solidFill>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p>
          </p:txBody>
        </p:sp>
      </p:grpSp>
      <p:grpSp>
        <p:nvGrpSpPr>
          <p:cNvPr id="234" name="Group 233">
            <a:extLst>
              <a:ext uri="{FF2B5EF4-FFF2-40B4-BE49-F238E27FC236}">
                <a16:creationId xmlns:a16="http://schemas.microsoft.com/office/drawing/2014/main" id="{67D0FEBD-C130-4EDB-B79A-079A1DD7C272}"/>
              </a:ext>
            </a:extLst>
          </p:cNvPr>
          <p:cNvGrpSpPr/>
          <p:nvPr/>
        </p:nvGrpSpPr>
        <p:grpSpPr>
          <a:xfrm>
            <a:off x="10052458" y="146014"/>
            <a:ext cx="2033626" cy="1015650"/>
            <a:chOff x="10052458" y="146014"/>
            <a:chExt cx="2033626" cy="1015650"/>
          </a:xfrm>
        </p:grpSpPr>
        <p:pic>
          <p:nvPicPr>
            <p:cNvPr id="235" name="Picture 234">
              <a:extLst>
                <a:ext uri="{FF2B5EF4-FFF2-40B4-BE49-F238E27FC236}">
                  <a16:creationId xmlns:a16="http://schemas.microsoft.com/office/drawing/2014/main" id="{D3933F36-51CB-44B8-A416-E8589EF02644}"/>
                </a:ext>
              </a:extLst>
            </p:cNvPr>
            <p:cNvPicPr>
              <a:picLocks noChangeAspect="1"/>
            </p:cNvPicPr>
            <p:nvPr/>
          </p:nvPicPr>
          <p:blipFill>
            <a:blip r:embed="rId22"/>
            <a:stretch>
              <a:fillRect/>
            </a:stretch>
          </p:blipFill>
          <p:spPr>
            <a:xfrm>
              <a:off x="10052458" y="146014"/>
              <a:ext cx="2033626" cy="1015650"/>
            </a:xfrm>
            <a:prstGeom prst="rect">
              <a:avLst/>
            </a:prstGeom>
          </p:spPr>
        </p:pic>
        <p:sp>
          <p:nvSpPr>
            <p:cNvPr id="236" name="Rectangle 235">
              <a:extLst>
                <a:ext uri="{FF2B5EF4-FFF2-40B4-BE49-F238E27FC236}">
                  <a16:creationId xmlns:a16="http://schemas.microsoft.com/office/drawing/2014/main" id="{BF8EBBA3-FAD6-4AFF-B372-B2EAFDDA60F0}"/>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153656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523034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Slide" r:id="rId20" imgW="503" imgH="503" progId="TCLayout.ActiveDocument.1">
                  <p:embed/>
                </p:oleObj>
              </mc:Choice>
              <mc:Fallback>
                <p:oleObj name="think-cell Slide" r:id="rId20"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544" name="Rectangle 543">
            <a:extLst>
              <a:ext uri="{FF2B5EF4-FFF2-40B4-BE49-F238E27FC236}">
                <a16:creationId xmlns:a16="http://schemas.microsoft.com/office/drawing/2014/main" id="{64138279-6031-4E1D-912F-A40207257A55}"/>
              </a:ext>
            </a:extLst>
          </p:cNvPr>
          <p:cNvSpPr/>
          <p:nvPr/>
        </p:nvSpPr>
        <p:spPr bwMode="auto">
          <a:xfrm>
            <a:off x="584200" y="2351226"/>
            <a:ext cx="7330440" cy="36593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549" name="TextBox 548">
            <a:extLst>
              <a:ext uri="{FF2B5EF4-FFF2-40B4-BE49-F238E27FC236}">
                <a16:creationId xmlns:a16="http://schemas.microsoft.com/office/drawing/2014/main" id="{DBCE5651-A8B6-47DA-BD91-FB1D4154C9AE}"/>
              </a:ext>
            </a:extLst>
          </p:cNvPr>
          <p:cNvSpPr txBox="1"/>
          <p:nvPr/>
        </p:nvSpPr>
        <p:spPr>
          <a:xfrm>
            <a:off x="651493" y="2411901"/>
            <a:ext cx="3307089" cy="35041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200" dirty="0">
              <a:solidFill>
                <a:schemeClr val="tx2"/>
              </a:solidFill>
            </a:endParaRPr>
          </a:p>
        </p:txBody>
      </p:sp>
      <p:sp>
        <p:nvSpPr>
          <p:cNvPr id="555" name="TextBox 554">
            <a:extLst>
              <a:ext uri="{FF2B5EF4-FFF2-40B4-BE49-F238E27FC236}">
                <a16:creationId xmlns:a16="http://schemas.microsoft.com/office/drawing/2014/main" id="{CED3D012-17E9-4DF4-867A-BEC4CEBB4C60}"/>
              </a:ext>
            </a:extLst>
          </p:cNvPr>
          <p:cNvSpPr txBox="1"/>
          <p:nvPr/>
        </p:nvSpPr>
        <p:spPr>
          <a:xfrm>
            <a:off x="4540258" y="2411901"/>
            <a:ext cx="3307089" cy="350530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grpSp>
        <p:nvGrpSpPr>
          <p:cNvPr id="557" name="Group 556">
            <a:extLst>
              <a:ext uri="{FF2B5EF4-FFF2-40B4-BE49-F238E27FC236}">
                <a16:creationId xmlns:a16="http://schemas.microsoft.com/office/drawing/2014/main" id="{CDD8872B-E28F-49A3-8DE4-98DF519A5DE4}"/>
              </a:ext>
            </a:extLst>
          </p:cNvPr>
          <p:cNvGrpSpPr/>
          <p:nvPr/>
        </p:nvGrpSpPr>
        <p:grpSpPr>
          <a:xfrm>
            <a:off x="4048759" y="2550635"/>
            <a:ext cx="401322" cy="3292123"/>
            <a:chOff x="4048759" y="2770559"/>
            <a:chExt cx="401322" cy="3292123"/>
          </a:xfrm>
        </p:grpSpPr>
        <p:cxnSp>
          <p:nvCxnSpPr>
            <p:cNvPr id="558" name="Straight Connector 557">
              <a:extLst>
                <a:ext uri="{FF2B5EF4-FFF2-40B4-BE49-F238E27FC236}">
                  <a16:creationId xmlns:a16="http://schemas.microsoft.com/office/drawing/2014/main" id="{D53E6953-97D2-4F72-B5A7-92D8FFDF4799}"/>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729" name="Group 728">
              <a:extLst>
                <a:ext uri="{FF2B5EF4-FFF2-40B4-BE49-F238E27FC236}">
                  <a16:creationId xmlns:a16="http://schemas.microsoft.com/office/drawing/2014/main" id="{2BDA2086-F4AD-4C2E-B699-3F70536BE55C}"/>
                </a:ext>
              </a:extLst>
            </p:cNvPr>
            <p:cNvGrpSpPr/>
            <p:nvPr/>
          </p:nvGrpSpPr>
          <p:grpSpPr>
            <a:xfrm>
              <a:off x="4048759" y="4250939"/>
              <a:ext cx="401322" cy="401322"/>
              <a:chOff x="4048759" y="4228862"/>
              <a:chExt cx="401322" cy="401322"/>
            </a:xfrm>
          </p:grpSpPr>
          <p:sp>
            <p:nvSpPr>
              <p:cNvPr id="730" name="Oval 729">
                <a:extLst>
                  <a:ext uri="{FF2B5EF4-FFF2-40B4-BE49-F238E27FC236}">
                    <a16:creationId xmlns:a16="http://schemas.microsoft.com/office/drawing/2014/main" id="{0DE8E444-44DF-492C-84C3-78EEEFAE6468}"/>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33" name="Isosceles Triangle 732">
                <a:extLst>
                  <a:ext uri="{FF2B5EF4-FFF2-40B4-BE49-F238E27FC236}">
                    <a16:creationId xmlns:a16="http://schemas.microsoft.com/office/drawing/2014/main" id="{1A744358-18BB-4BB4-B315-D225CE3CDE13}"/>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50" name="TextBox 549">
            <a:extLst>
              <a:ext uri="{FF2B5EF4-FFF2-40B4-BE49-F238E27FC236}">
                <a16:creationId xmlns:a16="http://schemas.microsoft.com/office/drawing/2014/main" id="{724E0FEE-1A05-48C9-AA9E-695ABD00F29C}"/>
              </a:ext>
            </a:extLst>
          </p:cNvPr>
          <p:cNvSpPr txBox="1"/>
          <p:nvPr/>
        </p:nvSpPr>
        <p:spPr>
          <a:xfrm>
            <a:off x="4540258" y="2411799"/>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400" b="1" dirty="0">
                <a:solidFill>
                  <a:schemeClr val="bg1"/>
                </a:solidFill>
              </a:rPr>
              <a:t>Network Provisioned in WVD</a:t>
            </a:r>
          </a:p>
        </p:txBody>
      </p:sp>
      <p:sp>
        <p:nvSpPr>
          <p:cNvPr id="548" name="TextBox 547">
            <a:extLst>
              <a:ext uri="{FF2B5EF4-FFF2-40B4-BE49-F238E27FC236}">
                <a16:creationId xmlns:a16="http://schemas.microsoft.com/office/drawing/2014/main" id="{D3CFE680-404A-42B3-8928-B6F2F02F5C85}"/>
              </a:ext>
            </a:extLst>
          </p:cNvPr>
          <p:cNvSpPr txBox="1"/>
          <p:nvPr/>
        </p:nvSpPr>
        <p:spPr>
          <a:xfrm>
            <a:off x="651493" y="2411799"/>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400" b="1" dirty="0">
                <a:solidFill>
                  <a:schemeClr val="bg1"/>
                </a:solidFill>
              </a:rPr>
              <a:t>Physical Network On-prem</a:t>
            </a:r>
          </a:p>
        </p:txBody>
      </p:sp>
      <p:sp>
        <p:nvSpPr>
          <p:cNvPr id="1547" name="TextBox 1546">
            <a:extLst>
              <a:ext uri="{FF2B5EF4-FFF2-40B4-BE49-F238E27FC236}">
                <a16:creationId xmlns:a16="http://schemas.microsoft.com/office/drawing/2014/main" id="{A5B66337-AC6E-40EE-873B-952DCC9C2136}"/>
              </a:ext>
            </a:extLst>
          </p:cNvPr>
          <p:cNvSpPr txBox="1"/>
          <p:nvPr/>
        </p:nvSpPr>
        <p:spPr>
          <a:xfrm>
            <a:off x="8302299" y="2876907"/>
            <a:ext cx="3307089" cy="303855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fontAlgn="auto">
              <a:spcBef>
                <a:spcPts val="0"/>
              </a:spcBef>
              <a:spcAft>
                <a:spcPts val="0"/>
              </a:spcAft>
            </a:pPr>
            <a:r>
              <a:rPr lang="en-US" sz="850" dirty="0">
                <a:solidFill>
                  <a:schemeClr val="tx1"/>
                </a:solidFill>
                <a:ea typeface="+mn-ea"/>
                <a:cs typeface="+mn-cs"/>
              </a:rPr>
              <a:t>* Networking cost on-prem varies widely. </a:t>
            </a:r>
            <a:r>
              <a:rPr lang="en-US" sz="850" dirty="0">
                <a:solidFill>
                  <a:schemeClr val="tx1"/>
                </a:solidFill>
              </a:rPr>
              <a:t>ExpressRoute </a:t>
            </a:r>
            <a:r>
              <a:rPr lang="en-US" sz="850" dirty="0">
                <a:solidFill>
                  <a:schemeClr val="tx1"/>
                </a:solidFill>
                <a:ea typeface="+mn-ea"/>
                <a:cs typeface="+mn-cs"/>
              </a:rPr>
              <a:t>Unlimited Plan is used as the proxy for average on-prem cost; ExpressRoute Metered Plan is used for WVD cost</a:t>
            </a:r>
          </a:p>
        </p:txBody>
      </p:sp>
      <p:sp>
        <p:nvSpPr>
          <p:cNvPr id="1539" name="TextBox 1538">
            <a:extLst>
              <a:ext uri="{FF2B5EF4-FFF2-40B4-BE49-F238E27FC236}">
                <a16:creationId xmlns:a16="http://schemas.microsoft.com/office/drawing/2014/main" id="{D26ED4D4-4E2F-47F6-AE57-3ECD9C741372}"/>
              </a:ext>
            </a:extLst>
          </p:cNvPr>
          <p:cNvSpPr txBox="1"/>
          <p:nvPr/>
        </p:nvSpPr>
        <p:spPr>
          <a:xfrm>
            <a:off x="8302299" y="2411799"/>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400" b="1" dirty="0">
                <a:solidFill>
                  <a:schemeClr val="bg1"/>
                </a:solidFill>
              </a:rPr>
              <a:t>Example Economic Benefit</a:t>
            </a:r>
          </a:p>
          <a:p>
            <a:pPr algn="ctr">
              <a:lnSpc>
                <a:spcPct val="90000"/>
              </a:lnSpc>
            </a:pPr>
            <a:r>
              <a:rPr lang="en-US" sz="1400" b="1" dirty="0">
                <a:solidFill>
                  <a:schemeClr val="bg1"/>
                </a:solidFill>
              </a:rPr>
              <a:t>$ per month for 1,500 users</a:t>
            </a:r>
          </a:p>
        </p:txBody>
      </p:sp>
      <p:sp>
        <p:nvSpPr>
          <p:cNvPr id="334" name="Arrow: Right 333">
            <a:extLst>
              <a:ext uri="{FF2B5EF4-FFF2-40B4-BE49-F238E27FC236}">
                <a16:creationId xmlns:a16="http://schemas.microsoft.com/office/drawing/2014/main" id="{200C6E47-E0B1-4C21-9E33-493EFEDB74A5}"/>
              </a:ext>
            </a:extLst>
          </p:cNvPr>
          <p:cNvSpPr/>
          <p:nvPr/>
        </p:nvSpPr>
        <p:spPr bwMode="auto">
          <a:xfrm>
            <a:off x="7954902" y="4004883"/>
            <a:ext cx="307135" cy="352067"/>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42" name="TextBox 541">
            <a:extLst>
              <a:ext uri="{FF2B5EF4-FFF2-40B4-BE49-F238E27FC236}">
                <a16:creationId xmlns:a16="http://schemas.microsoft.com/office/drawing/2014/main" id="{CFBC7A77-5543-4E19-B84E-F471AAA595F8}"/>
              </a:ext>
            </a:extLst>
          </p:cNvPr>
          <p:cNvSpPr txBox="1"/>
          <p:nvPr/>
        </p:nvSpPr>
        <p:spPr>
          <a:xfrm>
            <a:off x="764136" y="2982461"/>
            <a:ext cx="3081806" cy="184666"/>
          </a:xfrm>
          <a:prstGeom prst="rect">
            <a:avLst/>
          </a:prstGeom>
          <a:noFill/>
        </p:spPr>
        <p:txBody>
          <a:bodyPr wrap="none" lIns="0" tIns="0" rIns="0" bIns="0" rtlCol="0">
            <a:spAutoFit/>
          </a:bodyPr>
          <a:lstStyle/>
          <a:p>
            <a:pPr algn="ctr"/>
            <a:r>
              <a:rPr lang="en-US" sz="1200" b="1" i="1" dirty="0">
                <a:solidFill>
                  <a:schemeClr val="tx2"/>
                </a:solidFill>
              </a:rPr>
              <a:t>Provision and pay for </a:t>
            </a:r>
            <a:r>
              <a:rPr lang="en-US" sz="1200" b="1" i="1" u="sng" dirty="0">
                <a:solidFill>
                  <a:schemeClr val="tx2"/>
                </a:solidFill>
              </a:rPr>
              <a:t>peak two-way</a:t>
            </a:r>
            <a:r>
              <a:rPr lang="en-US" sz="1200" b="1" i="1" dirty="0">
                <a:solidFill>
                  <a:schemeClr val="tx2"/>
                </a:solidFill>
              </a:rPr>
              <a:t> traffic</a:t>
            </a:r>
          </a:p>
        </p:txBody>
      </p:sp>
      <p:sp>
        <p:nvSpPr>
          <p:cNvPr id="556" name="TextBox 555">
            <a:extLst>
              <a:ext uri="{FF2B5EF4-FFF2-40B4-BE49-F238E27FC236}">
                <a16:creationId xmlns:a16="http://schemas.microsoft.com/office/drawing/2014/main" id="{BAF33940-7E0A-4D8C-BCF3-58CF3C14F717}"/>
              </a:ext>
            </a:extLst>
          </p:cNvPr>
          <p:cNvSpPr txBox="1"/>
          <p:nvPr/>
        </p:nvSpPr>
        <p:spPr>
          <a:xfrm>
            <a:off x="4570415" y="2982461"/>
            <a:ext cx="3246786" cy="184666"/>
          </a:xfrm>
          <a:prstGeom prst="rect">
            <a:avLst/>
          </a:prstGeom>
          <a:noFill/>
        </p:spPr>
        <p:txBody>
          <a:bodyPr wrap="none" lIns="0" tIns="0" rIns="0" bIns="0" rtlCol="0">
            <a:spAutoFit/>
          </a:bodyPr>
          <a:lstStyle/>
          <a:p>
            <a:pPr algn="ctr"/>
            <a:r>
              <a:rPr lang="en-US" sz="1200" b="1" i="1" dirty="0">
                <a:solidFill>
                  <a:schemeClr val="tx2"/>
                </a:solidFill>
              </a:rPr>
              <a:t>Provision and pay for </a:t>
            </a:r>
            <a:r>
              <a:rPr lang="en-US" sz="1200" b="1" i="1" u="sng" dirty="0">
                <a:solidFill>
                  <a:schemeClr val="tx2"/>
                </a:solidFill>
              </a:rPr>
              <a:t>actual outbound</a:t>
            </a:r>
            <a:r>
              <a:rPr lang="en-US" sz="1200" b="1" i="1" dirty="0">
                <a:solidFill>
                  <a:schemeClr val="tx2"/>
                </a:solidFill>
              </a:rPr>
              <a:t> traffic</a:t>
            </a:r>
          </a:p>
        </p:txBody>
      </p:sp>
      <p:sp>
        <p:nvSpPr>
          <p:cNvPr id="11" name="TextBox 10">
            <a:extLst>
              <a:ext uri="{FF2B5EF4-FFF2-40B4-BE49-F238E27FC236}">
                <a16:creationId xmlns:a16="http://schemas.microsoft.com/office/drawing/2014/main" id="{722C12B6-C187-4CBA-BBB1-011ACC296741}"/>
              </a:ext>
            </a:extLst>
          </p:cNvPr>
          <p:cNvSpPr txBox="1"/>
          <p:nvPr/>
        </p:nvSpPr>
        <p:spPr>
          <a:xfrm>
            <a:off x="1063955" y="5505043"/>
            <a:ext cx="2374073" cy="153888"/>
          </a:xfrm>
          <a:prstGeom prst="rect">
            <a:avLst/>
          </a:prstGeom>
          <a:noFill/>
        </p:spPr>
        <p:txBody>
          <a:bodyPr wrap="square" lIns="0" tIns="0" rIns="0" bIns="0" rtlCol="0">
            <a:spAutoFit/>
          </a:bodyPr>
          <a:lstStyle/>
          <a:p>
            <a:pPr algn="l"/>
            <a:r>
              <a:rPr lang="en-US" sz="1000" dirty="0"/>
              <a:t>Amount of network bandwidth used</a:t>
            </a:r>
          </a:p>
        </p:txBody>
      </p:sp>
      <p:sp>
        <p:nvSpPr>
          <p:cNvPr id="740" name="TextBox 739">
            <a:extLst>
              <a:ext uri="{FF2B5EF4-FFF2-40B4-BE49-F238E27FC236}">
                <a16:creationId xmlns:a16="http://schemas.microsoft.com/office/drawing/2014/main" id="{2A21869B-2257-4E8C-8A36-7C97B67874D6}"/>
              </a:ext>
            </a:extLst>
          </p:cNvPr>
          <p:cNvSpPr txBox="1"/>
          <p:nvPr/>
        </p:nvSpPr>
        <p:spPr>
          <a:xfrm>
            <a:off x="1063955" y="5657443"/>
            <a:ext cx="2446960" cy="153888"/>
          </a:xfrm>
          <a:prstGeom prst="rect">
            <a:avLst/>
          </a:prstGeom>
          <a:noFill/>
        </p:spPr>
        <p:txBody>
          <a:bodyPr wrap="square" lIns="0" tIns="0" rIns="0" bIns="0" rtlCol="0">
            <a:spAutoFit/>
          </a:bodyPr>
          <a:lstStyle/>
          <a:p>
            <a:pPr algn="l"/>
            <a:r>
              <a:rPr lang="en-US" sz="1000" dirty="0"/>
              <a:t>Amount of network bandwidth paid for</a:t>
            </a:r>
          </a:p>
        </p:txBody>
      </p:sp>
      <p:cxnSp>
        <p:nvCxnSpPr>
          <p:cNvPr id="13" name="Straight Connector 12">
            <a:extLst>
              <a:ext uri="{FF2B5EF4-FFF2-40B4-BE49-F238E27FC236}">
                <a16:creationId xmlns:a16="http://schemas.microsoft.com/office/drawing/2014/main" id="{324AB30B-216C-4DEF-8819-E12328FE2BBC}"/>
              </a:ext>
            </a:extLst>
          </p:cNvPr>
          <p:cNvCxnSpPr/>
          <p:nvPr/>
        </p:nvCxnSpPr>
        <p:spPr>
          <a:xfrm>
            <a:off x="779377" y="5602304"/>
            <a:ext cx="195679"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4A5F7D1B-537B-490A-B170-BCDF59A0846A}"/>
              </a:ext>
            </a:extLst>
          </p:cNvPr>
          <p:cNvCxnSpPr/>
          <p:nvPr/>
        </p:nvCxnSpPr>
        <p:spPr>
          <a:xfrm>
            <a:off x="779377" y="5748354"/>
            <a:ext cx="195679" cy="0"/>
          </a:xfrm>
          <a:prstGeom prst="line">
            <a:avLst/>
          </a:prstGeom>
          <a:ln w="19050">
            <a:solidFill>
              <a:schemeClr val="accent3"/>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2" name="TextBox 741">
            <a:extLst>
              <a:ext uri="{FF2B5EF4-FFF2-40B4-BE49-F238E27FC236}">
                <a16:creationId xmlns:a16="http://schemas.microsoft.com/office/drawing/2014/main" id="{0B9B240B-11BB-4BAE-9EB8-B0F8BE08B505}"/>
              </a:ext>
            </a:extLst>
          </p:cNvPr>
          <p:cNvSpPr txBox="1"/>
          <p:nvPr/>
        </p:nvSpPr>
        <p:spPr>
          <a:xfrm>
            <a:off x="4924935" y="5335090"/>
            <a:ext cx="2195170" cy="153888"/>
          </a:xfrm>
          <a:prstGeom prst="rect">
            <a:avLst/>
          </a:prstGeom>
          <a:noFill/>
        </p:spPr>
        <p:txBody>
          <a:bodyPr wrap="square" lIns="0" tIns="0" rIns="0" bIns="0" rtlCol="0">
            <a:spAutoFit/>
          </a:bodyPr>
          <a:lstStyle/>
          <a:p>
            <a:r>
              <a:rPr lang="en-US" sz="1000" dirty="0"/>
              <a:t>Amount of network bandwidth used</a:t>
            </a:r>
          </a:p>
        </p:txBody>
      </p:sp>
      <p:sp>
        <p:nvSpPr>
          <p:cNvPr id="743" name="TextBox 742">
            <a:extLst>
              <a:ext uri="{FF2B5EF4-FFF2-40B4-BE49-F238E27FC236}">
                <a16:creationId xmlns:a16="http://schemas.microsoft.com/office/drawing/2014/main" id="{3A34C9E6-87AD-42EE-91F4-E3A1701BF886}"/>
              </a:ext>
            </a:extLst>
          </p:cNvPr>
          <p:cNvSpPr txBox="1"/>
          <p:nvPr/>
        </p:nvSpPr>
        <p:spPr>
          <a:xfrm>
            <a:off x="4924935" y="5657443"/>
            <a:ext cx="2575578" cy="153888"/>
          </a:xfrm>
          <a:prstGeom prst="rect">
            <a:avLst/>
          </a:prstGeom>
          <a:noFill/>
        </p:spPr>
        <p:txBody>
          <a:bodyPr wrap="square" lIns="0" tIns="0" rIns="0" bIns="0" rtlCol="0">
            <a:spAutoFit/>
          </a:bodyPr>
          <a:lstStyle/>
          <a:p>
            <a:pPr algn="l"/>
            <a:r>
              <a:rPr lang="en-US" sz="1000" dirty="0"/>
              <a:t>Amount of variable outbound traffic paid</a:t>
            </a:r>
          </a:p>
        </p:txBody>
      </p:sp>
      <p:cxnSp>
        <p:nvCxnSpPr>
          <p:cNvPr id="744" name="Straight Connector 743">
            <a:extLst>
              <a:ext uri="{FF2B5EF4-FFF2-40B4-BE49-F238E27FC236}">
                <a16:creationId xmlns:a16="http://schemas.microsoft.com/office/drawing/2014/main" id="{2CFB1AB7-CF98-45C9-AA66-9DD4C6C52A08}"/>
              </a:ext>
            </a:extLst>
          </p:cNvPr>
          <p:cNvCxnSpPr/>
          <p:nvPr/>
        </p:nvCxnSpPr>
        <p:spPr>
          <a:xfrm>
            <a:off x="4640357" y="5432351"/>
            <a:ext cx="195679"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5" name="Straight Connector 744">
            <a:extLst>
              <a:ext uri="{FF2B5EF4-FFF2-40B4-BE49-F238E27FC236}">
                <a16:creationId xmlns:a16="http://schemas.microsoft.com/office/drawing/2014/main" id="{40E37D50-5A34-4C24-9652-C87B167FCE20}"/>
              </a:ext>
            </a:extLst>
          </p:cNvPr>
          <p:cNvCxnSpPr/>
          <p:nvPr/>
        </p:nvCxnSpPr>
        <p:spPr>
          <a:xfrm>
            <a:off x="4640357" y="5748354"/>
            <a:ext cx="195679" cy="0"/>
          </a:xfrm>
          <a:prstGeom prst="line">
            <a:avLst/>
          </a:prstGeom>
          <a:ln w="19050">
            <a:solidFill>
              <a:schemeClr val="accent4"/>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1DDD8FF-E416-4409-9E82-21C3B1C92DBE}"/>
              </a:ext>
            </a:extLst>
          </p:cNvPr>
          <p:cNvSpPr/>
          <p:nvPr/>
        </p:nvSpPr>
        <p:spPr bwMode="auto">
          <a:xfrm>
            <a:off x="4649154" y="5522031"/>
            <a:ext cx="195679" cy="11991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65760" tIns="0" rIns="0" bIns="0" numCol="1" spcCol="0" rtlCol="0" fromWordArt="0" anchor="ctr" anchorCtr="0" forceAA="0" compatLnSpc="1">
            <a:prstTxWarp prst="textNoShape">
              <a:avLst/>
            </a:prstTxWarp>
            <a:noAutofit/>
          </a:bodyPr>
          <a:lstStyle/>
          <a:p>
            <a:r>
              <a:rPr lang="en-US" sz="1000" dirty="0">
                <a:solidFill>
                  <a:schemeClr val="tx1"/>
                </a:solidFill>
              </a:rPr>
              <a:t>Amount of ExpressRoute (fixed fee) paid</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Flexible Network Provisioning</a:t>
            </a:r>
          </a:p>
        </p:txBody>
      </p:sp>
      <p:sp>
        <p:nvSpPr>
          <p:cNvPr id="934" name="Rectangle 933">
            <a:extLst>
              <a:ext uri="{FF2B5EF4-FFF2-40B4-BE49-F238E27FC236}">
                <a16:creationId xmlns:a16="http://schemas.microsoft.com/office/drawing/2014/main" id="{EC4ED81D-2E44-4532-A77A-BA906D1DD670}"/>
              </a:ext>
            </a:extLst>
          </p:cNvPr>
          <p:cNvSpPr/>
          <p:nvPr/>
        </p:nvSpPr>
        <p:spPr>
          <a:xfrm>
            <a:off x="533943" y="114846"/>
            <a:ext cx="3462615" cy="369332"/>
          </a:xfrm>
          <a:prstGeom prst="rect">
            <a:avLst/>
          </a:prstGeom>
        </p:spPr>
        <p:txBody>
          <a:bodyPr wrap="none">
            <a:spAutoFit/>
          </a:bodyPr>
          <a:lstStyle/>
          <a:p>
            <a:r>
              <a:rPr lang="en-US" b="1" i="1" dirty="0"/>
              <a:t>Cost-optimized infrastructure</a:t>
            </a:r>
          </a:p>
        </p:txBody>
      </p:sp>
      <p:graphicFrame>
        <p:nvGraphicFramePr>
          <p:cNvPr id="540" name="Chart 539">
            <a:extLst>
              <a:ext uri="{FF2B5EF4-FFF2-40B4-BE49-F238E27FC236}">
                <a16:creationId xmlns:a16="http://schemas.microsoft.com/office/drawing/2014/main" id="{FCCF9486-0E52-446A-964D-2D3CEA248243}"/>
              </a:ext>
            </a:extLst>
          </p:cNvPr>
          <p:cNvGraphicFramePr/>
          <p:nvPr>
            <p:custDataLst>
              <p:tags r:id="rId4"/>
            </p:custDataLst>
          </p:nvPr>
        </p:nvGraphicFramePr>
        <p:xfrm>
          <a:off x="8370888" y="3425825"/>
          <a:ext cx="2433637" cy="1747838"/>
        </p:xfrm>
        <a:graphic>
          <a:graphicData uri="http://schemas.openxmlformats.org/drawingml/2006/chart">
            <c:chart xmlns:c="http://schemas.openxmlformats.org/drawingml/2006/chart" xmlns:r="http://schemas.openxmlformats.org/officeDocument/2006/relationships" r:id="rId22"/>
          </a:graphicData>
        </a:graphic>
      </p:graphicFrame>
      <p:cxnSp>
        <p:nvCxnSpPr>
          <p:cNvPr id="518" name="Straight Connector 517">
            <a:extLst>
              <a:ext uri="{FF2B5EF4-FFF2-40B4-BE49-F238E27FC236}">
                <a16:creationId xmlns:a16="http://schemas.microsoft.com/office/drawing/2014/main" id="{A3BB2FC0-9D2B-48E4-9601-6018A16F6504}"/>
              </a:ext>
            </a:extLst>
          </p:cNvPr>
          <p:cNvCxnSpPr/>
          <p:nvPr>
            <p:custDataLst>
              <p:tags r:id="rId5"/>
            </p:custDataLst>
          </p:nvPr>
        </p:nvCxnSpPr>
        <p:spPr bwMode="gray">
          <a:xfrm flipV="1">
            <a:off x="9020175" y="3186113"/>
            <a:ext cx="0" cy="7620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7" name="Straight Connector 516">
            <a:extLst>
              <a:ext uri="{FF2B5EF4-FFF2-40B4-BE49-F238E27FC236}">
                <a16:creationId xmlns:a16="http://schemas.microsoft.com/office/drawing/2014/main" id="{94C268A6-338B-4ADF-837F-D358BED9D520}"/>
              </a:ext>
            </a:extLst>
          </p:cNvPr>
          <p:cNvCxnSpPr/>
          <p:nvPr>
            <p:custDataLst>
              <p:tags r:id="rId6"/>
            </p:custDataLst>
          </p:nvPr>
        </p:nvCxnSpPr>
        <p:spPr bwMode="gray">
          <a:xfrm>
            <a:off x="9020175" y="3186113"/>
            <a:ext cx="1133475"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9" name="Straight Connector 518">
            <a:extLst>
              <a:ext uri="{FF2B5EF4-FFF2-40B4-BE49-F238E27FC236}">
                <a16:creationId xmlns:a16="http://schemas.microsoft.com/office/drawing/2014/main" id="{C76FF0B2-7F2F-496B-9FFE-EAB89ED6ACF1}"/>
              </a:ext>
            </a:extLst>
          </p:cNvPr>
          <p:cNvCxnSpPr/>
          <p:nvPr>
            <p:custDataLst>
              <p:tags r:id="rId7"/>
            </p:custDataLst>
          </p:nvPr>
        </p:nvCxnSpPr>
        <p:spPr bwMode="gray">
          <a:xfrm>
            <a:off x="10153650" y="3186113"/>
            <a:ext cx="0" cy="373063"/>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DBE320D-99B2-41A6-BCB9-FAA494371A5A}"/>
              </a:ext>
            </a:extLst>
          </p:cNvPr>
          <p:cNvCxnSpPr/>
          <p:nvPr>
            <p:custDataLst>
              <p:tags r:id="rId8"/>
            </p:custDataLst>
          </p:nvPr>
        </p:nvCxnSpPr>
        <p:spPr bwMode="auto">
          <a:xfrm flipH="1">
            <a:off x="10507663" y="4832350"/>
            <a:ext cx="79375" cy="174625"/>
          </a:xfrm>
          <a:prstGeom prst="line">
            <a:avLst/>
          </a:prstGeom>
          <a:ln w="6350" cap="flat" cmpd="sng" algn="ctr">
            <a:solidFill>
              <a:schemeClr val="tx1"/>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24" name="Text Placeholder 3">
            <a:extLst>
              <a:ext uri="{FF2B5EF4-FFF2-40B4-BE49-F238E27FC236}">
                <a16:creationId xmlns:a16="http://schemas.microsoft.com/office/drawing/2014/main" id="{EA12601D-2534-4FB6-A182-C3A8286B2E4B}"/>
              </a:ext>
            </a:extLst>
          </p:cNvPr>
          <p:cNvSpPr>
            <a:spLocks noGrp="1"/>
          </p:cNvSpPr>
          <p:nvPr>
            <p:custDataLst>
              <p:tags r:id="rId9"/>
            </p:custDataLst>
          </p:nvPr>
        </p:nvSpPr>
        <p:spPr bwMode="auto">
          <a:xfrm>
            <a:off x="9975850" y="5192713"/>
            <a:ext cx="3571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91585A8-1D51-4BD8-8E5B-28FB1DC823EB}" type="datetime'''''W''''''''''''''''''''''''''''''V''''''''''''''D'''">
              <a:rPr lang="en-US" altLang="en-US" sz="1200" smtClean="0">
                <a:solidFill>
                  <a:schemeClr val="tx1"/>
                </a:solidFill>
                <a:cs typeface="+mn-cs"/>
                <a:sym typeface="+mn-lt"/>
              </a:rPr>
              <a:pPr/>
              <a:t>WVD</a:t>
            </a:fld>
            <a:endParaRPr lang="en-US" sz="1200" dirty="0">
              <a:solidFill>
                <a:schemeClr val="tx1"/>
              </a:solidFill>
              <a:cs typeface="+mn-cs"/>
              <a:sym typeface="+mn-lt"/>
            </a:endParaRPr>
          </a:p>
        </p:txBody>
      </p:sp>
      <p:sp>
        <p:nvSpPr>
          <p:cNvPr id="553" name="Text Placeholder 3">
            <a:extLst>
              <a:ext uri="{FF2B5EF4-FFF2-40B4-BE49-F238E27FC236}">
                <a16:creationId xmlns:a16="http://schemas.microsoft.com/office/drawing/2014/main" id="{08D603C8-ED10-4D2C-BE12-4B00838B81B7}"/>
              </a:ext>
            </a:extLst>
          </p:cNvPr>
          <p:cNvSpPr>
            <a:spLocks noGrp="1"/>
          </p:cNvSpPr>
          <p:nvPr>
            <p:custDataLst>
              <p:tags r:id="rId10"/>
            </p:custDataLst>
          </p:nvPr>
        </p:nvSpPr>
        <p:spPr bwMode="gray">
          <a:xfrm>
            <a:off x="9909175" y="4273550"/>
            <a:ext cx="490538" cy="18256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22225" tIns="0" rIns="22225"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bg1"/>
                </a:solidFill>
                <a:cs typeface="+mn-cs"/>
                <a:sym typeface="+mn-lt"/>
              </a:rPr>
              <a:t>$</a:t>
            </a:r>
            <a:fld id="{472FBC02-90AD-4FCA-AE2C-57A6FA1ABD1C}" type="datetime'''''''''''''''''1'',9''''''''''''''''''''''4''''5'''''''''">
              <a:rPr lang="en-US" altLang="en-US" sz="1200" smtClean="0">
                <a:solidFill>
                  <a:schemeClr val="bg1"/>
                </a:solidFill>
                <a:cs typeface="+mn-cs"/>
              </a:rPr>
              <a:pPr marL="0" indent="0" algn="ctr">
                <a:spcBef>
                  <a:spcPct val="0"/>
                </a:spcBef>
                <a:spcAft>
                  <a:spcPct val="0"/>
                </a:spcAft>
                <a:buNone/>
              </a:pPr>
              <a:t>1,945</a:t>
            </a:fld>
            <a:endParaRPr lang="en-US" sz="1200" dirty="0">
              <a:solidFill>
                <a:schemeClr val="bg1"/>
              </a:solidFill>
              <a:cs typeface="+mn-cs"/>
              <a:sym typeface="+mn-lt"/>
            </a:endParaRPr>
          </a:p>
        </p:txBody>
      </p:sp>
      <p:sp>
        <p:nvSpPr>
          <p:cNvPr id="523" name="Text Placeholder 3">
            <a:extLst>
              <a:ext uri="{FF2B5EF4-FFF2-40B4-BE49-F238E27FC236}">
                <a16:creationId xmlns:a16="http://schemas.microsoft.com/office/drawing/2014/main" id="{6EBEA22B-65E5-4657-B00B-07FF030516C7}"/>
              </a:ext>
            </a:extLst>
          </p:cNvPr>
          <p:cNvSpPr>
            <a:spLocks noGrp="1"/>
          </p:cNvSpPr>
          <p:nvPr>
            <p:custDataLst>
              <p:tags r:id="rId11"/>
            </p:custDataLst>
          </p:nvPr>
        </p:nvSpPr>
        <p:spPr bwMode="auto">
          <a:xfrm>
            <a:off x="8677275" y="5192713"/>
            <a:ext cx="6873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F7696F5-A344-4A06-BD0E-9A193F858CD1}" type="datetime'O''''''''''''''''n''''''-p''''r''e''''''''''''''''''''m'">
              <a:rPr lang="en-US" altLang="en-US" sz="1200" smtClean="0">
                <a:solidFill>
                  <a:schemeClr val="tx1"/>
                </a:solidFill>
                <a:cs typeface="+mn-cs"/>
                <a:sym typeface="+mn-lt"/>
              </a:rPr>
              <a:pPr marL="0" indent="0" algn="ctr">
                <a:spcBef>
                  <a:spcPct val="0"/>
                </a:spcBef>
                <a:spcAft>
                  <a:spcPct val="0"/>
                </a:spcAft>
                <a:buNone/>
              </a:pPr>
              <a:t>On-prem</a:t>
            </a:fld>
            <a:r>
              <a:rPr lang="en-US" altLang="en-US" sz="1200" dirty="0">
                <a:solidFill>
                  <a:schemeClr val="tx1"/>
                </a:solidFill>
                <a:cs typeface="+mn-cs"/>
                <a:sym typeface="+mn-lt"/>
              </a:rPr>
              <a:t>*</a:t>
            </a:r>
            <a:endParaRPr lang="en-US" sz="1200" dirty="0">
              <a:solidFill>
                <a:schemeClr val="tx1"/>
              </a:solidFill>
              <a:cs typeface="+mn-cs"/>
              <a:sym typeface="+mn-lt"/>
            </a:endParaRPr>
          </a:p>
        </p:txBody>
      </p:sp>
      <p:sp>
        <p:nvSpPr>
          <p:cNvPr id="746" name="Text Placeholder 3">
            <a:extLst>
              <a:ext uri="{FF2B5EF4-FFF2-40B4-BE49-F238E27FC236}">
                <a16:creationId xmlns:a16="http://schemas.microsoft.com/office/drawing/2014/main" id="{4E4306CF-3A8A-4BD9-A421-6277EF2D00E2}"/>
              </a:ext>
            </a:extLst>
          </p:cNvPr>
          <p:cNvSpPr>
            <a:spLocks noGrp="1"/>
          </p:cNvSpPr>
          <p:nvPr>
            <p:custDataLst>
              <p:tags r:id="rId12"/>
            </p:custDataLst>
          </p:nvPr>
        </p:nvSpPr>
        <p:spPr bwMode="gray">
          <a:xfrm>
            <a:off x="9966325" y="4916488"/>
            <a:ext cx="3746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FA4FFE94-DFD7-459C-878D-8BA8700AFA64}" type="datetime'''''''''''''''''29''''''''''''''''''0'''''''''''''''''''''''">
              <a:rPr lang="en-US" altLang="en-US" sz="1200" smtClean="0">
                <a:solidFill>
                  <a:schemeClr val="tx1"/>
                </a:solidFill>
                <a:cs typeface="+mn-cs"/>
                <a:sym typeface="+mn-lt"/>
              </a:rPr>
              <a:pPr/>
              <a:t>290</a:t>
            </a:fld>
            <a:endParaRPr lang="en-US" sz="1200" dirty="0">
              <a:solidFill>
                <a:schemeClr val="tx1"/>
              </a:solidFill>
              <a:cs typeface="+mn-cs"/>
              <a:sym typeface="+mn-lt"/>
            </a:endParaRPr>
          </a:p>
        </p:txBody>
      </p:sp>
      <p:sp>
        <p:nvSpPr>
          <p:cNvPr id="522" name="Text Placeholder 3">
            <a:extLst>
              <a:ext uri="{FF2B5EF4-FFF2-40B4-BE49-F238E27FC236}">
                <a16:creationId xmlns:a16="http://schemas.microsoft.com/office/drawing/2014/main" id="{1DF1266A-6C59-4B76-B069-8EFE1A44CBC5}"/>
              </a:ext>
            </a:extLst>
          </p:cNvPr>
          <p:cNvSpPr>
            <a:spLocks noGrp="1"/>
          </p:cNvSpPr>
          <p:nvPr>
            <p:custDataLst>
              <p:tags r:id="rId13"/>
            </p:custDataLst>
          </p:nvPr>
        </p:nvSpPr>
        <p:spPr bwMode="auto">
          <a:xfrm>
            <a:off x="10612438" y="4649788"/>
            <a:ext cx="928688"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sz="1200" dirty="0">
                <a:solidFill>
                  <a:schemeClr val="tx1"/>
                </a:solidFill>
                <a:cs typeface="+mn-cs"/>
                <a:sym typeface="+mn-lt"/>
              </a:rPr>
              <a:t>ExpressRoute </a:t>
            </a:r>
          </a:p>
          <a:p>
            <a:pPr marL="0" indent="0">
              <a:spcBef>
                <a:spcPct val="0"/>
              </a:spcBef>
              <a:spcAft>
                <a:spcPct val="0"/>
              </a:spcAft>
              <a:buNone/>
            </a:pPr>
            <a:r>
              <a:rPr lang="en-US" sz="1200" dirty="0">
                <a:solidFill>
                  <a:schemeClr val="tx1"/>
                </a:solidFill>
                <a:cs typeface="+mn-cs"/>
                <a:sym typeface="+mn-lt"/>
              </a:rPr>
              <a:t>(fixed fee)</a:t>
            </a:r>
          </a:p>
        </p:txBody>
      </p:sp>
      <p:sp>
        <p:nvSpPr>
          <p:cNvPr id="552" name="Text Placeholder 3">
            <a:extLst>
              <a:ext uri="{FF2B5EF4-FFF2-40B4-BE49-F238E27FC236}">
                <a16:creationId xmlns:a16="http://schemas.microsoft.com/office/drawing/2014/main" id="{1C09633F-BD15-43C3-8620-E51DDEFFD460}"/>
              </a:ext>
            </a:extLst>
          </p:cNvPr>
          <p:cNvSpPr>
            <a:spLocks noGrp="1"/>
          </p:cNvSpPr>
          <p:nvPr>
            <p:custDataLst>
              <p:tags r:id="rId14"/>
            </p:custDataLst>
          </p:nvPr>
        </p:nvSpPr>
        <p:spPr bwMode="auto">
          <a:xfrm>
            <a:off x="10612438" y="4051300"/>
            <a:ext cx="708025" cy="5476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tx1"/>
                </a:solidFill>
                <a:cs typeface="+mn-cs"/>
                <a:sym typeface="+mn-lt"/>
              </a:rPr>
              <a:t>Variable </a:t>
            </a:r>
          </a:p>
          <a:p>
            <a:pPr marL="0" indent="0">
              <a:spcBef>
                <a:spcPct val="0"/>
              </a:spcBef>
              <a:spcAft>
                <a:spcPct val="0"/>
              </a:spcAft>
              <a:buNone/>
            </a:pPr>
            <a:r>
              <a:rPr lang="en-US" altLang="en-US" sz="1200" dirty="0">
                <a:solidFill>
                  <a:schemeClr val="tx1"/>
                </a:solidFill>
                <a:cs typeface="+mn-cs"/>
                <a:sym typeface="+mn-lt"/>
              </a:rPr>
              <a:t>outbound </a:t>
            </a:r>
          </a:p>
          <a:p>
            <a:pPr marL="0" indent="0">
              <a:spcBef>
                <a:spcPct val="0"/>
              </a:spcBef>
              <a:spcAft>
                <a:spcPct val="0"/>
              </a:spcAft>
              <a:buNone/>
            </a:pPr>
            <a:r>
              <a:rPr lang="en-US" altLang="en-US" sz="1200" dirty="0">
                <a:solidFill>
                  <a:schemeClr val="tx1"/>
                </a:solidFill>
                <a:cs typeface="+mn-cs"/>
                <a:sym typeface="+mn-lt"/>
              </a:rPr>
              <a:t>traffic</a:t>
            </a:r>
          </a:p>
        </p:txBody>
      </p:sp>
      <p:sp>
        <p:nvSpPr>
          <p:cNvPr id="545" name="Text Placeholder 3">
            <a:extLst>
              <a:ext uri="{FF2B5EF4-FFF2-40B4-BE49-F238E27FC236}">
                <a16:creationId xmlns:a16="http://schemas.microsoft.com/office/drawing/2014/main" id="{FA57D3F6-7177-46BA-B2AC-3E7EEDF4B702}"/>
              </a:ext>
            </a:extLst>
          </p:cNvPr>
          <p:cNvSpPr>
            <a:spLocks noGrp="1"/>
          </p:cNvSpPr>
          <p:nvPr>
            <p:custDataLst>
              <p:tags r:id="rId15"/>
            </p:custDataLst>
          </p:nvPr>
        </p:nvSpPr>
        <p:spPr bwMode="gray">
          <a:xfrm>
            <a:off x="8775700" y="3300413"/>
            <a:ext cx="4905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5C3802B5-539F-4DF5-88CC-B7B86DC0793B}" type="datetime'2'',7''5''0'''''''''''''''''''''''''''''''''''">
              <a:rPr lang="en-US" altLang="en-US" sz="1200" smtClean="0">
                <a:gradFill flip="none" rotWithShape="1">
                  <a:gsLst>
                    <a:gs pos="1250">
                      <a:schemeClr val="tx1"/>
                    </a:gs>
                    <a:gs pos="100000">
                      <a:schemeClr val="tx1"/>
                    </a:gs>
                  </a:gsLst>
                  <a:lin ang="5400000" scaled="0"/>
                  <a:tileRect/>
                </a:gradFill>
                <a:cs typeface="+mn-cs"/>
              </a:rPr>
              <a:pPr/>
              <a:t>2,750</a:t>
            </a:fld>
            <a:endParaRPr lang="en-US" sz="1200" dirty="0">
              <a:gradFill flip="none" rotWithShape="1">
                <a:gsLst>
                  <a:gs pos="1250">
                    <a:schemeClr val="tx1"/>
                  </a:gs>
                  <a:gs pos="100000">
                    <a:schemeClr val="tx1"/>
                  </a:gs>
                </a:gsLst>
                <a:lin ang="5400000" scaled="0"/>
                <a:tileRect/>
              </a:gradFill>
              <a:cs typeface="+mn-cs"/>
              <a:sym typeface="+mn-lt"/>
            </a:endParaRPr>
          </a:p>
        </p:txBody>
      </p:sp>
      <p:sp>
        <p:nvSpPr>
          <p:cNvPr id="525" name="Text Placeholder 3">
            <a:extLst>
              <a:ext uri="{FF2B5EF4-FFF2-40B4-BE49-F238E27FC236}">
                <a16:creationId xmlns:a16="http://schemas.microsoft.com/office/drawing/2014/main" id="{F410D628-69E3-4C6E-B2DD-87EF1421FFFF}"/>
              </a:ext>
            </a:extLst>
          </p:cNvPr>
          <p:cNvSpPr>
            <a:spLocks noGrp="1"/>
          </p:cNvSpPr>
          <p:nvPr>
            <p:custDataLst>
              <p:tags r:id="rId16"/>
            </p:custDataLst>
          </p:nvPr>
        </p:nvSpPr>
        <p:spPr bwMode="gray">
          <a:xfrm>
            <a:off x="9909175" y="3597275"/>
            <a:ext cx="4905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1E8B99A2-B660-4E06-9281-D9A9E2F16E8D}" type="datetime'''2'''''',''''''2''''''''3''''''''''''''''''''''''''5'">
              <a:rPr lang="en-US" altLang="en-US" sz="1200" smtClean="0">
                <a:gradFill flip="none" rotWithShape="1">
                  <a:gsLst>
                    <a:gs pos="1250">
                      <a:schemeClr val="tx1"/>
                    </a:gs>
                    <a:gs pos="100000">
                      <a:schemeClr val="tx1"/>
                    </a:gs>
                  </a:gsLst>
                  <a:lin ang="5400000" scaled="0"/>
                  <a:tileRect/>
                </a:gradFill>
                <a:cs typeface="+mn-cs"/>
              </a:rPr>
              <a:pPr/>
              <a:t>2,235</a:t>
            </a:fld>
            <a:endParaRPr lang="en-US" sz="1200" dirty="0">
              <a:gradFill flip="none" rotWithShape="1">
                <a:gsLst>
                  <a:gs pos="1250">
                    <a:schemeClr val="tx1"/>
                  </a:gs>
                  <a:gs pos="100000">
                    <a:schemeClr val="tx1"/>
                  </a:gs>
                </a:gsLst>
                <a:lin ang="5400000" scaled="0"/>
                <a:tileRect/>
              </a:gradFill>
              <a:cs typeface="+mn-cs"/>
              <a:sym typeface="+mn-lt"/>
            </a:endParaRPr>
          </a:p>
        </p:txBody>
      </p:sp>
      <p:sp>
        <p:nvSpPr>
          <p:cNvPr id="526" name="Text Placeholder 3">
            <a:extLst>
              <a:ext uri="{FF2B5EF4-FFF2-40B4-BE49-F238E27FC236}">
                <a16:creationId xmlns:a16="http://schemas.microsoft.com/office/drawing/2014/main" id="{B6646927-064B-4307-AFF4-75B011072A20}"/>
              </a:ext>
            </a:extLst>
          </p:cNvPr>
          <p:cNvSpPr>
            <a:spLocks noGrp="1"/>
          </p:cNvSpPr>
          <p:nvPr>
            <p:custDataLst>
              <p:tags r:id="rId17"/>
            </p:custDataLst>
          </p:nvPr>
        </p:nvSpPr>
        <p:spPr bwMode="auto">
          <a:xfrm>
            <a:off x="9283700" y="3035300"/>
            <a:ext cx="606425" cy="301625"/>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400" b="1" dirty="0">
                <a:solidFill>
                  <a:schemeClr val="tx1"/>
                </a:solidFill>
                <a:cs typeface="+mn-cs"/>
                <a:sym typeface="+mn-lt"/>
              </a:rPr>
              <a:t>-20%</a:t>
            </a:r>
          </a:p>
        </p:txBody>
      </p:sp>
      <p:sp>
        <p:nvSpPr>
          <p:cNvPr id="543" name="Freeform: Shape 542">
            <a:extLst>
              <a:ext uri="{FF2B5EF4-FFF2-40B4-BE49-F238E27FC236}">
                <a16:creationId xmlns:a16="http://schemas.microsoft.com/office/drawing/2014/main" id="{1B2B064B-C77C-4211-8C9B-A2B0AC93540C}"/>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Physical Network on-prem to Network Provisioned in WVD </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Pay for actual outbound data transfer instead of peak two-way data transfer;</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Optimize networking cost by using both fixed fee and variable outbound traffic</a:t>
            </a:r>
          </a:p>
        </p:txBody>
      </p:sp>
      <p:grpSp>
        <p:nvGrpSpPr>
          <p:cNvPr id="546" name="Group 545">
            <a:extLst>
              <a:ext uri="{FF2B5EF4-FFF2-40B4-BE49-F238E27FC236}">
                <a16:creationId xmlns:a16="http://schemas.microsoft.com/office/drawing/2014/main" id="{9F265C30-2061-4988-AC96-ED892D39DD7D}"/>
              </a:ext>
            </a:extLst>
          </p:cNvPr>
          <p:cNvGrpSpPr>
            <a:grpSpLocks noChangeAspect="1"/>
          </p:cNvGrpSpPr>
          <p:nvPr/>
        </p:nvGrpSpPr>
        <p:grpSpPr>
          <a:xfrm>
            <a:off x="10777886" y="1372927"/>
            <a:ext cx="806355" cy="914400"/>
            <a:chOff x="797126" y="3893732"/>
            <a:chExt cx="1125722" cy="1276864"/>
          </a:xfrm>
        </p:grpSpPr>
        <p:sp>
          <p:nvSpPr>
            <p:cNvPr id="547" name="Freeform 403">
              <a:extLst>
                <a:ext uri="{FF2B5EF4-FFF2-40B4-BE49-F238E27FC236}">
                  <a16:creationId xmlns:a16="http://schemas.microsoft.com/office/drawing/2014/main" id="{3948D4B4-FD42-424D-A1D1-FCAE519868B5}"/>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554" name="Freeform: Shape 553">
              <a:extLst>
                <a:ext uri="{FF2B5EF4-FFF2-40B4-BE49-F238E27FC236}">
                  <a16:creationId xmlns:a16="http://schemas.microsoft.com/office/drawing/2014/main" id="{282F94C2-4247-48D8-A86B-90A439D85FEF}"/>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739" name="Group 738">
              <a:extLst>
                <a:ext uri="{FF2B5EF4-FFF2-40B4-BE49-F238E27FC236}">
                  <a16:creationId xmlns:a16="http://schemas.microsoft.com/office/drawing/2014/main" id="{207DBDAF-A6FA-41AC-A59B-1C3C6D349C4A}"/>
                </a:ext>
              </a:extLst>
            </p:cNvPr>
            <p:cNvGrpSpPr/>
            <p:nvPr/>
          </p:nvGrpSpPr>
          <p:grpSpPr>
            <a:xfrm>
              <a:off x="971699" y="4043345"/>
              <a:ext cx="773592" cy="920012"/>
              <a:chOff x="993458" y="3447450"/>
              <a:chExt cx="682781" cy="812014"/>
            </a:xfrm>
          </p:grpSpPr>
          <p:grpSp>
            <p:nvGrpSpPr>
              <p:cNvPr id="747" name="Group 746">
                <a:extLst>
                  <a:ext uri="{FF2B5EF4-FFF2-40B4-BE49-F238E27FC236}">
                    <a16:creationId xmlns:a16="http://schemas.microsoft.com/office/drawing/2014/main" id="{A5FC5E21-96C6-4A2E-A304-EDA6E459BA53}"/>
                  </a:ext>
                </a:extLst>
              </p:cNvPr>
              <p:cNvGrpSpPr/>
              <p:nvPr/>
            </p:nvGrpSpPr>
            <p:grpSpPr>
              <a:xfrm>
                <a:off x="993458" y="3447450"/>
                <a:ext cx="576652" cy="812014"/>
                <a:chOff x="499414" y="1517311"/>
                <a:chExt cx="3686809" cy="5340604"/>
              </a:xfrm>
            </p:grpSpPr>
            <p:sp>
              <p:nvSpPr>
                <p:cNvPr id="846" name="Rectangle 845">
                  <a:extLst>
                    <a:ext uri="{FF2B5EF4-FFF2-40B4-BE49-F238E27FC236}">
                      <a16:creationId xmlns:a16="http://schemas.microsoft.com/office/drawing/2014/main" id="{B6ADE35A-2C14-45AC-BBF8-C6F07EF0A04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847" name="Group 846">
                  <a:extLst>
                    <a:ext uri="{FF2B5EF4-FFF2-40B4-BE49-F238E27FC236}">
                      <a16:creationId xmlns:a16="http://schemas.microsoft.com/office/drawing/2014/main" id="{15B408AE-8943-43F8-A281-87C7672B1557}"/>
                    </a:ext>
                  </a:extLst>
                </p:cNvPr>
                <p:cNvGrpSpPr/>
                <p:nvPr/>
              </p:nvGrpSpPr>
              <p:grpSpPr>
                <a:xfrm rot="20371446">
                  <a:off x="2524661" y="2299216"/>
                  <a:ext cx="859576" cy="554927"/>
                  <a:chOff x="4775201" y="792163"/>
                  <a:chExt cx="2024063" cy="1306513"/>
                </a:xfrm>
              </p:grpSpPr>
              <p:sp>
                <p:nvSpPr>
                  <p:cNvPr id="901" name="Freeform 354">
                    <a:extLst>
                      <a:ext uri="{FF2B5EF4-FFF2-40B4-BE49-F238E27FC236}">
                        <a16:creationId xmlns:a16="http://schemas.microsoft.com/office/drawing/2014/main" id="{5243EB6D-C9FA-4C5A-899C-EC39C5CDC525}"/>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2" name="Rectangle 901">
                    <a:extLst>
                      <a:ext uri="{FF2B5EF4-FFF2-40B4-BE49-F238E27FC236}">
                        <a16:creationId xmlns:a16="http://schemas.microsoft.com/office/drawing/2014/main" id="{0BC3A641-EA50-4C2C-84C8-9CD5AC132D3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3" name="Freeform 356">
                    <a:extLst>
                      <a:ext uri="{FF2B5EF4-FFF2-40B4-BE49-F238E27FC236}">
                        <a16:creationId xmlns:a16="http://schemas.microsoft.com/office/drawing/2014/main" id="{502E9EE8-87AC-4B92-A5EB-D2CD949B6315}"/>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4" name="Freeform 357">
                    <a:extLst>
                      <a:ext uri="{FF2B5EF4-FFF2-40B4-BE49-F238E27FC236}">
                        <a16:creationId xmlns:a16="http://schemas.microsoft.com/office/drawing/2014/main" id="{BFEB62DD-7555-4F7D-98D5-375387485482}"/>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5" name="Freeform 358">
                    <a:extLst>
                      <a:ext uri="{FF2B5EF4-FFF2-40B4-BE49-F238E27FC236}">
                        <a16:creationId xmlns:a16="http://schemas.microsoft.com/office/drawing/2014/main" id="{2659A6ED-A352-42CE-B354-7F24581C5F3A}"/>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6" name="Rectangle 905">
                    <a:extLst>
                      <a:ext uri="{FF2B5EF4-FFF2-40B4-BE49-F238E27FC236}">
                        <a16:creationId xmlns:a16="http://schemas.microsoft.com/office/drawing/2014/main" id="{1D6284B8-CA63-4C44-A922-F9B319FF5CD3}"/>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7" name="Freeform 360">
                    <a:extLst>
                      <a:ext uri="{FF2B5EF4-FFF2-40B4-BE49-F238E27FC236}">
                        <a16:creationId xmlns:a16="http://schemas.microsoft.com/office/drawing/2014/main" id="{27089C80-2914-4A30-A52C-2CEB71414A3A}"/>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8" name="Rectangle 907">
                    <a:extLst>
                      <a:ext uri="{FF2B5EF4-FFF2-40B4-BE49-F238E27FC236}">
                        <a16:creationId xmlns:a16="http://schemas.microsoft.com/office/drawing/2014/main" id="{08B6DF46-9B45-4449-9BCD-08B7E2356085}"/>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9" name="Rectangle 908">
                    <a:extLst>
                      <a:ext uri="{FF2B5EF4-FFF2-40B4-BE49-F238E27FC236}">
                        <a16:creationId xmlns:a16="http://schemas.microsoft.com/office/drawing/2014/main" id="{95215F2B-4DDC-4F9A-BC9C-271DC3B56010}"/>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10" name="Rectangle 909">
                    <a:extLst>
                      <a:ext uri="{FF2B5EF4-FFF2-40B4-BE49-F238E27FC236}">
                        <a16:creationId xmlns:a16="http://schemas.microsoft.com/office/drawing/2014/main" id="{8DB74BC9-A4F0-463B-B60A-16D38585EFF9}"/>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11" name="Rectangle 910">
                    <a:extLst>
                      <a:ext uri="{FF2B5EF4-FFF2-40B4-BE49-F238E27FC236}">
                        <a16:creationId xmlns:a16="http://schemas.microsoft.com/office/drawing/2014/main" id="{4B234F0E-B3B4-46E9-BDA6-2D51221359F3}"/>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12" name="Rectangle 911">
                    <a:extLst>
                      <a:ext uri="{FF2B5EF4-FFF2-40B4-BE49-F238E27FC236}">
                        <a16:creationId xmlns:a16="http://schemas.microsoft.com/office/drawing/2014/main" id="{CA0D90EB-EFFF-4501-9869-1C74A27EF849}"/>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848" name="Group 847">
                  <a:extLst>
                    <a:ext uri="{FF2B5EF4-FFF2-40B4-BE49-F238E27FC236}">
                      <a16:creationId xmlns:a16="http://schemas.microsoft.com/office/drawing/2014/main" id="{00B7A757-8D8C-4811-AE59-87340E4653F6}"/>
                    </a:ext>
                  </a:extLst>
                </p:cNvPr>
                <p:cNvGrpSpPr/>
                <p:nvPr/>
              </p:nvGrpSpPr>
              <p:grpSpPr>
                <a:xfrm>
                  <a:off x="1190120" y="2235988"/>
                  <a:ext cx="983059" cy="983198"/>
                  <a:chOff x="5413781" y="5749281"/>
                  <a:chExt cx="652036" cy="652036"/>
                </a:xfrm>
              </p:grpSpPr>
              <p:sp>
                <p:nvSpPr>
                  <p:cNvPr id="899" name="Oval 898">
                    <a:extLst>
                      <a:ext uri="{FF2B5EF4-FFF2-40B4-BE49-F238E27FC236}">
                        <a16:creationId xmlns:a16="http://schemas.microsoft.com/office/drawing/2014/main" id="{1A2937D9-8AA4-42F6-ADFD-2942B0FD98D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900" name="Freeform 353">
                    <a:extLst>
                      <a:ext uri="{FF2B5EF4-FFF2-40B4-BE49-F238E27FC236}">
                        <a16:creationId xmlns:a16="http://schemas.microsoft.com/office/drawing/2014/main" id="{3B29C219-4480-4446-8A64-9D0CB1B8B1D1}"/>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9" name="Group 848">
                  <a:extLst>
                    <a:ext uri="{FF2B5EF4-FFF2-40B4-BE49-F238E27FC236}">
                      <a16:creationId xmlns:a16="http://schemas.microsoft.com/office/drawing/2014/main" id="{ED1C5AE9-6CCE-4B80-AD78-DFBB96467D1C}"/>
                    </a:ext>
                  </a:extLst>
                </p:cNvPr>
                <p:cNvGrpSpPr>
                  <a:grpSpLocks noChangeAspect="1"/>
                </p:cNvGrpSpPr>
                <p:nvPr/>
              </p:nvGrpSpPr>
              <p:grpSpPr bwMode="auto">
                <a:xfrm rot="1800000">
                  <a:off x="3563928" y="2295726"/>
                  <a:ext cx="622295" cy="847393"/>
                  <a:chOff x="6652" y="1661"/>
                  <a:chExt cx="260" cy="354"/>
                </a:xfrm>
              </p:grpSpPr>
              <p:sp>
                <p:nvSpPr>
                  <p:cNvPr id="895" name="AutoShape 138">
                    <a:extLst>
                      <a:ext uri="{FF2B5EF4-FFF2-40B4-BE49-F238E27FC236}">
                        <a16:creationId xmlns:a16="http://schemas.microsoft.com/office/drawing/2014/main" id="{62AB623F-2F22-4CEF-85BE-E9EF20E3379F}"/>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896" name="Freeform 349">
                    <a:extLst>
                      <a:ext uri="{FF2B5EF4-FFF2-40B4-BE49-F238E27FC236}">
                        <a16:creationId xmlns:a16="http://schemas.microsoft.com/office/drawing/2014/main" id="{5E11C1F8-D720-4CF7-9A8A-5119F1BDE414}"/>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897" name="Rectangle 896">
                    <a:extLst>
                      <a:ext uri="{FF2B5EF4-FFF2-40B4-BE49-F238E27FC236}">
                        <a16:creationId xmlns:a16="http://schemas.microsoft.com/office/drawing/2014/main" id="{94092060-B29B-4BE2-969A-1B22438E060E}"/>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898" name="Freeform 351">
                    <a:extLst>
                      <a:ext uri="{FF2B5EF4-FFF2-40B4-BE49-F238E27FC236}">
                        <a16:creationId xmlns:a16="http://schemas.microsoft.com/office/drawing/2014/main" id="{6E70D450-0BBD-4A2E-9C7E-EDB8D2245F23}"/>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850" name="Group 849">
                  <a:extLst>
                    <a:ext uri="{FF2B5EF4-FFF2-40B4-BE49-F238E27FC236}">
                      <a16:creationId xmlns:a16="http://schemas.microsoft.com/office/drawing/2014/main" id="{A5414BCB-C5B7-4530-AEA1-9F153C3BCFB4}"/>
                    </a:ext>
                  </a:extLst>
                </p:cNvPr>
                <p:cNvGrpSpPr/>
                <p:nvPr/>
              </p:nvGrpSpPr>
              <p:grpSpPr>
                <a:xfrm flipH="1">
                  <a:off x="499414" y="3565526"/>
                  <a:ext cx="1323206" cy="3292389"/>
                  <a:chOff x="8371759" y="2973033"/>
                  <a:chExt cx="1482609" cy="3688507"/>
                </a:xfrm>
              </p:grpSpPr>
              <p:sp>
                <p:nvSpPr>
                  <p:cNvPr id="861" name="Freeform 314">
                    <a:extLst>
                      <a:ext uri="{FF2B5EF4-FFF2-40B4-BE49-F238E27FC236}">
                        <a16:creationId xmlns:a16="http://schemas.microsoft.com/office/drawing/2014/main" id="{87AE1B3C-6B12-40B9-808C-ED78EE564718}"/>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2" name="Freeform 315">
                    <a:extLst>
                      <a:ext uri="{FF2B5EF4-FFF2-40B4-BE49-F238E27FC236}">
                        <a16:creationId xmlns:a16="http://schemas.microsoft.com/office/drawing/2014/main" id="{2CD6C81B-8351-4D02-84AB-74C33AEDC2A6}"/>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3" name="Freeform 316">
                    <a:extLst>
                      <a:ext uri="{FF2B5EF4-FFF2-40B4-BE49-F238E27FC236}">
                        <a16:creationId xmlns:a16="http://schemas.microsoft.com/office/drawing/2014/main" id="{51ED7760-4DEF-47D7-AC6F-37AB7CD8CD01}"/>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4" name="Rectangle 863">
                    <a:extLst>
                      <a:ext uri="{FF2B5EF4-FFF2-40B4-BE49-F238E27FC236}">
                        <a16:creationId xmlns:a16="http://schemas.microsoft.com/office/drawing/2014/main" id="{6AB963AE-9D58-4B55-AC83-9D4EEBBEBB0B}"/>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5" name="Rectangle 864">
                    <a:extLst>
                      <a:ext uri="{FF2B5EF4-FFF2-40B4-BE49-F238E27FC236}">
                        <a16:creationId xmlns:a16="http://schemas.microsoft.com/office/drawing/2014/main" id="{42BA65D1-0B48-4D23-AE69-16C576B668EC}"/>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6" name="Rectangle 865">
                    <a:extLst>
                      <a:ext uri="{FF2B5EF4-FFF2-40B4-BE49-F238E27FC236}">
                        <a16:creationId xmlns:a16="http://schemas.microsoft.com/office/drawing/2014/main" id="{9855A761-1C8A-4A7C-BF0E-C97020F16C8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7" name="Rectangle 866">
                    <a:extLst>
                      <a:ext uri="{FF2B5EF4-FFF2-40B4-BE49-F238E27FC236}">
                        <a16:creationId xmlns:a16="http://schemas.microsoft.com/office/drawing/2014/main" id="{02CD803E-0A05-466C-95BD-1C7F3226A7D8}"/>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8" name="Freeform 321">
                    <a:extLst>
                      <a:ext uri="{FF2B5EF4-FFF2-40B4-BE49-F238E27FC236}">
                        <a16:creationId xmlns:a16="http://schemas.microsoft.com/office/drawing/2014/main" id="{9D9051EE-AD60-4851-860B-31E53651BCDF}"/>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69" name="Rectangle 868">
                    <a:extLst>
                      <a:ext uri="{FF2B5EF4-FFF2-40B4-BE49-F238E27FC236}">
                        <a16:creationId xmlns:a16="http://schemas.microsoft.com/office/drawing/2014/main" id="{E02D7685-828D-4101-88E5-54D12FE460EC}"/>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0" name="Rectangle 869">
                    <a:extLst>
                      <a:ext uri="{FF2B5EF4-FFF2-40B4-BE49-F238E27FC236}">
                        <a16:creationId xmlns:a16="http://schemas.microsoft.com/office/drawing/2014/main" id="{67136BEA-52B5-4D6B-9316-0C7DD05422AC}"/>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1" name="Freeform 324">
                    <a:extLst>
                      <a:ext uri="{FF2B5EF4-FFF2-40B4-BE49-F238E27FC236}">
                        <a16:creationId xmlns:a16="http://schemas.microsoft.com/office/drawing/2014/main" id="{CAA9312A-7002-4640-B280-3F98591F591F}"/>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2" name="Freeform 325">
                    <a:extLst>
                      <a:ext uri="{FF2B5EF4-FFF2-40B4-BE49-F238E27FC236}">
                        <a16:creationId xmlns:a16="http://schemas.microsoft.com/office/drawing/2014/main" id="{70063FB8-6DF0-4557-BD4F-0C289206E961}"/>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3" name="Freeform 326">
                    <a:extLst>
                      <a:ext uri="{FF2B5EF4-FFF2-40B4-BE49-F238E27FC236}">
                        <a16:creationId xmlns:a16="http://schemas.microsoft.com/office/drawing/2014/main" id="{90C2C018-6890-43E7-9268-135AFCB3A17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4" name="Freeform 327">
                    <a:extLst>
                      <a:ext uri="{FF2B5EF4-FFF2-40B4-BE49-F238E27FC236}">
                        <a16:creationId xmlns:a16="http://schemas.microsoft.com/office/drawing/2014/main" id="{E150C670-B728-41C0-B490-E3D27AAC2C83}"/>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5" name="Freeform 328">
                    <a:extLst>
                      <a:ext uri="{FF2B5EF4-FFF2-40B4-BE49-F238E27FC236}">
                        <a16:creationId xmlns:a16="http://schemas.microsoft.com/office/drawing/2014/main" id="{1BF2AEAC-0FBC-4687-8AA7-8F474AB9A710}"/>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6" name="Freeform 329">
                    <a:extLst>
                      <a:ext uri="{FF2B5EF4-FFF2-40B4-BE49-F238E27FC236}">
                        <a16:creationId xmlns:a16="http://schemas.microsoft.com/office/drawing/2014/main" id="{AFABE10B-DE95-467B-8686-2A30E5034F30}"/>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7" name="Freeform 330">
                    <a:extLst>
                      <a:ext uri="{FF2B5EF4-FFF2-40B4-BE49-F238E27FC236}">
                        <a16:creationId xmlns:a16="http://schemas.microsoft.com/office/drawing/2014/main" id="{232351DA-A216-4A8B-91BB-66B74DEDD4EB}"/>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8" name="Freeform 331">
                    <a:extLst>
                      <a:ext uri="{FF2B5EF4-FFF2-40B4-BE49-F238E27FC236}">
                        <a16:creationId xmlns:a16="http://schemas.microsoft.com/office/drawing/2014/main" id="{CFF6B598-23DF-4A33-849C-5DFF7CA632A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79" name="Freeform 332">
                    <a:extLst>
                      <a:ext uri="{FF2B5EF4-FFF2-40B4-BE49-F238E27FC236}">
                        <a16:creationId xmlns:a16="http://schemas.microsoft.com/office/drawing/2014/main" id="{C373A3AB-5454-40EE-AE3F-EA5929F3FE9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0" name="Freeform 333">
                    <a:extLst>
                      <a:ext uri="{FF2B5EF4-FFF2-40B4-BE49-F238E27FC236}">
                        <a16:creationId xmlns:a16="http://schemas.microsoft.com/office/drawing/2014/main" id="{DB8ED89E-D8C0-4E78-BAD2-534889F4E606}"/>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1" name="Freeform 334">
                    <a:extLst>
                      <a:ext uri="{FF2B5EF4-FFF2-40B4-BE49-F238E27FC236}">
                        <a16:creationId xmlns:a16="http://schemas.microsoft.com/office/drawing/2014/main" id="{073F0FF6-3883-435F-9AED-3662F013902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2" name="Freeform 335">
                    <a:extLst>
                      <a:ext uri="{FF2B5EF4-FFF2-40B4-BE49-F238E27FC236}">
                        <a16:creationId xmlns:a16="http://schemas.microsoft.com/office/drawing/2014/main" id="{9134E9DC-0BAC-447A-951D-15FBB69B1BA1}"/>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3" name="Freeform 336">
                    <a:extLst>
                      <a:ext uri="{FF2B5EF4-FFF2-40B4-BE49-F238E27FC236}">
                        <a16:creationId xmlns:a16="http://schemas.microsoft.com/office/drawing/2014/main" id="{4279AFC0-C7DB-4782-B31B-A7C721901BBB}"/>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4" name="Freeform 337">
                    <a:extLst>
                      <a:ext uri="{FF2B5EF4-FFF2-40B4-BE49-F238E27FC236}">
                        <a16:creationId xmlns:a16="http://schemas.microsoft.com/office/drawing/2014/main" id="{38A8024A-0AC1-4C9E-B228-DE94E9A0FFAC}"/>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5" name="Freeform 338">
                    <a:extLst>
                      <a:ext uri="{FF2B5EF4-FFF2-40B4-BE49-F238E27FC236}">
                        <a16:creationId xmlns:a16="http://schemas.microsoft.com/office/drawing/2014/main" id="{C15928D4-3E73-4E80-8E43-F9E4BBAAA027}"/>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6" name="Freeform 339">
                    <a:extLst>
                      <a:ext uri="{FF2B5EF4-FFF2-40B4-BE49-F238E27FC236}">
                        <a16:creationId xmlns:a16="http://schemas.microsoft.com/office/drawing/2014/main" id="{049EE832-1EBE-4DDC-B7A2-DF7632E8DBEF}"/>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7" name="Freeform 340">
                    <a:extLst>
                      <a:ext uri="{FF2B5EF4-FFF2-40B4-BE49-F238E27FC236}">
                        <a16:creationId xmlns:a16="http://schemas.microsoft.com/office/drawing/2014/main" id="{553A7993-7C99-4846-A118-2A6B8AE1275A}"/>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8" name="Freeform 341">
                    <a:extLst>
                      <a:ext uri="{FF2B5EF4-FFF2-40B4-BE49-F238E27FC236}">
                        <a16:creationId xmlns:a16="http://schemas.microsoft.com/office/drawing/2014/main" id="{7511BDB0-C497-42CB-84DA-5413A26D521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89" name="Freeform 342">
                    <a:extLst>
                      <a:ext uri="{FF2B5EF4-FFF2-40B4-BE49-F238E27FC236}">
                        <a16:creationId xmlns:a16="http://schemas.microsoft.com/office/drawing/2014/main" id="{A86F0E61-DC94-4E31-8314-D9182C5BEF4B}"/>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90" name="Freeform 343">
                    <a:extLst>
                      <a:ext uri="{FF2B5EF4-FFF2-40B4-BE49-F238E27FC236}">
                        <a16:creationId xmlns:a16="http://schemas.microsoft.com/office/drawing/2014/main" id="{2162E504-AC00-45BE-89B7-092E86442BC3}"/>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91" name="Freeform 344">
                    <a:extLst>
                      <a:ext uri="{FF2B5EF4-FFF2-40B4-BE49-F238E27FC236}">
                        <a16:creationId xmlns:a16="http://schemas.microsoft.com/office/drawing/2014/main" id="{CEE2695E-0956-4CE0-9FAC-9AC8916D16A2}"/>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92" name="Freeform 345">
                    <a:extLst>
                      <a:ext uri="{FF2B5EF4-FFF2-40B4-BE49-F238E27FC236}">
                        <a16:creationId xmlns:a16="http://schemas.microsoft.com/office/drawing/2014/main" id="{EF313984-1D5D-40F7-8CDA-D3681B3E3F79}"/>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93" name="Freeform 346">
                    <a:extLst>
                      <a:ext uri="{FF2B5EF4-FFF2-40B4-BE49-F238E27FC236}">
                        <a16:creationId xmlns:a16="http://schemas.microsoft.com/office/drawing/2014/main" id="{0B0A520E-D8FE-4A01-9610-8BAFC104C748}"/>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894" name="Freeform 347">
                    <a:extLst>
                      <a:ext uri="{FF2B5EF4-FFF2-40B4-BE49-F238E27FC236}">
                        <a16:creationId xmlns:a16="http://schemas.microsoft.com/office/drawing/2014/main" id="{0B3F0665-F3CC-4046-A1B5-05CD9BB04243}"/>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851" name="Straight Connector 850">
                  <a:extLst>
                    <a:ext uri="{FF2B5EF4-FFF2-40B4-BE49-F238E27FC236}">
                      <a16:creationId xmlns:a16="http://schemas.microsoft.com/office/drawing/2014/main" id="{DDDFEEA8-10B7-47EE-BFB8-8C3D91D9417A}"/>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852" name="Straight Connector 851">
                  <a:extLst>
                    <a:ext uri="{FF2B5EF4-FFF2-40B4-BE49-F238E27FC236}">
                      <a16:creationId xmlns:a16="http://schemas.microsoft.com/office/drawing/2014/main" id="{23168AC0-07A0-45BB-BC56-99F42FB9BDD2}"/>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853" name="Straight Connector 852">
                  <a:extLst>
                    <a:ext uri="{FF2B5EF4-FFF2-40B4-BE49-F238E27FC236}">
                      <a16:creationId xmlns:a16="http://schemas.microsoft.com/office/drawing/2014/main" id="{E176C778-4652-4418-9351-83DFFE900B53}"/>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854" name="Straight Connector 853">
                  <a:extLst>
                    <a:ext uri="{FF2B5EF4-FFF2-40B4-BE49-F238E27FC236}">
                      <a16:creationId xmlns:a16="http://schemas.microsoft.com/office/drawing/2014/main" id="{C2654477-8325-47E5-9EE8-B701682DA23F}"/>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855" name="Group 854">
                  <a:extLst>
                    <a:ext uri="{FF2B5EF4-FFF2-40B4-BE49-F238E27FC236}">
                      <a16:creationId xmlns:a16="http://schemas.microsoft.com/office/drawing/2014/main" id="{71E3DA0E-11BD-4215-94B7-EF66FFB44B35}"/>
                    </a:ext>
                  </a:extLst>
                </p:cNvPr>
                <p:cNvGrpSpPr/>
                <p:nvPr/>
              </p:nvGrpSpPr>
              <p:grpSpPr>
                <a:xfrm>
                  <a:off x="2022695" y="1566515"/>
                  <a:ext cx="766903" cy="767014"/>
                  <a:chOff x="9123445" y="2463609"/>
                  <a:chExt cx="652033" cy="652035"/>
                </a:xfrm>
              </p:grpSpPr>
              <p:sp>
                <p:nvSpPr>
                  <p:cNvPr id="859" name="Oval 858">
                    <a:extLst>
                      <a:ext uri="{FF2B5EF4-FFF2-40B4-BE49-F238E27FC236}">
                        <a16:creationId xmlns:a16="http://schemas.microsoft.com/office/drawing/2014/main" id="{9F26F526-3AFB-4BAD-829A-ACD79146040A}"/>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60" name="Freeform 313">
                    <a:extLst>
                      <a:ext uri="{FF2B5EF4-FFF2-40B4-BE49-F238E27FC236}">
                        <a16:creationId xmlns:a16="http://schemas.microsoft.com/office/drawing/2014/main" id="{788B1C3F-D63B-4F8E-9BFF-6E1DBCB3923B}"/>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856" name="Group 855">
                  <a:extLst>
                    <a:ext uri="{FF2B5EF4-FFF2-40B4-BE49-F238E27FC236}">
                      <a16:creationId xmlns:a16="http://schemas.microsoft.com/office/drawing/2014/main" id="{50026892-E829-45F4-BEB1-A8227EA6EF94}"/>
                    </a:ext>
                  </a:extLst>
                </p:cNvPr>
                <p:cNvGrpSpPr/>
                <p:nvPr/>
              </p:nvGrpSpPr>
              <p:grpSpPr>
                <a:xfrm>
                  <a:off x="1973388" y="1517311"/>
                  <a:ext cx="853073" cy="853194"/>
                  <a:chOff x="9123452" y="2463609"/>
                  <a:chExt cx="652035" cy="652035"/>
                </a:xfrm>
              </p:grpSpPr>
              <p:sp>
                <p:nvSpPr>
                  <p:cNvPr id="857" name="Oval 856">
                    <a:extLst>
                      <a:ext uri="{FF2B5EF4-FFF2-40B4-BE49-F238E27FC236}">
                        <a16:creationId xmlns:a16="http://schemas.microsoft.com/office/drawing/2014/main" id="{B4159C6C-C56A-4BD6-A4C9-00DCC908010E}"/>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58" name="Freeform 311">
                    <a:extLst>
                      <a:ext uri="{FF2B5EF4-FFF2-40B4-BE49-F238E27FC236}">
                        <a16:creationId xmlns:a16="http://schemas.microsoft.com/office/drawing/2014/main" id="{495A1FEC-4E25-4CE9-B3A9-E6B1333C2834}"/>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748" name="Group 747">
                <a:extLst>
                  <a:ext uri="{FF2B5EF4-FFF2-40B4-BE49-F238E27FC236}">
                    <a16:creationId xmlns:a16="http://schemas.microsoft.com/office/drawing/2014/main" id="{5825F1B9-8FD2-4A08-B5E6-1D4DF1D95819}"/>
                  </a:ext>
                </a:extLst>
              </p:cNvPr>
              <p:cNvGrpSpPr/>
              <p:nvPr/>
            </p:nvGrpSpPr>
            <p:grpSpPr>
              <a:xfrm>
                <a:off x="1226671" y="3909844"/>
                <a:ext cx="304563" cy="307388"/>
                <a:chOff x="4471988" y="3821062"/>
                <a:chExt cx="2035176" cy="2113013"/>
              </a:xfrm>
            </p:grpSpPr>
            <p:sp>
              <p:nvSpPr>
                <p:cNvPr id="792" name="Rectangle 6">
                  <a:extLst>
                    <a:ext uri="{FF2B5EF4-FFF2-40B4-BE49-F238E27FC236}">
                      <a16:creationId xmlns:a16="http://schemas.microsoft.com/office/drawing/2014/main" id="{A615C02D-087E-4793-B731-98B3E6714373}"/>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3" name="Freeform 7">
                  <a:extLst>
                    <a:ext uri="{FF2B5EF4-FFF2-40B4-BE49-F238E27FC236}">
                      <a16:creationId xmlns:a16="http://schemas.microsoft.com/office/drawing/2014/main" id="{942693E5-C2E8-4107-A3A4-D290E3D623F2}"/>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4" name="Freeform 10">
                  <a:extLst>
                    <a:ext uri="{FF2B5EF4-FFF2-40B4-BE49-F238E27FC236}">
                      <a16:creationId xmlns:a16="http://schemas.microsoft.com/office/drawing/2014/main" id="{BADD3F9F-D51B-4BA6-BB96-40BF18117C2B}"/>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5" name="Freeform 11">
                  <a:extLst>
                    <a:ext uri="{FF2B5EF4-FFF2-40B4-BE49-F238E27FC236}">
                      <a16:creationId xmlns:a16="http://schemas.microsoft.com/office/drawing/2014/main" id="{E46BCB9F-07C1-44DE-8AC4-EE0388C522BF}"/>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6" name="Oval 12">
                  <a:extLst>
                    <a:ext uri="{FF2B5EF4-FFF2-40B4-BE49-F238E27FC236}">
                      <a16:creationId xmlns:a16="http://schemas.microsoft.com/office/drawing/2014/main" id="{FD63F710-16A1-4518-9ED4-44732059BABA}"/>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7" name="Oval 13">
                  <a:extLst>
                    <a:ext uri="{FF2B5EF4-FFF2-40B4-BE49-F238E27FC236}">
                      <a16:creationId xmlns:a16="http://schemas.microsoft.com/office/drawing/2014/main" id="{DCFF6D51-64C7-413E-88CE-1488C8E8C11B}"/>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8" name="Freeform 14">
                  <a:extLst>
                    <a:ext uri="{FF2B5EF4-FFF2-40B4-BE49-F238E27FC236}">
                      <a16:creationId xmlns:a16="http://schemas.microsoft.com/office/drawing/2014/main" id="{51BF2268-CF6D-4120-B87E-C69C15FBE38E}"/>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799" name="Rectangle 15">
                  <a:extLst>
                    <a:ext uri="{FF2B5EF4-FFF2-40B4-BE49-F238E27FC236}">
                      <a16:creationId xmlns:a16="http://schemas.microsoft.com/office/drawing/2014/main" id="{35800D6F-7F51-45C8-9434-0CD58AEA2682}"/>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0" name="Rectangle 16">
                  <a:extLst>
                    <a:ext uri="{FF2B5EF4-FFF2-40B4-BE49-F238E27FC236}">
                      <a16:creationId xmlns:a16="http://schemas.microsoft.com/office/drawing/2014/main" id="{1780DDC5-FFEC-4E5B-B0AC-810D8A69365F}"/>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1" name="Freeform 17">
                  <a:extLst>
                    <a:ext uri="{FF2B5EF4-FFF2-40B4-BE49-F238E27FC236}">
                      <a16:creationId xmlns:a16="http://schemas.microsoft.com/office/drawing/2014/main" id="{D40AFC3F-6CCE-489D-885E-ADE485C1A583}"/>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2" name="Freeform 18">
                  <a:extLst>
                    <a:ext uri="{FF2B5EF4-FFF2-40B4-BE49-F238E27FC236}">
                      <a16:creationId xmlns:a16="http://schemas.microsoft.com/office/drawing/2014/main" id="{117EFC11-5F0B-447B-B095-9AF2D92717B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3" name="Rectangle 19">
                  <a:extLst>
                    <a:ext uri="{FF2B5EF4-FFF2-40B4-BE49-F238E27FC236}">
                      <a16:creationId xmlns:a16="http://schemas.microsoft.com/office/drawing/2014/main" id="{CE56668E-4E68-4468-A64A-21EA0AB51463}"/>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4" name="Freeform 20">
                  <a:extLst>
                    <a:ext uri="{FF2B5EF4-FFF2-40B4-BE49-F238E27FC236}">
                      <a16:creationId xmlns:a16="http://schemas.microsoft.com/office/drawing/2014/main" id="{1D0B16C8-AE26-4DB9-8F87-ADDFEAA24E21}"/>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5" name="Freeform 21">
                  <a:extLst>
                    <a:ext uri="{FF2B5EF4-FFF2-40B4-BE49-F238E27FC236}">
                      <a16:creationId xmlns:a16="http://schemas.microsoft.com/office/drawing/2014/main" id="{DD5847EA-5795-4F59-9252-8C7A51CD67D1}"/>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6" name="Freeform 22">
                  <a:extLst>
                    <a:ext uri="{FF2B5EF4-FFF2-40B4-BE49-F238E27FC236}">
                      <a16:creationId xmlns:a16="http://schemas.microsoft.com/office/drawing/2014/main" id="{866F7B6B-3380-4F90-B2C8-C67AB69650AB}"/>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7" name="Freeform 23">
                  <a:extLst>
                    <a:ext uri="{FF2B5EF4-FFF2-40B4-BE49-F238E27FC236}">
                      <a16:creationId xmlns:a16="http://schemas.microsoft.com/office/drawing/2014/main" id="{E6BAE1E9-4327-4C1F-88E0-64099E12C0B5}"/>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8" name="Freeform 24">
                  <a:extLst>
                    <a:ext uri="{FF2B5EF4-FFF2-40B4-BE49-F238E27FC236}">
                      <a16:creationId xmlns:a16="http://schemas.microsoft.com/office/drawing/2014/main" id="{678F595E-020A-4DC4-AF46-AEDF0335216D}"/>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09" name="Rectangle 25">
                  <a:extLst>
                    <a:ext uri="{FF2B5EF4-FFF2-40B4-BE49-F238E27FC236}">
                      <a16:creationId xmlns:a16="http://schemas.microsoft.com/office/drawing/2014/main" id="{576F0B7C-7247-41D6-9EB9-4360684295D9}"/>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0" name="Freeform 26">
                  <a:extLst>
                    <a:ext uri="{FF2B5EF4-FFF2-40B4-BE49-F238E27FC236}">
                      <a16:creationId xmlns:a16="http://schemas.microsoft.com/office/drawing/2014/main" id="{F0A5D032-ED91-482F-B2F8-7AEDF4269A42}"/>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1" name="Freeform 27">
                  <a:extLst>
                    <a:ext uri="{FF2B5EF4-FFF2-40B4-BE49-F238E27FC236}">
                      <a16:creationId xmlns:a16="http://schemas.microsoft.com/office/drawing/2014/main" id="{53A62F37-9B37-478E-90F6-CA285C3CFDA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2" name="Freeform 28">
                  <a:extLst>
                    <a:ext uri="{FF2B5EF4-FFF2-40B4-BE49-F238E27FC236}">
                      <a16:creationId xmlns:a16="http://schemas.microsoft.com/office/drawing/2014/main" id="{6BC63474-ABD5-4B67-99FB-A361BDD8E318}"/>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3" name="Freeform 29">
                  <a:extLst>
                    <a:ext uri="{FF2B5EF4-FFF2-40B4-BE49-F238E27FC236}">
                      <a16:creationId xmlns:a16="http://schemas.microsoft.com/office/drawing/2014/main" id="{38E5BF14-5E48-4CF0-B43F-785845364732}"/>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4" name="Freeform 30">
                  <a:extLst>
                    <a:ext uri="{FF2B5EF4-FFF2-40B4-BE49-F238E27FC236}">
                      <a16:creationId xmlns:a16="http://schemas.microsoft.com/office/drawing/2014/main" id="{1188E5D0-9171-46B0-91DD-B90AB455031E}"/>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5" name="Freeform 31">
                  <a:extLst>
                    <a:ext uri="{FF2B5EF4-FFF2-40B4-BE49-F238E27FC236}">
                      <a16:creationId xmlns:a16="http://schemas.microsoft.com/office/drawing/2014/main" id="{1EB537BE-C14D-43AE-9C2E-202361D9D851}"/>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6" name="Freeform 32">
                  <a:extLst>
                    <a:ext uri="{FF2B5EF4-FFF2-40B4-BE49-F238E27FC236}">
                      <a16:creationId xmlns:a16="http://schemas.microsoft.com/office/drawing/2014/main" id="{2209EF19-6AC7-4B88-BD04-09C727C1C130}"/>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7" name="Freeform 102">
                  <a:extLst>
                    <a:ext uri="{FF2B5EF4-FFF2-40B4-BE49-F238E27FC236}">
                      <a16:creationId xmlns:a16="http://schemas.microsoft.com/office/drawing/2014/main" id="{BFD9645C-350A-48F6-BFEA-6C766D5BC7B6}"/>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8" name="Freeform 103">
                  <a:extLst>
                    <a:ext uri="{FF2B5EF4-FFF2-40B4-BE49-F238E27FC236}">
                      <a16:creationId xmlns:a16="http://schemas.microsoft.com/office/drawing/2014/main" id="{ADD78FA7-7D2B-4F70-85CC-6DF4C34756ED}"/>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19" name="Freeform 104">
                  <a:extLst>
                    <a:ext uri="{FF2B5EF4-FFF2-40B4-BE49-F238E27FC236}">
                      <a16:creationId xmlns:a16="http://schemas.microsoft.com/office/drawing/2014/main" id="{CC2F56AE-96D7-4530-B1C1-8987784BC25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0" name="Freeform 105">
                  <a:extLst>
                    <a:ext uri="{FF2B5EF4-FFF2-40B4-BE49-F238E27FC236}">
                      <a16:creationId xmlns:a16="http://schemas.microsoft.com/office/drawing/2014/main" id="{B4848301-63E0-4706-BD52-80983AECB106}"/>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1" name="Freeform 106">
                  <a:extLst>
                    <a:ext uri="{FF2B5EF4-FFF2-40B4-BE49-F238E27FC236}">
                      <a16:creationId xmlns:a16="http://schemas.microsoft.com/office/drawing/2014/main" id="{8DCE21A4-DE59-41BB-B432-1D870047AE64}"/>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2" name="Freeform 107">
                  <a:extLst>
                    <a:ext uri="{FF2B5EF4-FFF2-40B4-BE49-F238E27FC236}">
                      <a16:creationId xmlns:a16="http://schemas.microsoft.com/office/drawing/2014/main" id="{80C9FA1C-5827-42C3-A668-0C9AEBE7740F}"/>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3" name="Freeform 108">
                  <a:extLst>
                    <a:ext uri="{FF2B5EF4-FFF2-40B4-BE49-F238E27FC236}">
                      <a16:creationId xmlns:a16="http://schemas.microsoft.com/office/drawing/2014/main" id="{70780BB6-56C2-4F90-BDDF-DBB686AA8B2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4" name="Rectangle 823">
                  <a:extLst>
                    <a:ext uri="{FF2B5EF4-FFF2-40B4-BE49-F238E27FC236}">
                      <a16:creationId xmlns:a16="http://schemas.microsoft.com/office/drawing/2014/main" id="{25958D5A-BE26-4807-9C70-E0DBF4A75003}"/>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5" name="Freeform 110">
                  <a:extLst>
                    <a:ext uri="{FF2B5EF4-FFF2-40B4-BE49-F238E27FC236}">
                      <a16:creationId xmlns:a16="http://schemas.microsoft.com/office/drawing/2014/main" id="{934DA7E6-A520-4B47-B628-E890C3C5E452}"/>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6" name="Freeform 111">
                  <a:extLst>
                    <a:ext uri="{FF2B5EF4-FFF2-40B4-BE49-F238E27FC236}">
                      <a16:creationId xmlns:a16="http://schemas.microsoft.com/office/drawing/2014/main" id="{B9F23369-CC31-4D16-A4AF-129298C92CF2}"/>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7" name="Freeform 112">
                  <a:extLst>
                    <a:ext uri="{FF2B5EF4-FFF2-40B4-BE49-F238E27FC236}">
                      <a16:creationId xmlns:a16="http://schemas.microsoft.com/office/drawing/2014/main" id="{256F2713-B1A3-4687-8423-66F781C31D0B}"/>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8" name="Freeform 113">
                  <a:extLst>
                    <a:ext uri="{FF2B5EF4-FFF2-40B4-BE49-F238E27FC236}">
                      <a16:creationId xmlns:a16="http://schemas.microsoft.com/office/drawing/2014/main" id="{EA7D968C-0D98-4C6E-A0D9-5A90F78266CF}"/>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29" name="Rectangle 828">
                  <a:extLst>
                    <a:ext uri="{FF2B5EF4-FFF2-40B4-BE49-F238E27FC236}">
                      <a16:creationId xmlns:a16="http://schemas.microsoft.com/office/drawing/2014/main" id="{EE324F34-0F65-4E22-A75A-AF4059EA1FEB}"/>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0" name="Freeform 115">
                  <a:extLst>
                    <a:ext uri="{FF2B5EF4-FFF2-40B4-BE49-F238E27FC236}">
                      <a16:creationId xmlns:a16="http://schemas.microsoft.com/office/drawing/2014/main" id="{928A6E65-5DA0-4B7F-B427-C81927DF4B9C}"/>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1" name="Freeform 116">
                  <a:extLst>
                    <a:ext uri="{FF2B5EF4-FFF2-40B4-BE49-F238E27FC236}">
                      <a16:creationId xmlns:a16="http://schemas.microsoft.com/office/drawing/2014/main" id="{965ADAAF-581A-488C-A6AD-44DADE555CDC}"/>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2" name="Freeform 117">
                  <a:extLst>
                    <a:ext uri="{FF2B5EF4-FFF2-40B4-BE49-F238E27FC236}">
                      <a16:creationId xmlns:a16="http://schemas.microsoft.com/office/drawing/2014/main" id="{B7BE2D54-FB6E-43E8-B8CB-8A25DE74BD9A}"/>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3" name="Freeform 118">
                  <a:extLst>
                    <a:ext uri="{FF2B5EF4-FFF2-40B4-BE49-F238E27FC236}">
                      <a16:creationId xmlns:a16="http://schemas.microsoft.com/office/drawing/2014/main" id="{6A3218FE-A4AB-4F9B-8290-6ED0DCAD200B}"/>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4" name="Oval 833">
                  <a:extLst>
                    <a:ext uri="{FF2B5EF4-FFF2-40B4-BE49-F238E27FC236}">
                      <a16:creationId xmlns:a16="http://schemas.microsoft.com/office/drawing/2014/main" id="{C0C7AD86-ED58-45DA-AEB5-27BCF23123F0}"/>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5" name="Freeform 120">
                  <a:extLst>
                    <a:ext uri="{FF2B5EF4-FFF2-40B4-BE49-F238E27FC236}">
                      <a16:creationId xmlns:a16="http://schemas.microsoft.com/office/drawing/2014/main" id="{D53266C7-AEFE-479F-8962-9291F2A98B9B}"/>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6" name="Freeform 121">
                  <a:extLst>
                    <a:ext uri="{FF2B5EF4-FFF2-40B4-BE49-F238E27FC236}">
                      <a16:creationId xmlns:a16="http://schemas.microsoft.com/office/drawing/2014/main" id="{ACB4BA79-D7B0-466D-BF52-12261AA9F56F}"/>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7" name="Freeform 122">
                  <a:extLst>
                    <a:ext uri="{FF2B5EF4-FFF2-40B4-BE49-F238E27FC236}">
                      <a16:creationId xmlns:a16="http://schemas.microsoft.com/office/drawing/2014/main" id="{857322DD-202D-4703-99A5-59EFB48F301B}"/>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8" name="Freeform 123">
                  <a:extLst>
                    <a:ext uri="{FF2B5EF4-FFF2-40B4-BE49-F238E27FC236}">
                      <a16:creationId xmlns:a16="http://schemas.microsoft.com/office/drawing/2014/main" id="{34F5A3BE-2B77-4B79-A996-3DDEDAF4770B}"/>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39" name="Freeform 124">
                  <a:extLst>
                    <a:ext uri="{FF2B5EF4-FFF2-40B4-BE49-F238E27FC236}">
                      <a16:creationId xmlns:a16="http://schemas.microsoft.com/office/drawing/2014/main" id="{21E2C460-A907-4172-80B3-01F6590D7EAD}"/>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0" name="Freeform 63">
                  <a:extLst>
                    <a:ext uri="{FF2B5EF4-FFF2-40B4-BE49-F238E27FC236}">
                      <a16:creationId xmlns:a16="http://schemas.microsoft.com/office/drawing/2014/main" id="{1C2D0FD8-2BA7-4173-BC45-E3D62919274F}"/>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1" name="Freeform 65">
                  <a:extLst>
                    <a:ext uri="{FF2B5EF4-FFF2-40B4-BE49-F238E27FC236}">
                      <a16:creationId xmlns:a16="http://schemas.microsoft.com/office/drawing/2014/main" id="{424557AA-CE00-46D4-A44A-DB83A90D9040}"/>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2" name="Freeform 66">
                  <a:extLst>
                    <a:ext uri="{FF2B5EF4-FFF2-40B4-BE49-F238E27FC236}">
                      <a16:creationId xmlns:a16="http://schemas.microsoft.com/office/drawing/2014/main" id="{251E419C-4F04-4133-977F-BC195344726C}"/>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3" name="Freeform 67">
                  <a:extLst>
                    <a:ext uri="{FF2B5EF4-FFF2-40B4-BE49-F238E27FC236}">
                      <a16:creationId xmlns:a16="http://schemas.microsoft.com/office/drawing/2014/main" id="{625B618B-CB89-45B1-B010-A588EFC70509}"/>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4" name="Oval 68">
                  <a:extLst>
                    <a:ext uri="{FF2B5EF4-FFF2-40B4-BE49-F238E27FC236}">
                      <a16:creationId xmlns:a16="http://schemas.microsoft.com/office/drawing/2014/main" id="{AF7249CF-9FC1-44E6-AAC5-ABB07472951D}"/>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845" name="Oval 69">
                  <a:extLst>
                    <a:ext uri="{FF2B5EF4-FFF2-40B4-BE49-F238E27FC236}">
                      <a16:creationId xmlns:a16="http://schemas.microsoft.com/office/drawing/2014/main" id="{2EA61AE9-1624-466C-B5E2-7D0B1C6B78C5}"/>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749" name="Group 748">
                <a:extLst>
                  <a:ext uri="{FF2B5EF4-FFF2-40B4-BE49-F238E27FC236}">
                    <a16:creationId xmlns:a16="http://schemas.microsoft.com/office/drawing/2014/main" id="{9BE67EAE-3A76-4570-8E34-6048B7109697}"/>
                  </a:ext>
                </a:extLst>
              </p:cNvPr>
              <p:cNvGrpSpPr/>
              <p:nvPr/>
            </p:nvGrpSpPr>
            <p:grpSpPr>
              <a:xfrm>
                <a:off x="1206839" y="3914891"/>
                <a:ext cx="469400" cy="342521"/>
                <a:chOff x="1557350" y="4606481"/>
                <a:chExt cx="3001095" cy="2252753"/>
              </a:xfrm>
            </p:grpSpPr>
            <p:sp>
              <p:nvSpPr>
                <p:cNvPr id="751" name="Rectangle 750">
                  <a:extLst>
                    <a:ext uri="{FF2B5EF4-FFF2-40B4-BE49-F238E27FC236}">
                      <a16:creationId xmlns:a16="http://schemas.microsoft.com/office/drawing/2014/main" id="{C97A54B7-040D-4C19-945D-9C10BCDA3FFE}"/>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2" name="Rectangle 751">
                  <a:extLst>
                    <a:ext uri="{FF2B5EF4-FFF2-40B4-BE49-F238E27FC236}">
                      <a16:creationId xmlns:a16="http://schemas.microsoft.com/office/drawing/2014/main" id="{B1A0DC2E-4A3C-4819-B573-CA467C53F0D4}"/>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3" name="Rectangle 752">
                  <a:extLst>
                    <a:ext uri="{FF2B5EF4-FFF2-40B4-BE49-F238E27FC236}">
                      <a16:creationId xmlns:a16="http://schemas.microsoft.com/office/drawing/2014/main" id="{E2EFF9F8-563E-44EE-B735-EBD9878C13CF}"/>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4" name="Rectangle 753">
                  <a:extLst>
                    <a:ext uri="{FF2B5EF4-FFF2-40B4-BE49-F238E27FC236}">
                      <a16:creationId xmlns:a16="http://schemas.microsoft.com/office/drawing/2014/main" id="{F78CCD85-592A-4C46-9E9B-252B67A63E28}"/>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5" name="Freeform 12">
                  <a:extLst>
                    <a:ext uri="{FF2B5EF4-FFF2-40B4-BE49-F238E27FC236}">
                      <a16:creationId xmlns:a16="http://schemas.microsoft.com/office/drawing/2014/main" id="{657C48B0-30F0-451C-8C61-23EBECB49073}"/>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6" name="Rectangle 755">
                  <a:extLst>
                    <a:ext uri="{FF2B5EF4-FFF2-40B4-BE49-F238E27FC236}">
                      <a16:creationId xmlns:a16="http://schemas.microsoft.com/office/drawing/2014/main" id="{915940A2-A807-4D15-AAB9-942A89C456E1}"/>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7" name="Freeform 14">
                  <a:extLst>
                    <a:ext uri="{FF2B5EF4-FFF2-40B4-BE49-F238E27FC236}">
                      <a16:creationId xmlns:a16="http://schemas.microsoft.com/office/drawing/2014/main" id="{A1D4E227-17CC-43CF-8710-76E7E3B4F45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8" name="Rectangle 757">
                  <a:extLst>
                    <a:ext uri="{FF2B5EF4-FFF2-40B4-BE49-F238E27FC236}">
                      <a16:creationId xmlns:a16="http://schemas.microsoft.com/office/drawing/2014/main" id="{BD021EFE-D3F1-4353-8591-B38B6C68032B}"/>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59" name="Freeform 16">
                  <a:extLst>
                    <a:ext uri="{FF2B5EF4-FFF2-40B4-BE49-F238E27FC236}">
                      <a16:creationId xmlns:a16="http://schemas.microsoft.com/office/drawing/2014/main" id="{2C88EBDC-1EE2-4327-B60C-561ADDE12910}"/>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0" name="Freeform 17">
                  <a:extLst>
                    <a:ext uri="{FF2B5EF4-FFF2-40B4-BE49-F238E27FC236}">
                      <a16:creationId xmlns:a16="http://schemas.microsoft.com/office/drawing/2014/main" id="{142E2AAC-CED3-483E-B08B-70F2010C4C7B}"/>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1" name="Oval 760">
                  <a:extLst>
                    <a:ext uri="{FF2B5EF4-FFF2-40B4-BE49-F238E27FC236}">
                      <a16:creationId xmlns:a16="http://schemas.microsoft.com/office/drawing/2014/main" id="{BA3CD87A-D88B-4273-9A1A-050A6787508B}"/>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2" name="Rectangle 761">
                  <a:extLst>
                    <a:ext uri="{FF2B5EF4-FFF2-40B4-BE49-F238E27FC236}">
                      <a16:creationId xmlns:a16="http://schemas.microsoft.com/office/drawing/2014/main" id="{0BF487B0-07ED-40B6-A591-BE4AFA1897FB}"/>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3" name="Freeform 20">
                  <a:extLst>
                    <a:ext uri="{FF2B5EF4-FFF2-40B4-BE49-F238E27FC236}">
                      <a16:creationId xmlns:a16="http://schemas.microsoft.com/office/drawing/2014/main" id="{033F261B-5454-474B-8BD3-1CB566AB3B50}"/>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4" name="Freeform 21">
                  <a:extLst>
                    <a:ext uri="{FF2B5EF4-FFF2-40B4-BE49-F238E27FC236}">
                      <a16:creationId xmlns:a16="http://schemas.microsoft.com/office/drawing/2014/main" id="{6D20F292-715A-47D1-B620-7DCB5A86E012}"/>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765" name="Group 764">
                  <a:extLst>
                    <a:ext uri="{FF2B5EF4-FFF2-40B4-BE49-F238E27FC236}">
                      <a16:creationId xmlns:a16="http://schemas.microsoft.com/office/drawing/2014/main" id="{928074F8-0BE8-4B83-8620-31FED93160AB}"/>
                    </a:ext>
                  </a:extLst>
                </p:cNvPr>
                <p:cNvGrpSpPr/>
                <p:nvPr/>
              </p:nvGrpSpPr>
              <p:grpSpPr>
                <a:xfrm>
                  <a:off x="3298176" y="4606481"/>
                  <a:ext cx="1260269" cy="2252753"/>
                  <a:chOff x="10352191" y="4087395"/>
                  <a:chExt cx="1336826" cy="2389605"/>
                </a:xfrm>
              </p:grpSpPr>
              <p:sp>
                <p:nvSpPr>
                  <p:cNvPr id="766" name="Rectangle 765">
                    <a:extLst>
                      <a:ext uri="{FF2B5EF4-FFF2-40B4-BE49-F238E27FC236}">
                        <a16:creationId xmlns:a16="http://schemas.microsoft.com/office/drawing/2014/main" id="{6B3C1128-3510-4F59-BBDE-EEA6071241E8}"/>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7" name="Round Same Side Corner Rectangle 52">
                    <a:extLst>
                      <a:ext uri="{FF2B5EF4-FFF2-40B4-BE49-F238E27FC236}">
                        <a16:creationId xmlns:a16="http://schemas.microsoft.com/office/drawing/2014/main" id="{0D2B60D7-826D-4396-BF66-53C5A61294C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768" name="Rectangle 767">
                    <a:extLst>
                      <a:ext uri="{FF2B5EF4-FFF2-40B4-BE49-F238E27FC236}">
                        <a16:creationId xmlns:a16="http://schemas.microsoft.com/office/drawing/2014/main" id="{3E894091-1687-4C99-A7F4-DDF2FD7AD012}"/>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69" name="Freeform 54">
                    <a:extLst>
                      <a:ext uri="{FF2B5EF4-FFF2-40B4-BE49-F238E27FC236}">
                        <a16:creationId xmlns:a16="http://schemas.microsoft.com/office/drawing/2014/main" id="{E69698A7-19BD-471B-B2AB-0CD8D901BFB8}"/>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0" name="Freeform 55">
                    <a:extLst>
                      <a:ext uri="{FF2B5EF4-FFF2-40B4-BE49-F238E27FC236}">
                        <a16:creationId xmlns:a16="http://schemas.microsoft.com/office/drawing/2014/main" id="{A9F0AB79-0DC3-4D74-AF15-EA5084E69D49}"/>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1" name="Freeform 56">
                    <a:extLst>
                      <a:ext uri="{FF2B5EF4-FFF2-40B4-BE49-F238E27FC236}">
                        <a16:creationId xmlns:a16="http://schemas.microsoft.com/office/drawing/2014/main" id="{505D36D1-1628-4B4B-A8A0-D9D6ACA5B822}"/>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2" name="Freeform 57">
                    <a:extLst>
                      <a:ext uri="{FF2B5EF4-FFF2-40B4-BE49-F238E27FC236}">
                        <a16:creationId xmlns:a16="http://schemas.microsoft.com/office/drawing/2014/main" id="{33CEB776-9E2E-4E10-89F2-A644A276531B}"/>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3" name="Freeform 58">
                    <a:extLst>
                      <a:ext uri="{FF2B5EF4-FFF2-40B4-BE49-F238E27FC236}">
                        <a16:creationId xmlns:a16="http://schemas.microsoft.com/office/drawing/2014/main" id="{FF402C35-54D8-4C5F-AAEB-587F11301E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4" name="Freeform 59">
                    <a:extLst>
                      <a:ext uri="{FF2B5EF4-FFF2-40B4-BE49-F238E27FC236}">
                        <a16:creationId xmlns:a16="http://schemas.microsoft.com/office/drawing/2014/main" id="{8FF229A2-16BF-4EBD-A508-8DE78E6CA7E5}"/>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5" name="Freeform 60">
                    <a:extLst>
                      <a:ext uri="{FF2B5EF4-FFF2-40B4-BE49-F238E27FC236}">
                        <a16:creationId xmlns:a16="http://schemas.microsoft.com/office/drawing/2014/main" id="{C2216537-406B-45B6-9966-6CBF728AA166}"/>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6" name="Freeform 61">
                    <a:extLst>
                      <a:ext uri="{FF2B5EF4-FFF2-40B4-BE49-F238E27FC236}">
                        <a16:creationId xmlns:a16="http://schemas.microsoft.com/office/drawing/2014/main" id="{A1FDA64D-FDFE-41F6-83D8-AE9FD3C0C087}"/>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7" name="Oval 776">
                    <a:extLst>
                      <a:ext uri="{FF2B5EF4-FFF2-40B4-BE49-F238E27FC236}">
                        <a16:creationId xmlns:a16="http://schemas.microsoft.com/office/drawing/2014/main" id="{8A93F85D-A7EA-4DEE-A18F-43B021222815}"/>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8" name="Freeform 63">
                    <a:extLst>
                      <a:ext uri="{FF2B5EF4-FFF2-40B4-BE49-F238E27FC236}">
                        <a16:creationId xmlns:a16="http://schemas.microsoft.com/office/drawing/2014/main" id="{54CBCE67-BF98-45D7-AD8B-B7A3AF158D03}"/>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79" name="Rectangle 778">
                    <a:extLst>
                      <a:ext uri="{FF2B5EF4-FFF2-40B4-BE49-F238E27FC236}">
                        <a16:creationId xmlns:a16="http://schemas.microsoft.com/office/drawing/2014/main" id="{CC6C55B9-3D9A-4F4F-B58E-F4EC77CF5087}"/>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0" name="Freeform 65">
                    <a:extLst>
                      <a:ext uri="{FF2B5EF4-FFF2-40B4-BE49-F238E27FC236}">
                        <a16:creationId xmlns:a16="http://schemas.microsoft.com/office/drawing/2014/main" id="{EF1C9D90-CFFD-45D0-BCDE-FE5FCCEEB62E}"/>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1" name="Freeform 66">
                    <a:extLst>
                      <a:ext uri="{FF2B5EF4-FFF2-40B4-BE49-F238E27FC236}">
                        <a16:creationId xmlns:a16="http://schemas.microsoft.com/office/drawing/2014/main" id="{B8E95E08-FDAE-4EF0-B237-98D9D5AA952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2" name="Rectangle 781">
                    <a:extLst>
                      <a:ext uri="{FF2B5EF4-FFF2-40B4-BE49-F238E27FC236}">
                        <a16:creationId xmlns:a16="http://schemas.microsoft.com/office/drawing/2014/main" id="{A9C273CF-DD7C-4378-931C-0F33FAD40571}"/>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3" name="Freeform 68">
                    <a:extLst>
                      <a:ext uri="{FF2B5EF4-FFF2-40B4-BE49-F238E27FC236}">
                        <a16:creationId xmlns:a16="http://schemas.microsoft.com/office/drawing/2014/main" id="{C42C1497-0246-4A98-88E7-7F42D49EBA77}"/>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4" name="Freeform 69">
                    <a:extLst>
                      <a:ext uri="{FF2B5EF4-FFF2-40B4-BE49-F238E27FC236}">
                        <a16:creationId xmlns:a16="http://schemas.microsoft.com/office/drawing/2014/main" id="{FD9A5955-2729-4846-8CD7-8FDC699348BD}"/>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5" name="Freeform 70">
                    <a:extLst>
                      <a:ext uri="{FF2B5EF4-FFF2-40B4-BE49-F238E27FC236}">
                        <a16:creationId xmlns:a16="http://schemas.microsoft.com/office/drawing/2014/main" id="{E4CA724E-13CF-4749-A567-F49FA0135241}"/>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6" name="Freeform 71">
                    <a:extLst>
                      <a:ext uri="{FF2B5EF4-FFF2-40B4-BE49-F238E27FC236}">
                        <a16:creationId xmlns:a16="http://schemas.microsoft.com/office/drawing/2014/main" id="{67DF7974-DAE4-43B5-A973-39DBC3408AE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7" name="Freeform 72">
                    <a:extLst>
                      <a:ext uri="{FF2B5EF4-FFF2-40B4-BE49-F238E27FC236}">
                        <a16:creationId xmlns:a16="http://schemas.microsoft.com/office/drawing/2014/main" id="{922AEC8A-45DF-4E1A-BFAF-A2ECE721F11E}"/>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8" name="Freeform 73">
                    <a:extLst>
                      <a:ext uri="{FF2B5EF4-FFF2-40B4-BE49-F238E27FC236}">
                        <a16:creationId xmlns:a16="http://schemas.microsoft.com/office/drawing/2014/main" id="{61CDB213-BF5E-499A-AF51-B9E8E2C013A8}"/>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89" name="Freeform 74">
                    <a:extLst>
                      <a:ext uri="{FF2B5EF4-FFF2-40B4-BE49-F238E27FC236}">
                        <a16:creationId xmlns:a16="http://schemas.microsoft.com/office/drawing/2014/main" id="{397F88FB-E2ED-468F-B7D5-AAB760EDF7DE}"/>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90" name="Rectangle 789">
                    <a:extLst>
                      <a:ext uri="{FF2B5EF4-FFF2-40B4-BE49-F238E27FC236}">
                        <a16:creationId xmlns:a16="http://schemas.microsoft.com/office/drawing/2014/main" id="{514B41BC-DE3F-4342-B279-332195C2AB51}"/>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791" name="Rectangle 790">
                    <a:extLst>
                      <a:ext uri="{FF2B5EF4-FFF2-40B4-BE49-F238E27FC236}">
                        <a16:creationId xmlns:a16="http://schemas.microsoft.com/office/drawing/2014/main" id="{C993FEE4-D86F-46E2-8753-B43EB20BE50E}"/>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750" name="Rectangle 749">
                <a:extLst>
                  <a:ext uri="{FF2B5EF4-FFF2-40B4-BE49-F238E27FC236}">
                    <a16:creationId xmlns:a16="http://schemas.microsoft.com/office/drawing/2014/main" id="{8FC9458B-AE2B-4C9D-91B5-C5F515D0D58F}"/>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574" name="Rectangle 573">
            <a:extLst>
              <a:ext uri="{FF2B5EF4-FFF2-40B4-BE49-F238E27FC236}">
                <a16:creationId xmlns:a16="http://schemas.microsoft.com/office/drawing/2014/main" id="{44470A79-8F10-4739-934E-DB6E7CB939C4}"/>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Note: Customers can connect from on-prem physical networks to Azure virtual networks via two ways: Virtual Private Network (VPN) or ExpressRoute</a:t>
            </a:r>
          </a:p>
          <a:p>
            <a:pPr fontAlgn="base"/>
            <a:r>
              <a:rPr lang="en-US" sz="1000" dirty="0"/>
              <a:t>Note: Variable outbound traffic can be implemented via Virtual Network or ExpressRoute</a:t>
            </a:r>
          </a:p>
          <a:p>
            <a:pPr fontAlgn="base"/>
            <a:r>
              <a:rPr lang="en-US" sz="1000" dirty="0"/>
              <a:t>Note: Figures are illustrative and based on pre-configured assumptions; actual savings vary by user requirements and network configuration</a:t>
            </a:r>
          </a:p>
        </p:txBody>
      </p:sp>
      <p:grpSp>
        <p:nvGrpSpPr>
          <p:cNvPr id="578" name="Group 577">
            <a:extLst>
              <a:ext uri="{FF2B5EF4-FFF2-40B4-BE49-F238E27FC236}">
                <a16:creationId xmlns:a16="http://schemas.microsoft.com/office/drawing/2014/main" id="{3C37D3D9-F417-440F-9E48-AACEE9F815DB}"/>
              </a:ext>
            </a:extLst>
          </p:cNvPr>
          <p:cNvGrpSpPr/>
          <p:nvPr/>
        </p:nvGrpSpPr>
        <p:grpSpPr>
          <a:xfrm>
            <a:off x="834208" y="3289741"/>
            <a:ext cx="3035239" cy="1947112"/>
            <a:chOff x="1174915" y="3881438"/>
            <a:chExt cx="1849273" cy="1186312"/>
          </a:xfrm>
        </p:grpSpPr>
        <p:sp>
          <p:nvSpPr>
            <p:cNvPr id="579" name="Rectangle 578">
              <a:extLst>
                <a:ext uri="{FF2B5EF4-FFF2-40B4-BE49-F238E27FC236}">
                  <a16:creationId xmlns:a16="http://schemas.microsoft.com/office/drawing/2014/main" id="{636C1047-3909-4431-9C12-CDAE69EE5424}"/>
                </a:ext>
              </a:extLst>
            </p:cNvPr>
            <p:cNvSpPr/>
            <p:nvPr/>
          </p:nvSpPr>
          <p:spPr bwMode="auto">
            <a:xfrm>
              <a:off x="1400092" y="3962437"/>
              <a:ext cx="1554480" cy="9144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sp>
          <p:nvSpPr>
            <p:cNvPr id="580" name="Freeform: Shape 579">
              <a:extLst>
                <a:ext uri="{FF2B5EF4-FFF2-40B4-BE49-F238E27FC236}">
                  <a16:creationId xmlns:a16="http://schemas.microsoft.com/office/drawing/2014/main" id="{68998BC5-B6C3-4A77-B03A-2B34DF9B2C87}"/>
                </a:ext>
              </a:extLst>
            </p:cNvPr>
            <p:cNvSpPr/>
            <p:nvPr/>
          </p:nvSpPr>
          <p:spPr bwMode="auto">
            <a:xfrm>
              <a:off x="1395413" y="3881438"/>
              <a:ext cx="1628775" cy="1000125"/>
            </a:xfrm>
            <a:custGeom>
              <a:avLst/>
              <a:gdLst>
                <a:gd name="connsiteX0" fmla="*/ 0 w 1628775"/>
                <a:gd name="connsiteY0" fmla="*/ 0 h 1000125"/>
                <a:gd name="connsiteX1" fmla="*/ 0 w 1628775"/>
                <a:gd name="connsiteY1" fmla="*/ 1000125 h 1000125"/>
                <a:gd name="connsiteX2" fmla="*/ 1628775 w 1628775"/>
                <a:gd name="connsiteY2" fmla="*/ 1000125 h 1000125"/>
              </a:gdLst>
              <a:ahLst/>
              <a:cxnLst>
                <a:cxn ang="0">
                  <a:pos x="connsiteX0" y="connsiteY0"/>
                </a:cxn>
                <a:cxn ang="0">
                  <a:pos x="connsiteX1" y="connsiteY1"/>
                </a:cxn>
                <a:cxn ang="0">
                  <a:pos x="connsiteX2" y="connsiteY2"/>
                </a:cxn>
              </a:cxnLst>
              <a:rect l="l" t="t" r="r" b="b"/>
              <a:pathLst>
                <a:path w="1628775" h="1000125">
                  <a:moveTo>
                    <a:pt x="0" y="0"/>
                  </a:moveTo>
                  <a:lnTo>
                    <a:pt x="0" y="1000125"/>
                  </a:lnTo>
                  <a:lnTo>
                    <a:pt x="1628775" y="1000125"/>
                  </a:lnTo>
                </a:path>
              </a:pathLst>
            </a:custGeom>
            <a:noFill/>
            <a:ln w="12700">
              <a:solidFill>
                <a:schemeClr val="tx1">
                  <a:lumMod val="50000"/>
                  <a:lumOff val="50000"/>
                </a:schemeClr>
              </a:solidFill>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p>
          </p:txBody>
        </p:sp>
        <p:cxnSp>
          <p:nvCxnSpPr>
            <p:cNvPr id="581" name="Straight Connector 580">
              <a:extLst>
                <a:ext uri="{FF2B5EF4-FFF2-40B4-BE49-F238E27FC236}">
                  <a16:creationId xmlns:a16="http://schemas.microsoft.com/office/drawing/2014/main" id="{F6F1ABAF-445F-4D0C-8F3D-0D93D7AA3620}"/>
                </a:ext>
              </a:extLst>
            </p:cNvPr>
            <p:cNvCxnSpPr>
              <a:cxnSpLocks/>
            </p:cNvCxnSpPr>
            <p:nvPr/>
          </p:nvCxnSpPr>
          <p:spPr>
            <a:xfrm>
              <a:off x="1402398" y="4122028"/>
              <a:ext cx="1554480" cy="0"/>
            </a:xfrm>
            <a:prstGeom prst="line">
              <a:avLst/>
            </a:prstGeom>
            <a:ln w="12700">
              <a:solidFill>
                <a:schemeClr val="accent3">
                  <a:alpha val="99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2" name="Freeform: Shape 581">
              <a:extLst>
                <a:ext uri="{FF2B5EF4-FFF2-40B4-BE49-F238E27FC236}">
                  <a16:creationId xmlns:a16="http://schemas.microsoft.com/office/drawing/2014/main" id="{0D356599-3DDA-4155-91A5-AE23709EEF0B}"/>
                </a:ext>
              </a:extLst>
            </p:cNvPr>
            <p:cNvSpPr/>
            <p:nvPr/>
          </p:nvSpPr>
          <p:spPr bwMode="auto">
            <a:xfrm>
              <a:off x="1400968" y="4157663"/>
              <a:ext cx="1542692" cy="562768"/>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562768">
                  <a:moveTo>
                    <a:pt x="0" y="223837"/>
                  </a:moveTo>
                  <a:lnTo>
                    <a:pt x="130175" y="42862"/>
                  </a:lnTo>
                  <a:lnTo>
                    <a:pt x="271463" y="481806"/>
                  </a:lnTo>
                  <a:lnTo>
                    <a:pt x="578286" y="0"/>
                  </a:lnTo>
                  <a:lnTo>
                    <a:pt x="634206" y="414337"/>
                  </a:lnTo>
                  <a:lnTo>
                    <a:pt x="759261" y="154781"/>
                  </a:lnTo>
                  <a:lnTo>
                    <a:pt x="898525" y="427037"/>
                  </a:lnTo>
                  <a:lnTo>
                    <a:pt x="981075" y="30162"/>
                  </a:lnTo>
                  <a:lnTo>
                    <a:pt x="1092994" y="562768"/>
                  </a:lnTo>
                  <a:lnTo>
                    <a:pt x="1175980" y="197642"/>
                  </a:lnTo>
                  <a:lnTo>
                    <a:pt x="1421248" y="471488"/>
                  </a:lnTo>
                  <a:lnTo>
                    <a:pt x="1555750" y="223837"/>
                  </a:lnTo>
                </a:path>
              </a:pathLst>
            </a:custGeom>
            <a:noFill/>
            <a:ln w="19050">
              <a:solidFill>
                <a:schemeClr val="tx2"/>
              </a:solidFill>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583" name="TextBox 582">
              <a:extLst>
                <a:ext uri="{FF2B5EF4-FFF2-40B4-BE49-F238E27FC236}">
                  <a16:creationId xmlns:a16="http://schemas.microsoft.com/office/drawing/2014/main" id="{5FE71073-5921-4926-9C2E-E06D4BBC06C1}"/>
                </a:ext>
              </a:extLst>
            </p:cNvPr>
            <p:cNvSpPr txBox="1"/>
            <p:nvPr/>
          </p:nvSpPr>
          <p:spPr>
            <a:xfrm>
              <a:off x="2065719" y="4928378"/>
              <a:ext cx="288162" cy="139372"/>
            </a:xfrm>
            <a:prstGeom prst="rect">
              <a:avLst/>
            </a:prstGeom>
            <a:noFill/>
          </p:spPr>
          <p:txBody>
            <a:bodyPr wrap="square" lIns="0" tIns="0" rIns="0" bIns="0" rtlCol="0">
              <a:spAutoFit/>
            </a:bodyPr>
            <a:lstStyle/>
            <a:p>
              <a:pPr algn="ctr"/>
              <a:r>
                <a:rPr lang="en-US" sz="1200" b="1" dirty="0"/>
                <a:t>Time</a:t>
              </a:r>
            </a:p>
          </p:txBody>
        </p:sp>
        <p:sp>
          <p:nvSpPr>
            <p:cNvPr id="584" name="TextBox 583">
              <a:extLst>
                <a:ext uri="{FF2B5EF4-FFF2-40B4-BE49-F238E27FC236}">
                  <a16:creationId xmlns:a16="http://schemas.microsoft.com/office/drawing/2014/main" id="{408471BE-8B96-440D-AB34-816949A1636B}"/>
                </a:ext>
              </a:extLst>
            </p:cNvPr>
            <p:cNvSpPr txBox="1"/>
            <p:nvPr/>
          </p:nvSpPr>
          <p:spPr>
            <a:xfrm rot="16200000">
              <a:off x="794132" y="4333657"/>
              <a:ext cx="900938" cy="139372"/>
            </a:xfrm>
            <a:prstGeom prst="rect">
              <a:avLst/>
            </a:prstGeom>
            <a:noFill/>
          </p:spPr>
          <p:txBody>
            <a:bodyPr wrap="square" lIns="0" tIns="0" rIns="0" bIns="0" rtlCol="0">
              <a:spAutoFit/>
            </a:bodyPr>
            <a:lstStyle/>
            <a:p>
              <a:pPr algn="ctr"/>
              <a:r>
                <a:rPr lang="en-US" sz="1200" b="1" dirty="0"/>
                <a:t>Resource Usage</a:t>
              </a:r>
            </a:p>
          </p:txBody>
        </p:sp>
      </p:grpSp>
      <p:grpSp>
        <p:nvGrpSpPr>
          <p:cNvPr id="585" name="Group 584">
            <a:extLst>
              <a:ext uri="{FF2B5EF4-FFF2-40B4-BE49-F238E27FC236}">
                <a16:creationId xmlns:a16="http://schemas.microsoft.com/office/drawing/2014/main" id="{DE21717E-8590-4AA9-9016-1204D7F0CDCC}"/>
              </a:ext>
            </a:extLst>
          </p:cNvPr>
          <p:cNvGrpSpPr/>
          <p:nvPr/>
        </p:nvGrpSpPr>
        <p:grpSpPr>
          <a:xfrm>
            <a:off x="4700905" y="3289741"/>
            <a:ext cx="3035238" cy="1947112"/>
            <a:chOff x="4920666" y="3656316"/>
            <a:chExt cx="2546273" cy="1633440"/>
          </a:xfrm>
        </p:grpSpPr>
        <p:sp>
          <p:nvSpPr>
            <p:cNvPr id="586" name="Rectangle 585">
              <a:extLst>
                <a:ext uri="{FF2B5EF4-FFF2-40B4-BE49-F238E27FC236}">
                  <a16:creationId xmlns:a16="http://schemas.microsoft.com/office/drawing/2014/main" id="{AA46B767-5C6F-43E2-A219-0958A9AE3F3A}"/>
                </a:ext>
              </a:extLst>
            </p:cNvPr>
            <p:cNvSpPr/>
            <p:nvPr/>
          </p:nvSpPr>
          <p:spPr bwMode="auto">
            <a:xfrm>
              <a:off x="5233888" y="3767844"/>
              <a:ext cx="2140372" cy="125904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sp>
          <p:nvSpPr>
            <p:cNvPr id="587" name="Rectangle 586">
              <a:extLst>
                <a:ext uri="{FF2B5EF4-FFF2-40B4-BE49-F238E27FC236}">
                  <a16:creationId xmlns:a16="http://schemas.microsoft.com/office/drawing/2014/main" id="{4510919D-434B-4515-8056-5B7F74DCEED9}"/>
                </a:ext>
              </a:extLst>
            </p:cNvPr>
            <p:cNvSpPr/>
            <p:nvPr/>
          </p:nvSpPr>
          <p:spPr bwMode="auto">
            <a:xfrm>
              <a:off x="5233888" y="4791169"/>
              <a:ext cx="2140372" cy="235718"/>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sp>
          <p:nvSpPr>
            <p:cNvPr id="588" name="Freeform: Shape 587">
              <a:extLst>
                <a:ext uri="{FF2B5EF4-FFF2-40B4-BE49-F238E27FC236}">
                  <a16:creationId xmlns:a16="http://schemas.microsoft.com/office/drawing/2014/main" id="{CC87146A-D5E0-4C72-BFE1-9F9675EBE6FF}"/>
                </a:ext>
              </a:extLst>
            </p:cNvPr>
            <p:cNvSpPr/>
            <p:nvPr/>
          </p:nvSpPr>
          <p:spPr bwMode="auto">
            <a:xfrm>
              <a:off x="5224270" y="3656316"/>
              <a:ext cx="2242669" cy="1377078"/>
            </a:xfrm>
            <a:custGeom>
              <a:avLst/>
              <a:gdLst>
                <a:gd name="connsiteX0" fmla="*/ 0 w 1628775"/>
                <a:gd name="connsiteY0" fmla="*/ 0 h 1000125"/>
                <a:gd name="connsiteX1" fmla="*/ 0 w 1628775"/>
                <a:gd name="connsiteY1" fmla="*/ 1000125 h 1000125"/>
                <a:gd name="connsiteX2" fmla="*/ 1628775 w 1628775"/>
                <a:gd name="connsiteY2" fmla="*/ 1000125 h 1000125"/>
              </a:gdLst>
              <a:ahLst/>
              <a:cxnLst>
                <a:cxn ang="0">
                  <a:pos x="connsiteX0" y="connsiteY0"/>
                </a:cxn>
                <a:cxn ang="0">
                  <a:pos x="connsiteX1" y="connsiteY1"/>
                </a:cxn>
                <a:cxn ang="0">
                  <a:pos x="connsiteX2" y="connsiteY2"/>
                </a:cxn>
              </a:cxnLst>
              <a:rect l="l" t="t" r="r" b="b"/>
              <a:pathLst>
                <a:path w="1628775" h="1000125">
                  <a:moveTo>
                    <a:pt x="0" y="0"/>
                  </a:moveTo>
                  <a:lnTo>
                    <a:pt x="0" y="1000125"/>
                  </a:lnTo>
                  <a:lnTo>
                    <a:pt x="1628775" y="1000125"/>
                  </a:lnTo>
                </a:path>
              </a:pathLst>
            </a:custGeom>
            <a:noFill/>
            <a:ln w="12700">
              <a:solidFill>
                <a:schemeClr val="tx1">
                  <a:lumMod val="50000"/>
                  <a:lumOff val="50000"/>
                </a:schemeClr>
              </a:solidFill>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p>
          </p:txBody>
        </p:sp>
        <p:sp>
          <p:nvSpPr>
            <p:cNvPr id="589" name="TextBox 588">
              <a:extLst>
                <a:ext uri="{FF2B5EF4-FFF2-40B4-BE49-F238E27FC236}">
                  <a16:creationId xmlns:a16="http://schemas.microsoft.com/office/drawing/2014/main" id="{4C3C2F17-51FC-452F-BEA3-32148ECEF719}"/>
                </a:ext>
              </a:extLst>
            </p:cNvPr>
            <p:cNvSpPr txBox="1"/>
            <p:nvPr/>
          </p:nvSpPr>
          <p:spPr>
            <a:xfrm>
              <a:off x="6147218" y="5097854"/>
              <a:ext cx="396772" cy="191902"/>
            </a:xfrm>
            <a:prstGeom prst="rect">
              <a:avLst/>
            </a:prstGeom>
            <a:noFill/>
          </p:spPr>
          <p:txBody>
            <a:bodyPr wrap="square" lIns="0" tIns="0" rIns="0" bIns="0" rtlCol="0">
              <a:spAutoFit/>
            </a:bodyPr>
            <a:lstStyle/>
            <a:p>
              <a:pPr algn="ctr"/>
              <a:r>
                <a:rPr lang="en-US" sz="1200" b="1" dirty="0"/>
                <a:t>Time</a:t>
              </a:r>
            </a:p>
          </p:txBody>
        </p:sp>
        <p:sp>
          <p:nvSpPr>
            <p:cNvPr id="590" name="TextBox 589">
              <a:extLst>
                <a:ext uri="{FF2B5EF4-FFF2-40B4-BE49-F238E27FC236}">
                  <a16:creationId xmlns:a16="http://schemas.microsoft.com/office/drawing/2014/main" id="{4F79E259-4FE3-4711-BA92-FA60E8BD6B6D}"/>
                </a:ext>
              </a:extLst>
            </p:cNvPr>
            <p:cNvSpPr txBox="1"/>
            <p:nvPr/>
          </p:nvSpPr>
          <p:spPr>
            <a:xfrm rot="16200000">
              <a:off x="4396363" y="4278979"/>
              <a:ext cx="1240507" cy="191902"/>
            </a:xfrm>
            <a:prstGeom prst="rect">
              <a:avLst/>
            </a:prstGeom>
            <a:noFill/>
          </p:spPr>
          <p:txBody>
            <a:bodyPr wrap="square" lIns="0" tIns="0" rIns="0" bIns="0" rtlCol="0">
              <a:spAutoFit/>
            </a:bodyPr>
            <a:lstStyle/>
            <a:p>
              <a:pPr algn="ctr"/>
              <a:r>
                <a:rPr lang="en-US" sz="1200" b="1" dirty="0"/>
                <a:t>Resource Usage</a:t>
              </a:r>
            </a:p>
          </p:txBody>
        </p:sp>
        <p:sp>
          <p:nvSpPr>
            <p:cNvPr id="591" name="Freeform: Shape 590">
              <a:extLst>
                <a:ext uri="{FF2B5EF4-FFF2-40B4-BE49-F238E27FC236}">
                  <a16:creationId xmlns:a16="http://schemas.microsoft.com/office/drawing/2014/main" id="{D1033972-CBC8-40DC-8621-FFABBDD95C32}"/>
                </a:ext>
              </a:extLst>
            </p:cNvPr>
            <p:cNvSpPr/>
            <p:nvPr/>
          </p:nvSpPr>
          <p:spPr bwMode="auto">
            <a:xfrm>
              <a:off x="5231919" y="3977120"/>
              <a:ext cx="2124141" cy="653566"/>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43812 w 1555750"/>
                <a:gd name="connsiteY4" fmla="*/ 454818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43812 w 1555750"/>
                <a:gd name="connsiteY4" fmla="*/ 454818 h 562768"/>
                <a:gd name="connsiteX5" fmla="*/ 759261 w 1555750"/>
                <a:gd name="connsiteY5" fmla="*/ 154781 h 562768"/>
                <a:gd name="connsiteX6" fmla="*/ 886518 w 1555750"/>
                <a:gd name="connsiteY6" fmla="*/ 460375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471488"/>
                <a:gd name="connsiteX1" fmla="*/ 130175 w 1555750"/>
                <a:gd name="connsiteY1" fmla="*/ 42862 h 471488"/>
                <a:gd name="connsiteX2" fmla="*/ 281069 w 1555750"/>
                <a:gd name="connsiteY2" fmla="*/ 460375 h 471488"/>
                <a:gd name="connsiteX3" fmla="*/ 578286 w 1555750"/>
                <a:gd name="connsiteY3" fmla="*/ 0 h 471488"/>
                <a:gd name="connsiteX4" fmla="*/ 643812 w 1555750"/>
                <a:gd name="connsiteY4" fmla="*/ 454818 h 471488"/>
                <a:gd name="connsiteX5" fmla="*/ 759261 w 1555750"/>
                <a:gd name="connsiteY5" fmla="*/ 154781 h 471488"/>
                <a:gd name="connsiteX6" fmla="*/ 886518 w 1555750"/>
                <a:gd name="connsiteY6" fmla="*/ 460375 h 471488"/>
                <a:gd name="connsiteX7" fmla="*/ 981075 w 1555750"/>
                <a:gd name="connsiteY7" fmla="*/ 30162 h 471488"/>
                <a:gd name="connsiteX8" fmla="*/ 1092994 w 1555750"/>
                <a:gd name="connsiteY8" fmla="*/ 455611 h 471488"/>
                <a:gd name="connsiteX9" fmla="*/ 1175980 w 1555750"/>
                <a:gd name="connsiteY9" fmla="*/ 197642 h 471488"/>
                <a:gd name="connsiteX10" fmla="*/ 1421248 w 1555750"/>
                <a:gd name="connsiteY10" fmla="*/ 471488 h 471488"/>
                <a:gd name="connsiteX11" fmla="*/ 1555750 w 1555750"/>
                <a:gd name="connsiteY11" fmla="*/ 223837 h 471488"/>
                <a:gd name="connsiteX0" fmla="*/ 0 w 1555750"/>
                <a:gd name="connsiteY0" fmla="*/ 223837 h 460375"/>
                <a:gd name="connsiteX1" fmla="*/ 130175 w 1555750"/>
                <a:gd name="connsiteY1" fmla="*/ 42862 h 460375"/>
                <a:gd name="connsiteX2" fmla="*/ 281069 w 1555750"/>
                <a:gd name="connsiteY2" fmla="*/ 460375 h 460375"/>
                <a:gd name="connsiteX3" fmla="*/ 578286 w 1555750"/>
                <a:gd name="connsiteY3" fmla="*/ 0 h 460375"/>
                <a:gd name="connsiteX4" fmla="*/ 643812 w 1555750"/>
                <a:gd name="connsiteY4" fmla="*/ 454818 h 460375"/>
                <a:gd name="connsiteX5" fmla="*/ 759261 w 1555750"/>
                <a:gd name="connsiteY5" fmla="*/ 154781 h 460375"/>
                <a:gd name="connsiteX6" fmla="*/ 886518 w 1555750"/>
                <a:gd name="connsiteY6" fmla="*/ 460375 h 460375"/>
                <a:gd name="connsiteX7" fmla="*/ 981075 w 1555750"/>
                <a:gd name="connsiteY7" fmla="*/ 30162 h 460375"/>
                <a:gd name="connsiteX8" fmla="*/ 1092994 w 1555750"/>
                <a:gd name="connsiteY8" fmla="*/ 455611 h 460375"/>
                <a:gd name="connsiteX9" fmla="*/ 1175980 w 1555750"/>
                <a:gd name="connsiteY9" fmla="*/ 197642 h 460375"/>
                <a:gd name="connsiteX10" fmla="*/ 1411642 w 1555750"/>
                <a:gd name="connsiteY10" fmla="*/ 457201 h 460375"/>
                <a:gd name="connsiteX11" fmla="*/ 1555750 w 1555750"/>
                <a:gd name="connsiteY11" fmla="*/ 223837 h 460375"/>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9261 w 1555750"/>
                <a:gd name="connsiteY5" fmla="*/ 169069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9261 w 1555750"/>
                <a:gd name="connsiteY5" fmla="*/ 204788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200025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69068 w 1555750"/>
                <a:gd name="connsiteY7" fmla="*/ 37306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8673 w 1555750"/>
                <a:gd name="connsiteY7" fmla="*/ 23019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27773 w 1555750"/>
                <a:gd name="connsiteY1" fmla="*/ 85725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37379 w 1555750"/>
                <a:gd name="connsiteY1" fmla="*/ 80962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474663">
                  <a:moveTo>
                    <a:pt x="0" y="259556"/>
                  </a:moveTo>
                  <a:lnTo>
                    <a:pt x="137379" y="80962"/>
                  </a:lnTo>
                  <a:lnTo>
                    <a:pt x="281069" y="474663"/>
                  </a:lnTo>
                  <a:lnTo>
                    <a:pt x="595095" y="0"/>
                  </a:lnTo>
                  <a:lnTo>
                    <a:pt x="643812" y="469106"/>
                  </a:lnTo>
                  <a:lnTo>
                    <a:pt x="754457" y="185738"/>
                  </a:lnTo>
                  <a:lnTo>
                    <a:pt x="886518" y="474663"/>
                  </a:lnTo>
                  <a:lnTo>
                    <a:pt x="973871" y="15875"/>
                  </a:lnTo>
                  <a:lnTo>
                    <a:pt x="1092994" y="469899"/>
                  </a:lnTo>
                  <a:lnTo>
                    <a:pt x="1161573" y="228599"/>
                  </a:lnTo>
                  <a:lnTo>
                    <a:pt x="1411642" y="471489"/>
                  </a:lnTo>
                  <a:lnTo>
                    <a:pt x="1555750" y="238125"/>
                  </a:lnTo>
                </a:path>
              </a:pathLst>
            </a:custGeom>
            <a:noFill/>
            <a:ln w="12700">
              <a:solidFill>
                <a:schemeClr val="accent4"/>
              </a:solidFill>
              <a:prstDash val="dash"/>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p>
          </p:txBody>
        </p:sp>
        <p:sp>
          <p:nvSpPr>
            <p:cNvPr id="592" name="Freeform: Shape 591">
              <a:extLst>
                <a:ext uri="{FF2B5EF4-FFF2-40B4-BE49-F238E27FC236}">
                  <a16:creationId xmlns:a16="http://schemas.microsoft.com/office/drawing/2014/main" id="{C5FCA06F-C644-45D0-9637-F1542CD8B182}"/>
                </a:ext>
              </a:extLst>
            </p:cNvPr>
            <p:cNvSpPr/>
            <p:nvPr/>
          </p:nvSpPr>
          <p:spPr bwMode="auto">
            <a:xfrm>
              <a:off x="5231919" y="4036652"/>
              <a:ext cx="2124141" cy="774879"/>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562768">
                  <a:moveTo>
                    <a:pt x="0" y="223837"/>
                  </a:moveTo>
                  <a:lnTo>
                    <a:pt x="130175" y="42862"/>
                  </a:lnTo>
                  <a:lnTo>
                    <a:pt x="271463" y="481806"/>
                  </a:lnTo>
                  <a:lnTo>
                    <a:pt x="578286" y="0"/>
                  </a:lnTo>
                  <a:lnTo>
                    <a:pt x="634206" y="414337"/>
                  </a:lnTo>
                  <a:lnTo>
                    <a:pt x="759261" y="154781"/>
                  </a:lnTo>
                  <a:lnTo>
                    <a:pt x="898525" y="427037"/>
                  </a:lnTo>
                  <a:lnTo>
                    <a:pt x="981075" y="30162"/>
                  </a:lnTo>
                  <a:lnTo>
                    <a:pt x="1092994" y="562768"/>
                  </a:lnTo>
                  <a:lnTo>
                    <a:pt x="1175980" y="197642"/>
                  </a:lnTo>
                  <a:lnTo>
                    <a:pt x="1421248" y="471488"/>
                  </a:lnTo>
                  <a:lnTo>
                    <a:pt x="1555750" y="223837"/>
                  </a:lnTo>
                </a:path>
              </a:pathLst>
            </a:custGeom>
            <a:noFill/>
            <a:ln w="19050">
              <a:solidFill>
                <a:schemeClr val="tx2"/>
              </a:solidFill>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p>
          </p:txBody>
        </p:sp>
      </p:grpSp>
      <p:grpSp>
        <p:nvGrpSpPr>
          <p:cNvPr id="235" name="Group 234">
            <a:extLst>
              <a:ext uri="{FF2B5EF4-FFF2-40B4-BE49-F238E27FC236}">
                <a16:creationId xmlns:a16="http://schemas.microsoft.com/office/drawing/2014/main" id="{48A9E8B8-3E3C-4F05-8D52-006126A4DFD3}"/>
              </a:ext>
            </a:extLst>
          </p:cNvPr>
          <p:cNvGrpSpPr/>
          <p:nvPr/>
        </p:nvGrpSpPr>
        <p:grpSpPr>
          <a:xfrm>
            <a:off x="10052458" y="146014"/>
            <a:ext cx="2033626" cy="1015650"/>
            <a:chOff x="10052458" y="146014"/>
            <a:chExt cx="2033626" cy="1015650"/>
          </a:xfrm>
        </p:grpSpPr>
        <p:pic>
          <p:nvPicPr>
            <p:cNvPr id="236" name="Picture 235">
              <a:extLst>
                <a:ext uri="{FF2B5EF4-FFF2-40B4-BE49-F238E27FC236}">
                  <a16:creationId xmlns:a16="http://schemas.microsoft.com/office/drawing/2014/main" id="{22C29CA8-2140-4516-A770-9681FC3B3FC1}"/>
                </a:ext>
              </a:extLst>
            </p:cNvPr>
            <p:cNvPicPr>
              <a:picLocks noChangeAspect="1"/>
            </p:cNvPicPr>
            <p:nvPr/>
          </p:nvPicPr>
          <p:blipFill>
            <a:blip r:embed="rId23"/>
            <a:stretch>
              <a:fillRect/>
            </a:stretch>
          </p:blipFill>
          <p:spPr>
            <a:xfrm>
              <a:off x="10052458" y="146014"/>
              <a:ext cx="2033626" cy="1015650"/>
            </a:xfrm>
            <a:prstGeom prst="rect">
              <a:avLst/>
            </a:prstGeom>
          </p:spPr>
        </p:pic>
        <p:sp>
          <p:nvSpPr>
            <p:cNvPr id="237" name="Rectangle 236">
              <a:extLst>
                <a:ext uri="{FF2B5EF4-FFF2-40B4-BE49-F238E27FC236}">
                  <a16:creationId xmlns:a16="http://schemas.microsoft.com/office/drawing/2014/main" id="{1919DF3C-50B8-45F3-AA03-41797D3E445F}"/>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337774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140734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think-cell Slide" r:id="rId15" imgW="503" imgH="503" progId="TCLayout.ActiveDocument.1">
                  <p:embed/>
                </p:oleObj>
              </mc:Choice>
              <mc:Fallback>
                <p:oleObj name="think-cell Slide" r:id="rId1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Best Value Compute Rate</a:t>
            </a:r>
          </a:p>
        </p:txBody>
      </p:sp>
      <p:sp>
        <p:nvSpPr>
          <p:cNvPr id="901" name="Rectangle 900">
            <a:extLst>
              <a:ext uri="{FF2B5EF4-FFF2-40B4-BE49-F238E27FC236}">
                <a16:creationId xmlns:a16="http://schemas.microsoft.com/office/drawing/2014/main" id="{5AA30C7E-C7E7-4598-8F15-799E41867678}"/>
              </a:ext>
            </a:extLst>
          </p:cNvPr>
          <p:cNvSpPr/>
          <p:nvPr/>
        </p:nvSpPr>
        <p:spPr>
          <a:xfrm>
            <a:off x="533943" y="114846"/>
            <a:ext cx="3462615" cy="369332"/>
          </a:xfrm>
          <a:prstGeom prst="rect">
            <a:avLst/>
          </a:prstGeom>
        </p:spPr>
        <p:txBody>
          <a:bodyPr wrap="none">
            <a:spAutoFit/>
          </a:bodyPr>
          <a:lstStyle/>
          <a:p>
            <a:r>
              <a:rPr lang="en-US" b="1" i="1" dirty="0"/>
              <a:t>Cost-optimized infrastructure</a:t>
            </a:r>
          </a:p>
        </p:txBody>
      </p:sp>
      <p:sp>
        <p:nvSpPr>
          <p:cNvPr id="1547" name="TextBox 1546">
            <a:extLst>
              <a:ext uri="{FF2B5EF4-FFF2-40B4-BE49-F238E27FC236}">
                <a16:creationId xmlns:a16="http://schemas.microsoft.com/office/drawing/2014/main" id="{A5B66337-AC6E-40EE-873B-952DCC9C2136}"/>
              </a:ext>
            </a:extLst>
          </p:cNvPr>
          <p:cNvSpPr txBox="1"/>
          <p:nvPr/>
        </p:nvSpPr>
        <p:spPr>
          <a:xfrm>
            <a:off x="8302299" y="2881952"/>
            <a:ext cx="3307089" cy="3033506"/>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fontAlgn="auto">
              <a:spcBef>
                <a:spcPts val="0"/>
              </a:spcBef>
              <a:spcAft>
                <a:spcPts val="0"/>
              </a:spcAft>
            </a:pPr>
            <a:r>
              <a:rPr lang="en-US" sz="800" dirty="0">
                <a:solidFill>
                  <a:schemeClr val="tx1"/>
                </a:solidFill>
                <a:ea typeface="+mn-ea"/>
                <a:cs typeface="+mn-cs"/>
              </a:rPr>
              <a:t>*Azure VM cost at Windows Server rate is used as the proxy for average on-prem VM cost that requires a Windows Server license; on-prem cost is likely underestimated</a:t>
            </a:r>
          </a:p>
        </p:txBody>
      </p:sp>
      <p:sp>
        <p:nvSpPr>
          <p:cNvPr id="1771" name="Rectangle 1770">
            <a:extLst>
              <a:ext uri="{FF2B5EF4-FFF2-40B4-BE49-F238E27FC236}">
                <a16:creationId xmlns:a16="http://schemas.microsoft.com/office/drawing/2014/main" id="{53EF9E59-D36C-47A4-AFD4-296A6967E107}"/>
              </a:ext>
            </a:extLst>
          </p:cNvPr>
          <p:cNvSpPr/>
          <p:nvPr/>
        </p:nvSpPr>
        <p:spPr bwMode="auto">
          <a:xfrm>
            <a:off x="584200" y="2351226"/>
            <a:ext cx="7330440" cy="36585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1539" name="TextBox 1538">
            <a:extLst>
              <a:ext uri="{FF2B5EF4-FFF2-40B4-BE49-F238E27FC236}">
                <a16:creationId xmlns:a16="http://schemas.microsoft.com/office/drawing/2014/main" id="{D26ED4D4-4E2F-47F6-AE57-3ECD9C741372}"/>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400" b="1" dirty="0">
                <a:solidFill>
                  <a:schemeClr val="bg1"/>
                </a:solidFill>
              </a:rPr>
              <a:t>Example Economic Benefit</a:t>
            </a:r>
          </a:p>
          <a:p>
            <a:pPr algn="ctr">
              <a:lnSpc>
                <a:spcPct val="90000"/>
              </a:lnSpc>
            </a:pPr>
            <a:r>
              <a:rPr lang="en-US" sz="1400" b="1" dirty="0">
                <a:solidFill>
                  <a:schemeClr val="bg1"/>
                </a:solidFill>
              </a:rPr>
              <a:t>$ per VM for 1,000 compute hours</a:t>
            </a:r>
          </a:p>
        </p:txBody>
      </p:sp>
      <p:sp>
        <p:nvSpPr>
          <p:cNvPr id="1546" name="TextBox 1545">
            <a:extLst>
              <a:ext uri="{FF2B5EF4-FFF2-40B4-BE49-F238E27FC236}">
                <a16:creationId xmlns:a16="http://schemas.microsoft.com/office/drawing/2014/main" id="{7DD51AC6-0DD1-4485-83AB-968AFE0041E3}"/>
              </a:ext>
            </a:extLst>
          </p:cNvPr>
          <p:cNvSpPr txBox="1"/>
          <p:nvPr/>
        </p:nvSpPr>
        <p:spPr>
          <a:xfrm>
            <a:off x="4540258" y="2411902"/>
            <a:ext cx="3307089" cy="350409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1543" name="TextBox 1542">
            <a:extLst>
              <a:ext uri="{FF2B5EF4-FFF2-40B4-BE49-F238E27FC236}">
                <a16:creationId xmlns:a16="http://schemas.microsoft.com/office/drawing/2014/main" id="{37C4A352-620B-4B88-B3A4-D4C31AAE6664}"/>
              </a:ext>
            </a:extLst>
          </p:cNvPr>
          <p:cNvSpPr txBox="1"/>
          <p:nvPr/>
        </p:nvSpPr>
        <p:spPr>
          <a:xfrm>
            <a:off x="651493" y="2411902"/>
            <a:ext cx="3307089" cy="350409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b="1" i="1" dirty="0"/>
          </a:p>
        </p:txBody>
      </p:sp>
      <p:sp>
        <p:nvSpPr>
          <p:cNvPr id="1537" name="TextBox 1536">
            <a:extLst>
              <a:ext uri="{FF2B5EF4-FFF2-40B4-BE49-F238E27FC236}">
                <a16:creationId xmlns:a16="http://schemas.microsoft.com/office/drawing/2014/main" id="{D7FF0C6D-4331-436D-A75D-7AF364880CF6}"/>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400" b="1" dirty="0">
                <a:solidFill>
                  <a:schemeClr val="bg1"/>
                </a:solidFill>
              </a:rPr>
              <a:t>Windows Server RDS On-prem</a:t>
            </a:r>
          </a:p>
        </p:txBody>
      </p:sp>
      <p:sp>
        <p:nvSpPr>
          <p:cNvPr id="1538" name="TextBox 1537">
            <a:extLst>
              <a:ext uri="{FF2B5EF4-FFF2-40B4-BE49-F238E27FC236}">
                <a16:creationId xmlns:a16="http://schemas.microsoft.com/office/drawing/2014/main" id="{5516005C-8187-4D60-9104-4C67A8397F40}"/>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400" b="1" dirty="0">
                <a:solidFill>
                  <a:schemeClr val="bg1"/>
                </a:solidFill>
              </a:rPr>
              <a:t>Windows Server RDS in WVD</a:t>
            </a:r>
          </a:p>
        </p:txBody>
      </p:sp>
      <p:grpSp>
        <p:nvGrpSpPr>
          <p:cNvPr id="521" name="Group 153">
            <a:extLst>
              <a:ext uri="{FF2B5EF4-FFF2-40B4-BE49-F238E27FC236}">
                <a16:creationId xmlns:a16="http://schemas.microsoft.com/office/drawing/2014/main" id="{50DE4391-5F8D-4852-BDA2-A45150AEFE2D}"/>
              </a:ext>
            </a:extLst>
          </p:cNvPr>
          <p:cNvGrpSpPr>
            <a:grpSpLocks noChangeAspect="1"/>
          </p:cNvGrpSpPr>
          <p:nvPr/>
        </p:nvGrpSpPr>
        <p:grpSpPr bwMode="auto">
          <a:xfrm>
            <a:off x="887610" y="3012444"/>
            <a:ext cx="509136" cy="508776"/>
            <a:chOff x="2501" y="790"/>
            <a:chExt cx="2832" cy="2830"/>
          </a:xfrm>
        </p:grpSpPr>
        <p:sp>
          <p:nvSpPr>
            <p:cNvPr id="522" name="Oval 154">
              <a:extLst>
                <a:ext uri="{FF2B5EF4-FFF2-40B4-BE49-F238E27FC236}">
                  <a16:creationId xmlns:a16="http://schemas.microsoft.com/office/drawing/2014/main" id="{0E893EC4-570A-4C10-ABF5-0A1C6455E40B}"/>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3" name="Freeform 155">
              <a:extLst>
                <a:ext uri="{FF2B5EF4-FFF2-40B4-BE49-F238E27FC236}">
                  <a16:creationId xmlns:a16="http://schemas.microsoft.com/office/drawing/2014/main" id="{5A1009B2-F621-4B07-B527-480CF310116A}"/>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4" name="Freeform 156">
              <a:extLst>
                <a:ext uri="{FF2B5EF4-FFF2-40B4-BE49-F238E27FC236}">
                  <a16:creationId xmlns:a16="http://schemas.microsoft.com/office/drawing/2014/main" id="{CC50413A-FBBC-4D96-ADE0-09D9C5183D13}"/>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5" name="Freeform 157">
              <a:extLst>
                <a:ext uri="{FF2B5EF4-FFF2-40B4-BE49-F238E27FC236}">
                  <a16:creationId xmlns:a16="http://schemas.microsoft.com/office/drawing/2014/main" id="{2289867E-B0BA-4ADE-88E7-BADF718BB3F5}"/>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6" name="Freeform 158">
              <a:extLst>
                <a:ext uri="{FF2B5EF4-FFF2-40B4-BE49-F238E27FC236}">
                  <a16:creationId xmlns:a16="http://schemas.microsoft.com/office/drawing/2014/main" id="{0370F3F8-F17E-45D6-87F2-AFBE60A8A4F9}"/>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7" name="Freeform 159">
              <a:extLst>
                <a:ext uri="{FF2B5EF4-FFF2-40B4-BE49-F238E27FC236}">
                  <a16:creationId xmlns:a16="http://schemas.microsoft.com/office/drawing/2014/main" id="{83CC5E8F-516A-4E00-8F19-54F18D73A241}"/>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8" name="Freeform 160">
              <a:extLst>
                <a:ext uri="{FF2B5EF4-FFF2-40B4-BE49-F238E27FC236}">
                  <a16:creationId xmlns:a16="http://schemas.microsoft.com/office/drawing/2014/main" id="{E075D3A6-E863-4608-ACFD-BD7BCA9D223F}"/>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9" name="Freeform 161">
              <a:extLst>
                <a:ext uri="{FF2B5EF4-FFF2-40B4-BE49-F238E27FC236}">
                  <a16:creationId xmlns:a16="http://schemas.microsoft.com/office/drawing/2014/main" id="{68BF8020-F4FA-4E14-8F76-A0DA9FC548FF}"/>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0" name="Freeform 162">
              <a:extLst>
                <a:ext uri="{FF2B5EF4-FFF2-40B4-BE49-F238E27FC236}">
                  <a16:creationId xmlns:a16="http://schemas.microsoft.com/office/drawing/2014/main" id="{CD5A4841-F0B5-4CD2-8DF8-B18125EBC5E8}"/>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1" name="Freeform 163">
              <a:extLst>
                <a:ext uri="{FF2B5EF4-FFF2-40B4-BE49-F238E27FC236}">
                  <a16:creationId xmlns:a16="http://schemas.microsoft.com/office/drawing/2014/main" id="{D0B64815-5C15-4614-8BE6-D4A885A5AE2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 name="Freeform 164">
              <a:extLst>
                <a:ext uri="{FF2B5EF4-FFF2-40B4-BE49-F238E27FC236}">
                  <a16:creationId xmlns:a16="http://schemas.microsoft.com/office/drawing/2014/main" id="{C6C018E2-5FEF-45E1-86A1-E8282666B51D}"/>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3" name="Oval 165">
              <a:extLst>
                <a:ext uri="{FF2B5EF4-FFF2-40B4-BE49-F238E27FC236}">
                  <a16:creationId xmlns:a16="http://schemas.microsoft.com/office/drawing/2014/main" id="{F704EEDD-97E3-452C-9045-E40BA2F47CA4}"/>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4" name="Oval 166">
              <a:extLst>
                <a:ext uri="{FF2B5EF4-FFF2-40B4-BE49-F238E27FC236}">
                  <a16:creationId xmlns:a16="http://schemas.microsoft.com/office/drawing/2014/main" id="{3CD8370C-B3C5-4707-87E0-0FDEBCCFC0E4}"/>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5" name="Freeform 167">
              <a:extLst>
                <a:ext uri="{FF2B5EF4-FFF2-40B4-BE49-F238E27FC236}">
                  <a16:creationId xmlns:a16="http://schemas.microsoft.com/office/drawing/2014/main" id="{3D72A96F-36C3-47EB-8ED2-B3835161EA68}"/>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6" name="Freeform 168">
              <a:extLst>
                <a:ext uri="{FF2B5EF4-FFF2-40B4-BE49-F238E27FC236}">
                  <a16:creationId xmlns:a16="http://schemas.microsoft.com/office/drawing/2014/main" id="{DE0316FE-03E1-4AAB-9E6D-8E46C087F06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7" name="Freeform 169">
              <a:extLst>
                <a:ext uri="{FF2B5EF4-FFF2-40B4-BE49-F238E27FC236}">
                  <a16:creationId xmlns:a16="http://schemas.microsoft.com/office/drawing/2014/main" id="{B6C48AD4-5B32-4A90-BE2D-47213CEACC8A}"/>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8" name="Freeform 170">
              <a:extLst>
                <a:ext uri="{FF2B5EF4-FFF2-40B4-BE49-F238E27FC236}">
                  <a16:creationId xmlns:a16="http://schemas.microsoft.com/office/drawing/2014/main" id="{6DCDB0E0-758B-4427-AD1A-FED2DA11CFA6}"/>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9" name="Freeform 171">
              <a:extLst>
                <a:ext uri="{FF2B5EF4-FFF2-40B4-BE49-F238E27FC236}">
                  <a16:creationId xmlns:a16="http://schemas.microsoft.com/office/drawing/2014/main" id="{C055F40D-F52B-45D3-B9AB-A218BE231F1A}"/>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0" name="Freeform 172">
              <a:extLst>
                <a:ext uri="{FF2B5EF4-FFF2-40B4-BE49-F238E27FC236}">
                  <a16:creationId xmlns:a16="http://schemas.microsoft.com/office/drawing/2014/main" id="{3B4C5CD9-EFEE-4FCD-B615-40E183984A68}"/>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1" name="Freeform 173">
              <a:extLst>
                <a:ext uri="{FF2B5EF4-FFF2-40B4-BE49-F238E27FC236}">
                  <a16:creationId xmlns:a16="http://schemas.microsoft.com/office/drawing/2014/main" id="{251C21B9-A28E-41C7-A7D6-F49AE70F793E}"/>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2" name="Freeform 174">
              <a:extLst>
                <a:ext uri="{FF2B5EF4-FFF2-40B4-BE49-F238E27FC236}">
                  <a16:creationId xmlns:a16="http://schemas.microsoft.com/office/drawing/2014/main" id="{C6F98523-E30C-426E-BAA5-D819599C4467}"/>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43" name="Group 595">
            <a:extLst>
              <a:ext uri="{FF2B5EF4-FFF2-40B4-BE49-F238E27FC236}">
                <a16:creationId xmlns:a16="http://schemas.microsoft.com/office/drawing/2014/main" id="{3323DEA7-9CCA-45FF-8008-49D5E3E99D5D}"/>
              </a:ext>
            </a:extLst>
          </p:cNvPr>
          <p:cNvGrpSpPr>
            <a:grpSpLocks noChangeAspect="1"/>
          </p:cNvGrpSpPr>
          <p:nvPr/>
        </p:nvGrpSpPr>
        <p:grpSpPr bwMode="auto">
          <a:xfrm>
            <a:off x="2050860" y="3012084"/>
            <a:ext cx="509496" cy="509136"/>
            <a:chOff x="2499" y="790"/>
            <a:chExt cx="2832" cy="2830"/>
          </a:xfrm>
        </p:grpSpPr>
        <p:sp>
          <p:nvSpPr>
            <p:cNvPr id="544" name="Oval 596">
              <a:extLst>
                <a:ext uri="{FF2B5EF4-FFF2-40B4-BE49-F238E27FC236}">
                  <a16:creationId xmlns:a16="http://schemas.microsoft.com/office/drawing/2014/main" id="{E8502D04-982F-4AC0-A13F-C5EBF8BD6311}"/>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5" name="Freeform 597">
              <a:extLst>
                <a:ext uri="{FF2B5EF4-FFF2-40B4-BE49-F238E27FC236}">
                  <a16:creationId xmlns:a16="http://schemas.microsoft.com/office/drawing/2014/main" id="{F0598D4F-6214-443E-BB8E-08867C16D985}"/>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6" name="Freeform 598">
              <a:extLst>
                <a:ext uri="{FF2B5EF4-FFF2-40B4-BE49-F238E27FC236}">
                  <a16:creationId xmlns:a16="http://schemas.microsoft.com/office/drawing/2014/main" id="{8858400A-34C0-440C-B228-84B81D9959EC}"/>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7" name="Freeform 599">
              <a:extLst>
                <a:ext uri="{FF2B5EF4-FFF2-40B4-BE49-F238E27FC236}">
                  <a16:creationId xmlns:a16="http://schemas.microsoft.com/office/drawing/2014/main" id="{4062C3A5-9435-419C-B9F2-FBDAA7E3DD34}"/>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9" name="Freeform 600">
              <a:extLst>
                <a:ext uri="{FF2B5EF4-FFF2-40B4-BE49-F238E27FC236}">
                  <a16:creationId xmlns:a16="http://schemas.microsoft.com/office/drawing/2014/main" id="{F00EBF66-12BF-4129-BF0E-A8A8FD89509E}"/>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0" name="Freeform 601">
              <a:extLst>
                <a:ext uri="{FF2B5EF4-FFF2-40B4-BE49-F238E27FC236}">
                  <a16:creationId xmlns:a16="http://schemas.microsoft.com/office/drawing/2014/main" id="{4D48B978-B142-4061-A996-DE880CE2434E}"/>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1" name="Freeform 602">
              <a:extLst>
                <a:ext uri="{FF2B5EF4-FFF2-40B4-BE49-F238E27FC236}">
                  <a16:creationId xmlns:a16="http://schemas.microsoft.com/office/drawing/2014/main" id="{600FB660-8E08-42F0-82B9-23DD77DB338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2" name="Freeform 603">
              <a:extLst>
                <a:ext uri="{FF2B5EF4-FFF2-40B4-BE49-F238E27FC236}">
                  <a16:creationId xmlns:a16="http://schemas.microsoft.com/office/drawing/2014/main" id="{C164D56D-9715-4A0C-82ED-420A018DE485}"/>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3" name="Freeform 604">
              <a:extLst>
                <a:ext uri="{FF2B5EF4-FFF2-40B4-BE49-F238E27FC236}">
                  <a16:creationId xmlns:a16="http://schemas.microsoft.com/office/drawing/2014/main" id="{DC025B73-1BCD-4C8A-BAC2-807757E7948D}"/>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4" name="Freeform 605">
              <a:extLst>
                <a:ext uri="{FF2B5EF4-FFF2-40B4-BE49-F238E27FC236}">
                  <a16:creationId xmlns:a16="http://schemas.microsoft.com/office/drawing/2014/main" id="{C62107ED-535B-460C-8415-012D235104AE}"/>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5" name="Freeform 606">
              <a:extLst>
                <a:ext uri="{FF2B5EF4-FFF2-40B4-BE49-F238E27FC236}">
                  <a16:creationId xmlns:a16="http://schemas.microsoft.com/office/drawing/2014/main" id="{8B2C0675-8197-4DA8-B91C-F7C7AA1CCAEA}"/>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7" name="Freeform 607">
              <a:extLst>
                <a:ext uri="{FF2B5EF4-FFF2-40B4-BE49-F238E27FC236}">
                  <a16:creationId xmlns:a16="http://schemas.microsoft.com/office/drawing/2014/main" id="{3F985FF4-E74B-4A63-87A4-A84299E738BB}"/>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9" name="Oval 608">
              <a:extLst>
                <a:ext uri="{FF2B5EF4-FFF2-40B4-BE49-F238E27FC236}">
                  <a16:creationId xmlns:a16="http://schemas.microsoft.com/office/drawing/2014/main" id="{36C4A960-4C21-44F8-B9D5-F682506BAE6A}"/>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0" name="Freeform 609">
              <a:extLst>
                <a:ext uri="{FF2B5EF4-FFF2-40B4-BE49-F238E27FC236}">
                  <a16:creationId xmlns:a16="http://schemas.microsoft.com/office/drawing/2014/main" id="{1FB68610-8455-4ADD-ABB6-BCDD62863A7B}"/>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1" name="Freeform 610">
              <a:extLst>
                <a:ext uri="{FF2B5EF4-FFF2-40B4-BE49-F238E27FC236}">
                  <a16:creationId xmlns:a16="http://schemas.microsoft.com/office/drawing/2014/main" id="{47088F60-FFF5-448E-AEE7-AEA934E37EB6}"/>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Freeform 611">
              <a:extLst>
                <a:ext uri="{FF2B5EF4-FFF2-40B4-BE49-F238E27FC236}">
                  <a16:creationId xmlns:a16="http://schemas.microsoft.com/office/drawing/2014/main" id="{DB7D43A1-BB44-4115-AFFA-6C1752CDDAB1}"/>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Freeform 612">
              <a:extLst>
                <a:ext uri="{FF2B5EF4-FFF2-40B4-BE49-F238E27FC236}">
                  <a16:creationId xmlns:a16="http://schemas.microsoft.com/office/drawing/2014/main" id="{64908B50-809F-44A6-9E81-F4CF5DB448C5}"/>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Freeform 613">
              <a:extLst>
                <a:ext uri="{FF2B5EF4-FFF2-40B4-BE49-F238E27FC236}">
                  <a16:creationId xmlns:a16="http://schemas.microsoft.com/office/drawing/2014/main" id="{9131C1B9-8DF7-42F0-8D82-991BB1AC8FD2}"/>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Freeform 614">
              <a:extLst>
                <a:ext uri="{FF2B5EF4-FFF2-40B4-BE49-F238E27FC236}">
                  <a16:creationId xmlns:a16="http://schemas.microsoft.com/office/drawing/2014/main" id="{C8185C8F-B4A8-4DE7-8F13-784FE617DD60}"/>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7" name="Group 925">
            <a:extLst>
              <a:ext uri="{FF2B5EF4-FFF2-40B4-BE49-F238E27FC236}">
                <a16:creationId xmlns:a16="http://schemas.microsoft.com/office/drawing/2014/main" id="{B7E1701F-DA88-4514-82E5-18B644B3D8B5}"/>
              </a:ext>
            </a:extLst>
          </p:cNvPr>
          <p:cNvGrpSpPr>
            <a:grpSpLocks noChangeAspect="1"/>
          </p:cNvGrpSpPr>
          <p:nvPr/>
        </p:nvGrpSpPr>
        <p:grpSpPr bwMode="auto">
          <a:xfrm>
            <a:off x="3213147" y="3012084"/>
            <a:ext cx="508352" cy="509136"/>
            <a:chOff x="2619" y="903"/>
            <a:chExt cx="2592" cy="2596"/>
          </a:xfrm>
        </p:grpSpPr>
        <p:sp>
          <p:nvSpPr>
            <p:cNvPr id="572" name="Oval 926">
              <a:extLst>
                <a:ext uri="{FF2B5EF4-FFF2-40B4-BE49-F238E27FC236}">
                  <a16:creationId xmlns:a16="http://schemas.microsoft.com/office/drawing/2014/main" id="{5D235F82-EA09-43D7-9B9E-1891224C4291}"/>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8" name="Freeform 927">
              <a:extLst>
                <a:ext uri="{FF2B5EF4-FFF2-40B4-BE49-F238E27FC236}">
                  <a16:creationId xmlns:a16="http://schemas.microsoft.com/office/drawing/2014/main" id="{0047920C-DB4A-49CF-9A92-387B85702F0F}"/>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1" name="Freeform 928">
              <a:extLst>
                <a:ext uri="{FF2B5EF4-FFF2-40B4-BE49-F238E27FC236}">
                  <a16:creationId xmlns:a16="http://schemas.microsoft.com/office/drawing/2014/main" id="{2F30B6E6-05D8-4A7E-BDEC-DBE574F003BD}"/>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2" name="Freeform 929">
              <a:extLst>
                <a:ext uri="{FF2B5EF4-FFF2-40B4-BE49-F238E27FC236}">
                  <a16:creationId xmlns:a16="http://schemas.microsoft.com/office/drawing/2014/main" id="{E5A292B9-D129-41EC-9A41-2C486C99B9C1}"/>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4" name="Freeform 930">
              <a:extLst>
                <a:ext uri="{FF2B5EF4-FFF2-40B4-BE49-F238E27FC236}">
                  <a16:creationId xmlns:a16="http://schemas.microsoft.com/office/drawing/2014/main" id="{3FC39A33-77F0-4EEE-9B4D-0A7AAA3E9583}"/>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5" name="Freeform 931">
              <a:extLst>
                <a:ext uri="{FF2B5EF4-FFF2-40B4-BE49-F238E27FC236}">
                  <a16:creationId xmlns:a16="http://schemas.microsoft.com/office/drawing/2014/main" id="{61E8E9BC-97CE-47B4-9BD7-9D9F286D780E}"/>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6" name="Freeform 932">
              <a:extLst>
                <a:ext uri="{FF2B5EF4-FFF2-40B4-BE49-F238E27FC236}">
                  <a16:creationId xmlns:a16="http://schemas.microsoft.com/office/drawing/2014/main" id="{867E4DE3-296E-46E1-A184-319AAF1A2627}"/>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7" name="Freeform 933">
              <a:extLst>
                <a:ext uri="{FF2B5EF4-FFF2-40B4-BE49-F238E27FC236}">
                  <a16:creationId xmlns:a16="http://schemas.microsoft.com/office/drawing/2014/main" id="{F10F30F8-7A28-4ED1-AA71-4B1E3C6671AB}"/>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4" name="Freeform 934">
              <a:extLst>
                <a:ext uri="{FF2B5EF4-FFF2-40B4-BE49-F238E27FC236}">
                  <a16:creationId xmlns:a16="http://schemas.microsoft.com/office/drawing/2014/main" id="{70ED01B1-360D-4D1B-A5AB-4C9842480561}"/>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5" name="Freeform 935">
              <a:extLst>
                <a:ext uri="{FF2B5EF4-FFF2-40B4-BE49-F238E27FC236}">
                  <a16:creationId xmlns:a16="http://schemas.microsoft.com/office/drawing/2014/main" id="{ABCDAB19-A3BD-4B40-8237-6EB96FA61E5C}"/>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6" name="Freeform 936">
              <a:extLst>
                <a:ext uri="{FF2B5EF4-FFF2-40B4-BE49-F238E27FC236}">
                  <a16:creationId xmlns:a16="http://schemas.microsoft.com/office/drawing/2014/main" id="{0AACF65E-1AB5-44DC-9011-28E00BDB6197}"/>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7" name="Freeform 937">
              <a:extLst>
                <a:ext uri="{FF2B5EF4-FFF2-40B4-BE49-F238E27FC236}">
                  <a16:creationId xmlns:a16="http://schemas.microsoft.com/office/drawing/2014/main" id="{6DA79568-6292-420B-9FB7-464EA8001918}"/>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8" name="Freeform 938">
              <a:extLst>
                <a:ext uri="{FF2B5EF4-FFF2-40B4-BE49-F238E27FC236}">
                  <a16:creationId xmlns:a16="http://schemas.microsoft.com/office/drawing/2014/main" id="{79B45DB7-1284-48A6-95F7-65044C51256A}"/>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9" name="Oval 939">
              <a:extLst>
                <a:ext uri="{FF2B5EF4-FFF2-40B4-BE49-F238E27FC236}">
                  <a16:creationId xmlns:a16="http://schemas.microsoft.com/office/drawing/2014/main" id="{3705597E-242B-4907-BA0D-B83F53293FA6}"/>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0" name="Oval 940">
              <a:extLst>
                <a:ext uri="{FF2B5EF4-FFF2-40B4-BE49-F238E27FC236}">
                  <a16:creationId xmlns:a16="http://schemas.microsoft.com/office/drawing/2014/main" id="{A367EE9D-FA29-4873-9F8C-A7A32533EDD0}"/>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1" name="Freeform 941">
              <a:extLst>
                <a:ext uri="{FF2B5EF4-FFF2-40B4-BE49-F238E27FC236}">
                  <a16:creationId xmlns:a16="http://schemas.microsoft.com/office/drawing/2014/main" id="{F74E09F0-42EC-4F85-AEDD-226FF0504630}"/>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2" name="Freeform 942">
              <a:extLst>
                <a:ext uri="{FF2B5EF4-FFF2-40B4-BE49-F238E27FC236}">
                  <a16:creationId xmlns:a16="http://schemas.microsoft.com/office/drawing/2014/main" id="{8EAE055F-911B-4F77-9293-4FDCD86599AD}"/>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3" name="Freeform 943">
              <a:extLst>
                <a:ext uri="{FF2B5EF4-FFF2-40B4-BE49-F238E27FC236}">
                  <a16:creationId xmlns:a16="http://schemas.microsoft.com/office/drawing/2014/main" id="{48155EBD-CD38-4380-9171-DA7C726C2B27}"/>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Rectangle 4">
            <a:extLst>
              <a:ext uri="{FF2B5EF4-FFF2-40B4-BE49-F238E27FC236}">
                <a16:creationId xmlns:a16="http://schemas.microsoft.com/office/drawing/2014/main" id="{4DE991DC-FD6B-42BC-914E-53D38E8013B5}"/>
              </a:ext>
            </a:extLst>
          </p:cNvPr>
          <p:cNvSpPr/>
          <p:nvPr/>
        </p:nvSpPr>
        <p:spPr bwMode="auto">
          <a:xfrm>
            <a:off x="813706" y="2948153"/>
            <a:ext cx="3077889" cy="93883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1200" b="1" i="1" dirty="0">
                <a:solidFill>
                  <a:schemeClr val="tx2"/>
                </a:solidFill>
                <a:ea typeface="Segoe UI" pitchFamily="34" charset="0"/>
                <a:cs typeface="Segoe UI" pitchFamily="34" charset="0"/>
              </a:rPr>
              <a:t>RDS CALs with SA</a:t>
            </a:r>
          </a:p>
        </p:txBody>
      </p:sp>
      <p:grpSp>
        <p:nvGrpSpPr>
          <p:cNvPr id="835" name="Group 153">
            <a:extLst>
              <a:ext uri="{FF2B5EF4-FFF2-40B4-BE49-F238E27FC236}">
                <a16:creationId xmlns:a16="http://schemas.microsoft.com/office/drawing/2014/main" id="{139875F6-4BAF-44AD-B05B-8ABE143C0EF8}"/>
              </a:ext>
            </a:extLst>
          </p:cNvPr>
          <p:cNvGrpSpPr>
            <a:grpSpLocks noChangeAspect="1"/>
          </p:cNvGrpSpPr>
          <p:nvPr/>
        </p:nvGrpSpPr>
        <p:grpSpPr bwMode="auto">
          <a:xfrm>
            <a:off x="4757087" y="3012444"/>
            <a:ext cx="509136" cy="508776"/>
            <a:chOff x="2501" y="790"/>
            <a:chExt cx="2832" cy="2830"/>
          </a:xfrm>
        </p:grpSpPr>
        <p:sp>
          <p:nvSpPr>
            <p:cNvPr id="836" name="Oval 154">
              <a:extLst>
                <a:ext uri="{FF2B5EF4-FFF2-40B4-BE49-F238E27FC236}">
                  <a16:creationId xmlns:a16="http://schemas.microsoft.com/office/drawing/2014/main" id="{2C5C891F-60E7-4131-B193-BF70561B30A6}"/>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7" name="Freeform 155">
              <a:extLst>
                <a:ext uri="{FF2B5EF4-FFF2-40B4-BE49-F238E27FC236}">
                  <a16:creationId xmlns:a16="http://schemas.microsoft.com/office/drawing/2014/main" id="{487BF0F5-D6FF-44D4-80FF-8CECF73D89B6}"/>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8" name="Freeform 156">
              <a:extLst>
                <a:ext uri="{FF2B5EF4-FFF2-40B4-BE49-F238E27FC236}">
                  <a16:creationId xmlns:a16="http://schemas.microsoft.com/office/drawing/2014/main" id="{8A70CC66-66FA-4A94-B59B-877A246B45C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9" name="Freeform 157">
              <a:extLst>
                <a:ext uri="{FF2B5EF4-FFF2-40B4-BE49-F238E27FC236}">
                  <a16:creationId xmlns:a16="http://schemas.microsoft.com/office/drawing/2014/main" id="{D13029FE-FAC4-4A7A-AE11-E95559A2DC60}"/>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0" name="Freeform 158">
              <a:extLst>
                <a:ext uri="{FF2B5EF4-FFF2-40B4-BE49-F238E27FC236}">
                  <a16:creationId xmlns:a16="http://schemas.microsoft.com/office/drawing/2014/main" id="{537CC49A-0B7A-4A86-9AE4-AE9E7F4B5EEA}"/>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1" name="Freeform 159">
              <a:extLst>
                <a:ext uri="{FF2B5EF4-FFF2-40B4-BE49-F238E27FC236}">
                  <a16:creationId xmlns:a16="http://schemas.microsoft.com/office/drawing/2014/main" id="{C9106BA3-6569-475D-A28C-16204AD15C23}"/>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2" name="Freeform 160">
              <a:extLst>
                <a:ext uri="{FF2B5EF4-FFF2-40B4-BE49-F238E27FC236}">
                  <a16:creationId xmlns:a16="http://schemas.microsoft.com/office/drawing/2014/main" id="{2B675966-7F94-48D0-8A0E-F79B634F8EE1}"/>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3" name="Freeform 161">
              <a:extLst>
                <a:ext uri="{FF2B5EF4-FFF2-40B4-BE49-F238E27FC236}">
                  <a16:creationId xmlns:a16="http://schemas.microsoft.com/office/drawing/2014/main" id="{E73C8528-C908-4AAA-9953-1FCAC5CF2CC1}"/>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4" name="Freeform 162">
              <a:extLst>
                <a:ext uri="{FF2B5EF4-FFF2-40B4-BE49-F238E27FC236}">
                  <a16:creationId xmlns:a16="http://schemas.microsoft.com/office/drawing/2014/main" id="{F1E5C853-3237-4634-BFE2-D4B2DDA59EE2}"/>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5" name="Freeform 163">
              <a:extLst>
                <a:ext uri="{FF2B5EF4-FFF2-40B4-BE49-F238E27FC236}">
                  <a16:creationId xmlns:a16="http://schemas.microsoft.com/office/drawing/2014/main" id="{E5DB57F5-A081-43B5-8E00-2C76025912D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6" name="Freeform 164">
              <a:extLst>
                <a:ext uri="{FF2B5EF4-FFF2-40B4-BE49-F238E27FC236}">
                  <a16:creationId xmlns:a16="http://schemas.microsoft.com/office/drawing/2014/main" id="{935A7F36-1158-4007-8FC4-41983AA7C1AF}"/>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7" name="Oval 165">
              <a:extLst>
                <a:ext uri="{FF2B5EF4-FFF2-40B4-BE49-F238E27FC236}">
                  <a16:creationId xmlns:a16="http://schemas.microsoft.com/office/drawing/2014/main" id="{0D461030-6769-447D-93F1-DE723358D8C9}"/>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8" name="Oval 166">
              <a:extLst>
                <a:ext uri="{FF2B5EF4-FFF2-40B4-BE49-F238E27FC236}">
                  <a16:creationId xmlns:a16="http://schemas.microsoft.com/office/drawing/2014/main" id="{B2568EE7-79B4-448D-B5FE-DEA2E16417C5}"/>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9" name="Freeform 167">
              <a:extLst>
                <a:ext uri="{FF2B5EF4-FFF2-40B4-BE49-F238E27FC236}">
                  <a16:creationId xmlns:a16="http://schemas.microsoft.com/office/drawing/2014/main" id="{7F741188-93EC-4D33-8EC5-152B5DA48ACF}"/>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0" name="Freeform 168">
              <a:extLst>
                <a:ext uri="{FF2B5EF4-FFF2-40B4-BE49-F238E27FC236}">
                  <a16:creationId xmlns:a16="http://schemas.microsoft.com/office/drawing/2014/main" id="{A30D59EB-11DB-47CE-9450-0C17A0636605}"/>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1" name="Freeform 169">
              <a:extLst>
                <a:ext uri="{FF2B5EF4-FFF2-40B4-BE49-F238E27FC236}">
                  <a16:creationId xmlns:a16="http://schemas.microsoft.com/office/drawing/2014/main" id="{EE250D93-5F17-46A5-847C-39D77A2EE231}"/>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2" name="Freeform 170">
              <a:extLst>
                <a:ext uri="{FF2B5EF4-FFF2-40B4-BE49-F238E27FC236}">
                  <a16:creationId xmlns:a16="http://schemas.microsoft.com/office/drawing/2014/main" id="{1A37BE15-4D17-421D-BE58-A1F8FC0BB206}"/>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3" name="Freeform 171">
              <a:extLst>
                <a:ext uri="{FF2B5EF4-FFF2-40B4-BE49-F238E27FC236}">
                  <a16:creationId xmlns:a16="http://schemas.microsoft.com/office/drawing/2014/main" id="{36414E0F-A347-4817-BFCA-195F16957E66}"/>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4" name="Freeform 172">
              <a:extLst>
                <a:ext uri="{FF2B5EF4-FFF2-40B4-BE49-F238E27FC236}">
                  <a16:creationId xmlns:a16="http://schemas.microsoft.com/office/drawing/2014/main" id="{537F4EF3-7732-4145-AE8F-5EC76936735D}"/>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5" name="Freeform 173">
              <a:extLst>
                <a:ext uri="{FF2B5EF4-FFF2-40B4-BE49-F238E27FC236}">
                  <a16:creationId xmlns:a16="http://schemas.microsoft.com/office/drawing/2014/main" id="{11DA2B0E-DA0C-4906-957E-4CBBBB8CA3F9}"/>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6" name="Freeform 174">
              <a:extLst>
                <a:ext uri="{FF2B5EF4-FFF2-40B4-BE49-F238E27FC236}">
                  <a16:creationId xmlns:a16="http://schemas.microsoft.com/office/drawing/2014/main" id="{D6D67F9A-208F-41CB-B701-4FC4F6E63344}"/>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57" name="Group 595">
            <a:extLst>
              <a:ext uri="{FF2B5EF4-FFF2-40B4-BE49-F238E27FC236}">
                <a16:creationId xmlns:a16="http://schemas.microsoft.com/office/drawing/2014/main" id="{4019ACB7-7E5F-4F8D-96FD-9E49A0A6B563}"/>
              </a:ext>
            </a:extLst>
          </p:cNvPr>
          <p:cNvGrpSpPr>
            <a:grpSpLocks noChangeAspect="1"/>
          </p:cNvGrpSpPr>
          <p:nvPr/>
        </p:nvGrpSpPr>
        <p:grpSpPr bwMode="auto">
          <a:xfrm>
            <a:off x="5920337" y="3012084"/>
            <a:ext cx="509496" cy="509136"/>
            <a:chOff x="2499" y="790"/>
            <a:chExt cx="2832" cy="2830"/>
          </a:xfrm>
        </p:grpSpPr>
        <p:sp>
          <p:nvSpPr>
            <p:cNvPr id="859" name="Oval 596">
              <a:extLst>
                <a:ext uri="{FF2B5EF4-FFF2-40B4-BE49-F238E27FC236}">
                  <a16:creationId xmlns:a16="http://schemas.microsoft.com/office/drawing/2014/main" id="{5BFD948B-B4C8-4C3A-959C-CB28BDD8DF26}"/>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0" name="Freeform 597">
              <a:extLst>
                <a:ext uri="{FF2B5EF4-FFF2-40B4-BE49-F238E27FC236}">
                  <a16:creationId xmlns:a16="http://schemas.microsoft.com/office/drawing/2014/main" id="{87DE21BB-9729-41A7-A805-A97CCA4BB0A9}"/>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1" name="Freeform 598">
              <a:extLst>
                <a:ext uri="{FF2B5EF4-FFF2-40B4-BE49-F238E27FC236}">
                  <a16:creationId xmlns:a16="http://schemas.microsoft.com/office/drawing/2014/main" id="{1D6629CF-DD68-401A-A2CC-FF9C318823EA}"/>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2" name="Freeform 599">
              <a:extLst>
                <a:ext uri="{FF2B5EF4-FFF2-40B4-BE49-F238E27FC236}">
                  <a16:creationId xmlns:a16="http://schemas.microsoft.com/office/drawing/2014/main" id="{DBAC4691-E188-47EE-892D-9B59D07BB806}"/>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3" name="Freeform 600">
              <a:extLst>
                <a:ext uri="{FF2B5EF4-FFF2-40B4-BE49-F238E27FC236}">
                  <a16:creationId xmlns:a16="http://schemas.microsoft.com/office/drawing/2014/main" id="{9B7CFA87-7C3D-4BB3-8827-A0ADEB0EF9CD}"/>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4" name="Freeform 601">
              <a:extLst>
                <a:ext uri="{FF2B5EF4-FFF2-40B4-BE49-F238E27FC236}">
                  <a16:creationId xmlns:a16="http://schemas.microsoft.com/office/drawing/2014/main" id="{82CC71DA-1460-4EB3-810D-27DE00C158F9}"/>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5" name="Freeform 602">
              <a:extLst>
                <a:ext uri="{FF2B5EF4-FFF2-40B4-BE49-F238E27FC236}">
                  <a16:creationId xmlns:a16="http://schemas.microsoft.com/office/drawing/2014/main" id="{39E9C639-665C-4113-8827-F3A20A41B555}"/>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6" name="Freeform 603">
              <a:extLst>
                <a:ext uri="{FF2B5EF4-FFF2-40B4-BE49-F238E27FC236}">
                  <a16:creationId xmlns:a16="http://schemas.microsoft.com/office/drawing/2014/main" id="{E0F9F0D2-6B30-457D-9616-DAF17F633C41}"/>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7" name="Freeform 604">
              <a:extLst>
                <a:ext uri="{FF2B5EF4-FFF2-40B4-BE49-F238E27FC236}">
                  <a16:creationId xmlns:a16="http://schemas.microsoft.com/office/drawing/2014/main" id="{7FE6A928-A700-4189-8248-B6B7C5108C89}"/>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8" name="Freeform 605">
              <a:extLst>
                <a:ext uri="{FF2B5EF4-FFF2-40B4-BE49-F238E27FC236}">
                  <a16:creationId xmlns:a16="http://schemas.microsoft.com/office/drawing/2014/main" id="{1AD948BC-C22C-4504-8849-7F9A2DE2DDFE}"/>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9" name="Freeform 606">
              <a:extLst>
                <a:ext uri="{FF2B5EF4-FFF2-40B4-BE49-F238E27FC236}">
                  <a16:creationId xmlns:a16="http://schemas.microsoft.com/office/drawing/2014/main" id="{42C19FC8-5BBC-413F-A7E2-9821004FC2E1}"/>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0" name="Freeform 607">
              <a:extLst>
                <a:ext uri="{FF2B5EF4-FFF2-40B4-BE49-F238E27FC236}">
                  <a16:creationId xmlns:a16="http://schemas.microsoft.com/office/drawing/2014/main" id="{DD53A722-9CA6-4485-B709-31D44A5D28A5}"/>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1" name="Oval 608">
              <a:extLst>
                <a:ext uri="{FF2B5EF4-FFF2-40B4-BE49-F238E27FC236}">
                  <a16:creationId xmlns:a16="http://schemas.microsoft.com/office/drawing/2014/main" id="{71FE822A-302F-4ADD-940C-22E2D47BC406}"/>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2" name="Freeform 609">
              <a:extLst>
                <a:ext uri="{FF2B5EF4-FFF2-40B4-BE49-F238E27FC236}">
                  <a16:creationId xmlns:a16="http://schemas.microsoft.com/office/drawing/2014/main" id="{FA0B5606-5735-482B-8A5E-C70A0691A62C}"/>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3" name="Freeform 610">
              <a:extLst>
                <a:ext uri="{FF2B5EF4-FFF2-40B4-BE49-F238E27FC236}">
                  <a16:creationId xmlns:a16="http://schemas.microsoft.com/office/drawing/2014/main" id="{4461F7DC-CB62-4BA6-B731-D1665CF92348}"/>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4" name="Freeform 611">
              <a:extLst>
                <a:ext uri="{FF2B5EF4-FFF2-40B4-BE49-F238E27FC236}">
                  <a16:creationId xmlns:a16="http://schemas.microsoft.com/office/drawing/2014/main" id="{E28234A3-8708-454F-89B0-DF70D4DA240F}"/>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5" name="Freeform 612">
              <a:extLst>
                <a:ext uri="{FF2B5EF4-FFF2-40B4-BE49-F238E27FC236}">
                  <a16:creationId xmlns:a16="http://schemas.microsoft.com/office/drawing/2014/main" id="{37187594-9069-48D5-9B8E-DA6724DB2CD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6" name="Freeform 613">
              <a:extLst>
                <a:ext uri="{FF2B5EF4-FFF2-40B4-BE49-F238E27FC236}">
                  <a16:creationId xmlns:a16="http://schemas.microsoft.com/office/drawing/2014/main" id="{F3FF106C-B632-4E27-A317-28B9EBAD529B}"/>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7" name="Freeform 614">
              <a:extLst>
                <a:ext uri="{FF2B5EF4-FFF2-40B4-BE49-F238E27FC236}">
                  <a16:creationId xmlns:a16="http://schemas.microsoft.com/office/drawing/2014/main" id="{B415A699-6B58-4AC2-9A02-7D656D356E3F}"/>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78" name="Group 925">
            <a:extLst>
              <a:ext uri="{FF2B5EF4-FFF2-40B4-BE49-F238E27FC236}">
                <a16:creationId xmlns:a16="http://schemas.microsoft.com/office/drawing/2014/main" id="{3C70225F-605A-41D9-9229-61DE510DA3A1}"/>
              </a:ext>
            </a:extLst>
          </p:cNvPr>
          <p:cNvGrpSpPr>
            <a:grpSpLocks noChangeAspect="1"/>
          </p:cNvGrpSpPr>
          <p:nvPr/>
        </p:nvGrpSpPr>
        <p:grpSpPr bwMode="auto">
          <a:xfrm>
            <a:off x="7082624" y="3012084"/>
            <a:ext cx="508352" cy="509136"/>
            <a:chOff x="2619" y="903"/>
            <a:chExt cx="2592" cy="2596"/>
          </a:xfrm>
        </p:grpSpPr>
        <p:sp>
          <p:nvSpPr>
            <p:cNvPr id="879" name="Oval 926">
              <a:extLst>
                <a:ext uri="{FF2B5EF4-FFF2-40B4-BE49-F238E27FC236}">
                  <a16:creationId xmlns:a16="http://schemas.microsoft.com/office/drawing/2014/main" id="{8D7B85E6-9DBE-4BB0-A0D2-E48A15B33F24}"/>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1" name="Freeform 927">
              <a:extLst>
                <a:ext uri="{FF2B5EF4-FFF2-40B4-BE49-F238E27FC236}">
                  <a16:creationId xmlns:a16="http://schemas.microsoft.com/office/drawing/2014/main" id="{C064B1E8-2D1F-413B-9B1A-9F612EFC7A0C}"/>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2" name="Freeform 928">
              <a:extLst>
                <a:ext uri="{FF2B5EF4-FFF2-40B4-BE49-F238E27FC236}">
                  <a16:creationId xmlns:a16="http://schemas.microsoft.com/office/drawing/2014/main" id="{377EE528-9AFC-4575-84A9-627B40F23037}"/>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3" name="Freeform 929">
              <a:extLst>
                <a:ext uri="{FF2B5EF4-FFF2-40B4-BE49-F238E27FC236}">
                  <a16:creationId xmlns:a16="http://schemas.microsoft.com/office/drawing/2014/main" id="{F537C189-6265-4B6A-92E8-A02ED5BE83AC}"/>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4" name="Freeform 930">
              <a:extLst>
                <a:ext uri="{FF2B5EF4-FFF2-40B4-BE49-F238E27FC236}">
                  <a16:creationId xmlns:a16="http://schemas.microsoft.com/office/drawing/2014/main" id="{B66821EA-842C-44BB-9FBB-D88D193CF9A7}"/>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5" name="Freeform 931">
              <a:extLst>
                <a:ext uri="{FF2B5EF4-FFF2-40B4-BE49-F238E27FC236}">
                  <a16:creationId xmlns:a16="http://schemas.microsoft.com/office/drawing/2014/main" id="{18D37329-5A48-4C3F-B94F-8E1782EE53E2}"/>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6" name="Freeform 932">
              <a:extLst>
                <a:ext uri="{FF2B5EF4-FFF2-40B4-BE49-F238E27FC236}">
                  <a16:creationId xmlns:a16="http://schemas.microsoft.com/office/drawing/2014/main" id="{ECB8019A-832E-48F4-9B07-D44DB60D06D6}"/>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7" name="Freeform 933">
              <a:extLst>
                <a:ext uri="{FF2B5EF4-FFF2-40B4-BE49-F238E27FC236}">
                  <a16:creationId xmlns:a16="http://schemas.microsoft.com/office/drawing/2014/main" id="{E44EE68C-9AA0-4B2F-A5D5-CF24BD18DE3A}"/>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8" name="Freeform 934">
              <a:extLst>
                <a:ext uri="{FF2B5EF4-FFF2-40B4-BE49-F238E27FC236}">
                  <a16:creationId xmlns:a16="http://schemas.microsoft.com/office/drawing/2014/main" id="{A2994A54-95C2-4211-B736-A2F0FD3A792E}"/>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9" name="Freeform 935">
              <a:extLst>
                <a:ext uri="{FF2B5EF4-FFF2-40B4-BE49-F238E27FC236}">
                  <a16:creationId xmlns:a16="http://schemas.microsoft.com/office/drawing/2014/main" id="{099E57D7-EEDD-46CA-9CE1-94288A23C584}"/>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0" name="Freeform 936">
              <a:extLst>
                <a:ext uri="{FF2B5EF4-FFF2-40B4-BE49-F238E27FC236}">
                  <a16:creationId xmlns:a16="http://schemas.microsoft.com/office/drawing/2014/main" id="{5A0E26A5-BF0F-45A6-8698-DA20D342B946}"/>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1" name="Freeform 937">
              <a:extLst>
                <a:ext uri="{FF2B5EF4-FFF2-40B4-BE49-F238E27FC236}">
                  <a16:creationId xmlns:a16="http://schemas.microsoft.com/office/drawing/2014/main" id="{6F5FB282-5FF3-4CB2-9A93-A620FA2432C2}"/>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2" name="Freeform 938">
              <a:extLst>
                <a:ext uri="{FF2B5EF4-FFF2-40B4-BE49-F238E27FC236}">
                  <a16:creationId xmlns:a16="http://schemas.microsoft.com/office/drawing/2014/main" id="{3C8865B0-B73F-4294-B432-D47F5E2DBB91}"/>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3" name="Oval 939">
              <a:extLst>
                <a:ext uri="{FF2B5EF4-FFF2-40B4-BE49-F238E27FC236}">
                  <a16:creationId xmlns:a16="http://schemas.microsoft.com/office/drawing/2014/main" id="{FD7CC0D1-72A5-4483-9F78-010D0444D10C}"/>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4" name="Oval 940">
              <a:extLst>
                <a:ext uri="{FF2B5EF4-FFF2-40B4-BE49-F238E27FC236}">
                  <a16:creationId xmlns:a16="http://schemas.microsoft.com/office/drawing/2014/main" id="{22042727-8D5E-49CF-87CA-BCC34D303F8E}"/>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5" name="Freeform 941">
              <a:extLst>
                <a:ext uri="{FF2B5EF4-FFF2-40B4-BE49-F238E27FC236}">
                  <a16:creationId xmlns:a16="http://schemas.microsoft.com/office/drawing/2014/main" id="{F7C097EE-309F-4228-88A3-C9DE97116382}"/>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6" name="Freeform 942">
              <a:extLst>
                <a:ext uri="{FF2B5EF4-FFF2-40B4-BE49-F238E27FC236}">
                  <a16:creationId xmlns:a16="http://schemas.microsoft.com/office/drawing/2014/main" id="{EAD8101B-F0E9-4456-BC13-BB819BBD23CE}"/>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7" name="Freeform 943">
              <a:extLst>
                <a:ext uri="{FF2B5EF4-FFF2-40B4-BE49-F238E27FC236}">
                  <a16:creationId xmlns:a16="http://schemas.microsoft.com/office/drawing/2014/main" id="{FAF344E5-D2D7-40F1-8FE0-EBDD6BAEDC95}"/>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98" name="Rectangle 897">
            <a:extLst>
              <a:ext uri="{FF2B5EF4-FFF2-40B4-BE49-F238E27FC236}">
                <a16:creationId xmlns:a16="http://schemas.microsoft.com/office/drawing/2014/main" id="{2B78BFFD-4DBE-48A1-B837-D1244BCC82FA}"/>
              </a:ext>
            </a:extLst>
          </p:cNvPr>
          <p:cNvSpPr/>
          <p:nvPr/>
        </p:nvSpPr>
        <p:spPr bwMode="auto">
          <a:xfrm>
            <a:off x="4683183" y="2948153"/>
            <a:ext cx="3077889" cy="93883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1200" b="1" i="1" dirty="0">
                <a:solidFill>
                  <a:schemeClr val="tx2"/>
                </a:solidFill>
                <a:ea typeface="Segoe UI" pitchFamily="34" charset="0"/>
                <a:cs typeface="Segoe UI" pitchFamily="34" charset="0"/>
              </a:rPr>
              <a:t>RDS CALs with SA</a:t>
            </a:r>
          </a:p>
        </p:txBody>
      </p:sp>
      <p:sp>
        <p:nvSpPr>
          <p:cNvPr id="817" name="TextBox 816">
            <a:extLst>
              <a:ext uri="{FF2B5EF4-FFF2-40B4-BE49-F238E27FC236}">
                <a16:creationId xmlns:a16="http://schemas.microsoft.com/office/drawing/2014/main" id="{232A438B-7B52-4D5E-B12C-B54451461297}"/>
              </a:ext>
            </a:extLst>
          </p:cNvPr>
          <p:cNvSpPr txBox="1"/>
          <p:nvPr/>
        </p:nvSpPr>
        <p:spPr>
          <a:xfrm>
            <a:off x="2718213" y="2874918"/>
            <a:ext cx="301366" cy="492443"/>
          </a:xfrm>
          <a:prstGeom prst="rect">
            <a:avLst/>
          </a:prstGeom>
          <a:noFill/>
        </p:spPr>
        <p:txBody>
          <a:bodyPr wrap="none" lIns="0" tIns="0" rIns="0" bIns="0" rtlCol="0" anchor="ctr">
            <a:spAutoFit/>
          </a:bodyPr>
          <a:lstStyle/>
          <a:p>
            <a:pPr algn="ctr"/>
            <a:r>
              <a:rPr lang="en-US" sz="3200" dirty="0">
                <a:gradFill>
                  <a:gsLst>
                    <a:gs pos="2917">
                      <a:schemeClr val="tx1"/>
                    </a:gs>
                    <a:gs pos="30000">
                      <a:schemeClr val="tx1"/>
                    </a:gs>
                  </a:gsLst>
                  <a:lin ang="5400000" scaled="0"/>
                </a:gradFill>
              </a:rPr>
              <a:t>…</a:t>
            </a:r>
          </a:p>
        </p:txBody>
      </p:sp>
      <p:sp>
        <p:nvSpPr>
          <p:cNvPr id="818" name="TextBox 817">
            <a:extLst>
              <a:ext uri="{FF2B5EF4-FFF2-40B4-BE49-F238E27FC236}">
                <a16:creationId xmlns:a16="http://schemas.microsoft.com/office/drawing/2014/main" id="{2E78F58A-F28B-402F-B3AB-4BBA02419494}"/>
              </a:ext>
            </a:extLst>
          </p:cNvPr>
          <p:cNvSpPr txBox="1"/>
          <p:nvPr/>
        </p:nvSpPr>
        <p:spPr>
          <a:xfrm>
            <a:off x="6600441" y="2874918"/>
            <a:ext cx="301366" cy="492443"/>
          </a:xfrm>
          <a:prstGeom prst="rect">
            <a:avLst/>
          </a:prstGeom>
          <a:noFill/>
        </p:spPr>
        <p:txBody>
          <a:bodyPr wrap="none" lIns="0" tIns="0" rIns="0" bIns="0" rtlCol="0" anchor="ctr">
            <a:spAutoFit/>
          </a:bodyPr>
          <a:lstStyle/>
          <a:p>
            <a:pPr algn="ctr"/>
            <a:r>
              <a:rPr lang="en-US" sz="3200" dirty="0">
                <a:gradFill>
                  <a:gsLst>
                    <a:gs pos="2917">
                      <a:schemeClr val="tx1"/>
                    </a:gs>
                    <a:gs pos="30000">
                      <a:schemeClr val="tx1"/>
                    </a:gs>
                  </a:gsLst>
                  <a:lin ang="5400000" scaled="0"/>
                </a:gradFill>
              </a:rPr>
              <a:t>…</a:t>
            </a:r>
          </a:p>
        </p:txBody>
      </p:sp>
      <p:sp>
        <p:nvSpPr>
          <p:cNvPr id="724" name="Right Brace 723">
            <a:extLst>
              <a:ext uri="{FF2B5EF4-FFF2-40B4-BE49-F238E27FC236}">
                <a16:creationId xmlns:a16="http://schemas.microsoft.com/office/drawing/2014/main" id="{1B505376-30FA-4000-8C56-BBAF1B0EFFC5}"/>
              </a:ext>
            </a:extLst>
          </p:cNvPr>
          <p:cNvSpPr/>
          <p:nvPr/>
        </p:nvSpPr>
        <p:spPr>
          <a:xfrm rot="5400000">
            <a:off x="2191421" y="2518708"/>
            <a:ext cx="227233" cy="303682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25" name="Right Brace 724">
            <a:extLst>
              <a:ext uri="{FF2B5EF4-FFF2-40B4-BE49-F238E27FC236}">
                <a16:creationId xmlns:a16="http://schemas.microsoft.com/office/drawing/2014/main" id="{A1D10EC7-7DD1-4A3E-84C9-E7567141B3E2}"/>
              </a:ext>
            </a:extLst>
          </p:cNvPr>
          <p:cNvSpPr/>
          <p:nvPr/>
        </p:nvSpPr>
        <p:spPr>
          <a:xfrm rot="5400000">
            <a:off x="6080186" y="2518707"/>
            <a:ext cx="227233" cy="303682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43" name="Rectangle 742">
            <a:extLst>
              <a:ext uri="{FF2B5EF4-FFF2-40B4-BE49-F238E27FC236}">
                <a16:creationId xmlns:a16="http://schemas.microsoft.com/office/drawing/2014/main" id="{D99AF2DC-2F1D-42AB-AB76-E05F8A6D8088}"/>
              </a:ext>
            </a:extLst>
          </p:cNvPr>
          <p:cNvSpPr/>
          <p:nvPr/>
        </p:nvSpPr>
        <p:spPr bwMode="auto">
          <a:xfrm>
            <a:off x="766093" y="4353457"/>
            <a:ext cx="3077889" cy="1446866"/>
          </a:xfrm>
          <a:prstGeom prst="rect">
            <a:avLst/>
          </a:prstGeom>
          <a:noFill/>
          <a:ln w="1270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1400" b="1" i="1" dirty="0">
              <a:solidFill>
                <a:schemeClr val="accent2"/>
              </a:solidFill>
              <a:ea typeface="Segoe UI" pitchFamily="34" charset="0"/>
              <a:cs typeface="Segoe UI" pitchFamily="34" charset="0"/>
            </a:endParaRPr>
          </a:p>
        </p:txBody>
      </p:sp>
      <p:sp>
        <p:nvSpPr>
          <p:cNvPr id="744" name="Plus Sign 743">
            <a:extLst>
              <a:ext uri="{FF2B5EF4-FFF2-40B4-BE49-F238E27FC236}">
                <a16:creationId xmlns:a16="http://schemas.microsoft.com/office/drawing/2014/main" id="{CAB6B684-15EB-4A9E-BCB7-7AECAAC7905D}"/>
              </a:ext>
            </a:extLst>
          </p:cNvPr>
          <p:cNvSpPr/>
          <p:nvPr/>
        </p:nvSpPr>
        <p:spPr bwMode="auto">
          <a:xfrm>
            <a:off x="1790162" y="4891638"/>
            <a:ext cx="344129" cy="344129"/>
          </a:xfrm>
          <a:prstGeom prst="mathPlus">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45" name="TextBox 744">
            <a:extLst>
              <a:ext uri="{FF2B5EF4-FFF2-40B4-BE49-F238E27FC236}">
                <a16:creationId xmlns:a16="http://schemas.microsoft.com/office/drawing/2014/main" id="{5829F45C-3B1E-44CB-9F70-B8179F68CBB8}"/>
              </a:ext>
            </a:extLst>
          </p:cNvPr>
          <p:cNvSpPr txBox="1"/>
          <p:nvPr/>
        </p:nvSpPr>
        <p:spPr>
          <a:xfrm>
            <a:off x="1071638" y="5541720"/>
            <a:ext cx="779059" cy="184666"/>
          </a:xfrm>
          <a:prstGeom prst="rect">
            <a:avLst/>
          </a:prstGeom>
          <a:noFill/>
        </p:spPr>
        <p:txBody>
          <a:bodyPr wrap="none" lIns="0" tIns="0" rIns="0" bIns="0" rtlCol="0">
            <a:spAutoFit/>
          </a:bodyPr>
          <a:lstStyle/>
          <a:p>
            <a:pPr algn="l"/>
            <a:r>
              <a:rPr lang="en-US" sz="1200" b="1" i="1" dirty="0">
                <a:solidFill>
                  <a:schemeClr val="tx2"/>
                </a:solidFill>
              </a:rPr>
              <a:t>RDSH VMs</a:t>
            </a:r>
          </a:p>
        </p:txBody>
      </p:sp>
      <p:sp>
        <p:nvSpPr>
          <p:cNvPr id="746" name="TextBox 745">
            <a:extLst>
              <a:ext uri="{FF2B5EF4-FFF2-40B4-BE49-F238E27FC236}">
                <a16:creationId xmlns:a16="http://schemas.microsoft.com/office/drawing/2014/main" id="{74C4BC4C-DECB-4A90-A9AC-7E7D2AFA5846}"/>
              </a:ext>
            </a:extLst>
          </p:cNvPr>
          <p:cNvSpPr txBox="1"/>
          <p:nvPr/>
        </p:nvSpPr>
        <p:spPr>
          <a:xfrm>
            <a:off x="2853256" y="4539850"/>
            <a:ext cx="823336" cy="369332"/>
          </a:xfrm>
          <a:prstGeom prst="rect">
            <a:avLst/>
          </a:prstGeom>
          <a:noFill/>
        </p:spPr>
        <p:txBody>
          <a:bodyPr wrap="square" lIns="0" tIns="0" rIns="0" bIns="0" rtlCol="0">
            <a:spAutoFit/>
          </a:bodyPr>
          <a:lstStyle/>
          <a:p>
            <a:r>
              <a:rPr lang="en-US" sz="1200" b="1" i="1" dirty="0">
                <a:solidFill>
                  <a:schemeClr val="tx2"/>
                </a:solidFill>
              </a:rPr>
              <a:t>File Server VMs</a:t>
            </a:r>
          </a:p>
        </p:txBody>
      </p:sp>
      <p:sp>
        <p:nvSpPr>
          <p:cNvPr id="747" name="TextBox 746">
            <a:extLst>
              <a:ext uri="{FF2B5EF4-FFF2-40B4-BE49-F238E27FC236}">
                <a16:creationId xmlns:a16="http://schemas.microsoft.com/office/drawing/2014/main" id="{DA812F5F-960C-4869-9F3F-4042CDF0BDE5}"/>
              </a:ext>
            </a:extLst>
          </p:cNvPr>
          <p:cNvSpPr txBox="1"/>
          <p:nvPr/>
        </p:nvSpPr>
        <p:spPr>
          <a:xfrm>
            <a:off x="2853256" y="5300242"/>
            <a:ext cx="823336" cy="369332"/>
          </a:xfrm>
          <a:prstGeom prst="rect">
            <a:avLst/>
          </a:prstGeom>
          <a:noFill/>
        </p:spPr>
        <p:txBody>
          <a:bodyPr wrap="square" lIns="0" tIns="0" rIns="0" bIns="0" rtlCol="0">
            <a:spAutoFit/>
          </a:bodyPr>
          <a:lstStyle/>
          <a:p>
            <a:r>
              <a:rPr lang="en-US" sz="1200" b="1" i="1" dirty="0">
                <a:solidFill>
                  <a:schemeClr val="tx2"/>
                </a:solidFill>
              </a:rPr>
              <a:t>License Server VMs</a:t>
            </a:r>
          </a:p>
        </p:txBody>
      </p:sp>
      <p:grpSp>
        <p:nvGrpSpPr>
          <p:cNvPr id="750" name="Group 749">
            <a:extLst>
              <a:ext uri="{FF2B5EF4-FFF2-40B4-BE49-F238E27FC236}">
                <a16:creationId xmlns:a16="http://schemas.microsoft.com/office/drawing/2014/main" id="{430EA1EC-3BF2-44DF-AA02-8118AFD2F7DB}"/>
              </a:ext>
            </a:extLst>
          </p:cNvPr>
          <p:cNvGrpSpPr/>
          <p:nvPr/>
        </p:nvGrpSpPr>
        <p:grpSpPr>
          <a:xfrm>
            <a:off x="2404758" y="5191864"/>
            <a:ext cx="264409" cy="498476"/>
            <a:chOff x="6249988" y="5192712"/>
            <a:chExt cx="290513" cy="547689"/>
          </a:xfrm>
        </p:grpSpPr>
        <p:sp>
          <p:nvSpPr>
            <p:cNvPr id="781" name="AutoShape 87">
              <a:extLst>
                <a:ext uri="{FF2B5EF4-FFF2-40B4-BE49-F238E27FC236}">
                  <a16:creationId xmlns:a16="http://schemas.microsoft.com/office/drawing/2014/main" id="{8C88AE1B-D18A-4DF1-BC33-0E6BAD591E40}"/>
                </a:ext>
              </a:extLst>
            </p:cNvPr>
            <p:cNvSpPr>
              <a:spLocks noChangeAspect="1" noChangeArrowheads="1" noTextEdit="1"/>
            </p:cNvSpPr>
            <p:nvPr/>
          </p:nvSpPr>
          <p:spPr bwMode="auto">
            <a:xfrm>
              <a:off x="6249988" y="5194300"/>
              <a:ext cx="288925"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2" name="Freeform 89">
              <a:extLst>
                <a:ext uri="{FF2B5EF4-FFF2-40B4-BE49-F238E27FC236}">
                  <a16:creationId xmlns:a16="http://schemas.microsoft.com/office/drawing/2014/main" id="{F69809CA-DD65-4A96-837D-22472FE31B35}"/>
                </a:ext>
              </a:extLst>
            </p:cNvPr>
            <p:cNvSpPr>
              <a:spLocks/>
            </p:cNvSpPr>
            <p:nvPr/>
          </p:nvSpPr>
          <p:spPr bwMode="auto">
            <a:xfrm>
              <a:off x="6251576" y="5192712"/>
              <a:ext cx="287338" cy="547688"/>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3" name="Rectangle 90">
              <a:extLst>
                <a:ext uri="{FF2B5EF4-FFF2-40B4-BE49-F238E27FC236}">
                  <a16:creationId xmlns:a16="http://schemas.microsoft.com/office/drawing/2014/main" id="{5E8E82C3-A1FE-489C-9D82-C2CD36884CD4}"/>
                </a:ext>
              </a:extLst>
            </p:cNvPr>
            <p:cNvSpPr>
              <a:spLocks noChangeArrowheads="1"/>
            </p:cNvSpPr>
            <p:nvPr/>
          </p:nvSpPr>
          <p:spPr bwMode="auto">
            <a:xfrm>
              <a:off x="6249988" y="5249863"/>
              <a:ext cx="260350" cy="4763"/>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84" name="Freeform 91">
              <a:extLst>
                <a:ext uri="{FF2B5EF4-FFF2-40B4-BE49-F238E27FC236}">
                  <a16:creationId xmlns:a16="http://schemas.microsoft.com/office/drawing/2014/main" id="{5FBC35EC-963D-4D50-97F8-547BE8640DE2}"/>
                </a:ext>
              </a:extLst>
            </p:cNvPr>
            <p:cNvSpPr>
              <a:spLocks/>
            </p:cNvSpPr>
            <p:nvPr/>
          </p:nvSpPr>
          <p:spPr bwMode="auto">
            <a:xfrm>
              <a:off x="6402388" y="52435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5" name="Rectangle 92">
              <a:extLst>
                <a:ext uri="{FF2B5EF4-FFF2-40B4-BE49-F238E27FC236}">
                  <a16:creationId xmlns:a16="http://schemas.microsoft.com/office/drawing/2014/main" id="{539741DB-0BDE-4BFF-8446-A8D8AEF8448D}"/>
                </a:ext>
              </a:extLst>
            </p:cNvPr>
            <p:cNvSpPr>
              <a:spLocks noChangeArrowheads="1"/>
            </p:cNvSpPr>
            <p:nvPr/>
          </p:nvSpPr>
          <p:spPr bwMode="auto">
            <a:xfrm>
              <a:off x="6249988" y="5314950"/>
              <a:ext cx="260350" cy="317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86" name="Freeform 93">
              <a:extLst>
                <a:ext uri="{FF2B5EF4-FFF2-40B4-BE49-F238E27FC236}">
                  <a16:creationId xmlns:a16="http://schemas.microsoft.com/office/drawing/2014/main" id="{37CFA927-9407-438D-BBDE-4E583E41F55D}"/>
                </a:ext>
              </a:extLst>
            </p:cNvPr>
            <p:cNvSpPr>
              <a:spLocks/>
            </p:cNvSpPr>
            <p:nvPr/>
          </p:nvSpPr>
          <p:spPr bwMode="auto">
            <a:xfrm>
              <a:off x="6402388" y="53070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7" name="Rectangle 94">
              <a:extLst>
                <a:ext uri="{FF2B5EF4-FFF2-40B4-BE49-F238E27FC236}">
                  <a16:creationId xmlns:a16="http://schemas.microsoft.com/office/drawing/2014/main" id="{2B22D38B-B1A7-4409-B79F-293DD2AAF1A9}"/>
                </a:ext>
              </a:extLst>
            </p:cNvPr>
            <p:cNvSpPr>
              <a:spLocks noChangeArrowheads="1"/>
            </p:cNvSpPr>
            <p:nvPr/>
          </p:nvSpPr>
          <p:spPr bwMode="auto">
            <a:xfrm>
              <a:off x="6249988" y="5378450"/>
              <a:ext cx="260350" cy="317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88" name="Freeform 95">
              <a:extLst>
                <a:ext uri="{FF2B5EF4-FFF2-40B4-BE49-F238E27FC236}">
                  <a16:creationId xmlns:a16="http://schemas.microsoft.com/office/drawing/2014/main" id="{84AEEA5E-5895-47D5-8A83-03DDEA0A7057}"/>
                </a:ext>
              </a:extLst>
            </p:cNvPr>
            <p:cNvSpPr>
              <a:spLocks/>
            </p:cNvSpPr>
            <p:nvPr/>
          </p:nvSpPr>
          <p:spPr bwMode="auto">
            <a:xfrm>
              <a:off x="6402388" y="53705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9" name="Rectangle 96">
              <a:extLst>
                <a:ext uri="{FF2B5EF4-FFF2-40B4-BE49-F238E27FC236}">
                  <a16:creationId xmlns:a16="http://schemas.microsoft.com/office/drawing/2014/main" id="{67CAD7D8-DE3C-4A7F-A0BD-6E70B1F8C579}"/>
                </a:ext>
              </a:extLst>
            </p:cNvPr>
            <p:cNvSpPr>
              <a:spLocks noChangeArrowheads="1"/>
            </p:cNvSpPr>
            <p:nvPr/>
          </p:nvSpPr>
          <p:spPr bwMode="auto">
            <a:xfrm>
              <a:off x="6249988" y="5440363"/>
              <a:ext cx="260350" cy="6350"/>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90" name="Freeform 97">
              <a:extLst>
                <a:ext uri="{FF2B5EF4-FFF2-40B4-BE49-F238E27FC236}">
                  <a16:creationId xmlns:a16="http://schemas.microsoft.com/office/drawing/2014/main" id="{7A2FD317-0CCF-4803-A24C-C694B0F76389}"/>
                </a:ext>
              </a:extLst>
            </p:cNvPr>
            <p:cNvSpPr>
              <a:spLocks/>
            </p:cNvSpPr>
            <p:nvPr/>
          </p:nvSpPr>
          <p:spPr bwMode="auto">
            <a:xfrm>
              <a:off x="6402388" y="5432425"/>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1" name="Oval 98">
              <a:extLst>
                <a:ext uri="{FF2B5EF4-FFF2-40B4-BE49-F238E27FC236}">
                  <a16:creationId xmlns:a16="http://schemas.microsoft.com/office/drawing/2014/main" id="{0EFAF91E-314C-4797-AD61-ACC1146E6579}"/>
                </a:ext>
              </a:extLst>
            </p:cNvPr>
            <p:cNvSpPr>
              <a:spLocks noChangeArrowheads="1"/>
            </p:cNvSpPr>
            <p:nvPr/>
          </p:nvSpPr>
          <p:spPr bwMode="auto">
            <a:xfrm>
              <a:off x="6378576" y="5618163"/>
              <a:ext cx="33338" cy="33338"/>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2" name="Freeform 99">
              <a:extLst>
                <a:ext uri="{FF2B5EF4-FFF2-40B4-BE49-F238E27FC236}">
                  <a16:creationId xmlns:a16="http://schemas.microsoft.com/office/drawing/2014/main" id="{F81EA9A2-63FB-455A-856E-CA2EFD1E5043}"/>
                </a:ext>
              </a:extLst>
            </p:cNvPr>
            <p:cNvSpPr>
              <a:spLocks/>
            </p:cNvSpPr>
            <p:nvPr/>
          </p:nvSpPr>
          <p:spPr bwMode="auto">
            <a:xfrm>
              <a:off x="6251576" y="5719763"/>
              <a:ext cx="287338" cy="2063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3" name="Rectangle 100">
              <a:extLst>
                <a:ext uri="{FF2B5EF4-FFF2-40B4-BE49-F238E27FC236}">
                  <a16:creationId xmlns:a16="http://schemas.microsoft.com/office/drawing/2014/main" id="{9370F714-85CB-4686-8C17-023BE0C9B963}"/>
                </a:ext>
              </a:extLst>
            </p:cNvPr>
            <p:cNvSpPr>
              <a:spLocks noChangeArrowheads="1"/>
            </p:cNvSpPr>
            <p:nvPr/>
          </p:nvSpPr>
          <p:spPr bwMode="auto">
            <a:xfrm>
              <a:off x="6251576" y="5684838"/>
              <a:ext cx="287338" cy="34925"/>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751" name="Group 750">
            <a:extLst>
              <a:ext uri="{FF2B5EF4-FFF2-40B4-BE49-F238E27FC236}">
                <a16:creationId xmlns:a16="http://schemas.microsoft.com/office/drawing/2014/main" id="{148D4CBA-A3A6-4434-BC62-5497B50C41B9}"/>
              </a:ext>
            </a:extLst>
          </p:cNvPr>
          <p:cNvGrpSpPr/>
          <p:nvPr/>
        </p:nvGrpSpPr>
        <p:grpSpPr>
          <a:xfrm>
            <a:off x="2174193" y="5055325"/>
            <a:ext cx="346153" cy="346153"/>
            <a:chOff x="1061642" y="4387215"/>
            <a:chExt cx="365760" cy="365760"/>
          </a:xfrm>
        </p:grpSpPr>
        <p:sp>
          <p:nvSpPr>
            <p:cNvPr id="779" name="Oval 778">
              <a:extLst>
                <a:ext uri="{FF2B5EF4-FFF2-40B4-BE49-F238E27FC236}">
                  <a16:creationId xmlns:a16="http://schemas.microsoft.com/office/drawing/2014/main" id="{058E284E-1CC3-4356-9ABA-8329D8AAD5FD}"/>
                </a:ext>
              </a:extLst>
            </p:cNvPr>
            <p:cNvSpPr/>
            <p:nvPr/>
          </p:nvSpPr>
          <p:spPr bwMode="auto">
            <a:xfrm>
              <a:off x="1061642" y="4387215"/>
              <a:ext cx="365760" cy="365760"/>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pic>
          <p:nvPicPr>
            <p:cNvPr id="780" name="Picture 779">
              <a:extLst>
                <a:ext uri="{FF2B5EF4-FFF2-40B4-BE49-F238E27FC236}">
                  <a16:creationId xmlns:a16="http://schemas.microsoft.com/office/drawing/2014/main" id="{E6EDC70A-1975-42BF-911E-B73F03277404}"/>
                </a:ext>
              </a:extLst>
            </p:cNvPr>
            <p:cNvPicPr>
              <a:picLocks noChangeAspect="1"/>
            </p:cNvPicPr>
            <p:nvPr/>
          </p:nvPicPr>
          <p:blipFill>
            <a:blip r:embed="rId17">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459" y="4468080"/>
              <a:ext cx="246888" cy="246888"/>
            </a:xfrm>
            <a:prstGeom prst="rect">
              <a:avLst/>
            </a:prstGeom>
          </p:spPr>
        </p:pic>
      </p:grpSp>
      <p:grpSp>
        <p:nvGrpSpPr>
          <p:cNvPr id="752" name="Group 751">
            <a:extLst>
              <a:ext uri="{FF2B5EF4-FFF2-40B4-BE49-F238E27FC236}">
                <a16:creationId xmlns:a16="http://schemas.microsoft.com/office/drawing/2014/main" id="{CA030967-5C90-4DA8-9DFC-EBCFA9485F7C}"/>
              </a:ext>
            </a:extLst>
          </p:cNvPr>
          <p:cNvGrpSpPr/>
          <p:nvPr/>
        </p:nvGrpSpPr>
        <p:grpSpPr>
          <a:xfrm>
            <a:off x="2369408" y="4491464"/>
            <a:ext cx="335108" cy="454790"/>
            <a:chOff x="6237875" y="4492313"/>
            <a:chExt cx="335108" cy="454790"/>
          </a:xfrm>
          <a:solidFill>
            <a:schemeClr val="accent2">
              <a:alpha val="60000"/>
            </a:schemeClr>
          </a:solidFill>
        </p:grpSpPr>
        <p:sp>
          <p:nvSpPr>
            <p:cNvPr id="775" name="Freeform: Shape 774">
              <a:extLst>
                <a:ext uri="{FF2B5EF4-FFF2-40B4-BE49-F238E27FC236}">
                  <a16:creationId xmlns:a16="http://schemas.microsoft.com/office/drawing/2014/main" id="{A2F6F9A4-CC44-4056-B932-15E459ABEE46}"/>
                </a:ext>
              </a:extLst>
            </p:cNvPr>
            <p:cNvSpPr/>
            <p:nvPr/>
          </p:nvSpPr>
          <p:spPr>
            <a:xfrm>
              <a:off x="6237875" y="4492313"/>
              <a:ext cx="335108" cy="95745"/>
            </a:xfrm>
            <a:custGeom>
              <a:avLst/>
              <a:gdLst>
                <a:gd name="connsiteX0" fmla="*/ 335108 w 335108"/>
                <a:gd name="connsiteY0" fmla="*/ 47873 h 95745"/>
                <a:gd name="connsiteX1" fmla="*/ 167554 w 335108"/>
                <a:gd name="connsiteY1" fmla="*/ 95745 h 95745"/>
                <a:gd name="connsiteX2" fmla="*/ 0 w 335108"/>
                <a:gd name="connsiteY2" fmla="*/ 47873 h 95745"/>
                <a:gd name="connsiteX3" fmla="*/ 167554 w 335108"/>
                <a:gd name="connsiteY3" fmla="*/ 0 h 95745"/>
                <a:gd name="connsiteX4" fmla="*/ 335108 w 335108"/>
                <a:gd name="connsiteY4" fmla="*/ 47873 h 95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108" h="95745">
                  <a:moveTo>
                    <a:pt x="335108" y="47873"/>
                  </a:moveTo>
                  <a:cubicBezTo>
                    <a:pt x="335108" y="74312"/>
                    <a:pt x="260092" y="95745"/>
                    <a:pt x="167554" y="95745"/>
                  </a:cubicBezTo>
                  <a:cubicBezTo>
                    <a:pt x="75016" y="95745"/>
                    <a:pt x="0" y="74312"/>
                    <a:pt x="0" y="47873"/>
                  </a:cubicBezTo>
                  <a:cubicBezTo>
                    <a:pt x="0" y="21433"/>
                    <a:pt x="75016" y="0"/>
                    <a:pt x="167554" y="0"/>
                  </a:cubicBezTo>
                  <a:cubicBezTo>
                    <a:pt x="260092" y="0"/>
                    <a:pt x="335108" y="21433"/>
                    <a:pt x="335108" y="47873"/>
                  </a:cubicBezTo>
                  <a:close/>
                </a:path>
              </a:pathLst>
            </a:custGeom>
            <a:solidFill>
              <a:schemeClr val="bg1">
                <a:lumMod val="85000"/>
              </a:schemeClr>
            </a:solidFill>
            <a:ln w="5953" cap="flat">
              <a:noFill/>
              <a:prstDash val="solid"/>
              <a:miter/>
            </a:ln>
          </p:spPr>
          <p:txBody>
            <a:bodyPr rtlCol="0" anchor="ctr"/>
            <a:lstStyle/>
            <a:p>
              <a:endParaRPr lang="en-US" dirty="0"/>
            </a:p>
          </p:txBody>
        </p:sp>
        <p:sp>
          <p:nvSpPr>
            <p:cNvPr id="776" name="Freeform: Shape 775">
              <a:extLst>
                <a:ext uri="{FF2B5EF4-FFF2-40B4-BE49-F238E27FC236}">
                  <a16:creationId xmlns:a16="http://schemas.microsoft.com/office/drawing/2014/main" id="{0857D87D-B238-43AC-98E2-AFFA73A02527}"/>
                </a:ext>
              </a:extLst>
            </p:cNvPr>
            <p:cNvSpPr/>
            <p:nvPr/>
          </p:nvSpPr>
          <p:spPr>
            <a:xfrm>
              <a:off x="6237875" y="4564122"/>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dirty="0"/>
            </a:p>
          </p:txBody>
        </p:sp>
        <p:sp>
          <p:nvSpPr>
            <p:cNvPr id="777" name="Freeform: Shape 776">
              <a:extLst>
                <a:ext uri="{FF2B5EF4-FFF2-40B4-BE49-F238E27FC236}">
                  <a16:creationId xmlns:a16="http://schemas.microsoft.com/office/drawing/2014/main" id="{5D9BE5E2-653A-4126-BAFF-CD384CFF9EF2}"/>
                </a:ext>
              </a:extLst>
            </p:cNvPr>
            <p:cNvSpPr/>
            <p:nvPr/>
          </p:nvSpPr>
          <p:spPr>
            <a:xfrm>
              <a:off x="6237875" y="4683803"/>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dirty="0"/>
            </a:p>
          </p:txBody>
        </p:sp>
        <p:sp>
          <p:nvSpPr>
            <p:cNvPr id="778" name="Freeform: Shape 777">
              <a:extLst>
                <a:ext uri="{FF2B5EF4-FFF2-40B4-BE49-F238E27FC236}">
                  <a16:creationId xmlns:a16="http://schemas.microsoft.com/office/drawing/2014/main" id="{E7BBE526-0A78-4F20-87CD-3E604271C54B}"/>
                </a:ext>
              </a:extLst>
            </p:cNvPr>
            <p:cNvSpPr/>
            <p:nvPr/>
          </p:nvSpPr>
          <p:spPr>
            <a:xfrm>
              <a:off x="6237875" y="4803485"/>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dirty="0"/>
            </a:p>
          </p:txBody>
        </p:sp>
      </p:grpSp>
      <p:grpSp>
        <p:nvGrpSpPr>
          <p:cNvPr id="753" name="Group 752">
            <a:extLst>
              <a:ext uri="{FF2B5EF4-FFF2-40B4-BE49-F238E27FC236}">
                <a16:creationId xmlns:a16="http://schemas.microsoft.com/office/drawing/2014/main" id="{239642EA-E775-4159-96EB-37486598CD72}"/>
              </a:ext>
            </a:extLst>
          </p:cNvPr>
          <p:cNvGrpSpPr/>
          <p:nvPr/>
        </p:nvGrpSpPr>
        <p:grpSpPr>
          <a:xfrm>
            <a:off x="2174193" y="4386365"/>
            <a:ext cx="346153" cy="346153"/>
            <a:chOff x="1061642" y="4387215"/>
            <a:chExt cx="365760" cy="365760"/>
          </a:xfrm>
        </p:grpSpPr>
        <p:sp>
          <p:nvSpPr>
            <p:cNvPr id="770" name="Oval 769">
              <a:extLst>
                <a:ext uri="{FF2B5EF4-FFF2-40B4-BE49-F238E27FC236}">
                  <a16:creationId xmlns:a16="http://schemas.microsoft.com/office/drawing/2014/main" id="{DC85B9AF-3913-4DB1-AD05-13E79840179D}"/>
                </a:ext>
              </a:extLst>
            </p:cNvPr>
            <p:cNvSpPr/>
            <p:nvPr/>
          </p:nvSpPr>
          <p:spPr bwMode="auto">
            <a:xfrm>
              <a:off x="1061642" y="4387215"/>
              <a:ext cx="365760" cy="365760"/>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pic>
          <p:nvPicPr>
            <p:cNvPr id="774" name="Picture 773">
              <a:extLst>
                <a:ext uri="{FF2B5EF4-FFF2-40B4-BE49-F238E27FC236}">
                  <a16:creationId xmlns:a16="http://schemas.microsoft.com/office/drawing/2014/main" id="{DA7472CF-544B-4D84-B210-27850E70E410}"/>
                </a:ext>
              </a:extLst>
            </p:cNvPr>
            <p:cNvPicPr>
              <a:picLocks noChangeAspect="1"/>
            </p:cNvPicPr>
            <p:nvPr/>
          </p:nvPicPr>
          <p:blipFill>
            <a:blip r:embed="rId17">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459" y="4468080"/>
              <a:ext cx="246888" cy="246888"/>
            </a:xfrm>
            <a:prstGeom prst="rect">
              <a:avLst/>
            </a:prstGeom>
          </p:spPr>
        </p:pic>
      </p:grpSp>
      <p:grpSp>
        <p:nvGrpSpPr>
          <p:cNvPr id="7" name="Group 6">
            <a:extLst>
              <a:ext uri="{FF2B5EF4-FFF2-40B4-BE49-F238E27FC236}">
                <a16:creationId xmlns:a16="http://schemas.microsoft.com/office/drawing/2014/main" id="{15F4B0D3-2DE1-403D-99BC-1428927E67BE}"/>
              </a:ext>
            </a:extLst>
          </p:cNvPr>
          <p:cNvGrpSpPr/>
          <p:nvPr/>
        </p:nvGrpSpPr>
        <p:grpSpPr>
          <a:xfrm>
            <a:off x="1252721" y="4629581"/>
            <a:ext cx="416892" cy="879784"/>
            <a:chOff x="43989" y="4511543"/>
            <a:chExt cx="460376" cy="971549"/>
          </a:xfrm>
        </p:grpSpPr>
        <p:sp>
          <p:nvSpPr>
            <p:cNvPr id="1311" name="AutoShape 38">
              <a:extLst>
                <a:ext uri="{FF2B5EF4-FFF2-40B4-BE49-F238E27FC236}">
                  <a16:creationId xmlns:a16="http://schemas.microsoft.com/office/drawing/2014/main" id="{9B568EDD-17F0-49F5-B363-A613B3881970}"/>
                </a:ext>
              </a:extLst>
            </p:cNvPr>
            <p:cNvSpPr>
              <a:spLocks noChangeAspect="1" noChangeArrowheads="1" noTextEdit="1"/>
            </p:cNvSpPr>
            <p:nvPr/>
          </p:nvSpPr>
          <p:spPr bwMode="auto">
            <a:xfrm>
              <a:off x="45577" y="451154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2" name="Freeform 40">
              <a:extLst>
                <a:ext uri="{FF2B5EF4-FFF2-40B4-BE49-F238E27FC236}">
                  <a16:creationId xmlns:a16="http://schemas.microsoft.com/office/drawing/2014/main" id="{FD9373BB-8FEF-43FB-929F-D7AB08334790}"/>
                </a:ext>
              </a:extLst>
            </p:cNvPr>
            <p:cNvSpPr>
              <a:spLocks/>
            </p:cNvSpPr>
            <p:nvPr/>
          </p:nvSpPr>
          <p:spPr bwMode="auto">
            <a:xfrm>
              <a:off x="43989" y="451313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3" name="Rectangle 41">
              <a:extLst>
                <a:ext uri="{FF2B5EF4-FFF2-40B4-BE49-F238E27FC236}">
                  <a16:creationId xmlns:a16="http://schemas.microsoft.com/office/drawing/2014/main" id="{2C17895D-BA0B-433A-A182-47AD077C9004}"/>
                </a:ext>
              </a:extLst>
            </p:cNvPr>
            <p:cNvSpPr>
              <a:spLocks noChangeArrowheads="1"/>
            </p:cNvSpPr>
            <p:nvPr/>
          </p:nvSpPr>
          <p:spPr bwMode="auto">
            <a:xfrm>
              <a:off x="61452" y="4662355"/>
              <a:ext cx="422275" cy="3175"/>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4" name="Rectangle 42">
              <a:extLst>
                <a:ext uri="{FF2B5EF4-FFF2-40B4-BE49-F238E27FC236}">
                  <a16:creationId xmlns:a16="http://schemas.microsoft.com/office/drawing/2014/main" id="{A1A49E90-4261-4F9F-A4AC-356A0CDADD3A}"/>
                </a:ext>
              </a:extLst>
            </p:cNvPr>
            <p:cNvSpPr>
              <a:spLocks noChangeArrowheads="1"/>
            </p:cNvSpPr>
            <p:nvPr/>
          </p:nvSpPr>
          <p:spPr bwMode="auto">
            <a:xfrm>
              <a:off x="61452" y="46004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5" name="Freeform 43">
              <a:extLst>
                <a:ext uri="{FF2B5EF4-FFF2-40B4-BE49-F238E27FC236}">
                  <a16:creationId xmlns:a16="http://schemas.microsoft.com/office/drawing/2014/main" id="{33EEB40D-87B0-4014-BC2A-9F0075C1AF6F}"/>
                </a:ext>
              </a:extLst>
            </p:cNvPr>
            <p:cNvSpPr>
              <a:spLocks/>
            </p:cNvSpPr>
            <p:nvPr/>
          </p:nvSpPr>
          <p:spPr bwMode="auto">
            <a:xfrm>
              <a:off x="364665" y="462108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6" name="Rectangle 44">
              <a:extLst>
                <a:ext uri="{FF2B5EF4-FFF2-40B4-BE49-F238E27FC236}">
                  <a16:creationId xmlns:a16="http://schemas.microsoft.com/office/drawing/2014/main" id="{FEB65D4D-020A-4DEB-BC4D-37F7431DE653}"/>
                </a:ext>
              </a:extLst>
            </p:cNvPr>
            <p:cNvSpPr>
              <a:spLocks noChangeArrowheads="1"/>
            </p:cNvSpPr>
            <p:nvPr/>
          </p:nvSpPr>
          <p:spPr bwMode="auto">
            <a:xfrm>
              <a:off x="61452" y="47242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7" name="Rectangle 45">
              <a:extLst>
                <a:ext uri="{FF2B5EF4-FFF2-40B4-BE49-F238E27FC236}">
                  <a16:creationId xmlns:a16="http://schemas.microsoft.com/office/drawing/2014/main" id="{46F18670-E2DC-4126-9487-8CDEA8C5FCF3}"/>
                </a:ext>
              </a:extLst>
            </p:cNvPr>
            <p:cNvSpPr>
              <a:spLocks noChangeArrowheads="1"/>
            </p:cNvSpPr>
            <p:nvPr/>
          </p:nvSpPr>
          <p:spPr bwMode="auto">
            <a:xfrm>
              <a:off x="61452" y="4662355"/>
              <a:ext cx="422275" cy="3175"/>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8" name="Freeform 46">
              <a:extLst>
                <a:ext uri="{FF2B5EF4-FFF2-40B4-BE49-F238E27FC236}">
                  <a16:creationId xmlns:a16="http://schemas.microsoft.com/office/drawing/2014/main" id="{E1449A00-AEE1-40EE-AF4D-5FF3B83B73E1}"/>
                </a:ext>
              </a:extLst>
            </p:cNvPr>
            <p:cNvSpPr>
              <a:spLocks/>
            </p:cNvSpPr>
            <p:nvPr/>
          </p:nvSpPr>
          <p:spPr bwMode="auto">
            <a:xfrm>
              <a:off x="364665" y="468299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9" name="Rectangle 47">
              <a:extLst>
                <a:ext uri="{FF2B5EF4-FFF2-40B4-BE49-F238E27FC236}">
                  <a16:creationId xmlns:a16="http://schemas.microsoft.com/office/drawing/2014/main" id="{A108A2BA-4E03-4D2E-A6CA-4164A558F3E0}"/>
                </a:ext>
              </a:extLst>
            </p:cNvPr>
            <p:cNvSpPr>
              <a:spLocks noChangeArrowheads="1"/>
            </p:cNvSpPr>
            <p:nvPr/>
          </p:nvSpPr>
          <p:spPr bwMode="auto">
            <a:xfrm>
              <a:off x="61452" y="47845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0" name="Rectangle 48">
              <a:extLst>
                <a:ext uri="{FF2B5EF4-FFF2-40B4-BE49-F238E27FC236}">
                  <a16:creationId xmlns:a16="http://schemas.microsoft.com/office/drawing/2014/main" id="{34E2411A-EC0D-428D-B79B-BB7634B3F596}"/>
                </a:ext>
              </a:extLst>
            </p:cNvPr>
            <p:cNvSpPr>
              <a:spLocks noChangeArrowheads="1"/>
            </p:cNvSpPr>
            <p:nvPr/>
          </p:nvSpPr>
          <p:spPr bwMode="auto">
            <a:xfrm>
              <a:off x="61452" y="47242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1" name="Freeform 49">
              <a:extLst>
                <a:ext uri="{FF2B5EF4-FFF2-40B4-BE49-F238E27FC236}">
                  <a16:creationId xmlns:a16="http://schemas.microsoft.com/office/drawing/2014/main" id="{9A00980D-6DAE-48FB-ABDB-463410663A4B}"/>
                </a:ext>
              </a:extLst>
            </p:cNvPr>
            <p:cNvSpPr>
              <a:spLocks/>
            </p:cNvSpPr>
            <p:nvPr/>
          </p:nvSpPr>
          <p:spPr bwMode="auto">
            <a:xfrm>
              <a:off x="364665" y="474490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2" name="Rectangle 50">
              <a:extLst>
                <a:ext uri="{FF2B5EF4-FFF2-40B4-BE49-F238E27FC236}">
                  <a16:creationId xmlns:a16="http://schemas.microsoft.com/office/drawing/2014/main" id="{FA6AE434-4099-42BF-AA5F-8587687E1B92}"/>
                </a:ext>
              </a:extLst>
            </p:cNvPr>
            <p:cNvSpPr>
              <a:spLocks noChangeArrowheads="1"/>
            </p:cNvSpPr>
            <p:nvPr/>
          </p:nvSpPr>
          <p:spPr bwMode="auto">
            <a:xfrm>
              <a:off x="61452" y="48480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3" name="Rectangle 51">
              <a:extLst>
                <a:ext uri="{FF2B5EF4-FFF2-40B4-BE49-F238E27FC236}">
                  <a16:creationId xmlns:a16="http://schemas.microsoft.com/office/drawing/2014/main" id="{C65743A7-DF5C-4CD9-93FA-EF17A05D7167}"/>
                </a:ext>
              </a:extLst>
            </p:cNvPr>
            <p:cNvSpPr>
              <a:spLocks noChangeArrowheads="1"/>
            </p:cNvSpPr>
            <p:nvPr/>
          </p:nvSpPr>
          <p:spPr bwMode="auto">
            <a:xfrm>
              <a:off x="61452" y="47845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4" name="Freeform 52">
              <a:extLst>
                <a:ext uri="{FF2B5EF4-FFF2-40B4-BE49-F238E27FC236}">
                  <a16:creationId xmlns:a16="http://schemas.microsoft.com/office/drawing/2014/main" id="{AF464462-415A-47CF-AC6C-DE18F4930852}"/>
                </a:ext>
              </a:extLst>
            </p:cNvPr>
            <p:cNvSpPr>
              <a:spLocks/>
            </p:cNvSpPr>
            <p:nvPr/>
          </p:nvSpPr>
          <p:spPr bwMode="auto">
            <a:xfrm>
              <a:off x="364665" y="480681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5" name="Rectangle 53">
              <a:extLst>
                <a:ext uri="{FF2B5EF4-FFF2-40B4-BE49-F238E27FC236}">
                  <a16:creationId xmlns:a16="http://schemas.microsoft.com/office/drawing/2014/main" id="{646E2B54-DEB4-49CA-826C-9A97C8303DDB}"/>
                </a:ext>
              </a:extLst>
            </p:cNvPr>
            <p:cNvSpPr>
              <a:spLocks noChangeArrowheads="1"/>
            </p:cNvSpPr>
            <p:nvPr/>
          </p:nvSpPr>
          <p:spPr bwMode="auto">
            <a:xfrm>
              <a:off x="61452" y="49084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6" name="Rectangle 54">
              <a:extLst>
                <a:ext uri="{FF2B5EF4-FFF2-40B4-BE49-F238E27FC236}">
                  <a16:creationId xmlns:a16="http://schemas.microsoft.com/office/drawing/2014/main" id="{0F281DC0-8C51-4B9B-ABF6-DB87C12F956D}"/>
                </a:ext>
              </a:extLst>
            </p:cNvPr>
            <p:cNvSpPr>
              <a:spLocks noChangeArrowheads="1"/>
            </p:cNvSpPr>
            <p:nvPr/>
          </p:nvSpPr>
          <p:spPr bwMode="auto">
            <a:xfrm>
              <a:off x="61452" y="48480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7" name="Freeform 55">
              <a:extLst>
                <a:ext uri="{FF2B5EF4-FFF2-40B4-BE49-F238E27FC236}">
                  <a16:creationId xmlns:a16="http://schemas.microsoft.com/office/drawing/2014/main" id="{FFD2FA3F-1916-4445-9B68-F4596004539B}"/>
                </a:ext>
              </a:extLst>
            </p:cNvPr>
            <p:cNvSpPr>
              <a:spLocks/>
            </p:cNvSpPr>
            <p:nvPr/>
          </p:nvSpPr>
          <p:spPr bwMode="auto">
            <a:xfrm>
              <a:off x="364665" y="486873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8" name="Rectangle 56">
              <a:extLst>
                <a:ext uri="{FF2B5EF4-FFF2-40B4-BE49-F238E27FC236}">
                  <a16:creationId xmlns:a16="http://schemas.microsoft.com/office/drawing/2014/main" id="{2AA60332-AE3A-4E0E-BE76-403572FA2BFC}"/>
                </a:ext>
              </a:extLst>
            </p:cNvPr>
            <p:cNvSpPr>
              <a:spLocks noChangeArrowheads="1"/>
            </p:cNvSpPr>
            <p:nvPr/>
          </p:nvSpPr>
          <p:spPr bwMode="auto">
            <a:xfrm>
              <a:off x="61452" y="49719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9" name="Rectangle 57">
              <a:extLst>
                <a:ext uri="{FF2B5EF4-FFF2-40B4-BE49-F238E27FC236}">
                  <a16:creationId xmlns:a16="http://schemas.microsoft.com/office/drawing/2014/main" id="{FA337441-30C1-4496-A4A9-12E7F2C87E06}"/>
                </a:ext>
              </a:extLst>
            </p:cNvPr>
            <p:cNvSpPr>
              <a:spLocks noChangeArrowheads="1"/>
            </p:cNvSpPr>
            <p:nvPr/>
          </p:nvSpPr>
          <p:spPr bwMode="auto">
            <a:xfrm>
              <a:off x="61452" y="49084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0" name="Freeform 58">
              <a:extLst>
                <a:ext uri="{FF2B5EF4-FFF2-40B4-BE49-F238E27FC236}">
                  <a16:creationId xmlns:a16="http://schemas.microsoft.com/office/drawing/2014/main" id="{C09F393B-954C-43E0-BFBD-E876200B6DB6}"/>
                </a:ext>
              </a:extLst>
            </p:cNvPr>
            <p:cNvSpPr>
              <a:spLocks/>
            </p:cNvSpPr>
            <p:nvPr/>
          </p:nvSpPr>
          <p:spPr bwMode="auto">
            <a:xfrm>
              <a:off x="364665" y="493064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1" name="Rectangle 59">
              <a:extLst>
                <a:ext uri="{FF2B5EF4-FFF2-40B4-BE49-F238E27FC236}">
                  <a16:creationId xmlns:a16="http://schemas.microsoft.com/office/drawing/2014/main" id="{D5CA6F59-8EF3-4C16-9481-BAAE77EBECE4}"/>
                </a:ext>
              </a:extLst>
            </p:cNvPr>
            <p:cNvSpPr>
              <a:spLocks noChangeArrowheads="1"/>
            </p:cNvSpPr>
            <p:nvPr/>
          </p:nvSpPr>
          <p:spPr bwMode="auto">
            <a:xfrm>
              <a:off x="61452" y="50322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2" name="Rectangle 60">
              <a:extLst>
                <a:ext uri="{FF2B5EF4-FFF2-40B4-BE49-F238E27FC236}">
                  <a16:creationId xmlns:a16="http://schemas.microsoft.com/office/drawing/2014/main" id="{6142C97B-239A-4927-8745-515DE26A73D1}"/>
                </a:ext>
              </a:extLst>
            </p:cNvPr>
            <p:cNvSpPr>
              <a:spLocks noChangeArrowheads="1"/>
            </p:cNvSpPr>
            <p:nvPr/>
          </p:nvSpPr>
          <p:spPr bwMode="auto">
            <a:xfrm>
              <a:off x="61452" y="49719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3" name="Freeform 61">
              <a:extLst>
                <a:ext uri="{FF2B5EF4-FFF2-40B4-BE49-F238E27FC236}">
                  <a16:creationId xmlns:a16="http://schemas.microsoft.com/office/drawing/2014/main" id="{C4D94853-0CD7-4765-9C80-833634A05516}"/>
                </a:ext>
              </a:extLst>
            </p:cNvPr>
            <p:cNvSpPr>
              <a:spLocks/>
            </p:cNvSpPr>
            <p:nvPr/>
          </p:nvSpPr>
          <p:spPr bwMode="auto">
            <a:xfrm>
              <a:off x="364665" y="499255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4" name="Rectangle 62">
              <a:extLst>
                <a:ext uri="{FF2B5EF4-FFF2-40B4-BE49-F238E27FC236}">
                  <a16:creationId xmlns:a16="http://schemas.microsoft.com/office/drawing/2014/main" id="{974E6056-82E4-4C59-A4CA-C32017B7E87E}"/>
                </a:ext>
              </a:extLst>
            </p:cNvPr>
            <p:cNvSpPr>
              <a:spLocks noChangeArrowheads="1"/>
            </p:cNvSpPr>
            <p:nvPr/>
          </p:nvSpPr>
          <p:spPr bwMode="auto">
            <a:xfrm>
              <a:off x="61452" y="50957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5" name="Rectangle 63">
              <a:extLst>
                <a:ext uri="{FF2B5EF4-FFF2-40B4-BE49-F238E27FC236}">
                  <a16:creationId xmlns:a16="http://schemas.microsoft.com/office/drawing/2014/main" id="{F85C1F75-1271-41AF-AB1E-64A4E178A920}"/>
                </a:ext>
              </a:extLst>
            </p:cNvPr>
            <p:cNvSpPr>
              <a:spLocks noChangeArrowheads="1"/>
            </p:cNvSpPr>
            <p:nvPr/>
          </p:nvSpPr>
          <p:spPr bwMode="auto">
            <a:xfrm>
              <a:off x="61452" y="50322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6" name="Freeform 64">
              <a:extLst>
                <a:ext uri="{FF2B5EF4-FFF2-40B4-BE49-F238E27FC236}">
                  <a16:creationId xmlns:a16="http://schemas.microsoft.com/office/drawing/2014/main" id="{815518E2-0A9B-4668-B1C7-A7BA969862AD}"/>
                </a:ext>
              </a:extLst>
            </p:cNvPr>
            <p:cNvSpPr>
              <a:spLocks/>
            </p:cNvSpPr>
            <p:nvPr/>
          </p:nvSpPr>
          <p:spPr bwMode="auto">
            <a:xfrm>
              <a:off x="364665" y="505446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7" name="Rectangle 65">
              <a:extLst>
                <a:ext uri="{FF2B5EF4-FFF2-40B4-BE49-F238E27FC236}">
                  <a16:creationId xmlns:a16="http://schemas.microsoft.com/office/drawing/2014/main" id="{90A7D8CC-CA8D-474B-BB83-ACBF1A7853B2}"/>
                </a:ext>
              </a:extLst>
            </p:cNvPr>
            <p:cNvSpPr>
              <a:spLocks noChangeArrowheads="1"/>
            </p:cNvSpPr>
            <p:nvPr/>
          </p:nvSpPr>
          <p:spPr bwMode="auto">
            <a:xfrm>
              <a:off x="61452" y="51560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8" name="Rectangle 66">
              <a:extLst>
                <a:ext uri="{FF2B5EF4-FFF2-40B4-BE49-F238E27FC236}">
                  <a16:creationId xmlns:a16="http://schemas.microsoft.com/office/drawing/2014/main" id="{12C1D653-8887-4038-BC54-3183A51F4135}"/>
                </a:ext>
              </a:extLst>
            </p:cNvPr>
            <p:cNvSpPr>
              <a:spLocks noChangeArrowheads="1"/>
            </p:cNvSpPr>
            <p:nvPr/>
          </p:nvSpPr>
          <p:spPr bwMode="auto">
            <a:xfrm>
              <a:off x="61452" y="50957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9" name="Freeform 67">
              <a:extLst>
                <a:ext uri="{FF2B5EF4-FFF2-40B4-BE49-F238E27FC236}">
                  <a16:creationId xmlns:a16="http://schemas.microsoft.com/office/drawing/2014/main" id="{118C075B-5E59-4E8D-9928-C3B75A4FEB0F}"/>
                </a:ext>
              </a:extLst>
            </p:cNvPr>
            <p:cNvSpPr>
              <a:spLocks/>
            </p:cNvSpPr>
            <p:nvPr/>
          </p:nvSpPr>
          <p:spPr bwMode="auto">
            <a:xfrm>
              <a:off x="364665" y="511638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0" name="Freeform 68">
              <a:extLst>
                <a:ext uri="{FF2B5EF4-FFF2-40B4-BE49-F238E27FC236}">
                  <a16:creationId xmlns:a16="http://schemas.microsoft.com/office/drawing/2014/main" id="{6E4FBCE9-8792-4036-8F77-0256AA6EFA32}"/>
                </a:ext>
              </a:extLst>
            </p:cNvPr>
            <p:cNvSpPr>
              <a:spLocks noEditPoints="1"/>
            </p:cNvSpPr>
            <p:nvPr/>
          </p:nvSpPr>
          <p:spPr bwMode="auto">
            <a:xfrm>
              <a:off x="56690" y="460044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1" name="Freeform 69">
              <a:extLst>
                <a:ext uri="{FF2B5EF4-FFF2-40B4-BE49-F238E27FC236}">
                  <a16:creationId xmlns:a16="http://schemas.microsoft.com/office/drawing/2014/main" id="{CBF0E9B6-80AB-4385-A30E-26555A385ABC}"/>
                </a:ext>
              </a:extLst>
            </p:cNvPr>
            <p:cNvSpPr>
              <a:spLocks/>
            </p:cNvSpPr>
            <p:nvPr/>
          </p:nvSpPr>
          <p:spPr bwMode="auto">
            <a:xfrm>
              <a:off x="56690" y="457504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2" name="Freeform 70">
              <a:extLst>
                <a:ext uri="{FF2B5EF4-FFF2-40B4-BE49-F238E27FC236}">
                  <a16:creationId xmlns:a16="http://schemas.microsoft.com/office/drawing/2014/main" id="{484DF2A7-B9D5-41E2-BD01-4DEC01A30C40}"/>
                </a:ext>
              </a:extLst>
            </p:cNvPr>
            <p:cNvSpPr>
              <a:spLocks/>
            </p:cNvSpPr>
            <p:nvPr/>
          </p:nvSpPr>
          <p:spPr bwMode="auto">
            <a:xfrm>
              <a:off x="56690" y="45607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3" name="Freeform 71">
              <a:extLst>
                <a:ext uri="{FF2B5EF4-FFF2-40B4-BE49-F238E27FC236}">
                  <a16:creationId xmlns:a16="http://schemas.microsoft.com/office/drawing/2014/main" id="{A2792395-346E-449A-9E4E-2A2B2775A7D3}"/>
                </a:ext>
              </a:extLst>
            </p:cNvPr>
            <p:cNvSpPr>
              <a:spLocks/>
            </p:cNvSpPr>
            <p:nvPr/>
          </p:nvSpPr>
          <p:spPr bwMode="auto">
            <a:xfrm>
              <a:off x="56690" y="45480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4" name="Freeform 72">
              <a:extLst>
                <a:ext uri="{FF2B5EF4-FFF2-40B4-BE49-F238E27FC236}">
                  <a16:creationId xmlns:a16="http://schemas.microsoft.com/office/drawing/2014/main" id="{43D5F3F9-E2E9-461F-BA00-2BAB28C3D222}"/>
                </a:ext>
              </a:extLst>
            </p:cNvPr>
            <p:cNvSpPr>
              <a:spLocks/>
            </p:cNvSpPr>
            <p:nvPr/>
          </p:nvSpPr>
          <p:spPr bwMode="auto">
            <a:xfrm>
              <a:off x="56690" y="45353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5" name="Freeform 73">
              <a:extLst>
                <a:ext uri="{FF2B5EF4-FFF2-40B4-BE49-F238E27FC236}">
                  <a16:creationId xmlns:a16="http://schemas.microsoft.com/office/drawing/2014/main" id="{8F0E2B97-B816-4AAB-86FF-60FD40E064F5}"/>
                </a:ext>
              </a:extLst>
            </p:cNvPr>
            <p:cNvSpPr>
              <a:spLocks/>
            </p:cNvSpPr>
            <p:nvPr/>
          </p:nvSpPr>
          <p:spPr bwMode="auto">
            <a:xfrm>
              <a:off x="340852" y="457504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6" name="Freeform 74">
              <a:extLst>
                <a:ext uri="{FF2B5EF4-FFF2-40B4-BE49-F238E27FC236}">
                  <a16:creationId xmlns:a16="http://schemas.microsoft.com/office/drawing/2014/main" id="{4F7B51E1-7832-44BD-91FF-F33235345633}"/>
                </a:ext>
              </a:extLst>
            </p:cNvPr>
            <p:cNvSpPr>
              <a:spLocks/>
            </p:cNvSpPr>
            <p:nvPr/>
          </p:nvSpPr>
          <p:spPr bwMode="auto">
            <a:xfrm>
              <a:off x="340852" y="45607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7" name="Freeform 75">
              <a:extLst>
                <a:ext uri="{FF2B5EF4-FFF2-40B4-BE49-F238E27FC236}">
                  <a16:creationId xmlns:a16="http://schemas.microsoft.com/office/drawing/2014/main" id="{78CA5CA8-4063-46D3-90AD-E8C4CAB367AF}"/>
                </a:ext>
              </a:extLst>
            </p:cNvPr>
            <p:cNvSpPr>
              <a:spLocks/>
            </p:cNvSpPr>
            <p:nvPr/>
          </p:nvSpPr>
          <p:spPr bwMode="auto">
            <a:xfrm>
              <a:off x="340852" y="45480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8" name="Freeform 76">
              <a:extLst>
                <a:ext uri="{FF2B5EF4-FFF2-40B4-BE49-F238E27FC236}">
                  <a16:creationId xmlns:a16="http://schemas.microsoft.com/office/drawing/2014/main" id="{0F5036B0-9F72-4DA4-96DD-D84BDBF6C516}"/>
                </a:ext>
              </a:extLst>
            </p:cNvPr>
            <p:cNvSpPr>
              <a:spLocks/>
            </p:cNvSpPr>
            <p:nvPr/>
          </p:nvSpPr>
          <p:spPr bwMode="auto">
            <a:xfrm>
              <a:off x="340852" y="45353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9" name="Rectangle 77">
              <a:extLst>
                <a:ext uri="{FF2B5EF4-FFF2-40B4-BE49-F238E27FC236}">
                  <a16:creationId xmlns:a16="http://schemas.microsoft.com/office/drawing/2014/main" id="{E0C208A9-7426-4106-BE65-52F70BCECC1F}"/>
                </a:ext>
              </a:extLst>
            </p:cNvPr>
            <p:cNvSpPr>
              <a:spLocks noChangeArrowheads="1"/>
            </p:cNvSpPr>
            <p:nvPr/>
          </p:nvSpPr>
          <p:spPr bwMode="auto">
            <a:xfrm>
              <a:off x="61452" y="5202105"/>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50" name="Freeform 78">
              <a:extLst>
                <a:ext uri="{FF2B5EF4-FFF2-40B4-BE49-F238E27FC236}">
                  <a16:creationId xmlns:a16="http://schemas.microsoft.com/office/drawing/2014/main" id="{DBC803E8-3BE2-4602-BFD6-E2A85B6D7965}"/>
                </a:ext>
              </a:extLst>
            </p:cNvPr>
            <p:cNvSpPr>
              <a:spLocks/>
            </p:cNvSpPr>
            <p:nvPr/>
          </p:nvSpPr>
          <p:spPr bwMode="auto">
            <a:xfrm>
              <a:off x="191627" y="519099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51" name="Rectangle 79">
              <a:extLst>
                <a:ext uri="{FF2B5EF4-FFF2-40B4-BE49-F238E27FC236}">
                  <a16:creationId xmlns:a16="http://schemas.microsoft.com/office/drawing/2014/main" id="{D3528F9D-FC79-40F1-94C8-CBE5DBF12158}"/>
                </a:ext>
              </a:extLst>
            </p:cNvPr>
            <p:cNvSpPr>
              <a:spLocks noChangeArrowheads="1"/>
            </p:cNvSpPr>
            <p:nvPr/>
          </p:nvSpPr>
          <p:spPr bwMode="auto">
            <a:xfrm>
              <a:off x="61452" y="5265605"/>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52" name="Freeform 80">
              <a:extLst>
                <a:ext uri="{FF2B5EF4-FFF2-40B4-BE49-F238E27FC236}">
                  <a16:creationId xmlns:a16="http://schemas.microsoft.com/office/drawing/2014/main" id="{55D9A05E-ECC0-4418-87C0-017DAC118C7D}"/>
                </a:ext>
              </a:extLst>
            </p:cNvPr>
            <p:cNvSpPr>
              <a:spLocks/>
            </p:cNvSpPr>
            <p:nvPr/>
          </p:nvSpPr>
          <p:spPr bwMode="auto">
            <a:xfrm>
              <a:off x="191627" y="525449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53" name="Rectangle 81">
              <a:extLst>
                <a:ext uri="{FF2B5EF4-FFF2-40B4-BE49-F238E27FC236}">
                  <a16:creationId xmlns:a16="http://schemas.microsoft.com/office/drawing/2014/main" id="{8E0D3335-DE30-4F12-9E1F-E43B5520400D}"/>
                </a:ext>
              </a:extLst>
            </p:cNvPr>
            <p:cNvSpPr>
              <a:spLocks noChangeArrowheads="1"/>
            </p:cNvSpPr>
            <p:nvPr/>
          </p:nvSpPr>
          <p:spPr bwMode="auto">
            <a:xfrm>
              <a:off x="61452" y="53306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54" name="Freeform 82">
              <a:extLst>
                <a:ext uri="{FF2B5EF4-FFF2-40B4-BE49-F238E27FC236}">
                  <a16:creationId xmlns:a16="http://schemas.microsoft.com/office/drawing/2014/main" id="{DD5C4D86-D916-4756-9A95-61BF31859747}"/>
                </a:ext>
              </a:extLst>
            </p:cNvPr>
            <p:cNvSpPr>
              <a:spLocks/>
            </p:cNvSpPr>
            <p:nvPr/>
          </p:nvSpPr>
          <p:spPr bwMode="auto">
            <a:xfrm>
              <a:off x="191627" y="531958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55" name="Rectangle 83">
              <a:extLst>
                <a:ext uri="{FF2B5EF4-FFF2-40B4-BE49-F238E27FC236}">
                  <a16:creationId xmlns:a16="http://schemas.microsoft.com/office/drawing/2014/main" id="{B6AFBE60-DEC1-4C53-8D0E-026CA3E8384A}"/>
                </a:ext>
              </a:extLst>
            </p:cNvPr>
            <p:cNvSpPr>
              <a:spLocks noChangeArrowheads="1"/>
            </p:cNvSpPr>
            <p:nvPr/>
          </p:nvSpPr>
          <p:spPr bwMode="auto">
            <a:xfrm>
              <a:off x="61452" y="53941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56" name="Freeform 84">
              <a:extLst>
                <a:ext uri="{FF2B5EF4-FFF2-40B4-BE49-F238E27FC236}">
                  <a16:creationId xmlns:a16="http://schemas.microsoft.com/office/drawing/2014/main" id="{8A0ECDDB-FCD2-40BD-9634-2EE809DE5751}"/>
                </a:ext>
              </a:extLst>
            </p:cNvPr>
            <p:cNvSpPr>
              <a:spLocks/>
            </p:cNvSpPr>
            <p:nvPr/>
          </p:nvSpPr>
          <p:spPr bwMode="auto">
            <a:xfrm>
              <a:off x="191627" y="538308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796" name="Oval 795">
            <a:extLst>
              <a:ext uri="{FF2B5EF4-FFF2-40B4-BE49-F238E27FC236}">
                <a16:creationId xmlns:a16="http://schemas.microsoft.com/office/drawing/2014/main" id="{F1D07788-C755-4184-9A93-689D746A6448}"/>
              </a:ext>
            </a:extLst>
          </p:cNvPr>
          <p:cNvSpPr/>
          <p:nvPr/>
        </p:nvSpPr>
        <p:spPr bwMode="auto">
          <a:xfrm>
            <a:off x="824384" y="4410099"/>
            <a:ext cx="676726" cy="676726"/>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noAutofit/>
          </a:bodyPr>
          <a:lstStyle/>
          <a:p>
            <a:pPr algn="ctr"/>
            <a:endParaRPr lang="en-US" sz="2800" b="1" dirty="0">
              <a:solidFill>
                <a:schemeClr val="tx2"/>
              </a:solidFill>
            </a:endParaRPr>
          </a:p>
        </p:txBody>
      </p:sp>
      <p:sp>
        <p:nvSpPr>
          <p:cNvPr id="806" name="Oval 805">
            <a:extLst>
              <a:ext uri="{FF2B5EF4-FFF2-40B4-BE49-F238E27FC236}">
                <a16:creationId xmlns:a16="http://schemas.microsoft.com/office/drawing/2014/main" id="{7CEA9BF6-F300-4A5D-A311-67721936F678}"/>
              </a:ext>
            </a:extLst>
          </p:cNvPr>
          <p:cNvSpPr/>
          <p:nvPr/>
        </p:nvSpPr>
        <p:spPr bwMode="auto">
          <a:xfrm>
            <a:off x="787206" y="4372921"/>
            <a:ext cx="751082" cy="751082"/>
          </a:xfrm>
          <a:prstGeom prst="ellipse">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ArchUp">
              <a:avLst>
                <a:gd name="adj" fmla="val 8893503"/>
              </a:avLst>
            </a:prstTxWarp>
            <a:noAutofit/>
          </a:bodyPr>
          <a:lstStyle/>
          <a:p>
            <a:pPr algn="ctr"/>
            <a:r>
              <a:rPr lang="en-US" sz="800" b="1" dirty="0">
                <a:solidFill>
                  <a:schemeClr val="tx2"/>
                </a:solidFill>
              </a:rPr>
              <a:t>WINDOWS SERVER LICENSE</a:t>
            </a:r>
            <a:endParaRPr lang="en-US" sz="2800" b="1" dirty="0">
              <a:solidFill>
                <a:schemeClr val="tx2"/>
              </a:solidFill>
            </a:endParaRPr>
          </a:p>
        </p:txBody>
      </p:sp>
      <p:pic>
        <p:nvPicPr>
          <p:cNvPr id="797" name="Picture 796">
            <a:extLst>
              <a:ext uri="{FF2B5EF4-FFF2-40B4-BE49-F238E27FC236}">
                <a16:creationId xmlns:a16="http://schemas.microsoft.com/office/drawing/2014/main" id="{0E9ADB2C-AD42-4D4D-A34E-ECFF294BC403}"/>
              </a:ext>
            </a:extLst>
          </p:cNvPr>
          <p:cNvPicPr>
            <a:picLocks noChangeAspect="1"/>
          </p:cNvPicPr>
          <p:nvPr/>
        </p:nvPicPr>
        <p:blipFill>
          <a:blip r:embed="rId17">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77414" y="4612511"/>
            <a:ext cx="372668" cy="392027"/>
          </a:xfrm>
          <a:prstGeom prst="rect">
            <a:avLst/>
          </a:prstGeom>
        </p:spPr>
      </p:pic>
      <p:sp>
        <p:nvSpPr>
          <p:cNvPr id="807" name="Rectangle 806">
            <a:extLst>
              <a:ext uri="{FF2B5EF4-FFF2-40B4-BE49-F238E27FC236}">
                <a16:creationId xmlns:a16="http://schemas.microsoft.com/office/drawing/2014/main" id="{9C9BB568-DB67-4D69-A6FC-BF731F00B92E}"/>
              </a:ext>
            </a:extLst>
          </p:cNvPr>
          <p:cNvSpPr/>
          <p:nvPr/>
        </p:nvSpPr>
        <p:spPr bwMode="auto">
          <a:xfrm>
            <a:off x="4654858" y="4353457"/>
            <a:ext cx="3077889" cy="1446866"/>
          </a:xfrm>
          <a:prstGeom prst="rect">
            <a:avLst/>
          </a:prstGeom>
          <a:noFill/>
          <a:ln w="1270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1400" b="1" i="1" dirty="0">
              <a:solidFill>
                <a:schemeClr val="accent2"/>
              </a:solidFill>
              <a:ea typeface="Segoe UI" pitchFamily="34" charset="0"/>
              <a:cs typeface="Segoe UI" pitchFamily="34" charset="0"/>
            </a:endParaRPr>
          </a:p>
        </p:txBody>
      </p:sp>
      <p:sp>
        <p:nvSpPr>
          <p:cNvPr id="808" name="Plus Sign 807">
            <a:extLst>
              <a:ext uri="{FF2B5EF4-FFF2-40B4-BE49-F238E27FC236}">
                <a16:creationId xmlns:a16="http://schemas.microsoft.com/office/drawing/2014/main" id="{92780BA5-AC62-43E8-85F7-E0686A5EE4D0}"/>
              </a:ext>
            </a:extLst>
          </p:cNvPr>
          <p:cNvSpPr/>
          <p:nvPr/>
        </p:nvSpPr>
        <p:spPr bwMode="auto">
          <a:xfrm>
            <a:off x="5678927" y="4891638"/>
            <a:ext cx="344129" cy="344129"/>
          </a:xfrm>
          <a:prstGeom prst="mathPlus">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09" name="TextBox 808">
            <a:extLst>
              <a:ext uri="{FF2B5EF4-FFF2-40B4-BE49-F238E27FC236}">
                <a16:creationId xmlns:a16="http://schemas.microsoft.com/office/drawing/2014/main" id="{C5BDFEEF-928E-49EE-B7AF-EBFC3DF0DE26}"/>
              </a:ext>
            </a:extLst>
          </p:cNvPr>
          <p:cNvSpPr txBox="1"/>
          <p:nvPr/>
        </p:nvSpPr>
        <p:spPr>
          <a:xfrm>
            <a:off x="4960403" y="5541720"/>
            <a:ext cx="779059" cy="184666"/>
          </a:xfrm>
          <a:prstGeom prst="rect">
            <a:avLst/>
          </a:prstGeom>
          <a:noFill/>
        </p:spPr>
        <p:txBody>
          <a:bodyPr wrap="none" lIns="0" tIns="0" rIns="0" bIns="0" rtlCol="0">
            <a:spAutoFit/>
          </a:bodyPr>
          <a:lstStyle/>
          <a:p>
            <a:pPr algn="l"/>
            <a:r>
              <a:rPr lang="en-US" sz="1200" b="1" i="1" dirty="0">
                <a:solidFill>
                  <a:schemeClr val="tx2"/>
                </a:solidFill>
              </a:rPr>
              <a:t>RDSH VMs</a:t>
            </a:r>
          </a:p>
        </p:txBody>
      </p:sp>
      <p:sp>
        <p:nvSpPr>
          <p:cNvPr id="811" name="TextBox 810">
            <a:extLst>
              <a:ext uri="{FF2B5EF4-FFF2-40B4-BE49-F238E27FC236}">
                <a16:creationId xmlns:a16="http://schemas.microsoft.com/office/drawing/2014/main" id="{5BFCA5CC-205E-488A-9D23-F6D8CA5546EC}"/>
              </a:ext>
            </a:extLst>
          </p:cNvPr>
          <p:cNvSpPr txBox="1"/>
          <p:nvPr/>
        </p:nvSpPr>
        <p:spPr>
          <a:xfrm>
            <a:off x="6742021" y="4539850"/>
            <a:ext cx="823336" cy="369332"/>
          </a:xfrm>
          <a:prstGeom prst="rect">
            <a:avLst/>
          </a:prstGeom>
          <a:noFill/>
        </p:spPr>
        <p:txBody>
          <a:bodyPr wrap="square" lIns="0" tIns="0" rIns="0" bIns="0" rtlCol="0">
            <a:spAutoFit/>
          </a:bodyPr>
          <a:lstStyle/>
          <a:p>
            <a:r>
              <a:rPr lang="en-US" sz="1200" b="1" i="1" dirty="0">
                <a:solidFill>
                  <a:schemeClr val="tx2"/>
                </a:solidFill>
              </a:rPr>
              <a:t>File Server VMs</a:t>
            </a:r>
          </a:p>
        </p:txBody>
      </p:sp>
      <p:sp>
        <p:nvSpPr>
          <p:cNvPr id="812" name="TextBox 811">
            <a:extLst>
              <a:ext uri="{FF2B5EF4-FFF2-40B4-BE49-F238E27FC236}">
                <a16:creationId xmlns:a16="http://schemas.microsoft.com/office/drawing/2014/main" id="{AF3FCB6A-A935-432E-B233-0B7B2EF921D7}"/>
              </a:ext>
            </a:extLst>
          </p:cNvPr>
          <p:cNvSpPr txBox="1"/>
          <p:nvPr/>
        </p:nvSpPr>
        <p:spPr>
          <a:xfrm>
            <a:off x="6742021" y="5300242"/>
            <a:ext cx="823336" cy="369332"/>
          </a:xfrm>
          <a:prstGeom prst="rect">
            <a:avLst/>
          </a:prstGeom>
          <a:noFill/>
        </p:spPr>
        <p:txBody>
          <a:bodyPr wrap="square" lIns="0" tIns="0" rIns="0" bIns="0" rtlCol="0">
            <a:spAutoFit/>
          </a:bodyPr>
          <a:lstStyle/>
          <a:p>
            <a:r>
              <a:rPr lang="en-US" sz="1200" b="1" i="1" dirty="0">
                <a:solidFill>
                  <a:schemeClr val="tx2"/>
                </a:solidFill>
              </a:rPr>
              <a:t>License Server VMs</a:t>
            </a:r>
          </a:p>
        </p:txBody>
      </p:sp>
      <p:grpSp>
        <p:nvGrpSpPr>
          <p:cNvPr id="819" name="Group 818">
            <a:extLst>
              <a:ext uri="{FF2B5EF4-FFF2-40B4-BE49-F238E27FC236}">
                <a16:creationId xmlns:a16="http://schemas.microsoft.com/office/drawing/2014/main" id="{789EA236-5290-4455-A803-F3BDAC97B2D4}"/>
              </a:ext>
            </a:extLst>
          </p:cNvPr>
          <p:cNvGrpSpPr/>
          <p:nvPr/>
        </p:nvGrpSpPr>
        <p:grpSpPr>
          <a:xfrm>
            <a:off x="6293523" y="5191864"/>
            <a:ext cx="264409" cy="498476"/>
            <a:chOff x="6249988" y="5192712"/>
            <a:chExt cx="290513" cy="547689"/>
          </a:xfrm>
        </p:grpSpPr>
        <p:sp>
          <p:nvSpPr>
            <p:cNvPr id="820" name="AutoShape 87">
              <a:extLst>
                <a:ext uri="{FF2B5EF4-FFF2-40B4-BE49-F238E27FC236}">
                  <a16:creationId xmlns:a16="http://schemas.microsoft.com/office/drawing/2014/main" id="{242A5C74-421D-496F-AACA-7F8A4922FC94}"/>
                </a:ext>
              </a:extLst>
            </p:cNvPr>
            <p:cNvSpPr>
              <a:spLocks noChangeAspect="1" noChangeArrowheads="1" noTextEdit="1"/>
            </p:cNvSpPr>
            <p:nvPr/>
          </p:nvSpPr>
          <p:spPr bwMode="auto">
            <a:xfrm>
              <a:off x="6249988" y="5194300"/>
              <a:ext cx="288925"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4" name="Freeform 89">
              <a:extLst>
                <a:ext uri="{FF2B5EF4-FFF2-40B4-BE49-F238E27FC236}">
                  <a16:creationId xmlns:a16="http://schemas.microsoft.com/office/drawing/2014/main" id="{657D0247-FC3D-4083-9CB3-77B2FAF211D7}"/>
                </a:ext>
              </a:extLst>
            </p:cNvPr>
            <p:cNvSpPr>
              <a:spLocks/>
            </p:cNvSpPr>
            <p:nvPr/>
          </p:nvSpPr>
          <p:spPr bwMode="auto">
            <a:xfrm>
              <a:off x="6251576" y="5192712"/>
              <a:ext cx="287338" cy="547688"/>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0" name="Rectangle 90">
              <a:extLst>
                <a:ext uri="{FF2B5EF4-FFF2-40B4-BE49-F238E27FC236}">
                  <a16:creationId xmlns:a16="http://schemas.microsoft.com/office/drawing/2014/main" id="{0E5B58CB-A6B8-40A0-99B8-62B994CAA19D}"/>
                </a:ext>
              </a:extLst>
            </p:cNvPr>
            <p:cNvSpPr>
              <a:spLocks noChangeArrowheads="1"/>
            </p:cNvSpPr>
            <p:nvPr/>
          </p:nvSpPr>
          <p:spPr bwMode="auto">
            <a:xfrm>
              <a:off x="6249988" y="5249863"/>
              <a:ext cx="260350" cy="4763"/>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9" name="Freeform 91">
              <a:extLst>
                <a:ext uri="{FF2B5EF4-FFF2-40B4-BE49-F238E27FC236}">
                  <a16:creationId xmlns:a16="http://schemas.microsoft.com/office/drawing/2014/main" id="{D9E625BB-368B-45A4-8808-014F2659AC4D}"/>
                </a:ext>
              </a:extLst>
            </p:cNvPr>
            <p:cNvSpPr>
              <a:spLocks/>
            </p:cNvSpPr>
            <p:nvPr/>
          </p:nvSpPr>
          <p:spPr bwMode="auto">
            <a:xfrm>
              <a:off x="6402388" y="52435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0" name="Rectangle 92">
              <a:extLst>
                <a:ext uri="{FF2B5EF4-FFF2-40B4-BE49-F238E27FC236}">
                  <a16:creationId xmlns:a16="http://schemas.microsoft.com/office/drawing/2014/main" id="{AD3BB854-7BED-4D29-B997-652C269D7914}"/>
                </a:ext>
              </a:extLst>
            </p:cNvPr>
            <p:cNvSpPr>
              <a:spLocks noChangeArrowheads="1"/>
            </p:cNvSpPr>
            <p:nvPr/>
          </p:nvSpPr>
          <p:spPr bwMode="auto">
            <a:xfrm>
              <a:off x="6249988" y="5314950"/>
              <a:ext cx="260350" cy="317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2" name="Freeform 93">
              <a:extLst>
                <a:ext uri="{FF2B5EF4-FFF2-40B4-BE49-F238E27FC236}">
                  <a16:creationId xmlns:a16="http://schemas.microsoft.com/office/drawing/2014/main" id="{788EC56E-B2CF-4480-B825-F5280C9AD99B}"/>
                </a:ext>
              </a:extLst>
            </p:cNvPr>
            <p:cNvSpPr>
              <a:spLocks/>
            </p:cNvSpPr>
            <p:nvPr/>
          </p:nvSpPr>
          <p:spPr bwMode="auto">
            <a:xfrm>
              <a:off x="6402388" y="53070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3" name="Rectangle 94">
              <a:extLst>
                <a:ext uri="{FF2B5EF4-FFF2-40B4-BE49-F238E27FC236}">
                  <a16:creationId xmlns:a16="http://schemas.microsoft.com/office/drawing/2014/main" id="{35A6752A-BE52-40EA-B90E-936288E2022B}"/>
                </a:ext>
              </a:extLst>
            </p:cNvPr>
            <p:cNvSpPr>
              <a:spLocks noChangeArrowheads="1"/>
            </p:cNvSpPr>
            <p:nvPr/>
          </p:nvSpPr>
          <p:spPr bwMode="auto">
            <a:xfrm>
              <a:off x="6249988" y="5378450"/>
              <a:ext cx="260350" cy="317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5" name="Freeform 95">
              <a:extLst>
                <a:ext uri="{FF2B5EF4-FFF2-40B4-BE49-F238E27FC236}">
                  <a16:creationId xmlns:a16="http://schemas.microsoft.com/office/drawing/2014/main" id="{81A32F6E-6FCF-4A58-A8D7-B0366F679761}"/>
                </a:ext>
              </a:extLst>
            </p:cNvPr>
            <p:cNvSpPr>
              <a:spLocks/>
            </p:cNvSpPr>
            <p:nvPr/>
          </p:nvSpPr>
          <p:spPr bwMode="auto">
            <a:xfrm>
              <a:off x="6402388" y="53705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6" name="Rectangle 96">
              <a:extLst>
                <a:ext uri="{FF2B5EF4-FFF2-40B4-BE49-F238E27FC236}">
                  <a16:creationId xmlns:a16="http://schemas.microsoft.com/office/drawing/2014/main" id="{0E6AE776-E2FA-4C78-AC1D-7E9FCB009832}"/>
                </a:ext>
              </a:extLst>
            </p:cNvPr>
            <p:cNvSpPr>
              <a:spLocks noChangeArrowheads="1"/>
            </p:cNvSpPr>
            <p:nvPr/>
          </p:nvSpPr>
          <p:spPr bwMode="auto">
            <a:xfrm>
              <a:off x="6249988" y="5440363"/>
              <a:ext cx="260350" cy="6350"/>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19" name="Freeform 97">
              <a:extLst>
                <a:ext uri="{FF2B5EF4-FFF2-40B4-BE49-F238E27FC236}">
                  <a16:creationId xmlns:a16="http://schemas.microsoft.com/office/drawing/2014/main" id="{9C528979-E89A-4C58-8390-FCA2E088F5B8}"/>
                </a:ext>
              </a:extLst>
            </p:cNvPr>
            <p:cNvSpPr>
              <a:spLocks/>
            </p:cNvSpPr>
            <p:nvPr/>
          </p:nvSpPr>
          <p:spPr bwMode="auto">
            <a:xfrm>
              <a:off x="6402388" y="5432425"/>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0" name="Oval 98">
              <a:extLst>
                <a:ext uri="{FF2B5EF4-FFF2-40B4-BE49-F238E27FC236}">
                  <a16:creationId xmlns:a16="http://schemas.microsoft.com/office/drawing/2014/main" id="{FAC188DA-F2FE-48E5-AE4B-6F087BA15E38}"/>
                </a:ext>
              </a:extLst>
            </p:cNvPr>
            <p:cNvSpPr>
              <a:spLocks noChangeArrowheads="1"/>
            </p:cNvSpPr>
            <p:nvPr/>
          </p:nvSpPr>
          <p:spPr bwMode="auto">
            <a:xfrm>
              <a:off x="6378576" y="5618163"/>
              <a:ext cx="33338" cy="33338"/>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1" name="Freeform 99">
              <a:extLst>
                <a:ext uri="{FF2B5EF4-FFF2-40B4-BE49-F238E27FC236}">
                  <a16:creationId xmlns:a16="http://schemas.microsoft.com/office/drawing/2014/main" id="{7BE395D5-A46F-4D94-ACBD-F5BE27949972}"/>
                </a:ext>
              </a:extLst>
            </p:cNvPr>
            <p:cNvSpPr>
              <a:spLocks/>
            </p:cNvSpPr>
            <p:nvPr/>
          </p:nvSpPr>
          <p:spPr bwMode="auto">
            <a:xfrm>
              <a:off x="6251576" y="5719763"/>
              <a:ext cx="287338" cy="2063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2" name="Rectangle 100">
              <a:extLst>
                <a:ext uri="{FF2B5EF4-FFF2-40B4-BE49-F238E27FC236}">
                  <a16:creationId xmlns:a16="http://schemas.microsoft.com/office/drawing/2014/main" id="{338A3F28-BB81-4EC8-A9AE-3DD31F9F3605}"/>
                </a:ext>
              </a:extLst>
            </p:cNvPr>
            <p:cNvSpPr>
              <a:spLocks noChangeArrowheads="1"/>
            </p:cNvSpPr>
            <p:nvPr/>
          </p:nvSpPr>
          <p:spPr bwMode="auto">
            <a:xfrm>
              <a:off x="6251576" y="5684838"/>
              <a:ext cx="287338" cy="34925"/>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24" name="Group 923">
            <a:extLst>
              <a:ext uri="{FF2B5EF4-FFF2-40B4-BE49-F238E27FC236}">
                <a16:creationId xmlns:a16="http://schemas.microsoft.com/office/drawing/2014/main" id="{AFD3778F-E6E7-48D2-A1DC-F4C4EADE0180}"/>
              </a:ext>
            </a:extLst>
          </p:cNvPr>
          <p:cNvGrpSpPr/>
          <p:nvPr/>
        </p:nvGrpSpPr>
        <p:grpSpPr>
          <a:xfrm>
            <a:off x="6062958" y="5055325"/>
            <a:ext cx="346153" cy="346153"/>
            <a:chOff x="1061642" y="4387215"/>
            <a:chExt cx="365760" cy="365760"/>
          </a:xfrm>
        </p:grpSpPr>
        <p:sp>
          <p:nvSpPr>
            <p:cNvPr id="1225" name="Oval 1224">
              <a:extLst>
                <a:ext uri="{FF2B5EF4-FFF2-40B4-BE49-F238E27FC236}">
                  <a16:creationId xmlns:a16="http://schemas.microsoft.com/office/drawing/2014/main" id="{C8695236-E7C9-4DB0-A00C-06F8F75DDC72}"/>
                </a:ext>
              </a:extLst>
            </p:cNvPr>
            <p:cNvSpPr/>
            <p:nvPr/>
          </p:nvSpPr>
          <p:spPr bwMode="auto">
            <a:xfrm>
              <a:off x="1061642" y="4387215"/>
              <a:ext cx="365760" cy="365760"/>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pic>
          <p:nvPicPr>
            <p:cNvPr id="1226" name="Picture 1225">
              <a:extLst>
                <a:ext uri="{FF2B5EF4-FFF2-40B4-BE49-F238E27FC236}">
                  <a16:creationId xmlns:a16="http://schemas.microsoft.com/office/drawing/2014/main" id="{33E7428C-99E6-46DF-96FC-3DFD02B5DDC3}"/>
                </a:ext>
              </a:extLst>
            </p:cNvPr>
            <p:cNvPicPr>
              <a:picLocks noChangeAspect="1"/>
            </p:cNvPicPr>
            <p:nvPr/>
          </p:nvPicPr>
          <p:blipFill>
            <a:blip r:embed="rId17">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459" y="4468080"/>
              <a:ext cx="246888" cy="246888"/>
            </a:xfrm>
            <a:prstGeom prst="rect">
              <a:avLst/>
            </a:prstGeom>
          </p:spPr>
        </p:pic>
      </p:grpSp>
      <p:grpSp>
        <p:nvGrpSpPr>
          <p:cNvPr id="1227" name="Group 1226">
            <a:extLst>
              <a:ext uri="{FF2B5EF4-FFF2-40B4-BE49-F238E27FC236}">
                <a16:creationId xmlns:a16="http://schemas.microsoft.com/office/drawing/2014/main" id="{3C90F2ED-9F49-4959-9DE9-F5CEFB3C2563}"/>
              </a:ext>
            </a:extLst>
          </p:cNvPr>
          <p:cNvGrpSpPr/>
          <p:nvPr/>
        </p:nvGrpSpPr>
        <p:grpSpPr>
          <a:xfrm>
            <a:off x="6258173" y="4491464"/>
            <a:ext cx="335108" cy="454790"/>
            <a:chOff x="6237875" y="4492313"/>
            <a:chExt cx="335108" cy="454790"/>
          </a:xfrm>
          <a:solidFill>
            <a:schemeClr val="accent2">
              <a:alpha val="60000"/>
            </a:schemeClr>
          </a:solidFill>
        </p:grpSpPr>
        <p:sp>
          <p:nvSpPr>
            <p:cNvPr id="1228" name="Freeform: Shape 1227">
              <a:extLst>
                <a:ext uri="{FF2B5EF4-FFF2-40B4-BE49-F238E27FC236}">
                  <a16:creationId xmlns:a16="http://schemas.microsoft.com/office/drawing/2014/main" id="{8FCFD922-80C8-47B1-B4E8-63E21A82073B}"/>
                </a:ext>
              </a:extLst>
            </p:cNvPr>
            <p:cNvSpPr/>
            <p:nvPr/>
          </p:nvSpPr>
          <p:spPr>
            <a:xfrm>
              <a:off x="6237875" y="4492313"/>
              <a:ext cx="335108" cy="95745"/>
            </a:xfrm>
            <a:custGeom>
              <a:avLst/>
              <a:gdLst>
                <a:gd name="connsiteX0" fmla="*/ 335108 w 335108"/>
                <a:gd name="connsiteY0" fmla="*/ 47873 h 95745"/>
                <a:gd name="connsiteX1" fmla="*/ 167554 w 335108"/>
                <a:gd name="connsiteY1" fmla="*/ 95745 h 95745"/>
                <a:gd name="connsiteX2" fmla="*/ 0 w 335108"/>
                <a:gd name="connsiteY2" fmla="*/ 47873 h 95745"/>
                <a:gd name="connsiteX3" fmla="*/ 167554 w 335108"/>
                <a:gd name="connsiteY3" fmla="*/ 0 h 95745"/>
                <a:gd name="connsiteX4" fmla="*/ 335108 w 335108"/>
                <a:gd name="connsiteY4" fmla="*/ 47873 h 95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108" h="95745">
                  <a:moveTo>
                    <a:pt x="335108" y="47873"/>
                  </a:moveTo>
                  <a:cubicBezTo>
                    <a:pt x="335108" y="74312"/>
                    <a:pt x="260092" y="95745"/>
                    <a:pt x="167554" y="95745"/>
                  </a:cubicBezTo>
                  <a:cubicBezTo>
                    <a:pt x="75016" y="95745"/>
                    <a:pt x="0" y="74312"/>
                    <a:pt x="0" y="47873"/>
                  </a:cubicBezTo>
                  <a:cubicBezTo>
                    <a:pt x="0" y="21433"/>
                    <a:pt x="75016" y="0"/>
                    <a:pt x="167554" y="0"/>
                  </a:cubicBezTo>
                  <a:cubicBezTo>
                    <a:pt x="260092" y="0"/>
                    <a:pt x="335108" y="21433"/>
                    <a:pt x="335108" y="47873"/>
                  </a:cubicBezTo>
                  <a:close/>
                </a:path>
              </a:pathLst>
            </a:custGeom>
            <a:solidFill>
              <a:schemeClr val="bg1">
                <a:lumMod val="85000"/>
              </a:schemeClr>
            </a:solidFill>
            <a:ln w="5953" cap="flat">
              <a:noFill/>
              <a:prstDash val="solid"/>
              <a:miter/>
            </a:ln>
          </p:spPr>
          <p:txBody>
            <a:bodyPr rtlCol="0" anchor="ctr"/>
            <a:lstStyle/>
            <a:p>
              <a:endParaRPr lang="en-US" dirty="0"/>
            </a:p>
          </p:txBody>
        </p:sp>
        <p:sp>
          <p:nvSpPr>
            <p:cNvPr id="1229" name="Freeform: Shape 1228">
              <a:extLst>
                <a:ext uri="{FF2B5EF4-FFF2-40B4-BE49-F238E27FC236}">
                  <a16:creationId xmlns:a16="http://schemas.microsoft.com/office/drawing/2014/main" id="{90C00DAC-55A5-4E32-B11D-4EC0CDF8DE3F}"/>
                </a:ext>
              </a:extLst>
            </p:cNvPr>
            <p:cNvSpPr/>
            <p:nvPr/>
          </p:nvSpPr>
          <p:spPr>
            <a:xfrm>
              <a:off x="6237875" y="4564122"/>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dirty="0"/>
            </a:p>
          </p:txBody>
        </p:sp>
        <p:sp>
          <p:nvSpPr>
            <p:cNvPr id="1230" name="Freeform: Shape 1229">
              <a:extLst>
                <a:ext uri="{FF2B5EF4-FFF2-40B4-BE49-F238E27FC236}">
                  <a16:creationId xmlns:a16="http://schemas.microsoft.com/office/drawing/2014/main" id="{3104DBC8-8B37-4FD2-81D2-39AD868750ED}"/>
                </a:ext>
              </a:extLst>
            </p:cNvPr>
            <p:cNvSpPr/>
            <p:nvPr/>
          </p:nvSpPr>
          <p:spPr>
            <a:xfrm>
              <a:off x="6237875" y="4683803"/>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dirty="0"/>
            </a:p>
          </p:txBody>
        </p:sp>
        <p:sp>
          <p:nvSpPr>
            <p:cNvPr id="1231" name="Freeform: Shape 1230">
              <a:extLst>
                <a:ext uri="{FF2B5EF4-FFF2-40B4-BE49-F238E27FC236}">
                  <a16:creationId xmlns:a16="http://schemas.microsoft.com/office/drawing/2014/main" id="{0AC76FF4-1273-470C-8358-4320BEF31DBC}"/>
                </a:ext>
              </a:extLst>
            </p:cNvPr>
            <p:cNvSpPr/>
            <p:nvPr/>
          </p:nvSpPr>
          <p:spPr>
            <a:xfrm>
              <a:off x="6237875" y="4803485"/>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dirty="0"/>
            </a:p>
          </p:txBody>
        </p:sp>
      </p:grpSp>
      <p:grpSp>
        <p:nvGrpSpPr>
          <p:cNvPr id="1232" name="Group 1231">
            <a:extLst>
              <a:ext uri="{FF2B5EF4-FFF2-40B4-BE49-F238E27FC236}">
                <a16:creationId xmlns:a16="http://schemas.microsoft.com/office/drawing/2014/main" id="{E84FD402-432C-4F87-B378-97AFF155A801}"/>
              </a:ext>
            </a:extLst>
          </p:cNvPr>
          <p:cNvGrpSpPr/>
          <p:nvPr/>
        </p:nvGrpSpPr>
        <p:grpSpPr>
          <a:xfrm>
            <a:off x="6062958" y="4386365"/>
            <a:ext cx="346153" cy="346153"/>
            <a:chOff x="1061642" y="4387215"/>
            <a:chExt cx="365760" cy="365760"/>
          </a:xfrm>
        </p:grpSpPr>
        <p:sp>
          <p:nvSpPr>
            <p:cNvPr id="1233" name="Oval 1232">
              <a:extLst>
                <a:ext uri="{FF2B5EF4-FFF2-40B4-BE49-F238E27FC236}">
                  <a16:creationId xmlns:a16="http://schemas.microsoft.com/office/drawing/2014/main" id="{72B0D1FA-F5A5-40D3-8F69-56B0FA869FE6}"/>
                </a:ext>
              </a:extLst>
            </p:cNvPr>
            <p:cNvSpPr/>
            <p:nvPr/>
          </p:nvSpPr>
          <p:spPr bwMode="auto">
            <a:xfrm>
              <a:off x="1061642" y="4387215"/>
              <a:ext cx="365760" cy="365760"/>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pic>
          <p:nvPicPr>
            <p:cNvPr id="1234" name="Picture 1233">
              <a:extLst>
                <a:ext uri="{FF2B5EF4-FFF2-40B4-BE49-F238E27FC236}">
                  <a16:creationId xmlns:a16="http://schemas.microsoft.com/office/drawing/2014/main" id="{76DC979E-F8E2-4455-8983-1F9651333E12}"/>
                </a:ext>
              </a:extLst>
            </p:cNvPr>
            <p:cNvPicPr>
              <a:picLocks noChangeAspect="1"/>
            </p:cNvPicPr>
            <p:nvPr/>
          </p:nvPicPr>
          <p:blipFill>
            <a:blip r:embed="rId17">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459" y="4468080"/>
              <a:ext cx="246888" cy="246888"/>
            </a:xfrm>
            <a:prstGeom prst="rect">
              <a:avLst/>
            </a:prstGeom>
          </p:spPr>
        </p:pic>
      </p:grpSp>
      <p:grpSp>
        <p:nvGrpSpPr>
          <p:cNvPr id="1235" name="Group 1234">
            <a:extLst>
              <a:ext uri="{FF2B5EF4-FFF2-40B4-BE49-F238E27FC236}">
                <a16:creationId xmlns:a16="http://schemas.microsoft.com/office/drawing/2014/main" id="{9E0D5425-06EA-47DC-B476-1C4278EA1EF2}"/>
              </a:ext>
            </a:extLst>
          </p:cNvPr>
          <p:cNvGrpSpPr/>
          <p:nvPr/>
        </p:nvGrpSpPr>
        <p:grpSpPr>
          <a:xfrm>
            <a:off x="5141486" y="4629581"/>
            <a:ext cx="416892" cy="879784"/>
            <a:chOff x="43989" y="4511543"/>
            <a:chExt cx="460376" cy="971549"/>
          </a:xfrm>
        </p:grpSpPr>
        <p:sp>
          <p:nvSpPr>
            <p:cNvPr id="1236" name="AutoShape 38">
              <a:extLst>
                <a:ext uri="{FF2B5EF4-FFF2-40B4-BE49-F238E27FC236}">
                  <a16:creationId xmlns:a16="http://schemas.microsoft.com/office/drawing/2014/main" id="{62B3FE7E-ECCF-4BE3-AAED-BBD0AB211946}"/>
                </a:ext>
              </a:extLst>
            </p:cNvPr>
            <p:cNvSpPr>
              <a:spLocks noChangeAspect="1" noChangeArrowheads="1" noTextEdit="1"/>
            </p:cNvSpPr>
            <p:nvPr/>
          </p:nvSpPr>
          <p:spPr bwMode="auto">
            <a:xfrm>
              <a:off x="45577" y="451154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7" name="Freeform 40">
              <a:extLst>
                <a:ext uri="{FF2B5EF4-FFF2-40B4-BE49-F238E27FC236}">
                  <a16:creationId xmlns:a16="http://schemas.microsoft.com/office/drawing/2014/main" id="{C942F9D8-5369-4DB8-8570-CA148C772AF0}"/>
                </a:ext>
              </a:extLst>
            </p:cNvPr>
            <p:cNvSpPr>
              <a:spLocks/>
            </p:cNvSpPr>
            <p:nvPr/>
          </p:nvSpPr>
          <p:spPr bwMode="auto">
            <a:xfrm>
              <a:off x="43989" y="451313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38" name="Rectangle 41">
              <a:extLst>
                <a:ext uri="{FF2B5EF4-FFF2-40B4-BE49-F238E27FC236}">
                  <a16:creationId xmlns:a16="http://schemas.microsoft.com/office/drawing/2014/main" id="{AC674FE9-AC11-460F-9CA7-EB33FE709C13}"/>
                </a:ext>
              </a:extLst>
            </p:cNvPr>
            <p:cNvSpPr>
              <a:spLocks noChangeArrowheads="1"/>
            </p:cNvSpPr>
            <p:nvPr/>
          </p:nvSpPr>
          <p:spPr bwMode="auto">
            <a:xfrm>
              <a:off x="61452" y="4662355"/>
              <a:ext cx="422275" cy="3175"/>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39" name="Rectangle 42">
              <a:extLst>
                <a:ext uri="{FF2B5EF4-FFF2-40B4-BE49-F238E27FC236}">
                  <a16:creationId xmlns:a16="http://schemas.microsoft.com/office/drawing/2014/main" id="{0E66BEBA-CA30-4C1E-8DCA-45F8747DB4DB}"/>
                </a:ext>
              </a:extLst>
            </p:cNvPr>
            <p:cNvSpPr>
              <a:spLocks noChangeArrowheads="1"/>
            </p:cNvSpPr>
            <p:nvPr/>
          </p:nvSpPr>
          <p:spPr bwMode="auto">
            <a:xfrm>
              <a:off x="61452" y="46004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0" name="Freeform 43">
              <a:extLst>
                <a:ext uri="{FF2B5EF4-FFF2-40B4-BE49-F238E27FC236}">
                  <a16:creationId xmlns:a16="http://schemas.microsoft.com/office/drawing/2014/main" id="{4E3A8FFF-3EE9-49B5-953F-50492B7BBB74}"/>
                </a:ext>
              </a:extLst>
            </p:cNvPr>
            <p:cNvSpPr>
              <a:spLocks/>
            </p:cNvSpPr>
            <p:nvPr/>
          </p:nvSpPr>
          <p:spPr bwMode="auto">
            <a:xfrm>
              <a:off x="364665" y="462108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1" name="Rectangle 44">
              <a:extLst>
                <a:ext uri="{FF2B5EF4-FFF2-40B4-BE49-F238E27FC236}">
                  <a16:creationId xmlns:a16="http://schemas.microsoft.com/office/drawing/2014/main" id="{12901E72-E116-4A56-8A3A-E4D390C4260B}"/>
                </a:ext>
              </a:extLst>
            </p:cNvPr>
            <p:cNvSpPr>
              <a:spLocks noChangeArrowheads="1"/>
            </p:cNvSpPr>
            <p:nvPr/>
          </p:nvSpPr>
          <p:spPr bwMode="auto">
            <a:xfrm>
              <a:off x="61452" y="47242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2" name="Rectangle 45">
              <a:extLst>
                <a:ext uri="{FF2B5EF4-FFF2-40B4-BE49-F238E27FC236}">
                  <a16:creationId xmlns:a16="http://schemas.microsoft.com/office/drawing/2014/main" id="{9F4E8AB7-B2C1-49C3-98DB-080DD93D4CE7}"/>
                </a:ext>
              </a:extLst>
            </p:cNvPr>
            <p:cNvSpPr>
              <a:spLocks noChangeArrowheads="1"/>
            </p:cNvSpPr>
            <p:nvPr/>
          </p:nvSpPr>
          <p:spPr bwMode="auto">
            <a:xfrm>
              <a:off x="61452" y="4662355"/>
              <a:ext cx="422275" cy="3175"/>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3" name="Freeform 46">
              <a:extLst>
                <a:ext uri="{FF2B5EF4-FFF2-40B4-BE49-F238E27FC236}">
                  <a16:creationId xmlns:a16="http://schemas.microsoft.com/office/drawing/2014/main" id="{C623CDC9-0671-4256-A3C3-44FC41DBDA74}"/>
                </a:ext>
              </a:extLst>
            </p:cNvPr>
            <p:cNvSpPr>
              <a:spLocks/>
            </p:cNvSpPr>
            <p:nvPr/>
          </p:nvSpPr>
          <p:spPr bwMode="auto">
            <a:xfrm>
              <a:off x="364665" y="468299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4" name="Rectangle 47">
              <a:extLst>
                <a:ext uri="{FF2B5EF4-FFF2-40B4-BE49-F238E27FC236}">
                  <a16:creationId xmlns:a16="http://schemas.microsoft.com/office/drawing/2014/main" id="{D0AAD195-38E5-4D72-8257-D53490A5C362}"/>
                </a:ext>
              </a:extLst>
            </p:cNvPr>
            <p:cNvSpPr>
              <a:spLocks noChangeArrowheads="1"/>
            </p:cNvSpPr>
            <p:nvPr/>
          </p:nvSpPr>
          <p:spPr bwMode="auto">
            <a:xfrm>
              <a:off x="61452" y="47845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5" name="Rectangle 48">
              <a:extLst>
                <a:ext uri="{FF2B5EF4-FFF2-40B4-BE49-F238E27FC236}">
                  <a16:creationId xmlns:a16="http://schemas.microsoft.com/office/drawing/2014/main" id="{DD0A8B0F-E7D1-4332-9C5D-4EE4EDC7A370}"/>
                </a:ext>
              </a:extLst>
            </p:cNvPr>
            <p:cNvSpPr>
              <a:spLocks noChangeArrowheads="1"/>
            </p:cNvSpPr>
            <p:nvPr/>
          </p:nvSpPr>
          <p:spPr bwMode="auto">
            <a:xfrm>
              <a:off x="61452" y="47242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6" name="Freeform 49">
              <a:extLst>
                <a:ext uri="{FF2B5EF4-FFF2-40B4-BE49-F238E27FC236}">
                  <a16:creationId xmlns:a16="http://schemas.microsoft.com/office/drawing/2014/main" id="{D5118CBB-0131-4865-A667-6752F6D47475}"/>
                </a:ext>
              </a:extLst>
            </p:cNvPr>
            <p:cNvSpPr>
              <a:spLocks/>
            </p:cNvSpPr>
            <p:nvPr/>
          </p:nvSpPr>
          <p:spPr bwMode="auto">
            <a:xfrm>
              <a:off x="364665" y="474490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7" name="Rectangle 50">
              <a:extLst>
                <a:ext uri="{FF2B5EF4-FFF2-40B4-BE49-F238E27FC236}">
                  <a16:creationId xmlns:a16="http://schemas.microsoft.com/office/drawing/2014/main" id="{5C753AAE-6AB1-4951-A6C3-8475C8882049}"/>
                </a:ext>
              </a:extLst>
            </p:cNvPr>
            <p:cNvSpPr>
              <a:spLocks noChangeArrowheads="1"/>
            </p:cNvSpPr>
            <p:nvPr/>
          </p:nvSpPr>
          <p:spPr bwMode="auto">
            <a:xfrm>
              <a:off x="61452" y="48480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8" name="Rectangle 51">
              <a:extLst>
                <a:ext uri="{FF2B5EF4-FFF2-40B4-BE49-F238E27FC236}">
                  <a16:creationId xmlns:a16="http://schemas.microsoft.com/office/drawing/2014/main" id="{43F253CF-E90E-4571-B307-12CEBABC6A2E}"/>
                </a:ext>
              </a:extLst>
            </p:cNvPr>
            <p:cNvSpPr>
              <a:spLocks noChangeArrowheads="1"/>
            </p:cNvSpPr>
            <p:nvPr/>
          </p:nvSpPr>
          <p:spPr bwMode="auto">
            <a:xfrm>
              <a:off x="61452" y="47845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9" name="Freeform 52">
              <a:extLst>
                <a:ext uri="{FF2B5EF4-FFF2-40B4-BE49-F238E27FC236}">
                  <a16:creationId xmlns:a16="http://schemas.microsoft.com/office/drawing/2014/main" id="{D1877AA3-D5B6-4033-9308-76F29C022D59}"/>
                </a:ext>
              </a:extLst>
            </p:cNvPr>
            <p:cNvSpPr>
              <a:spLocks/>
            </p:cNvSpPr>
            <p:nvPr/>
          </p:nvSpPr>
          <p:spPr bwMode="auto">
            <a:xfrm>
              <a:off x="364665" y="480681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0" name="Rectangle 53">
              <a:extLst>
                <a:ext uri="{FF2B5EF4-FFF2-40B4-BE49-F238E27FC236}">
                  <a16:creationId xmlns:a16="http://schemas.microsoft.com/office/drawing/2014/main" id="{3F64AC5B-7123-425D-94BE-5803EC7CF7FA}"/>
                </a:ext>
              </a:extLst>
            </p:cNvPr>
            <p:cNvSpPr>
              <a:spLocks noChangeArrowheads="1"/>
            </p:cNvSpPr>
            <p:nvPr/>
          </p:nvSpPr>
          <p:spPr bwMode="auto">
            <a:xfrm>
              <a:off x="61452" y="49084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1" name="Rectangle 54">
              <a:extLst>
                <a:ext uri="{FF2B5EF4-FFF2-40B4-BE49-F238E27FC236}">
                  <a16:creationId xmlns:a16="http://schemas.microsoft.com/office/drawing/2014/main" id="{4082A444-0449-4323-A2F8-EA9C49B088B4}"/>
                </a:ext>
              </a:extLst>
            </p:cNvPr>
            <p:cNvSpPr>
              <a:spLocks noChangeArrowheads="1"/>
            </p:cNvSpPr>
            <p:nvPr/>
          </p:nvSpPr>
          <p:spPr bwMode="auto">
            <a:xfrm>
              <a:off x="61452" y="48480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2" name="Freeform 55">
              <a:extLst>
                <a:ext uri="{FF2B5EF4-FFF2-40B4-BE49-F238E27FC236}">
                  <a16:creationId xmlns:a16="http://schemas.microsoft.com/office/drawing/2014/main" id="{3897B630-AC44-4128-990E-6733E389B35D}"/>
                </a:ext>
              </a:extLst>
            </p:cNvPr>
            <p:cNvSpPr>
              <a:spLocks/>
            </p:cNvSpPr>
            <p:nvPr/>
          </p:nvSpPr>
          <p:spPr bwMode="auto">
            <a:xfrm>
              <a:off x="364665" y="486873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3" name="Rectangle 56">
              <a:extLst>
                <a:ext uri="{FF2B5EF4-FFF2-40B4-BE49-F238E27FC236}">
                  <a16:creationId xmlns:a16="http://schemas.microsoft.com/office/drawing/2014/main" id="{544ECCF0-B3EC-4AAC-8059-C1F5341D878D}"/>
                </a:ext>
              </a:extLst>
            </p:cNvPr>
            <p:cNvSpPr>
              <a:spLocks noChangeArrowheads="1"/>
            </p:cNvSpPr>
            <p:nvPr/>
          </p:nvSpPr>
          <p:spPr bwMode="auto">
            <a:xfrm>
              <a:off x="61452" y="49719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4" name="Rectangle 57">
              <a:extLst>
                <a:ext uri="{FF2B5EF4-FFF2-40B4-BE49-F238E27FC236}">
                  <a16:creationId xmlns:a16="http://schemas.microsoft.com/office/drawing/2014/main" id="{6C1EC2EA-F342-4855-8240-4B8118150285}"/>
                </a:ext>
              </a:extLst>
            </p:cNvPr>
            <p:cNvSpPr>
              <a:spLocks noChangeArrowheads="1"/>
            </p:cNvSpPr>
            <p:nvPr/>
          </p:nvSpPr>
          <p:spPr bwMode="auto">
            <a:xfrm>
              <a:off x="61452" y="49084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5" name="Freeform 58">
              <a:extLst>
                <a:ext uri="{FF2B5EF4-FFF2-40B4-BE49-F238E27FC236}">
                  <a16:creationId xmlns:a16="http://schemas.microsoft.com/office/drawing/2014/main" id="{5F710ED0-72B4-43CF-A043-0C0968D957E2}"/>
                </a:ext>
              </a:extLst>
            </p:cNvPr>
            <p:cNvSpPr>
              <a:spLocks/>
            </p:cNvSpPr>
            <p:nvPr/>
          </p:nvSpPr>
          <p:spPr bwMode="auto">
            <a:xfrm>
              <a:off x="364665" y="493064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6" name="Rectangle 59">
              <a:extLst>
                <a:ext uri="{FF2B5EF4-FFF2-40B4-BE49-F238E27FC236}">
                  <a16:creationId xmlns:a16="http://schemas.microsoft.com/office/drawing/2014/main" id="{50054970-6A17-4BB1-B7B2-178338E3D07E}"/>
                </a:ext>
              </a:extLst>
            </p:cNvPr>
            <p:cNvSpPr>
              <a:spLocks noChangeArrowheads="1"/>
            </p:cNvSpPr>
            <p:nvPr/>
          </p:nvSpPr>
          <p:spPr bwMode="auto">
            <a:xfrm>
              <a:off x="61452" y="50322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7" name="Rectangle 60">
              <a:extLst>
                <a:ext uri="{FF2B5EF4-FFF2-40B4-BE49-F238E27FC236}">
                  <a16:creationId xmlns:a16="http://schemas.microsoft.com/office/drawing/2014/main" id="{DA7AB2EA-569C-47E7-8472-46F415ADE973}"/>
                </a:ext>
              </a:extLst>
            </p:cNvPr>
            <p:cNvSpPr>
              <a:spLocks noChangeArrowheads="1"/>
            </p:cNvSpPr>
            <p:nvPr/>
          </p:nvSpPr>
          <p:spPr bwMode="auto">
            <a:xfrm>
              <a:off x="61452" y="49719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8" name="Freeform 61">
              <a:extLst>
                <a:ext uri="{FF2B5EF4-FFF2-40B4-BE49-F238E27FC236}">
                  <a16:creationId xmlns:a16="http://schemas.microsoft.com/office/drawing/2014/main" id="{CA7A4351-F463-4AA1-9F86-38885E9268A9}"/>
                </a:ext>
              </a:extLst>
            </p:cNvPr>
            <p:cNvSpPr>
              <a:spLocks/>
            </p:cNvSpPr>
            <p:nvPr/>
          </p:nvSpPr>
          <p:spPr bwMode="auto">
            <a:xfrm>
              <a:off x="364665" y="499255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9" name="Rectangle 62">
              <a:extLst>
                <a:ext uri="{FF2B5EF4-FFF2-40B4-BE49-F238E27FC236}">
                  <a16:creationId xmlns:a16="http://schemas.microsoft.com/office/drawing/2014/main" id="{1E35BF5A-4F75-41C5-93DC-8F8E9AEF5BB1}"/>
                </a:ext>
              </a:extLst>
            </p:cNvPr>
            <p:cNvSpPr>
              <a:spLocks noChangeArrowheads="1"/>
            </p:cNvSpPr>
            <p:nvPr/>
          </p:nvSpPr>
          <p:spPr bwMode="auto">
            <a:xfrm>
              <a:off x="61452" y="50957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79" name="Rectangle 63">
              <a:extLst>
                <a:ext uri="{FF2B5EF4-FFF2-40B4-BE49-F238E27FC236}">
                  <a16:creationId xmlns:a16="http://schemas.microsoft.com/office/drawing/2014/main" id="{E0D583F0-32A4-484F-BBEC-851AE8B69F43}"/>
                </a:ext>
              </a:extLst>
            </p:cNvPr>
            <p:cNvSpPr>
              <a:spLocks noChangeArrowheads="1"/>
            </p:cNvSpPr>
            <p:nvPr/>
          </p:nvSpPr>
          <p:spPr bwMode="auto">
            <a:xfrm>
              <a:off x="61452" y="50322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0" name="Freeform 64">
              <a:extLst>
                <a:ext uri="{FF2B5EF4-FFF2-40B4-BE49-F238E27FC236}">
                  <a16:creationId xmlns:a16="http://schemas.microsoft.com/office/drawing/2014/main" id="{7702ED71-FE92-476E-86E7-36303A8BBEA5}"/>
                </a:ext>
              </a:extLst>
            </p:cNvPr>
            <p:cNvSpPr>
              <a:spLocks/>
            </p:cNvSpPr>
            <p:nvPr/>
          </p:nvSpPr>
          <p:spPr bwMode="auto">
            <a:xfrm>
              <a:off x="364665" y="505446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1" name="Rectangle 65">
              <a:extLst>
                <a:ext uri="{FF2B5EF4-FFF2-40B4-BE49-F238E27FC236}">
                  <a16:creationId xmlns:a16="http://schemas.microsoft.com/office/drawing/2014/main" id="{A28C2D84-B875-46AC-A9B6-D9EDC1E8BF40}"/>
                </a:ext>
              </a:extLst>
            </p:cNvPr>
            <p:cNvSpPr>
              <a:spLocks noChangeArrowheads="1"/>
            </p:cNvSpPr>
            <p:nvPr/>
          </p:nvSpPr>
          <p:spPr bwMode="auto">
            <a:xfrm>
              <a:off x="61452" y="51560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2" name="Rectangle 66">
              <a:extLst>
                <a:ext uri="{FF2B5EF4-FFF2-40B4-BE49-F238E27FC236}">
                  <a16:creationId xmlns:a16="http://schemas.microsoft.com/office/drawing/2014/main" id="{4D0C3E31-5DF1-402E-AAB1-683E24ABF80D}"/>
                </a:ext>
              </a:extLst>
            </p:cNvPr>
            <p:cNvSpPr>
              <a:spLocks noChangeArrowheads="1"/>
            </p:cNvSpPr>
            <p:nvPr/>
          </p:nvSpPr>
          <p:spPr bwMode="auto">
            <a:xfrm>
              <a:off x="61452" y="50957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3" name="Freeform 67">
              <a:extLst>
                <a:ext uri="{FF2B5EF4-FFF2-40B4-BE49-F238E27FC236}">
                  <a16:creationId xmlns:a16="http://schemas.microsoft.com/office/drawing/2014/main" id="{77F7D6E3-ED64-4EFD-90E7-0569BB308FB0}"/>
                </a:ext>
              </a:extLst>
            </p:cNvPr>
            <p:cNvSpPr>
              <a:spLocks/>
            </p:cNvSpPr>
            <p:nvPr/>
          </p:nvSpPr>
          <p:spPr bwMode="auto">
            <a:xfrm>
              <a:off x="364665" y="511638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4" name="Freeform 68">
              <a:extLst>
                <a:ext uri="{FF2B5EF4-FFF2-40B4-BE49-F238E27FC236}">
                  <a16:creationId xmlns:a16="http://schemas.microsoft.com/office/drawing/2014/main" id="{9A2F927D-213E-4A3D-8060-A5EDF501DBD5}"/>
                </a:ext>
              </a:extLst>
            </p:cNvPr>
            <p:cNvSpPr>
              <a:spLocks noEditPoints="1"/>
            </p:cNvSpPr>
            <p:nvPr/>
          </p:nvSpPr>
          <p:spPr bwMode="auto">
            <a:xfrm>
              <a:off x="56690" y="460044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5" name="Freeform 69">
              <a:extLst>
                <a:ext uri="{FF2B5EF4-FFF2-40B4-BE49-F238E27FC236}">
                  <a16:creationId xmlns:a16="http://schemas.microsoft.com/office/drawing/2014/main" id="{0C2066F3-225A-4D1C-A02E-4B4D2E8D4F09}"/>
                </a:ext>
              </a:extLst>
            </p:cNvPr>
            <p:cNvSpPr>
              <a:spLocks/>
            </p:cNvSpPr>
            <p:nvPr/>
          </p:nvSpPr>
          <p:spPr bwMode="auto">
            <a:xfrm>
              <a:off x="56690" y="457504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6" name="Freeform 70">
              <a:extLst>
                <a:ext uri="{FF2B5EF4-FFF2-40B4-BE49-F238E27FC236}">
                  <a16:creationId xmlns:a16="http://schemas.microsoft.com/office/drawing/2014/main" id="{1ECE6E1B-F519-4FA9-B5DE-B2E6537DD69B}"/>
                </a:ext>
              </a:extLst>
            </p:cNvPr>
            <p:cNvSpPr>
              <a:spLocks/>
            </p:cNvSpPr>
            <p:nvPr/>
          </p:nvSpPr>
          <p:spPr bwMode="auto">
            <a:xfrm>
              <a:off x="56690" y="45607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7" name="Freeform 71">
              <a:extLst>
                <a:ext uri="{FF2B5EF4-FFF2-40B4-BE49-F238E27FC236}">
                  <a16:creationId xmlns:a16="http://schemas.microsoft.com/office/drawing/2014/main" id="{FF639E37-C818-41C3-91F1-E6BC6CCAC86F}"/>
                </a:ext>
              </a:extLst>
            </p:cNvPr>
            <p:cNvSpPr>
              <a:spLocks/>
            </p:cNvSpPr>
            <p:nvPr/>
          </p:nvSpPr>
          <p:spPr bwMode="auto">
            <a:xfrm>
              <a:off x="56690" y="45480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8" name="Freeform 72">
              <a:extLst>
                <a:ext uri="{FF2B5EF4-FFF2-40B4-BE49-F238E27FC236}">
                  <a16:creationId xmlns:a16="http://schemas.microsoft.com/office/drawing/2014/main" id="{E757CFE5-A3EA-494F-9764-817DA2BBF4ED}"/>
                </a:ext>
              </a:extLst>
            </p:cNvPr>
            <p:cNvSpPr>
              <a:spLocks/>
            </p:cNvSpPr>
            <p:nvPr/>
          </p:nvSpPr>
          <p:spPr bwMode="auto">
            <a:xfrm>
              <a:off x="56690" y="45353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9" name="Freeform 73">
              <a:extLst>
                <a:ext uri="{FF2B5EF4-FFF2-40B4-BE49-F238E27FC236}">
                  <a16:creationId xmlns:a16="http://schemas.microsoft.com/office/drawing/2014/main" id="{DF9E3899-DB38-4AED-8751-005DD8CC131F}"/>
                </a:ext>
              </a:extLst>
            </p:cNvPr>
            <p:cNvSpPr>
              <a:spLocks/>
            </p:cNvSpPr>
            <p:nvPr/>
          </p:nvSpPr>
          <p:spPr bwMode="auto">
            <a:xfrm>
              <a:off x="340852" y="457504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0" name="Freeform 74">
              <a:extLst>
                <a:ext uri="{FF2B5EF4-FFF2-40B4-BE49-F238E27FC236}">
                  <a16:creationId xmlns:a16="http://schemas.microsoft.com/office/drawing/2014/main" id="{2176A9C1-A8B3-47BE-81A1-D05B1CF70458}"/>
                </a:ext>
              </a:extLst>
            </p:cNvPr>
            <p:cNvSpPr>
              <a:spLocks/>
            </p:cNvSpPr>
            <p:nvPr/>
          </p:nvSpPr>
          <p:spPr bwMode="auto">
            <a:xfrm>
              <a:off x="340852" y="45607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1" name="Freeform 75">
              <a:extLst>
                <a:ext uri="{FF2B5EF4-FFF2-40B4-BE49-F238E27FC236}">
                  <a16:creationId xmlns:a16="http://schemas.microsoft.com/office/drawing/2014/main" id="{A6738BBE-FAEA-4505-ACB6-FE4F8103A775}"/>
                </a:ext>
              </a:extLst>
            </p:cNvPr>
            <p:cNvSpPr>
              <a:spLocks/>
            </p:cNvSpPr>
            <p:nvPr/>
          </p:nvSpPr>
          <p:spPr bwMode="auto">
            <a:xfrm>
              <a:off x="340852" y="45480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2" name="Freeform 76">
              <a:extLst>
                <a:ext uri="{FF2B5EF4-FFF2-40B4-BE49-F238E27FC236}">
                  <a16:creationId xmlns:a16="http://schemas.microsoft.com/office/drawing/2014/main" id="{8D776789-3362-4CC5-9039-F0F8144FE005}"/>
                </a:ext>
              </a:extLst>
            </p:cNvPr>
            <p:cNvSpPr>
              <a:spLocks/>
            </p:cNvSpPr>
            <p:nvPr/>
          </p:nvSpPr>
          <p:spPr bwMode="auto">
            <a:xfrm>
              <a:off x="340852" y="45353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3" name="Rectangle 77">
              <a:extLst>
                <a:ext uri="{FF2B5EF4-FFF2-40B4-BE49-F238E27FC236}">
                  <a16:creationId xmlns:a16="http://schemas.microsoft.com/office/drawing/2014/main" id="{DDA32813-62BE-470A-887C-CA70C0C927DF}"/>
                </a:ext>
              </a:extLst>
            </p:cNvPr>
            <p:cNvSpPr>
              <a:spLocks noChangeArrowheads="1"/>
            </p:cNvSpPr>
            <p:nvPr/>
          </p:nvSpPr>
          <p:spPr bwMode="auto">
            <a:xfrm>
              <a:off x="61452" y="5202105"/>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4" name="Freeform 78">
              <a:extLst>
                <a:ext uri="{FF2B5EF4-FFF2-40B4-BE49-F238E27FC236}">
                  <a16:creationId xmlns:a16="http://schemas.microsoft.com/office/drawing/2014/main" id="{65535655-EDF2-4143-9DCB-D795D4110E61}"/>
                </a:ext>
              </a:extLst>
            </p:cNvPr>
            <p:cNvSpPr>
              <a:spLocks/>
            </p:cNvSpPr>
            <p:nvPr/>
          </p:nvSpPr>
          <p:spPr bwMode="auto">
            <a:xfrm>
              <a:off x="191627" y="519099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5" name="Rectangle 79">
              <a:extLst>
                <a:ext uri="{FF2B5EF4-FFF2-40B4-BE49-F238E27FC236}">
                  <a16:creationId xmlns:a16="http://schemas.microsoft.com/office/drawing/2014/main" id="{18DF7C6B-5409-4ACB-ADBD-2BAA7E19FA52}"/>
                </a:ext>
              </a:extLst>
            </p:cNvPr>
            <p:cNvSpPr>
              <a:spLocks noChangeArrowheads="1"/>
            </p:cNvSpPr>
            <p:nvPr/>
          </p:nvSpPr>
          <p:spPr bwMode="auto">
            <a:xfrm>
              <a:off x="61452" y="5265605"/>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6" name="Freeform 80">
              <a:extLst>
                <a:ext uri="{FF2B5EF4-FFF2-40B4-BE49-F238E27FC236}">
                  <a16:creationId xmlns:a16="http://schemas.microsoft.com/office/drawing/2014/main" id="{5B66333A-E4B7-4C14-950D-3A7125A94CF0}"/>
                </a:ext>
              </a:extLst>
            </p:cNvPr>
            <p:cNvSpPr>
              <a:spLocks/>
            </p:cNvSpPr>
            <p:nvPr/>
          </p:nvSpPr>
          <p:spPr bwMode="auto">
            <a:xfrm>
              <a:off x="191627" y="525449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7" name="Rectangle 81">
              <a:extLst>
                <a:ext uri="{FF2B5EF4-FFF2-40B4-BE49-F238E27FC236}">
                  <a16:creationId xmlns:a16="http://schemas.microsoft.com/office/drawing/2014/main" id="{12B6CFE8-C14A-45D4-A549-88103236508D}"/>
                </a:ext>
              </a:extLst>
            </p:cNvPr>
            <p:cNvSpPr>
              <a:spLocks noChangeArrowheads="1"/>
            </p:cNvSpPr>
            <p:nvPr/>
          </p:nvSpPr>
          <p:spPr bwMode="auto">
            <a:xfrm>
              <a:off x="61452" y="53306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8" name="Freeform 82">
              <a:extLst>
                <a:ext uri="{FF2B5EF4-FFF2-40B4-BE49-F238E27FC236}">
                  <a16:creationId xmlns:a16="http://schemas.microsoft.com/office/drawing/2014/main" id="{6D911B8D-A41C-41F4-BFBA-2F5FE910BEED}"/>
                </a:ext>
              </a:extLst>
            </p:cNvPr>
            <p:cNvSpPr>
              <a:spLocks/>
            </p:cNvSpPr>
            <p:nvPr/>
          </p:nvSpPr>
          <p:spPr bwMode="auto">
            <a:xfrm>
              <a:off x="191627" y="531958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9" name="Rectangle 83">
              <a:extLst>
                <a:ext uri="{FF2B5EF4-FFF2-40B4-BE49-F238E27FC236}">
                  <a16:creationId xmlns:a16="http://schemas.microsoft.com/office/drawing/2014/main" id="{EC61A7A4-09C4-4E82-86BC-BE302FF44712}"/>
                </a:ext>
              </a:extLst>
            </p:cNvPr>
            <p:cNvSpPr>
              <a:spLocks noChangeArrowheads="1"/>
            </p:cNvSpPr>
            <p:nvPr/>
          </p:nvSpPr>
          <p:spPr bwMode="auto">
            <a:xfrm>
              <a:off x="61452" y="53941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00" name="Freeform 84">
              <a:extLst>
                <a:ext uri="{FF2B5EF4-FFF2-40B4-BE49-F238E27FC236}">
                  <a16:creationId xmlns:a16="http://schemas.microsoft.com/office/drawing/2014/main" id="{06D91040-0DD4-4317-B57D-49383184589A}"/>
                </a:ext>
              </a:extLst>
            </p:cNvPr>
            <p:cNvSpPr>
              <a:spLocks/>
            </p:cNvSpPr>
            <p:nvPr/>
          </p:nvSpPr>
          <p:spPr bwMode="auto">
            <a:xfrm>
              <a:off x="191627" y="538308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302" name="Oval 1301">
            <a:extLst>
              <a:ext uri="{FF2B5EF4-FFF2-40B4-BE49-F238E27FC236}">
                <a16:creationId xmlns:a16="http://schemas.microsoft.com/office/drawing/2014/main" id="{31FEF918-C48D-4247-AA6E-C97B454A1B8D}"/>
              </a:ext>
            </a:extLst>
          </p:cNvPr>
          <p:cNvSpPr/>
          <p:nvPr/>
        </p:nvSpPr>
        <p:spPr bwMode="auto">
          <a:xfrm>
            <a:off x="4713149" y="4410099"/>
            <a:ext cx="676726" cy="676726"/>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noAutofit/>
          </a:bodyPr>
          <a:lstStyle/>
          <a:p>
            <a:pPr algn="ctr"/>
            <a:endParaRPr lang="en-US" sz="2800" b="1" dirty="0">
              <a:solidFill>
                <a:schemeClr val="tx2"/>
              </a:solidFill>
            </a:endParaRPr>
          </a:p>
        </p:txBody>
      </p:sp>
      <p:sp>
        <p:nvSpPr>
          <p:cNvPr id="1303" name="Oval 1302">
            <a:extLst>
              <a:ext uri="{FF2B5EF4-FFF2-40B4-BE49-F238E27FC236}">
                <a16:creationId xmlns:a16="http://schemas.microsoft.com/office/drawing/2014/main" id="{1B7D499A-8218-4306-BBE8-3D25121BF692}"/>
              </a:ext>
            </a:extLst>
          </p:cNvPr>
          <p:cNvSpPr/>
          <p:nvPr/>
        </p:nvSpPr>
        <p:spPr bwMode="auto">
          <a:xfrm>
            <a:off x="4675971" y="4372921"/>
            <a:ext cx="751082" cy="751082"/>
          </a:xfrm>
          <a:prstGeom prst="ellipse">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ArchUp">
              <a:avLst>
                <a:gd name="adj" fmla="val 8893503"/>
              </a:avLst>
            </a:prstTxWarp>
            <a:noAutofit/>
          </a:bodyPr>
          <a:lstStyle/>
          <a:p>
            <a:pPr algn="ctr"/>
            <a:r>
              <a:rPr lang="en-US" sz="800" b="1" dirty="0">
                <a:solidFill>
                  <a:schemeClr val="tx2"/>
                </a:solidFill>
              </a:rPr>
              <a:t>WINDOWS SERVER LICENSE</a:t>
            </a:r>
            <a:endParaRPr lang="en-US" sz="2800" b="1" dirty="0">
              <a:solidFill>
                <a:schemeClr val="tx2"/>
              </a:solidFill>
            </a:endParaRPr>
          </a:p>
        </p:txBody>
      </p:sp>
      <p:pic>
        <p:nvPicPr>
          <p:cNvPr id="1307" name="Picture 1306">
            <a:extLst>
              <a:ext uri="{FF2B5EF4-FFF2-40B4-BE49-F238E27FC236}">
                <a16:creationId xmlns:a16="http://schemas.microsoft.com/office/drawing/2014/main" id="{BFB619DB-FE44-44CD-A821-E86857AC3B45}"/>
              </a:ext>
            </a:extLst>
          </p:cNvPr>
          <p:cNvPicPr>
            <a:picLocks noChangeAspect="1"/>
          </p:cNvPicPr>
          <p:nvPr/>
        </p:nvPicPr>
        <p:blipFill>
          <a:blip r:embed="rId17">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866179" y="4612511"/>
            <a:ext cx="372668" cy="392027"/>
          </a:xfrm>
          <a:prstGeom prst="rect">
            <a:avLst/>
          </a:prstGeom>
        </p:spPr>
      </p:pic>
      <p:sp>
        <p:nvSpPr>
          <p:cNvPr id="1301" name="Graphic 50">
            <a:extLst>
              <a:ext uri="{FF2B5EF4-FFF2-40B4-BE49-F238E27FC236}">
                <a16:creationId xmlns:a16="http://schemas.microsoft.com/office/drawing/2014/main" id="{DE14A4BD-E7CE-4B46-9810-B2E0D31D57EA}"/>
              </a:ext>
            </a:extLst>
          </p:cNvPr>
          <p:cNvSpPr/>
          <p:nvPr/>
        </p:nvSpPr>
        <p:spPr>
          <a:xfrm>
            <a:off x="4568441" y="4247731"/>
            <a:ext cx="973976" cy="1018205"/>
          </a:xfrm>
          <a:prstGeom prst="mathMultiply">
            <a:avLst>
              <a:gd name="adj1" fmla="val 6238"/>
            </a:avLst>
          </a:prstGeom>
          <a:solidFill>
            <a:srgbClr val="FF0000"/>
          </a:solidFill>
          <a:ln w="29766" cap="flat">
            <a:noFill/>
            <a:prstDash val="solid"/>
            <a:miter/>
          </a:ln>
        </p:spPr>
        <p:txBody>
          <a:bodyPr rtlCol="0" anchor="ctr"/>
          <a:lstStyle/>
          <a:p>
            <a:endParaRPr lang="en-US" dirty="0"/>
          </a:p>
        </p:txBody>
      </p:sp>
      <p:grpSp>
        <p:nvGrpSpPr>
          <p:cNvPr id="1305" name="Group 1304">
            <a:extLst>
              <a:ext uri="{FF2B5EF4-FFF2-40B4-BE49-F238E27FC236}">
                <a16:creationId xmlns:a16="http://schemas.microsoft.com/office/drawing/2014/main" id="{69B2928A-E894-4B4E-8FD8-484ADEE91B58}"/>
              </a:ext>
            </a:extLst>
          </p:cNvPr>
          <p:cNvGrpSpPr/>
          <p:nvPr/>
        </p:nvGrpSpPr>
        <p:grpSpPr>
          <a:xfrm>
            <a:off x="4048759" y="2550635"/>
            <a:ext cx="401322" cy="3292123"/>
            <a:chOff x="4048759" y="2770559"/>
            <a:chExt cx="401322" cy="3292123"/>
          </a:xfrm>
        </p:grpSpPr>
        <p:cxnSp>
          <p:nvCxnSpPr>
            <p:cNvPr id="1306" name="Straight Connector 1305">
              <a:extLst>
                <a:ext uri="{FF2B5EF4-FFF2-40B4-BE49-F238E27FC236}">
                  <a16:creationId xmlns:a16="http://schemas.microsoft.com/office/drawing/2014/main" id="{A00B7656-5CF6-443D-B73A-356FD44E1651}"/>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308" name="Group 1307">
              <a:extLst>
                <a:ext uri="{FF2B5EF4-FFF2-40B4-BE49-F238E27FC236}">
                  <a16:creationId xmlns:a16="http://schemas.microsoft.com/office/drawing/2014/main" id="{CEFA9248-CCE5-400E-A4BB-7AB815907D5A}"/>
                </a:ext>
              </a:extLst>
            </p:cNvPr>
            <p:cNvGrpSpPr/>
            <p:nvPr/>
          </p:nvGrpSpPr>
          <p:grpSpPr>
            <a:xfrm>
              <a:off x="4048759" y="4250939"/>
              <a:ext cx="401322" cy="401322"/>
              <a:chOff x="4048759" y="4228862"/>
              <a:chExt cx="401322" cy="401322"/>
            </a:xfrm>
          </p:grpSpPr>
          <p:sp>
            <p:nvSpPr>
              <p:cNvPr id="1310" name="Oval 1309">
                <a:extLst>
                  <a:ext uri="{FF2B5EF4-FFF2-40B4-BE49-F238E27FC236}">
                    <a16:creationId xmlns:a16="http://schemas.microsoft.com/office/drawing/2014/main" id="{2F0512ED-8D1D-4225-BF86-0589BBA60AC3}"/>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57" name="Isosceles Triangle 1356">
                <a:extLst>
                  <a:ext uri="{FF2B5EF4-FFF2-40B4-BE49-F238E27FC236}">
                    <a16:creationId xmlns:a16="http://schemas.microsoft.com/office/drawing/2014/main" id="{7CF30FE9-276D-459B-BF4B-D20242382FF3}"/>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358" name="Arrow: Right 1357">
            <a:extLst>
              <a:ext uri="{FF2B5EF4-FFF2-40B4-BE49-F238E27FC236}">
                <a16:creationId xmlns:a16="http://schemas.microsoft.com/office/drawing/2014/main" id="{4AB94549-9B67-4AAF-8BFA-DD3874056082}"/>
              </a:ext>
            </a:extLst>
          </p:cNvPr>
          <p:cNvSpPr/>
          <p:nvPr/>
        </p:nvSpPr>
        <p:spPr bwMode="auto">
          <a:xfrm>
            <a:off x="7954902" y="4004456"/>
            <a:ext cx="307135" cy="352067"/>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67" name="Chart 966">
            <a:extLst>
              <a:ext uri="{FF2B5EF4-FFF2-40B4-BE49-F238E27FC236}">
                <a16:creationId xmlns:a16="http://schemas.microsoft.com/office/drawing/2014/main" id="{8AD200C5-D59D-4508-97D0-F53057E59C94}"/>
              </a:ext>
            </a:extLst>
          </p:cNvPr>
          <p:cNvGraphicFramePr/>
          <p:nvPr>
            <p:custDataLst>
              <p:tags r:id="rId4"/>
            </p:custDataLst>
          </p:nvPr>
        </p:nvGraphicFramePr>
        <p:xfrm>
          <a:off x="8380413" y="3408363"/>
          <a:ext cx="3175000" cy="1541462"/>
        </p:xfrm>
        <a:graphic>
          <a:graphicData uri="http://schemas.openxmlformats.org/drawingml/2006/chart">
            <c:chart xmlns:c="http://schemas.openxmlformats.org/drawingml/2006/chart" xmlns:r="http://schemas.openxmlformats.org/officeDocument/2006/relationships" r:id="rId18"/>
          </a:graphicData>
        </a:graphic>
      </p:graphicFrame>
      <p:cxnSp>
        <p:nvCxnSpPr>
          <p:cNvPr id="8" name="Straight Connector 7">
            <a:extLst>
              <a:ext uri="{FF2B5EF4-FFF2-40B4-BE49-F238E27FC236}">
                <a16:creationId xmlns:a16="http://schemas.microsoft.com/office/drawing/2014/main" id="{89AE1BDB-2DEE-482C-8343-98AEE2544EDE}"/>
              </a:ext>
            </a:extLst>
          </p:cNvPr>
          <p:cNvCxnSpPr/>
          <p:nvPr>
            <p:custDataLst>
              <p:tags r:id="rId5"/>
            </p:custDataLst>
          </p:nvPr>
        </p:nvCxnSpPr>
        <p:spPr bwMode="gray">
          <a:xfrm>
            <a:off x="9213850" y="3168650"/>
            <a:ext cx="1504950"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31EF85-D9BE-466D-BF91-329AF9AB2306}"/>
              </a:ext>
            </a:extLst>
          </p:cNvPr>
          <p:cNvCxnSpPr/>
          <p:nvPr>
            <p:custDataLst>
              <p:tags r:id="rId6"/>
            </p:custDataLst>
          </p:nvPr>
        </p:nvCxnSpPr>
        <p:spPr bwMode="gray">
          <a:xfrm flipV="1">
            <a:off x="9213850" y="3168650"/>
            <a:ext cx="0" cy="7620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B74F17F-0381-4564-BFBB-6646DD480A66}"/>
              </a:ext>
            </a:extLst>
          </p:cNvPr>
          <p:cNvCxnSpPr/>
          <p:nvPr>
            <p:custDataLst>
              <p:tags r:id="rId7"/>
            </p:custDataLst>
          </p:nvPr>
        </p:nvCxnSpPr>
        <p:spPr bwMode="gray">
          <a:xfrm>
            <a:off x="10718800" y="3168650"/>
            <a:ext cx="0" cy="969963"/>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804" name="Text Placeholder 3">
            <a:extLst>
              <a:ext uri="{FF2B5EF4-FFF2-40B4-BE49-F238E27FC236}">
                <a16:creationId xmlns:a16="http://schemas.microsoft.com/office/drawing/2014/main" id="{6BA6378D-7257-4B14-9F48-B28F34D86A6B}"/>
              </a:ext>
            </a:extLst>
          </p:cNvPr>
          <p:cNvSpPr>
            <a:spLocks noGrp="1"/>
          </p:cNvSpPr>
          <p:nvPr>
            <p:custDataLst>
              <p:tags r:id="rId8"/>
            </p:custDataLst>
          </p:nvPr>
        </p:nvSpPr>
        <p:spPr bwMode="auto">
          <a:xfrm>
            <a:off x="8666163" y="4968875"/>
            <a:ext cx="1095375"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7D03B76-8BC7-4ADB-AA54-611E5759560C}" type="datetime'Wind''ows'''''''''' Serve''r VM on''''''-pre''''''''''m'''''''">
              <a:rPr lang="en-US" altLang="en-US" sz="1200" smtClean="0">
                <a:solidFill>
                  <a:schemeClr val="tx1"/>
                </a:solidFill>
                <a:cs typeface="+mn-cs"/>
                <a:sym typeface="+mn-lt"/>
              </a:rPr>
              <a:pPr/>
              <a:t>Windows Server VM on-prem</a:t>
            </a:fld>
            <a:endParaRPr lang="en-US" sz="1200" dirty="0">
              <a:solidFill>
                <a:schemeClr val="tx1"/>
              </a:solidFill>
              <a:cs typeface="+mn-cs"/>
              <a:sym typeface="+mn-lt"/>
            </a:endParaRPr>
          </a:p>
        </p:txBody>
      </p:sp>
      <p:sp>
        <p:nvSpPr>
          <p:cNvPr id="1267" name="Text Placeholder 3">
            <a:extLst>
              <a:ext uri="{FF2B5EF4-FFF2-40B4-BE49-F238E27FC236}">
                <a16:creationId xmlns:a16="http://schemas.microsoft.com/office/drawing/2014/main" id="{60A24D8E-6E2B-4170-BC36-89FDB876FA5B}"/>
              </a:ext>
            </a:extLst>
          </p:cNvPr>
          <p:cNvSpPr>
            <a:spLocks noGrp="1"/>
          </p:cNvSpPr>
          <p:nvPr>
            <p:custDataLst>
              <p:tags r:id="rId9"/>
            </p:custDataLst>
          </p:nvPr>
        </p:nvSpPr>
        <p:spPr bwMode="auto">
          <a:xfrm>
            <a:off x="10034588" y="4968875"/>
            <a:ext cx="1368425" cy="5476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E486474-FFB5-4A4E-B0B6-97697B767DB7}" type="datetime'Windows S''e''rver VM in ''''WVD (''charged at Li''nux rate)'">
              <a:rPr lang="en-US" altLang="en-US" sz="1200" smtClean="0">
                <a:solidFill>
                  <a:schemeClr val="tx1"/>
                </a:solidFill>
                <a:cs typeface="+mn-cs"/>
                <a:sym typeface="+mn-lt"/>
              </a:rPr>
              <a:pPr/>
              <a:t>Windows Server VM in WVD (charged at Linux rate)</a:t>
            </a:fld>
            <a:endParaRPr lang="en-US" sz="1200" dirty="0">
              <a:solidFill>
                <a:schemeClr val="tx1"/>
              </a:solidFill>
              <a:cs typeface="+mn-cs"/>
              <a:sym typeface="+mn-lt"/>
            </a:endParaRPr>
          </a:p>
        </p:txBody>
      </p:sp>
      <p:sp>
        <p:nvSpPr>
          <p:cNvPr id="1276" name="Text Placeholder 3">
            <a:extLst>
              <a:ext uri="{FF2B5EF4-FFF2-40B4-BE49-F238E27FC236}">
                <a16:creationId xmlns:a16="http://schemas.microsoft.com/office/drawing/2014/main" id="{7D4BAC4B-5940-400C-B910-EA4BC04D1A9C}"/>
              </a:ext>
            </a:extLst>
          </p:cNvPr>
          <p:cNvSpPr>
            <a:spLocks noGrp="1"/>
          </p:cNvSpPr>
          <p:nvPr>
            <p:custDataLst>
              <p:tags r:id="rId10"/>
            </p:custDataLst>
          </p:nvPr>
        </p:nvSpPr>
        <p:spPr bwMode="gray">
          <a:xfrm>
            <a:off x="9026525" y="3282950"/>
            <a:ext cx="3746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321D4B5A-C01D-4E2F-BEE1-FCAAF8544EE8}" type="datetime'''5''7''''''''0'">
              <a:rPr lang="en-US" altLang="en-US" sz="1200" smtClean="0">
                <a:solidFill>
                  <a:schemeClr val="tx1"/>
                </a:solidFill>
                <a:cs typeface="+mn-cs"/>
                <a:sym typeface="+mn-lt"/>
              </a:rPr>
              <a:pPr marL="0" indent="0" algn="ctr">
                <a:spcBef>
                  <a:spcPct val="0"/>
                </a:spcBef>
                <a:spcAft>
                  <a:spcPct val="0"/>
                </a:spcAft>
                <a:buNone/>
              </a:pPr>
              <a:t>570</a:t>
            </a:fld>
            <a:endParaRPr lang="en-US" sz="1200" dirty="0">
              <a:solidFill>
                <a:schemeClr val="tx1"/>
              </a:solidFill>
              <a:cs typeface="+mn-cs"/>
              <a:sym typeface="+mn-lt"/>
            </a:endParaRPr>
          </a:p>
        </p:txBody>
      </p:sp>
      <p:sp>
        <p:nvSpPr>
          <p:cNvPr id="1304" name="Text Placeholder 3">
            <a:extLst>
              <a:ext uri="{FF2B5EF4-FFF2-40B4-BE49-F238E27FC236}">
                <a16:creationId xmlns:a16="http://schemas.microsoft.com/office/drawing/2014/main" id="{D9677780-2E2E-4EC8-8628-FF58EE3E8186}"/>
              </a:ext>
            </a:extLst>
          </p:cNvPr>
          <p:cNvSpPr>
            <a:spLocks noGrp="1"/>
          </p:cNvSpPr>
          <p:nvPr>
            <p:custDataLst>
              <p:tags r:id="rId11"/>
            </p:custDataLst>
          </p:nvPr>
        </p:nvSpPr>
        <p:spPr bwMode="gray">
          <a:xfrm>
            <a:off x="10531475" y="4176713"/>
            <a:ext cx="3746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8572D783-44C4-44FD-87A6-06C79934799B}" type="datetime'2''''''''''''''''''''''''''''''''''''''''''''''''00'''''''">
              <a:rPr lang="en-US" altLang="en-US" sz="1200" smtClean="0">
                <a:solidFill>
                  <a:schemeClr val="tx1"/>
                </a:solidFill>
                <a:cs typeface="+mn-cs"/>
                <a:sym typeface="+mn-lt"/>
              </a:rPr>
              <a:pPr marL="0" indent="0" algn="ctr">
                <a:spcBef>
                  <a:spcPct val="0"/>
                </a:spcBef>
                <a:spcAft>
                  <a:spcPct val="0"/>
                </a:spcAft>
                <a:buNone/>
              </a:pPr>
              <a:t>200</a:t>
            </a:fld>
            <a:endParaRPr lang="en-US" sz="1200" dirty="0">
              <a:solidFill>
                <a:schemeClr val="tx1"/>
              </a:solidFill>
              <a:cs typeface="+mn-cs"/>
              <a:sym typeface="+mn-lt"/>
            </a:endParaRPr>
          </a:p>
        </p:txBody>
      </p:sp>
      <p:sp>
        <p:nvSpPr>
          <p:cNvPr id="1274" name="Text Placeholder 3">
            <a:extLst>
              <a:ext uri="{FF2B5EF4-FFF2-40B4-BE49-F238E27FC236}">
                <a16:creationId xmlns:a16="http://schemas.microsoft.com/office/drawing/2014/main" id="{14BE1034-E127-4BEA-8657-96FE67BFCB84}"/>
              </a:ext>
            </a:extLst>
          </p:cNvPr>
          <p:cNvSpPr>
            <a:spLocks noGrp="1"/>
          </p:cNvSpPr>
          <p:nvPr>
            <p:custDataLst>
              <p:tags r:id="rId12"/>
            </p:custDataLst>
          </p:nvPr>
        </p:nvSpPr>
        <p:spPr bwMode="auto">
          <a:xfrm>
            <a:off x="9663113" y="3017838"/>
            <a:ext cx="606425" cy="301625"/>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05308E1-8A80-4F94-A5ED-041A1F40E0A3}" type="datetime'''-''''''''6''''5''''''''''''%'''''''">
              <a:rPr lang="en-US" altLang="en-US" sz="1400" b="1" smtClean="0">
                <a:solidFill>
                  <a:schemeClr val="tx1"/>
                </a:solidFill>
                <a:cs typeface="+mn-cs"/>
                <a:sym typeface="+mn-lt"/>
              </a:rPr>
              <a:pPr marL="0" indent="0" algn="ctr">
                <a:spcBef>
                  <a:spcPct val="0"/>
                </a:spcBef>
                <a:spcAft>
                  <a:spcPct val="0"/>
                </a:spcAft>
                <a:buNone/>
              </a:pPr>
              <a:t>-65%</a:t>
            </a:fld>
            <a:endParaRPr lang="en-US" sz="1400" b="1" dirty="0">
              <a:solidFill>
                <a:schemeClr val="tx1"/>
              </a:solidFill>
              <a:cs typeface="+mn-cs"/>
              <a:sym typeface="+mn-lt"/>
            </a:endParaRPr>
          </a:p>
        </p:txBody>
      </p:sp>
      <p:sp>
        <p:nvSpPr>
          <p:cNvPr id="798" name="Freeform: Shape 797">
            <a:extLst>
              <a:ext uri="{FF2B5EF4-FFF2-40B4-BE49-F238E27FC236}">
                <a16:creationId xmlns:a16="http://schemas.microsoft.com/office/drawing/2014/main" id="{717E9357-3953-44FE-9A16-793EF919128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Windows Server on-prem to Windows Server in WVD</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WVD doesn’t require Windows Server license for session host VMs (i.e. session host VMs charged at Linux compute rate)</a:t>
            </a:r>
          </a:p>
        </p:txBody>
      </p:sp>
      <p:grpSp>
        <p:nvGrpSpPr>
          <p:cNvPr id="799" name="Group 798">
            <a:extLst>
              <a:ext uri="{FF2B5EF4-FFF2-40B4-BE49-F238E27FC236}">
                <a16:creationId xmlns:a16="http://schemas.microsoft.com/office/drawing/2014/main" id="{4703E6AF-82C9-44F8-854F-AC8365DD5F82}"/>
              </a:ext>
            </a:extLst>
          </p:cNvPr>
          <p:cNvGrpSpPr>
            <a:grpSpLocks noChangeAspect="1"/>
          </p:cNvGrpSpPr>
          <p:nvPr/>
        </p:nvGrpSpPr>
        <p:grpSpPr>
          <a:xfrm>
            <a:off x="10777886" y="1372927"/>
            <a:ext cx="806355" cy="914400"/>
            <a:chOff x="797126" y="3893732"/>
            <a:chExt cx="1125722" cy="1276864"/>
          </a:xfrm>
        </p:grpSpPr>
        <p:sp>
          <p:nvSpPr>
            <p:cNvPr id="801" name="Freeform 403">
              <a:extLst>
                <a:ext uri="{FF2B5EF4-FFF2-40B4-BE49-F238E27FC236}">
                  <a16:creationId xmlns:a16="http://schemas.microsoft.com/office/drawing/2014/main" id="{69BA4FF6-1667-4608-91E6-0190D4A53500}"/>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802" name="Freeform: Shape 801">
              <a:extLst>
                <a:ext uri="{FF2B5EF4-FFF2-40B4-BE49-F238E27FC236}">
                  <a16:creationId xmlns:a16="http://schemas.microsoft.com/office/drawing/2014/main" id="{AFCA66B2-DDF2-4402-8629-9C64D918F4BB}"/>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803" name="Group 802">
              <a:extLst>
                <a:ext uri="{FF2B5EF4-FFF2-40B4-BE49-F238E27FC236}">
                  <a16:creationId xmlns:a16="http://schemas.microsoft.com/office/drawing/2014/main" id="{2D1CAE42-3F4B-4ECF-9FF0-779E24278C47}"/>
                </a:ext>
              </a:extLst>
            </p:cNvPr>
            <p:cNvGrpSpPr/>
            <p:nvPr/>
          </p:nvGrpSpPr>
          <p:grpSpPr>
            <a:xfrm>
              <a:off x="971699" y="4043345"/>
              <a:ext cx="773592" cy="920012"/>
              <a:chOff x="993458" y="3447450"/>
              <a:chExt cx="682781" cy="812014"/>
            </a:xfrm>
          </p:grpSpPr>
          <p:grpSp>
            <p:nvGrpSpPr>
              <p:cNvPr id="805" name="Group 804">
                <a:extLst>
                  <a:ext uri="{FF2B5EF4-FFF2-40B4-BE49-F238E27FC236}">
                    <a16:creationId xmlns:a16="http://schemas.microsoft.com/office/drawing/2014/main" id="{0522C95E-71AE-4F73-81DE-2BC18C4D7BDF}"/>
                  </a:ext>
                </a:extLst>
              </p:cNvPr>
              <p:cNvGrpSpPr/>
              <p:nvPr/>
            </p:nvGrpSpPr>
            <p:grpSpPr>
              <a:xfrm>
                <a:off x="993458" y="3447450"/>
                <a:ext cx="576652" cy="812014"/>
                <a:chOff x="499414" y="1517311"/>
                <a:chExt cx="3686809" cy="5340604"/>
              </a:xfrm>
            </p:grpSpPr>
            <p:sp>
              <p:nvSpPr>
                <p:cNvPr id="1427" name="Rectangle 1426">
                  <a:extLst>
                    <a:ext uri="{FF2B5EF4-FFF2-40B4-BE49-F238E27FC236}">
                      <a16:creationId xmlns:a16="http://schemas.microsoft.com/office/drawing/2014/main" id="{50E1AF2C-2594-4C43-A7A0-1849665D525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1428" name="Group 1427">
                  <a:extLst>
                    <a:ext uri="{FF2B5EF4-FFF2-40B4-BE49-F238E27FC236}">
                      <a16:creationId xmlns:a16="http://schemas.microsoft.com/office/drawing/2014/main" id="{6B4E4E97-BF7C-4C0A-9D2B-31C9396FFF03}"/>
                    </a:ext>
                  </a:extLst>
                </p:cNvPr>
                <p:cNvGrpSpPr/>
                <p:nvPr/>
              </p:nvGrpSpPr>
              <p:grpSpPr>
                <a:xfrm rot="20371446">
                  <a:off x="2524661" y="2299216"/>
                  <a:ext cx="859576" cy="554927"/>
                  <a:chOff x="4775201" y="792163"/>
                  <a:chExt cx="2024063" cy="1306513"/>
                </a:xfrm>
              </p:grpSpPr>
              <p:sp>
                <p:nvSpPr>
                  <p:cNvPr id="1482" name="Freeform 354">
                    <a:extLst>
                      <a:ext uri="{FF2B5EF4-FFF2-40B4-BE49-F238E27FC236}">
                        <a16:creationId xmlns:a16="http://schemas.microsoft.com/office/drawing/2014/main" id="{EF7EE82E-CEB2-43AF-A2C1-5CC048215636}"/>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83" name="Rectangle 1482">
                    <a:extLst>
                      <a:ext uri="{FF2B5EF4-FFF2-40B4-BE49-F238E27FC236}">
                        <a16:creationId xmlns:a16="http://schemas.microsoft.com/office/drawing/2014/main" id="{4D18B8AE-7D1A-44BB-BB35-DD8A653B3E02}"/>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84" name="Freeform 356">
                    <a:extLst>
                      <a:ext uri="{FF2B5EF4-FFF2-40B4-BE49-F238E27FC236}">
                        <a16:creationId xmlns:a16="http://schemas.microsoft.com/office/drawing/2014/main" id="{E5C39C6E-8CA2-404A-AFE0-8BE1F9F5CFCB}"/>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85" name="Freeform 357">
                    <a:extLst>
                      <a:ext uri="{FF2B5EF4-FFF2-40B4-BE49-F238E27FC236}">
                        <a16:creationId xmlns:a16="http://schemas.microsoft.com/office/drawing/2014/main" id="{970C6222-6491-47EA-9B1F-3F59E0A68C41}"/>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86" name="Freeform 358">
                    <a:extLst>
                      <a:ext uri="{FF2B5EF4-FFF2-40B4-BE49-F238E27FC236}">
                        <a16:creationId xmlns:a16="http://schemas.microsoft.com/office/drawing/2014/main" id="{9658D348-03A2-4689-B55C-A50E5AB45FD8}"/>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87" name="Rectangle 1486">
                    <a:extLst>
                      <a:ext uri="{FF2B5EF4-FFF2-40B4-BE49-F238E27FC236}">
                        <a16:creationId xmlns:a16="http://schemas.microsoft.com/office/drawing/2014/main" id="{8BDD8CEA-616A-42DB-86EF-6071B1B96DEA}"/>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88" name="Freeform 360">
                    <a:extLst>
                      <a:ext uri="{FF2B5EF4-FFF2-40B4-BE49-F238E27FC236}">
                        <a16:creationId xmlns:a16="http://schemas.microsoft.com/office/drawing/2014/main" id="{995AE570-0086-4D0D-BBAB-1FC952510428}"/>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89" name="Rectangle 1488">
                    <a:extLst>
                      <a:ext uri="{FF2B5EF4-FFF2-40B4-BE49-F238E27FC236}">
                        <a16:creationId xmlns:a16="http://schemas.microsoft.com/office/drawing/2014/main" id="{28BED4E7-4C61-4803-BA2B-E4EF2427D9F7}"/>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90" name="Rectangle 1489">
                    <a:extLst>
                      <a:ext uri="{FF2B5EF4-FFF2-40B4-BE49-F238E27FC236}">
                        <a16:creationId xmlns:a16="http://schemas.microsoft.com/office/drawing/2014/main" id="{102E3145-12B3-4374-A048-9A2B6A7DCD1B}"/>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91" name="Rectangle 1490">
                    <a:extLst>
                      <a:ext uri="{FF2B5EF4-FFF2-40B4-BE49-F238E27FC236}">
                        <a16:creationId xmlns:a16="http://schemas.microsoft.com/office/drawing/2014/main" id="{310913B5-ACD8-428E-81C1-4210BEF09CFB}"/>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92" name="Rectangle 1491">
                    <a:extLst>
                      <a:ext uri="{FF2B5EF4-FFF2-40B4-BE49-F238E27FC236}">
                        <a16:creationId xmlns:a16="http://schemas.microsoft.com/office/drawing/2014/main" id="{5AD030DB-5091-4105-9FC3-ADB02E017235}"/>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93" name="Rectangle 1492">
                    <a:extLst>
                      <a:ext uri="{FF2B5EF4-FFF2-40B4-BE49-F238E27FC236}">
                        <a16:creationId xmlns:a16="http://schemas.microsoft.com/office/drawing/2014/main" id="{3D55E881-93DA-4DBC-81F1-DDB57240ABB8}"/>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1429" name="Group 1428">
                  <a:extLst>
                    <a:ext uri="{FF2B5EF4-FFF2-40B4-BE49-F238E27FC236}">
                      <a16:creationId xmlns:a16="http://schemas.microsoft.com/office/drawing/2014/main" id="{BDEEED4D-19EC-4578-9B21-A7471DFBA9E4}"/>
                    </a:ext>
                  </a:extLst>
                </p:cNvPr>
                <p:cNvGrpSpPr/>
                <p:nvPr/>
              </p:nvGrpSpPr>
              <p:grpSpPr>
                <a:xfrm>
                  <a:off x="1190120" y="2235988"/>
                  <a:ext cx="983059" cy="983198"/>
                  <a:chOff x="5413781" y="5749281"/>
                  <a:chExt cx="652036" cy="652036"/>
                </a:xfrm>
              </p:grpSpPr>
              <p:sp>
                <p:nvSpPr>
                  <p:cNvPr id="1480" name="Oval 1479">
                    <a:extLst>
                      <a:ext uri="{FF2B5EF4-FFF2-40B4-BE49-F238E27FC236}">
                        <a16:creationId xmlns:a16="http://schemas.microsoft.com/office/drawing/2014/main" id="{C254EBAB-E19F-44E3-A850-6EFC003FDA3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481" name="Freeform 353">
                    <a:extLst>
                      <a:ext uri="{FF2B5EF4-FFF2-40B4-BE49-F238E27FC236}">
                        <a16:creationId xmlns:a16="http://schemas.microsoft.com/office/drawing/2014/main" id="{E337DCBB-BD75-44F1-8906-25DB2EFEB64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430" name="Group 1429">
                  <a:extLst>
                    <a:ext uri="{FF2B5EF4-FFF2-40B4-BE49-F238E27FC236}">
                      <a16:creationId xmlns:a16="http://schemas.microsoft.com/office/drawing/2014/main" id="{CCADD83E-B4DD-4F98-843C-A57C17480113}"/>
                    </a:ext>
                  </a:extLst>
                </p:cNvPr>
                <p:cNvGrpSpPr>
                  <a:grpSpLocks noChangeAspect="1"/>
                </p:cNvGrpSpPr>
                <p:nvPr/>
              </p:nvGrpSpPr>
              <p:grpSpPr bwMode="auto">
                <a:xfrm rot="1800000">
                  <a:off x="3563928" y="2295726"/>
                  <a:ext cx="622295" cy="847393"/>
                  <a:chOff x="6652" y="1661"/>
                  <a:chExt cx="260" cy="354"/>
                </a:xfrm>
              </p:grpSpPr>
              <p:sp>
                <p:nvSpPr>
                  <p:cNvPr id="1476" name="AutoShape 138">
                    <a:extLst>
                      <a:ext uri="{FF2B5EF4-FFF2-40B4-BE49-F238E27FC236}">
                        <a16:creationId xmlns:a16="http://schemas.microsoft.com/office/drawing/2014/main" id="{0E68722C-4553-437A-966F-DCBFF68CD183}"/>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477" name="Freeform 349">
                    <a:extLst>
                      <a:ext uri="{FF2B5EF4-FFF2-40B4-BE49-F238E27FC236}">
                        <a16:creationId xmlns:a16="http://schemas.microsoft.com/office/drawing/2014/main" id="{CADECFEA-6275-4C6C-93E0-9B41617DDDF1}"/>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478" name="Rectangle 1477">
                    <a:extLst>
                      <a:ext uri="{FF2B5EF4-FFF2-40B4-BE49-F238E27FC236}">
                        <a16:creationId xmlns:a16="http://schemas.microsoft.com/office/drawing/2014/main" id="{D5D86D9A-9C46-40BA-97EF-8DFD8B4A8F2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1479" name="Freeform 351">
                    <a:extLst>
                      <a:ext uri="{FF2B5EF4-FFF2-40B4-BE49-F238E27FC236}">
                        <a16:creationId xmlns:a16="http://schemas.microsoft.com/office/drawing/2014/main" id="{79B10569-8BCA-4A18-AE1F-125EFD4B6F75}"/>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1431" name="Group 1430">
                  <a:extLst>
                    <a:ext uri="{FF2B5EF4-FFF2-40B4-BE49-F238E27FC236}">
                      <a16:creationId xmlns:a16="http://schemas.microsoft.com/office/drawing/2014/main" id="{5253661A-C959-4855-962A-3163BD7E6B48}"/>
                    </a:ext>
                  </a:extLst>
                </p:cNvPr>
                <p:cNvGrpSpPr/>
                <p:nvPr/>
              </p:nvGrpSpPr>
              <p:grpSpPr>
                <a:xfrm flipH="1">
                  <a:off x="499414" y="3565526"/>
                  <a:ext cx="1323206" cy="3292389"/>
                  <a:chOff x="8371759" y="2973033"/>
                  <a:chExt cx="1482609" cy="3688507"/>
                </a:xfrm>
              </p:grpSpPr>
              <p:sp>
                <p:nvSpPr>
                  <p:cNvPr id="1442" name="Freeform 314">
                    <a:extLst>
                      <a:ext uri="{FF2B5EF4-FFF2-40B4-BE49-F238E27FC236}">
                        <a16:creationId xmlns:a16="http://schemas.microsoft.com/office/drawing/2014/main" id="{941E2DF2-BBC6-43F0-A4BF-CEC235F46DFD}"/>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43" name="Freeform 315">
                    <a:extLst>
                      <a:ext uri="{FF2B5EF4-FFF2-40B4-BE49-F238E27FC236}">
                        <a16:creationId xmlns:a16="http://schemas.microsoft.com/office/drawing/2014/main" id="{6E47D2F3-D258-492B-BD5B-30825335AF5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44" name="Freeform 316">
                    <a:extLst>
                      <a:ext uri="{FF2B5EF4-FFF2-40B4-BE49-F238E27FC236}">
                        <a16:creationId xmlns:a16="http://schemas.microsoft.com/office/drawing/2014/main" id="{DC2F797F-C430-4A10-9448-2299EE7483F3}"/>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45" name="Rectangle 1444">
                    <a:extLst>
                      <a:ext uri="{FF2B5EF4-FFF2-40B4-BE49-F238E27FC236}">
                        <a16:creationId xmlns:a16="http://schemas.microsoft.com/office/drawing/2014/main" id="{3E4587B3-0CE1-42C5-AB18-01AECAD57F33}"/>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46" name="Rectangle 1445">
                    <a:extLst>
                      <a:ext uri="{FF2B5EF4-FFF2-40B4-BE49-F238E27FC236}">
                        <a16:creationId xmlns:a16="http://schemas.microsoft.com/office/drawing/2014/main" id="{6D665F81-CCF7-4803-A86D-EA1E9B554370}"/>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47" name="Rectangle 1446">
                    <a:extLst>
                      <a:ext uri="{FF2B5EF4-FFF2-40B4-BE49-F238E27FC236}">
                        <a16:creationId xmlns:a16="http://schemas.microsoft.com/office/drawing/2014/main" id="{D879CC9D-341C-4EE4-9460-E8ED52893564}"/>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48" name="Rectangle 1447">
                    <a:extLst>
                      <a:ext uri="{FF2B5EF4-FFF2-40B4-BE49-F238E27FC236}">
                        <a16:creationId xmlns:a16="http://schemas.microsoft.com/office/drawing/2014/main" id="{9193B540-3DD1-40D4-8290-FBF5147A5B47}"/>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49" name="Freeform 321">
                    <a:extLst>
                      <a:ext uri="{FF2B5EF4-FFF2-40B4-BE49-F238E27FC236}">
                        <a16:creationId xmlns:a16="http://schemas.microsoft.com/office/drawing/2014/main" id="{93361BB8-0647-4836-9648-669BDA4EB79A}"/>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50" name="Rectangle 1449">
                    <a:extLst>
                      <a:ext uri="{FF2B5EF4-FFF2-40B4-BE49-F238E27FC236}">
                        <a16:creationId xmlns:a16="http://schemas.microsoft.com/office/drawing/2014/main" id="{3C78CB6A-6025-47F3-9FBE-66D11CBE73C2}"/>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51" name="Rectangle 1450">
                    <a:extLst>
                      <a:ext uri="{FF2B5EF4-FFF2-40B4-BE49-F238E27FC236}">
                        <a16:creationId xmlns:a16="http://schemas.microsoft.com/office/drawing/2014/main" id="{B0791136-FBCF-4776-9CE6-FF453C05DE4A}"/>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52" name="Freeform 324">
                    <a:extLst>
                      <a:ext uri="{FF2B5EF4-FFF2-40B4-BE49-F238E27FC236}">
                        <a16:creationId xmlns:a16="http://schemas.microsoft.com/office/drawing/2014/main" id="{BA8956D0-4A07-485C-BD58-238AEE0DE9FD}"/>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53" name="Freeform 325">
                    <a:extLst>
                      <a:ext uri="{FF2B5EF4-FFF2-40B4-BE49-F238E27FC236}">
                        <a16:creationId xmlns:a16="http://schemas.microsoft.com/office/drawing/2014/main" id="{B59A0E23-7DEC-4A9F-9649-CF5126A42421}"/>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54" name="Freeform 326">
                    <a:extLst>
                      <a:ext uri="{FF2B5EF4-FFF2-40B4-BE49-F238E27FC236}">
                        <a16:creationId xmlns:a16="http://schemas.microsoft.com/office/drawing/2014/main" id="{4256D820-6A83-42C2-836F-9170A5EF7CC7}"/>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55" name="Freeform 327">
                    <a:extLst>
                      <a:ext uri="{FF2B5EF4-FFF2-40B4-BE49-F238E27FC236}">
                        <a16:creationId xmlns:a16="http://schemas.microsoft.com/office/drawing/2014/main" id="{C3E83338-A13C-4D30-886C-46A198949D2F}"/>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56" name="Freeform 328">
                    <a:extLst>
                      <a:ext uri="{FF2B5EF4-FFF2-40B4-BE49-F238E27FC236}">
                        <a16:creationId xmlns:a16="http://schemas.microsoft.com/office/drawing/2014/main" id="{4B80909A-4328-4E48-99F8-04648C6E919C}"/>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57" name="Freeform 329">
                    <a:extLst>
                      <a:ext uri="{FF2B5EF4-FFF2-40B4-BE49-F238E27FC236}">
                        <a16:creationId xmlns:a16="http://schemas.microsoft.com/office/drawing/2014/main" id="{DCB67C2C-4844-42A8-8AB0-41F71F36BC90}"/>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58" name="Freeform 330">
                    <a:extLst>
                      <a:ext uri="{FF2B5EF4-FFF2-40B4-BE49-F238E27FC236}">
                        <a16:creationId xmlns:a16="http://schemas.microsoft.com/office/drawing/2014/main" id="{92807F3D-29EA-41BE-A65D-4CA20D9F48FC}"/>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59" name="Freeform 331">
                    <a:extLst>
                      <a:ext uri="{FF2B5EF4-FFF2-40B4-BE49-F238E27FC236}">
                        <a16:creationId xmlns:a16="http://schemas.microsoft.com/office/drawing/2014/main" id="{17222C66-D5C8-454A-A198-588BCA01AD95}"/>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60" name="Freeform 332">
                    <a:extLst>
                      <a:ext uri="{FF2B5EF4-FFF2-40B4-BE49-F238E27FC236}">
                        <a16:creationId xmlns:a16="http://schemas.microsoft.com/office/drawing/2014/main" id="{FF8D562E-AED8-4CC6-B67E-5B5AA7748557}"/>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61" name="Freeform 333">
                    <a:extLst>
                      <a:ext uri="{FF2B5EF4-FFF2-40B4-BE49-F238E27FC236}">
                        <a16:creationId xmlns:a16="http://schemas.microsoft.com/office/drawing/2014/main" id="{40AFB33C-56E0-4AE5-90D9-F9FA68ED926C}"/>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62" name="Freeform 334">
                    <a:extLst>
                      <a:ext uri="{FF2B5EF4-FFF2-40B4-BE49-F238E27FC236}">
                        <a16:creationId xmlns:a16="http://schemas.microsoft.com/office/drawing/2014/main" id="{D737017A-40E9-4F2C-A71A-79A1C5847EDF}"/>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63" name="Freeform 335">
                    <a:extLst>
                      <a:ext uri="{FF2B5EF4-FFF2-40B4-BE49-F238E27FC236}">
                        <a16:creationId xmlns:a16="http://schemas.microsoft.com/office/drawing/2014/main" id="{32586DC6-C25E-44E8-8512-C493C1B76235}"/>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64" name="Freeform 336">
                    <a:extLst>
                      <a:ext uri="{FF2B5EF4-FFF2-40B4-BE49-F238E27FC236}">
                        <a16:creationId xmlns:a16="http://schemas.microsoft.com/office/drawing/2014/main" id="{6E0ACE83-13D3-4553-932E-274958921512}"/>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65" name="Freeform 337">
                    <a:extLst>
                      <a:ext uri="{FF2B5EF4-FFF2-40B4-BE49-F238E27FC236}">
                        <a16:creationId xmlns:a16="http://schemas.microsoft.com/office/drawing/2014/main" id="{7236D5D9-65D2-4FFF-9A00-6AD650A44C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66" name="Freeform 338">
                    <a:extLst>
                      <a:ext uri="{FF2B5EF4-FFF2-40B4-BE49-F238E27FC236}">
                        <a16:creationId xmlns:a16="http://schemas.microsoft.com/office/drawing/2014/main" id="{7C11FA1C-B3BA-44AA-951C-A226371CBCEB}"/>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67" name="Freeform 339">
                    <a:extLst>
                      <a:ext uri="{FF2B5EF4-FFF2-40B4-BE49-F238E27FC236}">
                        <a16:creationId xmlns:a16="http://schemas.microsoft.com/office/drawing/2014/main" id="{5B7062F3-9685-4DA8-BA5B-8D5BAC9DBB84}"/>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68" name="Freeform 340">
                    <a:extLst>
                      <a:ext uri="{FF2B5EF4-FFF2-40B4-BE49-F238E27FC236}">
                        <a16:creationId xmlns:a16="http://schemas.microsoft.com/office/drawing/2014/main" id="{C1F6520E-30C2-42D5-941D-51A346D47192}"/>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69" name="Freeform 341">
                    <a:extLst>
                      <a:ext uri="{FF2B5EF4-FFF2-40B4-BE49-F238E27FC236}">
                        <a16:creationId xmlns:a16="http://schemas.microsoft.com/office/drawing/2014/main" id="{B5BE1CE9-9532-482F-A34D-7AFB8A76AA57}"/>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70" name="Freeform 342">
                    <a:extLst>
                      <a:ext uri="{FF2B5EF4-FFF2-40B4-BE49-F238E27FC236}">
                        <a16:creationId xmlns:a16="http://schemas.microsoft.com/office/drawing/2014/main" id="{801465E0-0DAE-4523-809F-7BFBA8FED705}"/>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71" name="Freeform 343">
                    <a:extLst>
                      <a:ext uri="{FF2B5EF4-FFF2-40B4-BE49-F238E27FC236}">
                        <a16:creationId xmlns:a16="http://schemas.microsoft.com/office/drawing/2014/main" id="{725A2176-DFB1-490C-92BE-E4E4109A15B3}"/>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72" name="Freeform 344">
                    <a:extLst>
                      <a:ext uri="{FF2B5EF4-FFF2-40B4-BE49-F238E27FC236}">
                        <a16:creationId xmlns:a16="http://schemas.microsoft.com/office/drawing/2014/main" id="{1A00AA7A-068E-4D1F-88AB-FAEC80BDFDA6}"/>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73" name="Freeform 345">
                    <a:extLst>
                      <a:ext uri="{FF2B5EF4-FFF2-40B4-BE49-F238E27FC236}">
                        <a16:creationId xmlns:a16="http://schemas.microsoft.com/office/drawing/2014/main" id="{A0D6B065-8B9F-4A3B-9CF9-394F42C0330D}"/>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74" name="Freeform 346">
                    <a:extLst>
                      <a:ext uri="{FF2B5EF4-FFF2-40B4-BE49-F238E27FC236}">
                        <a16:creationId xmlns:a16="http://schemas.microsoft.com/office/drawing/2014/main" id="{7FD7F69C-6172-4D5B-9029-65B7497EF9AE}"/>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1475" name="Freeform 347">
                    <a:extLst>
                      <a:ext uri="{FF2B5EF4-FFF2-40B4-BE49-F238E27FC236}">
                        <a16:creationId xmlns:a16="http://schemas.microsoft.com/office/drawing/2014/main" id="{60E73354-7B69-4C4B-8F69-41E0C763776D}"/>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1432" name="Straight Connector 1431">
                  <a:extLst>
                    <a:ext uri="{FF2B5EF4-FFF2-40B4-BE49-F238E27FC236}">
                      <a16:creationId xmlns:a16="http://schemas.microsoft.com/office/drawing/2014/main" id="{8F2EBAA4-5637-4735-A1F1-7C78F2A1B03E}"/>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433" name="Straight Connector 1432">
                  <a:extLst>
                    <a:ext uri="{FF2B5EF4-FFF2-40B4-BE49-F238E27FC236}">
                      <a16:creationId xmlns:a16="http://schemas.microsoft.com/office/drawing/2014/main" id="{33DC91A9-2761-4797-9DE5-AEFB76AF4DFA}"/>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434" name="Straight Connector 1433">
                  <a:extLst>
                    <a:ext uri="{FF2B5EF4-FFF2-40B4-BE49-F238E27FC236}">
                      <a16:creationId xmlns:a16="http://schemas.microsoft.com/office/drawing/2014/main" id="{8789C748-A83C-4942-AAB4-E9D9D6D5E9E4}"/>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435" name="Straight Connector 1434">
                  <a:extLst>
                    <a:ext uri="{FF2B5EF4-FFF2-40B4-BE49-F238E27FC236}">
                      <a16:creationId xmlns:a16="http://schemas.microsoft.com/office/drawing/2014/main" id="{29604C3F-56FF-463F-BDC9-48FA3367406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436" name="Group 1435">
                  <a:extLst>
                    <a:ext uri="{FF2B5EF4-FFF2-40B4-BE49-F238E27FC236}">
                      <a16:creationId xmlns:a16="http://schemas.microsoft.com/office/drawing/2014/main" id="{82624FC5-7AAD-4D71-B996-39D31DA0AF99}"/>
                    </a:ext>
                  </a:extLst>
                </p:cNvPr>
                <p:cNvGrpSpPr/>
                <p:nvPr/>
              </p:nvGrpSpPr>
              <p:grpSpPr>
                <a:xfrm>
                  <a:off x="2022695" y="1566515"/>
                  <a:ext cx="766903" cy="767014"/>
                  <a:chOff x="9123445" y="2463609"/>
                  <a:chExt cx="652033" cy="652035"/>
                </a:xfrm>
              </p:grpSpPr>
              <p:sp>
                <p:nvSpPr>
                  <p:cNvPr id="1440" name="Oval 1439">
                    <a:extLst>
                      <a:ext uri="{FF2B5EF4-FFF2-40B4-BE49-F238E27FC236}">
                        <a16:creationId xmlns:a16="http://schemas.microsoft.com/office/drawing/2014/main" id="{FF8D3C2D-4DA9-4EF4-B40B-A997EFA694FF}"/>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441" name="Freeform 313">
                    <a:extLst>
                      <a:ext uri="{FF2B5EF4-FFF2-40B4-BE49-F238E27FC236}">
                        <a16:creationId xmlns:a16="http://schemas.microsoft.com/office/drawing/2014/main" id="{78621B80-D644-473E-B86F-0A0DAAE5441F}"/>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1437" name="Group 1436">
                  <a:extLst>
                    <a:ext uri="{FF2B5EF4-FFF2-40B4-BE49-F238E27FC236}">
                      <a16:creationId xmlns:a16="http://schemas.microsoft.com/office/drawing/2014/main" id="{7B9C99C0-50E7-4C5F-ADE2-4FAA5E73B672}"/>
                    </a:ext>
                  </a:extLst>
                </p:cNvPr>
                <p:cNvGrpSpPr/>
                <p:nvPr/>
              </p:nvGrpSpPr>
              <p:grpSpPr>
                <a:xfrm>
                  <a:off x="1973388" y="1517311"/>
                  <a:ext cx="853073" cy="853194"/>
                  <a:chOff x="9123452" y="2463609"/>
                  <a:chExt cx="652035" cy="652035"/>
                </a:xfrm>
              </p:grpSpPr>
              <p:sp>
                <p:nvSpPr>
                  <p:cNvPr id="1438" name="Oval 1437">
                    <a:extLst>
                      <a:ext uri="{FF2B5EF4-FFF2-40B4-BE49-F238E27FC236}">
                        <a16:creationId xmlns:a16="http://schemas.microsoft.com/office/drawing/2014/main" id="{B17B973D-CBCA-4732-A404-4D00F304761A}"/>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439" name="Freeform 311">
                    <a:extLst>
                      <a:ext uri="{FF2B5EF4-FFF2-40B4-BE49-F238E27FC236}">
                        <a16:creationId xmlns:a16="http://schemas.microsoft.com/office/drawing/2014/main" id="{AF7CA6A4-85A5-4585-A9F4-E3F2EC65ABEC}"/>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810" name="Group 809">
                <a:extLst>
                  <a:ext uri="{FF2B5EF4-FFF2-40B4-BE49-F238E27FC236}">
                    <a16:creationId xmlns:a16="http://schemas.microsoft.com/office/drawing/2014/main" id="{45C91A55-F665-49E9-9EDE-BBC84792C0D6}"/>
                  </a:ext>
                </a:extLst>
              </p:cNvPr>
              <p:cNvGrpSpPr/>
              <p:nvPr/>
            </p:nvGrpSpPr>
            <p:grpSpPr>
              <a:xfrm>
                <a:off x="1226671" y="3909844"/>
                <a:ext cx="304563" cy="307388"/>
                <a:chOff x="4471988" y="3821062"/>
                <a:chExt cx="2035176" cy="2113013"/>
              </a:xfrm>
            </p:grpSpPr>
            <p:sp>
              <p:nvSpPr>
                <p:cNvPr id="1373" name="Rectangle 6">
                  <a:extLst>
                    <a:ext uri="{FF2B5EF4-FFF2-40B4-BE49-F238E27FC236}">
                      <a16:creationId xmlns:a16="http://schemas.microsoft.com/office/drawing/2014/main" id="{6DDAB9E5-8D68-454E-A00B-405CD3A1348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74" name="Freeform 7">
                  <a:extLst>
                    <a:ext uri="{FF2B5EF4-FFF2-40B4-BE49-F238E27FC236}">
                      <a16:creationId xmlns:a16="http://schemas.microsoft.com/office/drawing/2014/main" id="{9088B284-D341-43C3-A7F0-FDE195E1BB1C}"/>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75" name="Freeform 10">
                  <a:extLst>
                    <a:ext uri="{FF2B5EF4-FFF2-40B4-BE49-F238E27FC236}">
                      <a16:creationId xmlns:a16="http://schemas.microsoft.com/office/drawing/2014/main" id="{F6C74D27-E97A-43FF-BF02-180B89913149}"/>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76" name="Freeform 11">
                  <a:extLst>
                    <a:ext uri="{FF2B5EF4-FFF2-40B4-BE49-F238E27FC236}">
                      <a16:creationId xmlns:a16="http://schemas.microsoft.com/office/drawing/2014/main" id="{A1B5B4B1-C950-455A-9E49-02458416AFA4}"/>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77" name="Oval 12">
                  <a:extLst>
                    <a:ext uri="{FF2B5EF4-FFF2-40B4-BE49-F238E27FC236}">
                      <a16:creationId xmlns:a16="http://schemas.microsoft.com/office/drawing/2014/main" id="{96BABBC1-F903-4A5E-BF0A-8540C3BFD7A4}"/>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78" name="Oval 13">
                  <a:extLst>
                    <a:ext uri="{FF2B5EF4-FFF2-40B4-BE49-F238E27FC236}">
                      <a16:creationId xmlns:a16="http://schemas.microsoft.com/office/drawing/2014/main" id="{9C7B5B61-8386-42C4-906C-31013D5BB74C}"/>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79" name="Freeform 14">
                  <a:extLst>
                    <a:ext uri="{FF2B5EF4-FFF2-40B4-BE49-F238E27FC236}">
                      <a16:creationId xmlns:a16="http://schemas.microsoft.com/office/drawing/2014/main" id="{D4610D4D-172F-43FB-8350-6F067EB8DE8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80" name="Rectangle 15">
                  <a:extLst>
                    <a:ext uri="{FF2B5EF4-FFF2-40B4-BE49-F238E27FC236}">
                      <a16:creationId xmlns:a16="http://schemas.microsoft.com/office/drawing/2014/main" id="{6CEE7531-65F9-4504-AD6A-AA430B72F215}"/>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81" name="Rectangle 16">
                  <a:extLst>
                    <a:ext uri="{FF2B5EF4-FFF2-40B4-BE49-F238E27FC236}">
                      <a16:creationId xmlns:a16="http://schemas.microsoft.com/office/drawing/2014/main" id="{A8379CEE-1482-49AA-A94D-3AF9E75FF4F5}"/>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82" name="Freeform 17">
                  <a:extLst>
                    <a:ext uri="{FF2B5EF4-FFF2-40B4-BE49-F238E27FC236}">
                      <a16:creationId xmlns:a16="http://schemas.microsoft.com/office/drawing/2014/main" id="{32E4A278-8CA4-4C90-A269-FCD4ECE25AE7}"/>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83" name="Freeform 18">
                  <a:extLst>
                    <a:ext uri="{FF2B5EF4-FFF2-40B4-BE49-F238E27FC236}">
                      <a16:creationId xmlns:a16="http://schemas.microsoft.com/office/drawing/2014/main" id="{ECCE2EA4-932D-4413-91F5-6FA8DC4EE9F1}"/>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84" name="Rectangle 19">
                  <a:extLst>
                    <a:ext uri="{FF2B5EF4-FFF2-40B4-BE49-F238E27FC236}">
                      <a16:creationId xmlns:a16="http://schemas.microsoft.com/office/drawing/2014/main" id="{55C825F3-C722-4FAE-9563-7DB992CD1D24}"/>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85" name="Freeform 20">
                  <a:extLst>
                    <a:ext uri="{FF2B5EF4-FFF2-40B4-BE49-F238E27FC236}">
                      <a16:creationId xmlns:a16="http://schemas.microsoft.com/office/drawing/2014/main" id="{37208306-9BF0-48EE-98FD-CE9ED7949076}"/>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86" name="Freeform 21">
                  <a:extLst>
                    <a:ext uri="{FF2B5EF4-FFF2-40B4-BE49-F238E27FC236}">
                      <a16:creationId xmlns:a16="http://schemas.microsoft.com/office/drawing/2014/main" id="{90FD970B-323C-4444-9560-B8DC7F9A255C}"/>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87" name="Freeform 22">
                  <a:extLst>
                    <a:ext uri="{FF2B5EF4-FFF2-40B4-BE49-F238E27FC236}">
                      <a16:creationId xmlns:a16="http://schemas.microsoft.com/office/drawing/2014/main" id="{787A7E19-D1AA-420A-B4A7-93EB113E76B6}"/>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88" name="Freeform 23">
                  <a:extLst>
                    <a:ext uri="{FF2B5EF4-FFF2-40B4-BE49-F238E27FC236}">
                      <a16:creationId xmlns:a16="http://schemas.microsoft.com/office/drawing/2014/main" id="{57DF1DCA-951A-4B02-91AE-4244F29F2500}"/>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89" name="Freeform 24">
                  <a:extLst>
                    <a:ext uri="{FF2B5EF4-FFF2-40B4-BE49-F238E27FC236}">
                      <a16:creationId xmlns:a16="http://schemas.microsoft.com/office/drawing/2014/main" id="{3BEDC19A-B461-4BB2-BFD9-17AF8F141C7A}"/>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90" name="Rectangle 25">
                  <a:extLst>
                    <a:ext uri="{FF2B5EF4-FFF2-40B4-BE49-F238E27FC236}">
                      <a16:creationId xmlns:a16="http://schemas.microsoft.com/office/drawing/2014/main" id="{0BD63373-3207-4456-9DA8-E2948CDE4274}"/>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91" name="Freeform 26">
                  <a:extLst>
                    <a:ext uri="{FF2B5EF4-FFF2-40B4-BE49-F238E27FC236}">
                      <a16:creationId xmlns:a16="http://schemas.microsoft.com/office/drawing/2014/main" id="{9E1EFE26-7161-44BC-BF17-15FD3999A893}"/>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92" name="Freeform 27">
                  <a:extLst>
                    <a:ext uri="{FF2B5EF4-FFF2-40B4-BE49-F238E27FC236}">
                      <a16:creationId xmlns:a16="http://schemas.microsoft.com/office/drawing/2014/main" id="{339E3095-2440-4CF5-AA5D-32D535151D3F}"/>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93" name="Freeform 28">
                  <a:extLst>
                    <a:ext uri="{FF2B5EF4-FFF2-40B4-BE49-F238E27FC236}">
                      <a16:creationId xmlns:a16="http://schemas.microsoft.com/office/drawing/2014/main" id="{1FEDAD79-1199-4C20-AE52-7D1B5D46F03C}"/>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94" name="Freeform 29">
                  <a:extLst>
                    <a:ext uri="{FF2B5EF4-FFF2-40B4-BE49-F238E27FC236}">
                      <a16:creationId xmlns:a16="http://schemas.microsoft.com/office/drawing/2014/main" id="{ADC5C1B5-11F9-4869-9D1C-25323F664A88}"/>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95" name="Freeform 30">
                  <a:extLst>
                    <a:ext uri="{FF2B5EF4-FFF2-40B4-BE49-F238E27FC236}">
                      <a16:creationId xmlns:a16="http://schemas.microsoft.com/office/drawing/2014/main" id="{00F71FBF-6643-4C69-9DE4-C8A932CAC89F}"/>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96" name="Freeform 31">
                  <a:extLst>
                    <a:ext uri="{FF2B5EF4-FFF2-40B4-BE49-F238E27FC236}">
                      <a16:creationId xmlns:a16="http://schemas.microsoft.com/office/drawing/2014/main" id="{2A041DF3-D266-4236-BC8A-554DB663D4F3}"/>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97" name="Freeform 32">
                  <a:extLst>
                    <a:ext uri="{FF2B5EF4-FFF2-40B4-BE49-F238E27FC236}">
                      <a16:creationId xmlns:a16="http://schemas.microsoft.com/office/drawing/2014/main" id="{7DC33318-74BD-45ED-8DA0-C6D2E0960726}"/>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98" name="Freeform 102">
                  <a:extLst>
                    <a:ext uri="{FF2B5EF4-FFF2-40B4-BE49-F238E27FC236}">
                      <a16:creationId xmlns:a16="http://schemas.microsoft.com/office/drawing/2014/main" id="{E3495F38-2E38-4E9C-87E8-E969D567E373}"/>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399" name="Freeform 103">
                  <a:extLst>
                    <a:ext uri="{FF2B5EF4-FFF2-40B4-BE49-F238E27FC236}">
                      <a16:creationId xmlns:a16="http://schemas.microsoft.com/office/drawing/2014/main" id="{1333978D-9386-42F0-9D7C-BAE11C273ED4}"/>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00" name="Freeform 104">
                  <a:extLst>
                    <a:ext uri="{FF2B5EF4-FFF2-40B4-BE49-F238E27FC236}">
                      <a16:creationId xmlns:a16="http://schemas.microsoft.com/office/drawing/2014/main" id="{48F3FDD3-15B5-4BDE-BF2D-C2099506D3D7}"/>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01" name="Freeform 105">
                  <a:extLst>
                    <a:ext uri="{FF2B5EF4-FFF2-40B4-BE49-F238E27FC236}">
                      <a16:creationId xmlns:a16="http://schemas.microsoft.com/office/drawing/2014/main" id="{00C802D4-9797-44B0-91E7-6A4B84060E20}"/>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02" name="Freeform 106">
                  <a:extLst>
                    <a:ext uri="{FF2B5EF4-FFF2-40B4-BE49-F238E27FC236}">
                      <a16:creationId xmlns:a16="http://schemas.microsoft.com/office/drawing/2014/main" id="{0325EEF7-E6BA-495D-A609-0CFA5635A31F}"/>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03" name="Freeform 107">
                  <a:extLst>
                    <a:ext uri="{FF2B5EF4-FFF2-40B4-BE49-F238E27FC236}">
                      <a16:creationId xmlns:a16="http://schemas.microsoft.com/office/drawing/2014/main" id="{58987AB9-63CD-4E49-BC50-097C2A49F16F}"/>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04" name="Freeform 108">
                  <a:extLst>
                    <a:ext uri="{FF2B5EF4-FFF2-40B4-BE49-F238E27FC236}">
                      <a16:creationId xmlns:a16="http://schemas.microsoft.com/office/drawing/2014/main" id="{4A435D36-15F1-4654-AA93-70AD431AD8F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05" name="Rectangle 1404">
                  <a:extLst>
                    <a:ext uri="{FF2B5EF4-FFF2-40B4-BE49-F238E27FC236}">
                      <a16:creationId xmlns:a16="http://schemas.microsoft.com/office/drawing/2014/main" id="{C88B4284-AC07-4804-A9A3-E06FC9B00F5E}"/>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06" name="Freeform 110">
                  <a:extLst>
                    <a:ext uri="{FF2B5EF4-FFF2-40B4-BE49-F238E27FC236}">
                      <a16:creationId xmlns:a16="http://schemas.microsoft.com/office/drawing/2014/main" id="{E037A4AE-3E3A-468D-BC6E-04C47E1AB05C}"/>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07" name="Freeform 111">
                  <a:extLst>
                    <a:ext uri="{FF2B5EF4-FFF2-40B4-BE49-F238E27FC236}">
                      <a16:creationId xmlns:a16="http://schemas.microsoft.com/office/drawing/2014/main" id="{6446BF0C-FDD4-4B09-AB3C-D12CDDC1068A}"/>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08" name="Freeform 112">
                  <a:extLst>
                    <a:ext uri="{FF2B5EF4-FFF2-40B4-BE49-F238E27FC236}">
                      <a16:creationId xmlns:a16="http://schemas.microsoft.com/office/drawing/2014/main" id="{A68428D8-318E-4259-9F4F-311A6F49087F}"/>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09" name="Freeform 113">
                  <a:extLst>
                    <a:ext uri="{FF2B5EF4-FFF2-40B4-BE49-F238E27FC236}">
                      <a16:creationId xmlns:a16="http://schemas.microsoft.com/office/drawing/2014/main" id="{1AC1B7F6-5FDE-45B6-B2F0-977A3F54B8CB}"/>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10" name="Rectangle 1409">
                  <a:extLst>
                    <a:ext uri="{FF2B5EF4-FFF2-40B4-BE49-F238E27FC236}">
                      <a16:creationId xmlns:a16="http://schemas.microsoft.com/office/drawing/2014/main" id="{6D447BBB-7A87-410F-86AD-39537C1FAC1C}"/>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11" name="Freeform 115">
                  <a:extLst>
                    <a:ext uri="{FF2B5EF4-FFF2-40B4-BE49-F238E27FC236}">
                      <a16:creationId xmlns:a16="http://schemas.microsoft.com/office/drawing/2014/main" id="{43450040-C722-4C2F-B868-2DA95C21B211}"/>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12" name="Freeform 116">
                  <a:extLst>
                    <a:ext uri="{FF2B5EF4-FFF2-40B4-BE49-F238E27FC236}">
                      <a16:creationId xmlns:a16="http://schemas.microsoft.com/office/drawing/2014/main" id="{968E589F-37F8-4C5A-B5D3-DC354E613942}"/>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13" name="Freeform 117">
                  <a:extLst>
                    <a:ext uri="{FF2B5EF4-FFF2-40B4-BE49-F238E27FC236}">
                      <a16:creationId xmlns:a16="http://schemas.microsoft.com/office/drawing/2014/main" id="{44706C69-F531-44C1-91AF-D8123CFDD7B7}"/>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14" name="Freeform 118">
                  <a:extLst>
                    <a:ext uri="{FF2B5EF4-FFF2-40B4-BE49-F238E27FC236}">
                      <a16:creationId xmlns:a16="http://schemas.microsoft.com/office/drawing/2014/main" id="{3266849E-479A-471F-915F-BC7D26A8C058}"/>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15" name="Oval 1414">
                  <a:extLst>
                    <a:ext uri="{FF2B5EF4-FFF2-40B4-BE49-F238E27FC236}">
                      <a16:creationId xmlns:a16="http://schemas.microsoft.com/office/drawing/2014/main" id="{B42C052F-A43B-4E91-875A-2E66DBB144BC}"/>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16" name="Freeform 120">
                  <a:extLst>
                    <a:ext uri="{FF2B5EF4-FFF2-40B4-BE49-F238E27FC236}">
                      <a16:creationId xmlns:a16="http://schemas.microsoft.com/office/drawing/2014/main" id="{115BDCF8-5412-4C0D-BCE1-21BE0C17934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17" name="Freeform 121">
                  <a:extLst>
                    <a:ext uri="{FF2B5EF4-FFF2-40B4-BE49-F238E27FC236}">
                      <a16:creationId xmlns:a16="http://schemas.microsoft.com/office/drawing/2014/main" id="{D71D0635-7D83-4262-A2B1-215A948325D9}"/>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18" name="Freeform 122">
                  <a:extLst>
                    <a:ext uri="{FF2B5EF4-FFF2-40B4-BE49-F238E27FC236}">
                      <a16:creationId xmlns:a16="http://schemas.microsoft.com/office/drawing/2014/main" id="{5DB7EA4F-F00B-4BC9-9B24-EC86E3EFDFB2}"/>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19" name="Freeform 123">
                  <a:extLst>
                    <a:ext uri="{FF2B5EF4-FFF2-40B4-BE49-F238E27FC236}">
                      <a16:creationId xmlns:a16="http://schemas.microsoft.com/office/drawing/2014/main" id="{563DA752-75E7-4EC8-BAEC-669F1720B757}"/>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20" name="Freeform 124">
                  <a:extLst>
                    <a:ext uri="{FF2B5EF4-FFF2-40B4-BE49-F238E27FC236}">
                      <a16:creationId xmlns:a16="http://schemas.microsoft.com/office/drawing/2014/main" id="{21922CB6-8221-4EF7-9894-EC4264378D43}"/>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21" name="Freeform 63">
                  <a:extLst>
                    <a:ext uri="{FF2B5EF4-FFF2-40B4-BE49-F238E27FC236}">
                      <a16:creationId xmlns:a16="http://schemas.microsoft.com/office/drawing/2014/main" id="{058F9D6B-B498-47D5-9EAD-D51C58AB7486}"/>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22" name="Freeform 65">
                  <a:extLst>
                    <a:ext uri="{FF2B5EF4-FFF2-40B4-BE49-F238E27FC236}">
                      <a16:creationId xmlns:a16="http://schemas.microsoft.com/office/drawing/2014/main" id="{0CA7449D-8D54-42B5-86A0-EA098EB2FFCB}"/>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23" name="Freeform 66">
                  <a:extLst>
                    <a:ext uri="{FF2B5EF4-FFF2-40B4-BE49-F238E27FC236}">
                      <a16:creationId xmlns:a16="http://schemas.microsoft.com/office/drawing/2014/main" id="{0C90A4D2-CF46-469A-9875-C9A2E9AFCA72}"/>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24" name="Freeform 67">
                  <a:extLst>
                    <a:ext uri="{FF2B5EF4-FFF2-40B4-BE49-F238E27FC236}">
                      <a16:creationId xmlns:a16="http://schemas.microsoft.com/office/drawing/2014/main" id="{C312F82C-F1F0-4794-BBFB-26C88E8B40D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25" name="Oval 68">
                  <a:extLst>
                    <a:ext uri="{FF2B5EF4-FFF2-40B4-BE49-F238E27FC236}">
                      <a16:creationId xmlns:a16="http://schemas.microsoft.com/office/drawing/2014/main" id="{E4FAB00D-24B8-461E-90C9-9DC9FA9CB3B4}"/>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1426" name="Oval 69">
                  <a:extLst>
                    <a:ext uri="{FF2B5EF4-FFF2-40B4-BE49-F238E27FC236}">
                      <a16:creationId xmlns:a16="http://schemas.microsoft.com/office/drawing/2014/main" id="{402B8345-8074-4FA7-A2C4-C899D3FD1991}"/>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813" name="Group 812">
                <a:extLst>
                  <a:ext uri="{FF2B5EF4-FFF2-40B4-BE49-F238E27FC236}">
                    <a16:creationId xmlns:a16="http://schemas.microsoft.com/office/drawing/2014/main" id="{80E1D130-385E-450E-9B54-F78134C48D9D}"/>
                  </a:ext>
                </a:extLst>
              </p:cNvPr>
              <p:cNvGrpSpPr/>
              <p:nvPr/>
            </p:nvGrpSpPr>
            <p:grpSpPr>
              <a:xfrm>
                <a:off x="1206839" y="3914891"/>
                <a:ext cx="469400" cy="342521"/>
                <a:chOff x="1557350" y="4606481"/>
                <a:chExt cx="3001095" cy="2252753"/>
              </a:xfrm>
            </p:grpSpPr>
            <p:sp>
              <p:nvSpPr>
                <p:cNvPr id="815" name="Rectangle 814">
                  <a:extLst>
                    <a:ext uri="{FF2B5EF4-FFF2-40B4-BE49-F238E27FC236}">
                      <a16:creationId xmlns:a16="http://schemas.microsoft.com/office/drawing/2014/main" id="{ADCF52EF-37FA-4C87-A580-C141DB1344E0}"/>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16" name="Rectangle 815">
                  <a:extLst>
                    <a:ext uri="{FF2B5EF4-FFF2-40B4-BE49-F238E27FC236}">
                      <a16:creationId xmlns:a16="http://schemas.microsoft.com/office/drawing/2014/main" id="{2FB9B03A-2E3D-4772-BA7E-3B5B1C038ED1}"/>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21" name="Rectangle 820">
                  <a:extLst>
                    <a:ext uri="{FF2B5EF4-FFF2-40B4-BE49-F238E27FC236}">
                      <a16:creationId xmlns:a16="http://schemas.microsoft.com/office/drawing/2014/main" id="{A20FA10C-1592-477C-A2D8-057A02DB1D63}"/>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22" name="Rectangle 821">
                  <a:extLst>
                    <a:ext uri="{FF2B5EF4-FFF2-40B4-BE49-F238E27FC236}">
                      <a16:creationId xmlns:a16="http://schemas.microsoft.com/office/drawing/2014/main" id="{4C4F8E99-8653-47FF-9F43-94915D72E7C5}"/>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23" name="Freeform 12">
                  <a:extLst>
                    <a:ext uri="{FF2B5EF4-FFF2-40B4-BE49-F238E27FC236}">
                      <a16:creationId xmlns:a16="http://schemas.microsoft.com/office/drawing/2014/main" id="{4B52C90B-467A-4B27-B787-FE268EC70DBA}"/>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858" name="Rectangle 857">
                  <a:extLst>
                    <a:ext uri="{FF2B5EF4-FFF2-40B4-BE49-F238E27FC236}">
                      <a16:creationId xmlns:a16="http://schemas.microsoft.com/office/drawing/2014/main" id="{0804BFFB-EADA-4747-AD09-D56673C77E48}"/>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04" name="Freeform 14">
                  <a:extLst>
                    <a:ext uri="{FF2B5EF4-FFF2-40B4-BE49-F238E27FC236}">
                      <a16:creationId xmlns:a16="http://schemas.microsoft.com/office/drawing/2014/main" id="{1E92D154-D6D0-4B97-AB60-C6B7A58476BA}"/>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6" name="Rectangle 915">
                  <a:extLst>
                    <a:ext uri="{FF2B5EF4-FFF2-40B4-BE49-F238E27FC236}">
                      <a16:creationId xmlns:a16="http://schemas.microsoft.com/office/drawing/2014/main" id="{90ECAEB5-5DD6-482D-88FB-3DCFCFA302B4}"/>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7" name="Freeform 16">
                  <a:extLst>
                    <a:ext uri="{FF2B5EF4-FFF2-40B4-BE49-F238E27FC236}">
                      <a16:creationId xmlns:a16="http://schemas.microsoft.com/office/drawing/2014/main" id="{81E728C9-3584-4B2E-AE56-83EB8F239094}"/>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18" name="Freeform 17">
                  <a:extLst>
                    <a:ext uri="{FF2B5EF4-FFF2-40B4-BE49-F238E27FC236}">
                      <a16:creationId xmlns:a16="http://schemas.microsoft.com/office/drawing/2014/main" id="{56560BF4-A556-4204-B4C5-5AA0BEFB06AB}"/>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923" name="Oval 922">
                  <a:extLst>
                    <a:ext uri="{FF2B5EF4-FFF2-40B4-BE49-F238E27FC236}">
                      <a16:creationId xmlns:a16="http://schemas.microsoft.com/office/drawing/2014/main" id="{817AE08E-540E-438A-91A2-B2ACE8B7A802}"/>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260" name="Rectangle 1259">
                  <a:extLst>
                    <a:ext uri="{FF2B5EF4-FFF2-40B4-BE49-F238E27FC236}">
                      <a16:creationId xmlns:a16="http://schemas.microsoft.com/office/drawing/2014/main" id="{8E9A86BE-EF1B-44D7-A701-7DE3B70439DC}"/>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261" name="Freeform 20">
                  <a:extLst>
                    <a:ext uri="{FF2B5EF4-FFF2-40B4-BE49-F238E27FC236}">
                      <a16:creationId xmlns:a16="http://schemas.microsoft.com/office/drawing/2014/main" id="{C41FE007-89CC-47E9-B816-50E6CDE621C0}"/>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262" name="Freeform 21">
                  <a:extLst>
                    <a:ext uri="{FF2B5EF4-FFF2-40B4-BE49-F238E27FC236}">
                      <a16:creationId xmlns:a16="http://schemas.microsoft.com/office/drawing/2014/main" id="{0E31EC7A-6D6E-4E09-992D-B770D326B8C7}"/>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1263" name="Group 1262">
                  <a:extLst>
                    <a:ext uri="{FF2B5EF4-FFF2-40B4-BE49-F238E27FC236}">
                      <a16:creationId xmlns:a16="http://schemas.microsoft.com/office/drawing/2014/main" id="{8BD87022-0DD5-41F8-B6BE-C2B2C9858A3E}"/>
                    </a:ext>
                  </a:extLst>
                </p:cNvPr>
                <p:cNvGrpSpPr/>
                <p:nvPr/>
              </p:nvGrpSpPr>
              <p:grpSpPr>
                <a:xfrm>
                  <a:off x="3298176" y="4606481"/>
                  <a:ext cx="1260269" cy="2252753"/>
                  <a:chOff x="10352191" y="4087395"/>
                  <a:chExt cx="1336826" cy="2389605"/>
                </a:xfrm>
              </p:grpSpPr>
              <p:sp>
                <p:nvSpPr>
                  <p:cNvPr id="1264" name="Rectangle 1263">
                    <a:extLst>
                      <a:ext uri="{FF2B5EF4-FFF2-40B4-BE49-F238E27FC236}">
                        <a16:creationId xmlns:a16="http://schemas.microsoft.com/office/drawing/2014/main" id="{9CB6129E-937C-406E-83B4-B80B27736A2D}"/>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265" name="Round Same Side Corner Rectangle 52">
                    <a:extLst>
                      <a:ext uri="{FF2B5EF4-FFF2-40B4-BE49-F238E27FC236}">
                        <a16:creationId xmlns:a16="http://schemas.microsoft.com/office/drawing/2014/main" id="{AD9579CA-CD85-46D6-9E9A-04189D51C0D4}"/>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1266" name="Rectangle 1265">
                    <a:extLst>
                      <a:ext uri="{FF2B5EF4-FFF2-40B4-BE49-F238E27FC236}">
                        <a16:creationId xmlns:a16="http://schemas.microsoft.com/office/drawing/2014/main" id="{F7D9009A-5E92-45D7-B334-4E329CB1433F}"/>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268" name="Freeform 54">
                    <a:extLst>
                      <a:ext uri="{FF2B5EF4-FFF2-40B4-BE49-F238E27FC236}">
                        <a16:creationId xmlns:a16="http://schemas.microsoft.com/office/drawing/2014/main" id="{6C12ED3F-663D-4FB1-86E9-7BD63149D225}"/>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269" name="Freeform 55">
                    <a:extLst>
                      <a:ext uri="{FF2B5EF4-FFF2-40B4-BE49-F238E27FC236}">
                        <a16:creationId xmlns:a16="http://schemas.microsoft.com/office/drawing/2014/main" id="{DA463665-9BDB-479C-8778-D15E2C8B5F1F}"/>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270" name="Freeform 56">
                    <a:extLst>
                      <a:ext uri="{FF2B5EF4-FFF2-40B4-BE49-F238E27FC236}">
                        <a16:creationId xmlns:a16="http://schemas.microsoft.com/office/drawing/2014/main" id="{156A3620-5C7D-4D96-8EC4-3E0FE6E43DEC}"/>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271" name="Freeform 57">
                    <a:extLst>
                      <a:ext uri="{FF2B5EF4-FFF2-40B4-BE49-F238E27FC236}">
                        <a16:creationId xmlns:a16="http://schemas.microsoft.com/office/drawing/2014/main" id="{D60C9EFB-F78E-4F5C-8C27-255C45C5275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272" name="Freeform 58">
                    <a:extLst>
                      <a:ext uri="{FF2B5EF4-FFF2-40B4-BE49-F238E27FC236}">
                        <a16:creationId xmlns:a16="http://schemas.microsoft.com/office/drawing/2014/main" id="{1B665FB4-310F-441F-94B4-83FC0D8384EE}"/>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273" name="Freeform 59">
                    <a:extLst>
                      <a:ext uri="{FF2B5EF4-FFF2-40B4-BE49-F238E27FC236}">
                        <a16:creationId xmlns:a16="http://schemas.microsoft.com/office/drawing/2014/main" id="{3D499BEB-9641-4737-85C9-F8DEEF414D7C}"/>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275" name="Freeform 60">
                    <a:extLst>
                      <a:ext uri="{FF2B5EF4-FFF2-40B4-BE49-F238E27FC236}">
                        <a16:creationId xmlns:a16="http://schemas.microsoft.com/office/drawing/2014/main" id="{D53674C6-C2AE-4893-88A8-CFBC47CB872A}"/>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277" name="Freeform 61">
                    <a:extLst>
                      <a:ext uri="{FF2B5EF4-FFF2-40B4-BE49-F238E27FC236}">
                        <a16:creationId xmlns:a16="http://schemas.microsoft.com/office/drawing/2014/main" id="{2DC45F72-1E97-4621-8C6D-5F51A5E02EF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278" name="Oval 1277">
                    <a:extLst>
                      <a:ext uri="{FF2B5EF4-FFF2-40B4-BE49-F238E27FC236}">
                        <a16:creationId xmlns:a16="http://schemas.microsoft.com/office/drawing/2014/main" id="{BFBFFA17-40FA-4394-9231-4865F32E7CD2}"/>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359" name="Freeform 63">
                    <a:extLst>
                      <a:ext uri="{FF2B5EF4-FFF2-40B4-BE49-F238E27FC236}">
                        <a16:creationId xmlns:a16="http://schemas.microsoft.com/office/drawing/2014/main" id="{ED640785-8C46-48C7-8F9C-A348AAB29AAF}"/>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360" name="Rectangle 1359">
                    <a:extLst>
                      <a:ext uri="{FF2B5EF4-FFF2-40B4-BE49-F238E27FC236}">
                        <a16:creationId xmlns:a16="http://schemas.microsoft.com/office/drawing/2014/main" id="{2628A1DC-4A08-4D23-9921-3C50DD510342}"/>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361" name="Freeform 65">
                    <a:extLst>
                      <a:ext uri="{FF2B5EF4-FFF2-40B4-BE49-F238E27FC236}">
                        <a16:creationId xmlns:a16="http://schemas.microsoft.com/office/drawing/2014/main" id="{F507464E-3B20-437A-A20C-198E687BE4E6}"/>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362" name="Freeform 66">
                    <a:extLst>
                      <a:ext uri="{FF2B5EF4-FFF2-40B4-BE49-F238E27FC236}">
                        <a16:creationId xmlns:a16="http://schemas.microsoft.com/office/drawing/2014/main" id="{7ECE3FE0-4821-4DFC-A1B2-E75E62516447}"/>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363" name="Rectangle 1362">
                    <a:extLst>
                      <a:ext uri="{FF2B5EF4-FFF2-40B4-BE49-F238E27FC236}">
                        <a16:creationId xmlns:a16="http://schemas.microsoft.com/office/drawing/2014/main" id="{C5932EF4-C109-4EA0-A66B-60C40A3DF794}"/>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364" name="Freeform 68">
                    <a:extLst>
                      <a:ext uri="{FF2B5EF4-FFF2-40B4-BE49-F238E27FC236}">
                        <a16:creationId xmlns:a16="http://schemas.microsoft.com/office/drawing/2014/main" id="{8BBAE642-0CD8-4C38-B5AD-E7DACE64919B}"/>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365" name="Freeform 69">
                    <a:extLst>
                      <a:ext uri="{FF2B5EF4-FFF2-40B4-BE49-F238E27FC236}">
                        <a16:creationId xmlns:a16="http://schemas.microsoft.com/office/drawing/2014/main" id="{A014699F-3582-4344-98F5-4671ABA76C5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366" name="Freeform 70">
                    <a:extLst>
                      <a:ext uri="{FF2B5EF4-FFF2-40B4-BE49-F238E27FC236}">
                        <a16:creationId xmlns:a16="http://schemas.microsoft.com/office/drawing/2014/main" id="{8B961840-9761-43BD-B0D6-85C93C37B05F}"/>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367" name="Freeform 71">
                    <a:extLst>
                      <a:ext uri="{FF2B5EF4-FFF2-40B4-BE49-F238E27FC236}">
                        <a16:creationId xmlns:a16="http://schemas.microsoft.com/office/drawing/2014/main" id="{C4188B4F-1644-4977-BBF5-04BB25D978EE}"/>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368" name="Freeform 72">
                    <a:extLst>
                      <a:ext uri="{FF2B5EF4-FFF2-40B4-BE49-F238E27FC236}">
                        <a16:creationId xmlns:a16="http://schemas.microsoft.com/office/drawing/2014/main" id="{5062A12F-72BF-4EEA-A3B8-1F333D517521}"/>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369" name="Freeform 73">
                    <a:extLst>
                      <a:ext uri="{FF2B5EF4-FFF2-40B4-BE49-F238E27FC236}">
                        <a16:creationId xmlns:a16="http://schemas.microsoft.com/office/drawing/2014/main" id="{634A787A-CF27-4237-8BA2-6A707C4DB907}"/>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370" name="Freeform 74">
                    <a:extLst>
                      <a:ext uri="{FF2B5EF4-FFF2-40B4-BE49-F238E27FC236}">
                        <a16:creationId xmlns:a16="http://schemas.microsoft.com/office/drawing/2014/main" id="{F21293BF-A23E-4427-B07A-9BD7DE4DD29B}"/>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371" name="Rectangle 1370">
                    <a:extLst>
                      <a:ext uri="{FF2B5EF4-FFF2-40B4-BE49-F238E27FC236}">
                        <a16:creationId xmlns:a16="http://schemas.microsoft.com/office/drawing/2014/main" id="{20C7CD51-6519-41CA-A2EE-435E73AE05A0}"/>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1372" name="Rectangle 1371">
                    <a:extLst>
                      <a:ext uri="{FF2B5EF4-FFF2-40B4-BE49-F238E27FC236}">
                        <a16:creationId xmlns:a16="http://schemas.microsoft.com/office/drawing/2014/main" id="{B4CD80CE-B5F2-47F4-A404-9D8F3AA3CD77}"/>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814" name="Rectangle 813">
                <a:extLst>
                  <a:ext uri="{FF2B5EF4-FFF2-40B4-BE49-F238E27FC236}">
                    <a16:creationId xmlns:a16="http://schemas.microsoft.com/office/drawing/2014/main" id="{F609BD57-C874-4A1E-BEA1-B83E9DE94F25}"/>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800" name="Rectangle 799">
            <a:extLst>
              <a:ext uri="{FF2B5EF4-FFF2-40B4-BE49-F238E27FC236}">
                <a16:creationId xmlns:a16="http://schemas.microsoft.com/office/drawing/2014/main" id="{61626319-F8BF-4896-B09D-BD2FFEA1BFE5}"/>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Note: Non-session host VMs still require Windows Server license (only if Azure Hybrid Benefits are not available)</a:t>
            </a:r>
          </a:p>
          <a:p>
            <a:pPr fontAlgn="base"/>
            <a:r>
              <a:rPr lang="en-US" sz="1000" dirty="0"/>
              <a:t>Note: With Azure NetApp Files or Azure Files, customers also save the cost of Windows Server license and its hosting VM that would otherwise be required by File Server</a:t>
            </a:r>
          </a:p>
          <a:p>
            <a:pPr fontAlgn="base"/>
            <a:r>
              <a:rPr lang="en-US" sz="1000" dirty="0"/>
              <a:t>Note: Figures are illustrative and based on pre-configured assumptions; actual savings vary by user requirements and infrastructure configuration</a:t>
            </a:r>
          </a:p>
        </p:txBody>
      </p:sp>
      <p:grpSp>
        <p:nvGrpSpPr>
          <p:cNvPr id="493" name="Group 492">
            <a:extLst>
              <a:ext uri="{FF2B5EF4-FFF2-40B4-BE49-F238E27FC236}">
                <a16:creationId xmlns:a16="http://schemas.microsoft.com/office/drawing/2014/main" id="{BA127BC2-3DC4-4730-83BF-B8205674E2FB}"/>
              </a:ext>
            </a:extLst>
          </p:cNvPr>
          <p:cNvGrpSpPr/>
          <p:nvPr/>
        </p:nvGrpSpPr>
        <p:grpSpPr>
          <a:xfrm>
            <a:off x="10052458" y="146014"/>
            <a:ext cx="2033626" cy="1015650"/>
            <a:chOff x="10052458" y="146014"/>
            <a:chExt cx="2033626" cy="1015650"/>
          </a:xfrm>
        </p:grpSpPr>
        <p:pic>
          <p:nvPicPr>
            <p:cNvPr id="494" name="Picture 493">
              <a:extLst>
                <a:ext uri="{FF2B5EF4-FFF2-40B4-BE49-F238E27FC236}">
                  <a16:creationId xmlns:a16="http://schemas.microsoft.com/office/drawing/2014/main" id="{CBC1C5C1-DE94-4B9D-872E-4A724A46B470}"/>
                </a:ext>
              </a:extLst>
            </p:cNvPr>
            <p:cNvPicPr>
              <a:picLocks noChangeAspect="1"/>
            </p:cNvPicPr>
            <p:nvPr/>
          </p:nvPicPr>
          <p:blipFill>
            <a:blip r:embed="rId19"/>
            <a:stretch>
              <a:fillRect/>
            </a:stretch>
          </p:blipFill>
          <p:spPr>
            <a:xfrm>
              <a:off x="10052458" y="146014"/>
              <a:ext cx="2033626" cy="1015650"/>
            </a:xfrm>
            <a:prstGeom prst="rect">
              <a:avLst/>
            </a:prstGeom>
          </p:spPr>
        </p:pic>
        <p:sp>
          <p:nvSpPr>
            <p:cNvPr id="495" name="Rectangle 494">
              <a:extLst>
                <a:ext uri="{FF2B5EF4-FFF2-40B4-BE49-F238E27FC236}">
                  <a16:creationId xmlns:a16="http://schemas.microsoft.com/office/drawing/2014/main" id="{5BC08B97-13FB-4BB0-A1FE-1D01A75229E6}"/>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335275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114652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0"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Opex Spend Aligned to Business Usage</a:t>
            </a:r>
          </a:p>
        </p:txBody>
      </p:sp>
      <p:sp>
        <p:nvSpPr>
          <p:cNvPr id="901" name="Rectangle 900">
            <a:extLst>
              <a:ext uri="{FF2B5EF4-FFF2-40B4-BE49-F238E27FC236}">
                <a16:creationId xmlns:a16="http://schemas.microsoft.com/office/drawing/2014/main" id="{5AA30C7E-C7E7-4598-8F15-799E41867678}"/>
              </a:ext>
            </a:extLst>
          </p:cNvPr>
          <p:cNvSpPr/>
          <p:nvPr/>
        </p:nvSpPr>
        <p:spPr>
          <a:xfrm>
            <a:off x="533943" y="114846"/>
            <a:ext cx="3462615" cy="369332"/>
          </a:xfrm>
          <a:prstGeom prst="rect">
            <a:avLst/>
          </a:prstGeom>
        </p:spPr>
        <p:txBody>
          <a:bodyPr wrap="none">
            <a:spAutoFit/>
          </a:bodyPr>
          <a:lstStyle/>
          <a:p>
            <a:r>
              <a:rPr lang="en-US" b="1" i="1" dirty="0"/>
              <a:t>Cost-optimized infrastructure</a:t>
            </a:r>
          </a:p>
        </p:txBody>
      </p:sp>
      <p:sp>
        <p:nvSpPr>
          <p:cNvPr id="704" name="Rectangle 703">
            <a:extLst>
              <a:ext uri="{FF2B5EF4-FFF2-40B4-BE49-F238E27FC236}">
                <a16:creationId xmlns:a16="http://schemas.microsoft.com/office/drawing/2014/main" id="{C834C5E7-48C2-47BF-B130-27F2C6415347}"/>
              </a:ext>
            </a:extLst>
          </p:cNvPr>
          <p:cNvSpPr/>
          <p:nvPr/>
        </p:nvSpPr>
        <p:spPr bwMode="auto">
          <a:xfrm>
            <a:off x="584200" y="2351226"/>
            <a:ext cx="7330440" cy="36593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1415" name="TextBox 1414">
            <a:extLst>
              <a:ext uri="{FF2B5EF4-FFF2-40B4-BE49-F238E27FC236}">
                <a16:creationId xmlns:a16="http://schemas.microsoft.com/office/drawing/2014/main" id="{50191041-968B-41D8-97F3-3B039DDEA753}"/>
              </a:ext>
            </a:extLst>
          </p:cNvPr>
          <p:cNvSpPr txBox="1"/>
          <p:nvPr/>
        </p:nvSpPr>
        <p:spPr>
          <a:xfrm>
            <a:off x="4540234" y="2411903"/>
            <a:ext cx="3307089" cy="350411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defTabSz="914400" fontAlgn="auto">
              <a:spcBef>
                <a:spcPts val="0"/>
              </a:spcBef>
              <a:spcAft>
                <a:spcPts val="0"/>
              </a:spcAft>
            </a:pPr>
            <a:r>
              <a:rPr lang="en-US" sz="1200" b="1" dirty="0">
                <a:solidFill>
                  <a:schemeClr val="tx1"/>
                </a:solidFill>
                <a:ea typeface="+mn-ea"/>
                <a:cs typeface="+mn-cs"/>
              </a:rPr>
              <a:t>Pay on monthly basis for actual capacity</a:t>
            </a:r>
          </a:p>
        </p:txBody>
      </p:sp>
      <p:sp>
        <p:nvSpPr>
          <p:cNvPr id="703" name="TextBox 702">
            <a:extLst>
              <a:ext uri="{FF2B5EF4-FFF2-40B4-BE49-F238E27FC236}">
                <a16:creationId xmlns:a16="http://schemas.microsoft.com/office/drawing/2014/main" id="{FB59F986-A73C-48FF-BA56-1713E379B557}"/>
              </a:ext>
            </a:extLst>
          </p:cNvPr>
          <p:cNvSpPr txBox="1"/>
          <p:nvPr/>
        </p:nvSpPr>
        <p:spPr>
          <a:xfrm>
            <a:off x="8302299" y="2887390"/>
            <a:ext cx="3307089" cy="302806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Bef>
                <a:spcPts val="600"/>
              </a:spcBef>
              <a:spcAft>
                <a:spcPts val="1200"/>
              </a:spcAft>
            </a:pPr>
            <a:r>
              <a:rPr lang="en-US" sz="1400" i="1" u="sng" dirty="0">
                <a:solidFill>
                  <a:schemeClr val="tx2"/>
                </a:solidFill>
              </a:rPr>
              <a:t>Avoid</a:t>
            </a:r>
            <a:r>
              <a:rPr lang="en-US" sz="1400" i="1" dirty="0">
                <a:solidFill>
                  <a:schemeClr val="tx2"/>
                </a:solidFill>
              </a:rPr>
              <a:t> large upfront financial commitments and deployment projects</a:t>
            </a:r>
          </a:p>
          <a:p>
            <a:pPr>
              <a:spcBef>
                <a:spcPts val="600"/>
              </a:spcBef>
              <a:spcAft>
                <a:spcPts val="1200"/>
              </a:spcAft>
            </a:pPr>
            <a:r>
              <a:rPr lang="en-US" sz="1400" i="1" u="sng" dirty="0">
                <a:solidFill>
                  <a:schemeClr val="tx2"/>
                </a:solidFill>
              </a:rPr>
              <a:t>Match</a:t>
            </a:r>
            <a:r>
              <a:rPr lang="en-US" sz="1400" i="1" dirty="0">
                <a:solidFill>
                  <a:schemeClr val="tx2"/>
                </a:solidFill>
              </a:rPr>
              <a:t> capacity to operational needs</a:t>
            </a:r>
          </a:p>
          <a:p>
            <a:pPr>
              <a:spcBef>
                <a:spcPts val="600"/>
              </a:spcBef>
              <a:spcAft>
                <a:spcPts val="1200"/>
              </a:spcAft>
            </a:pPr>
            <a:r>
              <a:rPr lang="en-US" sz="1400" i="1" u="sng" dirty="0">
                <a:solidFill>
                  <a:schemeClr val="tx2"/>
                </a:solidFill>
              </a:rPr>
              <a:t>Align</a:t>
            </a:r>
            <a:r>
              <a:rPr lang="en-US" sz="1400" i="1" dirty="0">
                <a:solidFill>
                  <a:schemeClr val="tx2"/>
                </a:solidFill>
              </a:rPr>
              <a:t> IT HW, SW, and services with changing business requirements</a:t>
            </a:r>
          </a:p>
          <a:p>
            <a:pPr>
              <a:spcBef>
                <a:spcPts val="600"/>
              </a:spcBef>
              <a:spcAft>
                <a:spcPts val="1200"/>
              </a:spcAft>
            </a:pPr>
            <a:r>
              <a:rPr lang="en-US" sz="1400" i="1" dirty="0">
                <a:solidFill>
                  <a:schemeClr val="tx2"/>
                </a:solidFill>
              </a:rPr>
              <a:t>Enable accurate departmental</a:t>
            </a:r>
            <a:br>
              <a:rPr lang="en-US" sz="1400" i="1" dirty="0">
                <a:solidFill>
                  <a:schemeClr val="tx2"/>
                </a:solidFill>
              </a:rPr>
            </a:br>
            <a:r>
              <a:rPr lang="en-US" sz="1400" i="1" u="sng" dirty="0">
                <a:solidFill>
                  <a:schemeClr val="tx2"/>
                </a:solidFill>
              </a:rPr>
              <a:t>cross-charge</a:t>
            </a:r>
            <a:r>
              <a:rPr lang="en-US" sz="1400" i="1" dirty="0">
                <a:solidFill>
                  <a:schemeClr val="tx2"/>
                </a:solidFill>
              </a:rPr>
              <a:t> and COGS alignment</a:t>
            </a:r>
          </a:p>
        </p:txBody>
      </p:sp>
      <p:sp>
        <p:nvSpPr>
          <p:cNvPr id="706" name="TextBox 705">
            <a:extLst>
              <a:ext uri="{FF2B5EF4-FFF2-40B4-BE49-F238E27FC236}">
                <a16:creationId xmlns:a16="http://schemas.microsoft.com/office/drawing/2014/main" id="{EAFC6802-0C18-41E0-85F1-E612BFC49D1A}"/>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400" b="1" dirty="0">
                <a:solidFill>
                  <a:schemeClr val="bg1"/>
                </a:solidFill>
              </a:rPr>
              <a:t>Economic Benefit</a:t>
            </a:r>
          </a:p>
        </p:txBody>
      </p:sp>
      <p:sp>
        <p:nvSpPr>
          <p:cNvPr id="708" name="TextBox 707">
            <a:extLst>
              <a:ext uri="{FF2B5EF4-FFF2-40B4-BE49-F238E27FC236}">
                <a16:creationId xmlns:a16="http://schemas.microsoft.com/office/drawing/2014/main" id="{326882EA-99ED-4319-8F50-C3390576A658}"/>
              </a:ext>
            </a:extLst>
          </p:cNvPr>
          <p:cNvSpPr txBox="1"/>
          <p:nvPr/>
        </p:nvSpPr>
        <p:spPr>
          <a:xfrm>
            <a:off x="651493" y="2411902"/>
            <a:ext cx="3307089" cy="350411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defTabSz="914400" fontAlgn="auto">
              <a:spcBef>
                <a:spcPts val="0"/>
              </a:spcBef>
              <a:spcAft>
                <a:spcPts val="0"/>
              </a:spcAft>
            </a:pPr>
            <a:r>
              <a:rPr lang="en-US" sz="1200" b="1" dirty="0">
                <a:solidFill>
                  <a:schemeClr val="tx1"/>
                </a:solidFill>
                <a:ea typeface="+mn-ea"/>
                <a:cs typeface="+mn-cs"/>
              </a:rPr>
              <a:t>Invest and build for peak demand</a:t>
            </a:r>
          </a:p>
        </p:txBody>
      </p:sp>
      <p:sp>
        <p:nvSpPr>
          <p:cNvPr id="709" name="TextBox 708">
            <a:extLst>
              <a:ext uri="{FF2B5EF4-FFF2-40B4-BE49-F238E27FC236}">
                <a16:creationId xmlns:a16="http://schemas.microsoft.com/office/drawing/2014/main" id="{08BBC79F-917E-453A-979B-D229B28DE349}"/>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400" b="1" dirty="0">
                <a:solidFill>
                  <a:schemeClr val="bg1"/>
                </a:solidFill>
              </a:rPr>
              <a:t>On-prem</a:t>
            </a:r>
          </a:p>
        </p:txBody>
      </p:sp>
      <p:sp>
        <p:nvSpPr>
          <p:cNvPr id="710" name="TextBox 709">
            <a:extLst>
              <a:ext uri="{FF2B5EF4-FFF2-40B4-BE49-F238E27FC236}">
                <a16:creationId xmlns:a16="http://schemas.microsoft.com/office/drawing/2014/main" id="{C9EA1AB3-7E4F-42D9-AE25-7F19ECC20962}"/>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400" b="1" dirty="0">
                <a:solidFill>
                  <a:schemeClr val="bg1"/>
                </a:solidFill>
              </a:rPr>
              <a:t>Cloud</a:t>
            </a:r>
          </a:p>
        </p:txBody>
      </p:sp>
      <p:grpSp>
        <p:nvGrpSpPr>
          <p:cNvPr id="6" name="Group 5">
            <a:extLst>
              <a:ext uri="{FF2B5EF4-FFF2-40B4-BE49-F238E27FC236}">
                <a16:creationId xmlns:a16="http://schemas.microsoft.com/office/drawing/2014/main" id="{52DD8476-C4F4-48E0-A799-84E04554DA8C}"/>
              </a:ext>
            </a:extLst>
          </p:cNvPr>
          <p:cNvGrpSpPr/>
          <p:nvPr/>
        </p:nvGrpSpPr>
        <p:grpSpPr>
          <a:xfrm>
            <a:off x="4048759" y="2550635"/>
            <a:ext cx="401322" cy="3292123"/>
            <a:chOff x="4048759" y="2770559"/>
            <a:chExt cx="401322" cy="3292123"/>
          </a:xfrm>
        </p:grpSpPr>
        <p:cxnSp>
          <p:nvCxnSpPr>
            <p:cNvPr id="882" name="Straight Connector 881">
              <a:extLst>
                <a:ext uri="{FF2B5EF4-FFF2-40B4-BE49-F238E27FC236}">
                  <a16:creationId xmlns:a16="http://schemas.microsoft.com/office/drawing/2014/main" id="{8A555161-ACEC-4CAD-9038-9857ECFD4727}"/>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883" name="Group 882">
              <a:extLst>
                <a:ext uri="{FF2B5EF4-FFF2-40B4-BE49-F238E27FC236}">
                  <a16:creationId xmlns:a16="http://schemas.microsoft.com/office/drawing/2014/main" id="{FE46D335-A3CB-4839-8BB9-D988673255EF}"/>
                </a:ext>
              </a:extLst>
            </p:cNvPr>
            <p:cNvGrpSpPr/>
            <p:nvPr/>
          </p:nvGrpSpPr>
          <p:grpSpPr>
            <a:xfrm>
              <a:off x="4048759" y="4250939"/>
              <a:ext cx="401322" cy="401322"/>
              <a:chOff x="4048759" y="4228862"/>
              <a:chExt cx="401322" cy="401322"/>
            </a:xfrm>
          </p:grpSpPr>
          <p:sp>
            <p:nvSpPr>
              <p:cNvPr id="884" name="Oval 883">
                <a:extLst>
                  <a:ext uri="{FF2B5EF4-FFF2-40B4-BE49-F238E27FC236}">
                    <a16:creationId xmlns:a16="http://schemas.microsoft.com/office/drawing/2014/main" id="{5F7EC470-CEA2-4E94-A73E-2C0266E4507C}"/>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85" name="Isosceles Triangle 884">
                <a:extLst>
                  <a:ext uri="{FF2B5EF4-FFF2-40B4-BE49-F238E27FC236}">
                    <a16:creationId xmlns:a16="http://schemas.microsoft.com/office/drawing/2014/main" id="{70F8761C-3210-4324-93D9-61EBB8B47678}"/>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519" name="Straight Arrow Connector 518">
            <a:extLst>
              <a:ext uri="{FF2B5EF4-FFF2-40B4-BE49-F238E27FC236}">
                <a16:creationId xmlns:a16="http://schemas.microsoft.com/office/drawing/2014/main" id="{9D8EAB59-714A-4C9E-8C98-916392E8D73F}"/>
              </a:ext>
            </a:extLst>
          </p:cNvPr>
          <p:cNvCxnSpPr>
            <a:cxnSpLocks/>
          </p:cNvCxnSpPr>
          <p:nvPr/>
        </p:nvCxnSpPr>
        <p:spPr>
          <a:xfrm>
            <a:off x="3139901" y="3300248"/>
            <a:ext cx="0" cy="215112"/>
          </a:xfrm>
          <a:prstGeom prst="straightConnector1">
            <a:avLst/>
          </a:prstGeom>
          <a:ln w="31750">
            <a:solidFill>
              <a:srgbClr val="FF0000"/>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520" name="Chart 519">
            <a:extLst>
              <a:ext uri="{FF2B5EF4-FFF2-40B4-BE49-F238E27FC236}">
                <a16:creationId xmlns:a16="http://schemas.microsoft.com/office/drawing/2014/main" id="{3175BCF5-9137-44FD-AE5E-27FA25BC38DF}"/>
              </a:ext>
            </a:extLst>
          </p:cNvPr>
          <p:cNvGraphicFramePr/>
          <p:nvPr/>
        </p:nvGraphicFramePr>
        <p:xfrm>
          <a:off x="1287948" y="3484597"/>
          <a:ext cx="2138079" cy="1857542"/>
        </p:xfrm>
        <a:graphic>
          <a:graphicData uri="http://schemas.openxmlformats.org/drawingml/2006/chart">
            <c:chart xmlns:c="http://schemas.openxmlformats.org/drawingml/2006/chart" xmlns:r="http://schemas.openxmlformats.org/officeDocument/2006/relationships" r:id="rId8"/>
          </a:graphicData>
        </a:graphic>
      </p:graphicFrame>
      <p:sp>
        <p:nvSpPr>
          <p:cNvPr id="521" name="Freeform: Shape 520">
            <a:extLst>
              <a:ext uri="{FF2B5EF4-FFF2-40B4-BE49-F238E27FC236}">
                <a16:creationId xmlns:a16="http://schemas.microsoft.com/office/drawing/2014/main" id="{E095B8D3-7A23-4ADE-BEDA-D01E407EA258}"/>
              </a:ext>
            </a:extLst>
          </p:cNvPr>
          <p:cNvSpPr/>
          <p:nvPr/>
        </p:nvSpPr>
        <p:spPr bwMode="auto">
          <a:xfrm>
            <a:off x="1437265" y="3815988"/>
            <a:ext cx="1974850" cy="1106487"/>
          </a:xfrm>
          <a:custGeom>
            <a:avLst/>
            <a:gdLst>
              <a:gd name="connsiteX0" fmla="*/ 0 w 1981200"/>
              <a:gd name="connsiteY0" fmla="*/ 1100137 h 1100137"/>
              <a:gd name="connsiteX1" fmla="*/ 495300 w 1981200"/>
              <a:gd name="connsiteY1" fmla="*/ 790575 h 1100137"/>
              <a:gd name="connsiteX2" fmla="*/ 990600 w 1981200"/>
              <a:gd name="connsiteY2" fmla="*/ 633412 h 1100137"/>
              <a:gd name="connsiteX3" fmla="*/ 1490662 w 1981200"/>
              <a:gd name="connsiteY3" fmla="*/ 152400 h 1100137"/>
              <a:gd name="connsiteX4" fmla="*/ 1981200 w 1981200"/>
              <a:gd name="connsiteY4" fmla="*/ 0 h 1100137"/>
              <a:gd name="connsiteX0" fmla="*/ 0 w 1974850"/>
              <a:gd name="connsiteY0" fmla="*/ 1106487 h 1106487"/>
              <a:gd name="connsiteX1" fmla="*/ 488950 w 1974850"/>
              <a:gd name="connsiteY1" fmla="*/ 790575 h 1106487"/>
              <a:gd name="connsiteX2" fmla="*/ 984250 w 1974850"/>
              <a:gd name="connsiteY2" fmla="*/ 633412 h 1106487"/>
              <a:gd name="connsiteX3" fmla="*/ 1484312 w 1974850"/>
              <a:gd name="connsiteY3" fmla="*/ 152400 h 1106487"/>
              <a:gd name="connsiteX4" fmla="*/ 1974850 w 1974850"/>
              <a:gd name="connsiteY4" fmla="*/ 0 h 110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4850" h="1106487">
                <a:moveTo>
                  <a:pt x="0" y="1106487"/>
                </a:moveTo>
                <a:lnTo>
                  <a:pt x="488950" y="790575"/>
                </a:lnTo>
                <a:lnTo>
                  <a:pt x="984250" y="633412"/>
                </a:lnTo>
                <a:lnTo>
                  <a:pt x="1484312" y="152400"/>
                </a:lnTo>
                <a:lnTo>
                  <a:pt x="1974850" y="0"/>
                </a:lnTo>
              </a:path>
            </a:pathLst>
          </a:custGeom>
          <a:noFill/>
          <a:ln w="2540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522" name="TextBox 521">
            <a:extLst>
              <a:ext uri="{FF2B5EF4-FFF2-40B4-BE49-F238E27FC236}">
                <a16:creationId xmlns:a16="http://schemas.microsoft.com/office/drawing/2014/main" id="{3EBCD6B8-6765-42C2-A683-220AD88090F8}"/>
              </a:ext>
            </a:extLst>
          </p:cNvPr>
          <p:cNvSpPr txBox="1"/>
          <p:nvPr/>
        </p:nvSpPr>
        <p:spPr>
          <a:xfrm>
            <a:off x="778574" y="4448764"/>
            <a:ext cx="564257" cy="169277"/>
          </a:xfrm>
          <a:prstGeom prst="rect">
            <a:avLst/>
          </a:prstGeom>
          <a:noFill/>
        </p:spPr>
        <p:txBody>
          <a:bodyPr wrap="none" lIns="0" tIns="0" rIns="0" bIns="0" rtlCol="0">
            <a:spAutoFit/>
          </a:bodyPr>
          <a:lstStyle/>
          <a:p>
            <a:pPr algn="l"/>
            <a:r>
              <a:rPr lang="en-US" sz="1100" b="1" dirty="0"/>
              <a:t>Capacity</a:t>
            </a:r>
          </a:p>
        </p:txBody>
      </p:sp>
      <p:sp>
        <p:nvSpPr>
          <p:cNvPr id="523" name="TextBox 522">
            <a:extLst>
              <a:ext uri="{FF2B5EF4-FFF2-40B4-BE49-F238E27FC236}">
                <a16:creationId xmlns:a16="http://schemas.microsoft.com/office/drawing/2014/main" id="{549B7C33-2C05-4BA5-8968-89D90A0E2E58}"/>
              </a:ext>
            </a:extLst>
          </p:cNvPr>
          <p:cNvSpPr txBox="1"/>
          <p:nvPr/>
        </p:nvSpPr>
        <p:spPr>
          <a:xfrm rot="19456237">
            <a:off x="1731817" y="4747486"/>
            <a:ext cx="403957" cy="169277"/>
          </a:xfrm>
          <a:prstGeom prst="rect">
            <a:avLst/>
          </a:prstGeom>
          <a:noFill/>
          <a:ln>
            <a:noFill/>
          </a:ln>
        </p:spPr>
        <p:txBody>
          <a:bodyPr wrap="none" lIns="0" tIns="0" rIns="0" bIns="0" rtlCol="0">
            <a:spAutoFit/>
          </a:bodyPr>
          <a:lstStyle/>
          <a:p>
            <a:pPr algn="l"/>
            <a:r>
              <a:rPr lang="en-US" sz="1100" b="1" dirty="0">
                <a:solidFill>
                  <a:schemeClr val="bg1"/>
                </a:solidFill>
              </a:rPr>
              <a:t>Usage</a:t>
            </a:r>
          </a:p>
        </p:txBody>
      </p:sp>
      <p:sp>
        <p:nvSpPr>
          <p:cNvPr id="524" name="Freeform: Shape 523">
            <a:extLst>
              <a:ext uri="{FF2B5EF4-FFF2-40B4-BE49-F238E27FC236}">
                <a16:creationId xmlns:a16="http://schemas.microsoft.com/office/drawing/2014/main" id="{ED755438-17DF-429F-A909-6E59EF28D2E1}"/>
              </a:ext>
            </a:extLst>
          </p:cNvPr>
          <p:cNvSpPr/>
          <p:nvPr/>
        </p:nvSpPr>
        <p:spPr bwMode="auto">
          <a:xfrm>
            <a:off x="1431711" y="3547699"/>
            <a:ext cx="1992140" cy="677449"/>
          </a:xfrm>
          <a:custGeom>
            <a:avLst/>
            <a:gdLst>
              <a:gd name="connsiteX0" fmla="*/ 0 w 1885950"/>
              <a:gd name="connsiteY0" fmla="*/ 552450 h 552450"/>
              <a:gd name="connsiteX1" fmla="*/ 673100 w 1885950"/>
              <a:gd name="connsiteY1" fmla="*/ 552450 h 552450"/>
              <a:gd name="connsiteX2" fmla="*/ 673100 w 1885950"/>
              <a:gd name="connsiteY2" fmla="*/ 0 h 552450"/>
              <a:gd name="connsiteX3" fmla="*/ 1885950 w 1885950"/>
              <a:gd name="connsiteY3" fmla="*/ 0 h 552450"/>
              <a:gd name="connsiteX0" fmla="*/ 0 w 1885950"/>
              <a:gd name="connsiteY0" fmla="*/ 552450 h 552450"/>
              <a:gd name="connsiteX1" fmla="*/ 673100 w 1885950"/>
              <a:gd name="connsiteY1" fmla="*/ 552450 h 552450"/>
              <a:gd name="connsiteX2" fmla="*/ 673100 w 1885950"/>
              <a:gd name="connsiteY2" fmla="*/ 11906 h 552450"/>
              <a:gd name="connsiteX3" fmla="*/ 1885950 w 1885950"/>
              <a:gd name="connsiteY3" fmla="*/ 0 h 552450"/>
              <a:gd name="connsiteX0" fmla="*/ 0 w 1881187"/>
              <a:gd name="connsiteY0" fmla="*/ 540544 h 540544"/>
              <a:gd name="connsiteX1" fmla="*/ 673100 w 1881187"/>
              <a:gd name="connsiteY1" fmla="*/ 540544 h 540544"/>
              <a:gd name="connsiteX2" fmla="*/ 673100 w 1881187"/>
              <a:gd name="connsiteY2" fmla="*/ 0 h 540544"/>
              <a:gd name="connsiteX3" fmla="*/ 1881187 w 1881187"/>
              <a:gd name="connsiteY3" fmla="*/ 0 h 540544"/>
              <a:gd name="connsiteX0" fmla="*/ 0 w 1448815"/>
              <a:gd name="connsiteY0" fmla="*/ 540544 h 540544"/>
              <a:gd name="connsiteX1" fmla="*/ 673100 w 1448815"/>
              <a:gd name="connsiteY1" fmla="*/ 540544 h 540544"/>
              <a:gd name="connsiteX2" fmla="*/ 673100 w 1448815"/>
              <a:gd name="connsiteY2" fmla="*/ 0 h 540544"/>
              <a:gd name="connsiteX3" fmla="*/ 1448815 w 1448815"/>
              <a:gd name="connsiteY3" fmla="*/ 0 h 540544"/>
              <a:gd name="connsiteX0" fmla="*/ 0 w 1347625"/>
              <a:gd name="connsiteY0" fmla="*/ 540544 h 540544"/>
              <a:gd name="connsiteX1" fmla="*/ 673100 w 1347625"/>
              <a:gd name="connsiteY1" fmla="*/ 540544 h 540544"/>
              <a:gd name="connsiteX2" fmla="*/ 673100 w 1347625"/>
              <a:gd name="connsiteY2" fmla="*/ 0 h 540544"/>
              <a:gd name="connsiteX3" fmla="*/ 1347625 w 1347625"/>
              <a:gd name="connsiteY3" fmla="*/ 0 h 540544"/>
              <a:gd name="connsiteX0" fmla="*/ 0 w 1375770"/>
              <a:gd name="connsiteY0" fmla="*/ 540544 h 540544"/>
              <a:gd name="connsiteX1" fmla="*/ 673100 w 1375770"/>
              <a:gd name="connsiteY1" fmla="*/ 540544 h 540544"/>
              <a:gd name="connsiteX2" fmla="*/ 673100 w 1375770"/>
              <a:gd name="connsiteY2" fmla="*/ 0 h 540544"/>
              <a:gd name="connsiteX3" fmla="*/ 1375770 w 1375770"/>
              <a:gd name="connsiteY3" fmla="*/ 0 h 540544"/>
            </a:gdLst>
            <a:ahLst/>
            <a:cxnLst>
              <a:cxn ang="0">
                <a:pos x="connsiteX0" y="connsiteY0"/>
              </a:cxn>
              <a:cxn ang="0">
                <a:pos x="connsiteX1" y="connsiteY1"/>
              </a:cxn>
              <a:cxn ang="0">
                <a:pos x="connsiteX2" y="connsiteY2"/>
              </a:cxn>
              <a:cxn ang="0">
                <a:pos x="connsiteX3" y="connsiteY3"/>
              </a:cxn>
            </a:cxnLst>
            <a:rect l="l" t="t" r="r" b="b"/>
            <a:pathLst>
              <a:path w="1375770" h="540544">
                <a:moveTo>
                  <a:pt x="0" y="540544"/>
                </a:moveTo>
                <a:lnTo>
                  <a:pt x="673100" y="540544"/>
                </a:lnTo>
                <a:lnTo>
                  <a:pt x="673100" y="0"/>
                </a:lnTo>
                <a:lnTo>
                  <a:pt x="1375770" y="0"/>
                </a:lnTo>
              </a:path>
            </a:pathLst>
          </a:custGeom>
          <a:noFill/>
          <a:ln w="28575">
            <a:solidFill>
              <a:srgbClr val="FF0000"/>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graphicFrame>
        <p:nvGraphicFramePr>
          <p:cNvPr id="525" name="Chart 524">
            <a:extLst>
              <a:ext uri="{FF2B5EF4-FFF2-40B4-BE49-F238E27FC236}">
                <a16:creationId xmlns:a16="http://schemas.microsoft.com/office/drawing/2014/main" id="{802888A7-BED1-4721-B3B7-065460B55A8A}"/>
              </a:ext>
            </a:extLst>
          </p:cNvPr>
          <p:cNvGraphicFramePr/>
          <p:nvPr/>
        </p:nvGraphicFramePr>
        <p:xfrm>
          <a:off x="5091495" y="3527149"/>
          <a:ext cx="2495722" cy="1857542"/>
        </p:xfrm>
        <a:graphic>
          <a:graphicData uri="http://schemas.openxmlformats.org/drawingml/2006/chart">
            <c:chart xmlns:c="http://schemas.openxmlformats.org/drawingml/2006/chart" xmlns:r="http://schemas.openxmlformats.org/officeDocument/2006/relationships" r:id="rId9"/>
          </a:graphicData>
        </a:graphic>
      </p:graphicFrame>
      <p:sp>
        <p:nvSpPr>
          <p:cNvPr id="526" name="TextBox 525">
            <a:extLst>
              <a:ext uri="{FF2B5EF4-FFF2-40B4-BE49-F238E27FC236}">
                <a16:creationId xmlns:a16="http://schemas.microsoft.com/office/drawing/2014/main" id="{E6020DF9-4448-4B53-AF1B-F455EFFAEE00}"/>
              </a:ext>
            </a:extLst>
          </p:cNvPr>
          <p:cNvSpPr txBox="1"/>
          <p:nvPr/>
        </p:nvSpPr>
        <p:spPr>
          <a:xfrm>
            <a:off x="6174247" y="5319161"/>
            <a:ext cx="330219" cy="169277"/>
          </a:xfrm>
          <a:prstGeom prst="rect">
            <a:avLst/>
          </a:prstGeom>
          <a:noFill/>
        </p:spPr>
        <p:txBody>
          <a:bodyPr wrap="none" lIns="0" tIns="0" rIns="0" bIns="0" rtlCol="0">
            <a:spAutoFit/>
          </a:bodyPr>
          <a:lstStyle/>
          <a:p>
            <a:pPr algn="l"/>
            <a:r>
              <a:rPr lang="en-US" sz="1100" b="1" dirty="0"/>
              <a:t>Time</a:t>
            </a:r>
          </a:p>
        </p:txBody>
      </p:sp>
      <p:sp>
        <p:nvSpPr>
          <p:cNvPr id="527" name="TextBox 526">
            <a:extLst>
              <a:ext uri="{FF2B5EF4-FFF2-40B4-BE49-F238E27FC236}">
                <a16:creationId xmlns:a16="http://schemas.microsoft.com/office/drawing/2014/main" id="{9B2DAD17-8E4A-477F-80AA-3D64E2D59F4B}"/>
              </a:ext>
            </a:extLst>
          </p:cNvPr>
          <p:cNvSpPr txBox="1"/>
          <p:nvPr/>
        </p:nvSpPr>
        <p:spPr>
          <a:xfrm>
            <a:off x="4615537" y="4451629"/>
            <a:ext cx="564257" cy="169277"/>
          </a:xfrm>
          <a:prstGeom prst="rect">
            <a:avLst/>
          </a:prstGeom>
          <a:noFill/>
        </p:spPr>
        <p:txBody>
          <a:bodyPr wrap="none" lIns="0" tIns="0" rIns="0" bIns="0" rtlCol="0">
            <a:spAutoFit/>
          </a:bodyPr>
          <a:lstStyle/>
          <a:p>
            <a:pPr algn="l"/>
            <a:r>
              <a:rPr lang="en-US" sz="1100" b="1" dirty="0"/>
              <a:t>Capacity</a:t>
            </a:r>
          </a:p>
        </p:txBody>
      </p:sp>
      <p:sp>
        <p:nvSpPr>
          <p:cNvPr id="530" name="Freeform: Shape 529">
            <a:extLst>
              <a:ext uri="{FF2B5EF4-FFF2-40B4-BE49-F238E27FC236}">
                <a16:creationId xmlns:a16="http://schemas.microsoft.com/office/drawing/2014/main" id="{DA961210-C0A9-4E65-A9BA-CBF648AD7CED}"/>
              </a:ext>
            </a:extLst>
          </p:cNvPr>
          <p:cNvSpPr/>
          <p:nvPr/>
        </p:nvSpPr>
        <p:spPr bwMode="auto">
          <a:xfrm>
            <a:off x="5223967" y="3550564"/>
            <a:ext cx="1978751" cy="677449"/>
          </a:xfrm>
          <a:custGeom>
            <a:avLst/>
            <a:gdLst>
              <a:gd name="connsiteX0" fmla="*/ 0 w 1885950"/>
              <a:gd name="connsiteY0" fmla="*/ 552450 h 552450"/>
              <a:gd name="connsiteX1" fmla="*/ 673100 w 1885950"/>
              <a:gd name="connsiteY1" fmla="*/ 552450 h 552450"/>
              <a:gd name="connsiteX2" fmla="*/ 673100 w 1885950"/>
              <a:gd name="connsiteY2" fmla="*/ 0 h 552450"/>
              <a:gd name="connsiteX3" fmla="*/ 1885950 w 1885950"/>
              <a:gd name="connsiteY3" fmla="*/ 0 h 552450"/>
              <a:gd name="connsiteX0" fmla="*/ 0 w 1885950"/>
              <a:gd name="connsiteY0" fmla="*/ 552450 h 552450"/>
              <a:gd name="connsiteX1" fmla="*/ 673100 w 1885950"/>
              <a:gd name="connsiteY1" fmla="*/ 552450 h 552450"/>
              <a:gd name="connsiteX2" fmla="*/ 673100 w 1885950"/>
              <a:gd name="connsiteY2" fmla="*/ 11906 h 552450"/>
              <a:gd name="connsiteX3" fmla="*/ 1885950 w 1885950"/>
              <a:gd name="connsiteY3" fmla="*/ 0 h 552450"/>
              <a:gd name="connsiteX0" fmla="*/ 0 w 1881187"/>
              <a:gd name="connsiteY0" fmla="*/ 540544 h 540544"/>
              <a:gd name="connsiteX1" fmla="*/ 673100 w 1881187"/>
              <a:gd name="connsiteY1" fmla="*/ 540544 h 540544"/>
              <a:gd name="connsiteX2" fmla="*/ 673100 w 1881187"/>
              <a:gd name="connsiteY2" fmla="*/ 0 h 540544"/>
              <a:gd name="connsiteX3" fmla="*/ 1881187 w 1881187"/>
              <a:gd name="connsiteY3" fmla="*/ 0 h 540544"/>
              <a:gd name="connsiteX0" fmla="*/ 0 w 1448815"/>
              <a:gd name="connsiteY0" fmla="*/ 540544 h 540544"/>
              <a:gd name="connsiteX1" fmla="*/ 673100 w 1448815"/>
              <a:gd name="connsiteY1" fmla="*/ 540544 h 540544"/>
              <a:gd name="connsiteX2" fmla="*/ 673100 w 1448815"/>
              <a:gd name="connsiteY2" fmla="*/ 0 h 540544"/>
              <a:gd name="connsiteX3" fmla="*/ 1448815 w 1448815"/>
              <a:gd name="connsiteY3" fmla="*/ 0 h 540544"/>
              <a:gd name="connsiteX0" fmla="*/ 0 w 1347625"/>
              <a:gd name="connsiteY0" fmla="*/ 540544 h 540544"/>
              <a:gd name="connsiteX1" fmla="*/ 673100 w 1347625"/>
              <a:gd name="connsiteY1" fmla="*/ 540544 h 540544"/>
              <a:gd name="connsiteX2" fmla="*/ 673100 w 1347625"/>
              <a:gd name="connsiteY2" fmla="*/ 0 h 540544"/>
              <a:gd name="connsiteX3" fmla="*/ 1347625 w 1347625"/>
              <a:gd name="connsiteY3" fmla="*/ 0 h 540544"/>
              <a:gd name="connsiteX0" fmla="*/ 0 w 1375770"/>
              <a:gd name="connsiteY0" fmla="*/ 540544 h 540544"/>
              <a:gd name="connsiteX1" fmla="*/ 673100 w 1375770"/>
              <a:gd name="connsiteY1" fmla="*/ 540544 h 540544"/>
              <a:gd name="connsiteX2" fmla="*/ 673100 w 1375770"/>
              <a:gd name="connsiteY2" fmla="*/ 0 h 540544"/>
              <a:gd name="connsiteX3" fmla="*/ 1375770 w 1375770"/>
              <a:gd name="connsiteY3" fmla="*/ 0 h 540544"/>
            </a:gdLst>
            <a:ahLst/>
            <a:cxnLst>
              <a:cxn ang="0">
                <a:pos x="connsiteX0" y="connsiteY0"/>
              </a:cxn>
              <a:cxn ang="0">
                <a:pos x="connsiteX1" y="connsiteY1"/>
              </a:cxn>
              <a:cxn ang="0">
                <a:pos x="connsiteX2" y="connsiteY2"/>
              </a:cxn>
              <a:cxn ang="0">
                <a:pos x="connsiteX3" y="connsiteY3"/>
              </a:cxn>
            </a:cxnLst>
            <a:rect l="l" t="t" r="r" b="b"/>
            <a:pathLst>
              <a:path w="1375770" h="540544">
                <a:moveTo>
                  <a:pt x="0" y="540544"/>
                </a:moveTo>
                <a:lnTo>
                  <a:pt x="673100" y="540544"/>
                </a:lnTo>
                <a:lnTo>
                  <a:pt x="673100" y="0"/>
                </a:lnTo>
                <a:lnTo>
                  <a:pt x="1375770" y="0"/>
                </a:lnTo>
              </a:path>
            </a:pathLst>
          </a:custGeom>
          <a:noFill/>
          <a:ln w="15875">
            <a:solidFill>
              <a:schemeClr val="accent1"/>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531" name="TextBox 530">
            <a:extLst>
              <a:ext uri="{FF2B5EF4-FFF2-40B4-BE49-F238E27FC236}">
                <a16:creationId xmlns:a16="http://schemas.microsoft.com/office/drawing/2014/main" id="{B16F870E-3C5C-4825-8A4D-B99BEC201101}"/>
              </a:ext>
            </a:extLst>
          </p:cNvPr>
          <p:cNvSpPr txBox="1"/>
          <p:nvPr/>
        </p:nvSpPr>
        <p:spPr>
          <a:xfrm>
            <a:off x="2183837" y="5265107"/>
            <a:ext cx="330219" cy="169277"/>
          </a:xfrm>
          <a:prstGeom prst="rect">
            <a:avLst/>
          </a:prstGeom>
          <a:noFill/>
        </p:spPr>
        <p:txBody>
          <a:bodyPr wrap="none" lIns="0" tIns="0" rIns="0" bIns="0" rtlCol="0">
            <a:spAutoFit/>
          </a:bodyPr>
          <a:lstStyle/>
          <a:p>
            <a:pPr algn="l"/>
            <a:r>
              <a:rPr lang="en-US" sz="1100" b="1" dirty="0"/>
              <a:t>Time</a:t>
            </a:r>
          </a:p>
        </p:txBody>
      </p:sp>
      <p:sp>
        <p:nvSpPr>
          <p:cNvPr id="518" name="TextBox 517">
            <a:extLst>
              <a:ext uri="{FF2B5EF4-FFF2-40B4-BE49-F238E27FC236}">
                <a16:creationId xmlns:a16="http://schemas.microsoft.com/office/drawing/2014/main" id="{9F3A3DB2-6917-48A6-ADCB-3CFABF7CEA92}"/>
              </a:ext>
            </a:extLst>
          </p:cNvPr>
          <p:cNvSpPr txBox="1"/>
          <p:nvPr/>
        </p:nvSpPr>
        <p:spPr>
          <a:xfrm>
            <a:off x="2618925" y="3092027"/>
            <a:ext cx="1041952" cy="169277"/>
          </a:xfrm>
          <a:prstGeom prst="rect">
            <a:avLst/>
          </a:prstGeom>
          <a:noFill/>
        </p:spPr>
        <p:txBody>
          <a:bodyPr wrap="none" lIns="0" tIns="0" rIns="0" bIns="0" rtlCol="0">
            <a:spAutoFit/>
          </a:bodyPr>
          <a:lstStyle/>
          <a:p>
            <a:pPr algn="l"/>
            <a:r>
              <a:rPr lang="en-US" sz="1100" i="1" dirty="0"/>
              <a:t>High CAPEX cost</a:t>
            </a:r>
          </a:p>
        </p:txBody>
      </p:sp>
      <p:sp>
        <p:nvSpPr>
          <p:cNvPr id="528" name="TextBox 527">
            <a:extLst>
              <a:ext uri="{FF2B5EF4-FFF2-40B4-BE49-F238E27FC236}">
                <a16:creationId xmlns:a16="http://schemas.microsoft.com/office/drawing/2014/main" id="{6941BCFB-8999-4525-9FE8-78BD07D1AA2A}"/>
              </a:ext>
            </a:extLst>
          </p:cNvPr>
          <p:cNvSpPr txBox="1"/>
          <p:nvPr/>
        </p:nvSpPr>
        <p:spPr>
          <a:xfrm>
            <a:off x="6339356" y="3095283"/>
            <a:ext cx="1170192" cy="169277"/>
          </a:xfrm>
          <a:prstGeom prst="rect">
            <a:avLst/>
          </a:prstGeom>
          <a:noFill/>
        </p:spPr>
        <p:txBody>
          <a:bodyPr wrap="none" lIns="0" tIns="0" rIns="0" bIns="0" rtlCol="0">
            <a:spAutoFit/>
          </a:bodyPr>
          <a:lstStyle/>
          <a:p>
            <a:pPr algn="l"/>
            <a:r>
              <a:rPr lang="en-US" sz="1100" i="1" dirty="0"/>
              <a:t>Efficient OPEX cost</a:t>
            </a:r>
          </a:p>
        </p:txBody>
      </p:sp>
      <p:cxnSp>
        <p:nvCxnSpPr>
          <p:cNvPr id="529" name="Straight Arrow Connector 528">
            <a:extLst>
              <a:ext uri="{FF2B5EF4-FFF2-40B4-BE49-F238E27FC236}">
                <a16:creationId xmlns:a16="http://schemas.microsoft.com/office/drawing/2014/main" id="{D6456BBB-A83F-4BF8-978E-8E29328E575E}"/>
              </a:ext>
            </a:extLst>
          </p:cNvPr>
          <p:cNvCxnSpPr>
            <a:cxnSpLocks/>
          </p:cNvCxnSpPr>
          <p:nvPr/>
        </p:nvCxnSpPr>
        <p:spPr>
          <a:xfrm>
            <a:off x="6955922" y="3300248"/>
            <a:ext cx="0" cy="558347"/>
          </a:xfrm>
          <a:prstGeom prst="straightConnector1">
            <a:avLst/>
          </a:prstGeom>
          <a:ln w="31750">
            <a:solidFill>
              <a:srgbClr val="FF0000"/>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515" name="Arrow: Right 514">
            <a:extLst>
              <a:ext uri="{FF2B5EF4-FFF2-40B4-BE49-F238E27FC236}">
                <a16:creationId xmlns:a16="http://schemas.microsoft.com/office/drawing/2014/main" id="{31DAD5F6-366A-4299-91F0-78E182F89423}"/>
              </a:ext>
            </a:extLst>
          </p:cNvPr>
          <p:cNvSpPr/>
          <p:nvPr/>
        </p:nvSpPr>
        <p:spPr bwMode="auto">
          <a:xfrm>
            <a:off x="7954902" y="4004883"/>
            <a:ext cx="307135" cy="352067"/>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13" name="Freeform: Shape 512">
            <a:extLst>
              <a:ext uri="{FF2B5EF4-FFF2-40B4-BE49-F238E27FC236}">
                <a16:creationId xmlns:a16="http://schemas.microsoft.com/office/drawing/2014/main" id="{D5AF3786-DA51-4E78-8A21-4287A2F36382}"/>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On-prem to Cloud</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From up-front Capex commitment to flexible Opex investment</a:t>
            </a:r>
          </a:p>
        </p:txBody>
      </p:sp>
      <p:grpSp>
        <p:nvGrpSpPr>
          <p:cNvPr id="516" name="Group 515">
            <a:extLst>
              <a:ext uri="{FF2B5EF4-FFF2-40B4-BE49-F238E27FC236}">
                <a16:creationId xmlns:a16="http://schemas.microsoft.com/office/drawing/2014/main" id="{46BFFA90-D89E-480A-A6F5-69210CB2EE46}"/>
              </a:ext>
            </a:extLst>
          </p:cNvPr>
          <p:cNvGrpSpPr>
            <a:grpSpLocks noChangeAspect="1"/>
          </p:cNvGrpSpPr>
          <p:nvPr/>
        </p:nvGrpSpPr>
        <p:grpSpPr>
          <a:xfrm>
            <a:off x="10777886" y="1372927"/>
            <a:ext cx="806355" cy="914400"/>
            <a:chOff x="797126" y="3893732"/>
            <a:chExt cx="1125722" cy="1276864"/>
          </a:xfrm>
        </p:grpSpPr>
        <p:sp>
          <p:nvSpPr>
            <p:cNvPr id="517" name="Freeform 403">
              <a:extLst>
                <a:ext uri="{FF2B5EF4-FFF2-40B4-BE49-F238E27FC236}">
                  <a16:creationId xmlns:a16="http://schemas.microsoft.com/office/drawing/2014/main" id="{E6A8FD65-10CA-4573-8F5B-3E3EFD1C97C2}"/>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532" name="Freeform: Shape 531">
              <a:extLst>
                <a:ext uri="{FF2B5EF4-FFF2-40B4-BE49-F238E27FC236}">
                  <a16:creationId xmlns:a16="http://schemas.microsoft.com/office/drawing/2014/main" id="{4D84CC84-2DC3-42F2-8667-B995AF2202E9}"/>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533" name="Group 532">
              <a:extLst>
                <a:ext uri="{FF2B5EF4-FFF2-40B4-BE49-F238E27FC236}">
                  <a16:creationId xmlns:a16="http://schemas.microsoft.com/office/drawing/2014/main" id="{CEED7D45-B74B-4A9B-AA85-811F8C348EB3}"/>
                </a:ext>
              </a:extLst>
            </p:cNvPr>
            <p:cNvGrpSpPr/>
            <p:nvPr/>
          </p:nvGrpSpPr>
          <p:grpSpPr>
            <a:xfrm>
              <a:off x="971699" y="4043345"/>
              <a:ext cx="773592" cy="920012"/>
              <a:chOff x="993458" y="3447450"/>
              <a:chExt cx="682781" cy="812014"/>
            </a:xfrm>
          </p:grpSpPr>
          <p:grpSp>
            <p:nvGrpSpPr>
              <p:cNvPr id="534" name="Group 533">
                <a:extLst>
                  <a:ext uri="{FF2B5EF4-FFF2-40B4-BE49-F238E27FC236}">
                    <a16:creationId xmlns:a16="http://schemas.microsoft.com/office/drawing/2014/main" id="{5D483B53-5C55-49C0-9E75-FBEC5195E104}"/>
                  </a:ext>
                </a:extLst>
              </p:cNvPr>
              <p:cNvGrpSpPr/>
              <p:nvPr/>
            </p:nvGrpSpPr>
            <p:grpSpPr>
              <a:xfrm>
                <a:off x="993458" y="3447450"/>
                <a:ext cx="576652" cy="812014"/>
                <a:chOff x="499414" y="1517311"/>
                <a:chExt cx="3686809" cy="5340604"/>
              </a:xfrm>
            </p:grpSpPr>
            <p:sp>
              <p:nvSpPr>
                <p:cNvPr id="633" name="Rectangle 632">
                  <a:extLst>
                    <a:ext uri="{FF2B5EF4-FFF2-40B4-BE49-F238E27FC236}">
                      <a16:creationId xmlns:a16="http://schemas.microsoft.com/office/drawing/2014/main" id="{CEAD8615-FC5C-4306-A401-45E58AD0E4D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634" name="Group 633">
                  <a:extLst>
                    <a:ext uri="{FF2B5EF4-FFF2-40B4-BE49-F238E27FC236}">
                      <a16:creationId xmlns:a16="http://schemas.microsoft.com/office/drawing/2014/main" id="{FE6A5DEE-951E-40B6-A40D-3478AAC20E26}"/>
                    </a:ext>
                  </a:extLst>
                </p:cNvPr>
                <p:cNvGrpSpPr/>
                <p:nvPr/>
              </p:nvGrpSpPr>
              <p:grpSpPr>
                <a:xfrm rot="20371446">
                  <a:off x="2524661" y="2299216"/>
                  <a:ext cx="859576" cy="554927"/>
                  <a:chOff x="4775201" y="792163"/>
                  <a:chExt cx="2024063" cy="1306513"/>
                </a:xfrm>
              </p:grpSpPr>
              <p:sp>
                <p:nvSpPr>
                  <p:cNvPr id="688" name="Freeform 354">
                    <a:extLst>
                      <a:ext uri="{FF2B5EF4-FFF2-40B4-BE49-F238E27FC236}">
                        <a16:creationId xmlns:a16="http://schemas.microsoft.com/office/drawing/2014/main" id="{8BA208D7-D983-4055-AA06-1A812C1AF76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89" name="Rectangle 688">
                    <a:extLst>
                      <a:ext uri="{FF2B5EF4-FFF2-40B4-BE49-F238E27FC236}">
                        <a16:creationId xmlns:a16="http://schemas.microsoft.com/office/drawing/2014/main" id="{EEFEB6C6-7FA2-4447-86C4-2FA4245BA511}"/>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0" name="Freeform 356">
                    <a:extLst>
                      <a:ext uri="{FF2B5EF4-FFF2-40B4-BE49-F238E27FC236}">
                        <a16:creationId xmlns:a16="http://schemas.microsoft.com/office/drawing/2014/main" id="{F7F95371-F316-4D86-8841-5E455EE0A843}"/>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1" name="Freeform 357">
                    <a:extLst>
                      <a:ext uri="{FF2B5EF4-FFF2-40B4-BE49-F238E27FC236}">
                        <a16:creationId xmlns:a16="http://schemas.microsoft.com/office/drawing/2014/main" id="{6CD4D080-9AD9-43EF-AA14-61B4ADB98A84}"/>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2" name="Freeform 358">
                    <a:extLst>
                      <a:ext uri="{FF2B5EF4-FFF2-40B4-BE49-F238E27FC236}">
                        <a16:creationId xmlns:a16="http://schemas.microsoft.com/office/drawing/2014/main" id="{3B39F4A6-D133-447C-B391-E39333E95FA4}"/>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3" name="Rectangle 692">
                    <a:extLst>
                      <a:ext uri="{FF2B5EF4-FFF2-40B4-BE49-F238E27FC236}">
                        <a16:creationId xmlns:a16="http://schemas.microsoft.com/office/drawing/2014/main" id="{8284BD01-79A4-43A3-BEBB-73EB7EF8137F}"/>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4" name="Freeform 360">
                    <a:extLst>
                      <a:ext uri="{FF2B5EF4-FFF2-40B4-BE49-F238E27FC236}">
                        <a16:creationId xmlns:a16="http://schemas.microsoft.com/office/drawing/2014/main" id="{E5A8B38B-51BA-445E-964D-3B7D9F6E2AC3}"/>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5" name="Rectangle 694">
                    <a:extLst>
                      <a:ext uri="{FF2B5EF4-FFF2-40B4-BE49-F238E27FC236}">
                        <a16:creationId xmlns:a16="http://schemas.microsoft.com/office/drawing/2014/main" id="{63F1E8CE-FACB-43C6-BE1C-FDCA7F4B3AF8}"/>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6" name="Rectangle 695">
                    <a:extLst>
                      <a:ext uri="{FF2B5EF4-FFF2-40B4-BE49-F238E27FC236}">
                        <a16:creationId xmlns:a16="http://schemas.microsoft.com/office/drawing/2014/main" id="{1F229A55-D8EB-4443-9974-620E072BBCFE}"/>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7" name="Rectangle 696">
                    <a:extLst>
                      <a:ext uri="{FF2B5EF4-FFF2-40B4-BE49-F238E27FC236}">
                        <a16:creationId xmlns:a16="http://schemas.microsoft.com/office/drawing/2014/main" id="{4E7F6B9E-C757-4BAA-8807-762EE1756665}"/>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8" name="Rectangle 697">
                    <a:extLst>
                      <a:ext uri="{FF2B5EF4-FFF2-40B4-BE49-F238E27FC236}">
                        <a16:creationId xmlns:a16="http://schemas.microsoft.com/office/drawing/2014/main" id="{F59B6CEC-EEE0-443C-B93E-540C3D393E12}"/>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9" name="Rectangle 698">
                    <a:extLst>
                      <a:ext uri="{FF2B5EF4-FFF2-40B4-BE49-F238E27FC236}">
                        <a16:creationId xmlns:a16="http://schemas.microsoft.com/office/drawing/2014/main" id="{90764DE8-A972-4F73-9819-5548CBA56AD5}"/>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635" name="Group 634">
                  <a:extLst>
                    <a:ext uri="{FF2B5EF4-FFF2-40B4-BE49-F238E27FC236}">
                      <a16:creationId xmlns:a16="http://schemas.microsoft.com/office/drawing/2014/main" id="{6E667A22-D616-449D-90E2-C826D1DD828F}"/>
                    </a:ext>
                  </a:extLst>
                </p:cNvPr>
                <p:cNvGrpSpPr/>
                <p:nvPr/>
              </p:nvGrpSpPr>
              <p:grpSpPr>
                <a:xfrm>
                  <a:off x="1190120" y="2235988"/>
                  <a:ext cx="983059" cy="983198"/>
                  <a:chOff x="5413781" y="5749281"/>
                  <a:chExt cx="652036" cy="652036"/>
                </a:xfrm>
              </p:grpSpPr>
              <p:sp>
                <p:nvSpPr>
                  <p:cNvPr id="686" name="Oval 685">
                    <a:extLst>
                      <a:ext uri="{FF2B5EF4-FFF2-40B4-BE49-F238E27FC236}">
                        <a16:creationId xmlns:a16="http://schemas.microsoft.com/office/drawing/2014/main" id="{60CC443F-B4F3-4EEC-9B9C-6D221B0097ED}"/>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687" name="Freeform 353">
                    <a:extLst>
                      <a:ext uri="{FF2B5EF4-FFF2-40B4-BE49-F238E27FC236}">
                        <a16:creationId xmlns:a16="http://schemas.microsoft.com/office/drawing/2014/main" id="{70AFD259-28DB-4C2A-9522-2647CF9475A6}"/>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36" name="Group 635">
                  <a:extLst>
                    <a:ext uri="{FF2B5EF4-FFF2-40B4-BE49-F238E27FC236}">
                      <a16:creationId xmlns:a16="http://schemas.microsoft.com/office/drawing/2014/main" id="{21D6BF00-1972-4647-B4F8-3384A53CCB56}"/>
                    </a:ext>
                  </a:extLst>
                </p:cNvPr>
                <p:cNvGrpSpPr>
                  <a:grpSpLocks noChangeAspect="1"/>
                </p:cNvGrpSpPr>
                <p:nvPr/>
              </p:nvGrpSpPr>
              <p:grpSpPr bwMode="auto">
                <a:xfrm rot="1800000">
                  <a:off x="3563928" y="2295726"/>
                  <a:ext cx="622295" cy="847393"/>
                  <a:chOff x="6652" y="1661"/>
                  <a:chExt cx="260" cy="354"/>
                </a:xfrm>
              </p:grpSpPr>
              <p:sp>
                <p:nvSpPr>
                  <p:cNvPr id="682" name="AutoShape 138">
                    <a:extLst>
                      <a:ext uri="{FF2B5EF4-FFF2-40B4-BE49-F238E27FC236}">
                        <a16:creationId xmlns:a16="http://schemas.microsoft.com/office/drawing/2014/main" id="{64549B59-2313-4F64-9F7E-37B70045E515}"/>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683" name="Freeform 349">
                    <a:extLst>
                      <a:ext uri="{FF2B5EF4-FFF2-40B4-BE49-F238E27FC236}">
                        <a16:creationId xmlns:a16="http://schemas.microsoft.com/office/drawing/2014/main" id="{19E28974-CAE4-456E-8392-20CFFAAA1636}"/>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684" name="Rectangle 683">
                    <a:extLst>
                      <a:ext uri="{FF2B5EF4-FFF2-40B4-BE49-F238E27FC236}">
                        <a16:creationId xmlns:a16="http://schemas.microsoft.com/office/drawing/2014/main" id="{86CA6DBE-AC84-4911-B2C4-CF4994E4B970}"/>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685" name="Freeform 351">
                    <a:extLst>
                      <a:ext uri="{FF2B5EF4-FFF2-40B4-BE49-F238E27FC236}">
                        <a16:creationId xmlns:a16="http://schemas.microsoft.com/office/drawing/2014/main" id="{65B70201-F999-49BF-950F-EF76ACFF8880}"/>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637" name="Group 636">
                  <a:extLst>
                    <a:ext uri="{FF2B5EF4-FFF2-40B4-BE49-F238E27FC236}">
                      <a16:creationId xmlns:a16="http://schemas.microsoft.com/office/drawing/2014/main" id="{9B7CCD62-3EFB-46F7-8FE5-BD6BD81133A9}"/>
                    </a:ext>
                  </a:extLst>
                </p:cNvPr>
                <p:cNvGrpSpPr/>
                <p:nvPr/>
              </p:nvGrpSpPr>
              <p:grpSpPr>
                <a:xfrm flipH="1">
                  <a:off x="499414" y="3565526"/>
                  <a:ext cx="1323206" cy="3292389"/>
                  <a:chOff x="8371759" y="2973033"/>
                  <a:chExt cx="1482609" cy="3688507"/>
                </a:xfrm>
              </p:grpSpPr>
              <p:sp>
                <p:nvSpPr>
                  <p:cNvPr id="648" name="Freeform 314">
                    <a:extLst>
                      <a:ext uri="{FF2B5EF4-FFF2-40B4-BE49-F238E27FC236}">
                        <a16:creationId xmlns:a16="http://schemas.microsoft.com/office/drawing/2014/main" id="{E1187FFE-EBDF-4F7B-932F-A5CBD142842A}"/>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49" name="Freeform 315">
                    <a:extLst>
                      <a:ext uri="{FF2B5EF4-FFF2-40B4-BE49-F238E27FC236}">
                        <a16:creationId xmlns:a16="http://schemas.microsoft.com/office/drawing/2014/main" id="{42B3D2FF-9D0F-4C43-BDDD-6B56BCECE7A3}"/>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50" name="Freeform 316">
                    <a:extLst>
                      <a:ext uri="{FF2B5EF4-FFF2-40B4-BE49-F238E27FC236}">
                        <a16:creationId xmlns:a16="http://schemas.microsoft.com/office/drawing/2014/main" id="{CEB66EA6-4E21-491C-8A08-8FE7299380F6}"/>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51" name="Rectangle 650">
                    <a:extLst>
                      <a:ext uri="{FF2B5EF4-FFF2-40B4-BE49-F238E27FC236}">
                        <a16:creationId xmlns:a16="http://schemas.microsoft.com/office/drawing/2014/main" id="{9ED26DC8-50DB-47B7-9323-F3AD9FD2464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52" name="Rectangle 651">
                    <a:extLst>
                      <a:ext uri="{FF2B5EF4-FFF2-40B4-BE49-F238E27FC236}">
                        <a16:creationId xmlns:a16="http://schemas.microsoft.com/office/drawing/2014/main" id="{B7CF4F30-289B-421F-929D-904BAF1E2B10}"/>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53" name="Rectangle 652">
                    <a:extLst>
                      <a:ext uri="{FF2B5EF4-FFF2-40B4-BE49-F238E27FC236}">
                        <a16:creationId xmlns:a16="http://schemas.microsoft.com/office/drawing/2014/main" id="{2DB9631F-BB8C-4D05-AEC9-99ADC35FC71E}"/>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54" name="Rectangle 653">
                    <a:extLst>
                      <a:ext uri="{FF2B5EF4-FFF2-40B4-BE49-F238E27FC236}">
                        <a16:creationId xmlns:a16="http://schemas.microsoft.com/office/drawing/2014/main" id="{5A135E05-B5CF-4F1B-9874-F37D1E372747}"/>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55" name="Freeform 321">
                    <a:extLst>
                      <a:ext uri="{FF2B5EF4-FFF2-40B4-BE49-F238E27FC236}">
                        <a16:creationId xmlns:a16="http://schemas.microsoft.com/office/drawing/2014/main" id="{C5721663-48FE-46B6-9E82-8E8C4A479174}"/>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56" name="Rectangle 655">
                    <a:extLst>
                      <a:ext uri="{FF2B5EF4-FFF2-40B4-BE49-F238E27FC236}">
                        <a16:creationId xmlns:a16="http://schemas.microsoft.com/office/drawing/2014/main" id="{A9ED4C0F-4F6C-4444-8BE3-C2B1ADCB3D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57" name="Rectangle 656">
                    <a:extLst>
                      <a:ext uri="{FF2B5EF4-FFF2-40B4-BE49-F238E27FC236}">
                        <a16:creationId xmlns:a16="http://schemas.microsoft.com/office/drawing/2014/main" id="{61554F74-947F-4B0A-A0D6-7AE5EA408D2D}"/>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58" name="Freeform 324">
                    <a:extLst>
                      <a:ext uri="{FF2B5EF4-FFF2-40B4-BE49-F238E27FC236}">
                        <a16:creationId xmlns:a16="http://schemas.microsoft.com/office/drawing/2014/main" id="{C3683CB3-CDDB-44A1-824D-233DEFE368D1}"/>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59" name="Freeform 325">
                    <a:extLst>
                      <a:ext uri="{FF2B5EF4-FFF2-40B4-BE49-F238E27FC236}">
                        <a16:creationId xmlns:a16="http://schemas.microsoft.com/office/drawing/2014/main" id="{10182212-BF79-4C23-81D7-F549BBF05DDF}"/>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60" name="Freeform 326">
                    <a:extLst>
                      <a:ext uri="{FF2B5EF4-FFF2-40B4-BE49-F238E27FC236}">
                        <a16:creationId xmlns:a16="http://schemas.microsoft.com/office/drawing/2014/main" id="{389B957D-B2B1-4EA5-8B0D-F0BAC1A435B4}"/>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61" name="Freeform 327">
                    <a:extLst>
                      <a:ext uri="{FF2B5EF4-FFF2-40B4-BE49-F238E27FC236}">
                        <a16:creationId xmlns:a16="http://schemas.microsoft.com/office/drawing/2014/main" id="{E8716B3F-BA7E-42CC-862A-0A308D838335}"/>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62" name="Freeform 328">
                    <a:extLst>
                      <a:ext uri="{FF2B5EF4-FFF2-40B4-BE49-F238E27FC236}">
                        <a16:creationId xmlns:a16="http://schemas.microsoft.com/office/drawing/2014/main" id="{51E8294B-CA9A-4F30-9142-067A1341B990}"/>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63" name="Freeform 329">
                    <a:extLst>
                      <a:ext uri="{FF2B5EF4-FFF2-40B4-BE49-F238E27FC236}">
                        <a16:creationId xmlns:a16="http://schemas.microsoft.com/office/drawing/2014/main" id="{591CA6CB-84E8-4DF0-84E6-450F4C754B97}"/>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64" name="Freeform 330">
                    <a:extLst>
                      <a:ext uri="{FF2B5EF4-FFF2-40B4-BE49-F238E27FC236}">
                        <a16:creationId xmlns:a16="http://schemas.microsoft.com/office/drawing/2014/main" id="{BD7FB819-E597-47B9-BFA5-0A68AA88D321}"/>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65" name="Freeform 331">
                    <a:extLst>
                      <a:ext uri="{FF2B5EF4-FFF2-40B4-BE49-F238E27FC236}">
                        <a16:creationId xmlns:a16="http://schemas.microsoft.com/office/drawing/2014/main" id="{CBBAC011-7131-404D-87D0-208616C20B2B}"/>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66" name="Freeform 332">
                    <a:extLst>
                      <a:ext uri="{FF2B5EF4-FFF2-40B4-BE49-F238E27FC236}">
                        <a16:creationId xmlns:a16="http://schemas.microsoft.com/office/drawing/2014/main" id="{BCD9802A-1AE7-4173-8371-6C7E82E8504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67" name="Freeform 333">
                    <a:extLst>
                      <a:ext uri="{FF2B5EF4-FFF2-40B4-BE49-F238E27FC236}">
                        <a16:creationId xmlns:a16="http://schemas.microsoft.com/office/drawing/2014/main" id="{CF02620E-C69A-4B62-A643-46A839E2E6AC}"/>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68" name="Freeform 334">
                    <a:extLst>
                      <a:ext uri="{FF2B5EF4-FFF2-40B4-BE49-F238E27FC236}">
                        <a16:creationId xmlns:a16="http://schemas.microsoft.com/office/drawing/2014/main" id="{ABD63AD4-0367-4CDB-8E4A-336BE1271C18}"/>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69" name="Freeform 335">
                    <a:extLst>
                      <a:ext uri="{FF2B5EF4-FFF2-40B4-BE49-F238E27FC236}">
                        <a16:creationId xmlns:a16="http://schemas.microsoft.com/office/drawing/2014/main" id="{909F404E-A7E3-4670-90D8-E3664B72529C}"/>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70" name="Freeform 336">
                    <a:extLst>
                      <a:ext uri="{FF2B5EF4-FFF2-40B4-BE49-F238E27FC236}">
                        <a16:creationId xmlns:a16="http://schemas.microsoft.com/office/drawing/2014/main" id="{F902D16A-081A-427C-A8B3-662F785DE75F}"/>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71" name="Freeform 337">
                    <a:extLst>
                      <a:ext uri="{FF2B5EF4-FFF2-40B4-BE49-F238E27FC236}">
                        <a16:creationId xmlns:a16="http://schemas.microsoft.com/office/drawing/2014/main" id="{DAA948E1-4073-4C9F-857B-34E0D6763E9C}"/>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72" name="Freeform 338">
                    <a:extLst>
                      <a:ext uri="{FF2B5EF4-FFF2-40B4-BE49-F238E27FC236}">
                        <a16:creationId xmlns:a16="http://schemas.microsoft.com/office/drawing/2014/main" id="{57C06D1B-A358-4E40-B287-8DF1593012D2}"/>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73" name="Freeform 339">
                    <a:extLst>
                      <a:ext uri="{FF2B5EF4-FFF2-40B4-BE49-F238E27FC236}">
                        <a16:creationId xmlns:a16="http://schemas.microsoft.com/office/drawing/2014/main" id="{CBF1C294-7D85-4684-BE31-25DD0791DBDC}"/>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74" name="Freeform 340">
                    <a:extLst>
                      <a:ext uri="{FF2B5EF4-FFF2-40B4-BE49-F238E27FC236}">
                        <a16:creationId xmlns:a16="http://schemas.microsoft.com/office/drawing/2014/main" id="{7F8FB428-4850-482A-8EDB-ABB183604E64}"/>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75" name="Freeform 341">
                    <a:extLst>
                      <a:ext uri="{FF2B5EF4-FFF2-40B4-BE49-F238E27FC236}">
                        <a16:creationId xmlns:a16="http://schemas.microsoft.com/office/drawing/2014/main" id="{63EEA1C7-429B-4063-84C5-29F1028F579D}"/>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76" name="Freeform 342">
                    <a:extLst>
                      <a:ext uri="{FF2B5EF4-FFF2-40B4-BE49-F238E27FC236}">
                        <a16:creationId xmlns:a16="http://schemas.microsoft.com/office/drawing/2014/main" id="{FA85CE0D-6A32-4719-A6BC-61ADEF4E158E}"/>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77" name="Freeform 343">
                    <a:extLst>
                      <a:ext uri="{FF2B5EF4-FFF2-40B4-BE49-F238E27FC236}">
                        <a16:creationId xmlns:a16="http://schemas.microsoft.com/office/drawing/2014/main" id="{0766BF56-4F58-411F-88FC-B8CC85B708AF}"/>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78" name="Freeform 344">
                    <a:extLst>
                      <a:ext uri="{FF2B5EF4-FFF2-40B4-BE49-F238E27FC236}">
                        <a16:creationId xmlns:a16="http://schemas.microsoft.com/office/drawing/2014/main" id="{A9218271-B91B-4E88-AFB3-3EB27B699F22}"/>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79" name="Freeform 345">
                    <a:extLst>
                      <a:ext uri="{FF2B5EF4-FFF2-40B4-BE49-F238E27FC236}">
                        <a16:creationId xmlns:a16="http://schemas.microsoft.com/office/drawing/2014/main" id="{4A8910B6-A27C-44A1-86EE-32ACC2463661}"/>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80" name="Freeform 346">
                    <a:extLst>
                      <a:ext uri="{FF2B5EF4-FFF2-40B4-BE49-F238E27FC236}">
                        <a16:creationId xmlns:a16="http://schemas.microsoft.com/office/drawing/2014/main" id="{7BAA9005-E868-4E94-85F7-7BFD74DCED01}"/>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681" name="Freeform 347">
                    <a:extLst>
                      <a:ext uri="{FF2B5EF4-FFF2-40B4-BE49-F238E27FC236}">
                        <a16:creationId xmlns:a16="http://schemas.microsoft.com/office/drawing/2014/main" id="{6C26149A-EA1B-46F4-8C0E-9C42A064D5B9}"/>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638" name="Straight Connector 637">
                  <a:extLst>
                    <a:ext uri="{FF2B5EF4-FFF2-40B4-BE49-F238E27FC236}">
                      <a16:creationId xmlns:a16="http://schemas.microsoft.com/office/drawing/2014/main" id="{91D7585D-B195-4AF9-8718-760DF027684A}"/>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639" name="Straight Connector 638">
                  <a:extLst>
                    <a:ext uri="{FF2B5EF4-FFF2-40B4-BE49-F238E27FC236}">
                      <a16:creationId xmlns:a16="http://schemas.microsoft.com/office/drawing/2014/main" id="{12501206-110C-4FEB-91A0-C644F95C4141}"/>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640" name="Straight Connector 639">
                  <a:extLst>
                    <a:ext uri="{FF2B5EF4-FFF2-40B4-BE49-F238E27FC236}">
                      <a16:creationId xmlns:a16="http://schemas.microsoft.com/office/drawing/2014/main" id="{D26050F8-A0BB-4AAA-A6DB-B3C251F97455}"/>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641" name="Straight Connector 640">
                  <a:extLst>
                    <a:ext uri="{FF2B5EF4-FFF2-40B4-BE49-F238E27FC236}">
                      <a16:creationId xmlns:a16="http://schemas.microsoft.com/office/drawing/2014/main" id="{22B37AF5-5F1E-4241-B320-59A961A7A4A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642" name="Group 641">
                  <a:extLst>
                    <a:ext uri="{FF2B5EF4-FFF2-40B4-BE49-F238E27FC236}">
                      <a16:creationId xmlns:a16="http://schemas.microsoft.com/office/drawing/2014/main" id="{D35FE8CB-64FF-48AD-8278-9C2CD24B1791}"/>
                    </a:ext>
                  </a:extLst>
                </p:cNvPr>
                <p:cNvGrpSpPr/>
                <p:nvPr/>
              </p:nvGrpSpPr>
              <p:grpSpPr>
                <a:xfrm>
                  <a:off x="2022695" y="1566515"/>
                  <a:ext cx="766903" cy="767014"/>
                  <a:chOff x="9123445" y="2463609"/>
                  <a:chExt cx="652033" cy="652035"/>
                </a:xfrm>
              </p:grpSpPr>
              <p:sp>
                <p:nvSpPr>
                  <p:cNvPr id="646" name="Oval 645">
                    <a:extLst>
                      <a:ext uri="{FF2B5EF4-FFF2-40B4-BE49-F238E27FC236}">
                        <a16:creationId xmlns:a16="http://schemas.microsoft.com/office/drawing/2014/main" id="{5FF63A36-986F-4260-8DF9-9D94CC1C5C78}"/>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647" name="Freeform 313">
                    <a:extLst>
                      <a:ext uri="{FF2B5EF4-FFF2-40B4-BE49-F238E27FC236}">
                        <a16:creationId xmlns:a16="http://schemas.microsoft.com/office/drawing/2014/main" id="{04D89505-6E5B-4581-ADC2-625F7B765903}"/>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643" name="Group 642">
                  <a:extLst>
                    <a:ext uri="{FF2B5EF4-FFF2-40B4-BE49-F238E27FC236}">
                      <a16:creationId xmlns:a16="http://schemas.microsoft.com/office/drawing/2014/main" id="{C3D44809-5385-4D42-9571-84D4D9AD5466}"/>
                    </a:ext>
                  </a:extLst>
                </p:cNvPr>
                <p:cNvGrpSpPr/>
                <p:nvPr/>
              </p:nvGrpSpPr>
              <p:grpSpPr>
                <a:xfrm>
                  <a:off x="1973388" y="1517311"/>
                  <a:ext cx="853073" cy="853194"/>
                  <a:chOff x="9123452" y="2463609"/>
                  <a:chExt cx="652035" cy="652035"/>
                </a:xfrm>
              </p:grpSpPr>
              <p:sp>
                <p:nvSpPr>
                  <p:cNvPr id="644" name="Oval 643">
                    <a:extLst>
                      <a:ext uri="{FF2B5EF4-FFF2-40B4-BE49-F238E27FC236}">
                        <a16:creationId xmlns:a16="http://schemas.microsoft.com/office/drawing/2014/main" id="{91631E87-D6F3-411E-A4B2-DB9B7EAB0AD0}"/>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645" name="Freeform 311">
                    <a:extLst>
                      <a:ext uri="{FF2B5EF4-FFF2-40B4-BE49-F238E27FC236}">
                        <a16:creationId xmlns:a16="http://schemas.microsoft.com/office/drawing/2014/main" id="{F5D6F414-AFF4-4893-A012-B8F4D4442957}"/>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535" name="Group 534">
                <a:extLst>
                  <a:ext uri="{FF2B5EF4-FFF2-40B4-BE49-F238E27FC236}">
                    <a16:creationId xmlns:a16="http://schemas.microsoft.com/office/drawing/2014/main" id="{5CE0EC43-8AFF-4E34-9712-AA62EAFCD81D}"/>
                  </a:ext>
                </a:extLst>
              </p:cNvPr>
              <p:cNvGrpSpPr/>
              <p:nvPr/>
            </p:nvGrpSpPr>
            <p:grpSpPr>
              <a:xfrm>
                <a:off x="1226671" y="3909844"/>
                <a:ext cx="304563" cy="307388"/>
                <a:chOff x="4471988" y="3821062"/>
                <a:chExt cx="2035176" cy="2113013"/>
              </a:xfrm>
            </p:grpSpPr>
            <p:sp>
              <p:nvSpPr>
                <p:cNvPr id="579" name="Rectangle 6">
                  <a:extLst>
                    <a:ext uri="{FF2B5EF4-FFF2-40B4-BE49-F238E27FC236}">
                      <a16:creationId xmlns:a16="http://schemas.microsoft.com/office/drawing/2014/main" id="{E8C0F2E9-4FA3-44E6-B944-E48BB703658F}"/>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80" name="Freeform 7">
                  <a:extLst>
                    <a:ext uri="{FF2B5EF4-FFF2-40B4-BE49-F238E27FC236}">
                      <a16:creationId xmlns:a16="http://schemas.microsoft.com/office/drawing/2014/main" id="{C81453BE-6A0A-444C-B112-F840C946BA8B}"/>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81" name="Freeform 10">
                  <a:extLst>
                    <a:ext uri="{FF2B5EF4-FFF2-40B4-BE49-F238E27FC236}">
                      <a16:creationId xmlns:a16="http://schemas.microsoft.com/office/drawing/2014/main" id="{1A578052-3300-48A3-B74E-730710FB864C}"/>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82" name="Freeform 11">
                  <a:extLst>
                    <a:ext uri="{FF2B5EF4-FFF2-40B4-BE49-F238E27FC236}">
                      <a16:creationId xmlns:a16="http://schemas.microsoft.com/office/drawing/2014/main" id="{7D172FEC-2B28-4BDA-AA34-F88BC73B6EDA}"/>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83" name="Oval 12">
                  <a:extLst>
                    <a:ext uri="{FF2B5EF4-FFF2-40B4-BE49-F238E27FC236}">
                      <a16:creationId xmlns:a16="http://schemas.microsoft.com/office/drawing/2014/main" id="{4D5099F2-E70B-43F0-A539-50C9C92F034C}"/>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84" name="Oval 13">
                  <a:extLst>
                    <a:ext uri="{FF2B5EF4-FFF2-40B4-BE49-F238E27FC236}">
                      <a16:creationId xmlns:a16="http://schemas.microsoft.com/office/drawing/2014/main" id="{CA93FCE4-3E5C-4572-B308-7CE914710B0D}"/>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85" name="Freeform 14">
                  <a:extLst>
                    <a:ext uri="{FF2B5EF4-FFF2-40B4-BE49-F238E27FC236}">
                      <a16:creationId xmlns:a16="http://schemas.microsoft.com/office/drawing/2014/main" id="{C5FEF167-766E-408C-B463-AA67DF1963AF}"/>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86" name="Rectangle 15">
                  <a:extLst>
                    <a:ext uri="{FF2B5EF4-FFF2-40B4-BE49-F238E27FC236}">
                      <a16:creationId xmlns:a16="http://schemas.microsoft.com/office/drawing/2014/main" id="{A59D29FB-186C-42E1-B7D5-C98E344554AB}"/>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87" name="Rectangle 16">
                  <a:extLst>
                    <a:ext uri="{FF2B5EF4-FFF2-40B4-BE49-F238E27FC236}">
                      <a16:creationId xmlns:a16="http://schemas.microsoft.com/office/drawing/2014/main" id="{0676E587-A0C6-4261-9791-EDFA91EF87F1}"/>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88" name="Freeform 17">
                  <a:extLst>
                    <a:ext uri="{FF2B5EF4-FFF2-40B4-BE49-F238E27FC236}">
                      <a16:creationId xmlns:a16="http://schemas.microsoft.com/office/drawing/2014/main" id="{154F7459-6FDD-4410-8A9D-E14E7DAE7616}"/>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89" name="Freeform 18">
                  <a:extLst>
                    <a:ext uri="{FF2B5EF4-FFF2-40B4-BE49-F238E27FC236}">
                      <a16:creationId xmlns:a16="http://schemas.microsoft.com/office/drawing/2014/main" id="{4CC6E592-D7C5-47C0-AEA6-7CA60A76A28A}"/>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90" name="Rectangle 19">
                  <a:extLst>
                    <a:ext uri="{FF2B5EF4-FFF2-40B4-BE49-F238E27FC236}">
                      <a16:creationId xmlns:a16="http://schemas.microsoft.com/office/drawing/2014/main" id="{07DEFD64-C652-4454-BF58-DB4CE17D4085}"/>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91" name="Freeform 20">
                  <a:extLst>
                    <a:ext uri="{FF2B5EF4-FFF2-40B4-BE49-F238E27FC236}">
                      <a16:creationId xmlns:a16="http://schemas.microsoft.com/office/drawing/2014/main" id="{20A478E3-844B-4910-9A11-0AFFCCC57328}"/>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92" name="Freeform 21">
                  <a:extLst>
                    <a:ext uri="{FF2B5EF4-FFF2-40B4-BE49-F238E27FC236}">
                      <a16:creationId xmlns:a16="http://schemas.microsoft.com/office/drawing/2014/main" id="{6B9D2828-D7A4-4A2E-8A0C-DF5E7F5B6471}"/>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93" name="Freeform 22">
                  <a:extLst>
                    <a:ext uri="{FF2B5EF4-FFF2-40B4-BE49-F238E27FC236}">
                      <a16:creationId xmlns:a16="http://schemas.microsoft.com/office/drawing/2014/main" id="{3867DFB1-29C7-4D28-906B-E7730A112931}"/>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94" name="Freeform 23">
                  <a:extLst>
                    <a:ext uri="{FF2B5EF4-FFF2-40B4-BE49-F238E27FC236}">
                      <a16:creationId xmlns:a16="http://schemas.microsoft.com/office/drawing/2014/main" id="{0E5A309C-EFF8-4B29-96DD-307EBE7E5C3B}"/>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95" name="Freeform 24">
                  <a:extLst>
                    <a:ext uri="{FF2B5EF4-FFF2-40B4-BE49-F238E27FC236}">
                      <a16:creationId xmlns:a16="http://schemas.microsoft.com/office/drawing/2014/main" id="{E3650F42-8CC9-4F7E-9491-340145542A02}"/>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96" name="Rectangle 25">
                  <a:extLst>
                    <a:ext uri="{FF2B5EF4-FFF2-40B4-BE49-F238E27FC236}">
                      <a16:creationId xmlns:a16="http://schemas.microsoft.com/office/drawing/2014/main" id="{4D960367-ED0F-4E25-A6CB-96B955CF8078}"/>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97" name="Freeform 26">
                  <a:extLst>
                    <a:ext uri="{FF2B5EF4-FFF2-40B4-BE49-F238E27FC236}">
                      <a16:creationId xmlns:a16="http://schemas.microsoft.com/office/drawing/2014/main" id="{21188D1E-A90E-41C0-B9FF-BBDB71C2C50A}"/>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98" name="Freeform 27">
                  <a:extLst>
                    <a:ext uri="{FF2B5EF4-FFF2-40B4-BE49-F238E27FC236}">
                      <a16:creationId xmlns:a16="http://schemas.microsoft.com/office/drawing/2014/main" id="{E3631C2C-4987-466C-B301-9CADC4E552E8}"/>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99" name="Freeform 28">
                  <a:extLst>
                    <a:ext uri="{FF2B5EF4-FFF2-40B4-BE49-F238E27FC236}">
                      <a16:creationId xmlns:a16="http://schemas.microsoft.com/office/drawing/2014/main" id="{F5DE2BE4-F719-4FB4-9E7D-8B4E1492238E}"/>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00" name="Freeform 29">
                  <a:extLst>
                    <a:ext uri="{FF2B5EF4-FFF2-40B4-BE49-F238E27FC236}">
                      <a16:creationId xmlns:a16="http://schemas.microsoft.com/office/drawing/2014/main" id="{E2234394-600D-4A3D-8D1A-D80BBB8D3EA0}"/>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01" name="Freeform 30">
                  <a:extLst>
                    <a:ext uri="{FF2B5EF4-FFF2-40B4-BE49-F238E27FC236}">
                      <a16:creationId xmlns:a16="http://schemas.microsoft.com/office/drawing/2014/main" id="{854C7F47-652A-4F03-AA84-D854FF84E550}"/>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02" name="Freeform 31">
                  <a:extLst>
                    <a:ext uri="{FF2B5EF4-FFF2-40B4-BE49-F238E27FC236}">
                      <a16:creationId xmlns:a16="http://schemas.microsoft.com/office/drawing/2014/main" id="{3E43A2D1-E4E0-4EB9-95BC-857D2DC1FD90}"/>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03" name="Freeform 32">
                  <a:extLst>
                    <a:ext uri="{FF2B5EF4-FFF2-40B4-BE49-F238E27FC236}">
                      <a16:creationId xmlns:a16="http://schemas.microsoft.com/office/drawing/2014/main" id="{1B17142E-0A0A-4973-8F59-2F6D7D6D90E5}"/>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04" name="Freeform 102">
                  <a:extLst>
                    <a:ext uri="{FF2B5EF4-FFF2-40B4-BE49-F238E27FC236}">
                      <a16:creationId xmlns:a16="http://schemas.microsoft.com/office/drawing/2014/main" id="{146430C4-1479-4BBC-9F22-F05CFFB1E88A}"/>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05" name="Freeform 103">
                  <a:extLst>
                    <a:ext uri="{FF2B5EF4-FFF2-40B4-BE49-F238E27FC236}">
                      <a16:creationId xmlns:a16="http://schemas.microsoft.com/office/drawing/2014/main" id="{5362EE5B-AED0-4237-B3EC-1D695867E2C6}"/>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06" name="Freeform 104">
                  <a:extLst>
                    <a:ext uri="{FF2B5EF4-FFF2-40B4-BE49-F238E27FC236}">
                      <a16:creationId xmlns:a16="http://schemas.microsoft.com/office/drawing/2014/main" id="{8A982A45-9176-405D-970C-BC8925CEF4C3}"/>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07" name="Freeform 105">
                  <a:extLst>
                    <a:ext uri="{FF2B5EF4-FFF2-40B4-BE49-F238E27FC236}">
                      <a16:creationId xmlns:a16="http://schemas.microsoft.com/office/drawing/2014/main" id="{C03F7660-095F-4EB5-A4F7-ECABAF9D0349}"/>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08" name="Freeform 106">
                  <a:extLst>
                    <a:ext uri="{FF2B5EF4-FFF2-40B4-BE49-F238E27FC236}">
                      <a16:creationId xmlns:a16="http://schemas.microsoft.com/office/drawing/2014/main" id="{073C7786-F879-4B15-8E78-FFE2ED2DC112}"/>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09" name="Freeform 107">
                  <a:extLst>
                    <a:ext uri="{FF2B5EF4-FFF2-40B4-BE49-F238E27FC236}">
                      <a16:creationId xmlns:a16="http://schemas.microsoft.com/office/drawing/2014/main" id="{A7DCD384-00C7-4BAB-BE9B-06675E953E16}"/>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10" name="Freeform 108">
                  <a:extLst>
                    <a:ext uri="{FF2B5EF4-FFF2-40B4-BE49-F238E27FC236}">
                      <a16:creationId xmlns:a16="http://schemas.microsoft.com/office/drawing/2014/main" id="{51E1CEAA-2FD0-4089-BE55-DCBB4FF069C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11" name="Rectangle 610">
                  <a:extLst>
                    <a:ext uri="{FF2B5EF4-FFF2-40B4-BE49-F238E27FC236}">
                      <a16:creationId xmlns:a16="http://schemas.microsoft.com/office/drawing/2014/main" id="{70569E80-7816-4E63-88D5-B099BBF8F985}"/>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12" name="Freeform 110">
                  <a:extLst>
                    <a:ext uri="{FF2B5EF4-FFF2-40B4-BE49-F238E27FC236}">
                      <a16:creationId xmlns:a16="http://schemas.microsoft.com/office/drawing/2014/main" id="{DDA8F434-D187-4620-9397-E8CAE3B1C33D}"/>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13" name="Freeform 111">
                  <a:extLst>
                    <a:ext uri="{FF2B5EF4-FFF2-40B4-BE49-F238E27FC236}">
                      <a16:creationId xmlns:a16="http://schemas.microsoft.com/office/drawing/2014/main" id="{6CE29B6B-F2AA-481F-BD1D-217DB9A6BAF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14" name="Freeform 112">
                  <a:extLst>
                    <a:ext uri="{FF2B5EF4-FFF2-40B4-BE49-F238E27FC236}">
                      <a16:creationId xmlns:a16="http://schemas.microsoft.com/office/drawing/2014/main" id="{FBC81CAF-534B-4063-B0D5-6B7507CF1096}"/>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15" name="Freeform 113">
                  <a:extLst>
                    <a:ext uri="{FF2B5EF4-FFF2-40B4-BE49-F238E27FC236}">
                      <a16:creationId xmlns:a16="http://schemas.microsoft.com/office/drawing/2014/main" id="{B130CECD-E589-4690-9DE3-C05C8EDC6D39}"/>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16" name="Rectangle 615">
                  <a:extLst>
                    <a:ext uri="{FF2B5EF4-FFF2-40B4-BE49-F238E27FC236}">
                      <a16:creationId xmlns:a16="http://schemas.microsoft.com/office/drawing/2014/main" id="{5A4769AC-5AD8-4B94-B1D5-166088E06DDA}"/>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17" name="Freeform 115">
                  <a:extLst>
                    <a:ext uri="{FF2B5EF4-FFF2-40B4-BE49-F238E27FC236}">
                      <a16:creationId xmlns:a16="http://schemas.microsoft.com/office/drawing/2014/main" id="{221302FC-E458-4731-ABD4-C2B46F63E6D8}"/>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18" name="Freeform 116">
                  <a:extLst>
                    <a:ext uri="{FF2B5EF4-FFF2-40B4-BE49-F238E27FC236}">
                      <a16:creationId xmlns:a16="http://schemas.microsoft.com/office/drawing/2014/main" id="{AFD48838-983F-45B6-93A3-2FF87299905B}"/>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19" name="Freeform 117">
                  <a:extLst>
                    <a:ext uri="{FF2B5EF4-FFF2-40B4-BE49-F238E27FC236}">
                      <a16:creationId xmlns:a16="http://schemas.microsoft.com/office/drawing/2014/main" id="{780395F1-6D36-4C38-800B-3C4DF3C869CE}"/>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20" name="Freeform 118">
                  <a:extLst>
                    <a:ext uri="{FF2B5EF4-FFF2-40B4-BE49-F238E27FC236}">
                      <a16:creationId xmlns:a16="http://schemas.microsoft.com/office/drawing/2014/main" id="{254E2A5D-A4F2-47EF-9D75-B37F6839A421}"/>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21" name="Oval 620">
                  <a:extLst>
                    <a:ext uri="{FF2B5EF4-FFF2-40B4-BE49-F238E27FC236}">
                      <a16:creationId xmlns:a16="http://schemas.microsoft.com/office/drawing/2014/main" id="{69A6B253-8317-423A-A770-037D596DBC6B}"/>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22" name="Freeform 120">
                  <a:extLst>
                    <a:ext uri="{FF2B5EF4-FFF2-40B4-BE49-F238E27FC236}">
                      <a16:creationId xmlns:a16="http://schemas.microsoft.com/office/drawing/2014/main" id="{B079DD17-BBA3-4F66-A837-09B5C1CF1D92}"/>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23" name="Freeform 121">
                  <a:extLst>
                    <a:ext uri="{FF2B5EF4-FFF2-40B4-BE49-F238E27FC236}">
                      <a16:creationId xmlns:a16="http://schemas.microsoft.com/office/drawing/2014/main" id="{E39E50C3-FA60-4140-B9CA-5309E08A1E60}"/>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24" name="Freeform 122">
                  <a:extLst>
                    <a:ext uri="{FF2B5EF4-FFF2-40B4-BE49-F238E27FC236}">
                      <a16:creationId xmlns:a16="http://schemas.microsoft.com/office/drawing/2014/main" id="{B45F53A5-10AF-49DF-B1C9-7DBB5023531B}"/>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25" name="Freeform 123">
                  <a:extLst>
                    <a:ext uri="{FF2B5EF4-FFF2-40B4-BE49-F238E27FC236}">
                      <a16:creationId xmlns:a16="http://schemas.microsoft.com/office/drawing/2014/main" id="{400DA32E-EB62-4C27-ADBF-47C0D4326D6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26" name="Freeform 124">
                  <a:extLst>
                    <a:ext uri="{FF2B5EF4-FFF2-40B4-BE49-F238E27FC236}">
                      <a16:creationId xmlns:a16="http://schemas.microsoft.com/office/drawing/2014/main" id="{2AFD732A-3F16-4F6E-B931-601FA5F68572}"/>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27" name="Freeform 63">
                  <a:extLst>
                    <a:ext uri="{FF2B5EF4-FFF2-40B4-BE49-F238E27FC236}">
                      <a16:creationId xmlns:a16="http://schemas.microsoft.com/office/drawing/2014/main" id="{DFA6D852-FFB6-414C-AD6C-32F356F83F6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28" name="Freeform 65">
                  <a:extLst>
                    <a:ext uri="{FF2B5EF4-FFF2-40B4-BE49-F238E27FC236}">
                      <a16:creationId xmlns:a16="http://schemas.microsoft.com/office/drawing/2014/main" id="{B1EFF900-3707-4EEF-9970-57C358962098}"/>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29" name="Freeform 66">
                  <a:extLst>
                    <a:ext uri="{FF2B5EF4-FFF2-40B4-BE49-F238E27FC236}">
                      <a16:creationId xmlns:a16="http://schemas.microsoft.com/office/drawing/2014/main" id="{A6444053-892F-4C8D-A633-57B327C4A685}"/>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30" name="Freeform 67">
                  <a:extLst>
                    <a:ext uri="{FF2B5EF4-FFF2-40B4-BE49-F238E27FC236}">
                      <a16:creationId xmlns:a16="http://schemas.microsoft.com/office/drawing/2014/main" id="{C85BEB80-854C-4A5F-813C-581F62FA699B}"/>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31" name="Oval 68">
                  <a:extLst>
                    <a:ext uri="{FF2B5EF4-FFF2-40B4-BE49-F238E27FC236}">
                      <a16:creationId xmlns:a16="http://schemas.microsoft.com/office/drawing/2014/main" id="{E6D0E668-55FD-4056-B8DA-64B21B33F23B}"/>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632" name="Oval 69">
                  <a:extLst>
                    <a:ext uri="{FF2B5EF4-FFF2-40B4-BE49-F238E27FC236}">
                      <a16:creationId xmlns:a16="http://schemas.microsoft.com/office/drawing/2014/main" id="{A72560EE-F971-4E48-92CA-CFF043D5CCDA}"/>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536" name="Group 535">
                <a:extLst>
                  <a:ext uri="{FF2B5EF4-FFF2-40B4-BE49-F238E27FC236}">
                    <a16:creationId xmlns:a16="http://schemas.microsoft.com/office/drawing/2014/main" id="{46E5A8DA-7C76-4404-A545-A73E5D9AE661}"/>
                  </a:ext>
                </a:extLst>
              </p:cNvPr>
              <p:cNvGrpSpPr/>
              <p:nvPr/>
            </p:nvGrpSpPr>
            <p:grpSpPr>
              <a:xfrm>
                <a:off x="1206839" y="3914891"/>
                <a:ext cx="469400" cy="342521"/>
                <a:chOff x="1557350" y="4606481"/>
                <a:chExt cx="3001095" cy="2252753"/>
              </a:xfrm>
            </p:grpSpPr>
            <p:sp>
              <p:nvSpPr>
                <p:cNvPr id="538" name="Rectangle 537">
                  <a:extLst>
                    <a:ext uri="{FF2B5EF4-FFF2-40B4-BE49-F238E27FC236}">
                      <a16:creationId xmlns:a16="http://schemas.microsoft.com/office/drawing/2014/main" id="{E30A5671-B8D8-4A1B-993A-E0E1372F3B10}"/>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39" name="Rectangle 538">
                  <a:extLst>
                    <a:ext uri="{FF2B5EF4-FFF2-40B4-BE49-F238E27FC236}">
                      <a16:creationId xmlns:a16="http://schemas.microsoft.com/office/drawing/2014/main" id="{AFFC4CDD-001D-407D-97BD-46C725320DE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40" name="Rectangle 539">
                  <a:extLst>
                    <a:ext uri="{FF2B5EF4-FFF2-40B4-BE49-F238E27FC236}">
                      <a16:creationId xmlns:a16="http://schemas.microsoft.com/office/drawing/2014/main" id="{C575B89D-4809-4CA6-BA85-2AFDF965F473}"/>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41" name="Rectangle 540">
                  <a:extLst>
                    <a:ext uri="{FF2B5EF4-FFF2-40B4-BE49-F238E27FC236}">
                      <a16:creationId xmlns:a16="http://schemas.microsoft.com/office/drawing/2014/main" id="{FE39F9E2-B8AC-4414-9905-FE146038682F}"/>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42" name="Freeform 12">
                  <a:extLst>
                    <a:ext uri="{FF2B5EF4-FFF2-40B4-BE49-F238E27FC236}">
                      <a16:creationId xmlns:a16="http://schemas.microsoft.com/office/drawing/2014/main" id="{5031E987-09C9-4777-B3B6-06327D338F6E}"/>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43" name="Rectangle 542">
                  <a:extLst>
                    <a:ext uri="{FF2B5EF4-FFF2-40B4-BE49-F238E27FC236}">
                      <a16:creationId xmlns:a16="http://schemas.microsoft.com/office/drawing/2014/main" id="{FC011E7D-D187-4513-B8A7-ED96E95D9B03}"/>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44" name="Freeform 14">
                  <a:extLst>
                    <a:ext uri="{FF2B5EF4-FFF2-40B4-BE49-F238E27FC236}">
                      <a16:creationId xmlns:a16="http://schemas.microsoft.com/office/drawing/2014/main" id="{0E3E20AA-051E-4930-8F52-AF23BBCF97C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45" name="Rectangle 544">
                  <a:extLst>
                    <a:ext uri="{FF2B5EF4-FFF2-40B4-BE49-F238E27FC236}">
                      <a16:creationId xmlns:a16="http://schemas.microsoft.com/office/drawing/2014/main" id="{F8C7A18D-76C5-4907-A962-046BCCC0DD39}"/>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46" name="Freeform 16">
                  <a:extLst>
                    <a:ext uri="{FF2B5EF4-FFF2-40B4-BE49-F238E27FC236}">
                      <a16:creationId xmlns:a16="http://schemas.microsoft.com/office/drawing/2014/main" id="{AEE63031-D30C-4059-9D0A-2F22E20CA9D0}"/>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47" name="Freeform 17">
                  <a:extLst>
                    <a:ext uri="{FF2B5EF4-FFF2-40B4-BE49-F238E27FC236}">
                      <a16:creationId xmlns:a16="http://schemas.microsoft.com/office/drawing/2014/main" id="{44E973B2-C292-4C5D-AEC9-C144EB2231D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48" name="Oval 547">
                  <a:extLst>
                    <a:ext uri="{FF2B5EF4-FFF2-40B4-BE49-F238E27FC236}">
                      <a16:creationId xmlns:a16="http://schemas.microsoft.com/office/drawing/2014/main" id="{B3730C23-C355-4EF8-B683-2B6A5E00BF04}"/>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49" name="Rectangle 548">
                  <a:extLst>
                    <a:ext uri="{FF2B5EF4-FFF2-40B4-BE49-F238E27FC236}">
                      <a16:creationId xmlns:a16="http://schemas.microsoft.com/office/drawing/2014/main" id="{6D359C88-FE60-4167-A091-9DD249FE3569}"/>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50" name="Freeform 20">
                  <a:extLst>
                    <a:ext uri="{FF2B5EF4-FFF2-40B4-BE49-F238E27FC236}">
                      <a16:creationId xmlns:a16="http://schemas.microsoft.com/office/drawing/2014/main" id="{02A00607-D65A-41E4-B16C-8D72A9047776}"/>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51" name="Freeform 21">
                  <a:extLst>
                    <a:ext uri="{FF2B5EF4-FFF2-40B4-BE49-F238E27FC236}">
                      <a16:creationId xmlns:a16="http://schemas.microsoft.com/office/drawing/2014/main" id="{8F13F712-88A8-4F2A-B962-C30DCEB5B7A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552" name="Group 551">
                  <a:extLst>
                    <a:ext uri="{FF2B5EF4-FFF2-40B4-BE49-F238E27FC236}">
                      <a16:creationId xmlns:a16="http://schemas.microsoft.com/office/drawing/2014/main" id="{B427F4F7-CD7D-47C2-A367-4235685F4390}"/>
                    </a:ext>
                  </a:extLst>
                </p:cNvPr>
                <p:cNvGrpSpPr/>
                <p:nvPr/>
              </p:nvGrpSpPr>
              <p:grpSpPr>
                <a:xfrm>
                  <a:off x="3298176" y="4606481"/>
                  <a:ext cx="1260269" cy="2252753"/>
                  <a:chOff x="10352191" y="4087395"/>
                  <a:chExt cx="1336826" cy="2389605"/>
                </a:xfrm>
              </p:grpSpPr>
              <p:sp>
                <p:nvSpPr>
                  <p:cNvPr id="553" name="Rectangle 552">
                    <a:extLst>
                      <a:ext uri="{FF2B5EF4-FFF2-40B4-BE49-F238E27FC236}">
                        <a16:creationId xmlns:a16="http://schemas.microsoft.com/office/drawing/2014/main" id="{801282F8-0C6E-4AED-8479-96CE6C43B2A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54" name="Round Same Side Corner Rectangle 52">
                    <a:extLst>
                      <a:ext uri="{FF2B5EF4-FFF2-40B4-BE49-F238E27FC236}">
                        <a16:creationId xmlns:a16="http://schemas.microsoft.com/office/drawing/2014/main" id="{37E73820-40C2-481D-A696-677DF6D31A8F}"/>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555" name="Rectangle 554">
                    <a:extLst>
                      <a:ext uri="{FF2B5EF4-FFF2-40B4-BE49-F238E27FC236}">
                        <a16:creationId xmlns:a16="http://schemas.microsoft.com/office/drawing/2014/main" id="{951A9CE1-A0A3-4360-81C8-3BB4333E4D8B}"/>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56" name="Freeform 54">
                    <a:extLst>
                      <a:ext uri="{FF2B5EF4-FFF2-40B4-BE49-F238E27FC236}">
                        <a16:creationId xmlns:a16="http://schemas.microsoft.com/office/drawing/2014/main" id="{57D4EFF4-C6E3-4566-99C1-16AD6819982F}"/>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57" name="Freeform 55">
                    <a:extLst>
                      <a:ext uri="{FF2B5EF4-FFF2-40B4-BE49-F238E27FC236}">
                        <a16:creationId xmlns:a16="http://schemas.microsoft.com/office/drawing/2014/main" id="{87250FDC-5ED8-4630-8907-760853E8794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58" name="Freeform 56">
                    <a:extLst>
                      <a:ext uri="{FF2B5EF4-FFF2-40B4-BE49-F238E27FC236}">
                        <a16:creationId xmlns:a16="http://schemas.microsoft.com/office/drawing/2014/main" id="{00206F3F-6D3D-4A0A-9B10-55237B8016C9}"/>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59" name="Freeform 57">
                    <a:extLst>
                      <a:ext uri="{FF2B5EF4-FFF2-40B4-BE49-F238E27FC236}">
                        <a16:creationId xmlns:a16="http://schemas.microsoft.com/office/drawing/2014/main" id="{EFC3EBF7-A8CA-4751-BF20-82A562464FD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60" name="Freeform 58">
                    <a:extLst>
                      <a:ext uri="{FF2B5EF4-FFF2-40B4-BE49-F238E27FC236}">
                        <a16:creationId xmlns:a16="http://schemas.microsoft.com/office/drawing/2014/main" id="{DC301D87-8220-4685-8B6F-8B77D1CB7C6F}"/>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61" name="Freeform 59">
                    <a:extLst>
                      <a:ext uri="{FF2B5EF4-FFF2-40B4-BE49-F238E27FC236}">
                        <a16:creationId xmlns:a16="http://schemas.microsoft.com/office/drawing/2014/main" id="{112CBB71-E16D-49E4-9594-B776042667D0}"/>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62" name="Freeform 60">
                    <a:extLst>
                      <a:ext uri="{FF2B5EF4-FFF2-40B4-BE49-F238E27FC236}">
                        <a16:creationId xmlns:a16="http://schemas.microsoft.com/office/drawing/2014/main" id="{9CF6F424-830C-4483-889B-700329792A89}"/>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63" name="Freeform 61">
                    <a:extLst>
                      <a:ext uri="{FF2B5EF4-FFF2-40B4-BE49-F238E27FC236}">
                        <a16:creationId xmlns:a16="http://schemas.microsoft.com/office/drawing/2014/main" id="{42B25CF2-04F3-49D1-BFD0-ADF6730DA7BC}"/>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64" name="Oval 563">
                    <a:extLst>
                      <a:ext uri="{FF2B5EF4-FFF2-40B4-BE49-F238E27FC236}">
                        <a16:creationId xmlns:a16="http://schemas.microsoft.com/office/drawing/2014/main" id="{A732729A-5AC5-4452-BB37-F720DE847E8A}"/>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65" name="Freeform 63">
                    <a:extLst>
                      <a:ext uri="{FF2B5EF4-FFF2-40B4-BE49-F238E27FC236}">
                        <a16:creationId xmlns:a16="http://schemas.microsoft.com/office/drawing/2014/main" id="{EE603F34-83AA-49F8-AE27-48B4A646FC0F}"/>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66" name="Rectangle 565">
                    <a:extLst>
                      <a:ext uri="{FF2B5EF4-FFF2-40B4-BE49-F238E27FC236}">
                        <a16:creationId xmlns:a16="http://schemas.microsoft.com/office/drawing/2014/main" id="{FB5FD5BD-2515-44C8-9D0D-0A5206B72BB8}"/>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67" name="Freeform 65">
                    <a:extLst>
                      <a:ext uri="{FF2B5EF4-FFF2-40B4-BE49-F238E27FC236}">
                        <a16:creationId xmlns:a16="http://schemas.microsoft.com/office/drawing/2014/main" id="{37CC609F-B3FD-4DEF-A9E0-7C8ABB687B63}"/>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68" name="Freeform 66">
                    <a:extLst>
                      <a:ext uri="{FF2B5EF4-FFF2-40B4-BE49-F238E27FC236}">
                        <a16:creationId xmlns:a16="http://schemas.microsoft.com/office/drawing/2014/main" id="{9B63DC05-C2DE-4895-8A59-B536EB544B56}"/>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69" name="Rectangle 568">
                    <a:extLst>
                      <a:ext uri="{FF2B5EF4-FFF2-40B4-BE49-F238E27FC236}">
                        <a16:creationId xmlns:a16="http://schemas.microsoft.com/office/drawing/2014/main" id="{A3EF2736-C3D6-4975-A8C2-4D2C97BB89F2}"/>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70" name="Freeform 68">
                    <a:extLst>
                      <a:ext uri="{FF2B5EF4-FFF2-40B4-BE49-F238E27FC236}">
                        <a16:creationId xmlns:a16="http://schemas.microsoft.com/office/drawing/2014/main" id="{718766E5-F3E4-477F-B137-FD16DB144EB8}"/>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71" name="Freeform 69">
                    <a:extLst>
                      <a:ext uri="{FF2B5EF4-FFF2-40B4-BE49-F238E27FC236}">
                        <a16:creationId xmlns:a16="http://schemas.microsoft.com/office/drawing/2014/main" id="{DF5DF3BB-1B99-4417-AE4C-E533EEDC9F6B}"/>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72" name="Freeform 70">
                    <a:extLst>
                      <a:ext uri="{FF2B5EF4-FFF2-40B4-BE49-F238E27FC236}">
                        <a16:creationId xmlns:a16="http://schemas.microsoft.com/office/drawing/2014/main" id="{9BE2D083-B860-4B77-B5F0-5109F95EE079}"/>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73" name="Freeform 71">
                    <a:extLst>
                      <a:ext uri="{FF2B5EF4-FFF2-40B4-BE49-F238E27FC236}">
                        <a16:creationId xmlns:a16="http://schemas.microsoft.com/office/drawing/2014/main" id="{BAD30F35-35EA-4D9B-88B2-81BC194003C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74" name="Freeform 72">
                    <a:extLst>
                      <a:ext uri="{FF2B5EF4-FFF2-40B4-BE49-F238E27FC236}">
                        <a16:creationId xmlns:a16="http://schemas.microsoft.com/office/drawing/2014/main" id="{A9C5B1E9-FA78-48AA-9721-C3C8A21C45B4}"/>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75" name="Freeform 73">
                    <a:extLst>
                      <a:ext uri="{FF2B5EF4-FFF2-40B4-BE49-F238E27FC236}">
                        <a16:creationId xmlns:a16="http://schemas.microsoft.com/office/drawing/2014/main" id="{F5EFAC25-F627-4D16-AEFB-2705B02C7DE6}"/>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76" name="Freeform 74">
                    <a:extLst>
                      <a:ext uri="{FF2B5EF4-FFF2-40B4-BE49-F238E27FC236}">
                        <a16:creationId xmlns:a16="http://schemas.microsoft.com/office/drawing/2014/main" id="{FF845AF1-AD5A-42CF-8069-D132F25FA16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77" name="Rectangle 576">
                    <a:extLst>
                      <a:ext uri="{FF2B5EF4-FFF2-40B4-BE49-F238E27FC236}">
                        <a16:creationId xmlns:a16="http://schemas.microsoft.com/office/drawing/2014/main" id="{9F30B251-A76E-410F-8505-F18259C7BE86}"/>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578" name="Rectangle 577">
                    <a:extLst>
                      <a:ext uri="{FF2B5EF4-FFF2-40B4-BE49-F238E27FC236}">
                        <a16:creationId xmlns:a16="http://schemas.microsoft.com/office/drawing/2014/main" id="{184B8AA7-69D4-49E0-800A-ED4A7503406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537" name="Rectangle 536">
                <a:extLst>
                  <a:ext uri="{FF2B5EF4-FFF2-40B4-BE49-F238E27FC236}">
                    <a16:creationId xmlns:a16="http://schemas.microsoft.com/office/drawing/2014/main" id="{A0F83DE3-08BE-4687-A22B-4BC479F50389}"/>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514" name="Rectangle 513">
            <a:extLst>
              <a:ext uri="{FF2B5EF4-FFF2-40B4-BE49-F238E27FC236}">
                <a16:creationId xmlns:a16="http://schemas.microsoft.com/office/drawing/2014/main" id="{8CDD084F-A068-435F-B773-D5921DAEFFE2}"/>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Note: Figures are illustrative and based on pre-configured assumptions; actual savings vary by user requirements and infrastructure configuration</a:t>
            </a:r>
          </a:p>
        </p:txBody>
      </p:sp>
      <p:grpSp>
        <p:nvGrpSpPr>
          <p:cNvPr id="209" name="Group 208">
            <a:extLst>
              <a:ext uri="{FF2B5EF4-FFF2-40B4-BE49-F238E27FC236}">
                <a16:creationId xmlns:a16="http://schemas.microsoft.com/office/drawing/2014/main" id="{9CF76B4E-4337-471A-A7D4-48CC8DEC0ACB}"/>
              </a:ext>
            </a:extLst>
          </p:cNvPr>
          <p:cNvGrpSpPr/>
          <p:nvPr/>
        </p:nvGrpSpPr>
        <p:grpSpPr>
          <a:xfrm>
            <a:off x="10052458" y="146014"/>
            <a:ext cx="2033626" cy="1015650"/>
            <a:chOff x="10052458" y="146014"/>
            <a:chExt cx="2033626" cy="1015650"/>
          </a:xfrm>
        </p:grpSpPr>
        <p:pic>
          <p:nvPicPr>
            <p:cNvPr id="210" name="Picture 209">
              <a:extLst>
                <a:ext uri="{FF2B5EF4-FFF2-40B4-BE49-F238E27FC236}">
                  <a16:creationId xmlns:a16="http://schemas.microsoft.com/office/drawing/2014/main" id="{5ADD4A94-BE73-4BCD-B4EC-BDF7CA9498C8}"/>
                </a:ext>
              </a:extLst>
            </p:cNvPr>
            <p:cNvPicPr>
              <a:picLocks noChangeAspect="1"/>
            </p:cNvPicPr>
            <p:nvPr/>
          </p:nvPicPr>
          <p:blipFill>
            <a:blip r:embed="rId10"/>
            <a:stretch>
              <a:fillRect/>
            </a:stretch>
          </p:blipFill>
          <p:spPr>
            <a:xfrm>
              <a:off x="10052458" y="146014"/>
              <a:ext cx="2033626" cy="1015650"/>
            </a:xfrm>
            <a:prstGeom prst="rect">
              <a:avLst/>
            </a:prstGeom>
          </p:spPr>
        </p:pic>
        <p:sp>
          <p:nvSpPr>
            <p:cNvPr id="211" name="Rectangle 210">
              <a:extLst>
                <a:ext uri="{FF2B5EF4-FFF2-40B4-BE49-F238E27FC236}">
                  <a16:creationId xmlns:a16="http://schemas.microsoft.com/office/drawing/2014/main" id="{BAB45B14-765D-4AEA-9CD7-76AB9065C5AE}"/>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2135990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1967038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4"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Management Service Included With the Licenses you Already Own</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3045129" cy="369332"/>
          </a:xfrm>
          <a:prstGeom prst="rect">
            <a:avLst/>
          </a:prstGeom>
        </p:spPr>
        <p:txBody>
          <a:bodyPr wrap="none">
            <a:spAutoFit/>
          </a:bodyPr>
          <a:lstStyle/>
          <a:p>
            <a:r>
              <a:rPr lang="en-US" b="1" i="1" dirty="0"/>
              <a:t>Cost-advantaged licensing</a:t>
            </a:r>
          </a:p>
        </p:txBody>
      </p:sp>
      <p:sp>
        <p:nvSpPr>
          <p:cNvPr id="330" name="Freeform: Shape 329">
            <a:extLst>
              <a:ext uri="{FF2B5EF4-FFF2-40B4-BE49-F238E27FC236}">
                <a16:creationId xmlns:a16="http://schemas.microsoft.com/office/drawing/2014/main" id="{668FCC8F-2325-45C5-A460-681BEF2CB71A}"/>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Aft>
                <a:spcPct val="0"/>
              </a:spcAft>
            </a:pPr>
            <a:r>
              <a:rPr lang="en-US" sz="1600" b="1" dirty="0">
                <a:solidFill>
                  <a:schemeClr val="tx2"/>
                </a:solidFill>
                <a:cs typeface="Segoe UI" pitchFamily="34" charset="0"/>
              </a:rPr>
              <a:t>Customer Scenario – From on-prem virtualization to WVD</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WVD management service included with the licenses* most Microsoft customers own</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Eliminate the infrastructure cost associated with on-prem management services</a:t>
            </a:r>
          </a:p>
        </p:txBody>
      </p:sp>
      <p:grpSp>
        <p:nvGrpSpPr>
          <p:cNvPr id="331" name="Group 330">
            <a:extLst>
              <a:ext uri="{FF2B5EF4-FFF2-40B4-BE49-F238E27FC236}">
                <a16:creationId xmlns:a16="http://schemas.microsoft.com/office/drawing/2014/main" id="{7FA652C4-07A6-425D-8A20-9C1C1C7A63B8}"/>
              </a:ext>
            </a:extLst>
          </p:cNvPr>
          <p:cNvGrpSpPr>
            <a:grpSpLocks noChangeAspect="1"/>
          </p:cNvGrpSpPr>
          <p:nvPr/>
        </p:nvGrpSpPr>
        <p:grpSpPr>
          <a:xfrm>
            <a:off x="10777886" y="1372927"/>
            <a:ext cx="806355" cy="914400"/>
            <a:chOff x="797126" y="3893732"/>
            <a:chExt cx="1125722" cy="1276864"/>
          </a:xfrm>
        </p:grpSpPr>
        <p:sp>
          <p:nvSpPr>
            <p:cNvPr id="335" name="Freeform 403">
              <a:extLst>
                <a:ext uri="{FF2B5EF4-FFF2-40B4-BE49-F238E27FC236}">
                  <a16:creationId xmlns:a16="http://schemas.microsoft.com/office/drawing/2014/main" id="{E97D8EB4-58E6-4A96-941D-7A628A2E5A06}"/>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336" name="Freeform: Shape 335">
              <a:extLst>
                <a:ext uri="{FF2B5EF4-FFF2-40B4-BE49-F238E27FC236}">
                  <a16:creationId xmlns:a16="http://schemas.microsoft.com/office/drawing/2014/main" id="{965A6355-4C51-4ECF-9FEE-78F9424BC34F}"/>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339" name="Group 338">
              <a:extLst>
                <a:ext uri="{FF2B5EF4-FFF2-40B4-BE49-F238E27FC236}">
                  <a16:creationId xmlns:a16="http://schemas.microsoft.com/office/drawing/2014/main" id="{9BF571A3-A2F7-4A50-9235-60E1C507F406}"/>
                </a:ext>
              </a:extLst>
            </p:cNvPr>
            <p:cNvGrpSpPr/>
            <p:nvPr/>
          </p:nvGrpSpPr>
          <p:grpSpPr>
            <a:xfrm>
              <a:off x="971699" y="4043345"/>
              <a:ext cx="773592" cy="920012"/>
              <a:chOff x="993458" y="3447450"/>
              <a:chExt cx="682781" cy="812014"/>
            </a:xfrm>
          </p:grpSpPr>
          <p:grpSp>
            <p:nvGrpSpPr>
              <p:cNvPr id="345" name="Group 344">
                <a:extLst>
                  <a:ext uri="{FF2B5EF4-FFF2-40B4-BE49-F238E27FC236}">
                    <a16:creationId xmlns:a16="http://schemas.microsoft.com/office/drawing/2014/main" id="{B79DC665-4490-4BCE-9B74-4A68EAE0C633}"/>
                  </a:ext>
                </a:extLst>
              </p:cNvPr>
              <p:cNvGrpSpPr/>
              <p:nvPr/>
            </p:nvGrpSpPr>
            <p:grpSpPr>
              <a:xfrm>
                <a:off x="993458" y="3447450"/>
                <a:ext cx="576652" cy="812014"/>
                <a:chOff x="499414" y="1517311"/>
                <a:chExt cx="3686809" cy="5340604"/>
              </a:xfrm>
            </p:grpSpPr>
            <p:sp>
              <p:nvSpPr>
                <p:cNvPr id="444" name="Rectangle 443">
                  <a:extLst>
                    <a:ext uri="{FF2B5EF4-FFF2-40B4-BE49-F238E27FC236}">
                      <a16:creationId xmlns:a16="http://schemas.microsoft.com/office/drawing/2014/main" id="{0CA96B93-6E8A-4796-8EBD-4866BC16463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445" name="Group 444">
                  <a:extLst>
                    <a:ext uri="{FF2B5EF4-FFF2-40B4-BE49-F238E27FC236}">
                      <a16:creationId xmlns:a16="http://schemas.microsoft.com/office/drawing/2014/main" id="{37A4A1D9-2D93-42E0-BE8F-9082F29FDEF1}"/>
                    </a:ext>
                  </a:extLst>
                </p:cNvPr>
                <p:cNvGrpSpPr/>
                <p:nvPr/>
              </p:nvGrpSpPr>
              <p:grpSpPr>
                <a:xfrm rot="20371446">
                  <a:off x="2524661" y="2299216"/>
                  <a:ext cx="859576" cy="554927"/>
                  <a:chOff x="4775201" y="792163"/>
                  <a:chExt cx="2024063" cy="1306513"/>
                </a:xfrm>
              </p:grpSpPr>
              <p:sp>
                <p:nvSpPr>
                  <p:cNvPr id="499" name="Freeform 354">
                    <a:extLst>
                      <a:ext uri="{FF2B5EF4-FFF2-40B4-BE49-F238E27FC236}">
                        <a16:creationId xmlns:a16="http://schemas.microsoft.com/office/drawing/2014/main" id="{518F9C42-793D-425F-9CE0-DE82FBD57CBB}"/>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0" name="Rectangle 499">
                    <a:extLst>
                      <a:ext uri="{FF2B5EF4-FFF2-40B4-BE49-F238E27FC236}">
                        <a16:creationId xmlns:a16="http://schemas.microsoft.com/office/drawing/2014/main" id="{14A43D14-A1B9-403B-A841-6B7687CA0F01}"/>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1" name="Freeform 356">
                    <a:extLst>
                      <a:ext uri="{FF2B5EF4-FFF2-40B4-BE49-F238E27FC236}">
                        <a16:creationId xmlns:a16="http://schemas.microsoft.com/office/drawing/2014/main" id="{D9C7579E-F90D-4784-B7CB-BAC7A171FC75}"/>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2" name="Freeform 357">
                    <a:extLst>
                      <a:ext uri="{FF2B5EF4-FFF2-40B4-BE49-F238E27FC236}">
                        <a16:creationId xmlns:a16="http://schemas.microsoft.com/office/drawing/2014/main" id="{9027DEE5-AB5E-4895-9A88-948B3145DE3C}"/>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3" name="Freeform 358">
                    <a:extLst>
                      <a:ext uri="{FF2B5EF4-FFF2-40B4-BE49-F238E27FC236}">
                        <a16:creationId xmlns:a16="http://schemas.microsoft.com/office/drawing/2014/main" id="{F135D12C-FA45-4A1A-86FE-015170C1A33C}"/>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4" name="Rectangle 503">
                    <a:extLst>
                      <a:ext uri="{FF2B5EF4-FFF2-40B4-BE49-F238E27FC236}">
                        <a16:creationId xmlns:a16="http://schemas.microsoft.com/office/drawing/2014/main" id="{6037D242-9FD8-473B-9FC2-38EF19A6DB4D}"/>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5" name="Freeform 360">
                    <a:extLst>
                      <a:ext uri="{FF2B5EF4-FFF2-40B4-BE49-F238E27FC236}">
                        <a16:creationId xmlns:a16="http://schemas.microsoft.com/office/drawing/2014/main" id="{69E53A42-AD05-466B-A670-B62C5058115A}"/>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6" name="Rectangle 505">
                    <a:extLst>
                      <a:ext uri="{FF2B5EF4-FFF2-40B4-BE49-F238E27FC236}">
                        <a16:creationId xmlns:a16="http://schemas.microsoft.com/office/drawing/2014/main" id="{468DCDB8-A3D6-4B12-ABBE-3AC483FE386F}"/>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7" name="Rectangle 506">
                    <a:extLst>
                      <a:ext uri="{FF2B5EF4-FFF2-40B4-BE49-F238E27FC236}">
                        <a16:creationId xmlns:a16="http://schemas.microsoft.com/office/drawing/2014/main" id="{861DFED3-4747-4001-AC33-2777EB58C494}"/>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8" name="Rectangle 507">
                    <a:extLst>
                      <a:ext uri="{FF2B5EF4-FFF2-40B4-BE49-F238E27FC236}">
                        <a16:creationId xmlns:a16="http://schemas.microsoft.com/office/drawing/2014/main" id="{0E58D0FF-587C-4ABC-A235-3E1D3092D95A}"/>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9" name="Rectangle 508">
                    <a:extLst>
                      <a:ext uri="{FF2B5EF4-FFF2-40B4-BE49-F238E27FC236}">
                        <a16:creationId xmlns:a16="http://schemas.microsoft.com/office/drawing/2014/main" id="{CB31BCA9-BB6D-4410-B79D-BD4C2267594C}"/>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10" name="Rectangle 509">
                    <a:extLst>
                      <a:ext uri="{FF2B5EF4-FFF2-40B4-BE49-F238E27FC236}">
                        <a16:creationId xmlns:a16="http://schemas.microsoft.com/office/drawing/2014/main" id="{090ABD02-3A91-4BA2-89FA-FB791C9CE1FE}"/>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446" name="Group 445">
                  <a:extLst>
                    <a:ext uri="{FF2B5EF4-FFF2-40B4-BE49-F238E27FC236}">
                      <a16:creationId xmlns:a16="http://schemas.microsoft.com/office/drawing/2014/main" id="{A8D4156F-44B1-470C-952A-A64F1D79A6E2}"/>
                    </a:ext>
                  </a:extLst>
                </p:cNvPr>
                <p:cNvGrpSpPr/>
                <p:nvPr/>
              </p:nvGrpSpPr>
              <p:grpSpPr>
                <a:xfrm>
                  <a:off x="1190120" y="2235988"/>
                  <a:ext cx="983059" cy="983198"/>
                  <a:chOff x="5413781" y="5749281"/>
                  <a:chExt cx="652036" cy="652036"/>
                </a:xfrm>
              </p:grpSpPr>
              <p:sp>
                <p:nvSpPr>
                  <p:cNvPr id="497" name="Oval 496">
                    <a:extLst>
                      <a:ext uri="{FF2B5EF4-FFF2-40B4-BE49-F238E27FC236}">
                        <a16:creationId xmlns:a16="http://schemas.microsoft.com/office/drawing/2014/main" id="{09E7FC87-008C-4B22-8B23-A740C97E5AC1}"/>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498" name="Freeform 353">
                    <a:extLst>
                      <a:ext uri="{FF2B5EF4-FFF2-40B4-BE49-F238E27FC236}">
                        <a16:creationId xmlns:a16="http://schemas.microsoft.com/office/drawing/2014/main" id="{C60493ED-27BA-4DB6-9C61-D4A274FB070C}"/>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447" name="Group 446">
                  <a:extLst>
                    <a:ext uri="{FF2B5EF4-FFF2-40B4-BE49-F238E27FC236}">
                      <a16:creationId xmlns:a16="http://schemas.microsoft.com/office/drawing/2014/main" id="{6C29AC47-DEB6-40D2-A15A-F1D89DC80549}"/>
                    </a:ext>
                  </a:extLst>
                </p:cNvPr>
                <p:cNvGrpSpPr>
                  <a:grpSpLocks noChangeAspect="1"/>
                </p:cNvGrpSpPr>
                <p:nvPr/>
              </p:nvGrpSpPr>
              <p:grpSpPr bwMode="auto">
                <a:xfrm rot="1800000">
                  <a:off x="3563928" y="2295726"/>
                  <a:ext cx="622295" cy="847393"/>
                  <a:chOff x="6652" y="1661"/>
                  <a:chExt cx="260" cy="354"/>
                </a:xfrm>
              </p:grpSpPr>
              <p:sp>
                <p:nvSpPr>
                  <p:cNvPr id="493" name="AutoShape 138">
                    <a:extLst>
                      <a:ext uri="{FF2B5EF4-FFF2-40B4-BE49-F238E27FC236}">
                        <a16:creationId xmlns:a16="http://schemas.microsoft.com/office/drawing/2014/main" id="{E06EFE67-DDD2-437B-A657-BFEFC2D14E1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494" name="Freeform 349">
                    <a:extLst>
                      <a:ext uri="{FF2B5EF4-FFF2-40B4-BE49-F238E27FC236}">
                        <a16:creationId xmlns:a16="http://schemas.microsoft.com/office/drawing/2014/main" id="{B0ECD7B3-1E67-4EF3-ACC7-570C320594B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495" name="Rectangle 494">
                    <a:extLst>
                      <a:ext uri="{FF2B5EF4-FFF2-40B4-BE49-F238E27FC236}">
                        <a16:creationId xmlns:a16="http://schemas.microsoft.com/office/drawing/2014/main" id="{0392F996-AD4C-4C83-A152-923BD8B6F37E}"/>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496" name="Freeform 351">
                    <a:extLst>
                      <a:ext uri="{FF2B5EF4-FFF2-40B4-BE49-F238E27FC236}">
                        <a16:creationId xmlns:a16="http://schemas.microsoft.com/office/drawing/2014/main" id="{21342B23-C509-45D7-9101-B39CC04476C4}"/>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448" name="Group 447">
                  <a:extLst>
                    <a:ext uri="{FF2B5EF4-FFF2-40B4-BE49-F238E27FC236}">
                      <a16:creationId xmlns:a16="http://schemas.microsoft.com/office/drawing/2014/main" id="{5A0AEC22-8E07-464B-8E46-DE5270E7EAF5}"/>
                    </a:ext>
                  </a:extLst>
                </p:cNvPr>
                <p:cNvGrpSpPr/>
                <p:nvPr/>
              </p:nvGrpSpPr>
              <p:grpSpPr>
                <a:xfrm flipH="1">
                  <a:off x="499414" y="3565526"/>
                  <a:ext cx="1323206" cy="3292389"/>
                  <a:chOff x="8371759" y="2973033"/>
                  <a:chExt cx="1482609" cy="3688507"/>
                </a:xfrm>
              </p:grpSpPr>
              <p:sp>
                <p:nvSpPr>
                  <p:cNvPr id="459" name="Freeform 314">
                    <a:extLst>
                      <a:ext uri="{FF2B5EF4-FFF2-40B4-BE49-F238E27FC236}">
                        <a16:creationId xmlns:a16="http://schemas.microsoft.com/office/drawing/2014/main" id="{B16B4501-8434-4D4E-8796-AA6F142A645D}"/>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60" name="Freeform 315">
                    <a:extLst>
                      <a:ext uri="{FF2B5EF4-FFF2-40B4-BE49-F238E27FC236}">
                        <a16:creationId xmlns:a16="http://schemas.microsoft.com/office/drawing/2014/main" id="{5EEA362D-4087-4DC9-A19B-4209663D38B3}"/>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61" name="Freeform 316">
                    <a:extLst>
                      <a:ext uri="{FF2B5EF4-FFF2-40B4-BE49-F238E27FC236}">
                        <a16:creationId xmlns:a16="http://schemas.microsoft.com/office/drawing/2014/main" id="{C59E3F2A-F3BB-4D81-8A4B-0518D0DF0250}"/>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62" name="Rectangle 461">
                    <a:extLst>
                      <a:ext uri="{FF2B5EF4-FFF2-40B4-BE49-F238E27FC236}">
                        <a16:creationId xmlns:a16="http://schemas.microsoft.com/office/drawing/2014/main" id="{8F280F44-2BBB-4AC7-8ADB-D06E0C374AC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63" name="Rectangle 462">
                    <a:extLst>
                      <a:ext uri="{FF2B5EF4-FFF2-40B4-BE49-F238E27FC236}">
                        <a16:creationId xmlns:a16="http://schemas.microsoft.com/office/drawing/2014/main" id="{DDAEBDE4-9F49-4A8B-B4CE-CBF25F0F0E97}"/>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64" name="Rectangle 463">
                    <a:extLst>
                      <a:ext uri="{FF2B5EF4-FFF2-40B4-BE49-F238E27FC236}">
                        <a16:creationId xmlns:a16="http://schemas.microsoft.com/office/drawing/2014/main" id="{BF562D2D-1956-49EF-B440-30282AABC0E2}"/>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65" name="Rectangle 464">
                    <a:extLst>
                      <a:ext uri="{FF2B5EF4-FFF2-40B4-BE49-F238E27FC236}">
                        <a16:creationId xmlns:a16="http://schemas.microsoft.com/office/drawing/2014/main" id="{1427C08B-F24E-4C0C-A534-FB70E4CD3BE6}"/>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66" name="Freeform 321">
                    <a:extLst>
                      <a:ext uri="{FF2B5EF4-FFF2-40B4-BE49-F238E27FC236}">
                        <a16:creationId xmlns:a16="http://schemas.microsoft.com/office/drawing/2014/main" id="{BB72CADD-A899-4317-A92D-0034F797B9E4}"/>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67" name="Rectangle 466">
                    <a:extLst>
                      <a:ext uri="{FF2B5EF4-FFF2-40B4-BE49-F238E27FC236}">
                        <a16:creationId xmlns:a16="http://schemas.microsoft.com/office/drawing/2014/main" id="{C0543D96-DAA7-4523-999B-70B00A51067D}"/>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68" name="Rectangle 467">
                    <a:extLst>
                      <a:ext uri="{FF2B5EF4-FFF2-40B4-BE49-F238E27FC236}">
                        <a16:creationId xmlns:a16="http://schemas.microsoft.com/office/drawing/2014/main" id="{F5205E39-63B7-4A0D-ABA3-9D633DC84E18}"/>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69" name="Freeform 324">
                    <a:extLst>
                      <a:ext uri="{FF2B5EF4-FFF2-40B4-BE49-F238E27FC236}">
                        <a16:creationId xmlns:a16="http://schemas.microsoft.com/office/drawing/2014/main" id="{FD736EDC-0DD4-4FC2-8E69-CC3CB11C5356}"/>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70" name="Freeform 325">
                    <a:extLst>
                      <a:ext uri="{FF2B5EF4-FFF2-40B4-BE49-F238E27FC236}">
                        <a16:creationId xmlns:a16="http://schemas.microsoft.com/office/drawing/2014/main" id="{2CEB289F-3B6C-4C1D-8648-CCAD3782D9B2}"/>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71" name="Freeform 326">
                    <a:extLst>
                      <a:ext uri="{FF2B5EF4-FFF2-40B4-BE49-F238E27FC236}">
                        <a16:creationId xmlns:a16="http://schemas.microsoft.com/office/drawing/2014/main" id="{DC944F9F-CDE0-462C-9D20-806873087509}"/>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72" name="Freeform 327">
                    <a:extLst>
                      <a:ext uri="{FF2B5EF4-FFF2-40B4-BE49-F238E27FC236}">
                        <a16:creationId xmlns:a16="http://schemas.microsoft.com/office/drawing/2014/main" id="{669AF0B7-8F30-48A8-B6AD-95260724332B}"/>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73" name="Freeform 328">
                    <a:extLst>
                      <a:ext uri="{FF2B5EF4-FFF2-40B4-BE49-F238E27FC236}">
                        <a16:creationId xmlns:a16="http://schemas.microsoft.com/office/drawing/2014/main" id="{3F85751F-ACCE-465C-B0CA-43385B45EDE9}"/>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74" name="Freeform 329">
                    <a:extLst>
                      <a:ext uri="{FF2B5EF4-FFF2-40B4-BE49-F238E27FC236}">
                        <a16:creationId xmlns:a16="http://schemas.microsoft.com/office/drawing/2014/main" id="{AB4CA9EA-5817-4001-8F81-1DBB0934CE9A}"/>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75" name="Freeform 330">
                    <a:extLst>
                      <a:ext uri="{FF2B5EF4-FFF2-40B4-BE49-F238E27FC236}">
                        <a16:creationId xmlns:a16="http://schemas.microsoft.com/office/drawing/2014/main" id="{95B976C4-B0E4-49CD-A019-6E0DE2FA9A40}"/>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76" name="Freeform 331">
                    <a:extLst>
                      <a:ext uri="{FF2B5EF4-FFF2-40B4-BE49-F238E27FC236}">
                        <a16:creationId xmlns:a16="http://schemas.microsoft.com/office/drawing/2014/main" id="{DA527A93-83BA-4D2A-8065-BAD6647CB5D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77" name="Freeform 332">
                    <a:extLst>
                      <a:ext uri="{FF2B5EF4-FFF2-40B4-BE49-F238E27FC236}">
                        <a16:creationId xmlns:a16="http://schemas.microsoft.com/office/drawing/2014/main" id="{09589380-5B81-4925-B4D5-08439F5DECD4}"/>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78" name="Freeform 333">
                    <a:extLst>
                      <a:ext uri="{FF2B5EF4-FFF2-40B4-BE49-F238E27FC236}">
                        <a16:creationId xmlns:a16="http://schemas.microsoft.com/office/drawing/2014/main" id="{A0B29586-FC50-4DB5-BBE8-D111F5E2C1D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79" name="Freeform 334">
                    <a:extLst>
                      <a:ext uri="{FF2B5EF4-FFF2-40B4-BE49-F238E27FC236}">
                        <a16:creationId xmlns:a16="http://schemas.microsoft.com/office/drawing/2014/main" id="{715CF028-D0B6-4076-B5C2-06F2EF64BC37}"/>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80" name="Freeform 335">
                    <a:extLst>
                      <a:ext uri="{FF2B5EF4-FFF2-40B4-BE49-F238E27FC236}">
                        <a16:creationId xmlns:a16="http://schemas.microsoft.com/office/drawing/2014/main" id="{D52390C3-F58A-4BCB-AA18-B39459A7F374}"/>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81" name="Freeform 336">
                    <a:extLst>
                      <a:ext uri="{FF2B5EF4-FFF2-40B4-BE49-F238E27FC236}">
                        <a16:creationId xmlns:a16="http://schemas.microsoft.com/office/drawing/2014/main" id="{EA44EC38-7EFB-4E43-B2C7-DE4E54692FC0}"/>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82" name="Freeform 337">
                    <a:extLst>
                      <a:ext uri="{FF2B5EF4-FFF2-40B4-BE49-F238E27FC236}">
                        <a16:creationId xmlns:a16="http://schemas.microsoft.com/office/drawing/2014/main" id="{7C74F233-398A-47F4-90E9-A3A15C133080}"/>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83" name="Freeform 338">
                    <a:extLst>
                      <a:ext uri="{FF2B5EF4-FFF2-40B4-BE49-F238E27FC236}">
                        <a16:creationId xmlns:a16="http://schemas.microsoft.com/office/drawing/2014/main" id="{41F60747-1E87-4190-8D3E-55C2CD238BC2}"/>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84" name="Freeform 339">
                    <a:extLst>
                      <a:ext uri="{FF2B5EF4-FFF2-40B4-BE49-F238E27FC236}">
                        <a16:creationId xmlns:a16="http://schemas.microsoft.com/office/drawing/2014/main" id="{4997CD67-1CCF-4D4C-917D-1BB1DA2E7481}"/>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85" name="Freeform 340">
                    <a:extLst>
                      <a:ext uri="{FF2B5EF4-FFF2-40B4-BE49-F238E27FC236}">
                        <a16:creationId xmlns:a16="http://schemas.microsoft.com/office/drawing/2014/main" id="{AF237EE3-059B-4EFE-917F-ED084B2AF659}"/>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86" name="Freeform 341">
                    <a:extLst>
                      <a:ext uri="{FF2B5EF4-FFF2-40B4-BE49-F238E27FC236}">
                        <a16:creationId xmlns:a16="http://schemas.microsoft.com/office/drawing/2014/main" id="{E6090687-749B-4CF0-B97C-FFF637497EC5}"/>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87" name="Freeform 342">
                    <a:extLst>
                      <a:ext uri="{FF2B5EF4-FFF2-40B4-BE49-F238E27FC236}">
                        <a16:creationId xmlns:a16="http://schemas.microsoft.com/office/drawing/2014/main" id="{086633B7-964B-4C58-95D9-1B697CB38121}"/>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88" name="Freeform 343">
                    <a:extLst>
                      <a:ext uri="{FF2B5EF4-FFF2-40B4-BE49-F238E27FC236}">
                        <a16:creationId xmlns:a16="http://schemas.microsoft.com/office/drawing/2014/main" id="{D90C1C10-54C1-463D-B11C-10CB54A00C82}"/>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89" name="Freeform 344">
                    <a:extLst>
                      <a:ext uri="{FF2B5EF4-FFF2-40B4-BE49-F238E27FC236}">
                        <a16:creationId xmlns:a16="http://schemas.microsoft.com/office/drawing/2014/main" id="{8A61D812-9289-4721-998E-FE6D7E5EF257}"/>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90" name="Freeform 345">
                    <a:extLst>
                      <a:ext uri="{FF2B5EF4-FFF2-40B4-BE49-F238E27FC236}">
                        <a16:creationId xmlns:a16="http://schemas.microsoft.com/office/drawing/2014/main" id="{E13E7C07-63D9-443A-902D-E52062322039}"/>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91" name="Freeform 346">
                    <a:extLst>
                      <a:ext uri="{FF2B5EF4-FFF2-40B4-BE49-F238E27FC236}">
                        <a16:creationId xmlns:a16="http://schemas.microsoft.com/office/drawing/2014/main" id="{E5D367EF-FB1A-4745-9B14-E61F2D4DC10C}"/>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492" name="Freeform 347">
                    <a:extLst>
                      <a:ext uri="{FF2B5EF4-FFF2-40B4-BE49-F238E27FC236}">
                        <a16:creationId xmlns:a16="http://schemas.microsoft.com/office/drawing/2014/main" id="{00580BC9-BC24-4449-A9D5-20BDD41E1C59}"/>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449" name="Straight Connector 448">
                  <a:extLst>
                    <a:ext uri="{FF2B5EF4-FFF2-40B4-BE49-F238E27FC236}">
                      <a16:creationId xmlns:a16="http://schemas.microsoft.com/office/drawing/2014/main" id="{4B1617BD-B886-4D0C-996C-DBC9209CDE86}"/>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450" name="Straight Connector 449">
                  <a:extLst>
                    <a:ext uri="{FF2B5EF4-FFF2-40B4-BE49-F238E27FC236}">
                      <a16:creationId xmlns:a16="http://schemas.microsoft.com/office/drawing/2014/main" id="{50C19667-B689-4EC0-AF35-FCE43C7F0E54}"/>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451" name="Straight Connector 450">
                  <a:extLst>
                    <a:ext uri="{FF2B5EF4-FFF2-40B4-BE49-F238E27FC236}">
                      <a16:creationId xmlns:a16="http://schemas.microsoft.com/office/drawing/2014/main" id="{F43193EA-4164-43C4-8038-D8D341E61088}"/>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452" name="Straight Connector 451">
                  <a:extLst>
                    <a:ext uri="{FF2B5EF4-FFF2-40B4-BE49-F238E27FC236}">
                      <a16:creationId xmlns:a16="http://schemas.microsoft.com/office/drawing/2014/main" id="{01507FCB-5212-483B-AF6D-10E2CC40BE79}"/>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453" name="Group 452">
                  <a:extLst>
                    <a:ext uri="{FF2B5EF4-FFF2-40B4-BE49-F238E27FC236}">
                      <a16:creationId xmlns:a16="http://schemas.microsoft.com/office/drawing/2014/main" id="{3BEFF6E1-B500-42AD-B668-DF5C8ED77A58}"/>
                    </a:ext>
                  </a:extLst>
                </p:cNvPr>
                <p:cNvGrpSpPr/>
                <p:nvPr/>
              </p:nvGrpSpPr>
              <p:grpSpPr>
                <a:xfrm>
                  <a:off x="2022695" y="1566515"/>
                  <a:ext cx="766903" cy="767014"/>
                  <a:chOff x="9123445" y="2463609"/>
                  <a:chExt cx="652033" cy="652035"/>
                </a:xfrm>
              </p:grpSpPr>
              <p:sp>
                <p:nvSpPr>
                  <p:cNvPr id="457" name="Oval 456">
                    <a:extLst>
                      <a:ext uri="{FF2B5EF4-FFF2-40B4-BE49-F238E27FC236}">
                        <a16:creationId xmlns:a16="http://schemas.microsoft.com/office/drawing/2014/main" id="{2BDD8231-CA78-4061-A1FE-055BB5110797}"/>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458" name="Freeform 313">
                    <a:extLst>
                      <a:ext uri="{FF2B5EF4-FFF2-40B4-BE49-F238E27FC236}">
                        <a16:creationId xmlns:a16="http://schemas.microsoft.com/office/drawing/2014/main" id="{8A14FE5D-959F-4ACD-AE47-3860127439B7}"/>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454" name="Group 453">
                  <a:extLst>
                    <a:ext uri="{FF2B5EF4-FFF2-40B4-BE49-F238E27FC236}">
                      <a16:creationId xmlns:a16="http://schemas.microsoft.com/office/drawing/2014/main" id="{3FAC5E8A-EBF7-4828-B273-FAC6990167A4}"/>
                    </a:ext>
                  </a:extLst>
                </p:cNvPr>
                <p:cNvGrpSpPr/>
                <p:nvPr/>
              </p:nvGrpSpPr>
              <p:grpSpPr>
                <a:xfrm>
                  <a:off x="1973388" y="1517311"/>
                  <a:ext cx="853073" cy="853194"/>
                  <a:chOff x="9123452" y="2463609"/>
                  <a:chExt cx="652035" cy="652035"/>
                </a:xfrm>
              </p:grpSpPr>
              <p:sp>
                <p:nvSpPr>
                  <p:cNvPr id="455" name="Oval 454">
                    <a:extLst>
                      <a:ext uri="{FF2B5EF4-FFF2-40B4-BE49-F238E27FC236}">
                        <a16:creationId xmlns:a16="http://schemas.microsoft.com/office/drawing/2014/main" id="{ABF74815-604D-468C-AE4D-444609D0EC2F}"/>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456" name="Freeform 311">
                    <a:extLst>
                      <a:ext uri="{FF2B5EF4-FFF2-40B4-BE49-F238E27FC236}">
                        <a16:creationId xmlns:a16="http://schemas.microsoft.com/office/drawing/2014/main" id="{7B87AF00-7615-40A6-BEF3-AC9090780056}"/>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346" name="Group 345">
                <a:extLst>
                  <a:ext uri="{FF2B5EF4-FFF2-40B4-BE49-F238E27FC236}">
                    <a16:creationId xmlns:a16="http://schemas.microsoft.com/office/drawing/2014/main" id="{B23E6496-2622-43DD-B065-338468AEDC5A}"/>
                  </a:ext>
                </a:extLst>
              </p:cNvPr>
              <p:cNvGrpSpPr/>
              <p:nvPr/>
            </p:nvGrpSpPr>
            <p:grpSpPr>
              <a:xfrm>
                <a:off x="1226671" y="3909844"/>
                <a:ext cx="304563" cy="307388"/>
                <a:chOff x="4471988" y="3821062"/>
                <a:chExt cx="2035176" cy="2113013"/>
              </a:xfrm>
            </p:grpSpPr>
            <p:sp>
              <p:nvSpPr>
                <p:cNvPr id="390" name="Rectangle 6">
                  <a:extLst>
                    <a:ext uri="{FF2B5EF4-FFF2-40B4-BE49-F238E27FC236}">
                      <a16:creationId xmlns:a16="http://schemas.microsoft.com/office/drawing/2014/main" id="{9DA17190-6597-4DD6-A5C6-1DF8F67CAF3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91" name="Freeform 7">
                  <a:extLst>
                    <a:ext uri="{FF2B5EF4-FFF2-40B4-BE49-F238E27FC236}">
                      <a16:creationId xmlns:a16="http://schemas.microsoft.com/office/drawing/2014/main" id="{30D90CE0-7231-4DDE-BA2A-94FE38359A6B}"/>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92" name="Freeform 10">
                  <a:extLst>
                    <a:ext uri="{FF2B5EF4-FFF2-40B4-BE49-F238E27FC236}">
                      <a16:creationId xmlns:a16="http://schemas.microsoft.com/office/drawing/2014/main" id="{F278EA56-86A0-4C15-A1D5-2D0209BB2443}"/>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93" name="Freeform 11">
                  <a:extLst>
                    <a:ext uri="{FF2B5EF4-FFF2-40B4-BE49-F238E27FC236}">
                      <a16:creationId xmlns:a16="http://schemas.microsoft.com/office/drawing/2014/main" id="{59729686-B3E3-4518-A5FE-5CA4C1000118}"/>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94" name="Oval 12">
                  <a:extLst>
                    <a:ext uri="{FF2B5EF4-FFF2-40B4-BE49-F238E27FC236}">
                      <a16:creationId xmlns:a16="http://schemas.microsoft.com/office/drawing/2014/main" id="{492CC8E3-18C2-43AE-893E-F4837E62EBAF}"/>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95" name="Oval 13">
                  <a:extLst>
                    <a:ext uri="{FF2B5EF4-FFF2-40B4-BE49-F238E27FC236}">
                      <a16:creationId xmlns:a16="http://schemas.microsoft.com/office/drawing/2014/main" id="{0BC351D3-E1A0-443C-BFA0-B22F2BE2D841}"/>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96" name="Freeform 14">
                  <a:extLst>
                    <a:ext uri="{FF2B5EF4-FFF2-40B4-BE49-F238E27FC236}">
                      <a16:creationId xmlns:a16="http://schemas.microsoft.com/office/drawing/2014/main" id="{425CC74F-B94C-49E3-8045-B61B06B1783E}"/>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97" name="Rectangle 15">
                  <a:extLst>
                    <a:ext uri="{FF2B5EF4-FFF2-40B4-BE49-F238E27FC236}">
                      <a16:creationId xmlns:a16="http://schemas.microsoft.com/office/drawing/2014/main" id="{2BD6AE43-3B23-43E7-92B2-8416E8AFFBD4}"/>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98" name="Rectangle 16">
                  <a:extLst>
                    <a:ext uri="{FF2B5EF4-FFF2-40B4-BE49-F238E27FC236}">
                      <a16:creationId xmlns:a16="http://schemas.microsoft.com/office/drawing/2014/main" id="{900B1A10-963D-4E43-A8F1-B8CC5C5B76F6}"/>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99" name="Freeform 17">
                  <a:extLst>
                    <a:ext uri="{FF2B5EF4-FFF2-40B4-BE49-F238E27FC236}">
                      <a16:creationId xmlns:a16="http://schemas.microsoft.com/office/drawing/2014/main" id="{7EB2E76C-5F42-4E23-85D5-39B315DFF9DC}"/>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00" name="Freeform 18">
                  <a:extLst>
                    <a:ext uri="{FF2B5EF4-FFF2-40B4-BE49-F238E27FC236}">
                      <a16:creationId xmlns:a16="http://schemas.microsoft.com/office/drawing/2014/main" id="{65C363A5-ED58-417A-97FF-A0DEF8E44FFE}"/>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01" name="Rectangle 19">
                  <a:extLst>
                    <a:ext uri="{FF2B5EF4-FFF2-40B4-BE49-F238E27FC236}">
                      <a16:creationId xmlns:a16="http://schemas.microsoft.com/office/drawing/2014/main" id="{4E0F3A3F-9086-4768-B591-C560F74F3513}"/>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02" name="Freeform 20">
                  <a:extLst>
                    <a:ext uri="{FF2B5EF4-FFF2-40B4-BE49-F238E27FC236}">
                      <a16:creationId xmlns:a16="http://schemas.microsoft.com/office/drawing/2014/main" id="{EE8E3AAA-D2F3-44A5-9DEB-8225CAC7C89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03" name="Freeform 21">
                  <a:extLst>
                    <a:ext uri="{FF2B5EF4-FFF2-40B4-BE49-F238E27FC236}">
                      <a16:creationId xmlns:a16="http://schemas.microsoft.com/office/drawing/2014/main" id="{4B741471-AE47-486B-B12C-32BED4D90BF3}"/>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04" name="Freeform 22">
                  <a:extLst>
                    <a:ext uri="{FF2B5EF4-FFF2-40B4-BE49-F238E27FC236}">
                      <a16:creationId xmlns:a16="http://schemas.microsoft.com/office/drawing/2014/main" id="{08C3E7FB-0C9D-4350-94DB-15EFCC744927}"/>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05" name="Freeform 23">
                  <a:extLst>
                    <a:ext uri="{FF2B5EF4-FFF2-40B4-BE49-F238E27FC236}">
                      <a16:creationId xmlns:a16="http://schemas.microsoft.com/office/drawing/2014/main" id="{BC2B17DB-4C94-44C6-97F2-659568432518}"/>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06" name="Freeform 24">
                  <a:extLst>
                    <a:ext uri="{FF2B5EF4-FFF2-40B4-BE49-F238E27FC236}">
                      <a16:creationId xmlns:a16="http://schemas.microsoft.com/office/drawing/2014/main" id="{CF2F96FC-1A65-4BDD-8D31-AC889139052C}"/>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07" name="Rectangle 25">
                  <a:extLst>
                    <a:ext uri="{FF2B5EF4-FFF2-40B4-BE49-F238E27FC236}">
                      <a16:creationId xmlns:a16="http://schemas.microsoft.com/office/drawing/2014/main" id="{DCC144B8-A358-4B15-BF21-5826D392BDF6}"/>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08" name="Freeform 26">
                  <a:extLst>
                    <a:ext uri="{FF2B5EF4-FFF2-40B4-BE49-F238E27FC236}">
                      <a16:creationId xmlns:a16="http://schemas.microsoft.com/office/drawing/2014/main" id="{15D683A2-156C-438D-A9BF-6CEECBF2571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09" name="Freeform 27">
                  <a:extLst>
                    <a:ext uri="{FF2B5EF4-FFF2-40B4-BE49-F238E27FC236}">
                      <a16:creationId xmlns:a16="http://schemas.microsoft.com/office/drawing/2014/main" id="{1130FE23-728C-48A0-8B2A-2299F8E42B72}"/>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10" name="Freeform 28">
                  <a:extLst>
                    <a:ext uri="{FF2B5EF4-FFF2-40B4-BE49-F238E27FC236}">
                      <a16:creationId xmlns:a16="http://schemas.microsoft.com/office/drawing/2014/main" id="{14DBEEA6-C565-4748-9768-A1AC6A1B3CEE}"/>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11" name="Freeform 29">
                  <a:extLst>
                    <a:ext uri="{FF2B5EF4-FFF2-40B4-BE49-F238E27FC236}">
                      <a16:creationId xmlns:a16="http://schemas.microsoft.com/office/drawing/2014/main" id="{A0C60CEC-4136-4375-893D-DE2C534853EC}"/>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12" name="Freeform 30">
                  <a:extLst>
                    <a:ext uri="{FF2B5EF4-FFF2-40B4-BE49-F238E27FC236}">
                      <a16:creationId xmlns:a16="http://schemas.microsoft.com/office/drawing/2014/main" id="{F3A80BA8-75E9-4901-BED9-B0E13E11F5BF}"/>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13" name="Freeform 31">
                  <a:extLst>
                    <a:ext uri="{FF2B5EF4-FFF2-40B4-BE49-F238E27FC236}">
                      <a16:creationId xmlns:a16="http://schemas.microsoft.com/office/drawing/2014/main" id="{2300AF7E-B901-4194-9682-E6C848A35AD2}"/>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14" name="Freeform 32">
                  <a:extLst>
                    <a:ext uri="{FF2B5EF4-FFF2-40B4-BE49-F238E27FC236}">
                      <a16:creationId xmlns:a16="http://schemas.microsoft.com/office/drawing/2014/main" id="{8A6E1050-E81A-4EDC-80E4-93F5947DE13B}"/>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15" name="Freeform 102">
                  <a:extLst>
                    <a:ext uri="{FF2B5EF4-FFF2-40B4-BE49-F238E27FC236}">
                      <a16:creationId xmlns:a16="http://schemas.microsoft.com/office/drawing/2014/main" id="{767528B0-D366-4F40-B882-152D2C00AEBD}"/>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16" name="Freeform 103">
                  <a:extLst>
                    <a:ext uri="{FF2B5EF4-FFF2-40B4-BE49-F238E27FC236}">
                      <a16:creationId xmlns:a16="http://schemas.microsoft.com/office/drawing/2014/main" id="{36FCED83-32F0-4647-ADBC-EEDAB88E87A3}"/>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17" name="Freeform 104">
                  <a:extLst>
                    <a:ext uri="{FF2B5EF4-FFF2-40B4-BE49-F238E27FC236}">
                      <a16:creationId xmlns:a16="http://schemas.microsoft.com/office/drawing/2014/main" id="{416BAFC9-CFA1-4CC1-8C2E-26D1AEC852F8}"/>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18" name="Freeform 105">
                  <a:extLst>
                    <a:ext uri="{FF2B5EF4-FFF2-40B4-BE49-F238E27FC236}">
                      <a16:creationId xmlns:a16="http://schemas.microsoft.com/office/drawing/2014/main" id="{C3F1A09A-8E6F-4E2D-AD9C-D1BB05D00F27}"/>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19" name="Freeform 106">
                  <a:extLst>
                    <a:ext uri="{FF2B5EF4-FFF2-40B4-BE49-F238E27FC236}">
                      <a16:creationId xmlns:a16="http://schemas.microsoft.com/office/drawing/2014/main" id="{E1B22906-8C0D-4E0A-BFF9-8A9C2AEF61FE}"/>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20" name="Freeform 107">
                  <a:extLst>
                    <a:ext uri="{FF2B5EF4-FFF2-40B4-BE49-F238E27FC236}">
                      <a16:creationId xmlns:a16="http://schemas.microsoft.com/office/drawing/2014/main" id="{E2183008-2F19-4ABA-B866-A10EEAFE7269}"/>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21" name="Freeform 108">
                  <a:extLst>
                    <a:ext uri="{FF2B5EF4-FFF2-40B4-BE49-F238E27FC236}">
                      <a16:creationId xmlns:a16="http://schemas.microsoft.com/office/drawing/2014/main" id="{D49ACDDA-87BC-4702-A2F1-954AF876B7D2}"/>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22" name="Rectangle 421">
                  <a:extLst>
                    <a:ext uri="{FF2B5EF4-FFF2-40B4-BE49-F238E27FC236}">
                      <a16:creationId xmlns:a16="http://schemas.microsoft.com/office/drawing/2014/main" id="{9B696D2A-9DB1-48AB-85B7-1B47AFB8EA5C}"/>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23" name="Freeform 110">
                  <a:extLst>
                    <a:ext uri="{FF2B5EF4-FFF2-40B4-BE49-F238E27FC236}">
                      <a16:creationId xmlns:a16="http://schemas.microsoft.com/office/drawing/2014/main" id="{9CE84CF0-B11A-41E8-B0D0-2296E2E0AEDD}"/>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24" name="Freeform 111">
                  <a:extLst>
                    <a:ext uri="{FF2B5EF4-FFF2-40B4-BE49-F238E27FC236}">
                      <a16:creationId xmlns:a16="http://schemas.microsoft.com/office/drawing/2014/main" id="{C84B7B66-3753-48CB-AD81-8A56D196FA77}"/>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25" name="Freeform 112">
                  <a:extLst>
                    <a:ext uri="{FF2B5EF4-FFF2-40B4-BE49-F238E27FC236}">
                      <a16:creationId xmlns:a16="http://schemas.microsoft.com/office/drawing/2014/main" id="{195E5B2D-0C7C-4B46-A9CE-41CC1B98DD6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26" name="Freeform 113">
                  <a:extLst>
                    <a:ext uri="{FF2B5EF4-FFF2-40B4-BE49-F238E27FC236}">
                      <a16:creationId xmlns:a16="http://schemas.microsoft.com/office/drawing/2014/main" id="{D02BB387-9495-455B-BC70-A83FF19F5B22}"/>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27" name="Rectangle 426">
                  <a:extLst>
                    <a:ext uri="{FF2B5EF4-FFF2-40B4-BE49-F238E27FC236}">
                      <a16:creationId xmlns:a16="http://schemas.microsoft.com/office/drawing/2014/main" id="{AE31DF97-75AC-4567-893F-5E8216B757CC}"/>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28" name="Freeform 115">
                  <a:extLst>
                    <a:ext uri="{FF2B5EF4-FFF2-40B4-BE49-F238E27FC236}">
                      <a16:creationId xmlns:a16="http://schemas.microsoft.com/office/drawing/2014/main" id="{3542F1D3-EF47-46E3-87CE-B065BF4C54FA}"/>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29" name="Freeform 116">
                  <a:extLst>
                    <a:ext uri="{FF2B5EF4-FFF2-40B4-BE49-F238E27FC236}">
                      <a16:creationId xmlns:a16="http://schemas.microsoft.com/office/drawing/2014/main" id="{A2BD5C1B-2811-4D60-9BD3-8CA7FE9E45E4}"/>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30" name="Freeform 117">
                  <a:extLst>
                    <a:ext uri="{FF2B5EF4-FFF2-40B4-BE49-F238E27FC236}">
                      <a16:creationId xmlns:a16="http://schemas.microsoft.com/office/drawing/2014/main" id="{4FDB5DAE-AE76-46A4-81EA-B8EA7ADA6711}"/>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31" name="Freeform 118">
                  <a:extLst>
                    <a:ext uri="{FF2B5EF4-FFF2-40B4-BE49-F238E27FC236}">
                      <a16:creationId xmlns:a16="http://schemas.microsoft.com/office/drawing/2014/main" id="{BD6976B8-7D9A-4053-B9E9-1F8D4E149BB5}"/>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32" name="Oval 431">
                  <a:extLst>
                    <a:ext uri="{FF2B5EF4-FFF2-40B4-BE49-F238E27FC236}">
                      <a16:creationId xmlns:a16="http://schemas.microsoft.com/office/drawing/2014/main" id="{ECAC6570-BB40-4140-AEE8-4BC4B4C34075}"/>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33" name="Freeform 120">
                  <a:extLst>
                    <a:ext uri="{FF2B5EF4-FFF2-40B4-BE49-F238E27FC236}">
                      <a16:creationId xmlns:a16="http://schemas.microsoft.com/office/drawing/2014/main" id="{C62D29D9-0365-42AF-A57F-B3411AFED3CD}"/>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34" name="Freeform 121">
                  <a:extLst>
                    <a:ext uri="{FF2B5EF4-FFF2-40B4-BE49-F238E27FC236}">
                      <a16:creationId xmlns:a16="http://schemas.microsoft.com/office/drawing/2014/main" id="{97F5EFC2-2ED6-4D48-AA78-62BD4038EF66}"/>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35" name="Freeform 122">
                  <a:extLst>
                    <a:ext uri="{FF2B5EF4-FFF2-40B4-BE49-F238E27FC236}">
                      <a16:creationId xmlns:a16="http://schemas.microsoft.com/office/drawing/2014/main" id="{D99D9EB3-D007-4677-8E47-FFEFBECEF0B0}"/>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36" name="Freeform 123">
                  <a:extLst>
                    <a:ext uri="{FF2B5EF4-FFF2-40B4-BE49-F238E27FC236}">
                      <a16:creationId xmlns:a16="http://schemas.microsoft.com/office/drawing/2014/main" id="{634184B3-B772-4DA7-874F-139CDE29DA63}"/>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37" name="Freeform 124">
                  <a:extLst>
                    <a:ext uri="{FF2B5EF4-FFF2-40B4-BE49-F238E27FC236}">
                      <a16:creationId xmlns:a16="http://schemas.microsoft.com/office/drawing/2014/main" id="{64B0082E-B785-4A2B-9E5B-B8BBA59CCEE3}"/>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38" name="Freeform 63">
                  <a:extLst>
                    <a:ext uri="{FF2B5EF4-FFF2-40B4-BE49-F238E27FC236}">
                      <a16:creationId xmlns:a16="http://schemas.microsoft.com/office/drawing/2014/main" id="{074680B7-5D83-47FD-A2A5-3C1CA86DBB8E}"/>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39" name="Freeform 65">
                  <a:extLst>
                    <a:ext uri="{FF2B5EF4-FFF2-40B4-BE49-F238E27FC236}">
                      <a16:creationId xmlns:a16="http://schemas.microsoft.com/office/drawing/2014/main" id="{93ED545E-A871-4599-9DA8-CF35EFA59DF7}"/>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40" name="Freeform 66">
                  <a:extLst>
                    <a:ext uri="{FF2B5EF4-FFF2-40B4-BE49-F238E27FC236}">
                      <a16:creationId xmlns:a16="http://schemas.microsoft.com/office/drawing/2014/main" id="{C642ED49-3709-4149-AD1F-F9C36B7072B4}"/>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41" name="Freeform 67">
                  <a:extLst>
                    <a:ext uri="{FF2B5EF4-FFF2-40B4-BE49-F238E27FC236}">
                      <a16:creationId xmlns:a16="http://schemas.microsoft.com/office/drawing/2014/main" id="{7E73EBDD-E430-497A-89D3-0275AECB5BC4}"/>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42" name="Oval 68">
                  <a:extLst>
                    <a:ext uri="{FF2B5EF4-FFF2-40B4-BE49-F238E27FC236}">
                      <a16:creationId xmlns:a16="http://schemas.microsoft.com/office/drawing/2014/main" id="{0766C22E-C51F-43BD-8FBF-9B56EC523B95}"/>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43" name="Oval 69">
                  <a:extLst>
                    <a:ext uri="{FF2B5EF4-FFF2-40B4-BE49-F238E27FC236}">
                      <a16:creationId xmlns:a16="http://schemas.microsoft.com/office/drawing/2014/main" id="{E0358794-C555-48A8-A58B-3E9E437D7581}"/>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347" name="Group 346">
                <a:extLst>
                  <a:ext uri="{FF2B5EF4-FFF2-40B4-BE49-F238E27FC236}">
                    <a16:creationId xmlns:a16="http://schemas.microsoft.com/office/drawing/2014/main" id="{1E0773FF-BE5B-4854-B374-E22B8B86B004}"/>
                  </a:ext>
                </a:extLst>
              </p:cNvPr>
              <p:cNvGrpSpPr/>
              <p:nvPr/>
            </p:nvGrpSpPr>
            <p:grpSpPr>
              <a:xfrm>
                <a:off x="1206839" y="3914891"/>
                <a:ext cx="469400" cy="342521"/>
                <a:chOff x="1557350" y="4606481"/>
                <a:chExt cx="3001095" cy="2252753"/>
              </a:xfrm>
            </p:grpSpPr>
            <p:sp>
              <p:nvSpPr>
                <p:cNvPr id="349" name="Rectangle 348">
                  <a:extLst>
                    <a:ext uri="{FF2B5EF4-FFF2-40B4-BE49-F238E27FC236}">
                      <a16:creationId xmlns:a16="http://schemas.microsoft.com/office/drawing/2014/main" id="{F4383C2E-FC46-45CA-B76A-2734FF4B0EF7}"/>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50" name="Rectangle 349">
                  <a:extLst>
                    <a:ext uri="{FF2B5EF4-FFF2-40B4-BE49-F238E27FC236}">
                      <a16:creationId xmlns:a16="http://schemas.microsoft.com/office/drawing/2014/main" id="{75E0A419-11A1-42FF-AC11-68E7C40200AB}"/>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51" name="Rectangle 350">
                  <a:extLst>
                    <a:ext uri="{FF2B5EF4-FFF2-40B4-BE49-F238E27FC236}">
                      <a16:creationId xmlns:a16="http://schemas.microsoft.com/office/drawing/2014/main" id="{1939DE2A-342E-477B-AEFA-DFBA9D2BB675}"/>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52" name="Rectangle 351">
                  <a:extLst>
                    <a:ext uri="{FF2B5EF4-FFF2-40B4-BE49-F238E27FC236}">
                      <a16:creationId xmlns:a16="http://schemas.microsoft.com/office/drawing/2014/main" id="{9F1F7A59-FA7C-4188-A0E7-6E1FA82DE566}"/>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53" name="Freeform 12">
                  <a:extLst>
                    <a:ext uri="{FF2B5EF4-FFF2-40B4-BE49-F238E27FC236}">
                      <a16:creationId xmlns:a16="http://schemas.microsoft.com/office/drawing/2014/main" id="{ACD6D3F9-E185-4596-91B5-86FDF7288EBB}"/>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54" name="Rectangle 353">
                  <a:extLst>
                    <a:ext uri="{FF2B5EF4-FFF2-40B4-BE49-F238E27FC236}">
                      <a16:creationId xmlns:a16="http://schemas.microsoft.com/office/drawing/2014/main" id="{73CDD74C-524D-45A3-9072-F6D01C94F5B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55" name="Freeform 14">
                  <a:extLst>
                    <a:ext uri="{FF2B5EF4-FFF2-40B4-BE49-F238E27FC236}">
                      <a16:creationId xmlns:a16="http://schemas.microsoft.com/office/drawing/2014/main" id="{BD2E1A31-F7C1-4A11-9D25-AC5406756F7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56" name="Rectangle 355">
                  <a:extLst>
                    <a:ext uri="{FF2B5EF4-FFF2-40B4-BE49-F238E27FC236}">
                      <a16:creationId xmlns:a16="http://schemas.microsoft.com/office/drawing/2014/main" id="{179E96D6-CDBC-428F-83C6-32E4F0A32370}"/>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57" name="Freeform 16">
                  <a:extLst>
                    <a:ext uri="{FF2B5EF4-FFF2-40B4-BE49-F238E27FC236}">
                      <a16:creationId xmlns:a16="http://schemas.microsoft.com/office/drawing/2014/main" id="{58840B28-4789-46F6-8382-B4989853EC1A}"/>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58" name="Freeform 17">
                  <a:extLst>
                    <a:ext uri="{FF2B5EF4-FFF2-40B4-BE49-F238E27FC236}">
                      <a16:creationId xmlns:a16="http://schemas.microsoft.com/office/drawing/2014/main" id="{3E2E4F62-C740-4E14-BC81-929A81C0959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59" name="Oval 358">
                  <a:extLst>
                    <a:ext uri="{FF2B5EF4-FFF2-40B4-BE49-F238E27FC236}">
                      <a16:creationId xmlns:a16="http://schemas.microsoft.com/office/drawing/2014/main" id="{89E42B4C-E8F3-4FF8-A735-31CF26D5ECBC}"/>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60" name="Rectangle 359">
                  <a:extLst>
                    <a:ext uri="{FF2B5EF4-FFF2-40B4-BE49-F238E27FC236}">
                      <a16:creationId xmlns:a16="http://schemas.microsoft.com/office/drawing/2014/main" id="{03B9FD59-69E6-4C8F-8332-EB4E47221732}"/>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61" name="Freeform 20">
                  <a:extLst>
                    <a:ext uri="{FF2B5EF4-FFF2-40B4-BE49-F238E27FC236}">
                      <a16:creationId xmlns:a16="http://schemas.microsoft.com/office/drawing/2014/main" id="{7D550F0F-E92F-4954-B8C3-3E514186B36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62" name="Freeform 21">
                  <a:extLst>
                    <a:ext uri="{FF2B5EF4-FFF2-40B4-BE49-F238E27FC236}">
                      <a16:creationId xmlns:a16="http://schemas.microsoft.com/office/drawing/2014/main" id="{7DD7927E-3DCD-4E9F-9BA1-7D76E117221D}"/>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363" name="Group 362">
                  <a:extLst>
                    <a:ext uri="{FF2B5EF4-FFF2-40B4-BE49-F238E27FC236}">
                      <a16:creationId xmlns:a16="http://schemas.microsoft.com/office/drawing/2014/main" id="{D9E9E50E-A056-49FC-B19B-9C45355FEE28}"/>
                    </a:ext>
                  </a:extLst>
                </p:cNvPr>
                <p:cNvGrpSpPr/>
                <p:nvPr/>
              </p:nvGrpSpPr>
              <p:grpSpPr>
                <a:xfrm>
                  <a:off x="3298176" y="4606481"/>
                  <a:ext cx="1260269" cy="2252753"/>
                  <a:chOff x="10352191" y="4087395"/>
                  <a:chExt cx="1336826" cy="2389605"/>
                </a:xfrm>
              </p:grpSpPr>
              <p:sp>
                <p:nvSpPr>
                  <p:cNvPr id="364" name="Rectangle 363">
                    <a:extLst>
                      <a:ext uri="{FF2B5EF4-FFF2-40B4-BE49-F238E27FC236}">
                        <a16:creationId xmlns:a16="http://schemas.microsoft.com/office/drawing/2014/main" id="{A9CFD9E7-FDF9-47EE-A400-59CB81A24BCD}"/>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65" name="Round Same Side Corner Rectangle 52">
                    <a:extLst>
                      <a:ext uri="{FF2B5EF4-FFF2-40B4-BE49-F238E27FC236}">
                        <a16:creationId xmlns:a16="http://schemas.microsoft.com/office/drawing/2014/main" id="{C8BB291D-D4C3-4248-923B-1252C559F685}"/>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366" name="Rectangle 365">
                    <a:extLst>
                      <a:ext uri="{FF2B5EF4-FFF2-40B4-BE49-F238E27FC236}">
                        <a16:creationId xmlns:a16="http://schemas.microsoft.com/office/drawing/2014/main" id="{EAAD909C-5042-46D2-B2A8-FEF6459BF15B}"/>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67" name="Freeform 54">
                    <a:extLst>
                      <a:ext uri="{FF2B5EF4-FFF2-40B4-BE49-F238E27FC236}">
                        <a16:creationId xmlns:a16="http://schemas.microsoft.com/office/drawing/2014/main" id="{F6D06805-0398-48D4-BF25-FC31C9088149}"/>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68" name="Freeform 55">
                    <a:extLst>
                      <a:ext uri="{FF2B5EF4-FFF2-40B4-BE49-F238E27FC236}">
                        <a16:creationId xmlns:a16="http://schemas.microsoft.com/office/drawing/2014/main" id="{2BA13A29-10D2-4F12-A8C8-9B9688712B32}"/>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69" name="Freeform 56">
                    <a:extLst>
                      <a:ext uri="{FF2B5EF4-FFF2-40B4-BE49-F238E27FC236}">
                        <a16:creationId xmlns:a16="http://schemas.microsoft.com/office/drawing/2014/main" id="{2D9A44DB-E812-48DB-BDD3-BA0CE44AB45D}"/>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70" name="Freeform 57">
                    <a:extLst>
                      <a:ext uri="{FF2B5EF4-FFF2-40B4-BE49-F238E27FC236}">
                        <a16:creationId xmlns:a16="http://schemas.microsoft.com/office/drawing/2014/main" id="{C2187244-9FF6-418C-972E-2C1CBB2A5912}"/>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71" name="Freeform 58">
                    <a:extLst>
                      <a:ext uri="{FF2B5EF4-FFF2-40B4-BE49-F238E27FC236}">
                        <a16:creationId xmlns:a16="http://schemas.microsoft.com/office/drawing/2014/main" id="{DD76EBFF-D9CB-4ACB-8C08-B33DEF512552}"/>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72" name="Freeform 59">
                    <a:extLst>
                      <a:ext uri="{FF2B5EF4-FFF2-40B4-BE49-F238E27FC236}">
                        <a16:creationId xmlns:a16="http://schemas.microsoft.com/office/drawing/2014/main" id="{369D0310-23AB-4BEE-8552-B894940A124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73" name="Freeform 60">
                    <a:extLst>
                      <a:ext uri="{FF2B5EF4-FFF2-40B4-BE49-F238E27FC236}">
                        <a16:creationId xmlns:a16="http://schemas.microsoft.com/office/drawing/2014/main" id="{45D72ACD-A82C-4BFC-B2FF-FED4E7A958D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74" name="Freeform 61">
                    <a:extLst>
                      <a:ext uri="{FF2B5EF4-FFF2-40B4-BE49-F238E27FC236}">
                        <a16:creationId xmlns:a16="http://schemas.microsoft.com/office/drawing/2014/main" id="{6885053D-7802-4D2B-9D1D-09902210B978}"/>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75" name="Oval 374">
                    <a:extLst>
                      <a:ext uri="{FF2B5EF4-FFF2-40B4-BE49-F238E27FC236}">
                        <a16:creationId xmlns:a16="http://schemas.microsoft.com/office/drawing/2014/main" id="{A7799FCB-E1A2-4A00-875F-8962A5EFA88A}"/>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76" name="Freeform 63">
                    <a:extLst>
                      <a:ext uri="{FF2B5EF4-FFF2-40B4-BE49-F238E27FC236}">
                        <a16:creationId xmlns:a16="http://schemas.microsoft.com/office/drawing/2014/main" id="{A5390B6B-7191-4455-A869-BB17FD987C99}"/>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77" name="Rectangle 376">
                    <a:extLst>
                      <a:ext uri="{FF2B5EF4-FFF2-40B4-BE49-F238E27FC236}">
                        <a16:creationId xmlns:a16="http://schemas.microsoft.com/office/drawing/2014/main" id="{0FDA2F68-DE11-45E5-9F18-457B2B7B61F0}"/>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78" name="Freeform 65">
                    <a:extLst>
                      <a:ext uri="{FF2B5EF4-FFF2-40B4-BE49-F238E27FC236}">
                        <a16:creationId xmlns:a16="http://schemas.microsoft.com/office/drawing/2014/main" id="{9F167171-D968-497B-A895-CFA9560D7CA4}"/>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79" name="Freeform 66">
                    <a:extLst>
                      <a:ext uri="{FF2B5EF4-FFF2-40B4-BE49-F238E27FC236}">
                        <a16:creationId xmlns:a16="http://schemas.microsoft.com/office/drawing/2014/main" id="{741EFB67-A53C-4080-BC52-783135198066}"/>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80" name="Rectangle 379">
                    <a:extLst>
                      <a:ext uri="{FF2B5EF4-FFF2-40B4-BE49-F238E27FC236}">
                        <a16:creationId xmlns:a16="http://schemas.microsoft.com/office/drawing/2014/main" id="{E89005AF-BF81-4651-88FB-D4BA8AF0197A}"/>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81" name="Freeform 68">
                    <a:extLst>
                      <a:ext uri="{FF2B5EF4-FFF2-40B4-BE49-F238E27FC236}">
                        <a16:creationId xmlns:a16="http://schemas.microsoft.com/office/drawing/2014/main" id="{BACE22B0-CBFC-4BBF-93F0-6F5A5D3D408E}"/>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82" name="Freeform 69">
                    <a:extLst>
                      <a:ext uri="{FF2B5EF4-FFF2-40B4-BE49-F238E27FC236}">
                        <a16:creationId xmlns:a16="http://schemas.microsoft.com/office/drawing/2014/main" id="{F99C6CA6-E7D9-4FB5-BCF7-0793711A57B9}"/>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83" name="Freeform 70">
                    <a:extLst>
                      <a:ext uri="{FF2B5EF4-FFF2-40B4-BE49-F238E27FC236}">
                        <a16:creationId xmlns:a16="http://schemas.microsoft.com/office/drawing/2014/main" id="{33AEA693-8744-4813-8811-AB3C6453C63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84" name="Freeform 71">
                    <a:extLst>
                      <a:ext uri="{FF2B5EF4-FFF2-40B4-BE49-F238E27FC236}">
                        <a16:creationId xmlns:a16="http://schemas.microsoft.com/office/drawing/2014/main" id="{EF22885C-696C-4100-AF34-7A510ECF2C69}"/>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85" name="Freeform 72">
                    <a:extLst>
                      <a:ext uri="{FF2B5EF4-FFF2-40B4-BE49-F238E27FC236}">
                        <a16:creationId xmlns:a16="http://schemas.microsoft.com/office/drawing/2014/main" id="{0DD6A23F-FEB9-40B0-9354-55856812D460}"/>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86" name="Freeform 73">
                    <a:extLst>
                      <a:ext uri="{FF2B5EF4-FFF2-40B4-BE49-F238E27FC236}">
                        <a16:creationId xmlns:a16="http://schemas.microsoft.com/office/drawing/2014/main" id="{FA75C6D0-AE3F-4E34-BF07-EF189368339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87" name="Freeform 74">
                    <a:extLst>
                      <a:ext uri="{FF2B5EF4-FFF2-40B4-BE49-F238E27FC236}">
                        <a16:creationId xmlns:a16="http://schemas.microsoft.com/office/drawing/2014/main" id="{4C6B7AB7-6460-4512-BE8B-D21F076533F6}"/>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88" name="Rectangle 387">
                    <a:extLst>
                      <a:ext uri="{FF2B5EF4-FFF2-40B4-BE49-F238E27FC236}">
                        <a16:creationId xmlns:a16="http://schemas.microsoft.com/office/drawing/2014/main" id="{CC7C65D0-2C89-4D72-A7F4-F4F4BBAACA2D}"/>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389" name="Rectangle 388">
                    <a:extLst>
                      <a:ext uri="{FF2B5EF4-FFF2-40B4-BE49-F238E27FC236}">
                        <a16:creationId xmlns:a16="http://schemas.microsoft.com/office/drawing/2014/main" id="{1A607871-77F0-4D1E-ABF0-00BA0E91EF0E}"/>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348" name="Rectangle 347">
                <a:extLst>
                  <a:ext uri="{FF2B5EF4-FFF2-40B4-BE49-F238E27FC236}">
                    <a16:creationId xmlns:a16="http://schemas.microsoft.com/office/drawing/2014/main" id="{15D5B3BA-7C0C-413F-9F32-42D3943F05B7}"/>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338" name="Rectangle 337">
            <a:extLst>
              <a:ext uri="{FF2B5EF4-FFF2-40B4-BE49-F238E27FC236}">
                <a16:creationId xmlns:a16="http://schemas.microsoft.com/office/drawing/2014/main" id="{1FA58AAF-26C1-4A5B-8EBC-20CF9A2FCA36}"/>
              </a:ext>
            </a:extLst>
          </p:cNvPr>
          <p:cNvSpPr/>
          <p:nvPr/>
        </p:nvSpPr>
        <p:spPr bwMode="auto">
          <a:xfrm>
            <a:off x="584200" y="2351226"/>
            <a:ext cx="7330440" cy="36593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51493" y="2411901"/>
            <a:ext cx="3307089" cy="35041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1030" name="TextBox 1029">
            <a:extLst>
              <a:ext uri="{FF2B5EF4-FFF2-40B4-BE49-F238E27FC236}">
                <a16:creationId xmlns:a16="http://schemas.microsoft.com/office/drawing/2014/main" id="{9237DEB2-CEFD-4C30-9C4E-D801A8C7A052}"/>
              </a:ext>
            </a:extLst>
          </p:cNvPr>
          <p:cNvSpPr txBox="1"/>
          <p:nvPr/>
        </p:nvSpPr>
        <p:spPr>
          <a:xfrm>
            <a:off x="8302299" y="2428025"/>
            <a:ext cx="3307089" cy="348798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defTabSz="914400" fontAlgn="auto">
              <a:spcBef>
                <a:spcPts val="1200"/>
              </a:spcBef>
              <a:spcAft>
                <a:spcPts val="0"/>
              </a:spcAft>
            </a:pPr>
            <a:r>
              <a:rPr lang="en-US" altLang="zh-CN" sz="1600" b="1" i="1" dirty="0">
                <a:solidFill>
                  <a:schemeClr val="tx2"/>
                </a:solidFill>
                <a:ea typeface="+mn-ea"/>
                <a:cs typeface="+mn-cs"/>
              </a:rPr>
              <a:t>No management</a:t>
            </a:r>
            <a:br>
              <a:rPr lang="en-US" altLang="zh-CN" sz="1600" b="1" i="1" dirty="0">
                <a:solidFill>
                  <a:schemeClr val="tx2"/>
                </a:solidFill>
                <a:ea typeface="+mn-ea"/>
                <a:cs typeface="+mn-cs"/>
              </a:rPr>
            </a:br>
            <a:r>
              <a:rPr lang="en-US" altLang="zh-CN" sz="1600" b="1" i="1" dirty="0">
                <a:solidFill>
                  <a:schemeClr val="tx2"/>
                </a:solidFill>
                <a:ea typeface="+mn-ea"/>
                <a:cs typeface="+mn-cs"/>
              </a:rPr>
              <a:t>infrastructure needed</a:t>
            </a:r>
          </a:p>
          <a:p>
            <a:pPr algn="ctr" defTabSz="914400" fontAlgn="auto">
              <a:spcBef>
                <a:spcPts val="1200"/>
              </a:spcBef>
              <a:spcAft>
                <a:spcPts val="0"/>
              </a:spcAft>
            </a:pPr>
            <a:r>
              <a:rPr lang="en-US" altLang="zh-CN" sz="1600" b="1" i="1" dirty="0">
                <a:solidFill>
                  <a:schemeClr val="tx2"/>
                </a:solidFill>
              </a:rPr>
              <a:t>No additional licenses required</a:t>
            </a:r>
          </a:p>
          <a:p>
            <a:pPr algn="ctr" defTabSz="914400" fontAlgn="auto">
              <a:spcBef>
                <a:spcPts val="1200"/>
              </a:spcBef>
              <a:spcAft>
                <a:spcPts val="0"/>
              </a:spcAft>
            </a:pPr>
            <a:r>
              <a:rPr lang="en-US" altLang="zh-CN" sz="1600" b="1" i="1" dirty="0">
                <a:solidFill>
                  <a:schemeClr val="tx2"/>
                </a:solidFill>
              </a:rPr>
              <a:t>Reduced labor cost</a:t>
            </a:r>
            <a:endParaRPr lang="en-US" sz="1600" i="1" dirty="0">
              <a:solidFill>
                <a:schemeClr val="tx2"/>
              </a:solidFill>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540258" y="2411901"/>
            <a:ext cx="3307089" cy="350530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1655" name="TextBox 1654">
            <a:extLst>
              <a:ext uri="{FF2B5EF4-FFF2-40B4-BE49-F238E27FC236}">
                <a16:creationId xmlns:a16="http://schemas.microsoft.com/office/drawing/2014/main" id="{672E9532-405F-4F58-95B2-8B0D26D4CE9C}"/>
              </a:ext>
            </a:extLst>
          </p:cNvPr>
          <p:cNvSpPr txBox="1"/>
          <p:nvPr/>
        </p:nvSpPr>
        <p:spPr>
          <a:xfrm>
            <a:off x="4594884" y="2944663"/>
            <a:ext cx="3197836" cy="472272"/>
          </a:xfrm>
          <a:prstGeom prst="rect">
            <a:avLst/>
          </a:prstGeom>
          <a:solidFill>
            <a:schemeClr val="bg1">
              <a:lumMod val="85000"/>
            </a:schemeClr>
          </a:solidFill>
          <a:ln w="6350">
            <a:noFill/>
          </a:ln>
        </p:spPr>
        <p:txBody>
          <a:bodyPr wrap="square" lIns="0" tIns="0" rIns="0" bIns="0" rtlCol="0" anchor="ctr">
            <a:noAutofit/>
          </a:bodyPr>
          <a:lstStyle/>
          <a:p>
            <a:pPr algn="ctr"/>
            <a:r>
              <a:rPr lang="en-US" sz="1400" dirty="0">
                <a:solidFill>
                  <a:schemeClr val="accent1"/>
                </a:solidFill>
              </a:rPr>
              <a:t>Management Services</a:t>
            </a:r>
            <a:br>
              <a:rPr lang="en-US" sz="1400" dirty="0">
                <a:solidFill>
                  <a:schemeClr val="accent1"/>
                </a:solidFill>
              </a:rPr>
            </a:br>
            <a:r>
              <a:rPr lang="en-US" sz="1400" dirty="0">
                <a:solidFill>
                  <a:schemeClr val="accent1"/>
                </a:solidFill>
              </a:rPr>
              <a:t>provided by WVD</a:t>
            </a:r>
          </a:p>
        </p:txBody>
      </p:sp>
      <p:sp>
        <p:nvSpPr>
          <p:cNvPr id="1082" name="Freeform 3527">
            <a:extLst>
              <a:ext uri="{FF2B5EF4-FFF2-40B4-BE49-F238E27FC236}">
                <a16:creationId xmlns:a16="http://schemas.microsoft.com/office/drawing/2014/main" id="{96B18893-CFDD-4FAC-B6B5-D00C7753EFC4}"/>
              </a:ext>
            </a:extLst>
          </p:cNvPr>
          <p:cNvSpPr>
            <a:spLocks/>
          </p:cNvSpPr>
          <p:nvPr/>
        </p:nvSpPr>
        <p:spPr bwMode="auto">
          <a:xfrm>
            <a:off x="4680997" y="4096358"/>
            <a:ext cx="1472060" cy="863642"/>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1440" tIns="45720" rIns="91440" bIns="45720" numCol="1" anchor="b" anchorCtr="0" compatLnSpc="1">
            <a:prstTxWarp prst="textNoShape">
              <a:avLst/>
            </a:prstTxWarp>
          </a:bodyPr>
          <a:lstStyle/>
          <a:p>
            <a:pPr algn="ctr"/>
            <a:r>
              <a:rPr lang="en-US" sz="1400" b="1" dirty="0">
                <a:solidFill>
                  <a:schemeClr val="bg1"/>
                </a:solidFill>
              </a:rPr>
              <a:t>Management Service</a:t>
            </a:r>
          </a:p>
        </p:txBody>
      </p:sp>
      <p:sp>
        <p:nvSpPr>
          <p:cNvPr id="1083" name="TextBox 1082">
            <a:extLst>
              <a:ext uri="{FF2B5EF4-FFF2-40B4-BE49-F238E27FC236}">
                <a16:creationId xmlns:a16="http://schemas.microsoft.com/office/drawing/2014/main" id="{36E1A3DE-D34E-4893-A0ED-661E4A3F881A}"/>
              </a:ext>
            </a:extLst>
          </p:cNvPr>
          <p:cNvSpPr txBox="1"/>
          <p:nvPr/>
        </p:nvSpPr>
        <p:spPr>
          <a:xfrm>
            <a:off x="4785668" y="5036323"/>
            <a:ext cx="1262718" cy="184666"/>
          </a:xfrm>
          <a:prstGeom prst="rect">
            <a:avLst/>
          </a:prstGeom>
          <a:noFill/>
        </p:spPr>
        <p:txBody>
          <a:bodyPr wrap="none" lIns="0" tIns="0" rIns="0" bIns="0" rtlCol="0">
            <a:spAutoFit/>
          </a:bodyPr>
          <a:lstStyle/>
          <a:p>
            <a:pPr algn="l"/>
            <a:r>
              <a:rPr lang="en-US" sz="1200" b="1" i="1" dirty="0">
                <a:solidFill>
                  <a:schemeClr val="tx2"/>
                </a:solidFill>
              </a:rPr>
              <a:t>Provided by WVD</a:t>
            </a:r>
          </a:p>
        </p:txBody>
      </p:sp>
      <p:sp>
        <p:nvSpPr>
          <p:cNvPr id="1654" name="TextBox 1653">
            <a:extLst>
              <a:ext uri="{FF2B5EF4-FFF2-40B4-BE49-F238E27FC236}">
                <a16:creationId xmlns:a16="http://schemas.microsoft.com/office/drawing/2014/main" id="{031B63B5-C864-41D6-9648-18B961DC33AB}"/>
              </a:ext>
            </a:extLst>
          </p:cNvPr>
          <p:cNvSpPr txBox="1"/>
          <p:nvPr/>
        </p:nvSpPr>
        <p:spPr>
          <a:xfrm>
            <a:off x="705647" y="2944663"/>
            <a:ext cx="3197836" cy="472272"/>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algn="ctr"/>
            <a:r>
              <a:rPr lang="en-US" sz="1400" dirty="0">
                <a:solidFill>
                  <a:schemeClr val="accent1"/>
                </a:solidFill>
              </a:rPr>
              <a:t>Management Services</a:t>
            </a:r>
            <a:br>
              <a:rPr lang="en-US" sz="1400" dirty="0">
                <a:solidFill>
                  <a:schemeClr val="accent1"/>
                </a:solidFill>
              </a:rPr>
            </a:br>
            <a:r>
              <a:rPr lang="en-US" sz="1400" dirty="0">
                <a:solidFill>
                  <a:schemeClr val="accent1"/>
                </a:solidFill>
              </a:rPr>
              <a:t>deployed by IT</a:t>
            </a:r>
          </a:p>
        </p:txBody>
      </p:sp>
      <p:grpSp>
        <p:nvGrpSpPr>
          <p:cNvPr id="23" name="Group 22">
            <a:extLst>
              <a:ext uri="{FF2B5EF4-FFF2-40B4-BE49-F238E27FC236}">
                <a16:creationId xmlns:a16="http://schemas.microsoft.com/office/drawing/2014/main" id="{C0E38629-D4A3-48AE-A834-38E68C27AA53}"/>
              </a:ext>
            </a:extLst>
          </p:cNvPr>
          <p:cNvGrpSpPr/>
          <p:nvPr/>
        </p:nvGrpSpPr>
        <p:grpSpPr>
          <a:xfrm>
            <a:off x="2717488" y="4905399"/>
            <a:ext cx="1143613" cy="274320"/>
            <a:chOff x="880938" y="5567996"/>
            <a:chExt cx="1143613" cy="274320"/>
          </a:xfrm>
        </p:grpSpPr>
        <p:sp>
          <p:nvSpPr>
            <p:cNvPr id="827" name="TextBox 826">
              <a:extLst>
                <a:ext uri="{FF2B5EF4-FFF2-40B4-BE49-F238E27FC236}">
                  <a16:creationId xmlns:a16="http://schemas.microsoft.com/office/drawing/2014/main" id="{CE97F05E-2293-4C43-A6AE-1B61013FACFD}"/>
                </a:ext>
              </a:extLst>
            </p:cNvPr>
            <p:cNvSpPr txBox="1"/>
            <p:nvPr/>
          </p:nvSpPr>
          <p:spPr>
            <a:xfrm>
              <a:off x="1248301" y="5620518"/>
              <a:ext cx="776250" cy="169277"/>
            </a:xfrm>
            <a:prstGeom prst="rect">
              <a:avLst/>
            </a:prstGeom>
            <a:noFill/>
          </p:spPr>
          <p:txBody>
            <a:bodyPr wrap="square" lIns="0" tIns="0" rIns="0" bIns="0" rtlCol="0" anchor="ctr">
              <a:spAutoFit/>
            </a:bodyPr>
            <a:lstStyle/>
            <a:p>
              <a:pPr marL="0" marR="0" lvl="0" indent="0" algn="l" defTabSz="932509" rtl="0" eaLnBrk="1" fontAlgn="auto" latinLnBrk="0" hangingPunct="1">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Diagnostics</a:t>
              </a:r>
            </a:p>
          </p:txBody>
        </p:sp>
        <p:grpSp>
          <p:nvGrpSpPr>
            <p:cNvPr id="16" name="Group 15">
              <a:extLst>
                <a:ext uri="{FF2B5EF4-FFF2-40B4-BE49-F238E27FC236}">
                  <a16:creationId xmlns:a16="http://schemas.microsoft.com/office/drawing/2014/main" id="{0B06DFFB-6D7D-4A9C-B112-18BA7EED9B55}"/>
                </a:ext>
              </a:extLst>
            </p:cNvPr>
            <p:cNvGrpSpPr/>
            <p:nvPr/>
          </p:nvGrpSpPr>
          <p:grpSpPr>
            <a:xfrm>
              <a:off x="880938" y="5567996"/>
              <a:ext cx="274320" cy="274320"/>
              <a:chOff x="2501914" y="4049605"/>
              <a:chExt cx="274320" cy="274320"/>
            </a:xfrm>
          </p:grpSpPr>
          <p:sp>
            <p:nvSpPr>
              <p:cNvPr id="859" name="Oval 858">
                <a:extLst>
                  <a:ext uri="{FF2B5EF4-FFF2-40B4-BE49-F238E27FC236}">
                    <a16:creationId xmlns:a16="http://schemas.microsoft.com/office/drawing/2014/main" id="{235A26DB-FF3C-44BB-BB42-1E6AD1BCEF9E}"/>
                  </a:ext>
                </a:extLst>
              </p:cNvPr>
              <p:cNvSpPr/>
              <p:nvPr/>
            </p:nvSpPr>
            <p:spPr bwMode="auto">
              <a:xfrm>
                <a:off x="2501914" y="4049605"/>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67" name="tool" title="Icon of a skrewdriver and wrench">
                <a:extLst>
                  <a:ext uri="{FF2B5EF4-FFF2-40B4-BE49-F238E27FC236}">
                    <a16:creationId xmlns:a16="http://schemas.microsoft.com/office/drawing/2014/main" id="{DB5B385A-75B8-4BF8-8BD6-B3D71173325F}"/>
                  </a:ext>
                </a:extLst>
              </p:cNvPr>
              <p:cNvSpPr>
                <a:spLocks noChangeAspect="1" noEditPoints="1"/>
              </p:cNvSpPr>
              <p:nvPr/>
            </p:nvSpPr>
            <p:spPr bwMode="auto">
              <a:xfrm>
                <a:off x="2574159" y="4095325"/>
                <a:ext cx="129830" cy="18288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accent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grpSp>
        <p:nvGrpSpPr>
          <p:cNvPr id="24" name="Group 23">
            <a:extLst>
              <a:ext uri="{FF2B5EF4-FFF2-40B4-BE49-F238E27FC236}">
                <a16:creationId xmlns:a16="http://schemas.microsoft.com/office/drawing/2014/main" id="{8C4D562F-62B2-4645-9022-8E7A8ECF7464}"/>
              </a:ext>
            </a:extLst>
          </p:cNvPr>
          <p:cNvGrpSpPr/>
          <p:nvPr/>
        </p:nvGrpSpPr>
        <p:grpSpPr>
          <a:xfrm>
            <a:off x="2716322" y="4133651"/>
            <a:ext cx="1207507" cy="274320"/>
            <a:chOff x="880938" y="6175472"/>
            <a:chExt cx="1207507" cy="274320"/>
          </a:xfrm>
        </p:grpSpPr>
        <p:sp>
          <p:nvSpPr>
            <p:cNvPr id="819" name="TextBox 818">
              <a:extLst>
                <a:ext uri="{FF2B5EF4-FFF2-40B4-BE49-F238E27FC236}">
                  <a16:creationId xmlns:a16="http://schemas.microsoft.com/office/drawing/2014/main" id="{4E435D9B-5D21-42C7-8994-EAFA2B2DF6A2}"/>
                </a:ext>
              </a:extLst>
            </p:cNvPr>
            <p:cNvSpPr txBox="1"/>
            <p:nvPr/>
          </p:nvSpPr>
          <p:spPr>
            <a:xfrm>
              <a:off x="1248300" y="6227994"/>
              <a:ext cx="840145" cy="169277"/>
            </a:xfrm>
            <a:prstGeom prst="rect">
              <a:avLst/>
            </a:prstGeom>
            <a:noFill/>
          </p:spPr>
          <p:txBody>
            <a:bodyPr wrap="square" lIns="0" tIns="0" rIns="0" bIns="0" rtlCol="0" anchor="ctr">
              <a:spAutoFit/>
            </a:bodyPr>
            <a:lstStyle/>
            <a:p>
              <a:pPr marL="0" marR="0" lvl="0" indent="0" algn="l" defTabSz="932509" rtl="0" eaLnBrk="1" fontAlgn="auto" latinLnBrk="0" hangingPunct="1">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Management</a:t>
              </a:r>
            </a:p>
          </p:txBody>
        </p:sp>
        <p:grpSp>
          <p:nvGrpSpPr>
            <p:cNvPr id="17" name="Group 16">
              <a:extLst>
                <a:ext uri="{FF2B5EF4-FFF2-40B4-BE49-F238E27FC236}">
                  <a16:creationId xmlns:a16="http://schemas.microsoft.com/office/drawing/2014/main" id="{490E53CE-C56B-477C-AFF5-FA5601FEBBFB}"/>
                </a:ext>
              </a:extLst>
            </p:cNvPr>
            <p:cNvGrpSpPr/>
            <p:nvPr/>
          </p:nvGrpSpPr>
          <p:grpSpPr>
            <a:xfrm>
              <a:off x="880938" y="6175472"/>
              <a:ext cx="274320" cy="274320"/>
              <a:chOff x="2497608" y="4565038"/>
              <a:chExt cx="274320" cy="274320"/>
            </a:xfrm>
          </p:grpSpPr>
          <p:sp>
            <p:nvSpPr>
              <p:cNvPr id="860" name="Oval 859">
                <a:extLst>
                  <a:ext uri="{FF2B5EF4-FFF2-40B4-BE49-F238E27FC236}">
                    <a16:creationId xmlns:a16="http://schemas.microsoft.com/office/drawing/2014/main" id="{1D154D26-3395-41E0-9580-EFC6A329ACCB}"/>
                  </a:ext>
                </a:extLst>
              </p:cNvPr>
              <p:cNvSpPr/>
              <p:nvPr/>
            </p:nvSpPr>
            <p:spPr bwMode="auto">
              <a:xfrm>
                <a:off x="2497608" y="4565038"/>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68" name="globe_6" title="Icon of a monitor in front of a sphere made of lines">
                <a:extLst>
                  <a:ext uri="{FF2B5EF4-FFF2-40B4-BE49-F238E27FC236}">
                    <a16:creationId xmlns:a16="http://schemas.microsoft.com/office/drawing/2014/main" id="{E872F92B-6371-4BD0-A7EC-6966CF054F0A}"/>
                  </a:ext>
                </a:extLst>
              </p:cNvPr>
              <p:cNvSpPr>
                <a:spLocks noChangeAspect="1" noEditPoints="1"/>
              </p:cNvSpPr>
              <p:nvPr/>
            </p:nvSpPr>
            <p:spPr bwMode="auto">
              <a:xfrm>
                <a:off x="2543175" y="4596935"/>
                <a:ext cx="183187" cy="19624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grpSp>
        <p:nvGrpSpPr>
          <p:cNvPr id="25" name="Group 24">
            <a:extLst>
              <a:ext uri="{FF2B5EF4-FFF2-40B4-BE49-F238E27FC236}">
                <a16:creationId xmlns:a16="http://schemas.microsoft.com/office/drawing/2014/main" id="{A8B3C203-DDCE-4821-91DA-E0BEBDC7B4A6}"/>
              </a:ext>
            </a:extLst>
          </p:cNvPr>
          <p:cNvGrpSpPr/>
          <p:nvPr/>
        </p:nvGrpSpPr>
        <p:grpSpPr>
          <a:xfrm>
            <a:off x="2716322" y="4487408"/>
            <a:ext cx="1300535" cy="338554"/>
            <a:chOff x="880938" y="6765891"/>
            <a:chExt cx="1300535" cy="338554"/>
          </a:xfrm>
        </p:grpSpPr>
        <p:sp>
          <p:nvSpPr>
            <p:cNvPr id="851" name="TextBox 850">
              <a:extLst>
                <a:ext uri="{FF2B5EF4-FFF2-40B4-BE49-F238E27FC236}">
                  <a16:creationId xmlns:a16="http://schemas.microsoft.com/office/drawing/2014/main" id="{275292A3-6BC5-430D-BFF8-97B73ABF58AC}"/>
                </a:ext>
              </a:extLst>
            </p:cNvPr>
            <p:cNvSpPr txBox="1"/>
            <p:nvPr/>
          </p:nvSpPr>
          <p:spPr>
            <a:xfrm>
              <a:off x="1248300" y="6765891"/>
              <a:ext cx="933173" cy="338554"/>
            </a:xfrm>
            <a:prstGeom prst="rect">
              <a:avLst/>
            </a:prstGeom>
            <a:noFill/>
          </p:spPr>
          <p:txBody>
            <a:bodyPr wrap="square" lIns="0" tIns="0" rIns="0" bIns="0" rtlCol="0" anchor="ctr">
              <a:spAutoFit/>
            </a:bodyPr>
            <a:lstStyle/>
            <a:p>
              <a:pPr marL="0" marR="0" lvl="0" indent="0" algn="l" defTabSz="932509" rtl="0" eaLnBrk="1" fontAlgn="auto" latinLnBrk="0" hangingPunct="1">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Load balancing</a:t>
              </a:r>
            </a:p>
          </p:txBody>
        </p:sp>
        <p:grpSp>
          <p:nvGrpSpPr>
            <p:cNvPr id="18" name="Group 17">
              <a:extLst>
                <a:ext uri="{FF2B5EF4-FFF2-40B4-BE49-F238E27FC236}">
                  <a16:creationId xmlns:a16="http://schemas.microsoft.com/office/drawing/2014/main" id="{BE8DAE81-01B9-477A-88DB-182EC022FF11}"/>
                </a:ext>
              </a:extLst>
            </p:cNvPr>
            <p:cNvGrpSpPr/>
            <p:nvPr/>
          </p:nvGrpSpPr>
          <p:grpSpPr>
            <a:xfrm>
              <a:off x="880938" y="6798007"/>
              <a:ext cx="274320" cy="274320"/>
              <a:chOff x="2395165" y="4989951"/>
              <a:chExt cx="274320" cy="274320"/>
            </a:xfrm>
          </p:grpSpPr>
          <p:sp>
            <p:nvSpPr>
              <p:cNvPr id="861" name="Oval 860">
                <a:extLst>
                  <a:ext uri="{FF2B5EF4-FFF2-40B4-BE49-F238E27FC236}">
                    <a16:creationId xmlns:a16="http://schemas.microsoft.com/office/drawing/2014/main" id="{4F1F0532-8B10-4077-8866-19E37FB67F58}"/>
                  </a:ext>
                </a:extLst>
              </p:cNvPr>
              <p:cNvSpPr/>
              <p:nvPr/>
            </p:nvSpPr>
            <p:spPr bwMode="auto">
              <a:xfrm>
                <a:off x="2395165" y="4989951"/>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56" name="MiniExpand_E93A" title="Icon of a rectangle on the lower-left inside a larger rectangle with an arrow pointed to the upper-right corner">
                <a:extLst>
                  <a:ext uri="{FF2B5EF4-FFF2-40B4-BE49-F238E27FC236}">
                    <a16:creationId xmlns:a16="http://schemas.microsoft.com/office/drawing/2014/main" id="{E138A303-F24B-4D31-83E0-794CE6071DA4}"/>
                  </a:ext>
                </a:extLst>
              </p:cNvPr>
              <p:cNvSpPr>
                <a:spLocks noChangeAspect="1" noEditPoints="1"/>
              </p:cNvSpPr>
              <p:nvPr/>
            </p:nvSpPr>
            <p:spPr bwMode="auto">
              <a:xfrm>
                <a:off x="2454235" y="5061010"/>
                <a:ext cx="156180" cy="132202"/>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2700" cap="flat">
                <a:solidFill>
                  <a:schemeClr val="accent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ea typeface="+mn-ea"/>
                  <a:cs typeface="+mn-cs"/>
                </a:endParaRPr>
              </a:p>
            </p:txBody>
          </p:sp>
        </p:grpSp>
      </p:grpSp>
      <p:grpSp>
        <p:nvGrpSpPr>
          <p:cNvPr id="21" name="Group 20">
            <a:extLst>
              <a:ext uri="{FF2B5EF4-FFF2-40B4-BE49-F238E27FC236}">
                <a16:creationId xmlns:a16="http://schemas.microsoft.com/office/drawing/2014/main" id="{E66338F5-11EE-4BFF-AA59-08EE6C4E183D}"/>
              </a:ext>
            </a:extLst>
          </p:cNvPr>
          <p:cNvGrpSpPr/>
          <p:nvPr/>
        </p:nvGrpSpPr>
        <p:grpSpPr>
          <a:xfrm>
            <a:off x="692371" y="4133651"/>
            <a:ext cx="1064173" cy="274320"/>
            <a:chOff x="880938" y="4516835"/>
            <a:chExt cx="1064173" cy="274320"/>
          </a:xfrm>
        </p:grpSpPr>
        <p:sp>
          <p:nvSpPr>
            <p:cNvPr id="835" name="TextBox 834">
              <a:extLst>
                <a:ext uri="{FF2B5EF4-FFF2-40B4-BE49-F238E27FC236}">
                  <a16:creationId xmlns:a16="http://schemas.microsoft.com/office/drawing/2014/main" id="{33BC55E8-DEE3-4060-B70B-DF3A113EF9D8}"/>
                </a:ext>
              </a:extLst>
            </p:cNvPr>
            <p:cNvSpPr txBox="1"/>
            <p:nvPr/>
          </p:nvSpPr>
          <p:spPr>
            <a:xfrm>
              <a:off x="1248301" y="4569357"/>
              <a:ext cx="696810" cy="169277"/>
            </a:xfrm>
            <a:prstGeom prst="rect">
              <a:avLst/>
            </a:prstGeom>
            <a:noFill/>
          </p:spPr>
          <p:txBody>
            <a:bodyPr wrap="square" lIns="0" tIns="0" rIns="0" bIns="0" rtlCol="0" anchor="ctr">
              <a:spAutoFit/>
            </a:bodyPr>
            <a:lstStyle/>
            <a:p>
              <a:pPr marL="0" marR="0" lvl="0" indent="0" algn="l" defTabSz="932509" rtl="0" eaLnBrk="1" fontAlgn="auto" latinLnBrk="0" hangingPunct="1">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Gateway</a:t>
              </a:r>
            </a:p>
          </p:txBody>
        </p:sp>
        <p:grpSp>
          <p:nvGrpSpPr>
            <p:cNvPr id="14" name="Group 13">
              <a:extLst>
                <a:ext uri="{FF2B5EF4-FFF2-40B4-BE49-F238E27FC236}">
                  <a16:creationId xmlns:a16="http://schemas.microsoft.com/office/drawing/2014/main" id="{8F9E27D7-64B1-4035-A823-9E50F9D550EF}"/>
                </a:ext>
              </a:extLst>
            </p:cNvPr>
            <p:cNvGrpSpPr/>
            <p:nvPr/>
          </p:nvGrpSpPr>
          <p:grpSpPr>
            <a:xfrm>
              <a:off x="880938" y="4516835"/>
              <a:ext cx="274320" cy="274320"/>
              <a:chOff x="271072" y="4384040"/>
              <a:chExt cx="274320" cy="274320"/>
            </a:xfrm>
          </p:grpSpPr>
          <p:sp>
            <p:nvSpPr>
              <p:cNvPr id="811" name="Oval 810">
                <a:extLst>
                  <a:ext uri="{FF2B5EF4-FFF2-40B4-BE49-F238E27FC236}">
                    <a16:creationId xmlns:a16="http://schemas.microsoft.com/office/drawing/2014/main" id="{0028A39F-8B6B-4DB7-B3A3-8C389FE8F00B}"/>
                  </a:ext>
                </a:extLst>
              </p:cNvPr>
              <p:cNvSpPr/>
              <p:nvPr/>
            </p:nvSpPr>
            <p:spPr bwMode="auto">
              <a:xfrm>
                <a:off x="271072" y="4384040"/>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62" name="Move_E7C2" title="Icon of four arrows pointing away from eachother">
                <a:extLst>
                  <a:ext uri="{FF2B5EF4-FFF2-40B4-BE49-F238E27FC236}">
                    <a16:creationId xmlns:a16="http://schemas.microsoft.com/office/drawing/2014/main" id="{B5058BD0-219D-43BE-A87B-C9D8FEFD6983}"/>
                  </a:ext>
                </a:extLst>
              </p:cNvPr>
              <p:cNvSpPr>
                <a:spLocks noChangeAspect="1" noEditPoints="1"/>
              </p:cNvSpPr>
              <p:nvPr/>
            </p:nvSpPr>
            <p:spPr bwMode="auto">
              <a:xfrm>
                <a:off x="310137" y="4423080"/>
                <a:ext cx="196191" cy="196240"/>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chemeClr val="accent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grpSp>
        <p:nvGrpSpPr>
          <p:cNvPr id="22" name="Group 21">
            <a:extLst>
              <a:ext uri="{FF2B5EF4-FFF2-40B4-BE49-F238E27FC236}">
                <a16:creationId xmlns:a16="http://schemas.microsoft.com/office/drawing/2014/main" id="{3AA6FBD1-C718-40BD-8279-2EFA9C4E5007}"/>
              </a:ext>
            </a:extLst>
          </p:cNvPr>
          <p:cNvGrpSpPr/>
          <p:nvPr/>
        </p:nvGrpSpPr>
        <p:grpSpPr>
          <a:xfrm>
            <a:off x="692371" y="4502648"/>
            <a:ext cx="1064173" cy="274320"/>
            <a:chOff x="880938" y="5103080"/>
            <a:chExt cx="1064173" cy="274320"/>
          </a:xfrm>
        </p:grpSpPr>
        <p:sp>
          <p:nvSpPr>
            <p:cNvPr id="843" name="TextBox 842">
              <a:extLst>
                <a:ext uri="{FF2B5EF4-FFF2-40B4-BE49-F238E27FC236}">
                  <a16:creationId xmlns:a16="http://schemas.microsoft.com/office/drawing/2014/main" id="{D4209EA0-0333-446E-B5B2-94150AB7E6B7}"/>
                </a:ext>
              </a:extLst>
            </p:cNvPr>
            <p:cNvSpPr txBox="1"/>
            <p:nvPr/>
          </p:nvSpPr>
          <p:spPr>
            <a:xfrm>
              <a:off x="1248301" y="5155602"/>
              <a:ext cx="696810" cy="169277"/>
            </a:xfrm>
            <a:prstGeom prst="rect">
              <a:avLst/>
            </a:prstGeom>
            <a:noFill/>
          </p:spPr>
          <p:txBody>
            <a:bodyPr wrap="square" lIns="0" tIns="0" rIns="0" bIns="0" rtlCol="0" anchor="ctr">
              <a:spAutoFit/>
            </a:bodyPr>
            <a:lstStyle/>
            <a:p>
              <a:pPr marL="0" marR="0" lvl="0" indent="0" algn="l" defTabSz="932509" rtl="0" eaLnBrk="1" fontAlgn="auto" latinLnBrk="0" hangingPunct="1">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Broker</a:t>
              </a:r>
            </a:p>
          </p:txBody>
        </p:sp>
        <p:grpSp>
          <p:nvGrpSpPr>
            <p:cNvPr id="15" name="Group 14">
              <a:extLst>
                <a:ext uri="{FF2B5EF4-FFF2-40B4-BE49-F238E27FC236}">
                  <a16:creationId xmlns:a16="http://schemas.microsoft.com/office/drawing/2014/main" id="{9193F478-9FF5-4A7B-99BD-AB9398FC23C1}"/>
                </a:ext>
              </a:extLst>
            </p:cNvPr>
            <p:cNvGrpSpPr/>
            <p:nvPr/>
          </p:nvGrpSpPr>
          <p:grpSpPr>
            <a:xfrm>
              <a:off x="880938" y="5103080"/>
              <a:ext cx="274320" cy="274320"/>
              <a:chOff x="597115" y="5072499"/>
              <a:chExt cx="274320" cy="274320"/>
            </a:xfrm>
          </p:grpSpPr>
          <p:sp>
            <p:nvSpPr>
              <p:cNvPr id="858" name="Oval 857">
                <a:extLst>
                  <a:ext uri="{FF2B5EF4-FFF2-40B4-BE49-F238E27FC236}">
                    <a16:creationId xmlns:a16="http://schemas.microsoft.com/office/drawing/2014/main" id="{39352EF1-EC3F-4F7F-9A1D-4D0E64731645}"/>
                  </a:ext>
                </a:extLst>
              </p:cNvPr>
              <p:cNvSpPr/>
              <p:nvPr/>
            </p:nvSpPr>
            <p:spPr bwMode="auto">
              <a:xfrm>
                <a:off x="597115" y="5072499"/>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66" name="arrow_17" title="Icon of a curved arrow that splits in two directions">
                <a:extLst>
                  <a:ext uri="{FF2B5EF4-FFF2-40B4-BE49-F238E27FC236}">
                    <a16:creationId xmlns:a16="http://schemas.microsoft.com/office/drawing/2014/main" id="{0A5C6F37-0A2F-4B91-8B47-C676AAECD2EA}"/>
                  </a:ext>
                </a:extLst>
              </p:cNvPr>
              <p:cNvSpPr>
                <a:spLocks noChangeAspect="1" noEditPoints="1"/>
              </p:cNvSpPr>
              <p:nvPr/>
            </p:nvSpPr>
            <p:spPr bwMode="auto">
              <a:xfrm>
                <a:off x="676955" y="5138503"/>
                <a:ext cx="114640" cy="142312"/>
              </a:xfrm>
              <a:custGeom>
                <a:avLst/>
                <a:gdLst>
                  <a:gd name="T0" fmla="*/ 228 w 280"/>
                  <a:gd name="T1" fmla="*/ 98 h 349"/>
                  <a:gd name="T2" fmla="*/ 279 w 280"/>
                  <a:gd name="T3" fmla="*/ 149 h 349"/>
                  <a:gd name="T4" fmla="*/ 228 w 280"/>
                  <a:gd name="T5" fmla="*/ 200 h 349"/>
                  <a:gd name="T6" fmla="*/ 73 w 280"/>
                  <a:gd name="T7" fmla="*/ 0 h 349"/>
                  <a:gd name="T8" fmla="*/ 0 w 280"/>
                  <a:gd name="T9" fmla="*/ 0 h 349"/>
                  <a:gd name="T10" fmla="*/ 0 w 280"/>
                  <a:gd name="T11" fmla="*/ 72 h 349"/>
                  <a:gd name="T12" fmla="*/ 130 w 280"/>
                  <a:gd name="T13" fmla="*/ 349 h 349"/>
                  <a:gd name="T14" fmla="*/ 0 w 280"/>
                  <a:gd name="T15" fmla="*/ 0 h 349"/>
                  <a:gd name="T16" fmla="*/ 280 w 280"/>
                  <a:gd name="T17" fmla="*/ 144 h 349"/>
                  <a:gd name="T18" fmla="*/ 280 w 280"/>
                  <a:gd name="T19" fmla="*/ 144 h 349"/>
                  <a:gd name="T20" fmla="*/ 280 w 280"/>
                  <a:gd name="T21" fmla="*/ 149 h 349"/>
                  <a:gd name="T22" fmla="*/ 131 w 280"/>
                  <a:gd name="T23" fmla="*/ 28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349">
                    <a:moveTo>
                      <a:pt x="228" y="98"/>
                    </a:moveTo>
                    <a:cubicBezTo>
                      <a:pt x="279" y="149"/>
                      <a:pt x="279" y="149"/>
                      <a:pt x="279" y="149"/>
                    </a:cubicBezTo>
                    <a:cubicBezTo>
                      <a:pt x="228" y="200"/>
                      <a:pt x="228" y="200"/>
                      <a:pt x="228" y="200"/>
                    </a:cubicBezTo>
                    <a:moveTo>
                      <a:pt x="73" y="0"/>
                    </a:moveTo>
                    <a:cubicBezTo>
                      <a:pt x="0" y="0"/>
                      <a:pt x="0" y="0"/>
                      <a:pt x="0" y="0"/>
                    </a:cubicBezTo>
                    <a:cubicBezTo>
                      <a:pt x="0" y="72"/>
                      <a:pt x="0" y="72"/>
                      <a:pt x="0" y="72"/>
                    </a:cubicBezTo>
                    <a:moveTo>
                      <a:pt x="130" y="349"/>
                    </a:moveTo>
                    <a:cubicBezTo>
                      <a:pt x="144" y="79"/>
                      <a:pt x="0" y="0"/>
                      <a:pt x="0" y="0"/>
                    </a:cubicBezTo>
                    <a:moveTo>
                      <a:pt x="280" y="144"/>
                    </a:moveTo>
                    <a:cubicBezTo>
                      <a:pt x="280" y="144"/>
                      <a:pt x="280" y="144"/>
                      <a:pt x="280" y="144"/>
                    </a:cubicBezTo>
                    <a:moveTo>
                      <a:pt x="280" y="149"/>
                    </a:moveTo>
                    <a:cubicBezTo>
                      <a:pt x="280" y="149"/>
                      <a:pt x="124" y="129"/>
                      <a:pt x="131" y="286"/>
                    </a:cubicBezTo>
                  </a:path>
                </a:pathLst>
              </a:custGeom>
              <a:noFill/>
              <a:ln w="12700" cap="flat">
                <a:solidFill>
                  <a:schemeClr val="accent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grpSp>
        <p:nvGrpSpPr>
          <p:cNvPr id="20" name="Group 19">
            <a:extLst>
              <a:ext uri="{FF2B5EF4-FFF2-40B4-BE49-F238E27FC236}">
                <a16:creationId xmlns:a16="http://schemas.microsoft.com/office/drawing/2014/main" id="{541AF3EE-8816-4BCF-BE5B-DA9C0E3E3A77}"/>
              </a:ext>
            </a:extLst>
          </p:cNvPr>
          <p:cNvGrpSpPr/>
          <p:nvPr/>
        </p:nvGrpSpPr>
        <p:grpSpPr>
          <a:xfrm>
            <a:off x="692371" y="3763017"/>
            <a:ext cx="1167959" cy="274320"/>
            <a:chOff x="880938" y="3932429"/>
            <a:chExt cx="1167959" cy="274320"/>
          </a:xfrm>
        </p:grpSpPr>
        <p:sp>
          <p:nvSpPr>
            <p:cNvPr id="809" name="TextBox 808">
              <a:extLst>
                <a:ext uri="{FF2B5EF4-FFF2-40B4-BE49-F238E27FC236}">
                  <a16:creationId xmlns:a16="http://schemas.microsoft.com/office/drawing/2014/main" id="{B54D852B-4497-4942-9395-06705841758D}"/>
                </a:ext>
              </a:extLst>
            </p:cNvPr>
            <p:cNvSpPr txBox="1"/>
            <p:nvPr/>
          </p:nvSpPr>
          <p:spPr>
            <a:xfrm>
              <a:off x="1248300" y="3984951"/>
              <a:ext cx="800597" cy="169277"/>
            </a:xfrm>
            <a:prstGeom prst="rect">
              <a:avLst/>
            </a:prstGeom>
            <a:noFill/>
          </p:spPr>
          <p:txBody>
            <a:bodyPr wrap="square" lIns="0" tIns="0" rIns="0" bIns="0" rtlCol="0" anchor="ctr">
              <a:spAutoFit/>
            </a:bodyPr>
            <a:lstStyle/>
            <a:p>
              <a:pPr marL="0" marR="0" lvl="0" indent="0" algn="l" defTabSz="932509" rtl="0" eaLnBrk="1" fontAlgn="auto" latinLnBrk="0" hangingPunct="1">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Web access</a:t>
              </a:r>
            </a:p>
          </p:txBody>
        </p:sp>
        <p:grpSp>
          <p:nvGrpSpPr>
            <p:cNvPr id="19" name="Group 18">
              <a:extLst>
                <a:ext uri="{FF2B5EF4-FFF2-40B4-BE49-F238E27FC236}">
                  <a16:creationId xmlns:a16="http://schemas.microsoft.com/office/drawing/2014/main" id="{E9EA4D65-1B6C-4051-A8DA-60DD319BDC1E}"/>
                </a:ext>
              </a:extLst>
            </p:cNvPr>
            <p:cNvGrpSpPr/>
            <p:nvPr/>
          </p:nvGrpSpPr>
          <p:grpSpPr>
            <a:xfrm>
              <a:off x="880938" y="3932429"/>
              <a:ext cx="274320" cy="274320"/>
              <a:chOff x="57451" y="3887971"/>
              <a:chExt cx="274320" cy="274320"/>
            </a:xfrm>
          </p:grpSpPr>
          <p:sp>
            <p:nvSpPr>
              <p:cNvPr id="1109" name="Oval 1108">
                <a:extLst>
                  <a:ext uri="{FF2B5EF4-FFF2-40B4-BE49-F238E27FC236}">
                    <a16:creationId xmlns:a16="http://schemas.microsoft.com/office/drawing/2014/main" id="{646D1848-FB2E-492B-833A-CD1D4F777EFD}"/>
                  </a:ext>
                </a:extLst>
              </p:cNvPr>
              <p:cNvSpPr/>
              <p:nvPr/>
            </p:nvSpPr>
            <p:spPr bwMode="auto">
              <a:xfrm>
                <a:off x="57451" y="3887971"/>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10" name="globe_2" title="Icon of a sphere made of lines">
                <a:extLst>
                  <a:ext uri="{FF2B5EF4-FFF2-40B4-BE49-F238E27FC236}">
                    <a16:creationId xmlns:a16="http://schemas.microsoft.com/office/drawing/2014/main" id="{0E5A0B87-36C8-4567-BAF1-4E2D84EB1BC9}"/>
                  </a:ext>
                </a:extLst>
              </p:cNvPr>
              <p:cNvSpPr>
                <a:spLocks noChangeAspect="1" noEditPoints="1"/>
              </p:cNvSpPr>
              <p:nvPr/>
            </p:nvSpPr>
            <p:spPr bwMode="auto">
              <a:xfrm>
                <a:off x="96491" y="3927011"/>
                <a:ext cx="196240" cy="19624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grpSp>
        <p:nvGrpSpPr>
          <p:cNvPr id="10" name="Group 9">
            <a:extLst>
              <a:ext uri="{FF2B5EF4-FFF2-40B4-BE49-F238E27FC236}">
                <a16:creationId xmlns:a16="http://schemas.microsoft.com/office/drawing/2014/main" id="{E9832BB0-91E8-4DCA-88B0-9B18A40F844D}"/>
              </a:ext>
            </a:extLst>
          </p:cNvPr>
          <p:cNvGrpSpPr/>
          <p:nvPr/>
        </p:nvGrpSpPr>
        <p:grpSpPr>
          <a:xfrm>
            <a:off x="6317551" y="4096358"/>
            <a:ext cx="1338959" cy="1070368"/>
            <a:chOff x="6065044" y="4105609"/>
            <a:chExt cx="1417484" cy="1133141"/>
          </a:xfrm>
        </p:grpSpPr>
        <p:sp>
          <p:nvSpPr>
            <p:cNvPr id="1151" name="Freeform 22">
              <a:extLst>
                <a:ext uri="{FF2B5EF4-FFF2-40B4-BE49-F238E27FC236}">
                  <a16:creationId xmlns:a16="http://schemas.microsoft.com/office/drawing/2014/main" id="{AAEEDFD3-4551-4883-B5A1-B5FAC0624C0A}"/>
                </a:ext>
              </a:extLst>
            </p:cNvPr>
            <p:cNvSpPr>
              <a:spLocks/>
            </p:cNvSpPr>
            <p:nvPr/>
          </p:nvSpPr>
          <p:spPr bwMode="auto">
            <a:xfrm>
              <a:off x="6065044" y="5179658"/>
              <a:ext cx="1341266" cy="59092"/>
            </a:xfrm>
            <a:prstGeom prst="roundRect">
              <a:avLst>
                <a:gd name="adj" fmla="val 50000"/>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89" name="Freeform 76">
              <a:extLst>
                <a:ext uri="{FF2B5EF4-FFF2-40B4-BE49-F238E27FC236}">
                  <a16:creationId xmlns:a16="http://schemas.microsoft.com/office/drawing/2014/main" id="{62869834-251A-4C8A-9A74-4E843056A14D}"/>
                </a:ext>
              </a:extLst>
            </p:cNvPr>
            <p:cNvSpPr>
              <a:spLocks/>
            </p:cNvSpPr>
            <p:nvPr/>
          </p:nvSpPr>
          <p:spPr bwMode="auto">
            <a:xfrm>
              <a:off x="6137476" y="4917208"/>
              <a:ext cx="62581" cy="302345"/>
            </a:xfrm>
            <a:custGeom>
              <a:avLst/>
              <a:gdLst>
                <a:gd name="T0" fmla="*/ 119 w 160"/>
                <a:gd name="T1" fmla="*/ 773 h 773"/>
                <a:gd name="T2" fmla="*/ 41 w 160"/>
                <a:gd name="T3" fmla="*/ 773 h 773"/>
                <a:gd name="T4" fmla="*/ 0 w 160"/>
                <a:gd name="T5" fmla="*/ 0 h 773"/>
                <a:gd name="T6" fmla="*/ 160 w 160"/>
                <a:gd name="T7" fmla="*/ 0 h 773"/>
                <a:gd name="T8" fmla="*/ 119 w 160"/>
                <a:gd name="T9" fmla="*/ 773 h 773"/>
              </a:gdLst>
              <a:ahLst/>
              <a:cxnLst>
                <a:cxn ang="0">
                  <a:pos x="T0" y="T1"/>
                </a:cxn>
                <a:cxn ang="0">
                  <a:pos x="T2" y="T3"/>
                </a:cxn>
                <a:cxn ang="0">
                  <a:pos x="T4" y="T5"/>
                </a:cxn>
                <a:cxn ang="0">
                  <a:pos x="T6" y="T7"/>
                </a:cxn>
                <a:cxn ang="0">
                  <a:pos x="T8" y="T9"/>
                </a:cxn>
              </a:cxnLst>
              <a:rect l="0" t="0" r="r" b="b"/>
              <a:pathLst>
                <a:path w="160" h="773">
                  <a:moveTo>
                    <a:pt x="119" y="773"/>
                  </a:moveTo>
                  <a:lnTo>
                    <a:pt x="41" y="773"/>
                  </a:lnTo>
                  <a:lnTo>
                    <a:pt x="0" y="0"/>
                  </a:lnTo>
                  <a:lnTo>
                    <a:pt x="160" y="0"/>
                  </a:lnTo>
                  <a:lnTo>
                    <a:pt x="119"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90" name="Freeform 77">
              <a:extLst>
                <a:ext uri="{FF2B5EF4-FFF2-40B4-BE49-F238E27FC236}">
                  <a16:creationId xmlns:a16="http://schemas.microsoft.com/office/drawing/2014/main" id="{33EAC371-2963-4359-ADDB-4B4B10A657F9}"/>
                </a:ext>
              </a:extLst>
            </p:cNvPr>
            <p:cNvSpPr>
              <a:spLocks/>
            </p:cNvSpPr>
            <p:nvPr/>
          </p:nvSpPr>
          <p:spPr bwMode="auto">
            <a:xfrm>
              <a:off x="6394841"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grpSp>
          <p:nvGrpSpPr>
            <p:cNvPr id="9" name="Group 8">
              <a:extLst>
                <a:ext uri="{FF2B5EF4-FFF2-40B4-BE49-F238E27FC236}">
                  <a16:creationId xmlns:a16="http://schemas.microsoft.com/office/drawing/2014/main" id="{93FAFBBA-2A56-4BFE-BFA9-5C4DC8D17488}"/>
                </a:ext>
              </a:extLst>
            </p:cNvPr>
            <p:cNvGrpSpPr/>
            <p:nvPr/>
          </p:nvGrpSpPr>
          <p:grpSpPr>
            <a:xfrm flipH="1">
              <a:off x="6360369" y="4105609"/>
              <a:ext cx="1122159" cy="1116292"/>
              <a:chOff x="6605662" y="4105609"/>
              <a:chExt cx="1122159" cy="1116292"/>
            </a:xfrm>
          </p:grpSpPr>
          <p:sp>
            <p:nvSpPr>
              <p:cNvPr id="1152" name="Freeform 23">
                <a:extLst>
                  <a:ext uri="{FF2B5EF4-FFF2-40B4-BE49-F238E27FC236}">
                    <a16:creationId xmlns:a16="http://schemas.microsoft.com/office/drawing/2014/main" id="{79D0E117-2226-47F9-988C-A347EC694A63}"/>
                  </a:ext>
                </a:extLst>
              </p:cNvPr>
              <p:cNvSpPr>
                <a:spLocks/>
              </p:cNvSpPr>
              <p:nvPr/>
            </p:nvSpPr>
            <p:spPr bwMode="auto">
              <a:xfrm>
                <a:off x="7466154" y="4434942"/>
                <a:ext cx="62581" cy="43416"/>
              </a:xfrm>
              <a:custGeom>
                <a:avLst/>
                <a:gdLst>
                  <a:gd name="T0" fmla="*/ 124 w 128"/>
                  <a:gd name="T1" fmla="*/ 36 h 89"/>
                  <a:gd name="T2" fmla="*/ 98 w 128"/>
                  <a:gd name="T3" fmla="*/ 26 h 89"/>
                  <a:gd name="T4" fmla="*/ 77 w 128"/>
                  <a:gd name="T5" fmla="*/ 34 h 89"/>
                  <a:gd name="T6" fmla="*/ 80 w 128"/>
                  <a:gd name="T7" fmla="*/ 14 h 89"/>
                  <a:gd name="T8" fmla="*/ 54 w 128"/>
                  <a:gd name="T9" fmla="*/ 4 h 89"/>
                  <a:gd name="T10" fmla="*/ 0 w 128"/>
                  <a:gd name="T11" fmla="*/ 25 h 89"/>
                  <a:gd name="T12" fmla="*/ 18 w 128"/>
                  <a:gd name="T13" fmla="*/ 67 h 89"/>
                  <a:gd name="T14" fmla="*/ 47 w 128"/>
                  <a:gd name="T15" fmla="*/ 52 h 89"/>
                  <a:gd name="T16" fmla="*/ 62 w 128"/>
                  <a:gd name="T17" fmla="*/ 89 h 89"/>
                  <a:gd name="T18" fmla="*/ 114 w 128"/>
                  <a:gd name="T19" fmla="*/ 62 h 89"/>
                  <a:gd name="T20" fmla="*/ 124 w 128"/>
                  <a:gd name="T21" fmla="*/ 3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89">
                    <a:moveTo>
                      <a:pt x="124" y="36"/>
                    </a:moveTo>
                    <a:cubicBezTo>
                      <a:pt x="120" y="26"/>
                      <a:pt x="108" y="22"/>
                      <a:pt x="98" y="26"/>
                    </a:cubicBezTo>
                    <a:cubicBezTo>
                      <a:pt x="77" y="34"/>
                      <a:pt x="77" y="34"/>
                      <a:pt x="77" y="34"/>
                    </a:cubicBezTo>
                    <a:cubicBezTo>
                      <a:pt x="81" y="28"/>
                      <a:pt x="82" y="21"/>
                      <a:pt x="80" y="14"/>
                    </a:cubicBezTo>
                    <a:cubicBezTo>
                      <a:pt x="75" y="4"/>
                      <a:pt x="64" y="0"/>
                      <a:pt x="54" y="4"/>
                    </a:cubicBezTo>
                    <a:cubicBezTo>
                      <a:pt x="0" y="25"/>
                      <a:pt x="0" y="25"/>
                      <a:pt x="0" y="25"/>
                    </a:cubicBezTo>
                    <a:cubicBezTo>
                      <a:pt x="18" y="67"/>
                      <a:pt x="18" y="67"/>
                      <a:pt x="18" y="67"/>
                    </a:cubicBezTo>
                    <a:cubicBezTo>
                      <a:pt x="47" y="52"/>
                      <a:pt x="47" y="52"/>
                      <a:pt x="47" y="52"/>
                    </a:cubicBezTo>
                    <a:cubicBezTo>
                      <a:pt x="62" y="89"/>
                      <a:pt x="62" y="89"/>
                      <a:pt x="62" y="89"/>
                    </a:cubicBezTo>
                    <a:cubicBezTo>
                      <a:pt x="114" y="62"/>
                      <a:pt x="114" y="62"/>
                      <a:pt x="114" y="62"/>
                    </a:cubicBezTo>
                    <a:cubicBezTo>
                      <a:pt x="124" y="57"/>
                      <a:pt x="128" y="46"/>
                      <a:pt x="124" y="36"/>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53" name="Freeform 24">
                <a:extLst>
                  <a:ext uri="{FF2B5EF4-FFF2-40B4-BE49-F238E27FC236}">
                    <a16:creationId xmlns:a16="http://schemas.microsoft.com/office/drawing/2014/main" id="{4AA8AD8D-E9F1-4646-A3BD-F35219618B38}"/>
                  </a:ext>
                </a:extLst>
              </p:cNvPr>
              <p:cNvSpPr>
                <a:spLocks/>
              </p:cNvSpPr>
              <p:nvPr/>
            </p:nvSpPr>
            <p:spPr bwMode="auto">
              <a:xfrm>
                <a:off x="7433689" y="4410692"/>
                <a:ext cx="41460" cy="37549"/>
              </a:xfrm>
              <a:custGeom>
                <a:avLst/>
                <a:gdLst>
                  <a:gd name="T0" fmla="*/ 67 w 85"/>
                  <a:gd name="T1" fmla="*/ 4 h 77"/>
                  <a:gd name="T2" fmla="*/ 41 w 85"/>
                  <a:gd name="T3" fmla="*/ 9 h 77"/>
                  <a:gd name="T4" fmla="*/ 0 w 85"/>
                  <a:gd name="T5" fmla="*/ 52 h 77"/>
                  <a:gd name="T6" fmla="*/ 50 w 85"/>
                  <a:gd name="T7" fmla="*/ 77 h 77"/>
                  <a:gd name="T8" fmla="*/ 77 w 85"/>
                  <a:gd name="T9" fmla="*/ 39 h 77"/>
                  <a:gd name="T10" fmla="*/ 67 w 85"/>
                  <a:gd name="T11" fmla="*/ 4 h 77"/>
                </a:gdLst>
                <a:ahLst/>
                <a:cxnLst>
                  <a:cxn ang="0">
                    <a:pos x="T0" y="T1"/>
                  </a:cxn>
                  <a:cxn ang="0">
                    <a:pos x="T2" y="T3"/>
                  </a:cxn>
                  <a:cxn ang="0">
                    <a:pos x="T4" y="T5"/>
                  </a:cxn>
                  <a:cxn ang="0">
                    <a:pos x="T6" y="T7"/>
                  </a:cxn>
                  <a:cxn ang="0">
                    <a:pos x="T8" y="T9"/>
                  </a:cxn>
                  <a:cxn ang="0">
                    <a:pos x="T10" y="T11"/>
                  </a:cxn>
                </a:cxnLst>
                <a:rect l="0" t="0" r="r" b="b"/>
                <a:pathLst>
                  <a:path w="85" h="77">
                    <a:moveTo>
                      <a:pt x="67" y="4"/>
                    </a:moveTo>
                    <a:cubicBezTo>
                      <a:pt x="58" y="0"/>
                      <a:pt x="48" y="2"/>
                      <a:pt x="41" y="9"/>
                    </a:cubicBezTo>
                    <a:cubicBezTo>
                      <a:pt x="0" y="52"/>
                      <a:pt x="0" y="52"/>
                      <a:pt x="0" y="52"/>
                    </a:cubicBezTo>
                    <a:cubicBezTo>
                      <a:pt x="50" y="77"/>
                      <a:pt x="50" y="77"/>
                      <a:pt x="50" y="77"/>
                    </a:cubicBezTo>
                    <a:cubicBezTo>
                      <a:pt x="77" y="39"/>
                      <a:pt x="77" y="39"/>
                      <a:pt x="77" y="39"/>
                    </a:cubicBezTo>
                    <a:cubicBezTo>
                      <a:pt x="85" y="27"/>
                      <a:pt x="80" y="10"/>
                      <a:pt x="67" y="4"/>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54" name="Freeform 25">
                <a:extLst>
                  <a:ext uri="{FF2B5EF4-FFF2-40B4-BE49-F238E27FC236}">
                    <a16:creationId xmlns:a16="http://schemas.microsoft.com/office/drawing/2014/main" id="{8802C820-2A2F-4576-B968-8349CBD311F1}"/>
                  </a:ext>
                </a:extLst>
              </p:cNvPr>
              <p:cNvSpPr>
                <a:spLocks/>
              </p:cNvSpPr>
              <p:nvPr/>
            </p:nvSpPr>
            <p:spPr bwMode="auto">
              <a:xfrm>
                <a:off x="7397314" y="4443156"/>
                <a:ext cx="134550" cy="98174"/>
              </a:xfrm>
              <a:custGeom>
                <a:avLst/>
                <a:gdLst>
                  <a:gd name="T0" fmla="*/ 275 w 277"/>
                  <a:gd name="T1" fmla="*/ 67 h 202"/>
                  <a:gd name="T2" fmla="*/ 272 w 277"/>
                  <a:gd name="T3" fmla="*/ 45 h 202"/>
                  <a:gd name="T4" fmla="*/ 246 w 277"/>
                  <a:gd name="T5" fmla="*/ 26 h 202"/>
                  <a:gd name="T6" fmla="*/ 206 w 277"/>
                  <a:gd name="T7" fmla="*/ 31 h 202"/>
                  <a:gd name="T8" fmla="*/ 205 w 277"/>
                  <a:gd name="T9" fmla="*/ 21 h 202"/>
                  <a:gd name="T10" fmla="*/ 179 w 277"/>
                  <a:gd name="T11" fmla="*/ 2 h 202"/>
                  <a:gd name="T12" fmla="*/ 26 w 277"/>
                  <a:gd name="T13" fmla="*/ 24 h 202"/>
                  <a:gd name="T14" fmla="*/ 0 w 277"/>
                  <a:gd name="T15" fmla="*/ 27 h 202"/>
                  <a:gd name="T16" fmla="*/ 1 w 277"/>
                  <a:gd name="T17" fmla="*/ 112 h 202"/>
                  <a:gd name="T18" fmla="*/ 78 w 277"/>
                  <a:gd name="T19" fmla="*/ 150 h 202"/>
                  <a:gd name="T20" fmla="*/ 150 w 277"/>
                  <a:gd name="T21" fmla="*/ 168 h 202"/>
                  <a:gd name="T22" fmla="*/ 262 w 277"/>
                  <a:gd name="T23" fmla="*/ 92 h 202"/>
                  <a:gd name="T24" fmla="*/ 275 w 277"/>
                  <a:gd name="T25" fmla="*/ 6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7" h="202">
                    <a:moveTo>
                      <a:pt x="275" y="67"/>
                    </a:moveTo>
                    <a:cubicBezTo>
                      <a:pt x="272" y="45"/>
                      <a:pt x="272" y="45"/>
                      <a:pt x="272" y="45"/>
                    </a:cubicBezTo>
                    <a:cubicBezTo>
                      <a:pt x="270" y="32"/>
                      <a:pt x="258" y="24"/>
                      <a:pt x="246" y="26"/>
                    </a:cubicBezTo>
                    <a:cubicBezTo>
                      <a:pt x="206" y="31"/>
                      <a:pt x="206" y="31"/>
                      <a:pt x="206" y="31"/>
                    </a:cubicBezTo>
                    <a:cubicBezTo>
                      <a:pt x="205" y="21"/>
                      <a:pt x="205" y="21"/>
                      <a:pt x="205" y="21"/>
                    </a:cubicBezTo>
                    <a:cubicBezTo>
                      <a:pt x="203" y="9"/>
                      <a:pt x="191" y="0"/>
                      <a:pt x="179" y="2"/>
                    </a:cubicBezTo>
                    <a:cubicBezTo>
                      <a:pt x="26" y="24"/>
                      <a:pt x="26" y="24"/>
                      <a:pt x="26" y="24"/>
                    </a:cubicBezTo>
                    <a:cubicBezTo>
                      <a:pt x="0" y="27"/>
                      <a:pt x="0" y="27"/>
                      <a:pt x="0" y="27"/>
                    </a:cubicBezTo>
                    <a:cubicBezTo>
                      <a:pt x="1" y="112"/>
                      <a:pt x="1" y="112"/>
                      <a:pt x="1" y="112"/>
                    </a:cubicBezTo>
                    <a:cubicBezTo>
                      <a:pt x="1" y="112"/>
                      <a:pt x="41" y="184"/>
                      <a:pt x="78" y="150"/>
                    </a:cubicBezTo>
                    <a:cubicBezTo>
                      <a:pt x="93" y="171"/>
                      <a:pt x="123" y="202"/>
                      <a:pt x="150" y="168"/>
                    </a:cubicBezTo>
                    <a:cubicBezTo>
                      <a:pt x="177" y="133"/>
                      <a:pt x="234" y="105"/>
                      <a:pt x="262" y="92"/>
                    </a:cubicBezTo>
                    <a:cubicBezTo>
                      <a:pt x="271" y="88"/>
                      <a:pt x="277" y="78"/>
                      <a:pt x="275" y="6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55" name="Freeform 26">
                <a:extLst>
                  <a:ext uri="{FF2B5EF4-FFF2-40B4-BE49-F238E27FC236}">
                    <a16:creationId xmlns:a16="http://schemas.microsoft.com/office/drawing/2014/main" id="{F337323B-6ECF-44A4-9037-ACB3B3CE95A1}"/>
                  </a:ext>
                </a:extLst>
              </p:cNvPr>
              <p:cNvSpPr>
                <a:spLocks/>
              </p:cNvSpPr>
              <p:nvPr/>
            </p:nvSpPr>
            <p:spPr bwMode="auto">
              <a:xfrm>
                <a:off x="7501746" y="5090089"/>
                <a:ext cx="226075" cy="123598"/>
              </a:xfrm>
              <a:custGeom>
                <a:avLst/>
                <a:gdLst>
                  <a:gd name="T0" fmla="*/ 17 w 464"/>
                  <a:gd name="T1" fmla="*/ 0 h 254"/>
                  <a:gd name="T2" fmla="*/ 2 w 464"/>
                  <a:gd name="T3" fmla="*/ 193 h 254"/>
                  <a:gd name="T4" fmla="*/ 59 w 464"/>
                  <a:gd name="T5" fmla="*/ 254 h 254"/>
                  <a:gd name="T6" fmla="*/ 317 w 464"/>
                  <a:gd name="T7" fmla="*/ 254 h 254"/>
                  <a:gd name="T8" fmla="*/ 439 w 464"/>
                  <a:gd name="T9" fmla="*/ 193 h 254"/>
                  <a:gd name="T10" fmla="*/ 449 w 464"/>
                  <a:gd name="T11" fmla="*/ 178 h 254"/>
                  <a:gd name="T12" fmla="*/ 443 w 464"/>
                  <a:gd name="T13" fmla="*/ 96 h 254"/>
                  <a:gd name="T14" fmla="*/ 443 w 464"/>
                  <a:gd name="T15" fmla="*/ 96 h 254"/>
                  <a:gd name="T16" fmla="*/ 428 w 464"/>
                  <a:gd name="T17" fmla="*/ 90 h 254"/>
                  <a:gd name="T18" fmla="*/ 326 w 464"/>
                  <a:gd name="T19" fmla="*/ 129 h 254"/>
                  <a:gd name="T20" fmla="*/ 279 w 464"/>
                  <a:gd name="T21" fmla="*/ 124 h 254"/>
                  <a:gd name="T22" fmla="*/ 233 w 464"/>
                  <a:gd name="T23" fmla="*/ 100 h 254"/>
                  <a:gd name="T24" fmla="*/ 196 w 464"/>
                  <a:gd name="T25" fmla="*/ 60 h 254"/>
                  <a:gd name="T26" fmla="*/ 172 w 464"/>
                  <a:gd name="T27" fmla="*/ 0 h 254"/>
                  <a:gd name="T28" fmla="*/ 17 w 464"/>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4" h="254">
                    <a:moveTo>
                      <a:pt x="17" y="0"/>
                    </a:moveTo>
                    <a:cubicBezTo>
                      <a:pt x="2" y="193"/>
                      <a:pt x="2" y="193"/>
                      <a:pt x="2" y="193"/>
                    </a:cubicBezTo>
                    <a:cubicBezTo>
                      <a:pt x="0" y="226"/>
                      <a:pt x="26" y="254"/>
                      <a:pt x="59" y="254"/>
                    </a:cubicBezTo>
                    <a:cubicBezTo>
                      <a:pt x="317" y="254"/>
                      <a:pt x="317" y="254"/>
                      <a:pt x="317" y="254"/>
                    </a:cubicBezTo>
                    <a:cubicBezTo>
                      <a:pt x="369" y="254"/>
                      <a:pt x="414" y="232"/>
                      <a:pt x="439" y="193"/>
                    </a:cubicBezTo>
                    <a:cubicBezTo>
                      <a:pt x="449" y="178"/>
                      <a:pt x="449" y="178"/>
                      <a:pt x="449" y="178"/>
                    </a:cubicBezTo>
                    <a:cubicBezTo>
                      <a:pt x="464" y="155"/>
                      <a:pt x="462" y="123"/>
                      <a:pt x="443" y="96"/>
                    </a:cubicBezTo>
                    <a:cubicBezTo>
                      <a:pt x="443" y="96"/>
                      <a:pt x="443" y="96"/>
                      <a:pt x="443" y="96"/>
                    </a:cubicBezTo>
                    <a:cubicBezTo>
                      <a:pt x="440" y="91"/>
                      <a:pt x="433" y="88"/>
                      <a:pt x="428" y="90"/>
                    </a:cubicBezTo>
                    <a:cubicBezTo>
                      <a:pt x="326" y="129"/>
                      <a:pt x="326" y="129"/>
                      <a:pt x="326" y="129"/>
                    </a:cubicBezTo>
                    <a:cubicBezTo>
                      <a:pt x="312" y="134"/>
                      <a:pt x="295" y="132"/>
                      <a:pt x="279" y="124"/>
                    </a:cubicBezTo>
                    <a:cubicBezTo>
                      <a:pt x="233" y="100"/>
                      <a:pt x="233" y="100"/>
                      <a:pt x="233" y="100"/>
                    </a:cubicBezTo>
                    <a:cubicBezTo>
                      <a:pt x="216" y="91"/>
                      <a:pt x="203" y="77"/>
                      <a:pt x="196" y="60"/>
                    </a:cubicBezTo>
                    <a:cubicBezTo>
                      <a:pt x="172" y="0"/>
                      <a:pt x="172" y="0"/>
                      <a:pt x="172" y="0"/>
                    </a:cubicBezTo>
                    <a:lnTo>
                      <a:pt x="17" y="0"/>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IN" sz="1836" dirty="0"/>
              </a:p>
            </p:txBody>
          </p:sp>
          <p:sp>
            <p:nvSpPr>
              <p:cNvPr id="1156" name="Freeform 27">
                <a:extLst>
                  <a:ext uri="{FF2B5EF4-FFF2-40B4-BE49-F238E27FC236}">
                    <a16:creationId xmlns:a16="http://schemas.microsoft.com/office/drawing/2014/main" id="{2C6616B0-68D4-4BE5-8480-BF3A037E5418}"/>
                  </a:ext>
                </a:extLst>
              </p:cNvPr>
              <p:cNvSpPr>
                <a:spLocks/>
              </p:cNvSpPr>
              <p:nvPr/>
            </p:nvSpPr>
            <p:spPr bwMode="auto">
              <a:xfrm>
                <a:off x="6605662" y="4234291"/>
                <a:ext cx="808471" cy="828810"/>
              </a:xfrm>
              <a:custGeom>
                <a:avLst/>
                <a:gdLst>
                  <a:gd name="T0" fmla="*/ 1557 w 1661"/>
                  <a:gd name="T1" fmla="*/ 1393 h 1705"/>
                  <a:gd name="T2" fmla="*/ 1661 w 1661"/>
                  <a:gd name="T3" fmla="*/ 919 h 1705"/>
                  <a:gd name="T4" fmla="*/ 1090 w 1661"/>
                  <a:gd name="T5" fmla="*/ 919 h 1705"/>
                  <a:gd name="T6" fmla="*/ 1009 w 1661"/>
                  <a:gd name="T7" fmla="*/ 847 h 1705"/>
                  <a:gd name="T8" fmla="*/ 992 w 1661"/>
                  <a:gd name="T9" fmla="*/ 709 h 1705"/>
                  <a:gd name="T10" fmla="*/ 1028 w 1661"/>
                  <a:gd name="T11" fmla="*/ 526 h 1705"/>
                  <a:gd name="T12" fmla="*/ 1064 w 1661"/>
                  <a:gd name="T13" fmla="*/ 341 h 1705"/>
                  <a:gd name="T14" fmla="*/ 1040 w 1661"/>
                  <a:gd name="T15" fmla="*/ 134 h 1705"/>
                  <a:gd name="T16" fmla="*/ 889 w 1661"/>
                  <a:gd name="T17" fmla="*/ 0 h 1705"/>
                  <a:gd name="T18" fmla="*/ 702 w 1661"/>
                  <a:gd name="T19" fmla="*/ 0 h 1705"/>
                  <a:gd name="T20" fmla="*/ 654 w 1661"/>
                  <a:gd name="T21" fmla="*/ 24 h 1705"/>
                  <a:gd name="T22" fmla="*/ 566 w 1661"/>
                  <a:gd name="T23" fmla="*/ 0 h 1705"/>
                  <a:gd name="T24" fmla="*/ 253 w 1661"/>
                  <a:gd name="T25" fmla="*/ 0 h 1705"/>
                  <a:gd name="T26" fmla="*/ 213 w 1661"/>
                  <a:gd name="T27" fmla="*/ 0 h 1705"/>
                  <a:gd name="T28" fmla="*/ 66 w 1661"/>
                  <a:gd name="T29" fmla="*/ 0 h 1705"/>
                  <a:gd name="T30" fmla="*/ 4 w 1661"/>
                  <a:gd name="T31" fmla="*/ 69 h 1705"/>
                  <a:gd name="T32" fmla="*/ 192 w 1661"/>
                  <a:gd name="T33" fmla="*/ 1628 h 1705"/>
                  <a:gd name="T34" fmla="*/ 279 w 1661"/>
                  <a:gd name="T35" fmla="*/ 1705 h 1705"/>
                  <a:gd name="T36" fmla="*/ 916 w 1661"/>
                  <a:gd name="T37" fmla="*/ 1705 h 1705"/>
                  <a:gd name="T38" fmla="*/ 962 w 1661"/>
                  <a:gd name="T39" fmla="*/ 1705 h 1705"/>
                  <a:gd name="T40" fmla="*/ 1599 w 1661"/>
                  <a:gd name="T41" fmla="*/ 1705 h 1705"/>
                  <a:gd name="T42" fmla="*/ 1561 w 1661"/>
                  <a:gd name="T43" fmla="*/ 1393 h 1705"/>
                  <a:gd name="T44" fmla="*/ 1557 w 1661"/>
                  <a:gd name="T45" fmla="*/ 1393 h 1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61" h="1705">
                    <a:moveTo>
                      <a:pt x="1557" y="1393"/>
                    </a:moveTo>
                    <a:cubicBezTo>
                      <a:pt x="1661" y="919"/>
                      <a:pt x="1661" y="919"/>
                      <a:pt x="1661" y="919"/>
                    </a:cubicBezTo>
                    <a:cubicBezTo>
                      <a:pt x="1090" y="919"/>
                      <a:pt x="1090" y="919"/>
                      <a:pt x="1090" y="919"/>
                    </a:cubicBezTo>
                    <a:cubicBezTo>
                      <a:pt x="1050" y="919"/>
                      <a:pt x="1014" y="887"/>
                      <a:pt x="1009" y="847"/>
                    </a:cubicBezTo>
                    <a:cubicBezTo>
                      <a:pt x="992" y="709"/>
                      <a:pt x="992" y="709"/>
                      <a:pt x="992" y="709"/>
                    </a:cubicBezTo>
                    <a:cubicBezTo>
                      <a:pt x="984" y="643"/>
                      <a:pt x="996" y="579"/>
                      <a:pt x="1028" y="526"/>
                    </a:cubicBezTo>
                    <a:cubicBezTo>
                      <a:pt x="1060" y="472"/>
                      <a:pt x="1072" y="407"/>
                      <a:pt x="1064" y="341"/>
                    </a:cubicBezTo>
                    <a:cubicBezTo>
                      <a:pt x="1040" y="134"/>
                      <a:pt x="1040" y="134"/>
                      <a:pt x="1040" y="134"/>
                    </a:cubicBezTo>
                    <a:cubicBezTo>
                      <a:pt x="1031" y="60"/>
                      <a:pt x="963" y="0"/>
                      <a:pt x="889" y="0"/>
                    </a:cubicBezTo>
                    <a:cubicBezTo>
                      <a:pt x="702" y="0"/>
                      <a:pt x="702" y="0"/>
                      <a:pt x="702" y="0"/>
                    </a:cubicBezTo>
                    <a:cubicBezTo>
                      <a:pt x="682" y="0"/>
                      <a:pt x="665" y="9"/>
                      <a:pt x="654" y="24"/>
                    </a:cubicBezTo>
                    <a:cubicBezTo>
                      <a:pt x="628" y="9"/>
                      <a:pt x="598" y="0"/>
                      <a:pt x="566" y="0"/>
                    </a:cubicBezTo>
                    <a:cubicBezTo>
                      <a:pt x="253" y="0"/>
                      <a:pt x="253" y="0"/>
                      <a:pt x="253" y="0"/>
                    </a:cubicBezTo>
                    <a:cubicBezTo>
                      <a:pt x="213" y="0"/>
                      <a:pt x="213" y="0"/>
                      <a:pt x="213" y="0"/>
                    </a:cubicBezTo>
                    <a:cubicBezTo>
                      <a:pt x="66" y="0"/>
                      <a:pt x="66" y="0"/>
                      <a:pt x="66" y="0"/>
                    </a:cubicBezTo>
                    <a:cubicBezTo>
                      <a:pt x="29" y="0"/>
                      <a:pt x="0" y="32"/>
                      <a:pt x="4" y="69"/>
                    </a:cubicBezTo>
                    <a:cubicBezTo>
                      <a:pt x="192" y="1628"/>
                      <a:pt x="192" y="1628"/>
                      <a:pt x="192" y="1628"/>
                    </a:cubicBezTo>
                    <a:cubicBezTo>
                      <a:pt x="197" y="1672"/>
                      <a:pt x="235" y="1705"/>
                      <a:pt x="279" y="1705"/>
                    </a:cubicBezTo>
                    <a:cubicBezTo>
                      <a:pt x="916" y="1705"/>
                      <a:pt x="916" y="1705"/>
                      <a:pt x="916" y="1705"/>
                    </a:cubicBezTo>
                    <a:cubicBezTo>
                      <a:pt x="962" y="1705"/>
                      <a:pt x="962" y="1705"/>
                      <a:pt x="962" y="1705"/>
                    </a:cubicBezTo>
                    <a:cubicBezTo>
                      <a:pt x="1599" y="1705"/>
                      <a:pt x="1599" y="1705"/>
                      <a:pt x="1599" y="1705"/>
                    </a:cubicBezTo>
                    <a:cubicBezTo>
                      <a:pt x="1561" y="1393"/>
                      <a:pt x="1561" y="1393"/>
                      <a:pt x="1561" y="1393"/>
                    </a:cubicBezTo>
                    <a:lnTo>
                      <a:pt x="1557" y="139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57" name="Freeform 28">
                <a:extLst>
                  <a:ext uri="{FF2B5EF4-FFF2-40B4-BE49-F238E27FC236}">
                    <a16:creationId xmlns:a16="http://schemas.microsoft.com/office/drawing/2014/main" id="{0CD4CE0F-FE66-4DB8-B5E9-537A617E996F}"/>
                  </a:ext>
                </a:extLst>
              </p:cNvPr>
              <p:cNvSpPr>
                <a:spLocks/>
              </p:cNvSpPr>
              <p:nvPr/>
            </p:nvSpPr>
            <p:spPr bwMode="auto">
              <a:xfrm>
                <a:off x="7038254" y="4234291"/>
                <a:ext cx="165058" cy="446673"/>
              </a:xfrm>
              <a:custGeom>
                <a:avLst/>
                <a:gdLst>
                  <a:gd name="T0" fmla="*/ 339 w 339"/>
                  <a:gd name="T1" fmla="*/ 919 h 919"/>
                  <a:gd name="T2" fmla="*/ 288 w 339"/>
                  <a:gd name="T3" fmla="*/ 919 h 919"/>
                  <a:gd name="T4" fmla="*/ 207 w 339"/>
                  <a:gd name="T5" fmla="*/ 847 h 919"/>
                  <a:gd name="T6" fmla="*/ 190 w 339"/>
                  <a:gd name="T7" fmla="*/ 709 h 919"/>
                  <a:gd name="T8" fmla="*/ 226 w 339"/>
                  <a:gd name="T9" fmla="*/ 526 h 919"/>
                  <a:gd name="T10" fmla="*/ 263 w 339"/>
                  <a:gd name="T11" fmla="*/ 341 h 919"/>
                  <a:gd name="T12" fmla="*/ 238 w 339"/>
                  <a:gd name="T13" fmla="*/ 134 h 919"/>
                  <a:gd name="T14" fmla="*/ 87 w 339"/>
                  <a:gd name="T15" fmla="*/ 0 h 919"/>
                  <a:gd name="T16" fmla="*/ 0 w 339"/>
                  <a:gd name="T17" fmla="*/ 0 h 919"/>
                  <a:gd name="T18" fmla="*/ 151 w 339"/>
                  <a:gd name="T19" fmla="*/ 134 h 919"/>
                  <a:gd name="T20" fmla="*/ 175 w 339"/>
                  <a:gd name="T21" fmla="*/ 341 h 919"/>
                  <a:gd name="T22" fmla="*/ 139 w 339"/>
                  <a:gd name="T23" fmla="*/ 526 h 919"/>
                  <a:gd name="T24" fmla="*/ 103 w 339"/>
                  <a:gd name="T25" fmla="*/ 709 h 919"/>
                  <a:gd name="T26" fmla="*/ 120 w 339"/>
                  <a:gd name="T27" fmla="*/ 847 h 919"/>
                  <a:gd name="T28" fmla="*/ 201 w 339"/>
                  <a:gd name="T29" fmla="*/ 919 h 919"/>
                  <a:gd name="T30" fmla="*/ 339 w 339"/>
                  <a:gd name="T31"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9" h="919">
                    <a:moveTo>
                      <a:pt x="339" y="919"/>
                    </a:moveTo>
                    <a:cubicBezTo>
                      <a:pt x="288" y="919"/>
                      <a:pt x="288" y="919"/>
                      <a:pt x="288" y="919"/>
                    </a:cubicBezTo>
                    <a:cubicBezTo>
                      <a:pt x="248" y="919"/>
                      <a:pt x="212" y="887"/>
                      <a:pt x="207" y="847"/>
                    </a:cubicBezTo>
                    <a:cubicBezTo>
                      <a:pt x="190" y="709"/>
                      <a:pt x="190" y="709"/>
                      <a:pt x="190" y="709"/>
                    </a:cubicBezTo>
                    <a:cubicBezTo>
                      <a:pt x="183" y="643"/>
                      <a:pt x="195" y="579"/>
                      <a:pt x="226" y="526"/>
                    </a:cubicBezTo>
                    <a:cubicBezTo>
                      <a:pt x="258" y="472"/>
                      <a:pt x="271" y="407"/>
                      <a:pt x="263" y="341"/>
                    </a:cubicBezTo>
                    <a:cubicBezTo>
                      <a:pt x="238" y="134"/>
                      <a:pt x="238" y="134"/>
                      <a:pt x="238" y="134"/>
                    </a:cubicBezTo>
                    <a:cubicBezTo>
                      <a:pt x="229" y="60"/>
                      <a:pt x="162" y="0"/>
                      <a:pt x="87" y="0"/>
                    </a:cubicBezTo>
                    <a:cubicBezTo>
                      <a:pt x="0" y="0"/>
                      <a:pt x="0" y="0"/>
                      <a:pt x="0" y="0"/>
                    </a:cubicBezTo>
                    <a:cubicBezTo>
                      <a:pt x="74" y="0"/>
                      <a:pt x="142" y="60"/>
                      <a:pt x="151" y="134"/>
                    </a:cubicBezTo>
                    <a:cubicBezTo>
                      <a:pt x="175" y="341"/>
                      <a:pt x="175" y="341"/>
                      <a:pt x="175" y="341"/>
                    </a:cubicBezTo>
                    <a:cubicBezTo>
                      <a:pt x="183" y="407"/>
                      <a:pt x="171" y="472"/>
                      <a:pt x="139" y="526"/>
                    </a:cubicBezTo>
                    <a:cubicBezTo>
                      <a:pt x="107" y="579"/>
                      <a:pt x="95" y="643"/>
                      <a:pt x="103" y="709"/>
                    </a:cubicBezTo>
                    <a:cubicBezTo>
                      <a:pt x="120" y="847"/>
                      <a:pt x="120" y="847"/>
                      <a:pt x="120" y="847"/>
                    </a:cubicBezTo>
                    <a:cubicBezTo>
                      <a:pt x="125" y="887"/>
                      <a:pt x="161" y="919"/>
                      <a:pt x="201" y="919"/>
                    </a:cubicBezTo>
                    <a:cubicBezTo>
                      <a:pt x="339" y="919"/>
                      <a:pt x="339" y="919"/>
                      <a:pt x="339" y="919"/>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58" name="Freeform 29">
                <a:extLst>
                  <a:ext uri="{FF2B5EF4-FFF2-40B4-BE49-F238E27FC236}">
                    <a16:creationId xmlns:a16="http://schemas.microsoft.com/office/drawing/2014/main" id="{0FDF1C02-3FA2-4449-B259-3E5CD3C666F6}"/>
                  </a:ext>
                </a:extLst>
              </p:cNvPr>
              <p:cNvSpPr>
                <a:spLocks/>
              </p:cNvSpPr>
              <p:nvPr/>
            </p:nvSpPr>
            <p:spPr bwMode="auto">
              <a:xfrm>
                <a:off x="6728868" y="4234291"/>
                <a:ext cx="140026" cy="446673"/>
              </a:xfrm>
              <a:custGeom>
                <a:avLst/>
                <a:gdLst>
                  <a:gd name="T0" fmla="*/ 150 w 288"/>
                  <a:gd name="T1" fmla="*/ 134 h 919"/>
                  <a:gd name="T2" fmla="*/ 175 w 288"/>
                  <a:gd name="T3" fmla="*/ 341 h 919"/>
                  <a:gd name="T4" fmla="*/ 138 w 288"/>
                  <a:gd name="T5" fmla="*/ 526 h 919"/>
                  <a:gd name="T6" fmla="*/ 103 w 288"/>
                  <a:gd name="T7" fmla="*/ 709 h 919"/>
                  <a:gd name="T8" fmla="*/ 119 w 288"/>
                  <a:gd name="T9" fmla="*/ 847 h 919"/>
                  <a:gd name="T10" fmla="*/ 200 w 288"/>
                  <a:gd name="T11" fmla="*/ 919 h 919"/>
                  <a:gd name="T12" fmla="*/ 288 w 288"/>
                  <a:gd name="T13" fmla="*/ 919 h 919"/>
                  <a:gd name="T14" fmla="*/ 207 w 288"/>
                  <a:gd name="T15" fmla="*/ 847 h 919"/>
                  <a:gd name="T16" fmla="*/ 190 w 288"/>
                  <a:gd name="T17" fmla="*/ 709 h 919"/>
                  <a:gd name="T18" fmla="*/ 226 w 288"/>
                  <a:gd name="T19" fmla="*/ 526 h 919"/>
                  <a:gd name="T20" fmla="*/ 262 w 288"/>
                  <a:gd name="T21" fmla="*/ 341 h 919"/>
                  <a:gd name="T22" fmla="*/ 237 w 288"/>
                  <a:gd name="T23" fmla="*/ 134 h 919"/>
                  <a:gd name="T24" fmla="*/ 87 w 288"/>
                  <a:gd name="T25" fmla="*/ 0 h 919"/>
                  <a:gd name="T26" fmla="*/ 0 w 288"/>
                  <a:gd name="T27" fmla="*/ 0 h 919"/>
                  <a:gd name="T28" fmla="*/ 150 w 288"/>
                  <a:gd name="T29" fmla="*/ 134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919">
                    <a:moveTo>
                      <a:pt x="150" y="134"/>
                    </a:moveTo>
                    <a:cubicBezTo>
                      <a:pt x="175" y="341"/>
                      <a:pt x="175" y="341"/>
                      <a:pt x="175" y="341"/>
                    </a:cubicBezTo>
                    <a:cubicBezTo>
                      <a:pt x="183" y="407"/>
                      <a:pt x="170" y="472"/>
                      <a:pt x="138" y="526"/>
                    </a:cubicBezTo>
                    <a:cubicBezTo>
                      <a:pt x="107" y="579"/>
                      <a:pt x="95" y="643"/>
                      <a:pt x="103" y="709"/>
                    </a:cubicBezTo>
                    <a:cubicBezTo>
                      <a:pt x="119" y="847"/>
                      <a:pt x="119" y="847"/>
                      <a:pt x="119" y="847"/>
                    </a:cubicBezTo>
                    <a:cubicBezTo>
                      <a:pt x="124" y="887"/>
                      <a:pt x="160" y="919"/>
                      <a:pt x="200" y="919"/>
                    </a:cubicBezTo>
                    <a:cubicBezTo>
                      <a:pt x="288" y="919"/>
                      <a:pt x="288" y="919"/>
                      <a:pt x="288" y="919"/>
                    </a:cubicBezTo>
                    <a:cubicBezTo>
                      <a:pt x="248" y="919"/>
                      <a:pt x="211" y="887"/>
                      <a:pt x="207" y="847"/>
                    </a:cubicBezTo>
                    <a:cubicBezTo>
                      <a:pt x="190" y="709"/>
                      <a:pt x="190" y="709"/>
                      <a:pt x="190" y="709"/>
                    </a:cubicBezTo>
                    <a:cubicBezTo>
                      <a:pt x="182" y="643"/>
                      <a:pt x="194" y="579"/>
                      <a:pt x="226" y="526"/>
                    </a:cubicBezTo>
                    <a:cubicBezTo>
                      <a:pt x="257" y="472"/>
                      <a:pt x="270" y="407"/>
                      <a:pt x="262" y="341"/>
                    </a:cubicBezTo>
                    <a:cubicBezTo>
                      <a:pt x="237" y="134"/>
                      <a:pt x="237" y="134"/>
                      <a:pt x="237" y="134"/>
                    </a:cubicBezTo>
                    <a:cubicBezTo>
                      <a:pt x="229" y="60"/>
                      <a:pt x="161" y="0"/>
                      <a:pt x="87" y="0"/>
                    </a:cubicBezTo>
                    <a:cubicBezTo>
                      <a:pt x="0" y="0"/>
                      <a:pt x="0" y="0"/>
                      <a:pt x="0" y="0"/>
                    </a:cubicBezTo>
                    <a:cubicBezTo>
                      <a:pt x="74" y="0"/>
                      <a:pt x="141" y="60"/>
                      <a:pt x="150" y="13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59" name="Freeform 30">
                <a:extLst>
                  <a:ext uri="{FF2B5EF4-FFF2-40B4-BE49-F238E27FC236}">
                    <a16:creationId xmlns:a16="http://schemas.microsoft.com/office/drawing/2014/main" id="{678159CF-C13E-475B-9D81-7969281A7754}"/>
                  </a:ext>
                </a:extLst>
              </p:cNvPr>
              <p:cNvSpPr>
                <a:spLocks/>
              </p:cNvSpPr>
              <p:nvPr/>
            </p:nvSpPr>
            <p:spPr bwMode="auto">
              <a:xfrm>
                <a:off x="6917786" y="4358672"/>
                <a:ext cx="512384" cy="407169"/>
              </a:xfrm>
              <a:custGeom>
                <a:avLst/>
                <a:gdLst>
                  <a:gd name="T0" fmla="*/ 940 w 1053"/>
                  <a:gd name="T1" fmla="*/ 372 h 838"/>
                  <a:gd name="T2" fmla="*/ 844 w 1053"/>
                  <a:gd name="T3" fmla="*/ 378 h 838"/>
                  <a:gd name="T4" fmla="*/ 743 w 1053"/>
                  <a:gd name="T5" fmla="*/ 207 h 838"/>
                  <a:gd name="T6" fmla="*/ 680 w 1053"/>
                  <a:gd name="T7" fmla="*/ 31 h 838"/>
                  <a:gd name="T8" fmla="*/ 651 w 1053"/>
                  <a:gd name="T9" fmla="*/ 0 h 838"/>
                  <a:gd name="T10" fmla="*/ 425 w 1053"/>
                  <a:gd name="T11" fmla="*/ 0 h 838"/>
                  <a:gd name="T12" fmla="*/ 1 w 1053"/>
                  <a:gd name="T13" fmla="*/ 602 h 838"/>
                  <a:gd name="T14" fmla="*/ 2 w 1053"/>
                  <a:gd name="T15" fmla="*/ 729 h 838"/>
                  <a:gd name="T16" fmla="*/ 165 w 1053"/>
                  <a:gd name="T17" fmla="*/ 838 h 838"/>
                  <a:gd name="T18" fmla="*/ 670 w 1053"/>
                  <a:gd name="T19" fmla="*/ 838 h 838"/>
                  <a:gd name="T20" fmla="*/ 631 w 1053"/>
                  <a:gd name="T21" fmla="*/ 683 h 838"/>
                  <a:gd name="T22" fmla="*/ 639 w 1053"/>
                  <a:gd name="T23" fmla="*/ 444 h 838"/>
                  <a:gd name="T24" fmla="*/ 834 w 1053"/>
                  <a:gd name="T25" fmla="*/ 663 h 838"/>
                  <a:gd name="T26" fmla="*/ 971 w 1053"/>
                  <a:gd name="T27" fmla="*/ 663 h 838"/>
                  <a:gd name="T28" fmla="*/ 1053 w 1053"/>
                  <a:gd name="T29" fmla="*/ 402 h 838"/>
                  <a:gd name="T30" fmla="*/ 940 w 1053"/>
                  <a:gd name="T31" fmla="*/ 372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3" h="838">
                    <a:moveTo>
                      <a:pt x="940" y="372"/>
                    </a:moveTo>
                    <a:cubicBezTo>
                      <a:pt x="844" y="378"/>
                      <a:pt x="844" y="378"/>
                      <a:pt x="844" y="378"/>
                    </a:cubicBezTo>
                    <a:cubicBezTo>
                      <a:pt x="743" y="207"/>
                      <a:pt x="743" y="207"/>
                      <a:pt x="743" y="207"/>
                    </a:cubicBezTo>
                    <a:cubicBezTo>
                      <a:pt x="748" y="144"/>
                      <a:pt x="727" y="80"/>
                      <a:pt x="680" y="31"/>
                    </a:cubicBezTo>
                    <a:cubicBezTo>
                      <a:pt x="651" y="0"/>
                      <a:pt x="651" y="0"/>
                      <a:pt x="651" y="0"/>
                    </a:cubicBezTo>
                    <a:cubicBezTo>
                      <a:pt x="425" y="0"/>
                      <a:pt x="425" y="0"/>
                      <a:pt x="425" y="0"/>
                    </a:cubicBezTo>
                    <a:cubicBezTo>
                      <a:pt x="93" y="119"/>
                      <a:pt x="0" y="501"/>
                      <a:pt x="1" y="602"/>
                    </a:cubicBezTo>
                    <a:cubicBezTo>
                      <a:pt x="2" y="729"/>
                      <a:pt x="2" y="729"/>
                      <a:pt x="2" y="729"/>
                    </a:cubicBezTo>
                    <a:cubicBezTo>
                      <a:pt x="165" y="838"/>
                      <a:pt x="165" y="838"/>
                      <a:pt x="165" y="838"/>
                    </a:cubicBezTo>
                    <a:cubicBezTo>
                      <a:pt x="670" y="838"/>
                      <a:pt x="670" y="838"/>
                      <a:pt x="670" y="838"/>
                    </a:cubicBezTo>
                    <a:cubicBezTo>
                      <a:pt x="631" y="683"/>
                      <a:pt x="631" y="683"/>
                      <a:pt x="631" y="683"/>
                    </a:cubicBezTo>
                    <a:cubicBezTo>
                      <a:pt x="610" y="604"/>
                      <a:pt x="614" y="521"/>
                      <a:pt x="639" y="444"/>
                    </a:cubicBezTo>
                    <a:cubicBezTo>
                      <a:pt x="834" y="663"/>
                      <a:pt x="834" y="663"/>
                      <a:pt x="834" y="663"/>
                    </a:cubicBezTo>
                    <a:cubicBezTo>
                      <a:pt x="971" y="663"/>
                      <a:pt x="971" y="663"/>
                      <a:pt x="971" y="663"/>
                    </a:cubicBezTo>
                    <a:cubicBezTo>
                      <a:pt x="1053" y="402"/>
                      <a:pt x="1053" y="402"/>
                      <a:pt x="1053" y="402"/>
                    </a:cubicBezTo>
                    <a:lnTo>
                      <a:pt x="940" y="372"/>
                    </a:ln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0" name="Freeform 31">
                <a:extLst>
                  <a:ext uri="{FF2B5EF4-FFF2-40B4-BE49-F238E27FC236}">
                    <a16:creationId xmlns:a16="http://schemas.microsoft.com/office/drawing/2014/main" id="{8520897C-6738-4BB0-8BE6-64D34C46999E}"/>
                  </a:ext>
                </a:extLst>
              </p:cNvPr>
              <p:cNvSpPr>
                <a:spLocks/>
              </p:cNvSpPr>
              <p:nvPr/>
            </p:nvSpPr>
            <p:spPr bwMode="auto">
              <a:xfrm>
                <a:off x="6962375" y="4917208"/>
                <a:ext cx="328160" cy="57888"/>
              </a:xfrm>
              <a:custGeom>
                <a:avLst/>
                <a:gdLst>
                  <a:gd name="T0" fmla="*/ 0 w 674"/>
                  <a:gd name="T1" fmla="*/ 0 h 119"/>
                  <a:gd name="T2" fmla="*/ 0 w 674"/>
                  <a:gd name="T3" fmla="*/ 9 h 119"/>
                  <a:gd name="T4" fmla="*/ 12 w 674"/>
                  <a:gd name="T5" fmla="*/ 119 h 119"/>
                  <a:gd name="T6" fmla="*/ 674 w 674"/>
                  <a:gd name="T7" fmla="*/ 0 h 119"/>
                  <a:gd name="T8" fmla="*/ 0 w 674"/>
                  <a:gd name="T9" fmla="*/ 0 h 119"/>
                </a:gdLst>
                <a:ahLst/>
                <a:cxnLst>
                  <a:cxn ang="0">
                    <a:pos x="T0" y="T1"/>
                  </a:cxn>
                  <a:cxn ang="0">
                    <a:pos x="T2" y="T3"/>
                  </a:cxn>
                  <a:cxn ang="0">
                    <a:pos x="T4" y="T5"/>
                  </a:cxn>
                  <a:cxn ang="0">
                    <a:pos x="T6" y="T7"/>
                  </a:cxn>
                  <a:cxn ang="0">
                    <a:pos x="T8" y="T9"/>
                  </a:cxn>
                </a:cxnLst>
                <a:rect l="0" t="0" r="r" b="b"/>
                <a:pathLst>
                  <a:path w="674" h="119">
                    <a:moveTo>
                      <a:pt x="0" y="0"/>
                    </a:moveTo>
                    <a:cubicBezTo>
                      <a:pt x="0" y="3"/>
                      <a:pt x="0" y="6"/>
                      <a:pt x="0" y="9"/>
                    </a:cubicBezTo>
                    <a:cubicBezTo>
                      <a:pt x="12" y="119"/>
                      <a:pt x="12" y="119"/>
                      <a:pt x="12" y="119"/>
                    </a:cubicBezTo>
                    <a:cubicBezTo>
                      <a:pt x="674" y="0"/>
                      <a:pt x="674" y="0"/>
                      <a:pt x="674" y="0"/>
                    </a:cubicBezTo>
                    <a:lnTo>
                      <a:pt x="0"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1" name="Freeform 32">
                <a:extLst>
                  <a:ext uri="{FF2B5EF4-FFF2-40B4-BE49-F238E27FC236}">
                    <a16:creationId xmlns:a16="http://schemas.microsoft.com/office/drawing/2014/main" id="{E70A0D15-F765-4F8F-89A6-5194361B6A93}"/>
                  </a:ext>
                </a:extLst>
              </p:cNvPr>
              <p:cNvSpPr>
                <a:spLocks/>
              </p:cNvSpPr>
              <p:nvPr/>
            </p:nvSpPr>
            <p:spPr bwMode="auto">
              <a:xfrm>
                <a:off x="6912701" y="4680965"/>
                <a:ext cx="566360" cy="382137"/>
              </a:xfrm>
              <a:custGeom>
                <a:avLst/>
                <a:gdLst>
                  <a:gd name="T0" fmla="*/ 1111 w 1163"/>
                  <a:gd name="T1" fmla="*/ 133 h 786"/>
                  <a:gd name="T2" fmla="*/ 1163 w 1163"/>
                  <a:gd name="T3" fmla="*/ 82 h 786"/>
                  <a:gd name="T4" fmla="*/ 1163 w 1163"/>
                  <a:gd name="T5" fmla="*/ 52 h 786"/>
                  <a:gd name="T6" fmla="*/ 1111 w 1163"/>
                  <a:gd name="T7" fmla="*/ 0 h 786"/>
                  <a:gd name="T8" fmla="*/ 1001 w 1163"/>
                  <a:gd name="T9" fmla="*/ 0 h 786"/>
                  <a:gd name="T10" fmla="*/ 926 w 1163"/>
                  <a:gd name="T11" fmla="*/ 68 h 786"/>
                  <a:gd name="T12" fmla="*/ 900 w 1163"/>
                  <a:gd name="T13" fmla="*/ 299 h 786"/>
                  <a:gd name="T14" fmla="*/ 263 w 1163"/>
                  <a:gd name="T15" fmla="*/ 299 h 786"/>
                  <a:gd name="T16" fmla="*/ 237 w 1163"/>
                  <a:gd name="T17" fmla="*/ 68 h 786"/>
                  <a:gd name="T18" fmla="*/ 161 w 1163"/>
                  <a:gd name="T19" fmla="*/ 0 h 786"/>
                  <a:gd name="T20" fmla="*/ 52 w 1163"/>
                  <a:gd name="T21" fmla="*/ 0 h 786"/>
                  <a:gd name="T22" fmla="*/ 0 w 1163"/>
                  <a:gd name="T23" fmla="*/ 52 h 786"/>
                  <a:gd name="T24" fmla="*/ 0 w 1163"/>
                  <a:gd name="T25" fmla="*/ 82 h 786"/>
                  <a:gd name="T26" fmla="*/ 52 w 1163"/>
                  <a:gd name="T27" fmla="*/ 133 h 786"/>
                  <a:gd name="T28" fmla="*/ 103 w 1163"/>
                  <a:gd name="T29" fmla="*/ 179 h 786"/>
                  <a:gd name="T30" fmla="*/ 116 w 1163"/>
                  <a:gd name="T31" fmla="*/ 299 h 786"/>
                  <a:gd name="T32" fmla="*/ 91 w 1163"/>
                  <a:gd name="T33" fmla="*/ 299 h 786"/>
                  <a:gd name="T34" fmla="*/ 58 w 1163"/>
                  <a:gd name="T35" fmla="*/ 332 h 786"/>
                  <a:gd name="T36" fmla="*/ 58 w 1163"/>
                  <a:gd name="T37" fmla="*/ 454 h 786"/>
                  <a:gd name="T38" fmla="*/ 91 w 1163"/>
                  <a:gd name="T39" fmla="*/ 486 h 786"/>
                  <a:gd name="T40" fmla="*/ 102 w 1163"/>
                  <a:gd name="T41" fmla="*/ 486 h 786"/>
                  <a:gd name="T42" fmla="*/ 776 w 1163"/>
                  <a:gd name="T43" fmla="*/ 486 h 786"/>
                  <a:gd name="T44" fmla="*/ 114 w 1163"/>
                  <a:gd name="T45" fmla="*/ 605 h 786"/>
                  <a:gd name="T46" fmla="*/ 130 w 1163"/>
                  <a:gd name="T47" fmla="*/ 759 h 786"/>
                  <a:gd name="T48" fmla="*/ 159 w 1163"/>
                  <a:gd name="T49" fmla="*/ 786 h 786"/>
                  <a:gd name="T50" fmla="*/ 1062 w 1163"/>
                  <a:gd name="T51" fmla="*/ 786 h 786"/>
                  <a:gd name="T52" fmla="*/ 1090 w 1163"/>
                  <a:gd name="T53" fmla="*/ 759 h 786"/>
                  <a:gd name="T54" fmla="*/ 1119 w 1163"/>
                  <a:gd name="T55" fmla="*/ 495 h 786"/>
                  <a:gd name="T56" fmla="*/ 1118 w 1163"/>
                  <a:gd name="T57" fmla="*/ 486 h 786"/>
                  <a:gd name="T58" fmla="*/ 1130 w 1163"/>
                  <a:gd name="T59" fmla="*/ 486 h 786"/>
                  <a:gd name="T60" fmla="*/ 1163 w 1163"/>
                  <a:gd name="T61" fmla="*/ 454 h 786"/>
                  <a:gd name="T62" fmla="*/ 1163 w 1163"/>
                  <a:gd name="T63" fmla="*/ 332 h 786"/>
                  <a:gd name="T64" fmla="*/ 1130 w 1163"/>
                  <a:gd name="T65" fmla="*/ 299 h 786"/>
                  <a:gd name="T66" fmla="*/ 1046 w 1163"/>
                  <a:gd name="T67" fmla="*/ 299 h 786"/>
                  <a:gd name="T68" fmla="*/ 1060 w 1163"/>
                  <a:gd name="T69" fmla="*/ 179 h 786"/>
                  <a:gd name="T70" fmla="*/ 1111 w 1163"/>
                  <a:gd name="T71" fmla="*/ 133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3" h="786">
                    <a:moveTo>
                      <a:pt x="1111" y="133"/>
                    </a:moveTo>
                    <a:cubicBezTo>
                      <a:pt x="1139" y="133"/>
                      <a:pt x="1163" y="110"/>
                      <a:pt x="1163" y="82"/>
                    </a:cubicBezTo>
                    <a:cubicBezTo>
                      <a:pt x="1163" y="52"/>
                      <a:pt x="1163" y="52"/>
                      <a:pt x="1163" y="52"/>
                    </a:cubicBezTo>
                    <a:cubicBezTo>
                      <a:pt x="1163" y="23"/>
                      <a:pt x="1139" y="0"/>
                      <a:pt x="1111" y="0"/>
                    </a:cubicBezTo>
                    <a:cubicBezTo>
                      <a:pt x="1001" y="0"/>
                      <a:pt x="1001" y="0"/>
                      <a:pt x="1001" y="0"/>
                    </a:cubicBezTo>
                    <a:cubicBezTo>
                      <a:pt x="962" y="0"/>
                      <a:pt x="930" y="29"/>
                      <a:pt x="926" y="68"/>
                    </a:cubicBezTo>
                    <a:cubicBezTo>
                      <a:pt x="900" y="299"/>
                      <a:pt x="900" y="299"/>
                      <a:pt x="900" y="299"/>
                    </a:cubicBezTo>
                    <a:cubicBezTo>
                      <a:pt x="263" y="299"/>
                      <a:pt x="263" y="299"/>
                      <a:pt x="263" y="299"/>
                    </a:cubicBezTo>
                    <a:cubicBezTo>
                      <a:pt x="237" y="68"/>
                      <a:pt x="237" y="68"/>
                      <a:pt x="237" y="68"/>
                    </a:cubicBezTo>
                    <a:cubicBezTo>
                      <a:pt x="233" y="29"/>
                      <a:pt x="200" y="0"/>
                      <a:pt x="161" y="0"/>
                    </a:cubicBezTo>
                    <a:cubicBezTo>
                      <a:pt x="52" y="0"/>
                      <a:pt x="52" y="0"/>
                      <a:pt x="52" y="0"/>
                    </a:cubicBezTo>
                    <a:cubicBezTo>
                      <a:pt x="23" y="0"/>
                      <a:pt x="0" y="23"/>
                      <a:pt x="0" y="52"/>
                    </a:cubicBezTo>
                    <a:cubicBezTo>
                      <a:pt x="0" y="82"/>
                      <a:pt x="0" y="82"/>
                      <a:pt x="0" y="82"/>
                    </a:cubicBezTo>
                    <a:cubicBezTo>
                      <a:pt x="0" y="110"/>
                      <a:pt x="23" y="133"/>
                      <a:pt x="52" y="133"/>
                    </a:cubicBezTo>
                    <a:cubicBezTo>
                      <a:pt x="78" y="133"/>
                      <a:pt x="100" y="153"/>
                      <a:pt x="103" y="179"/>
                    </a:cubicBezTo>
                    <a:cubicBezTo>
                      <a:pt x="116" y="299"/>
                      <a:pt x="116" y="299"/>
                      <a:pt x="116" y="299"/>
                    </a:cubicBezTo>
                    <a:cubicBezTo>
                      <a:pt x="91" y="299"/>
                      <a:pt x="91" y="299"/>
                      <a:pt x="91" y="299"/>
                    </a:cubicBezTo>
                    <a:cubicBezTo>
                      <a:pt x="73" y="299"/>
                      <a:pt x="58" y="314"/>
                      <a:pt x="58" y="332"/>
                    </a:cubicBezTo>
                    <a:cubicBezTo>
                      <a:pt x="58" y="454"/>
                      <a:pt x="58" y="454"/>
                      <a:pt x="58" y="454"/>
                    </a:cubicBezTo>
                    <a:cubicBezTo>
                      <a:pt x="58" y="472"/>
                      <a:pt x="73" y="486"/>
                      <a:pt x="91" y="486"/>
                    </a:cubicBezTo>
                    <a:cubicBezTo>
                      <a:pt x="102" y="486"/>
                      <a:pt x="102" y="486"/>
                      <a:pt x="102" y="486"/>
                    </a:cubicBezTo>
                    <a:cubicBezTo>
                      <a:pt x="776" y="486"/>
                      <a:pt x="776" y="486"/>
                      <a:pt x="776" y="486"/>
                    </a:cubicBezTo>
                    <a:cubicBezTo>
                      <a:pt x="114" y="605"/>
                      <a:pt x="114" y="605"/>
                      <a:pt x="114" y="605"/>
                    </a:cubicBezTo>
                    <a:cubicBezTo>
                      <a:pt x="130" y="759"/>
                      <a:pt x="130" y="759"/>
                      <a:pt x="130" y="759"/>
                    </a:cubicBezTo>
                    <a:cubicBezTo>
                      <a:pt x="132" y="775"/>
                      <a:pt x="144" y="786"/>
                      <a:pt x="159" y="786"/>
                    </a:cubicBezTo>
                    <a:cubicBezTo>
                      <a:pt x="1062" y="786"/>
                      <a:pt x="1062" y="786"/>
                      <a:pt x="1062" y="786"/>
                    </a:cubicBezTo>
                    <a:cubicBezTo>
                      <a:pt x="1076" y="786"/>
                      <a:pt x="1089" y="775"/>
                      <a:pt x="1090" y="759"/>
                    </a:cubicBezTo>
                    <a:cubicBezTo>
                      <a:pt x="1119" y="495"/>
                      <a:pt x="1119" y="495"/>
                      <a:pt x="1119" y="495"/>
                    </a:cubicBezTo>
                    <a:cubicBezTo>
                      <a:pt x="1119" y="492"/>
                      <a:pt x="1119" y="489"/>
                      <a:pt x="1118" y="486"/>
                    </a:cubicBezTo>
                    <a:cubicBezTo>
                      <a:pt x="1130" y="486"/>
                      <a:pt x="1130" y="486"/>
                      <a:pt x="1130" y="486"/>
                    </a:cubicBezTo>
                    <a:cubicBezTo>
                      <a:pt x="1148" y="486"/>
                      <a:pt x="1163" y="472"/>
                      <a:pt x="1163" y="454"/>
                    </a:cubicBezTo>
                    <a:cubicBezTo>
                      <a:pt x="1163" y="332"/>
                      <a:pt x="1163" y="332"/>
                      <a:pt x="1163" y="332"/>
                    </a:cubicBezTo>
                    <a:cubicBezTo>
                      <a:pt x="1163" y="314"/>
                      <a:pt x="1148" y="299"/>
                      <a:pt x="1130" y="299"/>
                    </a:cubicBezTo>
                    <a:cubicBezTo>
                      <a:pt x="1046" y="299"/>
                      <a:pt x="1046" y="299"/>
                      <a:pt x="1046" y="299"/>
                    </a:cubicBezTo>
                    <a:cubicBezTo>
                      <a:pt x="1060" y="179"/>
                      <a:pt x="1060" y="179"/>
                      <a:pt x="1060" y="179"/>
                    </a:cubicBezTo>
                    <a:cubicBezTo>
                      <a:pt x="1063" y="153"/>
                      <a:pt x="1085" y="133"/>
                      <a:pt x="1111" y="133"/>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2" name="Freeform 33">
                <a:extLst>
                  <a:ext uri="{FF2B5EF4-FFF2-40B4-BE49-F238E27FC236}">
                    <a16:creationId xmlns:a16="http://schemas.microsoft.com/office/drawing/2014/main" id="{4D33BBE3-6E99-44C0-A4D4-6284F3B9AF75}"/>
                  </a:ext>
                </a:extLst>
              </p:cNvPr>
              <p:cNvSpPr>
                <a:spLocks/>
              </p:cNvSpPr>
              <p:nvPr/>
            </p:nvSpPr>
            <p:spPr bwMode="auto">
              <a:xfrm>
                <a:off x="7001097"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3" name="Freeform 34">
                <a:extLst>
                  <a:ext uri="{FF2B5EF4-FFF2-40B4-BE49-F238E27FC236}">
                    <a16:creationId xmlns:a16="http://schemas.microsoft.com/office/drawing/2014/main" id="{6273DB58-29D1-4FE7-A7E4-7F1A5BB247FB}"/>
                  </a:ext>
                </a:extLst>
              </p:cNvPr>
              <p:cNvSpPr>
                <a:spLocks/>
              </p:cNvSpPr>
              <p:nvPr/>
            </p:nvSpPr>
            <p:spPr bwMode="auto">
              <a:xfrm>
                <a:off x="7371499"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4" name="Freeform 36">
                <a:extLst>
                  <a:ext uri="{FF2B5EF4-FFF2-40B4-BE49-F238E27FC236}">
                    <a16:creationId xmlns:a16="http://schemas.microsoft.com/office/drawing/2014/main" id="{9B7CFA46-5662-495A-823D-C55D3B7E027D}"/>
                  </a:ext>
                </a:extLst>
              </p:cNvPr>
              <p:cNvSpPr>
                <a:spLocks/>
              </p:cNvSpPr>
              <p:nvPr/>
            </p:nvSpPr>
            <p:spPr bwMode="auto">
              <a:xfrm>
                <a:off x="7121957" y="5063101"/>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5" name="Freeform 37">
                <a:extLst>
                  <a:ext uri="{FF2B5EF4-FFF2-40B4-BE49-F238E27FC236}">
                    <a16:creationId xmlns:a16="http://schemas.microsoft.com/office/drawing/2014/main" id="{F19BECBA-8115-4E2C-B89C-9055CC14806C}"/>
                  </a:ext>
                </a:extLst>
              </p:cNvPr>
              <p:cNvSpPr>
                <a:spLocks/>
              </p:cNvSpPr>
              <p:nvPr/>
            </p:nvSpPr>
            <p:spPr bwMode="auto">
              <a:xfrm>
                <a:off x="7103964" y="4282792"/>
                <a:ext cx="183832" cy="152932"/>
              </a:xfrm>
              <a:custGeom>
                <a:avLst/>
                <a:gdLst>
                  <a:gd name="T0" fmla="*/ 43 w 377"/>
                  <a:gd name="T1" fmla="*/ 0 h 314"/>
                  <a:gd name="T2" fmla="*/ 44 w 377"/>
                  <a:gd name="T3" fmla="*/ 57 h 314"/>
                  <a:gd name="T4" fmla="*/ 14 w 377"/>
                  <a:gd name="T5" fmla="*/ 193 h 314"/>
                  <a:gd name="T6" fmla="*/ 25 w 377"/>
                  <a:gd name="T7" fmla="*/ 265 h 314"/>
                  <a:gd name="T8" fmla="*/ 160 w 377"/>
                  <a:gd name="T9" fmla="*/ 314 h 314"/>
                  <a:gd name="T10" fmla="*/ 206 w 377"/>
                  <a:gd name="T11" fmla="*/ 314 h 314"/>
                  <a:gd name="T12" fmla="*/ 234 w 377"/>
                  <a:gd name="T13" fmla="*/ 297 h 314"/>
                  <a:gd name="T14" fmla="*/ 363 w 377"/>
                  <a:gd name="T15" fmla="*/ 213 h 314"/>
                  <a:gd name="T16" fmla="*/ 377 w 377"/>
                  <a:gd name="T17" fmla="*/ 213 h 314"/>
                  <a:gd name="T18" fmla="*/ 327 w 377"/>
                  <a:gd name="T19" fmla="*/ 82 h 314"/>
                  <a:gd name="T20" fmla="*/ 43 w 377"/>
                  <a:gd name="T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314">
                    <a:moveTo>
                      <a:pt x="43" y="0"/>
                    </a:moveTo>
                    <a:cubicBezTo>
                      <a:pt x="44" y="57"/>
                      <a:pt x="44" y="57"/>
                      <a:pt x="44" y="57"/>
                    </a:cubicBezTo>
                    <a:cubicBezTo>
                      <a:pt x="44" y="88"/>
                      <a:pt x="40" y="144"/>
                      <a:pt x="14" y="193"/>
                    </a:cubicBezTo>
                    <a:cubicBezTo>
                      <a:pt x="0" y="217"/>
                      <a:pt x="4" y="246"/>
                      <a:pt x="25" y="265"/>
                    </a:cubicBezTo>
                    <a:cubicBezTo>
                      <a:pt x="61" y="296"/>
                      <a:pt x="111" y="314"/>
                      <a:pt x="160" y="314"/>
                    </a:cubicBezTo>
                    <a:cubicBezTo>
                      <a:pt x="206" y="314"/>
                      <a:pt x="206" y="314"/>
                      <a:pt x="206" y="314"/>
                    </a:cubicBezTo>
                    <a:cubicBezTo>
                      <a:pt x="218" y="314"/>
                      <a:pt x="229" y="308"/>
                      <a:pt x="234" y="297"/>
                    </a:cubicBezTo>
                    <a:cubicBezTo>
                      <a:pt x="248" y="267"/>
                      <a:pt x="284" y="213"/>
                      <a:pt x="363" y="213"/>
                    </a:cubicBezTo>
                    <a:cubicBezTo>
                      <a:pt x="377" y="213"/>
                      <a:pt x="377" y="213"/>
                      <a:pt x="377" y="213"/>
                    </a:cubicBezTo>
                    <a:cubicBezTo>
                      <a:pt x="327" y="82"/>
                      <a:pt x="327" y="82"/>
                      <a:pt x="327" y="82"/>
                    </a:cubicBezTo>
                    <a:lnTo>
                      <a:pt x="43" y="0"/>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6" name="Freeform 38">
                <a:extLst>
                  <a:ext uri="{FF2B5EF4-FFF2-40B4-BE49-F238E27FC236}">
                    <a16:creationId xmlns:a16="http://schemas.microsoft.com/office/drawing/2014/main" id="{101749E3-A5EA-483E-86F2-D84202C1DF53}"/>
                  </a:ext>
                </a:extLst>
              </p:cNvPr>
              <p:cNvSpPr>
                <a:spLocks/>
              </p:cNvSpPr>
              <p:nvPr/>
            </p:nvSpPr>
            <p:spPr bwMode="auto">
              <a:xfrm>
                <a:off x="7182974" y="4370406"/>
                <a:ext cx="104824" cy="65319"/>
              </a:xfrm>
              <a:custGeom>
                <a:avLst/>
                <a:gdLst>
                  <a:gd name="T0" fmla="*/ 72 w 215"/>
                  <a:gd name="T1" fmla="*/ 19 h 134"/>
                  <a:gd name="T2" fmla="*/ 0 w 215"/>
                  <a:gd name="T3" fmla="*/ 134 h 134"/>
                  <a:gd name="T4" fmla="*/ 44 w 215"/>
                  <a:gd name="T5" fmla="*/ 134 h 134"/>
                  <a:gd name="T6" fmla="*/ 72 w 215"/>
                  <a:gd name="T7" fmla="*/ 117 h 134"/>
                  <a:gd name="T8" fmla="*/ 201 w 215"/>
                  <a:gd name="T9" fmla="*/ 33 h 134"/>
                  <a:gd name="T10" fmla="*/ 215 w 215"/>
                  <a:gd name="T11" fmla="*/ 33 h 134"/>
                  <a:gd name="T12" fmla="*/ 203 w 215"/>
                  <a:gd name="T13" fmla="*/ 0 h 134"/>
                  <a:gd name="T14" fmla="*/ 98 w 215"/>
                  <a:gd name="T15" fmla="*/ 0 h 134"/>
                  <a:gd name="T16" fmla="*/ 72 w 215"/>
                  <a:gd name="T17" fmla="*/ 1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34">
                    <a:moveTo>
                      <a:pt x="72" y="19"/>
                    </a:moveTo>
                    <a:cubicBezTo>
                      <a:pt x="33" y="47"/>
                      <a:pt x="8" y="89"/>
                      <a:pt x="0" y="134"/>
                    </a:cubicBezTo>
                    <a:cubicBezTo>
                      <a:pt x="44" y="134"/>
                      <a:pt x="44" y="134"/>
                      <a:pt x="44" y="134"/>
                    </a:cubicBezTo>
                    <a:cubicBezTo>
                      <a:pt x="56" y="134"/>
                      <a:pt x="67" y="128"/>
                      <a:pt x="72" y="117"/>
                    </a:cubicBezTo>
                    <a:cubicBezTo>
                      <a:pt x="86" y="87"/>
                      <a:pt x="122" y="33"/>
                      <a:pt x="201" y="33"/>
                    </a:cubicBezTo>
                    <a:cubicBezTo>
                      <a:pt x="215" y="33"/>
                      <a:pt x="215" y="33"/>
                      <a:pt x="215" y="33"/>
                    </a:cubicBezTo>
                    <a:cubicBezTo>
                      <a:pt x="203" y="0"/>
                      <a:pt x="203" y="0"/>
                      <a:pt x="203" y="0"/>
                    </a:cubicBezTo>
                    <a:cubicBezTo>
                      <a:pt x="98" y="0"/>
                      <a:pt x="98" y="0"/>
                      <a:pt x="98" y="0"/>
                    </a:cubicBezTo>
                    <a:lnTo>
                      <a:pt x="72" y="19"/>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7" name="Freeform 39">
                <a:extLst>
                  <a:ext uri="{FF2B5EF4-FFF2-40B4-BE49-F238E27FC236}">
                    <a16:creationId xmlns:a16="http://schemas.microsoft.com/office/drawing/2014/main" id="{A7EFD916-DE54-4D13-92B7-09D17631900A}"/>
                  </a:ext>
                </a:extLst>
              </p:cNvPr>
              <p:cNvSpPr>
                <a:spLocks/>
              </p:cNvSpPr>
              <p:nvPr/>
            </p:nvSpPr>
            <p:spPr bwMode="auto">
              <a:xfrm>
                <a:off x="7105529" y="4322688"/>
                <a:ext cx="103259" cy="97001"/>
              </a:xfrm>
              <a:custGeom>
                <a:avLst/>
                <a:gdLst>
                  <a:gd name="T0" fmla="*/ 11 w 212"/>
                  <a:gd name="T1" fmla="*/ 111 h 199"/>
                  <a:gd name="T2" fmla="*/ 13 w 212"/>
                  <a:gd name="T3" fmla="*/ 172 h 199"/>
                  <a:gd name="T4" fmla="*/ 212 w 212"/>
                  <a:gd name="T5" fmla="*/ 108 h 199"/>
                  <a:gd name="T6" fmla="*/ 41 w 212"/>
                  <a:gd name="T7" fmla="*/ 0 h 199"/>
                  <a:gd name="T8" fmla="*/ 11 w 212"/>
                  <a:gd name="T9" fmla="*/ 111 h 199"/>
                </a:gdLst>
                <a:ahLst/>
                <a:cxnLst>
                  <a:cxn ang="0">
                    <a:pos x="T0" y="T1"/>
                  </a:cxn>
                  <a:cxn ang="0">
                    <a:pos x="T2" y="T3"/>
                  </a:cxn>
                  <a:cxn ang="0">
                    <a:pos x="T4" y="T5"/>
                  </a:cxn>
                  <a:cxn ang="0">
                    <a:pos x="T6" y="T7"/>
                  </a:cxn>
                  <a:cxn ang="0">
                    <a:pos x="T8" y="T9"/>
                  </a:cxn>
                </a:cxnLst>
                <a:rect l="0" t="0" r="r" b="b"/>
                <a:pathLst>
                  <a:path w="212" h="199">
                    <a:moveTo>
                      <a:pt x="11" y="111"/>
                    </a:moveTo>
                    <a:cubicBezTo>
                      <a:pt x="0" y="131"/>
                      <a:pt x="1" y="154"/>
                      <a:pt x="13" y="172"/>
                    </a:cubicBezTo>
                    <a:cubicBezTo>
                      <a:pt x="22" y="174"/>
                      <a:pt x="133" y="199"/>
                      <a:pt x="212" y="108"/>
                    </a:cubicBezTo>
                    <a:cubicBezTo>
                      <a:pt x="168" y="71"/>
                      <a:pt x="71" y="17"/>
                      <a:pt x="41" y="0"/>
                    </a:cubicBezTo>
                    <a:cubicBezTo>
                      <a:pt x="38" y="32"/>
                      <a:pt x="31" y="73"/>
                      <a:pt x="11" y="11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8" name="Freeform 40">
                <a:extLst>
                  <a:ext uri="{FF2B5EF4-FFF2-40B4-BE49-F238E27FC236}">
                    <a16:creationId xmlns:a16="http://schemas.microsoft.com/office/drawing/2014/main" id="{2755F008-0FA6-43DD-A93A-FCA195DCA7D4}"/>
                  </a:ext>
                </a:extLst>
              </p:cNvPr>
              <p:cNvSpPr>
                <a:spLocks/>
              </p:cNvSpPr>
              <p:nvPr/>
            </p:nvSpPr>
            <p:spPr bwMode="auto">
              <a:xfrm>
                <a:off x="7178671" y="4724771"/>
                <a:ext cx="432593" cy="399738"/>
              </a:xfrm>
              <a:custGeom>
                <a:avLst/>
                <a:gdLst>
                  <a:gd name="T0" fmla="*/ 76 w 889"/>
                  <a:gd name="T1" fmla="*/ 0 h 823"/>
                  <a:gd name="T2" fmla="*/ 612 w 889"/>
                  <a:gd name="T3" fmla="*/ 29 h 823"/>
                  <a:gd name="T4" fmla="*/ 757 w 889"/>
                  <a:gd name="T5" fmla="*/ 145 h 823"/>
                  <a:gd name="T6" fmla="*/ 889 w 889"/>
                  <a:gd name="T7" fmla="*/ 823 h 823"/>
                  <a:gd name="T8" fmla="*/ 670 w 889"/>
                  <a:gd name="T9" fmla="*/ 823 h 823"/>
                  <a:gd name="T10" fmla="*/ 523 w 889"/>
                  <a:gd name="T11" fmla="*/ 209 h 823"/>
                  <a:gd name="T12" fmla="*/ 0 w 889"/>
                  <a:gd name="T13" fmla="*/ 209 h 823"/>
                  <a:gd name="T14" fmla="*/ 76 w 889"/>
                  <a:gd name="T15" fmla="*/ 0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9" h="823">
                    <a:moveTo>
                      <a:pt x="76" y="0"/>
                    </a:moveTo>
                    <a:cubicBezTo>
                      <a:pt x="612" y="29"/>
                      <a:pt x="612" y="29"/>
                      <a:pt x="612" y="29"/>
                    </a:cubicBezTo>
                    <a:cubicBezTo>
                      <a:pt x="681" y="32"/>
                      <a:pt x="739" y="79"/>
                      <a:pt x="757" y="145"/>
                    </a:cubicBezTo>
                    <a:cubicBezTo>
                      <a:pt x="889" y="823"/>
                      <a:pt x="889" y="823"/>
                      <a:pt x="889" y="823"/>
                    </a:cubicBezTo>
                    <a:cubicBezTo>
                      <a:pt x="670" y="823"/>
                      <a:pt x="670" y="823"/>
                      <a:pt x="670" y="823"/>
                    </a:cubicBezTo>
                    <a:cubicBezTo>
                      <a:pt x="523" y="209"/>
                      <a:pt x="523" y="209"/>
                      <a:pt x="523" y="209"/>
                    </a:cubicBezTo>
                    <a:cubicBezTo>
                      <a:pt x="0" y="209"/>
                      <a:pt x="0" y="209"/>
                      <a:pt x="0" y="209"/>
                    </a:cubicBezTo>
                    <a:lnTo>
                      <a:pt x="76" y="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69" name="Freeform 41">
                <a:extLst>
                  <a:ext uri="{FF2B5EF4-FFF2-40B4-BE49-F238E27FC236}">
                    <a16:creationId xmlns:a16="http://schemas.microsoft.com/office/drawing/2014/main" id="{C9B56AF2-755D-4D63-AED8-857C0D1C6D5E}"/>
                  </a:ext>
                </a:extLst>
              </p:cNvPr>
              <p:cNvSpPr>
                <a:spLocks/>
              </p:cNvSpPr>
              <p:nvPr/>
            </p:nvSpPr>
            <p:spPr bwMode="auto">
              <a:xfrm>
                <a:off x="7031605" y="5092436"/>
                <a:ext cx="247196" cy="129465"/>
              </a:xfrm>
              <a:custGeom>
                <a:avLst/>
                <a:gdLst>
                  <a:gd name="T0" fmla="*/ 63 w 508"/>
                  <a:gd name="T1" fmla="*/ 266 h 266"/>
                  <a:gd name="T2" fmla="*/ 446 w 508"/>
                  <a:gd name="T3" fmla="*/ 266 h 266"/>
                  <a:gd name="T4" fmla="*/ 498 w 508"/>
                  <a:gd name="T5" fmla="*/ 235 h 266"/>
                  <a:gd name="T6" fmla="*/ 498 w 508"/>
                  <a:gd name="T7" fmla="*/ 235 h 266"/>
                  <a:gd name="T8" fmla="*/ 473 w 508"/>
                  <a:gd name="T9" fmla="*/ 187 h 266"/>
                  <a:gd name="T10" fmla="*/ 349 w 508"/>
                  <a:gd name="T11" fmla="*/ 172 h 266"/>
                  <a:gd name="T12" fmla="*/ 281 w 508"/>
                  <a:gd name="T13" fmla="*/ 135 h 266"/>
                  <a:gd name="T14" fmla="*/ 237 w 508"/>
                  <a:gd name="T15" fmla="*/ 82 h 266"/>
                  <a:gd name="T16" fmla="*/ 242 w 508"/>
                  <a:gd name="T17" fmla="*/ 32 h 266"/>
                  <a:gd name="T18" fmla="*/ 55 w 508"/>
                  <a:gd name="T19" fmla="*/ 0 h 266"/>
                  <a:gd name="T20" fmla="*/ 8 w 508"/>
                  <a:gd name="T21" fmla="*/ 196 h 266"/>
                  <a:gd name="T22" fmla="*/ 63 w 508"/>
                  <a:gd name="T23"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8" h="266">
                    <a:moveTo>
                      <a:pt x="63" y="266"/>
                    </a:moveTo>
                    <a:cubicBezTo>
                      <a:pt x="446" y="266"/>
                      <a:pt x="446" y="266"/>
                      <a:pt x="446" y="266"/>
                    </a:cubicBezTo>
                    <a:cubicBezTo>
                      <a:pt x="468" y="266"/>
                      <a:pt x="488" y="254"/>
                      <a:pt x="498" y="235"/>
                    </a:cubicBezTo>
                    <a:cubicBezTo>
                      <a:pt x="498" y="235"/>
                      <a:pt x="498" y="235"/>
                      <a:pt x="498" y="235"/>
                    </a:cubicBezTo>
                    <a:cubicBezTo>
                      <a:pt x="508" y="215"/>
                      <a:pt x="496" y="190"/>
                      <a:pt x="473" y="187"/>
                    </a:cubicBezTo>
                    <a:cubicBezTo>
                      <a:pt x="349" y="172"/>
                      <a:pt x="349" y="172"/>
                      <a:pt x="349" y="172"/>
                    </a:cubicBezTo>
                    <a:cubicBezTo>
                      <a:pt x="322" y="168"/>
                      <a:pt x="298" y="155"/>
                      <a:pt x="281" y="135"/>
                    </a:cubicBezTo>
                    <a:cubicBezTo>
                      <a:pt x="237" y="82"/>
                      <a:pt x="237" y="82"/>
                      <a:pt x="237" y="82"/>
                    </a:cubicBezTo>
                    <a:cubicBezTo>
                      <a:pt x="242" y="32"/>
                      <a:pt x="242" y="32"/>
                      <a:pt x="242" y="32"/>
                    </a:cubicBezTo>
                    <a:cubicBezTo>
                      <a:pt x="55" y="0"/>
                      <a:pt x="55" y="0"/>
                      <a:pt x="55" y="0"/>
                    </a:cubicBezTo>
                    <a:cubicBezTo>
                      <a:pt x="8" y="196"/>
                      <a:pt x="8" y="196"/>
                      <a:pt x="8" y="196"/>
                    </a:cubicBezTo>
                    <a:cubicBezTo>
                      <a:pt x="0" y="231"/>
                      <a:pt x="27" y="266"/>
                      <a:pt x="63" y="266"/>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IN" sz="1836" dirty="0"/>
              </a:p>
            </p:txBody>
          </p:sp>
          <p:sp>
            <p:nvSpPr>
              <p:cNvPr id="1170" name="Freeform 42">
                <a:extLst>
                  <a:ext uri="{FF2B5EF4-FFF2-40B4-BE49-F238E27FC236}">
                    <a16:creationId xmlns:a16="http://schemas.microsoft.com/office/drawing/2014/main" id="{DAF747F5-BD8B-4E02-A521-4D75E751835F}"/>
                  </a:ext>
                </a:extLst>
              </p:cNvPr>
              <p:cNvSpPr>
                <a:spLocks/>
              </p:cNvSpPr>
              <p:nvPr/>
            </p:nvSpPr>
            <p:spPr bwMode="auto">
              <a:xfrm>
                <a:off x="7028085" y="4710691"/>
                <a:ext cx="235853" cy="425943"/>
              </a:xfrm>
              <a:custGeom>
                <a:avLst/>
                <a:gdLst>
                  <a:gd name="T0" fmla="*/ 0 w 484"/>
                  <a:gd name="T1" fmla="*/ 7 h 877"/>
                  <a:gd name="T2" fmla="*/ 291 w 484"/>
                  <a:gd name="T3" fmla="*/ 2 h 877"/>
                  <a:gd name="T4" fmla="*/ 452 w 484"/>
                  <a:gd name="T5" fmla="*/ 214 h 877"/>
                  <a:gd name="T6" fmla="*/ 254 w 484"/>
                  <a:gd name="T7" fmla="*/ 877 h 877"/>
                  <a:gd name="T8" fmla="*/ 32 w 484"/>
                  <a:gd name="T9" fmla="*/ 836 h 877"/>
                  <a:gd name="T10" fmla="*/ 137 w 484"/>
                  <a:gd name="T11" fmla="*/ 238 h 877"/>
                  <a:gd name="T12" fmla="*/ 26 w 484"/>
                  <a:gd name="T13" fmla="*/ 238 h 877"/>
                  <a:gd name="T14" fmla="*/ 0 w 484"/>
                  <a:gd name="T15" fmla="*/ 7 h 8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877">
                    <a:moveTo>
                      <a:pt x="0" y="7"/>
                    </a:moveTo>
                    <a:cubicBezTo>
                      <a:pt x="291" y="2"/>
                      <a:pt x="291" y="2"/>
                      <a:pt x="291" y="2"/>
                    </a:cubicBezTo>
                    <a:cubicBezTo>
                      <a:pt x="403" y="0"/>
                      <a:pt x="484" y="107"/>
                      <a:pt x="452" y="214"/>
                    </a:cubicBezTo>
                    <a:cubicBezTo>
                      <a:pt x="254" y="877"/>
                      <a:pt x="254" y="877"/>
                      <a:pt x="254" y="877"/>
                    </a:cubicBezTo>
                    <a:cubicBezTo>
                      <a:pt x="32" y="836"/>
                      <a:pt x="32" y="836"/>
                      <a:pt x="32" y="836"/>
                    </a:cubicBezTo>
                    <a:cubicBezTo>
                      <a:pt x="137" y="238"/>
                      <a:pt x="137" y="238"/>
                      <a:pt x="137" y="238"/>
                    </a:cubicBezTo>
                    <a:cubicBezTo>
                      <a:pt x="26" y="238"/>
                      <a:pt x="26" y="238"/>
                      <a:pt x="26" y="238"/>
                    </a:cubicBezTo>
                    <a:lnTo>
                      <a:pt x="0" y="7"/>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1" name="Freeform 43">
                <a:extLst>
                  <a:ext uri="{FF2B5EF4-FFF2-40B4-BE49-F238E27FC236}">
                    <a16:creationId xmlns:a16="http://schemas.microsoft.com/office/drawing/2014/main" id="{F92BC247-4735-4D6E-8250-1C2434B44551}"/>
                  </a:ext>
                </a:extLst>
              </p:cNvPr>
              <p:cNvSpPr>
                <a:spLocks/>
              </p:cNvSpPr>
              <p:nvPr/>
            </p:nvSpPr>
            <p:spPr bwMode="auto">
              <a:xfrm>
                <a:off x="7105138" y="4117343"/>
                <a:ext cx="256974" cy="289438"/>
              </a:xfrm>
              <a:custGeom>
                <a:avLst/>
                <a:gdLst>
                  <a:gd name="T0" fmla="*/ 306 w 528"/>
                  <a:gd name="T1" fmla="*/ 13 h 596"/>
                  <a:gd name="T2" fmla="*/ 306 w 528"/>
                  <a:gd name="T3" fmla="*/ 13 h 596"/>
                  <a:gd name="T4" fmla="*/ 48 w 528"/>
                  <a:gd name="T5" fmla="*/ 216 h 596"/>
                  <a:gd name="T6" fmla="*/ 7 w 528"/>
                  <a:gd name="T7" fmla="*/ 249 h 596"/>
                  <a:gd name="T8" fmla="*/ 3 w 528"/>
                  <a:gd name="T9" fmla="*/ 291 h 596"/>
                  <a:gd name="T10" fmla="*/ 35 w 528"/>
                  <a:gd name="T11" fmla="*/ 348 h 596"/>
                  <a:gd name="T12" fmla="*/ 246 w 528"/>
                  <a:gd name="T13" fmla="*/ 577 h 596"/>
                  <a:gd name="T14" fmla="*/ 348 w 528"/>
                  <a:gd name="T15" fmla="*/ 588 h 596"/>
                  <a:gd name="T16" fmla="*/ 483 w 528"/>
                  <a:gd name="T17" fmla="*/ 454 h 596"/>
                  <a:gd name="T18" fmla="*/ 515 w 528"/>
                  <a:gd name="T19" fmla="*/ 272 h 596"/>
                  <a:gd name="T20" fmla="*/ 306 w 528"/>
                  <a:gd name="T21" fmla="*/ 13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8" h="596">
                    <a:moveTo>
                      <a:pt x="306" y="13"/>
                    </a:moveTo>
                    <a:cubicBezTo>
                      <a:pt x="306" y="13"/>
                      <a:pt x="306" y="13"/>
                      <a:pt x="306" y="13"/>
                    </a:cubicBezTo>
                    <a:cubicBezTo>
                      <a:pt x="179" y="0"/>
                      <a:pt x="65" y="90"/>
                      <a:pt x="48" y="216"/>
                    </a:cubicBezTo>
                    <a:cubicBezTo>
                      <a:pt x="27" y="214"/>
                      <a:pt x="9" y="229"/>
                      <a:pt x="7" y="249"/>
                    </a:cubicBezTo>
                    <a:cubicBezTo>
                      <a:pt x="3" y="291"/>
                      <a:pt x="3" y="291"/>
                      <a:pt x="3" y="291"/>
                    </a:cubicBezTo>
                    <a:cubicBezTo>
                      <a:pt x="0" y="315"/>
                      <a:pt x="14" y="338"/>
                      <a:pt x="35" y="348"/>
                    </a:cubicBezTo>
                    <a:cubicBezTo>
                      <a:pt x="38" y="465"/>
                      <a:pt x="126" y="564"/>
                      <a:pt x="246" y="577"/>
                    </a:cubicBezTo>
                    <a:cubicBezTo>
                      <a:pt x="348" y="588"/>
                      <a:pt x="348" y="588"/>
                      <a:pt x="348" y="588"/>
                    </a:cubicBezTo>
                    <a:cubicBezTo>
                      <a:pt x="421" y="596"/>
                      <a:pt x="476" y="527"/>
                      <a:pt x="483" y="454"/>
                    </a:cubicBezTo>
                    <a:cubicBezTo>
                      <a:pt x="515" y="272"/>
                      <a:pt x="515" y="272"/>
                      <a:pt x="515" y="272"/>
                    </a:cubicBezTo>
                    <a:cubicBezTo>
                      <a:pt x="528" y="143"/>
                      <a:pt x="435" y="27"/>
                      <a:pt x="306" y="13"/>
                    </a:cubicBez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2" name="Freeform 44">
                <a:extLst>
                  <a:ext uri="{FF2B5EF4-FFF2-40B4-BE49-F238E27FC236}">
                    <a16:creationId xmlns:a16="http://schemas.microsoft.com/office/drawing/2014/main" id="{8F5322C5-A4E0-4912-8914-B86E3080DA63}"/>
                  </a:ext>
                </a:extLst>
              </p:cNvPr>
              <p:cNvSpPr>
                <a:spLocks/>
              </p:cNvSpPr>
              <p:nvPr/>
            </p:nvSpPr>
            <p:spPr bwMode="auto">
              <a:xfrm>
                <a:off x="7279192" y="4164670"/>
                <a:ext cx="79400" cy="192437"/>
              </a:xfrm>
              <a:custGeom>
                <a:avLst/>
                <a:gdLst>
                  <a:gd name="T0" fmla="*/ 19 w 163"/>
                  <a:gd name="T1" fmla="*/ 42 h 396"/>
                  <a:gd name="T2" fmla="*/ 48 w 163"/>
                  <a:gd name="T3" fmla="*/ 161 h 396"/>
                  <a:gd name="T4" fmla="*/ 73 w 163"/>
                  <a:gd name="T5" fmla="*/ 237 h 396"/>
                  <a:gd name="T6" fmla="*/ 108 w 163"/>
                  <a:gd name="T7" fmla="*/ 293 h 396"/>
                  <a:gd name="T8" fmla="*/ 85 w 163"/>
                  <a:gd name="T9" fmla="*/ 330 h 396"/>
                  <a:gd name="T10" fmla="*/ 62 w 163"/>
                  <a:gd name="T11" fmla="*/ 327 h 396"/>
                  <a:gd name="T12" fmla="*/ 32 w 163"/>
                  <a:gd name="T13" fmla="*/ 351 h 396"/>
                  <a:gd name="T14" fmla="*/ 29 w 163"/>
                  <a:gd name="T15" fmla="*/ 386 h 396"/>
                  <a:gd name="T16" fmla="*/ 116 w 163"/>
                  <a:gd name="T17" fmla="*/ 396 h 396"/>
                  <a:gd name="T18" fmla="*/ 125 w 163"/>
                  <a:gd name="T19" fmla="*/ 356 h 396"/>
                  <a:gd name="T20" fmla="*/ 157 w 163"/>
                  <a:gd name="T21" fmla="*/ 174 h 396"/>
                  <a:gd name="T22" fmla="*/ 114 w 163"/>
                  <a:gd name="T23" fmla="*/ 12 h 396"/>
                  <a:gd name="T24" fmla="*/ 0 w 163"/>
                  <a:gd name="T25" fmla="*/ 0 h 396"/>
                  <a:gd name="T26" fmla="*/ 19 w 163"/>
                  <a:gd name="T27" fmla="*/ 4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396">
                    <a:moveTo>
                      <a:pt x="19" y="42"/>
                    </a:moveTo>
                    <a:cubicBezTo>
                      <a:pt x="35" y="80"/>
                      <a:pt x="45" y="120"/>
                      <a:pt x="48" y="161"/>
                    </a:cubicBezTo>
                    <a:cubicBezTo>
                      <a:pt x="49" y="188"/>
                      <a:pt x="58" y="214"/>
                      <a:pt x="73" y="237"/>
                    </a:cubicBezTo>
                    <a:cubicBezTo>
                      <a:pt x="108" y="293"/>
                      <a:pt x="108" y="293"/>
                      <a:pt x="108" y="293"/>
                    </a:cubicBezTo>
                    <a:cubicBezTo>
                      <a:pt x="119" y="310"/>
                      <a:pt x="105" y="332"/>
                      <a:pt x="85" y="330"/>
                    </a:cubicBezTo>
                    <a:cubicBezTo>
                      <a:pt x="62" y="327"/>
                      <a:pt x="62" y="327"/>
                      <a:pt x="62" y="327"/>
                    </a:cubicBezTo>
                    <a:cubicBezTo>
                      <a:pt x="47" y="326"/>
                      <a:pt x="34" y="336"/>
                      <a:pt x="32" y="351"/>
                    </a:cubicBezTo>
                    <a:cubicBezTo>
                      <a:pt x="29" y="386"/>
                      <a:pt x="29" y="386"/>
                      <a:pt x="29" y="386"/>
                    </a:cubicBezTo>
                    <a:cubicBezTo>
                      <a:pt x="116" y="396"/>
                      <a:pt x="116" y="396"/>
                      <a:pt x="116" y="396"/>
                    </a:cubicBezTo>
                    <a:cubicBezTo>
                      <a:pt x="121" y="383"/>
                      <a:pt x="124" y="370"/>
                      <a:pt x="125" y="356"/>
                    </a:cubicBezTo>
                    <a:cubicBezTo>
                      <a:pt x="157" y="174"/>
                      <a:pt x="157" y="174"/>
                      <a:pt x="157" y="174"/>
                    </a:cubicBezTo>
                    <a:cubicBezTo>
                      <a:pt x="163" y="114"/>
                      <a:pt x="146" y="57"/>
                      <a:pt x="114" y="12"/>
                    </a:cubicBezTo>
                    <a:cubicBezTo>
                      <a:pt x="0" y="0"/>
                      <a:pt x="0" y="0"/>
                      <a:pt x="0" y="0"/>
                    </a:cubicBezTo>
                    <a:lnTo>
                      <a:pt x="19" y="42"/>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3" name="Freeform 45">
                <a:extLst>
                  <a:ext uri="{FF2B5EF4-FFF2-40B4-BE49-F238E27FC236}">
                    <a16:creationId xmlns:a16="http://schemas.microsoft.com/office/drawing/2014/main" id="{685CA7F6-E66D-4312-BB40-1F95CE41280D}"/>
                  </a:ext>
                </a:extLst>
              </p:cNvPr>
              <p:cNvSpPr>
                <a:spLocks/>
              </p:cNvSpPr>
              <p:nvPr/>
            </p:nvSpPr>
            <p:spPr bwMode="auto">
              <a:xfrm>
                <a:off x="7119219" y="4105609"/>
                <a:ext cx="254236" cy="319164"/>
              </a:xfrm>
              <a:custGeom>
                <a:avLst/>
                <a:gdLst>
                  <a:gd name="T0" fmla="*/ 509 w 522"/>
                  <a:gd name="T1" fmla="*/ 87 h 657"/>
                  <a:gd name="T2" fmla="*/ 492 w 522"/>
                  <a:gd name="T3" fmla="*/ 56 h 657"/>
                  <a:gd name="T4" fmla="*/ 475 w 522"/>
                  <a:gd name="T5" fmla="*/ 101 h 657"/>
                  <a:gd name="T6" fmla="*/ 432 w 522"/>
                  <a:gd name="T7" fmla="*/ 23 h 657"/>
                  <a:gd name="T8" fmla="*/ 425 w 522"/>
                  <a:gd name="T9" fmla="*/ 17 h 657"/>
                  <a:gd name="T10" fmla="*/ 390 w 522"/>
                  <a:gd name="T11" fmla="*/ 53 h 657"/>
                  <a:gd name="T12" fmla="*/ 269 w 522"/>
                  <a:gd name="T13" fmla="*/ 16 h 657"/>
                  <a:gd name="T14" fmla="*/ 114 w 522"/>
                  <a:gd name="T15" fmla="*/ 34 h 657"/>
                  <a:gd name="T16" fmla="*/ 17 w 522"/>
                  <a:gd name="T17" fmla="*/ 183 h 657"/>
                  <a:gd name="T18" fmla="*/ 10 w 522"/>
                  <a:gd name="T19" fmla="*/ 240 h 657"/>
                  <a:gd name="T20" fmla="*/ 19 w 522"/>
                  <a:gd name="T21" fmla="*/ 240 h 657"/>
                  <a:gd name="T22" fmla="*/ 53 w 522"/>
                  <a:gd name="T23" fmla="*/ 281 h 657"/>
                  <a:gd name="T24" fmla="*/ 44 w 522"/>
                  <a:gd name="T25" fmla="*/ 369 h 657"/>
                  <a:gd name="T26" fmla="*/ 33 w 522"/>
                  <a:gd name="T27" fmla="*/ 378 h 657"/>
                  <a:gd name="T28" fmla="*/ 24 w 522"/>
                  <a:gd name="T29" fmla="*/ 377 h 657"/>
                  <a:gd name="T30" fmla="*/ 0 w 522"/>
                  <a:gd name="T31" fmla="*/ 368 h 657"/>
                  <a:gd name="T32" fmla="*/ 1 w 522"/>
                  <a:gd name="T33" fmla="*/ 403 h 657"/>
                  <a:gd name="T34" fmla="*/ 370 w 522"/>
                  <a:gd name="T35" fmla="*/ 652 h 657"/>
                  <a:gd name="T36" fmla="*/ 449 w 522"/>
                  <a:gd name="T37" fmla="*/ 590 h 657"/>
                  <a:gd name="T38" fmla="*/ 447 w 522"/>
                  <a:gd name="T39" fmla="*/ 472 h 657"/>
                  <a:gd name="T40" fmla="*/ 378 w 522"/>
                  <a:gd name="T41" fmla="*/ 464 h 657"/>
                  <a:gd name="T42" fmla="*/ 375 w 522"/>
                  <a:gd name="T43" fmla="*/ 465 h 657"/>
                  <a:gd name="T44" fmla="*/ 235 w 522"/>
                  <a:gd name="T45" fmla="*/ 428 h 657"/>
                  <a:gd name="T46" fmla="*/ 141 w 522"/>
                  <a:gd name="T47" fmla="*/ 436 h 657"/>
                  <a:gd name="T48" fmla="*/ 75 w 522"/>
                  <a:gd name="T49" fmla="*/ 453 h 657"/>
                  <a:gd name="T50" fmla="*/ 85 w 522"/>
                  <a:gd name="T51" fmla="*/ 411 h 657"/>
                  <a:gd name="T52" fmla="*/ 98 w 522"/>
                  <a:gd name="T53" fmla="*/ 293 h 657"/>
                  <a:gd name="T54" fmla="*/ 97 w 522"/>
                  <a:gd name="T55" fmla="*/ 244 h 657"/>
                  <a:gd name="T56" fmla="*/ 115 w 522"/>
                  <a:gd name="T57" fmla="*/ 233 h 657"/>
                  <a:gd name="T58" fmla="*/ 157 w 522"/>
                  <a:gd name="T59" fmla="*/ 168 h 657"/>
                  <a:gd name="T60" fmla="*/ 160 w 522"/>
                  <a:gd name="T61" fmla="*/ 140 h 657"/>
                  <a:gd name="T62" fmla="*/ 345 w 522"/>
                  <a:gd name="T63" fmla="*/ 187 h 657"/>
                  <a:gd name="T64" fmla="*/ 454 w 522"/>
                  <a:gd name="T65" fmla="*/ 187 h 657"/>
                  <a:gd name="T66" fmla="*/ 483 w 522"/>
                  <a:gd name="T67" fmla="*/ 172 h 657"/>
                  <a:gd name="T68" fmla="*/ 495 w 522"/>
                  <a:gd name="T69" fmla="*/ 162 h 657"/>
                  <a:gd name="T70" fmla="*/ 509 w 522"/>
                  <a:gd name="T71" fmla="*/ 8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2" h="657">
                    <a:moveTo>
                      <a:pt x="509" y="87"/>
                    </a:moveTo>
                    <a:cubicBezTo>
                      <a:pt x="492" y="56"/>
                      <a:pt x="492" y="56"/>
                      <a:pt x="492" y="56"/>
                    </a:cubicBezTo>
                    <a:cubicBezTo>
                      <a:pt x="475" y="101"/>
                      <a:pt x="475" y="101"/>
                      <a:pt x="475" y="101"/>
                    </a:cubicBezTo>
                    <a:cubicBezTo>
                      <a:pt x="470" y="71"/>
                      <a:pt x="455" y="43"/>
                      <a:pt x="432" y="23"/>
                    </a:cubicBezTo>
                    <a:cubicBezTo>
                      <a:pt x="425" y="17"/>
                      <a:pt x="425" y="17"/>
                      <a:pt x="425" y="17"/>
                    </a:cubicBezTo>
                    <a:cubicBezTo>
                      <a:pt x="390" y="53"/>
                      <a:pt x="390" y="53"/>
                      <a:pt x="390" y="53"/>
                    </a:cubicBezTo>
                    <a:cubicBezTo>
                      <a:pt x="269" y="16"/>
                      <a:pt x="269" y="16"/>
                      <a:pt x="269" y="16"/>
                    </a:cubicBezTo>
                    <a:cubicBezTo>
                      <a:pt x="217" y="0"/>
                      <a:pt x="161" y="7"/>
                      <a:pt x="114" y="34"/>
                    </a:cubicBezTo>
                    <a:cubicBezTo>
                      <a:pt x="60" y="65"/>
                      <a:pt x="23" y="120"/>
                      <a:pt x="17" y="183"/>
                    </a:cubicBezTo>
                    <a:cubicBezTo>
                      <a:pt x="10" y="240"/>
                      <a:pt x="10" y="240"/>
                      <a:pt x="10" y="240"/>
                    </a:cubicBezTo>
                    <a:cubicBezTo>
                      <a:pt x="13" y="240"/>
                      <a:pt x="16" y="240"/>
                      <a:pt x="19" y="240"/>
                    </a:cubicBezTo>
                    <a:cubicBezTo>
                      <a:pt x="40" y="242"/>
                      <a:pt x="55" y="261"/>
                      <a:pt x="53" y="281"/>
                    </a:cubicBezTo>
                    <a:cubicBezTo>
                      <a:pt x="44" y="369"/>
                      <a:pt x="44" y="369"/>
                      <a:pt x="44" y="369"/>
                    </a:cubicBezTo>
                    <a:cubicBezTo>
                      <a:pt x="43" y="375"/>
                      <a:pt x="38" y="378"/>
                      <a:pt x="33" y="378"/>
                    </a:cubicBezTo>
                    <a:cubicBezTo>
                      <a:pt x="24" y="377"/>
                      <a:pt x="24" y="377"/>
                      <a:pt x="24" y="377"/>
                    </a:cubicBezTo>
                    <a:cubicBezTo>
                      <a:pt x="15" y="376"/>
                      <a:pt x="7" y="373"/>
                      <a:pt x="0" y="368"/>
                    </a:cubicBezTo>
                    <a:cubicBezTo>
                      <a:pt x="1" y="403"/>
                      <a:pt x="1" y="403"/>
                      <a:pt x="1" y="403"/>
                    </a:cubicBezTo>
                    <a:cubicBezTo>
                      <a:pt x="8" y="593"/>
                      <a:pt x="250" y="641"/>
                      <a:pt x="370" y="652"/>
                    </a:cubicBezTo>
                    <a:cubicBezTo>
                      <a:pt x="412" y="657"/>
                      <a:pt x="437" y="630"/>
                      <a:pt x="449" y="590"/>
                    </a:cubicBezTo>
                    <a:cubicBezTo>
                      <a:pt x="459" y="556"/>
                      <a:pt x="460" y="485"/>
                      <a:pt x="447" y="472"/>
                    </a:cubicBezTo>
                    <a:cubicBezTo>
                      <a:pt x="431" y="455"/>
                      <a:pt x="400" y="456"/>
                      <a:pt x="378" y="464"/>
                    </a:cubicBezTo>
                    <a:cubicBezTo>
                      <a:pt x="375" y="465"/>
                      <a:pt x="375" y="465"/>
                      <a:pt x="375" y="465"/>
                    </a:cubicBezTo>
                    <a:cubicBezTo>
                      <a:pt x="333" y="438"/>
                      <a:pt x="284" y="425"/>
                      <a:pt x="235" y="428"/>
                    </a:cubicBezTo>
                    <a:cubicBezTo>
                      <a:pt x="196" y="430"/>
                      <a:pt x="154" y="433"/>
                      <a:pt x="141" y="436"/>
                    </a:cubicBezTo>
                    <a:cubicBezTo>
                      <a:pt x="75" y="453"/>
                      <a:pt x="75" y="453"/>
                      <a:pt x="75" y="453"/>
                    </a:cubicBezTo>
                    <a:cubicBezTo>
                      <a:pt x="85" y="411"/>
                      <a:pt x="85" y="411"/>
                      <a:pt x="85" y="411"/>
                    </a:cubicBezTo>
                    <a:cubicBezTo>
                      <a:pt x="94" y="373"/>
                      <a:pt x="99" y="333"/>
                      <a:pt x="98" y="293"/>
                    </a:cubicBezTo>
                    <a:cubicBezTo>
                      <a:pt x="97" y="244"/>
                      <a:pt x="97" y="244"/>
                      <a:pt x="97" y="244"/>
                    </a:cubicBezTo>
                    <a:cubicBezTo>
                      <a:pt x="115" y="233"/>
                      <a:pt x="115" y="233"/>
                      <a:pt x="115" y="233"/>
                    </a:cubicBezTo>
                    <a:cubicBezTo>
                      <a:pt x="138" y="219"/>
                      <a:pt x="154" y="195"/>
                      <a:pt x="157" y="168"/>
                    </a:cubicBezTo>
                    <a:cubicBezTo>
                      <a:pt x="160" y="140"/>
                      <a:pt x="160" y="140"/>
                      <a:pt x="160" y="140"/>
                    </a:cubicBezTo>
                    <a:cubicBezTo>
                      <a:pt x="345" y="187"/>
                      <a:pt x="345" y="187"/>
                      <a:pt x="345" y="187"/>
                    </a:cubicBezTo>
                    <a:cubicBezTo>
                      <a:pt x="380" y="196"/>
                      <a:pt x="418" y="196"/>
                      <a:pt x="454" y="187"/>
                    </a:cubicBezTo>
                    <a:cubicBezTo>
                      <a:pt x="464" y="185"/>
                      <a:pt x="474" y="180"/>
                      <a:pt x="483" y="172"/>
                    </a:cubicBezTo>
                    <a:cubicBezTo>
                      <a:pt x="495" y="162"/>
                      <a:pt x="495" y="162"/>
                      <a:pt x="495" y="162"/>
                    </a:cubicBezTo>
                    <a:cubicBezTo>
                      <a:pt x="516" y="143"/>
                      <a:pt x="522" y="112"/>
                      <a:pt x="509" y="8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4" name="Freeform 46">
                <a:extLst>
                  <a:ext uri="{FF2B5EF4-FFF2-40B4-BE49-F238E27FC236}">
                    <a16:creationId xmlns:a16="http://schemas.microsoft.com/office/drawing/2014/main" id="{3C98C7DC-DB6D-4111-A4BC-787A9240CC48}"/>
                  </a:ext>
                </a:extLst>
              </p:cNvPr>
              <p:cNvSpPr>
                <a:spLocks/>
              </p:cNvSpPr>
              <p:nvPr/>
            </p:nvSpPr>
            <p:spPr bwMode="auto">
              <a:xfrm>
                <a:off x="7238905" y="4255413"/>
                <a:ext cx="19166" cy="18383"/>
              </a:xfrm>
              <a:custGeom>
                <a:avLst/>
                <a:gdLst>
                  <a:gd name="T0" fmla="*/ 38 w 39"/>
                  <a:gd name="T1" fmla="*/ 21 h 38"/>
                  <a:gd name="T2" fmla="*/ 18 w 39"/>
                  <a:gd name="T3" fmla="*/ 37 h 38"/>
                  <a:gd name="T4" fmla="*/ 1 w 39"/>
                  <a:gd name="T5" fmla="*/ 17 h 38"/>
                  <a:gd name="T6" fmla="*/ 22 w 39"/>
                  <a:gd name="T7" fmla="*/ 1 h 38"/>
                  <a:gd name="T8" fmla="*/ 38 w 39"/>
                  <a:gd name="T9" fmla="*/ 21 h 38"/>
                </a:gdLst>
                <a:ahLst/>
                <a:cxnLst>
                  <a:cxn ang="0">
                    <a:pos x="T0" y="T1"/>
                  </a:cxn>
                  <a:cxn ang="0">
                    <a:pos x="T2" y="T3"/>
                  </a:cxn>
                  <a:cxn ang="0">
                    <a:pos x="T4" y="T5"/>
                  </a:cxn>
                  <a:cxn ang="0">
                    <a:pos x="T6" y="T7"/>
                  </a:cxn>
                  <a:cxn ang="0">
                    <a:pos x="T8" y="T9"/>
                  </a:cxn>
                </a:cxnLst>
                <a:rect l="0" t="0" r="r" b="b"/>
                <a:pathLst>
                  <a:path w="39" h="38">
                    <a:moveTo>
                      <a:pt x="38" y="21"/>
                    </a:moveTo>
                    <a:cubicBezTo>
                      <a:pt x="37" y="31"/>
                      <a:pt x="28" y="38"/>
                      <a:pt x="18" y="37"/>
                    </a:cubicBezTo>
                    <a:cubicBezTo>
                      <a:pt x="8" y="36"/>
                      <a:pt x="0" y="27"/>
                      <a:pt x="1" y="17"/>
                    </a:cubicBezTo>
                    <a:cubicBezTo>
                      <a:pt x="3" y="7"/>
                      <a:pt x="12" y="0"/>
                      <a:pt x="22" y="1"/>
                    </a:cubicBezTo>
                    <a:cubicBezTo>
                      <a:pt x="32" y="2"/>
                      <a:pt x="39" y="11"/>
                      <a:pt x="38"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5" name="Freeform 47">
                <a:extLst>
                  <a:ext uri="{FF2B5EF4-FFF2-40B4-BE49-F238E27FC236}">
                    <a16:creationId xmlns:a16="http://schemas.microsoft.com/office/drawing/2014/main" id="{A1D9CF7F-4FF7-476B-AFD0-B0F3822A20C2}"/>
                  </a:ext>
                </a:extLst>
              </p:cNvPr>
              <p:cNvSpPr>
                <a:spLocks/>
              </p:cNvSpPr>
              <p:nvPr/>
            </p:nvSpPr>
            <p:spPr bwMode="auto">
              <a:xfrm>
                <a:off x="7331604" y="4264800"/>
                <a:ext cx="18383" cy="19166"/>
              </a:xfrm>
              <a:custGeom>
                <a:avLst/>
                <a:gdLst>
                  <a:gd name="T0" fmla="*/ 37 w 38"/>
                  <a:gd name="T1" fmla="*/ 21 h 39"/>
                  <a:gd name="T2" fmla="*/ 17 w 38"/>
                  <a:gd name="T3" fmla="*/ 38 h 39"/>
                  <a:gd name="T4" fmla="*/ 1 w 38"/>
                  <a:gd name="T5" fmla="*/ 17 h 39"/>
                  <a:gd name="T6" fmla="*/ 21 w 38"/>
                  <a:gd name="T7" fmla="*/ 1 h 39"/>
                  <a:gd name="T8" fmla="*/ 37 w 38"/>
                  <a:gd name="T9" fmla="*/ 21 h 39"/>
                </a:gdLst>
                <a:ahLst/>
                <a:cxnLst>
                  <a:cxn ang="0">
                    <a:pos x="T0" y="T1"/>
                  </a:cxn>
                  <a:cxn ang="0">
                    <a:pos x="T2" y="T3"/>
                  </a:cxn>
                  <a:cxn ang="0">
                    <a:pos x="T4" y="T5"/>
                  </a:cxn>
                  <a:cxn ang="0">
                    <a:pos x="T6" y="T7"/>
                  </a:cxn>
                  <a:cxn ang="0">
                    <a:pos x="T8" y="T9"/>
                  </a:cxn>
                </a:cxnLst>
                <a:rect l="0" t="0" r="r" b="b"/>
                <a:pathLst>
                  <a:path w="38" h="39">
                    <a:moveTo>
                      <a:pt x="37" y="21"/>
                    </a:moveTo>
                    <a:cubicBezTo>
                      <a:pt x="36" y="31"/>
                      <a:pt x="27" y="39"/>
                      <a:pt x="17" y="38"/>
                    </a:cubicBezTo>
                    <a:cubicBezTo>
                      <a:pt x="7" y="36"/>
                      <a:pt x="0" y="27"/>
                      <a:pt x="1" y="17"/>
                    </a:cubicBezTo>
                    <a:cubicBezTo>
                      <a:pt x="2" y="7"/>
                      <a:pt x="11" y="0"/>
                      <a:pt x="21" y="1"/>
                    </a:cubicBezTo>
                    <a:cubicBezTo>
                      <a:pt x="31" y="2"/>
                      <a:pt x="38" y="11"/>
                      <a:pt x="37"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6" name="Freeform 48">
                <a:extLst>
                  <a:ext uri="{FF2B5EF4-FFF2-40B4-BE49-F238E27FC236}">
                    <a16:creationId xmlns:a16="http://schemas.microsoft.com/office/drawing/2014/main" id="{3032DE72-3495-445E-AC87-221C3134FDDD}"/>
                  </a:ext>
                </a:extLst>
              </p:cNvPr>
              <p:cNvSpPr>
                <a:spLocks/>
              </p:cNvSpPr>
              <p:nvPr/>
            </p:nvSpPr>
            <p:spPr bwMode="auto">
              <a:xfrm>
                <a:off x="7265111" y="4342635"/>
                <a:ext cx="53194" cy="21121"/>
              </a:xfrm>
              <a:custGeom>
                <a:avLst/>
                <a:gdLst>
                  <a:gd name="T0" fmla="*/ 93 w 109"/>
                  <a:gd name="T1" fmla="*/ 42 h 43"/>
                  <a:gd name="T2" fmla="*/ 12 w 109"/>
                  <a:gd name="T3" fmla="*/ 33 h 43"/>
                  <a:gd name="T4" fmla="*/ 0 w 109"/>
                  <a:gd name="T5" fmla="*/ 19 h 43"/>
                  <a:gd name="T6" fmla="*/ 2 w 109"/>
                  <a:gd name="T7" fmla="*/ 0 h 43"/>
                  <a:gd name="T8" fmla="*/ 109 w 109"/>
                  <a:gd name="T9" fmla="*/ 11 h 43"/>
                  <a:gd name="T10" fmla="*/ 107 w 109"/>
                  <a:gd name="T11" fmla="*/ 31 h 43"/>
                  <a:gd name="T12" fmla="*/ 93 w 109"/>
                  <a:gd name="T13" fmla="*/ 42 h 43"/>
                </a:gdLst>
                <a:ahLst/>
                <a:cxnLst>
                  <a:cxn ang="0">
                    <a:pos x="T0" y="T1"/>
                  </a:cxn>
                  <a:cxn ang="0">
                    <a:pos x="T2" y="T3"/>
                  </a:cxn>
                  <a:cxn ang="0">
                    <a:pos x="T4" y="T5"/>
                  </a:cxn>
                  <a:cxn ang="0">
                    <a:pos x="T6" y="T7"/>
                  </a:cxn>
                  <a:cxn ang="0">
                    <a:pos x="T8" y="T9"/>
                  </a:cxn>
                  <a:cxn ang="0">
                    <a:pos x="T10" y="T11"/>
                  </a:cxn>
                  <a:cxn ang="0">
                    <a:pos x="T12" y="T13"/>
                  </a:cxn>
                </a:cxnLst>
                <a:rect l="0" t="0" r="r" b="b"/>
                <a:pathLst>
                  <a:path w="109" h="43">
                    <a:moveTo>
                      <a:pt x="93" y="42"/>
                    </a:moveTo>
                    <a:cubicBezTo>
                      <a:pt x="12" y="33"/>
                      <a:pt x="12" y="33"/>
                      <a:pt x="12" y="33"/>
                    </a:cubicBezTo>
                    <a:cubicBezTo>
                      <a:pt x="5" y="32"/>
                      <a:pt x="0" y="26"/>
                      <a:pt x="0" y="19"/>
                    </a:cubicBezTo>
                    <a:cubicBezTo>
                      <a:pt x="2" y="0"/>
                      <a:pt x="2" y="0"/>
                      <a:pt x="2" y="0"/>
                    </a:cubicBezTo>
                    <a:cubicBezTo>
                      <a:pt x="109" y="11"/>
                      <a:pt x="109" y="11"/>
                      <a:pt x="109" y="11"/>
                    </a:cubicBezTo>
                    <a:cubicBezTo>
                      <a:pt x="107" y="31"/>
                      <a:pt x="107" y="31"/>
                      <a:pt x="107" y="31"/>
                    </a:cubicBezTo>
                    <a:cubicBezTo>
                      <a:pt x="107" y="38"/>
                      <a:pt x="100" y="43"/>
                      <a:pt x="93"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7" name="Freeform 49">
                <a:extLst>
                  <a:ext uri="{FF2B5EF4-FFF2-40B4-BE49-F238E27FC236}">
                    <a16:creationId xmlns:a16="http://schemas.microsoft.com/office/drawing/2014/main" id="{6103BFD8-0D49-41CE-88F1-C748C81D27E3}"/>
                  </a:ext>
                </a:extLst>
              </p:cNvPr>
              <p:cNvSpPr>
                <a:spLocks noEditPoints="1"/>
              </p:cNvSpPr>
              <p:nvPr/>
            </p:nvSpPr>
            <p:spPr bwMode="auto">
              <a:xfrm>
                <a:off x="7142296" y="4229989"/>
                <a:ext cx="232333" cy="74706"/>
              </a:xfrm>
              <a:custGeom>
                <a:avLst/>
                <a:gdLst>
                  <a:gd name="T0" fmla="*/ 450 w 478"/>
                  <a:gd name="T1" fmla="*/ 48 h 154"/>
                  <a:gd name="T2" fmla="*/ 376 w 478"/>
                  <a:gd name="T3" fmla="*/ 40 h 154"/>
                  <a:gd name="T4" fmla="*/ 376 w 478"/>
                  <a:gd name="T5" fmla="*/ 40 h 154"/>
                  <a:gd name="T6" fmla="*/ 260 w 478"/>
                  <a:gd name="T7" fmla="*/ 28 h 154"/>
                  <a:gd name="T8" fmla="*/ 159 w 478"/>
                  <a:gd name="T9" fmla="*/ 17 h 154"/>
                  <a:gd name="T10" fmla="*/ 0 w 478"/>
                  <a:gd name="T11" fmla="*/ 0 h 154"/>
                  <a:gd name="T12" fmla="*/ 5 w 478"/>
                  <a:gd name="T13" fmla="*/ 13 h 154"/>
                  <a:gd name="T14" fmla="*/ 134 w 478"/>
                  <a:gd name="T15" fmla="*/ 27 h 154"/>
                  <a:gd name="T16" fmla="*/ 127 w 478"/>
                  <a:gd name="T17" fmla="*/ 43 h 154"/>
                  <a:gd name="T18" fmla="*/ 122 w 478"/>
                  <a:gd name="T19" fmla="*/ 91 h 154"/>
                  <a:gd name="T20" fmla="*/ 148 w 478"/>
                  <a:gd name="T21" fmla="*/ 123 h 154"/>
                  <a:gd name="T22" fmla="*/ 248 w 478"/>
                  <a:gd name="T23" fmla="*/ 134 h 154"/>
                  <a:gd name="T24" fmla="*/ 252 w 478"/>
                  <a:gd name="T25" fmla="*/ 134 h 154"/>
                  <a:gd name="T26" fmla="*/ 281 w 478"/>
                  <a:gd name="T27" fmla="*/ 108 h 154"/>
                  <a:gd name="T28" fmla="*/ 286 w 478"/>
                  <a:gd name="T29" fmla="*/ 60 h 154"/>
                  <a:gd name="T30" fmla="*/ 282 w 478"/>
                  <a:gd name="T31" fmla="*/ 43 h 154"/>
                  <a:gd name="T32" fmla="*/ 351 w 478"/>
                  <a:gd name="T33" fmla="*/ 50 h 154"/>
                  <a:gd name="T34" fmla="*/ 344 w 478"/>
                  <a:gd name="T35" fmla="*/ 66 h 154"/>
                  <a:gd name="T36" fmla="*/ 342 w 478"/>
                  <a:gd name="T37" fmla="*/ 80 h 154"/>
                  <a:gd name="T38" fmla="*/ 353 w 478"/>
                  <a:gd name="T39" fmla="*/ 100 h 154"/>
                  <a:gd name="T40" fmla="*/ 356 w 478"/>
                  <a:gd name="T41" fmla="*/ 67 h 154"/>
                  <a:gd name="T42" fmla="*/ 362 w 478"/>
                  <a:gd name="T43" fmla="*/ 56 h 154"/>
                  <a:gd name="T44" fmla="*/ 375 w 478"/>
                  <a:gd name="T45" fmla="*/ 52 h 154"/>
                  <a:gd name="T46" fmla="*/ 449 w 478"/>
                  <a:gd name="T47" fmla="*/ 60 h 154"/>
                  <a:gd name="T48" fmla="*/ 464 w 478"/>
                  <a:gd name="T49" fmla="*/ 79 h 154"/>
                  <a:gd name="T50" fmla="*/ 459 w 478"/>
                  <a:gd name="T51" fmla="*/ 127 h 154"/>
                  <a:gd name="T52" fmla="*/ 440 w 478"/>
                  <a:gd name="T53" fmla="*/ 142 h 154"/>
                  <a:gd name="T54" fmla="*/ 374 w 478"/>
                  <a:gd name="T55" fmla="*/ 135 h 154"/>
                  <a:gd name="T56" fmla="*/ 384 w 478"/>
                  <a:gd name="T57" fmla="*/ 148 h 154"/>
                  <a:gd name="T58" fmla="*/ 439 w 478"/>
                  <a:gd name="T59" fmla="*/ 154 h 154"/>
                  <a:gd name="T60" fmla="*/ 442 w 478"/>
                  <a:gd name="T61" fmla="*/ 154 h 154"/>
                  <a:gd name="T62" fmla="*/ 471 w 478"/>
                  <a:gd name="T63" fmla="*/ 128 h 154"/>
                  <a:gd name="T64" fmla="*/ 476 w 478"/>
                  <a:gd name="T65" fmla="*/ 80 h 154"/>
                  <a:gd name="T66" fmla="*/ 450 w 478"/>
                  <a:gd name="T67" fmla="*/ 48 h 154"/>
                  <a:gd name="T68" fmla="*/ 273 w 478"/>
                  <a:gd name="T69" fmla="*/ 59 h 154"/>
                  <a:gd name="T70" fmla="*/ 268 w 478"/>
                  <a:gd name="T71" fmla="*/ 107 h 154"/>
                  <a:gd name="T72" fmla="*/ 250 w 478"/>
                  <a:gd name="T73" fmla="*/ 121 h 154"/>
                  <a:gd name="T74" fmla="*/ 149 w 478"/>
                  <a:gd name="T75" fmla="*/ 111 h 154"/>
                  <a:gd name="T76" fmla="*/ 134 w 478"/>
                  <a:gd name="T77" fmla="*/ 92 h 154"/>
                  <a:gd name="T78" fmla="*/ 139 w 478"/>
                  <a:gd name="T79" fmla="*/ 44 h 154"/>
                  <a:gd name="T80" fmla="*/ 158 w 478"/>
                  <a:gd name="T81" fmla="*/ 29 h 154"/>
                  <a:gd name="T82" fmla="*/ 258 w 478"/>
                  <a:gd name="T83" fmla="*/ 40 h 154"/>
                  <a:gd name="T84" fmla="*/ 273 w 478"/>
                  <a:gd name="T85" fmla="*/ 5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8" h="154">
                    <a:moveTo>
                      <a:pt x="450" y="48"/>
                    </a:moveTo>
                    <a:cubicBezTo>
                      <a:pt x="376" y="40"/>
                      <a:pt x="376" y="40"/>
                      <a:pt x="376" y="40"/>
                    </a:cubicBezTo>
                    <a:cubicBezTo>
                      <a:pt x="376" y="40"/>
                      <a:pt x="376" y="40"/>
                      <a:pt x="376" y="40"/>
                    </a:cubicBezTo>
                    <a:cubicBezTo>
                      <a:pt x="260" y="28"/>
                      <a:pt x="260" y="28"/>
                      <a:pt x="260" y="28"/>
                    </a:cubicBezTo>
                    <a:cubicBezTo>
                      <a:pt x="159" y="17"/>
                      <a:pt x="159" y="17"/>
                      <a:pt x="159" y="17"/>
                    </a:cubicBezTo>
                    <a:cubicBezTo>
                      <a:pt x="0" y="0"/>
                      <a:pt x="0" y="0"/>
                      <a:pt x="0" y="0"/>
                    </a:cubicBezTo>
                    <a:cubicBezTo>
                      <a:pt x="5" y="13"/>
                      <a:pt x="5" y="13"/>
                      <a:pt x="5" y="13"/>
                    </a:cubicBezTo>
                    <a:cubicBezTo>
                      <a:pt x="134" y="27"/>
                      <a:pt x="134" y="27"/>
                      <a:pt x="134" y="27"/>
                    </a:cubicBezTo>
                    <a:cubicBezTo>
                      <a:pt x="130" y="31"/>
                      <a:pt x="128" y="37"/>
                      <a:pt x="127" y="43"/>
                    </a:cubicBezTo>
                    <a:cubicBezTo>
                      <a:pt x="122" y="91"/>
                      <a:pt x="122" y="91"/>
                      <a:pt x="122" y="91"/>
                    </a:cubicBezTo>
                    <a:cubicBezTo>
                      <a:pt x="120" y="107"/>
                      <a:pt x="132" y="121"/>
                      <a:pt x="148" y="123"/>
                    </a:cubicBezTo>
                    <a:cubicBezTo>
                      <a:pt x="248" y="134"/>
                      <a:pt x="248" y="134"/>
                      <a:pt x="248" y="134"/>
                    </a:cubicBezTo>
                    <a:cubicBezTo>
                      <a:pt x="249" y="134"/>
                      <a:pt x="251" y="134"/>
                      <a:pt x="252" y="134"/>
                    </a:cubicBezTo>
                    <a:cubicBezTo>
                      <a:pt x="266" y="134"/>
                      <a:pt x="279" y="123"/>
                      <a:pt x="281" y="108"/>
                    </a:cubicBezTo>
                    <a:cubicBezTo>
                      <a:pt x="286" y="60"/>
                      <a:pt x="286" y="60"/>
                      <a:pt x="286" y="60"/>
                    </a:cubicBezTo>
                    <a:cubicBezTo>
                      <a:pt x="286" y="54"/>
                      <a:pt x="285" y="48"/>
                      <a:pt x="282" y="43"/>
                    </a:cubicBezTo>
                    <a:cubicBezTo>
                      <a:pt x="351" y="50"/>
                      <a:pt x="351" y="50"/>
                      <a:pt x="351" y="50"/>
                    </a:cubicBezTo>
                    <a:cubicBezTo>
                      <a:pt x="347" y="54"/>
                      <a:pt x="344" y="60"/>
                      <a:pt x="344" y="66"/>
                    </a:cubicBezTo>
                    <a:cubicBezTo>
                      <a:pt x="342" y="80"/>
                      <a:pt x="342" y="80"/>
                      <a:pt x="342" y="80"/>
                    </a:cubicBezTo>
                    <a:cubicBezTo>
                      <a:pt x="353" y="100"/>
                      <a:pt x="353" y="100"/>
                      <a:pt x="353" y="100"/>
                    </a:cubicBezTo>
                    <a:cubicBezTo>
                      <a:pt x="356" y="67"/>
                      <a:pt x="356" y="67"/>
                      <a:pt x="356" y="67"/>
                    </a:cubicBezTo>
                    <a:cubicBezTo>
                      <a:pt x="357" y="63"/>
                      <a:pt x="359" y="59"/>
                      <a:pt x="362" y="56"/>
                    </a:cubicBezTo>
                    <a:cubicBezTo>
                      <a:pt x="366" y="53"/>
                      <a:pt x="370" y="52"/>
                      <a:pt x="375" y="52"/>
                    </a:cubicBezTo>
                    <a:cubicBezTo>
                      <a:pt x="449" y="60"/>
                      <a:pt x="449" y="60"/>
                      <a:pt x="449" y="60"/>
                    </a:cubicBezTo>
                    <a:cubicBezTo>
                      <a:pt x="458" y="61"/>
                      <a:pt x="465" y="70"/>
                      <a:pt x="464" y="79"/>
                    </a:cubicBezTo>
                    <a:cubicBezTo>
                      <a:pt x="459" y="127"/>
                      <a:pt x="459" y="127"/>
                      <a:pt x="459" y="127"/>
                    </a:cubicBezTo>
                    <a:cubicBezTo>
                      <a:pt x="458" y="136"/>
                      <a:pt x="449" y="143"/>
                      <a:pt x="440" y="142"/>
                    </a:cubicBezTo>
                    <a:cubicBezTo>
                      <a:pt x="374" y="135"/>
                      <a:pt x="374" y="135"/>
                      <a:pt x="374" y="135"/>
                    </a:cubicBezTo>
                    <a:cubicBezTo>
                      <a:pt x="384" y="148"/>
                      <a:pt x="384" y="148"/>
                      <a:pt x="384" y="148"/>
                    </a:cubicBezTo>
                    <a:cubicBezTo>
                      <a:pt x="439" y="154"/>
                      <a:pt x="439" y="154"/>
                      <a:pt x="439" y="154"/>
                    </a:cubicBezTo>
                    <a:cubicBezTo>
                      <a:pt x="440" y="154"/>
                      <a:pt x="441" y="154"/>
                      <a:pt x="442" y="154"/>
                    </a:cubicBezTo>
                    <a:cubicBezTo>
                      <a:pt x="457" y="154"/>
                      <a:pt x="469" y="143"/>
                      <a:pt x="471" y="128"/>
                    </a:cubicBezTo>
                    <a:cubicBezTo>
                      <a:pt x="476" y="80"/>
                      <a:pt x="476" y="80"/>
                      <a:pt x="476" y="80"/>
                    </a:cubicBezTo>
                    <a:cubicBezTo>
                      <a:pt x="478" y="64"/>
                      <a:pt x="466" y="50"/>
                      <a:pt x="450" y="48"/>
                    </a:cubicBezTo>
                    <a:close/>
                    <a:moveTo>
                      <a:pt x="273" y="59"/>
                    </a:moveTo>
                    <a:cubicBezTo>
                      <a:pt x="268" y="107"/>
                      <a:pt x="268" y="107"/>
                      <a:pt x="268" y="107"/>
                    </a:cubicBezTo>
                    <a:cubicBezTo>
                      <a:pt x="267" y="116"/>
                      <a:pt x="259" y="122"/>
                      <a:pt x="250" y="121"/>
                    </a:cubicBezTo>
                    <a:cubicBezTo>
                      <a:pt x="149" y="111"/>
                      <a:pt x="149" y="111"/>
                      <a:pt x="149" y="111"/>
                    </a:cubicBezTo>
                    <a:cubicBezTo>
                      <a:pt x="140" y="110"/>
                      <a:pt x="133" y="101"/>
                      <a:pt x="134" y="92"/>
                    </a:cubicBezTo>
                    <a:cubicBezTo>
                      <a:pt x="139" y="44"/>
                      <a:pt x="139" y="44"/>
                      <a:pt x="139" y="44"/>
                    </a:cubicBezTo>
                    <a:cubicBezTo>
                      <a:pt x="140" y="35"/>
                      <a:pt x="149" y="28"/>
                      <a:pt x="158" y="29"/>
                    </a:cubicBezTo>
                    <a:cubicBezTo>
                      <a:pt x="258" y="40"/>
                      <a:pt x="258" y="40"/>
                      <a:pt x="258" y="40"/>
                    </a:cubicBezTo>
                    <a:cubicBezTo>
                      <a:pt x="268" y="41"/>
                      <a:pt x="274" y="49"/>
                      <a:pt x="273" y="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8" name="Freeform 50">
                <a:extLst>
                  <a:ext uri="{FF2B5EF4-FFF2-40B4-BE49-F238E27FC236}">
                    <a16:creationId xmlns:a16="http://schemas.microsoft.com/office/drawing/2014/main" id="{9DAB7C1D-9ECB-43FA-B754-6DDB66A83F5B}"/>
                  </a:ext>
                </a:extLst>
              </p:cNvPr>
              <p:cNvSpPr>
                <a:spLocks/>
              </p:cNvSpPr>
              <p:nvPr/>
            </p:nvSpPr>
            <p:spPr bwMode="auto">
              <a:xfrm>
                <a:off x="7112961" y="4230771"/>
                <a:ext cx="32073" cy="53194"/>
              </a:xfrm>
              <a:custGeom>
                <a:avLst/>
                <a:gdLst>
                  <a:gd name="T0" fmla="*/ 39 w 66"/>
                  <a:gd name="T1" fmla="*/ 1 h 109"/>
                  <a:gd name="T2" fmla="*/ 6 w 66"/>
                  <a:gd name="T3" fmla="*/ 27 h 109"/>
                  <a:gd name="T4" fmla="*/ 3 w 66"/>
                  <a:gd name="T5" fmla="*/ 59 h 109"/>
                  <a:gd name="T6" fmla="*/ 42 w 66"/>
                  <a:gd name="T7" fmla="*/ 108 h 109"/>
                  <a:gd name="T8" fmla="*/ 57 w 66"/>
                  <a:gd name="T9" fmla="*/ 109 h 109"/>
                  <a:gd name="T10" fmla="*/ 59 w 66"/>
                  <a:gd name="T11" fmla="*/ 84 h 109"/>
                  <a:gd name="T12" fmla="*/ 53 w 66"/>
                  <a:gd name="T13" fmla="*/ 75 h 109"/>
                  <a:gd name="T14" fmla="*/ 60 w 66"/>
                  <a:gd name="T15" fmla="*/ 47 h 109"/>
                  <a:gd name="T16" fmla="*/ 64 w 66"/>
                  <a:gd name="T17" fmla="*/ 45 h 109"/>
                  <a:gd name="T18" fmla="*/ 65 w 66"/>
                  <a:gd name="T19" fmla="*/ 33 h 109"/>
                  <a:gd name="T20" fmla="*/ 39 w 66"/>
                  <a:gd name="T21" fmla="*/ 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09">
                    <a:moveTo>
                      <a:pt x="39" y="1"/>
                    </a:moveTo>
                    <a:cubicBezTo>
                      <a:pt x="23" y="0"/>
                      <a:pt x="8" y="11"/>
                      <a:pt x="6" y="27"/>
                    </a:cubicBezTo>
                    <a:cubicBezTo>
                      <a:pt x="3" y="59"/>
                      <a:pt x="3" y="59"/>
                      <a:pt x="3" y="59"/>
                    </a:cubicBezTo>
                    <a:cubicBezTo>
                      <a:pt x="0" y="83"/>
                      <a:pt x="18" y="105"/>
                      <a:pt x="42" y="108"/>
                    </a:cubicBezTo>
                    <a:cubicBezTo>
                      <a:pt x="57" y="109"/>
                      <a:pt x="57" y="109"/>
                      <a:pt x="57" y="109"/>
                    </a:cubicBezTo>
                    <a:cubicBezTo>
                      <a:pt x="59" y="84"/>
                      <a:pt x="59" y="84"/>
                      <a:pt x="59" y="84"/>
                    </a:cubicBezTo>
                    <a:cubicBezTo>
                      <a:pt x="53" y="75"/>
                      <a:pt x="53" y="75"/>
                      <a:pt x="53" y="75"/>
                    </a:cubicBezTo>
                    <a:cubicBezTo>
                      <a:pt x="47" y="65"/>
                      <a:pt x="50" y="53"/>
                      <a:pt x="60" y="47"/>
                    </a:cubicBezTo>
                    <a:cubicBezTo>
                      <a:pt x="64" y="45"/>
                      <a:pt x="64" y="45"/>
                      <a:pt x="64" y="45"/>
                    </a:cubicBezTo>
                    <a:cubicBezTo>
                      <a:pt x="65" y="33"/>
                      <a:pt x="65" y="33"/>
                      <a:pt x="65" y="33"/>
                    </a:cubicBezTo>
                    <a:cubicBezTo>
                      <a:pt x="66" y="17"/>
                      <a:pt x="55" y="3"/>
                      <a:pt x="39" y="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79" name="Freeform 51">
                <a:extLst>
                  <a:ext uri="{FF2B5EF4-FFF2-40B4-BE49-F238E27FC236}">
                    <a16:creationId xmlns:a16="http://schemas.microsoft.com/office/drawing/2014/main" id="{8110966B-B954-4FA1-A921-BDF15CE116F3}"/>
                  </a:ext>
                </a:extLst>
              </p:cNvPr>
              <p:cNvSpPr>
                <a:spLocks/>
              </p:cNvSpPr>
              <p:nvPr/>
            </p:nvSpPr>
            <p:spPr bwMode="auto">
              <a:xfrm>
                <a:off x="7043730" y="5077573"/>
                <a:ext cx="119687" cy="59061"/>
              </a:xfrm>
              <a:custGeom>
                <a:avLst/>
                <a:gdLst>
                  <a:gd name="T0" fmla="*/ 276 w 306"/>
                  <a:gd name="T1" fmla="*/ 151 h 151"/>
                  <a:gd name="T2" fmla="*/ 0 w 306"/>
                  <a:gd name="T3" fmla="*/ 100 h 151"/>
                  <a:gd name="T4" fmla="*/ 18 w 306"/>
                  <a:gd name="T5" fmla="*/ 0 h 151"/>
                  <a:gd name="T6" fmla="*/ 306 w 306"/>
                  <a:gd name="T7" fmla="*/ 49 h 151"/>
                  <a:gd name="T8" fmla="*/ 276 w 306"/>
                  <a:gd name="T9" fmla="*/ 151 h 151"/>
                </a:gdLst>
                <a:ahLst/>
                <a:cxnLst>
                  <a:cxn ang="0">
                    <a:pos x="T0" y="T1"/>
                  </a:cxn>
                  <a:cxn ang="0">
                    <a:pos x="T2" y="T3"/>
                  </a:cxn>
                  <a:cxn ang="0">
                    <a:pos x="T4" y="T5"/>
                  </a:cxn>
                  <a:cxn ang="0">
                    <a:pos x="T6" y="T7"/>
                  </a:cxn>
                  <a:cxn ang="0">
                    <a:pos x="T8" y="T9"/>
                  </a:cxn>
                </a:cxnLst>
                <a:rect l="0" t="0" r="r" b="b"/>
                <a:pathLst>
                  <a:path w="306" h="151">
                    <a:moveTo>
                      <a:pt x="276" y="151"/>
                    </a:moveTo>
                    <a:lnTo>
                      <a:pt x="0" y="100"/>
                    </a:lnTo>
                    <a:lnTo>
                      <a:pt x="18" y="0"/>
                    </a:lnTo>
                    <a:lnTo>
                      <a:pt x="306" y="49"/>
                    </a:lnTo>
                    <a:lnTo>
                      <a:pt x="276" y="151"/>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81" name="Freeform 53">
                <a:extLst>
                  <a:ext uri="{FF2B5EF4-FFF2-40B4-BE49-F238E27FC236}">
                    <a16:creationId xmlns:a16="http://schemas.microsoft.com/office/drawing/2014/main" id="{60E02CE7-53C7-47FA-B319-5BC925F1F9E7}"/>
                  </a:ext>
                </a:extLst>
              </p:cNvPr>
              <p:cNvSpPr>
                <a:spLocks/>
              </p:cNvSpPr>
              <p:nvPr/>
            </p:nvSpPr>
            <p:spPr bwMode="auto">
              <a:xfrm>
                <a:off x="7423911" y="4787353"/>
                <a:ext cx="43807" cy="38722"/>
              </a:xfrm>
              <a:custGeom>
                <a:avLst/>
                <a:gdLst>
                  <a:gd name="T0" fmla="*/ 19 w 90"/>
                  <a:gd name="T1" fmla="*/ 80 h 80"/>
                  <a:gd name="T2" fmla="*/ 90 w 90"/>
                  <a:gd name="T3" fmla="*/ 0 h 80"/>
                  <a:gd name="T4" fmla="*/ 19 w 90"/>
                  <a:gd name="T5" fmla="*/ 80 h 80"/>
                </a:gdLst>
                <a:ahLst/>
                <a:cxnLst>
                  <a:cxn ang="0">
                    <a:pos x="T0" y="T1"/>
                  </a:cxn>
                  <a:cxn ang="0">
                    <a:pos x="T2" y="T3"/>
                  </a:cxn>
                  <a:cxn ang="0">
                    <a:pos x="T4" y="T5"/>
                  </a:cxn>
                </a:cxnLst>
                <a:rect l="0" t="0" r="r" b="b"/>
                <a:pathLst>
                  <a:path w="90" h="80">
                    <a:moveTo>
                      <a:pt x="19" y="80"/>
                    </a:moveTo>
                    <a:cubicBezTo>
                      <a:pt x="90" y="0"/>
                      <a:pt x="90" y="0"/>
                      <a:pt x="90" y="0"/>
                    </a:cubicBezTo>
                    <a:cubicBezTo>
                      <a:pt x="90" y="0"/>
                      <a:pt x="0" y="3"/>
                      <a:pt x="19" y="80"/>
                    </a:cubicBez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82" name="Freeform 54">
                <a:extLst>
                  <a:ext uri="{FF2B5EF4-FFF2-40B4-BE49-F238E27FC236}">
                    <a16:creationId xmlns:a16="http://schemas.microsoft.com/office/drawing/2014/main" id="{8F562E75-5E2D-4A31-BD2E-9EF59D077C38}"/>
                  </a:ext>
                </a:extLst>
              </p:cNvPr>
              <p:cNvSpPr>
                <a:spLocks/>
              </p:cNvSpPr>
              <p:nvPr/>
            </p:nvSpPr>
            <p:spPr bwMode="auto">
              <a:xfrm>
                <a:off x="7035908" y="4783050"/>
                <a:ext cx="68057" cy="43025"/>
              </a:xfrm>
              <a:custGeom>
                <a:avLst/>
                <a:gdLst>
                  <a:gd name="T0" fmla="*/ 151 w 174"/>
                  <a:gd name="T1" fmla="*/ 110 h 110"/>
                  <a:gd name="T2" fmla="*/ 174 w 174"/>
                  <a:gd name="T3" fmla="*/ 0 h 110"/>
                  <a:gd name="T4" fmla="*/ 0 w 174"/>
                  <a:gd name="T5" fmla="*/ 0 h 110"/>
                  <a:gd name="T6" fmla="*/ 13 w 174"/>
                  <a:gd name="T7" fmla="*/ 110 h 110"/>
                  <a:gd name="T8" fmla="*/ 151 w 174"/>
                  <a:gd name="T9" fmla="*/ 110 h 110"/>
                </a:gdLst>
                <a:ahLst/>
                <a:cxnLst>
                  <a:cxn ang="0">
                    <a:pos x="T0" y="T1"/>
                  </a:cxn>
                  <a:cxn ang="0">
                    <a:pos x="T2" y="T3"/>
                  </a:cxn>
                  <a:cxn ang="0">
                    <a:pos x="T4" y="T5"/>
                  </a:cxn>
                  <a:cxn ang="0">
                    <a:pos x="T6" y="T7"/>
                  </a:cxn>
                  <a:cxn ang="0">
                    <a:pos x="T8" y="T9"/>
                  </a:cxn>
                </a:cxnLst>
                <a:rect l="0" t="0" r="r" b="b"/>
                <a:pathLst>
                  <a:path w="174" h="110">
                    <a:moveTo>
                      <a:pt x="151" y="110"/>
                    </a:moveTo>
                    <a:lnTo>
                      <a:pt x="174" y="0"/>
                    </a:lnTo>
                    <a:lnTo>
                      <a:pt x="0" y="0"/>
                    </a:lnTo>
                    <a:lnTo>
                      <a:pt x="13" y="110"/>
                    </a:lnTo>
                    <a:lnTo>
                      <a:pt x="151" y="11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83" name="Freeform 55">
                <a:extLst>
                  <a:ext uri="{FF2B5EF4-FFF2-40B4-BE49-F238E27FC236}">
                    <a16:creationId xmlns:a16="http://schemas.microsoft.com/office/drawing/2014/main" id="{C18006E3-7677-4D70-AC41-5414339A6A8E}"/>
                  </a:ext>
                </a:extLst>
              </p:cNvPr>
              <p:cNvSpPr>
                <a:spLocks/>
              </p:cNvSpPr>
              <p:nvPr/>
            </p:nvSpPr>
            <p:spPr bwMode="auto">
              <a:xfrm>
                <a:off x="7001879" y="4415777"/>
                <a:ext cx="345762" cy="295305"/>
              </a:xfrm>
              <a:custGeom>
                <a:avLst/>
                <a:gdLst>
                  <a:gd name="T0" fmla="*/ 22 w 710"/>
                  <a:gd name="T1" fmla="*/ 157 h 608"/>
                  <a:gd name="T2" fmla="*/ 164 w 710"/>
                  <a:gd name="T3" fmla="*/ 562 h 608"/>
                  <a:gd name="T4" fmla="*/ 229 w 710"/>
                  <a:gd name="T5" fmla="*/ 608 h 608"/>
                  <a:gd name="T6" fmla="*/ 307 w 710"/>
                  <a:gd name="T7" fmla="*/ 608 h 608"/>
                  <a:gd name="T8" fmla="*/ 710 w 710"/>
                  <a:gd name="T9" fmla="*/ 342 h 608"/>
                  <a:gd name="T10" fmla="*/ 640 w 710"/>
                  <a:gd name="T11" fmla="*/ 240 h 608"/>
                  <a:gd name="T12" fmla="*/ 329 w 710"/>
                  <a:gd name="T13" fmla="*/ 373 h 608"/>
                  <a:gd name="T14" fmla="*/ 228 w 710"/>
                  <a:gd name="T15" fmla="*/ 80 h 608"/>
                  <a:gd name="T16" fmla="*/ 98 w 710"/>
                  <a:gd name="T17" fmla="*/ 14 h 608"/>
                  <a:gd name="T18" fmla="*/ 98 w 710"/>
                  <a:gd name="T19" fmla="*/ 14 h 608"/>
                  <a:gd name="T20" fmla="*/ 22 w 710"/>
                  <a:gd name="T21" fmla="*/ 157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0" h="608">
                    <a:moveTo>
                      <a:pt x="22" y="157"/>
                    </a:moveTo>
                    <a:cubicBezTo>
                      <a:pt x="164" y="562"/>
                      <a:pt x="164" y="562"/>
                      <a:pt x="164" y="562"/>
                    </a:cubicBezTo>
                    <a:cubicBezTo>
                      <a:pt x="173" y="590"/>
                      <a:pt x="200" y="608"/>
                      <a:pt x="229" y="608"/>
                    </a:cubicBezTo>
                    <a:cubicBezTo>
                      <a:pt x="307" y="608"/>
                      <a:pt x="307" y="608"/>
                      <a:pt x="307" y="608"/>
                    </a:cubicBezTo>
                    <a:cubicBezTo>
                      <a:pt x="710" y="342"/>
                      <a:pt x="710" y="342"/>
                      <a:pt x="710" y="342"/>
                    </a:cubicBezTo>
                    <a:cubicBezTo>
                      <a:pt x="640" y="240"/>
                      <a:pt x="640" y="240"/>
                      <a:pt x="640" y="240"/>
                    </a:cubicBezTo>
                    <a:cubicBezTo>
                      <a:pt x="329" y="373"/>
                      <a:pt x="329" y="373"/>
                      <a:pt x="329" y="373"/>
                    </a:cubicBezTo>
                    <a:cubicBezTo>
                      <a:pt x="228" y="80"/>
                      <a:pt x="228" y="80"/>
                      <a:pt x="228" y="80"/>
                    </a:cubicBezTo>
                    <a:cubicBezTo>
                      <a:pt x="208" y="29"/>
                      <a:pt x="152" y="0"/>
                      <a:pt x="98" y="14"/>
                    </a:cubicBezTo>
                    <a:cubicBezTo>
                      <a:pt x="98" y="14"/>
                      <a:pt x="98" y="14"/>
                      <a:pt x="98" y="14"/>
                    </a:cubicBezTo>
                    <a:cubicBezTo>
                      <a:pt x="36" y="30"/>
                      <a:pt x="0" y="96"/>
                      <a:pt x="22" y="157"/>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84" name="Freeform 56">
                <a:extLst>
                  <a:ext uri="{FF2B5EF4-FFF2-40B4-BE49-F238E27FC236}">
                    <a16:creationId xmlns:a16="http://schemas.microsoft.com/office/drawing/2014/main" id="{184AA5FA-7342-43BF-8D69-EAB8C24374FC}"/>
                  </a:ext>
                </a:extLst>
              </p:cNvPr>
              <p:cNvSpPr>
                <a:spLocks/>
              </p:cNvSpPr>
              <p:nvPr/>
            </p:nvSpPr>
            <p:spPr bwMode="auto">
              <a:xfrm>
                <a:off x="7119610" y="4580835"/>
                <a:ext cx="42633" cy="34029"/>
              </a:xfrm>
              <a:custGeom>
                <a:avLst/>
                <a:gdLst>
                  <a:gd name="T0" fmla="*/ 87 w 87"/>
                  <a:gd name="T1" fmla="*/ 33 h 70"/>
                  <a:gd name="T2" fmla="*/ 0 w 87"/>
                  <a:gd name="T3" fmla="*/ 70 h 70"/>
                  <a:gd name="T4" fmla="*/ 87 w 87"/>
                  <a:gd name="T5" fmla="*/ 33 h 70"/>
                </a:gdLst>
                <a:ahLst/>
                <a:cxnLst>
                  <a:cxn ang="0">
                    <a:pos x="T0" y="T1"/>
                  </a:cxn>
                  <a:cxn ang="0">
                    <a:pos x="T2" y="T3"/>
                  </a:cxn>
                  <a:cxn ang="0">
                    <a:pos x="T4" y="T5"/>
                  </a:cxn>
                </a:cxnLst>
                <a:rect l="0" t="0" r="r" b="b"/>
                <a:pathLst>
                  <a:path w="87" h="70">
                    <a:moveTo>
                      <a:pt x="87" y="33"/>
                    </a:moveTo>
                    <a:cubicBezTo>
                      <a:pt x="0" y="70"/>
                      <a:pt x="0" y="70"/>
                      <a:pt x="0" y="70"/>
                    </a:cubicBezTo>
                    <a:cubicBezTo>
                      <a:pt x="0" y="70"/>
                      <a:pt x="20" y="0"/>
                      <a:pt x="87" y="33"/>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85" name="Freeform 57">
                <a:extLst>
                  <a:ext uri="{FF2B5EF4-FFF2-40B4-BE49-F238E27FC236}">
                    <a16:creationId xmlns:a16="http://schemas.microsoft.com/office/drawing/2014/main" id="{E0B84BAA-F5F9-47F5-83E8-F596AC9CC5C5}"/>
                  </a:ext>
                </a:extLst>
              </p:cNvPr>
              <p:cNvSpPr>
                <a:spLocks/>
              </p:cNvSpPr>
              <p:nvPr/>
            </p:nvSpPr>
            <p:spPr bwMode="auto">
              <a:xfrm>
                <a:off x="7317523" y="4428293"/>
                <a:ext cx="161538" cy="153324"/>
              </a:xfrm>
              <a:custGeom>
                <a:avLst/>
                <a:gdLst>
                  <a:gd name="T0" fmla="*/ 232 w 332"/>
                  <a:gd name="T1" fmla="*/ 0 h 316"/>
                  <a:gd name="T2" fmla="*/ 93 w 332"/>
                  <a:gd name="T3" fmla="*/ 53 h 316"/>
                  <a:gd name="T4" fmla="*/ 42 w 332"/>
                  <a:gd name="T5" fmla="*/ 102 h 316"/>
                  <a:gd name="T6" fmla="*/ 0 w 332"/>
                  <a:gd name="T7" fmla="*/ 227 h 316"/>
                  <a:gd name="T8" fmla="*/ 62 w 332"/>
                  <a:gd name="T9" fmla="*/ 316 h 316"/>
                  <a:gd name="T10" fmla="*/ 80 w 332"/>
                  <a:gd name="T11" fmla="*/ 314 h 316"/>
                  <a:gd name="T12" fmla="*/ 230 w 332"/>
                  <a:gd name="T13" fmla="*/ 263 h 316"/>
                  <a:gd name="T14" fmla="*/ 250 w 332"/>
                  <a:gd name="T15" fmla="*/ 252 h 316"/>
                  <a:gd name="T16" fmla="*/ 281 w 332"/>
                  <a:gd name="T17" fmla="*/ 231 h 316"/>
                  <a:gd name="T18" fmla="*/ 293 w 332"/>
                  <a:gd name="T19" fmla="*/ 208 h 316"/>
                  <a:gd name="T20" fmla="*/ 281 w 332"/>
                  <a:gd name="T21" fmla="*/ 185 h 316"/>
                  <a:gd name="T22" fmla="*/ 275 w 332"/>
                  <a:gd name="T23" fmla="*/ 181 h 316"/>
                  <a:gd name="T24" fmla="*/ 290 w 332"/>
                  <a:gd name="T25" fmla="*/ 178 h 316"/>
                  <a:gd name="T26" fmla="*/ 301 w 332"/>
                  <a:gd name="T27" fmla="*/ 166 h 316"/>
                  <a:gd name="T28" fmla="*/ 301 w 332"/>
                  <a:gd name="T29" fmla="*/ 150 h 316"/>
                  <a:gd name="T30" fmla="*/ 291 w 332"/>
                  <a:gd name="T31" fmla="*/ 138 h 316"/>
                  <a:gd name="T32" fmla="*/ 263 w 332"/>
                  <a:gd name="T33" fmla="*/ 130 h 316"/>
                  <a:gd name="T34" fmla="*/ 297 w 332"/>
                  <a:gd name="T35" fmla="*/ 126 h 316"/>
                  <a:gd name="T36" fmla="*/ 317 w 332"/>
                  <a:gd name="T37" fmla="*/ 103 h 316"/>
                  <a:gd name="T38" fmla="*/ 294 w 332"/>
                  <a:gd name="T39" fmla="*/ 81 h 316"/>
                  <a:gd name="T40" fmla="*/ 202 w 332"/>
                  <a:gd name="T41" fmla="*/ 84 h 316"/>
                  <a:gd name="T42" fmla="*/ 232 w 332"/>
                  <a:gd name="T43" fmla="*/ 58 h 316"/>
                  <a:gd name="T44" fmla="*/ 297 w 332"/>
                  <a:gd name="T45" fmla="*/ 58 h 316"/>
                  <a:gd name="T46" fmla="*/ 326 w 332"/>
                  <a:gd name="T47" fmla="*/ 37 h 316"/>
                  <a:gd name="T48" fmla="*/ 332 w 332"/>
                  <a:gd name="T49" fmla="*/ 24 h 316"/>
                  <a:gd name="T50" fmla="*/ 232 w 332"/>
                  <a:gd name="T51"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2" h="316">
                    <a:moveTo>
                      <a:pt x="232" y="0"/>
                    </a:moveTo>
                    <a:cubicBezTo>
                      <a:pt x="93" y="53"/>
                      <a:pt x="93" y="53"/>
                      <a:pt x="93" y="53"/>
                    </a:cubicBezTo>
                    <a:cubicBezTo>
                      <a:pt x="70" y="62"/>
                      <a:pt x="51" y="79"/>
                      <a:pt x="42" y="102"/>
                    </a:cubicBezTo>
                    <a:cubicBezTo>
                      <a:pt x="0" y="227"/>
                      <a:pt x="0" y="227"/>
                      <a:pt x="0" y="227"/>
                    </a:cubicBezTo>
                    <a:cubicBezTo>
                      <a:pt x="62" y="316"/>
                      <a:pt x="62" y="316"/>
                      <a:pt x="62" y="316"/>
                    </a:cubicBezTo>
                    <a:cubicBezTo>
                      <a:pt x="80" y="314"/>
                      <a:pt x="80" y="314"/>
                      <a:pt x="80" y="314"/>
                    </a:cubicBezTo>
                    <a:cubicBezTo>
                      <a:pt x="133" y="306"/>
                      <a:pt x="184" y="289"/>
                      <a:pt x="230" y="263"/>
                    </a:cubicBezTo>
                    <a:cubicBezTo>
                      <a:pt x="250" y="252"/>
                      <a:pt x="250" y="252"/>
                      <a:pt x="250" y="252"/>
                    </a:cubicBezTo>
                    <a:cubicBezTo>
                      <a:pt x="281" y="231"/>
                      <a:pt x="281" y="231"/>
                      <a:pt x="281" y="231"/>
                    </a:cubicBezTo>
                    <a:cubicBezTo>
                      <a:pt x="288" y="226"/>
                      <a:pt x="293" y="217"/>
                      <a:pt x="293" y="208"/>
                    </a:cubicBezTo>
                    <a:cubicBezTo>
                      <a:pt x="293" y="199"/>
                      <a:pt x="288" y="190"/>
                      <a:pt x="281" y="185"/>
                    </a:cubicBezTo>
                    <a:cubicBezTo>
                      <a:pt x="275" y="181"/>
                      <a:pt x="275" y="181"/>
                      <a:pt x="275" y="181"/>
                    </a:cubicBezTo>
                    <a:cubicBezTo>
                      <a:pt x="290" y="178"/>
                      <a:pt x="290" y="178"/>
                      <a:pt x="290" y="178"/>
                    </a:cubicBezTo>
                    <a:cubicBezTo>
                      <a:pt x="296" y="177"/>
                      <a:pt x="301" y="172"/>
                      <a:pt x="301" y="166"/>
                    </a:cubicBezTo>
                    <a:cubicBezTo>
                      <a:pt x="301" y="150"/>
                      <a:pt x="301" y="150"/>
                      <a:pt x="301" y="150"/>
                    </a:cubicBezTo>
                    <a:cubicBezTo>
                      <a:pt x="301" y="144"/>
                      <a:pt x="297" y="139"/>
                      <a:pt x="291" y="138"/>
                    </a:cubicBezTo>
                    <a:cubicBezTo>
                      <a:pt x="263" y="130"/>
                      <a:pt x="263" y="130"/>
                      <a:pt x="263" y="130"/>
                    </a:cubicBezTo>
                    <a:cubicBezTo>
                      <a:pt x="297" y="126"/>
                      <a:pt x="297" y="126"/>
                      <a:pt x="297" y="126"/>
                    </a:cubicBezTo>
                    <a:cubicBezTo>
                      <a:pt x="308" y="124"/>
                      <a:pt x="317" y="115"/>
                      <a:pt x="317" y="103"/>
                    </a:cubicBezTo>
                    <a:cubicBezTo>
                      <a:pt x="317" y="91"/>
                      <a:pt x="306" y="80"/>
                      <a:pt x="294" y="81"/>
                    </a:cubicBezTo>
                    <a:cubicBezTo>
                      <a:pt x="202" y="84"/>
                      <a:pt x="202" y="84"/>
                      <a:pt x="202" y="84"/>
                    </a:cubicBezTo>
                    <a:cubicBezTo>
                      <a:pt x="232" y="58"/>
                      <a:pt x="232" y="58"/>
                      <a:pt x="232" y="58"/>
                    </a:cubicBezTo>
                    <a:cubicBezTo>
                      <a:pt x="297" y="58"/>
                      <a:pt x="297" y="58"/>
                      <a:pt x="297" y="58"/>
                    </a:cubicBezTo>
                    <a:cubicBezTo>
                      <a:pt x="310" y="58"/>
                      <a:pt x="322" y="50"/>
                      <a:pt x="326" y="37"/>
                    </a:cubicBezTo>
                    <a:cubicBezTo>
                      <a:pt x="332" y="24"/>
                      <a:pt x="332" y="24"/>
                      <a:pt x="332" y="24"/>
                    </a:cubicBezTo>
                    <a:lnTo>
                      <a:pt x="232"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86" name="Freeform 58">
                <a:extLst>
                  <a:ext uri="{FF2B5EF4-FFF2-40B4-BE49-F238E27FC236}">
                    <a16:creationId xmlns:a16="http://schemas.microsoft.com/office/drawing/2014/main" id="{00311EC4-D900-4453-9FF7-CC9DD0A01D7D}"/>
                  </a:ext>
                </a:extLst>
              </p:cNvPr>
              <p:cNvSpPr>
                <a:spLocks/>
              </p:cNvSpPr>
              <p:nvPr/>
            </p:nvSpPr>
            <p:spPr bwMode="auto">
              <a:xfrm>
                <a:off x="7313612" y="4463104"/>
                <a:ext cx="114211" cy="114211"/>
              </a:xfrm>
              <a:custGeom>
                <a:avLst/>
                <a:gdLst>
                  <a:gd name="T0" fmla="*/ 0 w 235"/>
                  <a:gd name="T1" fmla="*/ 142 h 235"/>
                  <a:gd name="T2" fmla="*/ 55 w 235"/>
                  <a:gd name="T3" fmla="*/ 19 h 235"/>
                  <a:gd name="T4" fmla="*/ 143 w 235"/>
                  <a:gd name="T5" fmla="*/ 2 h 235"/>
                  <a:gd name="T6" fmla="*/ 170 w 235"/>
                  <a:gd name="T7" fmla="*/ 9 h 235"/>
                  <a:gd name="T8" fmla="*/ 190 w 235"/>
                  <a:gd name="T9" fmla="*/ 28 h 235"/>
                  <a:gd name="T10" fmla="*/ 200 w 235"/>
                  <a:gd name="T11" fmla="*/ 57 h 235"/>
                  <a:gd name="T12" fmla="*/ 198 w 235"/>
                  <a:gd name="T13" fmla="*/ 63 h 235"/>
                  <a:gd name="T14" fmla="*/ 212 w 235"/>
                  <a:gd name="T15" fmla="*/ 70 h 235"/>
                  <a:gd name="T16" fmla="*/ 228 w 235"/>
                  <a:gd name="T17" fmla="*/ 109 h 235"/>
                  <a:gd name="T18" fmla="*/ 223 w 235"/>
                  <a:gd name="T19" fmla="*/ 122 h 235"/>
                  <a:gd name="T20" fmla="*/ 223 w 235"/>
                  <a:gd name="T21" fmla="*/ 122 h 235"/>
                  <a:gd name="T22" fmla="*/ 221 w 235"/>
                  <a:gd name="T23" fmla="*/ 168 h 235"/>
                  <a:gd name="T24" fmla="*/ 178 w 235"/>
                  <a:gd name="T25" fmla="*/ 204 h 235"/>
                  <a:gd name="T26" fmla="*/ 64 w 235"/>
                  <a:gd name="T27" fmla="*/ 235 h 235"/>
                  <a:gd name="T28" fmla="*/ 0 w 235"/>
                  <a:gd name="T29" fmla="*/ 14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235">
                    <a:moveTo>
                      <a:pt x="0" y="142"/>
                    </a:moveTo>
                    <a:cubicBezTo>
                      <a:pt x="55" y="19"/>
                      <a:pt x="55" y="19"/>
                      <a:pt x="55" y="19"/>
                    </a:cubicBezTo>
                    <a:cubicBezTo>
                      <a:pt x="143" y="2"/>
                      <a:pt x="143" y="2"/>
                      <a:pt x="143" y="2"/>
                    </a:cubicBezTo>
                    <a:cubicBezTo>
                      <a:pt x="153" y="0"/>
                      <a:pt x="163" y="2"/>
                      <a:pt x="170" y="9"/>
                    </a:cubicBezTo>
                    <a:cubicBezTo>
                      <a:pt x="190" y="28"/>
                      <a:pt x="190" y="28"/>
                      <a:pt x="190" y="28"/>
                    </a:cubicBezTo>
                    <a:cubicBezTo>
                      <a:pt x="198" y="35"/>
                      <a:pt x="202" y="46"/>
                      <a:pt x="200" y="57"/>
                    </a:cubicBezTo>
                    <a:cubicBezTo>
                      <a:pt x="198" y="63"/>
                      <a:pt x="198" y="63"/>
                      <a:pt x="198" y="63"/>
                    </a:cubicBezTo>
                    <a:cubicBezTo>
                      <a:pt x="212" y="70"/>
                      <a:pt x="212" y="70"/>
                      <a:pt x="212" y="70"/>
                    </a:cubicBezTo>
                    <a:cubicBezTo>
                      <a:pt x="227" y="77"/>
                      <a:pt x="234" y="94"/>
                      <a:pt x="228" y="109"/>
                    </a:cubicBezTo>
                    <a:cubicBezTo>
                      <a:pt x="223" y="122"/>
                      <a:pt x="223" y="122"/>
                      <a:pt x="223" y="122"/>
                    </a:cubicBezTo>
                    <a:cubicBezTo>
                      <a:pt x="223" y="122"/>
                      <a:pt x="223" y="122"/>
                      <a:pt x="223" y="122"/>
                    </a:cubicBezTo>
                    <a:cubicBezTo>
                      <a:pt x="235" y="135"/>
                      <a:pt x="234" y="156"/>
                      <a:pt x="221" y="168"/>
                    </a:cubicBezTo>
                    <a:cubicBezTo>
                      <a:pt x="178" y="204"/>
                      <a:pt x="178" y="204"/>
                      <a:pt x="178" y="204"/>
                    </a:cubicBezTo>
                    <a:cubicBezTo>
                      <a:pt x="64" y="235"/>
                      <a:pt x="64" y="235"/>
                      <a:pt x="64" y="235"/>
                    </a:cubicBezTo>
                    <a:lnTo>
                      <a:pt x="0" y="142"/>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88" name="Freeform 35">
                <a:extLst>
                  <a:ext uri="{FF2B5EF4-FFF2-40B4-BE49-F238E27FC236}">
                    <a16:creationId xmlns:a16="http://schemas.microsoft.com/office/drawing/2014/main" id="{12068D8D-1957-4881-A0CA-1FF5934B0982}"/>
                  </a:ext>
                </a:extLst>
              </p:cNvPr>
              <p:cNvSpPr>
                <a:spLocks/>
              </p:cNvSpPr>
              <p:nvPr/>
            </p:nvSpPr>
            <p:spPr bwMode="auto">
              <a:xfrm>
                <a:off x="6751554" y="5063100"/>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91" name="Freeform 78">
                <a:extLst>
                  <a:ext uri="{FF2B5EF4-FFF2-40B4-BE49-F238E27FC236}">
                    <a16:creationId xmlns:a16="http://schemas.microsoft.com/office/drawing/2014/main" id="{D7BFB6C6-00A7-4E41-87FD-B3B83112600C}"/>
                  </a:ext>
                </a:extLst>
              </p:cNvPr>
              <p:cNvSpPr>
                <a:spLocks/>
              </p:cNvSpPr>
              <p:nvPr/>
            </p:nvSpPr>
            <p:spPr bwMode="auto">
              <a:xfrm>
                <a:off x="7243406" y="4917208"/>
                <a:ext cx="62971"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grpSp>
        <p:sp>
          <p:nvSpPr>
            <p:cNvPr id="1192" name="Freeform 79">
              <a:extLst>
                <a:ext uri="{FF2B5EF4-FFF2-40B4-BE49-F238E27FC236}">
                  <a16:creationId xmlns:a16="http://schemas.microsoft.com/office/drawing/2014/main" id="{70AB0E52-E8B7-4BE4-A299-E05DF7B28FEE}"/>
                </a:ext>
              </a:extLst>
            </p:cNvPr>
            <p:cNvSpPr>
              <a:spLocks/>
            </p:cNvSpPr>
            <p:nvPr/>
          </p:nvSpPr>
          <p:spPr bwMode="auto">
            <a:xfrm>
              <a:off x="6472677"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93" name="Rectangle 80">
              <a:extLst>
                <a:ext uri="{FF2B5EF4-FFF2-40B4-BE49-F238E27FC236}">
                  <a16:creationId xmlns:a16="http://schemas.microsoft.com/office/drawing/2014/main" id="{DDF27492-D25E-443D-9773-C20E8144E2B5}"/>
                </a:ext>
              </a:extLst>
            </p:cNvPr>
            <p:cNvSpPr>
              <a:spLocks noChangeArrowheads="1"/>
            </p:cNvSpPr>
            <p:nvPr/>
          </p:nvSpPr>
          <p:spPr bwMode="auto">
            <a:xfrm>
              <a:off x="6100318" y="4871837"/>
              <a:ext cx="403649" cy="520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94" name="Rectangle 81">
              <a:extLst>
                <a:ext uri="{FF2B5EF4-FFF2-40B4-BE49-F238E27FC236}">
                  <a16:creationId xmlns:a16="http://schemas.microsoft.com/office/drawing/2014/main" id="{09FABD28-49BD-4900-B2DB-F9FF749FCD44}"/>
                </a:ext>
              </a:extLst>
            </p:cNvPr>
            <p:cNvSpPr>
              <a:spLocks noChangeArrowheads="1"/>
            </p:cNvSpPr>
            <p:nvPr/>
          </p:nvSpPr>
          <p:spPr bwMode="auto">
            <a:xfrm>
              <a:off x="6503967" y="4871837"/>
              <a:ext cx="395826" cy="52020"/>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95" name="Freeform 82">
              <a:extLst>
                <a:ext uri="{FF2B5EF4-FFF2-40B4-BE49-F238E27FC236}">
                  <a16:creationId xmlns:a16="http://schemas.microsoft.com/office/drawing/2014/main" id="{F9DB05E2-E1CA-4D80-9628-C63E788BEC1E}"/>
                </a:ext>
              </a:extLst>
            </p:cNvPr>
            <p:cNvSpPr>
              <a:spLocks/>
            </p:cNvSpPr>
            <p:nvPr/>
          </p:nvSpPr>
          <p:spPr bwMode="auto">
            <a:xfrm>
              <a:off x="6565375" y="4699348"/>
              <a:ext cx="116557" cy="172489"/>
            </a:xfrm>
            <a:custGeom>
              <a:avLst/>
              <a:gdLst>
                <a:gd name="T0" fmla="*/ 298 w 298"/>
                <a:gd name="T1" fmla="*/ 0 h 441"/>
                <a:gd name="T2" fmla="*/ 0 w 298"/>
                <a:gd name="T3" fmla="*/ 0 h 441"/>
                <a:gd name="T4" fmla="*/ 55 w 298"/>
                <a:gd name="T5" fmla="*/ 441 h 441"/>
                <a:gd name="T6" fmla="*/ 244 w 298"/>
                <a:gd name="T7" fmla="*/ 441 h 441"/>
                <a:gd name="T8" fmla="*/ 298 w 298"/>
                <a:gd name="T9" fmla="*/ 0 h 441"/>
              </a:gdLst>
              <a:ahLst/>
              <a:cxnLst>
                <a:cxn ang="0">
                  <a:pos x="T0" y="T1"/>
                </a:cxn>
                <a:cxn ang="0">
                  <a:pos x="T2" y="T3"/>
                </a:cxn>
                <a:cxn ang="0">
                  <a:pos x="T4" y="T5"/>
                </a:cxn>
                <a:cxn ang="0">
                  <a:pos x="T6" y="T7"/>
                </a:cxn>
                <a:cxn ang="0">
                  <a:pos x="T8" y="T9"/>
                </a:cxn>
              </a:cxnLst>
              <a:rect l="0" t="0" r="r" b="b"/>
              <a:pathLst>
                <a:path w="298" h="441">
                  <a:moveTo>
                    <a:pt x="298" y="0"/>
                  </a:moveTo>
                  <a:lnTo>
                    <a:pt x="0" y="0"/>
                  </a:lnTo>
                  <a:lnTo>
                    <a:pt x="55" y="441"/>
                  </a:lnTo>
                  <a:lnTo>
                    <a:pt x="244" y="441"/>
                  </a:lnTo>
                  <a:lnTo>
                    <a:pt x="298"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96" name="Rectangle 83">
              <a:extLst>
                <a:ext uri="{FF2B5EF4-FFF2-40B4-BE49-F238E27FC236}">
                  <a16:creationId xmlns:a16="http://schemas.microsoft.com/office/drawing/2014/main" id="{A3BC7E96-6F2A-4AB7-A5D8-DC9C1CDD630B}"/>
                </a:ext>
              </a:extLst>
            </p:cNvPr>
            <p:cNvSpPr>
              <a:spLocks noChangeArrowheads="1"/>
            </p:cNvSpPr>
            <p:nvPr/>
          </p:nvSpPr>
          <p:spPr bwMode="auto">
            <a:xfrm>
              <a:off x="6293146" y="4818643"/>
              <a:ext cx="73142" cy="53194"/>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sp>
          <p:nvSpPr>
            <p:cNvPr id="1197" name="Rectangle 84">
              <a:extLst>
                <a:ext uri="{FF2B5EF4-FFF2-40B4-BE49-F238E27FC236}">
                  <a16:creationId xmlns:a16="http://schemas.microsoft.com/office/drawing/2014/main" id="{EE1D482C-EF9D-4D6E-854B-384475A79C7B}"/>
                </a:ext>
              </a:extLst>
            </p:cNvPr>
            <p:cNvSpPr>
              <a:spLocks noChangeArrowheads="1"/>
            </p:cNvSpPr>
            <p:nvPr/>
          </p:nvSpPr>
          <p:spPr bwMode="auto">
            <a:xfrm>
              <a:off x="6366288" y="4818643"/>
              <a:ext cx="112646" cy="5319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36" dirty="0"/>
            </a:p>
          </p:txBody>
        </p:sp>
      </p:grpSp>
      <p:sp>
        <p:nvSpPr>
          <p:cNvPr id="12" name="Rectangle 11">
            <a:extLst>
              <a:ext uri="{FF2B5EF4-FFF2-40B4-BE49-F238E27FC236}">
                <a16:creationId xmlns:a16="http://schemas.microsoft.com/office/drawing/2014/main" id="{DD490EDB-D6C9-4D6A-86C3-C9DA08A162F6}"/>
              </a:ext>
            </a:extLst>
          </p:cNvPr>
          <p:cNvSpPr/>
          <p:nvPr/>
        </p:nvSpPr>
        <p:spPr>
          <a:xfrm>
            <a:off x="1002895" y="3459878"/>
            <a:ext cx="2603341" cy="276999"/>
          </a:xfrm>
          <a:prstGeom prst="rect">
            <a:avLst/>
          </a:prstGeom>
        </p:spPr>
        <p:txBody>
          <a:bodyPr wrap="none">
            <a:spAutoFit/>
          </a:bodyPr>
          <a:lstStyle/>
          <a:p>
            <a:pPr algn="ctr"/>
            <a:r>
              <a:rPr lang="en-US" sz="1200" b="1" dirty="0">
                <a:solidFill>
                  <a:schemeClr val="tx2"/>
                </a:solidFill>
              </a:rPr>
              <a:t>Management service deployment</a:t>
            </a:r>
          </a:p>
        </p:txBody>
      </p:sp>
      <p:sp>
        <p:nvSpPr>
          <p:cNvPr id="332" name="TextBox 331">
            <a:extLst>
              <a:ext uri="{FF2B5EF4-FFF2-40B4-BE49-F238E27FC236}">
                <a16:creationId xmlns:a16="http://schemas.microsoft.com/office/drawing/2014/main" id="{E4561C91-E707-474F-AE82-88F037E5ECCB}"/>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400" b="1" dirty="0">
                <a:solidFill>
                  <a:schemeClr val="bg1"/>
                </a:solidFill>
              </a:rPr>
              <a:t>Economic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400" b="1" dirty="0">
                <a:solidFill>
                  <a:schemeClr val="bg1"/>
                </a:solidFill>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400" b="1" dirty="0">
                <a:solidFill>
                  <a:schemeClr val="bg1"/>
                </a:solidFill>
              </a:rPr>
              <a:t>W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048759" y="2550635"/>
            <a:ext cx="401322" cy="3292123"/>
            <a:chOff x="4048759" y="2770559"/>
            <a:chExt cx="401322" cy="3292123"/>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250939"/>
              <a:ext cx="401322" cy="401322"/>
              <a:chOff x="4048759" y="4228862"/>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13" name="Rectangle 512">
            <a:extLst>
              <a:ext uri="{FF2B5EF4-FFF2-40B4-BE49-F238E27FC236}">
                <a16:creationId xmlns:a16="http://schemas.microsoft.com/office/drawing/2014/main" id="{1B36DB8D-D45A-45AD-A2EC-C7CD67DD10B3}"/>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See Appendix for WVD Client licensing requirements, including specific SKUs</a:t>
            </a:r>
          </a:p>
          <a:p>
            <a:pPr fontAlgn="base"/>
            <a:r>
              <a:rPr lang="en-US" sz="1000" dirty="0"/>
              <a:t>Note: Figures are illustrative and based on pre-configured assumptions; actual savings vary by user requirements and current licensing position</a:t>
            </a:r>
          </a:p>
          <a:p>
            <a:pPr fontAlgn="base"/>
            <a:r>
              <a:rPr lang="en-US" sz="1000" dirty="0"/>
              <a:t>Note: Customers who require Citrix or VMware management services to meet their needs will incur additional cost</a:t>
            </a:r>
          </a:p>
        </p:txBody>
      </p:sp>
      <p:pic>
        <p:nvPicPr>
          <p:cNvPr id="1737" name="Graphic 1736">
            <a:extLst>
              <a:ext uri="{FF2B5EF4-FFF2-40B4-BE49-F238E27FC236}">
                <a16:creationId xmlns:a16="http://schemas.microsoft.com/office/drawing/2014/main" id="{569B2F7C-1C06-484B-9785-DB288FA447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76336" y="4518512"/>
            <a:ext cx="1542527" cy="1371403"/>
          </a:xfrm>
          <a:prstGeom prst="rect">
            <a:avLst/>
          </a:prstGeom>
        </p:spPr>
      </p:pic>
      <p:grpSp>
        <p:nvGrpSpPr>
          <p:cNvPr id="11" name="Group 10">
            <a:extLst>
              <a:ext uri="{FF2B5EF4-FFF2-40B4-BE49-F238E27FC236}">
                <a16:creationId xmlns:a16="http://schemas.microsoft.com/office/drawing/2014/main" id="{D9D84C9C-0626-48ED-B2AC-EED80FD57453}"/>
              </a:ext>
            </a:extLst>
          </p:cNvPr>
          <p:cNvGrpSpPr/>
          <p:nvPr/>
        </p:nvGrpSpPr>
        <p:grpSpPr>
          <a:xfrm>
            <a:off x="2723570" y="3730900"/>
            <a:ext cx="1300535" cy="338554"/>
            <a:chOff x="2723570" y="3791860"/>
            <a:chExt cx="1300535" cy="338554"/>
          </a:xfrm>
        </p:grpSpPr>
        <p:sp>
          <p:nvSpPr>
            <p:cNvPr id="275" name="TextBox 274">
              <a:extLst>
                <a:ext uri="{FF2B5EF4-FFF2-40B4-BE49-F238E27FC236}">
                  <a16:creationId xmlns:a16="http://schemas.microsoft.com/office/drawing/2014/main" id="{D5160BE8-5DBC-4299-862C-20E3B5580C90}"/>
                </a:ext>
              </a:extLst>
            </p:cNvPr>
            <p:cNvSpPr txBox="1"/>
            <p:nvPr/>
          </p:nvSpPr>
          <p:spPr>
            <a:xfrm>
              <a:off x="3090932" y="3791860"/>
              <a:ext cx="933173" cy="338554"/>
            </a:xfrm>
            <a:prstGeom prst="rect">
              <a:avLst/>
            </a:prstGeom>
            <a:noFill/>
          </p:spPr>
          <p:txBody>
            <a:bodyPr wrap="square" lIns="0" tIns="0" rIns="0" bIns="0" rtlCol="0" anchor="ctr">
              <a:spAutoFit/>
            </a:bodyPr>
            <a:lstStyle/>
            <a:p>
              <a:pPr marL="0" marR="0" lvl="0" indent="0" algn="l" defTabSz="932509" rtl="0" eaLnBrk="1" fontAlgn="auto" latinLnBrk="0" hangingPunct="1">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Licensing (server)</a:t>
              </a:r>
            </a:p>
          </p:txBody>
        </p:sp>
        <p:sp>
          <p:nvSpPr>
            <p:cNvPr id="277" name="Oval 276">
              <a:extLst>
                <a:ext uri="{FF2B5EF4-FFF2-40B4-BE49-F238E27FC236}">
                  <a16:creationId xmlns:a16="http://schemas.microsoft.com/office/drawing/2014/main" id="{59BCE92C-588E-42A6-9ECD-AA03C8A752CB}"/>
                </a:ext>
              </a:extLst>
            </p:cNvPr>
            <p:cNvSpPr/>
            <p:nvPr/>
          </p:nvSpPr>
          <p:spPr bwMode="auto">
            <a:xfrm>
              <a:off x="2723570" y="3823976"/>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grpSp>
          <p:nvGrpSpPr>
            <p:cNvPr id="8" name="Group 7">
              <a:extLst>
                <a:ext uri="{FF2B5EF4-FFF2-40B4-BE49-F238E27FC236}">
                  <a16:creationId xmlns:a16="http://schemas.microsoft.com/office/drawing/2014/main" id="{D55F43F0-A107-43EE-842C-B96C68540A6D}"/>
                </a:ext>
              </a:extLst>
            </p:cNvPr>
            <p:cNvGrpSpPr/>
            <p:nvPr/>
          </p:nvGrpSpPr>
          <p:grpSpPr>
            <a:xfrm>
              <a:off x="2800094" y="3863955"/>
              <a:ext cx="154707" cy="194363"/>
              <a:chOff x="4594884" y="3363486"/>
              <a:chExt cx="698504" cy="877550"/>
            </a:xfrm>
          </p:grpSpPr>
          <p:sp>
            <p:nvSpPr>
              <p:cNvPr id="280" name="phone_6" title="Icon of a cellphone with a checkmark on the lower right corner">
                <a:extLst>
                  <a:ext uri="{FF2B5EF4-FFF2-40B4-BE49-F238E27FC236}">
                    <a16:creationId xmlns:a16="http://schemas.microsoft.com/office/drawing/2014/main" id="{2E5AC4C1-E783-47EE-A5FF-9FE195C68086}"/>
                  </a:ext>
                </a:extLst>
              </p:cNvPr>
              <p:cNvSpPr>
                <a:spLocks noChangeAspect="1" noEditPoints="1"/>
              </p:cNvSpPr>
              <p:nvPr/>
            </p:nvSpPr>
            <p:spPr bwMode="auto">
              <a:xfrm>
                <a:off x="4594884" y="3363486"/>
                <a:ext cx="698504" cy="877550"/>
              </a:xfrm>
              <a:custGeom>
                <a:avLst/>
                <a:gdLst>
                  <a:gd name="T0" fmla="*/ 116 w 229"/>
                  <a:gd name="T1" fmla="*/ 290 h 290"/>
                  <a:gd name="T2" fmla="*/ 14 w 229"/>
                  <a:gd name="T3" fmla="*/ 290 h 290"/>
                  <a:gd name="T4" fmla="*/ 0 w 229"/>
                  <a:gd name="T5" fmla="*/ 277 h 290"/>
                  <a:gd name="T6" fmla="*/ 0 w 229"/>
                  <a:gd name="T7" fmla="*/ 14 h 290"/>
                  <a:gd name="T8" fmla="*/ 14 w 229"/>
                  <a:gd name="T9" fmla="*/ 0 h 290"/>
                  <a:gd name="T10" fmla="*/ 159 w 229"/>
                  <a:gd name="T11" fmla="*/ 0 h 290"/>
                  <a:gd name="T12" fmla="*/ 172 w 229"/>
                  <a:gd name="T13" fmla="*/ 14 h 290"/>
                  <a:gd name="T14" fmla="*/ 172 w 229"/>
                  <a:gd name="T15" fmla="*/ 211 h 290"/>
                  <a:gd name="T16" fmla="*/ 123 w 229"/>
                  <a:gd name="T17" fmla="*/ 246 h 290"/>
                  <a:gd name="T18" fmla="*/ 155 w 229"/>
                  <a:gd name="T19" fmla="*/ 277 h 290"/>
                  <a:gd name="T20" fmla="*/ 229 w 229"/>
                  <a:gd name="T21" fmla="*/ 203 h 290"/>
                  <a:gd name="T22" fmla="*/ 59 w 229"/>
                  <a:gd name="T23" fmla="*/ 250 h 290"/>
                  <a:gd name="T24" fmla="*/ 84 w 229"/>
                  <a:gd name="T25" fmla="*/ 25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90">
                    <a:moveTo>
                      <a:pt x="116" y="290"/>
                    </a:moveTo>
                    <a:cubicBezTo>
                      <a:pt x="14" y="290"/>
                      <a:pt x="14" y="290"/>
                      <a:pt x="14" y="290"/>
                    </a:cubicBezTo>
                    <a:cubicBezTo>
                      <a:pt x="7" y="290"/>
                      <a:pt x="0" y="284"/>
                      <a:pt x="0" y="277"/>
                    </a:cubicBezTo>
                    <a:cubicBezTo>
                      <a:pt x="0" y="14"/>
                      <a:pt x="0" y="14"/>
                      <a:pt x="0" y="14"/>
                    </a:cubicBezTo>
                    <a:cubicBezTo>
                      <a:pt x="0" y="7"/>
                      <a:pt x="7" y="0"/>
                      <a:pt x="14" y="0"/>
                    </a:cubicBezTo>
                    <a:cubicBezTo>
                      <a:pt x="159" y="0"/>
                      <a:pt x="159" y="0"/>
                      <a:pt x="159" y="0"/>
                    </a:cubicBezTo>
                    <a:cubicBezTo>
                      <a:pt x="166" y="0"/>
                      <a:pt x="172" y="7"/>
                      <a:pt x="172" y="14"/>
                    </a:cubicBezTo>
                    <a:cubicBezTo>
                      <a:pt x="172" y="211"/>
                      <a:pt x="172" y="211"/>
                      <a:pt x="172" y="211"/>
                    </a:cubicBezTo>
                    <a:moveTo>
                      <a:pt x="123" y="246"/>
                    </a:moveTo>
                    <a:cubicBezTo>
                      <a:pt x="155" y="277"/>
                      <a:pt x="155" y="277"/>
                      <a:pt x="155" y="277"/>
                    </a:cubicBezTo>
                    <a:cubicBezTo>
                      <a:pt x="229" y="203"/>
                      <a:pt x="229" y="203"/>
                      <a:pt x="229" y="203"/>
                    </a:cubicBezTo>
                    <a:moveTo>
                      <a:pt x="59" y="250"/>
                    </a:moveTo>
                    <a:cubicBezTo>
                      <a:pt x="84" y="250"/>
                      <a:pt x="84" y="250"/>
                      <a:pt x="84" y="25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cxnSp>
            <p:nvCxnSpPr>
              <p:cNvPr id="7" name="Straight Connector 6">
                <a:extLst>
                  <a:ext uri="{FF2B5EF4-FFF2-40B4-BE49-F238E27FC236}">
                    <a16:creationId xmlns:a16="http://schemas.microsoft.com/office/drawing/2014/main" id="{81E2A582-326D-409E-BEBC-60CC988AC1AD}"/>
                  </a:ext>
                </a:extLst>
              </p:cNvPr>
              <p:cNvCxnSpPr/>
              <p:nvPr/>
            </p:nvCxnSpPr>
            <p:spPr>
              <a:xfrm>
                <a:off x="4699095" y="3967481"/>
                <a:ext cx="325812" cy="0"/>
              </a:xfrm>
              <a:prstGeom prst="line">
                <a:avLst/>
              </a:pr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4" name="Straight Connector 283">
                <a:extLst>
                  <a:ext uri="{FF2B5EF4-FFF2-40B4-BE49-F238E27FC236}">
                    <a16:creationId xmlns:a16="http://schemas.microsoft.com/office/drawing/2014/main" id="{9F0D16DB-AB31-44EB-B786-657F6B585D5A}"/>
                  </a:ext>
                </a:extLst>
              </p:cNvPr>
              <p:cNvCxnSpPr/>
              <p:nvPr/>
            </p:nvCxnSpPr>
            <p:spPr>
              <a:xfrm>
                <a:off x="4699095" y="3718497"/>
                <a:ext cx="325812" cy="0"/>
              </a:xfrm>
              <a:prstGeom prst="line">
                <a:avLst/>
              </a:pr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6" name="Straight Connector 285">
                <a:extLst>
                  <a:ext uri="{FF2B5EF4-FFF2-40B4-BE49-F238E27FC236}">
                    <a16:creationId xmlns:a16="http://schemas.microsoft.com/office/drawing/2014/main" id="{C5DF8513-62BF-4391-81FB-6F28CF63A6B9}"/>
                  </a:ext>
                </a:extLst>
              </p:cNvPr>
              <p:cNvCxnSpPr/>
              <p:nvPr/>
            </p:nvCxnSpPr>
            <p:spPr>
              <a:xfrm>
                <a:off x="4699095" y="3469517"/>
                <a:ext cx="325812" cy="0"/>
              </a:xfrm>
              <a:prstGeom prst="line">
                <a:avLst/>
              </a:pr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288" name="Group 287">
            <a:extLst>
              <a:ext uri="{FF2B5EF4-FFF2-40B4-BE49-F238E27FC236}">
                <a16:creationId xmlns:a16="http://schemas.microsoft.com/office/drawing/2014/main" id="{32A39C76-F174-463B-9E87-C4DAC072B3C5}"/>
              </a:ext>
            </a:extLst>
          </p:cNvPr>
          <p:cNvGrpSpPr/>
          <p:nvPr/>
        </p:nvGrpSpPr>
        <p:grpSpPr>
          <a:xfrm>
            <a:off x="10052458" y="146014"/>
            <a:ext cx="2033626" cy="1015650"/>
            <a:chOff x="10052458" y="146014"/>
            <a:chExt cx="2033626" cy="1015650"/>
          </a:xfrm>
        </p:grpSpPr>
        <p:pic>
          <p:nvPicPr>
            <p:cNvPr id="289" name="Picture 288">
              <a:extLst>
                <a:ext uri="{FF2B5EF4-FFF2-40B4-BE49-F238E27FC236}">
                  <a16:creationId xmlns:a16="http://schemas.microsoft.com/office/drawing/2014/main" id="{78494A6D-F9BF-4C80-A1B8-5E5209222DC2}"/>
                </a:ext>
              </a:extLst>
            </p:cNvPr>
            <p:cNvPicPr>
              <a:picLocks noChangeAspect="1"/>
            </p:cNvPicPr>
            <p:nvPr/>
          </p:nvPicPr>
          <p:blipFill>
            <a:blip r:embed="rId10"/>
            <a:stretch>
              <a:fillRect/>
            </a:stretch>
          </p:blipFill>
          <p:spPr>
            <a:xfrm>
              <a:off x="10052458" y="146014"/>
              <a:ext cx="2033626" cy="1015650"/>
            </a:xfrm>
            <a:prstGeom prst="rect">
              <a:avLst/>
            </a:prstGeom>
          </p:spPr>
        </p:pic>
        <p:sp>
          <p:nvSpPr>
            <p:cNvPr id="290" name="Rectangle 289">
              <a:extLst>
                <a:ext uri="{FF2B5EF4-FFF2-40B4-BE49-F238E27FC236}">
                  <a16:creationId xmlns:a16="http://schemas.microsoft.com/office/drawing/2014/main" id="{0AAC0405-665F-4852-90A2-DB4E61E604D5}"/>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197354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264631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8"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Savings on RDS CAL with Multi-session Deployment</a:t>
            </a:r>
          </a:p>
        </p:txBody>
      </p:sp>
      <p:sp>
        <p:nvSpPr>
          <p:cNvPr id="1671" name="Rectangle 1670">
            <a:extLst>
              <a:ext uri="{FF2B5EF4-FFF2-40B4-BE49-F238E27FC236}">
                <a16:creationId xmlns:a16="http://schemas.microsoft.com/office/drawing/2014/main" id="{A3947CBA-FE57-4B3E-9B42-EF937CB67A22}"/>
              </a:ext>
            </a:extLst>
          </p:cNvPr>
          <p:cNvSpPr/>
          <p:nvPr/>
        </p:nvSpPr>
        <p:spPr>
          <a:xfrm>
            <a:off x="533943" y="114846"/>
            <a:ext cx="3109249" cy="369332"/>
          </a:xfrm>
          <a:prstGeom prst="rect">
            <a:avLst/>
          </a:prstGeom>
        </p:spPr>
        <p:txBody>
          <a:bodyPr wrap="none">
            <a:spAutoFit/>
          </a:bodyPr>
          <a:lstStyle/>
          <a:p>
            <a:r>
              <a:rPr lang="en-US" b="1" i="1" dirty="0"/>
              <a:t>Cost-advantaged licensing</a:t>
            </a:r>
          </a:p>
        </p:txBody>
      </p:sp>
      <p:sp>
        <p:nvSpPr>
          <p:cNvPr id="380" name="Rectangle 379">
            <a:extLst>
              <a:ext uri="{FF2B5EF4-FFF2-40B4-BE49-F238E27FC236}">
                <a16:creationId xmlns:a16="http://schemas.microsoft.com/office/drawing/2014/main" id="{CE24F3EF-558C-45DB-B2A1-6F92B68A4B76}"/>
              </a:ext>
            </a:extLst>
          </p:cNvPr>
          <p:cNvSpPr/>
          <p:nvPr/>
        </p:nvSpPr>
        <p:spPr bwMode="auto">
          <a:xfrm>
            <a:off x="584200" y="2351226"/>
            <a:ext cx="7330440" cy="36593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381" name="TextBox 380">
            <a:extLst>
              <a:ext uri="{FF2B5EF4-FFF2-40B4-BE49-F238E27FC236}">
                <a16:creationId xmlns:a16="http://schemas.microsoft.com/office/drawing/2014/main" id="{DC46F080-02F2-4DD5-9F2D-FFFEA4E17A5C}"/>
              </a:ext>
            </a:extLst>
          </p:cNvPr>
          <p:cNvSpPr txBox="1"/>
          <p:nvPr/>
        </p:nvSpPr>
        <p:spPr>
          <a:xfrm>
            <a:off x="651493" y="2411901"/>
            <a:ext cx="3307089" cy="35041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382" name="TextBox 381">
            <a:extLst>
              <a:ext uri="{FF2B5EF4-FFF2-40B4-BE49-F238E27FC236}">
                <a16:creationId xmlns:a16="http://schemas.microsoft.com/office/drawing/2014/main" id="{B5FB9FCA-D84D-42C7-BB04-84B6EA14FFD4}"/>
              </a:ext>
            </a:extLst>
          </p:cNvPr>
          <p:cNvSpPr txBox="1"/>
          <p:nvPr/>
        </p:nvSpPr>
        <p:spPr>
          <a:xfrm>
            <a:off x="4540258" y="2411901"/>
            <a:ext cx="3307089" cy="350530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grpSp>
        <p:nvGrpSpPr>
          <p:cNvPr id="383" name="Group 382">
            <a:extLst>
              <a:ext uri="{FF2B5EF4-FFF2-40B4-BE49-F238E27FC236}">
                <a16:creationId xmlns:a16="http://schemas.microsoft.com/office/drawing/2014/main" id="{20E4AB56-0BAE-438F-B571-CB465459A239}"/>
              </a:ext>
            </a:extLst>
          </p:cNvPr>
          <p:cNvGrpSpPr/>
          <p:nvPr/>
        </p:nvGrpSpPr>
        <p:grpSpPr>
          <a:xfrm>
            <a:off x="4048759" y="2550635"/>
            <a:ext cx="401322" cy="3292123"/>
            <a:chOff x="4048759" y="2770559"/>
            <a:chExt cx="401322" cy="3292123"/>
          </a:xfrm>
        </p:grpSpPr>
        <p:cxnSp>
          <p:nvCxnSpPr>
            <p:cNvPr id="384" name="Straight Connector 383">
              <a:extLst>
                <a:ext uri="{FF2B5EF4-FFF2-40B4-BE49-F238E27FC236}">
                  <a16:creationId xmlns:a16="http://schemas.microsoft.com/office/drawing/2014/main" id="{2BE464B1-ED45-4244-8314-4712607150B5}"/>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85" name="Group 384">
              <a:extLst>
                <a:ext uri="{FF2B5EF4-FFF2-40B4-BE49-F238E27FC236}">
                  <a16:creationId xmlns:a16="http://schemas.microsoft.com/office/drawing/2014/main" id="{044EB4BC-C3E9-411A-B57F-86E5BE2DF93E}"/>
                </a:ext>
              </a:extLst>
            </p:cNvPr>
            <p:cNvGrpSpPr/>
            <p:nvPr/>
          </p:nvGrpSpPr>
          <p:grpSpPr>
            <a:xfrm>
              <a:off x="4048759" y="4250939"/>
              <a:ext cx="401322" cy="401322"/>
              <a:chOff x="4048759" y="4228862"/>
              <a:chExt cx="401322" cy="401322"/>
            </a:xfrm>
          </p:grpSpPr>
          <p:sp>
            <p:nvSpPr>
              <p:cNvPr id="386" name="Oval 385">
                <a:extLst>
                  <a:ext uri="{FF2B5EF4-FFF2-40B4-BE49-F238E27FC236}">
                    <a16:creationId xmlns:a16="http://schemas.microsoft.com/office/drawing/2014/main" id="{3831A8DF-D2A6-42AC-B2AD-C0F10F4107C7}"/>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87" name="Isosceles Triangle 386">
                <a:extLst>
                  <a:ext uri="{FF2B5EF4-FFF2-40B4-BE49-F238E27FC236}">
                    <a16:creationId xmlns:a16="http://schemas.microsoft.com/office/drawing/2014/main" id="{1253E1BA-5744-4498-AEA7-C70AC591C1A0}"/>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33" name="Group 153">
            <a:extLst>
              <a:ext uri="{FF2B5EF4-FFF2-40B4-BE49-F238E27FC236}">
                <a16:creationId xmlns:a16="http://schemas.microsoft.com/office/drawing/2014/main" id="{50CE1996-FAB8-4208-B22B-6D157FF9DCB1}"/>
              </a:ext>
            </a:extLst>
          </p:cNvPr>
          <p:cNvGrpSpPr>
            <a:grpSpLocks noChangeAspect="1"/>
          </p:cNvGrpSpPr>
          <p:nvPr/>
        </p:nvGrpSpPr>
        <p:grpSpPr bwMode="auto">
          <a:xfrm>
            <a:off x="887610" y="3001613"/>
            <a:ext cx="509136" cy="508776"/>
            <a:chOff x="2501" y="790"/>
            <a:chExt cx="2832" cy="2830"/>
          </a:xfrm>
        </p:grpSpPr>
        <p:sp>
          <p:nvSpPr>
            <p:cNvPr id="857" name="Oval 154">
              <a:extLst>
                <a:ext uri="{FF2B5EF4-FFF2-40B4-BE49-F238E27FC236}">
                  <a16:creationId xmlns:a16="http://schemas.microsoft.com/office/drawing/2014/main" id="{9DF1C966-D0C7-4C56-B3DD-B2DF27EFEDC2}"/>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8" name="Freeform 155">
              <a:extLst>
                <a:ext uri="{FF2B5EF4-FFF2-40B4-BE49-F238E27FC236}">
                  <a16:creationId xmlns:a16="http://schemas.microsoft.com/office/drawing/2014/main" id="{43B2878D-56FC-471B-90DD-CF559E406014}"/>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7" name="Freeform 156">
              <a:extLst>
                <a:ext uri="{FF2B5EF4-FFF2-40B4-BE49-F238E27FC236}">
                  <a16:creationId xmlns:a16="http://schemas.microsoft.com/office/drawing/2014/main" id="{46D49A76-3F14-49C4-AD6A-1FA67C181628}"/>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8" name="Freeform 157">
              <a:extLst>
                <a:ext uri="{FF2B5EF4-FFF2-40B4-BE49-F238E27FC236}">
                  <a16:creationId xmlns:a16="http://schemas.microsoft.com/office/drawing/2014/main" id="{59BEC054-97DF-4F55-B433-9AE8516F489C}"/>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9" name="Freeform 158">
              <a:extLst>
                <a:ext uri="{FF2B5EF4-FFF2-40B4-BE49-F238E27FC236}">
                  <a16:creationId xmlns:a16="http://schemas.microsoft.com/office/drawing/2014/main" id="{9967E91A-3A00-41AE-9EFF-C8A248B1321F}"/>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0" name="Freeform 159">
              <a:extLst>
                <a:ext uri="{FF2B5EF4-FFF2-40B4-BE49-F238E27FC236}">
                  <a16:creationId xmlns:a16="http://schemas.microsoft.com/office/drawing/2014/main" id="{42783F4F-8522-4429-8F0F-1D4CBB117595}"/>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1" name="Freeform 160">
              <a:extLst>
                <a:ext uri="{FF2B5EF4-FFF2-40B4-BE49-F238E27FC236}">
                  <a16:creationId xmlns:a16="http://schemas.microsoft.com/office/drawing/2014/main" id="{4D9F7419-C490-44D2-9630-C35B590943B9}"/>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2" name="Freeform 161">
              <a:extLst>
                <a:ext uri="{FF2B5EF4-FFF2-40B4-BE49-F238E27FC236}">
                  <a16:creationId xmlns:a16="http://schemas.microsoft.com/office/drawing/2014/main" id="{F8ECC1B6-F036-46E5-9F18-D1CE1401AF77}"/>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5" name="Freeform 162">
              <a:extLst>
                <a:ext uri="{FF2B5EF4-FFF2-40B4-BE49-F238E27FC236}">
                  <a16:creationId xmlns:a16="http://schemas.microsoft.com/office/drawing/2014/main" id="{C42F5A68-8EDD-4CA3-972F-199F0B1561D5}"/>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6" name="Freeform 163">
              <a:extLst>
                <a:ext uri="{FF2B5EF4-FFF2-40B4-BE49-F238E27FC236}">
                  <a16:creationId xmlns:a16="http://schemas.microsoft.com/office/drawing/2014/main" id="{0087CB86-0D37-479B-B490-1E7C40180915}"/>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7" name="Freeform 164">
              <a:extLst>
                <a:ext uri="{FF2B5EF4-FFF2-40B4-BE49-F238E27FC236}">
                  <a16:creationId xmlns:a16="http://schemas.microsoft.com/office/drawing/2014/main" id="{3B1A1E02-9F48-4D27-8152-DCEC44503FD1}"/>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8" name="Oval 165">
              <a:extLst>
                <a:ext uri="{FF2B5EF4-FFF2-40B4-BE49-F238E27FC236}">
                  <a16:creationId xmlns:a16="http://schemas.microsoft.com/office/drawing/2014/main" id="{003312FC-120D-4E7D-8DD7-3B1E57D0C624}"/>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9" name="Oval 166">
              <a:extLst>
                <a:ext uri="{FF2B5EF4-FFF2-40B4-BE49-F238E27FC236}">
                  <a16:creationId xmlns:a16="http://schemas.microsoft.com/office/drawing/2014/main" id="{35FF06FE-1135-41CD-BEB8-EB6C666F2A2E}"/>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0" name="Freeform 167">
              <a:extLst>
                <a:ext uri="{FF2B5EF4-FFF2-40B4-BE49-F238E27FC236}">
                  <a16:creationId xmlns:a16="http://schemas.microsoft.com/office/drawing/2014/main" id="{065BB849-F509-4CE4-8D02-791EF0430FB1}"/>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1" name="Freeform 168">
              <a:extLst>
                <a:ext uri="{FF2B5EF4-FFF2-40B4-BE49-F238E27FC236}">
                  <a16:creationId xmlns:a16="http://schemas.microsoft.com/office/drawing/2014/main" id="{4BA299D1-9DA9-4F73-BC45-06BB8C9060A4}"/>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2" name="Freeform 169">
              <a:extLst>
                <a:ext uri="{FF2B5EF4-FFF2-40B4-BE49-F238E27FC236}">
                  <a16:creationId xmlns:a16="http://schemas.microsoft.com/office/drawing/2014/main" id="{1F90F53F-EBC3-4102-8664-B59C1E3C0A5D}"/>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3" name="Freeform 170">
              <a:extLst>
                <a:ext uri="{FF2B5EF4-FFF2-40B4-BE49-F238E27FC236}">
                  <a16:creationId xmlns:a16="http://schemas.microsoft.com/office/drawing/2014/main" id="{E117AFB3-A55A-4E78-BC61-777723009D57}"/>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4" name="Freeform 171">
              <a:extLst>
                <a:ext uri="{FF2B5EF4-FFF2-40B4-BE49-F238E27FC236}">
                  <a16:creationId xmlns:a16="http://schemas.microsoft.com/office/drawing/2014/main" id="{02E84DA1-3E44-47D8-AA1B-B28C0E271881}"/>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5" name="Freeform 172">
              <a:extLst>
                <a:ext uri="{FF2B5EF4-FFF2-40B4-BE49-F238E27FC236}">
                  <a16:creationId xmlns:a16="http://schemas.microsoft.com/office/drawing/2014/main" id="{75A05BDE-7553-4802-90DB-71D6BB1EF72C}"/>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6" name="Freeform 173">
              <a:extLst>
                <a:ext uri="{FF2B5EF4-FFF2-40B4-BE49-F238E27FC236}">
                  <a16:creationId xmlns:a16="http://schemas.microsoft.com/office/drawing/2014/main" id="{A28AE7E3-3FCF-4718-9B68-19C51CFEBCD7}"/>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7" name="Freeform 174">
              <a:extLst>
                <a:ext uri="{FF2B5EF4-FFF2-40B4-BE49-F238E27FC236}">
                  <a16:creationId xmlns:a16="http://schemas.microsoft.com/office/drawing/2014/main" id="{E7152737-C807-4E8A-B8A4-FCE303DAF80F}"/>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98" name="Rectangle 997">
            <a:extLst>
              <a:ext uri="{FF2B5EF4-FFF2-40B4-BE49-F238E27FC236}">
                <a16:creationId xmlns:a16="http://schemas.microsoft.com/office/drawing/2014/main" id="{C4278304-F01A-4055-8890-190F96AFE1B8}"/>
              </a:ext>
            </a:extLst>
          </p:cNvPr>
          <p:cNvSpPr/>
          <p:nvPr/>
        </p:nvSpPr>
        <p:spPr>
          <a:xfrm>
            <a:off x="776694" y="3854638"/>
            <a:ext cx="730969" cy="215444"/>
          </a:xfrm>
          <a:prstGeom prst="rect">
            <a:avLst/>
          </a:prstGeom>
        </p:spPr>
        <p:txBody>
          <a:bodyPr wrap="none" lIns="0" tIns="0" rIns="0" bIns="0">
            <a:spAutoFit/>
          </a:bodyPr>
          <a:lstStyle/>
          <a:p>
            <a:r>
              <a:rPr lang="en-US" sz="1400" b="1" dirty="0">
                <a:solidFill>
                  <a:schemeClr val="tx2"/>
                </a:solidFill>
              </a:rPr>
              <a:t>RDS CAL</a:t>
            </a:r>
          </a:p>
        </p:txBody>
      </p:sp>
      <p:grpSp>
        <p:nvGrpSpPr>
          <p:cNvPr id="999" name="Group 595">
            <a:extLst>
              <a:ext uri="{FF2B5EF4-FFF2-40B4-BE49-F238E27FC236}">
                <a16:creationId xmlns:a16="http://schemas.microsoft.com/office/drawing/2014/main" id="{315ECF98-9830-4049-957B-6D1C2CE1632B}"/>
              </a:ext>
            </a:extLst>
          </p:cNvPr>
          <p:cNvGrpSpPr>
            <a:grpSpLocks noChangeAspect="1"/>
          </p:cNvGrpSpPr>
          <p:nvPr/>
        </p:nvGrpSpPr>
        <p:grpSpPr bwMode="auto">
          <a:xfrm>
            <a:off x="2050860" y="3001253"/>
            <a:ext cx="509496" cy="509136"/>
            <a:chOff x="2499" y="790"/>
            <a:chExt cx="2832" cy="2830"/>
          </a:xfrm>
        </p:grpSpPr>
        <p:sp>
          <p:nvSpPr>
            <p:cNvPr id="1000" name="Oval 596">
              <a:extLst>
                <a:ext uri="{FF2B5EF4-FFF2-40B4-BE49-F238E27FC236}">
                  <a16:creationId xmlns:a16="http://schemas.microsoft.com/office/drawing/2014/main" id="{CBA76937-F149-463A-9E04-523939EF83C1}"/>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1" name="Freeform 597">
              <a:extLst>
                <a:ext uri="{FF2B5EF4-FFF2-40B4-BE49-F238E27FC236}">
                  <a16:creationId xmlns:a16="http://schemas.microsoft.com/office/drawing/2014/main" id="{4A79EED8-D844-4B89-9297-DC4A64ECBA9A}"/>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2" name="Freeform 598">
              <a:extLst>
                <a:ext uri="{FF2B5EF4-FFF2-40B4-BE49-F238E27FC236}">
                  <a16:creationId xmlns:a16="http://schemas.microsoft.com/office/drawing/2014/main" id="{0B119C23-0F6C-42B1-9213-EE57CE769696}"/>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3" name="Freeform 599">
              <a:extLst>
                <a:ext uri="{FF2B5EF4-FFF2-40B4-BE49-F238E27FC236}">
                  <a16:creationId xmlns:a16="http://schemas.microsoft.com/office/drawing/2014/main" id="{9230E1C7-3FEF-4226-A16A-31137B5C37EE}"/>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4" name="Freeform 600">
              <a:extLst>
                <a:ext uri="{FF2B5EF4-FFF2-40B4-BE49-F238E27FC236}">
                  <a16:creationId xmlns:a16="http://schemas.microsoft.com/office/drawing/2014/main" id="{03D29984-CF28-4F78-8734-110016B9DB4A}"/>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5" name="Freeform 601">
              <a:extLst>
                <a:ext uri="{FF2B5EF4-FFF2-40B4-BE49-F238E27FC236}">
                  <a16:creationId xmlns:a16="http://schemas.microsoft.com/office/drawing/2014/main" id="{DE774B98-6BCD-4D19-974A-F5B7E82FEE5E}"/>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6" name="Freeform 602">
              <a:extLst>
                <a:ext uri="{FF2B5EF4-FFF2-40B4-BE49-F238E27FC236}">
                  <a16:creationId xmlns:a16="http://schemas.microsoft.com/office/drawing/2014/main" id="{288B3268-C630-482E-93E4-9C70339AB7F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7" name="Freeform 603">
              <a:extLst>
                <a:ext uri="{FF2B5EF4-FFF2-40B4-BE49-F238E27FC236}">
                  <a16:creationId xmlns:a16="http://schemas.microsoft.com/office/drawing/2014/main" id="{E459189F-AEF7-4BC8-A528-1AEC9B842014}"/>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8" name="Freeform 604">
              <a:extLst>
                <a:ext uri="{FF2B5EF4-FFF2-40B4-BE49-F238E27FC236}">
                  <a16:creationId xmlns:a16="http://schemas.microsoft.com/office/drawing/2014/main" id="{9AFDF1A6-73AF-4CE7-9E4A-5DEE6C9123B7}"/>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9" name="Freeform 605">
              <a:extLst>
                <a:ext uri="{FF2B5EF4-FFF2-40B4-BE49-F238E27FC236}">
                  <a16:creationId xmlns:a16="http://schemas.microsoft.com/office/drawing/2014/main" id="{64469E16-CF68-439F-8BEC-5091E92B7229}"/>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0" name="Freeform 606">
              <a:extLst>
                <a:ext uri="{FF2B5EF4-FFF2-40B4-BE49-F238E27FC236}">
                  <a16:creationId xmlns:a16="http://schemas.microsoft.com/office/drawing/2014/main" id="{A8F7362A-DEAE-4D29-8775-5C8BFF315E81}"/>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1" name="Freeform 607">
              <a:extLst>
                <a:ext uri="{FF2B5EF4-FFF2-40B4-BE49-F238E27FC236}">
                  <a16:creationId xmlns:a16="http://schemas.microsoft.com/office/drawing/2014/main" id="{A53713C3-EB17-4B06-A39E-BEBCDFAD6483}"/>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2" name="Oval 608">
              <a:extLst>
                <a:ext uri="{FF2B5EF4-FFF2-40B4-BE49-F238E27FC236}">
                  <a16:creationId xmlns:a16="http://schemas.microsoft.com/office/drawing/2014/main" id="{33BDD5D0-D205-47BC-BC87-4371E8E594F7}"/>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4" name="Freeform 609">
              <a:extLst>
                <a:ext uri="{FF2B5EF4-FFF2-40B4-BE49-F238E27FC236}">
                  <a16:creationId xmlns:a16="http://schemas.microsoft.com/office/drawing/2014/main" id="{19A6BDA7-A854-465D-97D2-8F4B9817502E}"/>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5" name="Freeform 610">
              <a:extLst>
                <a:ext uri="{FF2B5EF4-FFF2-40B4-BE49-F238E27FC236}">
                  <a16:creationId xmlns:a16="http://schemas.microsoft.com/office/drawing/2014/main" id="{8FAC746E-5B04-4FC2-9FAD-5AF3AB1A3E20}"/>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6" name="Freeform 611">
              <a:extLst>
                <a:ext uri="{FF2B5EF4-FFF2-40B4-BE49-F238E27FC236}">
                  <a16:creationId xmlns:a16="http://schemas.microsoft.com/office/drawing/2014/main" id="{60745235-1C0F-4611-A39B-37FD8E1018A8}"/>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7" name="Freeform 612">
              <a:extLst>
                <a:ext uri="{FF2B5EF4-FFF2-40B4-BE49-F238E27FC236}">
                  <a16:creationId xmlns:a16="http://schemas.microsoft.com/office/drawing/2014/main" id="{9474F373-DE39-4465-B1B3-35D84C0D3A79}"/>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8" name="Freeform 613">
              <a:extLst>
                <a:ext uri="{FF2B5EF4-FFF2-40B4-BE49-F238E27FC236}">
                  <a16:creationId xmlns:a16="http://schemas.microsoft.com/office/drawing/2014/main" id="{23899661-3589-40B6-BC31-50DA861A7832}"/>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9" name="Freeform 614">
              <a:extLst>
                <a:ext uri="{FF2B5EF4-FFF2-40B4-BE49-F238E27FC236}">
                  <a16:creationId xmlns:a16="http://schemas.microsoft.com/office/drawing/2014/main" id="{7BBA5AD6-E078-43E8-8A0D-6EB181C89434}"/>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20" name="Rectangle 1019">
            <a:extLst>
              <a:ext uri="{FF2B5EF4-FFF2-40B4-BE49-F238E27FC236}">
                <a16:creationId xmlns:a16="http://schemas.microsoft.com/office/drawing/2014/main" id="{64D988BA-918D-430A-BFD5-AFD6B5338BBC}"/>
              </a:ext>
            </a:extLst>
          </p:cNvPr>
          <p:cNvSpPr/>
          <p:nvPr/>
        </p:nvSpPr>
        <p:spPr>
          <a:xfrm>
            <a:off x="1939552" y="3854638"/>
            <a:ext cx="730969" cy="215444"/>
          </a:xfrm>
          <a:prstGeom prst="rect">
            <a:avLst/>
          </a:prstGeom>
        </p:spPr>
        <p:txBody>
          <a:bodyPr wrap="none" lIns="0" tIns="0" rIns="0" bIns="0">
            <a:spAutoFit/>
          </a:bodyPr>
          <a:lstStyle/>
          <a:p>
            <a:r>
              <a:rPr lang="en-US" sz="1400" b="1" dirty="0">
                <a:solidFill>
                  <a:schemeClr val="tx2"/>
                </a:solidFill>
              </a:rPr>
              <a:t>RDS CAL</a:t>
            </a:r>
          </a:p>
        </p:txBody>
      </p:sp>
      <p:grpSp>
        <p:nvGrpSpPr>
          <p:cNvPr id="1021" name="Group 925">
            <a:extLst>
              <a:ext uri="{FF2B5EF4-FFF2-40B4-BE49-F238E27FC236}">
                <a16:creationId xmlns:a16="http://schemas.microsoft.com/office/drawing/2014/main" id="{7276CD1C-084C-47DE-B121-FDDFE076B9AD}"/>
              </a:ext>
            </a:extLst>
          </p:cNvPr>
          <p:cNvGrpSpPr>
            <a:grpSpLocks noChangeAspect="1"/>
          </p:cNvGrpSpPr>
          <p:nvPr/>
        </p:nvGrpSpPr>
        <p:grpSpPr bwMode="auto">
          <a:xfrm>
            <a:off x="3213147" y="3001253"/>
            <a:ext cx="508352" cy="509136"/>
            <a:chOff x="2619" y="903"/>
            <a:chExt cx="2592" cy="2596"/>
          </a:xfrm>
        </p:grpSpPr>
        <p:sp>
          <p:nvSpPr>
            <p:cNvPr id="1022" name="Oval 926">
              <a:extLst>
                <a:ext uri="{FF2B5EF4-FFF2-40B4-BE49-F238E27FC236}">
                  <a16:creationId xmlns:a16="http://schemas.microsoft.com/office/drawing/2014/main" id="{8C22F45E-53EF-47A0-8C25-19AF2DEF8711}"/>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3" name="Freeform 927">
              <a:extLst>
                <a:ext uri="{FF2B5EF4-FFF2-40B4-BE49-F238E27FC236}">
                  <a16:creationId xmlns:a16="http://schemas.microsoft.com/office/drawing/2014/main" id="{D5427100-B259-460C-91FF-55DFF3268F7B}"/>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4" name="Freeform 928">
              <a:extLst>
                <a:ext uri="{FF2B5EF4-FFF2-40B4-BE49-F238E27FC236}">
                  <a16:creationId xmlns:a16="http://schemas.microsoft.com/office/drawing/2014/main" id="{70CEF8CB-5ECC-4FBF-BC8B-CDE8CF523387}"/>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5" name="Freeform 929">
              <a:extLst>
                <a:ext uri="{FF2B5EF4-FFF2-40B4-BE49-F238E27FC236}">
                  <a16:creationId xmlns:a16="http://schemas.microsoft.com/office/drawing/2014/main" id="{A35962F4-8944-4A6E-B0EA-CEAE13F0869E}"/>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6" name="Freeform 930">
              <a:extLst>
                <a:ext uri="{FF2B5EF4-FFF2-40B4-BE49-F238E27FC236}">
                  <a16:creationId xmlns:a16="http://schemas.microsoft.com/office/drawing/2014/main" id="{181493E2-4E72-4172-A850-1B68E98BF243}"/>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7" name="Freeform 931">
              <a:extLst>
                <a:ext uri="{FF2B5EF4-FFF2-40B4-BE49-F238E27FC236}">
                  <a16:creationId xmlns:a16="http://schemas.microsoft.com/office/drawing/2014/main" id="{699580A7-7000-408B-99D1-B15B07D50FD6}"/>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8" name="Freeform 932">
              <a:extLst>
                <a:ext uri="{FF2B5EF4-FFF2-40B4-BE49-F238E27FC236}">
                  <a16:creationId xmlns:a16="http://schemas.microsoft.com/office/drawing/2014/main" id="{A77CDD1B-B3F7-4B27-9221-712A9BF96624}"/>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9" name="Freeform 933">
              <a:extLst>
                <a:ext uri="{FF2B5EF4-FFF2-40B4-BE49-F238E27FC236}">
                  <a16:creationId xmlns:a16="http://schemas.microsoft.com/office/drawing/2014/main" id="{DEB3C56B-0FEB-4EE9-ADD1-397A4CC78EF3}"/>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0" name="Freeform 934">
              <a:extLst>
                <a:ext uri="{FF2B5EF4-FFF2-40B4-BE49-F238E27FC236}">
                  <a16:creationId xmlns:a16="http://schemas.microsoft.com/office/drawing/2014/main" id="{0B364EF0-22F6-4FBB-BBAB-4DB224EBA790}"/>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1" name="Freeform 935">
              <a:extLst>
                <a:ext uri="{FF2B5EF4-FFF2-40B4-BE49-F238E27FC236}">
                  <a16:creationId xmlns:a16="http://schemas.microsoft.com/office/drawing/2014/main" id="{5894323A-AA38-4470-A02A-060DE7421593}"/>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2" name="Freeform 936">
              <a:extLst>
                <a:ext uri="{FF2B5EF4-FFF2-40B4-BE49-F238E27FC236}">
                  <a16:creationId xmlns:a16="http://schemas.microsoft.com/office/drawing/2014/main" id="{E7F628E2-2856-41EE-9A2A-E5645EA15984}"/>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3" name="Freeform 937">
              <a:extLst>
                <a:ext uri="{FF2B5EF4-FFF2-40B4-BE49-F238E27FC236}">
                  <a16:creationId xmlns:a16="http://schemas.microsoft.com/office/drawing/2014/main" id="{804446FB-C70A-4711-8037-ECDB91768CE2}"/>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5" name="Freeform 938">
              <a:extLst>
                <a:ext uri="{FF2B5EF4-FFF2-40B4-BE49-F238E27FC236}">
                  <a16:creationId xmlns:a16="http://schemas.microsoft.com/office/drawing/2014/main" id="{3F5AC8B2-E260-46EF-9868-2DFEE46ECADC}"/>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6" name="Oval 939">
              <a:extLst>
                <a:ext uri="{FF2B5EF4-FFF2-40B4-BE49-F238E27FC236}">
                  <a16:creationId xmlns:a16="http://schemas.microsoft.com/office/drawing/2014/main" id="{7E7E0D7E-1A25-4D6A-92FB-32A4BF758CA4}"/>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7" name="Oval 940">
              <a:extLst>
                <a:ext uri="{FF2B5EF4-FFF2-40B4-BE49-F238E27FC236}">
                  <a16:creationId xmlns:a16="http://schemas.microsoft.com/office/drawing/2014/main" id="{EC02129B-BC1A-4949-AAA1-A20AD846B85F}"/>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8" name="Freeform 941">
              <a:extLst>
                <a:ext uri="{FF2B5EF4-FFF2-40B4-BE49-F238E27FC236}">
                  <a16:creationId xmlns:a16="http://schemas.microsoft.com/office/drawing/2014/main" id="{9832D401-BC9B-4CA0-8BF1-4EABC01C30E8}"/>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9" name="Freeform 942">
              <a:extLst>
                <a:ext uri="{FF2B5EF4-FFF2-40B4-BE49-F238E27FC236}">
                  <a16:creationId xmlns:a16="http://schemas.microsoft.com/office/drawing/2014/main" id="{7D387799-7CED-4B90-B26B-CA504850082D}"/>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0" name="Freeform 943">
              <a:extLst>
                <a:ext uri="{FF2B5EF4-FFF2-40B4-BE49-F238E27FC236}">
                  <a16:creationId xmlns:a16="http://schemas.microsoft.com/office/drawing/2014/main" id="{9FEE4E6E-7AC4-41FE-A113-2A3342AC4CF5}"/>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41" name="Rectangle 1040">
            <a:extLst>
              <a:ext uri="{FF2B5EF4-FFF2-40B4-BE49-F238E27FC236}">
                <a16:creationId xmlns:a16="http://schemas.microsoft.com/office/drawing/2014/main" id="{7DDFA296-6E06-4001-9E8C-A9A0ECC1A477}"/>
              </a:ext>
            </a:extLst>
          </p:cNvPr>
          <p:cNvSpPr/>
          <p:nvPr/>
        </p:nvSpPr>
        <p:spPr>
          <a:xfrm>
            <a:off x="3102411" y="3854638"/>
            <a:ext cx="730969" cy="215444"/>
          </a:xfrm>
          <a:prstGeom prst="rect">
            <a:avLst/>
          </a:prstGeom>
        </p:spPr>
        <p:txBody>
          <a:bodyPr wrap="none" lIns="0" tIns="0" rIns="0" bIns="0">
            <a:spAutoFit/>
          </a:bodyPr>
          <a:lstStyle/>
          <a:p>
            <a:r>
              <a:rPr lang="en-US" sz="1400" b="1" dirty="0">
                <a:solidFill>
                  <a:schemeClr val="tx2"/>
                </a:solidFill>
              </a:rPr>
              <a:t>RDS CAL</a:t>
            </a:r>
          </a:p>
        </p:txBody>
      </p:sp>
      <p:grpSp>
        <p:nvGrpSpPr>
          <p:cNvPr id="1043" name="Group 153">
            <a:extLst>
              <a:ext uri="{FF2B5EF4-FFF2-40B4-BE49-F238E27FC236}">
                <a16:creationId xmlns:a16="http://schemas.microsoft.com/office/drawing/2014/main" id="{823B4E7F-44C3-4FCF-905D-99A84FFC7C29}"/>
              </a:ext>
            </a:extLst>
          </p:cNvPr>
          <p:cNvGrpSpPr>
            <a:grpSpLocks noChangeAspect="1"/>
          </p:cNvGrpSpPr>
          <p:nvPr/>
        </p:nvGrpSpPr>
        <p:grpSpPr bwMode="auto">
          <a:xfrm>
            <a:off x="4776375" y="3001613"/>
            <a:ext cx="509136" cy="508776"/>
            <a:chOff x="2501" y="790"/>
            <a:chExt cx="2832" cy="2830"/>
          </a:xfrm>
        </p:grpSpPr>
        <p:sp>
          <p:nvSpPr>
            <p:cNvPr id="1044" name="Oval 154">
              <a:extLst>
                <a:ext uri="{FF2B5EF4-FFF2-40B4-BE49-F238E27FC236}">
                  <a16:creationId xmlns:a16="http://schemas.microsoft.com/office/drawing/2014/main" id="{C769B388-97FD-4C7B-ADB5-06888135AC92}"/>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5" name="Freeform 155">
              <a:extLst>
                <a:ext uri="{FF2B5EF4-FFF2-40B4-BE49-F238E27FC236}">
                  <a16:creationId xmlns:a16="http://schemas.microsoft.com/office/drawing/2014/main" id="{12053EDB-0867-4C71-A275-975026015C2E}"/>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6" name="Freeform 156">
              <a:extLst>
                <a:ext uri="{FF2B5EF4-FFF2-40B4-BE49-F238E27FC236}">
                  <a16:creationId xmlns:a16="http://schemas.microsoft.com/office/drawing/2014/main" id="{A0A24010-73C1-421E-AF22-9436279F474A}"/>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7" name="Freeform 157">
              <a:extLst>
                <a:ext uri="{FF2B5EF4-FFF2-40B4-BE49-F238E27FC236}">
                  <a16:creationId xmlns:a16="http://schemas.microsoft.com/office/drawing/2014/main" id="{18438224-FF80-4EB3-B9B1-0B81FAB1D1A7}"/>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8" name="Freeform 158">
              <a:extLst>
                <a:ext uri="{FF2B5EF4-FFF2-40B4-BE49-F238E27FC236}">
                  <a16:creationId xmlns:a16="http://schemas.microsoft.com/office/drawing/2014/main" id="{49A1067F-F55B-4537-AEA0-97D73CCDA73C}"/>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9" name="Freeform 159">
              <a:extLst>
                <a:ext uri="{FF2B5EF4-FFF2-40B4-BE49-F238E27FC236}">
                  <a16:creationId xmlns:a16="http://schemas.microsoft.com/office/drawing/2014/main" id="{FA126201-EF62-4000-B9CD-91A20DCC26B2}"/>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0" name="Freeform 160">
              <a:extLst>
                <a:ext uri="{FF2B5EF4-FFF2-40B4-BE49-F238E27FC236}">
                  <a16:creationId xmlns:a16="http://schemas.microsoft.com/office/drawing/2014/main" id="{B0539610-3EB5-4A39-A393-F83DD8764B81}"/>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1" name="Freeform 161">
              <a:extLst>
                <a:ext uri="{FF2B5EF4-FFF2-40B4-BE49-F238E27FC236}">
                  <a16:creationId xmlns:a16="http://schemas.microsoft.com/office/drawing/2014/main" id="{A53F2DF9-6F43-4C02-B8C8-3FC9A7EE7830}"/>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2" name="Freeform 162">
              <a:extLst>
                <a:ext uri="{FF2B5EF4-FFF2-40B4-BE49-F238E27FC236}">
                  <a16:creationId xmlns:a16="http://schemas.microsoft.com/office/drawing/2014/main" id="{EA71BFFD-BE59-4027-89AB-18DCE1FB0551}"/>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3" name="Freeform 163">
              <a:extLst>
                <a:ext uri="{FF2B5EF4-FFF2-40B4-BE49-F238E27FC236}">
                  <a16:creationId xmlns:a16="http://schemas.microsoft.com/office/drawing/2014/main" id="{503C42B0-89D4-4E02-A4B4-DBC93E36DD28}"/>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4" name="Freeform 164">
              <a:extLst>
                <a:ext uri="{FF2B5EF4-FFF2-40B4-BE49-F238E27FC236}">
                  <a16:creationId xmlns:a16="http://schemas.microsoft.com/office/drawing/2014/main" id="{30D7B961-7F76-4D42-B817-1B44C9E4C90C}"/>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5" name="Oval 165">
              <a:extLst>
                <a:ext uri="{FF2B5EF4-FFF2-40B4-BE49-F238E27FC236}">
                  <a16:creationId xmlns:a16="http://schemas.microsoft.com/office/drawing/2014/main" id="{FA284916-1A67-4F7B-8D68-619BFB686747}"/>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6" name="Oval 166">
              <a:extLst>
                <a:ext uri="{FF2B5EF4-FFF2-40B4-BE49-F238E27FC236}">
                  <a16:creationId xmlns:a16="http://schemas.microsoft.com/office/drawing/2014/main" id="{FAD02B17-304A-43B2-A49F-C997E913AE8A}"/>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7" name="Freeform 167">
              <a:extLst>
                <a:ext uri="{FF2B5EF4-FFF2-40B4-BE49-F238E27FC236}">
                  <a16:creationId xmlns:a16="http://schemas.microsoft.com/office/drawing/2014/main" id="{9F362125-9CA3-4E5D-ACB6-F161A8BE43A1}"/>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8" name="Freeform 168">
              <a:extLst>
                <a:ext uri="{FF2B5EF4-FFF2-40B4-BE49-F238E27FC236}">
                  <a16:creationId xmlns:a16="http://schemas.microsoft.com/office/drawing/2014/main" id="{2C48495B-C999-4379-A662-29906988863B}"/>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9" name="Freeform 169">
              <a:extLst>
                <a:ext uri="{FF2B5EF4-FFF2-40B4-BE49-F238E27FC236}">
                  <a16:creationId xmlns:a16="http://schemas.microsoft.com/office/drawing/2014/main" id="{F2D22E44-68F2-411C-A3E2-28B437012F01}"/>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0" name="Freeform 170">
              <a:extLst>
                <a:ext uri="{FF2B5EF4-FFF2-40B4-BE49-F238E27FC236}">
                  <a16:creationId xmlns:a16="http://schemas.microsoft.com/office/drawing/2014/main" id="{14BB65D4-1C09-4B07-BAB3-C0A414F779A2}"/>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1" name="Freeform 171">
              <a:extLst>
                <a:ext uri="{FF2B5EF4-FFF2-40B4-BE49-F238E27FC236}">
                  <a16:creationId xmlns:a16="http://schemas.microsoft.com/office/drawing/2014/main" id="{E0D9300D-4CC5-4DFD-BAD0-DEDB659CC3A9}"/>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2" name="Freeform 172">
              <a:extLst>
                <a:ext uri="{FF2B5EF4-FFF2-40B4-BE49-F238E27FC236}">
                  <a16:creationId xmlns:a16="http://schemas.microsoft.com/office/drawing/2014/main" id="{91F80AD4-19CD-4F68-ACC4-9BF24CFDA60B}"/>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3" name="Freeform 173">
              <a:extLst>
                <a:ext uri="{FF2B5EF4-FFF2-40B4-BE49-F238E27FC236}">
                  <a16:creationId xmlns:a16="http://schemas.microsoft.com/office/drawing/2014/main" id="{0A55C5E9-E668-46D6-AE19-E1428BF1B231}"/>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4" name="Freeform 174">
              <a:extLst>
                <a:ext uri="{FF2B5EF4-FFF2-40B4-BE49-F238E27FC236}">
                  <a16:creationId xmlns:a16="http://schemas.microsoft.com/office/drawing/2014/main" id="{8496CF29-283E-497E-B2A8-DC7E9E7E2062}"/>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65" name="Group 595">
            <a:extLst>
              <a:ext uri="{FF2B5EF4-FFF2-40B4-BE49-F238E27FC236}">
                <a16:creationId xmlns:a16="http://schemas.microsoft.com/office/drawing/2014/main" id="{5B5A53C5-9378-4D68-81B3-E323DABEEB16}"/>
              </a:ext>
            </a:extLst>
          </p:cNvPr>
          <p:cNvGrpSpPr>
            <a:grpSpLocks noChangeAspect="1"/>
          </p:cNvGrpSpPr>
          <p:nvPr/>
        </p:nvGrpSpPr>
        <p:grpSpPr bwMode="auto">
          <a:xfrm>
            <a:off x="5939625" y="3001253"/>
            <a:ext cx="509496" cy="509136"/>
            <a:chOff x="2499" y="790"/>
            <a:chExt cx="2832" cy="2830"/>
          </a:xfrm>
        </p:grpSpPr>
        <p:sp>
          <p:nvSpPr>
            <p:cNvPr id="1066" name="Oval 596">
              <a:extLst>
                <a:ext uri="{FF2B5EF4-FFF2-40B4-BE49-F238E27FC236}">
                  <a16:creationId xmlns:a16="http://schemas.microsoft.com/office/drawing/2014/main" id="{1D0FA473-FC49-4973-A254-02B94F7AEB57}"/>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7" name="Freeform 597">
              <a:extLst>
                <a:ext uri="{FF2B5EF4-FFF2-40B4-BE49-F238E27FC236}">
                  <a16:creationId xmlns:a16="http://schemas.microsoft.com/office/drawing/2014/main" id="{05C3C229-9003-42C1-AA9C-83E978C6D117}"/>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8" name="Freeform 598">
              <a:extLst>
                <a:ext uri="{FF2B5EF4-FFF2-40B4-BE49-F238E27FC236}">
                  <a16:creationId xmlns:a16="http://schemas.microsoft.com/office/drawing/2014/main" id="{CA1F1003-F6D8-49E8-94C0-1A9EE2229703}"/>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9" name="Freeform 599">
              <a:extLst>
                <a:ext uri="{FF2B5EF4-FFF2-40B4-BE49-F238E27FC236}">
                  <a16:creationId xmlns:a16="http://schemas.microsoft.com/office/drawing/2014/main" id="{64BD54C3-0B90-44EA-949A-75641414DA51}"/>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0" name="Freeform 600">
              <a:extLst>
                <a:ext uri="{FF2B5EF4-FFF2-40B4-BE49-F238E27FC236}">
                  <a16:creationId xmlns:a16="http://schemas.microsoft.com/office/drawing/2014/main" id="{350574D5-E6B0-4EDE-8495-255081D2EC30}"/>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1" name="Freeform 601">
              <a:extLst>
                <a:ext uri="{FF2B5EF4-FFF2-40B4-BE49-F238E27FC236}">
                  <a16:creationId xmlns:a16="http://schemas.microsoft.com/office/drawing/2014/main" id="{AE9B886D-B462-4678-AD3D-64458CE4E467}"/>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2" name="Freeform 602">
              <a:extLst>
                <a:ext uri="{FF2B5EF4-FFF2-40B4-BE49-F238E27FC236}">
                  <a16:creationId xmlns:a16="http://schemas.microsoft.com/office/drawing/2014/main" id="{7CED39FB-5CFD-40DD-86E3-8681C56B590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3" name="Freeform 603">
              <a:extLst>
                <a:ext uri="{FF2B5EF4-FFF2-40B4-BE49-F238E27FC236}">
                  <a16:creationId xmlns:a16="http://schemas.microsoft.com/office/drawing/2014/main" id="{51E7489E-BC41-492F-ACA4-33D405EF93F5}"/>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4" name="Freeform 604">
              <a:extLst>
                <a:ext uri="{FF2B5EF4-FFF2-40B4-BE49-F238E27FC236}">
                  <a16:creationId xmlns:a16="http://schemas.microsoft.com/office/drawing/2014/main" id="{88893E5E-C480-443D-BAF4-A76957D43367}"/>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5" name="Freeform 605">
              <a:extLst>
                <a:ext uri="{FF2B5EF4-FFF2-40B4-BE49-F238E27FC236}">
                  <a16:creationId xmlns:a16="http://schemas.microsoft.com/office/drawing/2014/main" id="{C9078844-5526-492E-93E4-B8C5951EEFC2}"/>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6" name="Freeform 606">
              <a:extLst>
                <a:ext uri="{FF2B5EF4-FFF2-40B4-BE49-F238E27FC236}">
                  <a16:creationId xmlns:a16="http://schemas.microsoft.com/office/drawing/2014/main" id="{A787F37D-7EB8-4F19-A69E-153957AD3208}"/>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7" name="Freeform 607">
              <a:extLst>
                <a:ext uri="{FF2B5EF4-FFF2-40B4-BE49-F238E27FC236}">
                  <a16:creationId xmlns:a16="http://schemas.microsoft.com/office/drawing/2014/main" id="{809F48A8-BDCF-4612-886D-34E307BA1A86}"/>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8" name="Oval 608">
              <a:extLst>
                <a:ext uri="{FF2B5EF4-FFF2-40B4-BE49-F238E27FC236}">
                  <a16:creationId xmlns:a16="http://schemas.microsoft.com/office/drawing/2014/main" id="{65DB38AE-0F23-47A0-B8A3-4169B8F2C3A9}"/>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9" name="Freeform 609">
              <a:extLst>
                <a:ext uri="{FF2B5EF4-FFF2-40B4-BE49-F238E27FC236}">
                  <a16:creationId xmlns:a16="http://schemas.microsoft.com/office/drawing/2014/main" id="{B3774A7C-B939-4E45-ACEE-115B8DCE5780}"/>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0" name="Freeform 610">
              <a:extLst>
                <a:ext uri="{FF2B5EF4-FFF2-40B4-BE49-F238E27FC236}">
                  <a16:creationId xmlns:a16="http://schemas.microsoft.com/office/drawing/2014/main" id="{6EFA88CF-D8C1-4575-84B6-7B084FDAB5CC}"/>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1" name="Freeform 611">
              <a:extLst>
                <a:ext uri="{FF2B5EF4-FFF2-40B4-BE49-F238E27FC236}">
                  <a16:creationId xmlns:a16="http://schemas.microsoft.com/office/drawing/2014/main" id="{1DBF124A-E431-431D-9D7B-7D1A403CA510}"/>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2" name="Freeform 612">
              <a:extLst>
                <a:ext uri="{FF2B5EF4-FFF2-40B4-BE49-F238E27FC236}">
                  <a16:creationId xmlns:a16="http://schemas.microsoft.com/office/drawing/2014/main" id="{FE292093-AD73-4788-BDB5-91135B257A07}"/>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3" name="Freeform 613">
              <a:extLst>
                <a:ext uri="{FF2B5EF4-FFF2-40B4-BE49-F238E27FC236}">
                  <a16:creationId xmlns:a16="http://schemas.microsoft.com/office/drawing/2014/main" id="{9316E840-AF9F-4C0E-9E63-9D69C773D4C0}"/>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4" name="Freeform 614">
              <a:extLst>
                <a:ext uri="{FF2B5EF4-FFF2-40B4-BE49-F238E27FC236}">
                  <a16:creationId xmlns:a16="http://schemas.microsoft.com/office/drawing/2014/main" id="{67C4641F-FEB7-4AFF-97FC-D094867228F5}"/>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85" name="Group 925">
            <a:extLst>
              <a:ext uri="{FF2B5EF4-FFF2-40B4-BE49-F238E27FC236}">
                <a16:creationId xmlns:a16="http://schemas.microsoft.com/office/drawing/2014/main" id="{734C904B-3FA6-49D7-85A4-A934DF926775}"/>
              </a:ext>
            </a:extLst>
          </p:cNvPr>
          <p:cNvGrpSpPr>
            <a:grpSpLocks noChangeAspect="1"/>
          </p:cNvGrpSpPr>
          <p:nvPr/>
        </p:nvGrpSpPr>
        <p:grpSpPr bwMode="auto">
          <a:xfrm>
            <a:off x="7101912" y="3001253"/>
            <a:ext cx="508352" cy="509136"/>
            <a:chOff x="2619" y="903"/>
            <a:chExt cx="2592" cy="2596"/>
          </a:xfrm>
        </p:grpSpPr>
        <p:sp>
          <p:nvSpPr>
            <p:cNvPr id="1086" name="Oval 926">
              <a:extLst>
                <a:ext uri="{FF2B5EF4-FFF2-40B4-BE49-F238E27FC236}">
                  <a16:creationId xmlns:a16="http://schemas.microsoft.com/office/drawing/2014/main" id="{A5799089-50E6-4E97-9959-9B01E3A4A98F}"/>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7" name="Freeform 927">
              <a:extLst>
                <a:ext uri="{FF2B5EF4-FFF2-40B4-BE49-F238E27FC236}">
                  <a16:creationId xmlns:a16="http://schemas.microsoft.com/office/drawing/2014/main" id="{92B649D7-79DB-49B0-AA65-DD1DE2B3DAB9}"/>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8" name="Freeform 928">
              <a:extLst>
                <a:ext uri="{FF2B5EF4-FFF2-40B4-BE49-F238E27FC236}">
                  <a16:creationId xmlns:a16="http://schemas.microsoft.com/office/drawing/2014/main" id="{896FB981-D915-4BB4-8ECC-DB6E52BA0B28}"/>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9" name="Freeform 929">
              <a:extLst>
                <a:ext uri="{FF2B5EF4-FFF2-40B4-BE49-F238E27FC236}">
                  <a16:creationId xmlns:a16="http://schemas.microsoft.com/office/drawing/2014/main" id="{9D4F2494-CCE7-4F16-8951-F3A165B1FCBF}"/>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0" name="Freeform 930">
              <a:extLst>
                <a:ext uri="{FF2B5EF4-FFF2-40B4-BE49-F238E27FC236}">
                  <a16:creationId xmlns:a16="http://schemas.microsoft.com/office/drawing/2014/main" id="{A9511913-B3E4-4D3C-B76B-15DED8B6055C}"/>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1" name="Freeform 931">
              <a:extLst>
                <a:ext uri="{FF2B5EF4-FFF2-40B4-BE49-F238E27FC236}">
                  <a16:creationId xmlns:a16="http://schemas.microsoft.com/office/drawing/2014/main" id="{9F6DF857-F624-478E-8B16-3E2EF183FA25}"/>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5" name="Freeform 932">
              <a:extLst>
                <a:ext uri="{FF2B5EF4-FFF2-40B4-BE49-F238E27FC236}">
                  <a16:creationId xmlns:a16="http://schemas.microsoft.com/office/drawing/2014/main" id="{72CCB0E6-772A-455B-B496-4962B9D60462}"/>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6" name="Freeform 933">
              <a:extLst>
                <a:ext uri="{FF2B5EF4-FFF2-40B4-BE49-F238E27FC236}">
                  <a16:creationId xmlns:a16="http://schemas.microsoft.com/office/drawing/2014/main" id="{E3BC69EB-9A2C-468D-89F3-0A78AD0336E3}"/>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7" name="Freeform 934">
              <a:extLst>
                <a:ext uri="{FF2B5EF4-FFF2-40B4-BE49-F238E27FC236}">
                  <a16:creationId xmlns:a16="http://schemas.microsoft.com/office/drawing/2014/main" id="{F0C1DAC1-991A-49C0-8C42-9A86DC0296C6}"/>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8" name="Freeform 935">
              <a:extLst>
                <a:ext uri="{FF2B5EF4-FFF2-40B4-BE49-F238E27FC236}">
                  <a16:creationId xmlns:a16="http://schemas.microsoft.com/office/drawing/2014/main" id="{19FC23D6-8418-449C-9D1A-8C0623ED98E4}"/>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9" name="Freeform 936">
              <a:extLst>
                <a:ext uri="{FF2B5EF4-FFF2-40B4-BE49-F238E27FC236}">
                  <a16:creationId xmlns:a16="http://schemas.microsoft.com/office/drawing/2014/main" id="{24C2B32B-71B4-46C1-A261-159F08AD04C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0" name="Freeform 937">
              <a:extLst>
                <a:ext uri="{FF2B5EF4-FFF2-40B4-BE49-F238E27FC236}">
                  <a16:creationId xmlns:a16="http://schemas.microsoft.com/office/drawing/2014/main" id="{6E1655A7-99CF-408B-8978-4BD2AFCAC03B}"/>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1" name="Freeform 938">
              <a:extLst>
                <a:ext uri="{FF2B5EF4-FFF2-40B4-BE49-F238E27FC236}">
                  <a16:creationId xmlns:a16="http://schemas.microsoft.com/office/drawing/2014/main" id="{6C043090-D26F-4D00-8537-6AF80AE1CEA0}"/>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2" name="Oval 939">
              <a:extLst>
                <a:ext uri="{FF2B5EF4-FFF2-40B4-BE49-F238E27FC236}">
                  <a16:creationId xmlns:a16="http://schemas.microsoft.com/office/drawing/2014/main" id="{691AC23F-DD28-4E7D-8D3D-1AA4ED53BFF2}"/>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3" name="Oval 940">
              <a:extLst>
                <a:ext uri="{FF2B5EF4-FFF2-40B4-BE49-F238E27FC236}">
                  <a16:creationId xmlns:a16="http://schemas.microsoft.com/office/drawing/2014/main" id="{0C2CC33C-9716-43D5-9176-95D8928CC792}"/>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4" name="Freeform 941">
              <a:extLst>
                <a:ext uri="{FF2B5EF4-FFF2-40B4-BE49-F238E27FC236}">
                  <a16:creationId xmlns:a16="http://schemas.microsoft.com/office/drawing/2014/main" id="{77E1E7CF-55DD-4FAC-A9AD-B61E0C865C2F}"/>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5" name="Freeform 942">
              <a:extLst>
                <a:ext uri="{FF2B5EF4-FFF2-40B4-BE49-F238E27FC236}">
                  <a16:creationId xmlns:a16="http://schemas.microsoft.com/office/drawing/2014/main" id="{8D1FF7F1-1837-4B65-82D2-181D5388BEEE}"/>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6" name="Freeform 943">
              <a:extLst>
                <a:ext uri="{FF2B5EF4-FFF2-40B4-BE49-F238E27FC236}">
                  <a16:creationId xmlns:a16="http://schemas.microsoft.com/office/drawing/2014/main" id="{060BACAD-9D91-4D0A-A63E-0EC7D9321B81}"/>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08" name="Right Brace 1107">
            <a:extLst>
              <a:ext uri="{FF2B5EF4-FFF2-40B4-BE49-F238E27FC236}">
                <a16:creationId xmlns:a16="http://schemas.microsoft.com/office/drawing/2014/main" id="{11D0707D-A5D4-4307-AA9E-888A9C876A79}"/>
              </a:ext>
            </a:extLst>
          </p:cNvPr>
          <p:cNvSpPr/>
          <p:nvPr/>
        </p:nvSpPr>
        <p:spPr>
          <a:xfrm rot="5400000">
            <a:off x="2191421" y="3054287"/>
            <a:ext cx="227233" cy="303682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09" name="Right Brace 1108">
            <a:extLst>
              <a:ext uri="{FF2B5EF4-FFF2-40B4-BE49-F238E27FC236}">
                <a16:creationId xmlns:a16="http://schemas.microsoft.com/office/drawing/2014/main" id="{923A7A2B-D7E1-4F70-A9A9-E6CEC23BF1BB}"/>
              </a:ext>
            </a:extLst>
          </p:cNvPr>
          <p:cNvSpPr/>
          <p:nvPr/>
        </p:nvSpPr>
        <p:spPr>
          <a:xfrm rot="5400000">
            <a:off x="6105192" y="3054287"/>
            <a:ext cx="227233" cy="303682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15" name="Rectangle 1114">
            <a:extLst>
              <a:ext uri="{FF2B5EF4-FFF2-40B4-BE49-F238E27FC236}">
                <a16:creationId xmlns:a16="http://schemas.microsoft.com/office/drawing/2014/main" id="{65F62E3D-1FDB-4229-A3DF-60D62806BBD9}"/>
              </a:ext>
            </a:extLst>
          </p:cNvPr>
          <p:cNvSpPr/>
          <p:nvPr/>
        </p:nvSpPr>
        <p:spPr>
          <a:xfrm>
            <a:off x="916956" y="3589412"/>
            <a:ext cx="450444" cy="215444"/>
          </a:xfrm>
          <a:prstGeom prst="rect">
            <a:avLst/>
          </a:prstGeom>
        </p:spPr>
        <p:txBody>
          <a:bodyPr wrap="none" lIns="0" tIns="0" rIns="0" bIns="0">
            <a:spAutoFit/>
          </a:bodyPr>
          <a:lstStyle/>
          <a:p>
            <a:pPr algn="ctr"/>
            <a:r>
              <a:rPr lang="en-US" sz="1400" dirty="0">
                <a:solidFill>
                  <a:schemeClr val="accent1"/>
                </a:solidFill>
              </a:rPr>
              <a:t>M365</a:t>
            </a:r>
          </a:p>
        </p:txBody>
      </p:sp>
      <p:sp>
        <p:nvSpPr>
          <p:cNvPr id="1116" name="Rectangle 1115">
            <a:extLst>
              <a:ext uri="{FF2B5EF4-FFF2-40B4-BE49-F238E27FC236}">
                <a16:creationId xmlns:a16="http://schemas.microsoft.com/office/drawing/2014/main" id="{973785B2-387C-4111-A16D-C8506F7BB488}"/>
              </a:ext>
            </a:extLst>
          </p:cNvPr>
          <p:cNvSpPr/>
          <p:nvPr/>
        </p:nvSpPr>
        <p:spPr>
          <a:xfrm>
            <a:off x="2079814" y="3589412"/>
            <a:ext cx="450444" cy="215444"/>
          </a:xfrm>
          <a:prstGeom prst="rect">
            <a:avLst/>
          </a:prstGeom>
        </p:spPr>
        <p:txBody>
          <a:bodyPr wrap="none" lIns="0" tIns="0" rIns="0" bIns="0">
            <a:spAutoFit/>
          </a:bodyPr>
          <a:lstStyle/>
          <a:p>
            <a:pPr algn="ctr"/>
            <a:r>
              <a:rPr lang="en-US" sz="1400" dirty="0">
                <a:solidFill>
                  <a:schemeClr val="accent1"/>
                </a:solidFill>
              </a:rPr>
              <a:t>M365</a:t>
            </a:r>
          </a:p>
        </p:txBody>
      </p:sp>
      <p:sp>
        <p:nvSpPr>
          <p:cNvPr id="1117" name="Rectangle 1116">
            <a:extLst>
              <a:ext uri="{FF2B5EF4-FFF2-40B4-BE49-F238E27FC236}">
                <a16:creationId xmlns:a16="http://schemas.microsoft.com/office/drawing/2014/main" id="{FAD0B42A-5F63-49B8-BAD4-F8B673AC458B}"/>
              </a:ext>
            </a:extLst>
          </p:cNvPr>
          <p:cNvSpPr/>
          <p:nvPr/>
        </p:nvSpPr>
        <p:spPr>
          <a:xfrm>
            <a:off x="3242673" y="3589412"/>
            <a:ext cx="450444" cy="215444"/>
          </a:xfrm>
          <a:prstGeom prst="rect">
            <a:avLst/>
          </a:prstGeom>
        </p:spPr>
        <p:txBody>
          <a:bodyPr wrap="none" lIns="0" tIns="0" rIns="0" bIns="0">
            <a:spAutoFit/>
          </a:bodyPr>
          <a:lstStyle/>
          <a:p>
            <a:pPr algn="ctr"/>
            <a:r>
              <a:rPr lang="en-US" sz="1400" dirty="0">
                <a:solidFill>
                  <a:schemeClr val="accent1"/>
                </a:solidFill>
              </a:rPr>
              <a:t>M365</a:t>
            </a:r>
          </a:p>
        </p:txBody>
      </p:sp>
      <p:sp>
        <p:nvSpPr>
          <p:cNvPr id="1118" name="Rectangle 1117">
            <a:extLst>
              <a:ext uri="{FF2B5EF4-FFF2-40B4-BE49-F238E27FC236}">
                <a16:creationId xmlns:a16="http://schemas.microsoft.com/office/drawing/2014/main" id="{E61AB487-A38E-4ECD-80A5-838A300BA758}"/>
              </a:ext>
            </a:extLst>
          </p:cNvPr>
          <p:cNvSpPr/>
          <p:nvPr/>
        </p:nvSpPr>
        <p:spPr>
          <a:xfrm>
            <a:off x="4805721" y="3589412"/>
            <a:ext cx="450444" cy="215444"/>
          </a:xfrm>
          <a:prstGeom prst="rect">
            <a:avLst/>
          </a:prstGeom>
        </p:spPr>
        <p:txBody>
          <a:bodyPr wrap="none" lIns="0" tIns="0" rIns="0" bIns="0">
            <a:spAutoFit/>
          </a:bodyPr>
          <a:lstStyle/>
          <a:p>
            <a:pPr algn="ctr"/>
            <a:r>
              <a:rPr lang="en-US" sz="1400" dirty="0">
                <a:solidFill>
                  <a:schemeClr val="accent1"/>
                </a:solidFill>
              </a:rPr>
              <a:t>M365</a:t>
            </a:r>
          </a:p>
        </p:txBody>
      </p:sp>
      <p:sp>
        <p:nvSpPr>
          <p:cNvPr id="1119" name="Rectangle 1118">
            <a:extLst>
              <a:ext uri="{FF2B5EF4-FFF2-40B4-BE49-F238E27FC236}">
                <a16:creationId xmlns:a16="http://schemas.microsoft.com/office/drawing/2014/main" id="{F70A249C-C3C9-4F0B-889F-99A7307E2830}"/>
              </a:ext>
            </a:extLst>
          </p:cNvPr>
          <p:cNvSpPr/>
          <p:nvPr/>
        </p:nvSpPr>
        <p:spPr>
          <a:xfrm>
            <a:off x="5968579" y="3589412"/>
            <a:ext cx="450444" cy="215444"/>
          </a:xfrm>
          <a:prstGeom prst="rect">
            <a:avLst/>
          </a:prstGeom>
        </p:spPr>
        <p:txBody>
          <a:bodyPr wrap="none" lIns="0" tIns="0" rIns="0" bIns="0">
            <a:spAutoFit/>
          </a:bodyPr>
          <a:lstStyle/>
          <a:p>
            <a:pPr algn="ctr"/>
            <a:r>
              <a:rPr lang="en-US" sz="1400" dirty="0">
                <a:solidFill>
                  <a:schemeClr val="accent1"/>
                </a:solidFill>
              </a:rPr>
              <a:t>M365</a:t>
            </a:r>
          </a:p>
        </p:txBody>
      </p:sp>
      <p:sp>
        <p:nvSpPr>
          <p:cNvPr id="1120" name="Rectangle 1119">
            <a:extLst>
              <a:ext uri="{FF2B5EF4-FFF2-40B4-BE49-F238E27FC236}">
                <a16:creationId xmlns:a16="http://schemas.microsoft.com/office/drawing/2014/main" id="{847FBDD3-7ECD-4036-A114-D850F1610E2A}"/>
              </a:ext>
            </a:extLst>
          </p:cNvPr>
          <p:cNvSpPr/>
          <p:nvPr/>
        </p:nvSpPr>
        <p:spPr>
          <a:xfrm>
            <a:off x="7131438" y="3589412"/>
            <a:ext cx="450444" cy="215444"/>
          </a:xfrm>
          <a:prstGeom prst="rect">
            <a:avLst/>
          </a:prstGeom>
        </p:spPr>
        <p:txBody>
          <a:bodyPr wrap="none" lIns="0" tIns="0" rIns="0" bIns="0">
            <a:spAutoFit/>
          </a:bodyPr>
          <a:lstStyle/>
          <a:p>
            <a:pPr algn="ctr"/>
            <a:r>
              <a:rPr lang="en-US" sz="1400" dirty="0">
                <a:solidFill>
                  <a:schemeClr val="accent1"/>
                </a:solidFill>
              </a:rPr>
              <a:t>M365</a:t>
            </a:r>
          </a:p>
        </p:txBody>
      </p:sp>
      <p:sp>
        <p:nvSpPr>
          <p:cNvPr id="1397" name="TextBox 1396">
            <a:extLst>
              <a:ext uri="{FF2B5EF4-FFF2-40B4-BE49-F238E27FC236}">
                <a16:creationId xmlns:a16="http://schemas.microsoft.com/office/drawing/2014/main" id="{ED062EC0-0396-4483-9624-3DFBC1A1B5B3}"/>
              </a:ext>
            </a:extLst>
          </p:cNvPr>
          <p:cNvSpPr txBox="1"/>
          <p:nvPr/>
        </p:nvSpPr>
        <p:spPr>
          <a:xfrm>
            <a:off x="651493" y="2409960"/>
            <a:ext cx="3307089" cy="475488"/>
          </a:xfrm>
          <a:prstGeom prst="rect">
            <a:avLst/>
          </a:prstGeom>
          <a:solidFill>
            <a:schemeClr val="tx2"/>
          </a:solidFill>
          <a:ln w="6350">
            <a:solidFill>
              <a:schemeClr val="tx2"/>
            </a:solidFill>
          </a:ln>
        </p:spPr>
        <p:txBody>
          <a:bodyPr wrap="square" lIns="0" tIns="0" rIns="0" bIns="0" rtlCol="0" anchor="ctr">
            <a:noAutofit/>
          </a:bodyPr>
          <a:lstStyle/>
          <a:p>
            <a:pPr algn="ctr">
              <a:lnSpc>
                <a:spcPct val="90000"/>
              </a:lnSpc>
            </a:pPr>
            <a:r>
              <a:rPr lang="en-US" sz="1400" b="1" dirty="0">
                <a:solidFill>
                  <a:schemeClr val="bg1"/>
                </a:solidFill>
              </a:rPr>
              <a:t>Windows Server RDS </a:t>
            </a:r>
          </a:p>
          <a:p>
            <a:pPr algn="ctr">
              <a:lnSpc>
                <a:spcPct val="90000"/>
              </a:lnSpc>
            </a:pPr>
            <a:r>
              <a:rPr lang="en-US" sz="1400" b="1" dirty="0">
                <a:solidFill>
                  <a:schemeClr val="bg1"/>
                </a:solidFill>
              </a:rPr>
              <a:t>On-prem</a:t>
            </a:r>
          </a:p>
        </p:txBody>
      </p:sp>
      <p:sp>
        <p:nvSpPr>
          <p:cNvPr id="1398" name="TextBox 1397">
            <a:extLst>
              <a:ext uri="{FF2B5EF4-FFF2-40B4-BE49-F238E27FC236}">
                <a16:creationId xmlns:a16="http://schemas.microsoft.com/office/drawing/2014/main" id="{17AA365F-3D7D-4317-88B4-DF41A746EFEF}"/>
              </a:ext>
            </a:extLst>
          </p:cNvPr>
          <p:cNvSpPr txBox="1"/>
          <p:nvPr/>
        </p:nvSpPr>
        <p:spPr>
          <a:xfrm>
            <a:off x="4540258" y="2409960"/>
            <a:ext cx="3307089" cy="475488"/>
          </a:xfrm>
          <a:prstGeom prst="rect">
            <a:avLst/>
          </a:prstGeom>
          <a:solidFill>
            <a:schemeClr val="accent4"/>
          </a:solidFill>
          <a:ln w="6350">
            <a:solidFill>
              <a:schemeClr val="accent4"/>
            </a:solidFill>
          </a:ln>
        </p:spPr>
        <p:txBody>
          <a:bodyPr wrap="square" lIns="0" tIns="0" rIns="0" bIns="0" rtlCol="0" anchor="ctr">
            <a:noAutofit/>
          </a:bodyPr>
          <a:lstStyle/>
          <a:p>
            <a:pPr algn="ctr">
              <a:lnSpc>
                <a:spcPct val="90000"/>
              </a:lnSpc>
            </a:pPr>
            <a:r>
              <a:rPr lang="en-US" sz="1400" b="1" dirty="0">
                <a:solidFill>
                  <a:schemeClr val="bg1"/>
                </a:solidFill>
              </a:rPr>
              <a:t>Windows 10 Enterprise </a:t>
            </a:r>
          </a:p>
          <a:p>
            <a:pPr algn="ctr">
              <a:lnSpc>
                <a:spcPct val="90000"/>
              </a:lnSpc>
            </a:pPr>
            <a:r>
              <a:rPr lang="en-US" sz="1400" b="1" dirty="0">
                <a:solidFill>
                  <a:schemeClr val="bg1"/>
                </a:solidFill>
              </a:rPr>
              <a:t>Multi-session in WVD</a:t>
            </a:r>
          </a:p>
        </p:txBody>
      </p:sp>
      <p:sp>
        <p:nvSpPr>
          <p:cNvPr id="1493" name="TextBox 1492">
            <a:extLst>
              <a:ext uri="{FF2B5EF4-FFF2-40B4-BE49-F238E27FC236}">
                <a16:creationId xmlns:a16="http://schemas.microsoft.com/office/drawing/2014/main" id="{50088AAE-48E7-4130-97EF-D0C3745A0FFA}"/>
              </a:ext>
            </a:extLst>
          </p:cNvPr>
          <p:cNvSpPr txBox="1"/>
          <p:nvPr/>
        </p:nvSpPr>
        <p:spPr>
          <a:xfrm>
            <a:off x="2645557" y="5561852"/>
            <a:ext cx="758221" cy="184666"/>
          </a:xfrm>
          <a:prstGeom prst="rect">
            <a:avLst/>
          </a:prstGeom>
          <a:noFill/>
        </p:spPr>
        <p:txBody>
          <a:bodyPr wrap="none" lIns="0" tIns="0" rIns="0" bIns="0" rtlCol="0">
            <a:spAutoFit/>
          </a:bodyPr>
          <a:lstStyle/>
          <a:p>
            <a:r>
              <a:rPr lang="en-US" sz="1200" b="1" i="1" dirty="0">
                <a:solidFill>
                  <a:schemeClr val="tx2"/>
                </a:solidFill>
              </a:rPr>
              <a:t>RDSH VMs</a:t>
            </a:r>
          </a:p>
        </p:txBody>
      </p:sp>
      <p:grpSp>
        <p:nvGrpSpPr>
          <p:cNvPr id="1494" name="Group 1493">
            <a:extLst>
              <a:ext uri="{FF2B5EF4-FFF2-40B4-BE49-F238E27FC236}">
                <a16:creationId xmlns:a16="http://schemas.microsoft.com/office/drawing/2014/main" id="{817CC6B9-9065-47F7-9180-D91F072BA885}"/>
              </a:ext>
            </a:extLst>
          </p:cNvPr>
          <p:cNvGrpSpPr/>
          <p:nvPr/>
        </p:nvGrpSpPr>
        <p:grpSpPr>
          <a:xfrm>
            <a:off x="2087763" y="4774969"/>
            <a:ext cx="460376" cy="971549"/>
            <a:chOff x="5094287" y="4557713"/>
            <a:chExt cx="460376" cy="971549"/>
          </a:xfrm>
        </p:grpSpPr>
        <p:sp>
          <p:nvSpPr>
            <p:cNvPr id="1495" name="AutoShape 38">
              <a:extLst>
                <a:ext uri="{FF2B5EF4-FFF2-40B4-BE49-F238E27FC236}">
                  <a16:creationId xmlns:a16="http://schemas.microsoft.com/office/drawing/2014/main" id="{DFACE7A3-52CA-4D96-9EA5-9BC59993A22A}"/>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6" name="Freeform 40">
              <a:extLst>
                <a:ext uri="{FF2B5EF4-FFF2-40B4-BE49-F238E27FC236}">
                  <a16:creationId xmlns:a16="http://schemas.microsoft.com/office/drawing/2014/main" id="{78251980-799B-4640-BE21-B37DA3437A8A}"/>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7" name="Rectangle 41">
              <a:extLst>
                <a:ext uri="{FF2B5EF4-FFF2-40B4-BE49-F238E27FC236}">
                  <a16:creationId xmlns:a16="http://schemas.microsoft.com/office/drawing/2014/main" id="{235F6679-F4C5-4699-A15D-AB26A0CD0877}"/>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8" name="Rectangle 42">
              <a:extLst>
                <a:ext uri="{FF2B5EF4-FFF2-40B4-BE49-F238E27FC236}">
                  <a16:creationId xmlns:a16="http://schemas.microsoft.com/office/drawing/2014/main" id="{0F099634-9BCD-4E42-994C-0D96549BA3D1}"/>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9" name="Freeform 43">
              <a:extLst>
                <a:ext uri="{FF2B5EF4-FFF2-40B4-BE49-F238E27FC236}">
                  <a16:creationId xmlns:a16="http://schemas.microsoft.com/office/drawing/2014/main" id="{B2050444-D79F-49A9-9005-51FB92B367E0}"/>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0" name="Rectangle 44">
              <a:extLst>
                <a:ext uri="{FF2B5EF4-FFF2-40B4-BE49-F238E27FC236}">
                  <a16:creationId xmlns:a16="http://schemas.microsoft.com/office/drawing/2014/main" id="{6E391800-297C-4CF7-906F-AD072A3DA0CD}"/>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1" name="Rectangle 45">
              <a:extLst>
                <a:ext uri="{FF2B5EF4-FFF2-40B4-BE49-F238E27FC236}">
                  <a16:creationId xmlns:a16="http://schemas.microsoft.com/office/drawing/2014/main" id="{5A8894FB-8E69-4F7D-B8DF-CEF58F009B95}"/>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2" name="Freeform 46">
              <a:extLst>
                <a:ext uri="{FF2B5EF4-FFF2-40B4-BE49-F238E27FC236}">
                  <a16:creationId xmlns:a16="http://schemas.microsoft.com/office/drawing/2014/main" id="{487501DD-C95A-4F60-BA2A-4132FBBEAE91}"/>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3" name="Rectangle 47">
              <a:extLst>
                <a:ext uri="{FF2B5EF4-FFF2-40B4-BE49-F238E27FC236}">
                  <a16:creationId xmlns:a16="http://schemas.microsoft.com/office/drawing/2014/main" id="{EA35C5C5-A900-4009-B96F-CEF3ED9513E4}"/>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5" name="Rectangle 48">
              <a:extLst>
                <a:ext uri="{FF2B5EF4-FFF2-40B4-BE49-F238E27FC236}">
                  <a16:creationId xmlns:a16="http://schemas.microsoft.com/office/drawing/2014/main" id="{1F264114-22F4-4AD3-A342-60DF4B509376}"/>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6" name="Freeform 49">
              <a:extLst>
                <a:ext uri="{FF2B5EF4-FFF2-40B4-BE49-F238E27FC236}">
                  <a16:creationId xmlns:a16="http://schemas.microsoft.com/office/drawing/2014/main" id="{225E6534-07F8-449E-895B-A62360B2ED55}"/>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7" name="Rectangle 50">
              <a:extLst>
                <a:ext uri="{FF2B5EF4-FFF2-40B4-BE49-F238E27FC236}">
                  <a16:creationId xmlns:a16="http://schemas.microsoft.com/office/drawing/2014/main" id="{A2D7383B-5750-4FCD-900E-5C431EECA04D}"/>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8" name="Rectangle 51">
              <a:extLst>
                <a:ext uri="{FF2B5EF4-FFF2-40B4-BE49-F238E27FC236}">
                  <a16:creationId xmlns:a16="http://schemas.microsoft.com/office/drawing/2014/main" id="{9A06C115-E7B2-47F3-8AB5-18B169E0FD0F}"/>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9" name="Freeform 52">
              <a:extLst>
                <a:ext uri="{FF2B5EF4-FFF2-40B4-BE49-F238E27FC236}">
                  <a16:creationId xmlns:a16="http://schemas.microsoft.com/office/drawing/2014/main" id="{847D0B1B-5E10-4AE5-8599-C22CA15087AB}"/>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0" name="Rectangle 53">
              <a:extLst>
                <a:ext uri="{FF2B5EF4-FFF2-40B4-BE49-F238E27FC236}">
                  <a16:creationId xmlns:a16="http://schemas.microsoft.com/office/drawing/2014/main" id="{4C496BCC-0475-4E8C-A6E5-9C6171457667}"/>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1" name="Rectangle 54">
              <a:extLst>
                <a:ext uri="{FF2B5EF4-FFF2-40B4-BE49-F238E27FC236}">
                  <a16:creationId xmlns:a16="http://schemas.microsoft.com/office/drawing/2014/main" id="{E10663C4-18B7-4B88-BE64-DAAF038CF86F}"/>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76" name="Freeform 55">
              <a:extLst>
                <a:ext uri="{FF2B5EF4-FFF2-40B4-BE49-F238E27FC236}">
                  <a16:creationId xmlns:a16="http://schemas.microsoft.com/office/drawing/2014/main" id="{32D2F848-2C3A-46EC-9F86-7975B4678267}"/>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7" name="Rectangle 56">
              <a:extLst>
                <a:ext uri="{FF2B5EF4-FFF2-40B4-BE49-F238E27FC236}">
                  <a16:creationId xmlns:a16="http://schemas.microsoft.com/office/drawing/2014/main" id="{237EB6D3-21B1-424A-825D-C22FD0286F92}"/>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78" name="Rectangle 57">
              <a:extLst>
                <a:ext uri="{FF2B5EF4-FFF2-40B4-BE49-F238E27FC236}">
                  <a16:creationId xmlns:a16="http://schemas.microsoft.com/office/drawing/2014/main" id="{ADB5FE76-858B-40CE-892E-0FE75F610F6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79" name="Freeform 58">
              <a:extLst>
                <a:ext uri="{FF2B5EF4-FFF2-40B4-BE49-F238E27FC236}">
                  <a16:creationId xmlns:a16="http://schemas.microsoft.com/office/drawing/2014/main" id="{1E916259-A35C-4EAE-9D01-0EDAB0F467D5}"/>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1" name="Rectangle 59">
              <a:extLst>
                <a:ext uri="{FF2B5EF4-FFF2-40B4-BE49-F238E27FC236}">
                  <a16:creationId xmlns:a16="http://schemas.microsoft.com/office/drawing/2014/main" id="{DB642EBA-A739-4AE7-AC0F-661D3E690AA1}"/>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01" name="Rectangle 60">
              <a:extLst>
                <a:ext uri="{FF2B5EF4-FFF2-40B4-BE49-F238E27FC236}">
                  <a16:creationId xmlns:a16="http://schemas.microsoft.com/office/drawing/2014/main" id="{47345607-4B13-49D5-AAE1-A210F3C5DCC8}"/>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2" name="Freeform 61">
              <a:extLst>
                <a:ext uri="{FF2B5EF4-FFF2-40B4-BE49-F238E27FC236}">
                  <a16:creationId xmlns:a16="http://schemas.microsoft.com/office/drawing/2014/main" id="{A09FA35E-9932-4A7F-B58F-97CAE0CD0893}"/>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4" name="Rectangle 62">
              <a:extLst>
                <a:ext uri="{FF2B5EF4-FFF2-40B4-BE49-F238E27FC236}">
                  <a16:creationId xmlns:a16="http://schemas.microsoft.com/office/drawing/2014/main" id="{50A54E9D-9B12-4CEA-83B9-CD017BF76801}"/>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5" name="Rectangle 63">
              <a:extLst>
                <a:ext uri="{FF2B5EF4-FFF2-40B4-BE49-F238E27FC236}">
                  <a16:creationId xmlns:a16="http://schemas.microsoft.com/office/drawing/2014/main" id="{CF7D9AF2-69EF-4213-AA04-8C32CC628343}"/>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7" name="Freeform 64">
              <a:extLst>
                <a:ext uri="{FF2B5EF4-FFF2-40B4-BE49-F238E27FC236}">
                  <a16:creationId xmlns:a16="http://schemas.microsoft.com/office/drawing/2014/main" id="{1A312EDE-2F31-4EDE-865F-850D1D337669}"/>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8" name="Rectangle 65">
              <a:extLst>
                <a:ext uri="{FF2B5EF4-FFF2-40B4-BE49-F238E27FC236}">
                  <a16:creationId xmlns:a16="http://schemas.microsoft.com/office/drawing/2014/main" id="{DF6504A4-750A-41BD-ADA5-97AC499D24C2}"/>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9" name="Rectangle 66">
              <a:extLst>
                <a:ext uri="{FF2B5EF4-FFF2-40B4-BE49-F238E27FC236}">
                  <a16:creationId xmlns:a16="http://schemas.microsoft.com/office/drawing/2014/main" id="{E9BE6A8C-FB1A-4F69-98D9-C3B91FD69325}"/>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50" name="Freeform 67">
              <a:extLst>
                <a:ext uri="{FF2B5EF4-FFF2-40B4-BE49-F238E27FC236}">
                  <a16:creationId xmlns:a16="http://schemas.microsoft.com/office/drawing/2014/main" id="{50AD8F99-A1EB-4E4A-85DB-CE4E8A9A3A80}"/>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2" name="Freeform 68">
              <a:extLst>
                <a:ext uri="{FF2B5EF4-FFF2-40B4-BE49-F238E27FC236}">
                  <a16:creationId xmlns:a16="http://schemas.microsoft.com/office/drawing/2014/main" id="{E7DEB0F7-58EB-4A4B-B2A3-DF939E7808D0}"/>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53" name="Freeform 69">
              <a:extLst>
                <a:ext uri="{FF2B5EF4-FFF2-40B4-BE49-F238E27FC236}">
                  <a16:creationId xmlns:a16="http://schemas.microsoft.com/office/drawing/2014/main" id="{E4A0873A-207E-4B81-AF07-4A63FC568846}"/>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54" name="Freeform 70">
              <a:extLst>
                <a:ext uri="{FF2B5EF4-FFF2-40B4-BE49-F238E27FC236}">
                  <a16:creationId xmlns:a16="http://schemas.microsoft.com/office/drawing/2014/main" id="{1B8A88A6-FBDF-45EA-815D-350706F5E6CF}"/>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69" name="Freeform 71">
              <a:extLst>
                <a:ext uri="{FF2B5EF4-FFF2-40B4-BE49-F238E27FC236}">
                  <a16:creationId xmlns:a16="http://schemas.microsoft.com/office/drawing/2014/main" id="{C47D0A22-D6DF-4156-9FB1-2745E16B6FFF}"/>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70" name="Freeform 72">
              <a:extLst>
                <a:ext uri="{FF2B5EF4-FFF2-40B4-BE49-F238E27FC236}">
                  <a16:creationId xmlns:a16="http://schemas.microsoft.com/office/drawing/2014/main" id="{85829E5A-4373-4B0A-BC98-8EA3AB7B9792}"/>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72" name="Freeform 73">
              <a:extLst>
                <a:ext uri="{FF2B5EF4-FFF2-40B4-BE49-F238E27FC236}">
                  <a16:creationId xmlns:a16="http://schemas.microsoft.com/office/drawing/2014/main" id="{52EAB27F-374A-477E-AC88-0939BA75AF23}"/>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73" name="Freeform 74">
              <a:extLst>
                <a:ext uri="{FF2B5EF4-FFF2-40B4-BE49-F238E27FC236}">
                  <a16:creationId xmlns:a16="http://schemas.microsoft.com/office/drawing/2014/main" id="{A495A8A2-8B74-41D9-814D-10C3B48C0BD7}"/>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74" name="Freeform 75">
              <a:extLst>
                <a:ext uri="{FF2B5EF4-FFF2-40B4-BE49-F238E27FC236}">
                  <a16:creationId xmlns:a16="http://schemas.microsoft.com/office/drawing/2014/main" id="{DF8BD6CE-E238-41D1-B2AF-9C9038F3FF64}"/>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40" name="Freeform 76">
              <a:extLst>
                <a:ext uri="{FF2B5EF4-FFF2-40B4-BE49-F238E27FC236}">
                  <a16:creationId xmlns:a16="http://schemas.microsoft.com/office/drawing/2014/main" id="{0F92BB03-763E-45C9-81D7-3002C311F130}"/>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78" name="Rectangle 77">
              <a:extLst>
                <a:ext uri="{FF2B5EF4-FFF2-40B4-BE49-F238E27FC236}">
                  <a16:creationId xmlns:a16="http://schemas.microsoft.com/office/drawing/2014/main" id="{1B2EE270-81B8-47F5-9E85-4C86766B7251}"/>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3" name="Freeform 78">
              <a:extLst>
                <a:ext uri="{FF2B5EF4-FFF2-40B4-BE49-F238E27FC236}">
                  <a16:creationId xmlns:a16="http://schemas.microsoft.com/office/drawing/2014/main" id="{1074D7A3-B532-4A3F-BAAD-2E32D04338DC}"/>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8" name="Rectangle 79">
              <a:extLst>
                <a:ext uri="{FF2B5EF4-FFF2-40B4-BE49-F238E27FC236}">
                  <a16:creationId xmlns:a16="http://schemas.microsoft.com/office/drawing/2014/main" id="{28D7F2A6-3F4B-48B9-94BF-F30B92B15674}"/>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69" name="Freeform 80">
              <a:extLst>
                <a:ext uri="{FF2B5EF4-FFF2-40B4-BE49-F238E27FC236}">
                  <a16:creationId xmlns:a16="http://schemas.microsoft.com/office/drawing/2014/main" id="{26C317CE-CD07-47F3-9162-7E0C84CC9CB8}"/>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1" name="Rectangle 81">
              <a:extLst>
                <a:ext uri="{FF2B5EF4-FFF2-40B4-BE49-F238E27FC236}">
                  <a16:creationId xmlns:a16="http://schemas.microsoft.com/office/drawing/2014/main" id="{4F2BA459-7149-41FC-98FC-6B3EB9C52C53}"/>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2" name="Freeform 82">
              <a:extLst>
                <a:ext uri="{FF2B5EF4-FFF2-40B4-BE49-F238E27FC236}">
                  <a16:creationId xmlns:a16="http://schemas.microsoft.com/office/drawing/2014/main" id="{658BE50C-0150-439A-BAEB-7EF7A7013108}"/>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3" name="Rectangle 83">
              <a:extLst>
                <a:ext uri="{FF2B5EF4-FFF2-40B4-BE49-F238E27FC236}">
                  <a16:creationId xmlns:a16="http://schemas.microsoft.com/office/drawing/2014/main" id="{E49130B2-0806-4D35-801E-35CDCA6ECB9E}"/>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4" name="Freeform 84">
              <a:extLst>
                <a:ext uri="{FF2B5EF4-FFF2-40B4-BE49-F238E27FC236}">
                  <a16:creationId xmlns:a16="http://schemas.microsoft.com/office/drawing/2014/main" id="{93BE5CB8-9235-40FA-A6CE-475E27D616C8}"/>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01" name="TextBox 600">
            <a:extLst>
              <a:ext uri="{FF2B5EF4-FFF2-40B4-BE49-F238E27FC236}">
                <a16:creationId xmlns:a16="http://schemas.microsoft.com/office/drawing/2014/main" id="{C4D97DAC-A6FC-4C98-9E2E-51E44EF2E5A2}"/>
              </a:ext>
            </a:extLst>
          </p:cNvPr>
          <p:cNvSpPr txBox="1"/>
          <p:nvPr/>
        </p:nvSpPr>
        <p:spPr>
          <a:xfrm>
            <a:off x="2718213" y="2928315"/>
            <a:ext cx="301366" cy="492443"/>
          </a:xfrm>
          <a:prstGeom prst="rect">
            <a:avLst/>
          </a:prstGeom>
          <a:noFill/>
        </p:spPr>
        <p:txBody>
          <a:bodyPr wrap="none" lIns="0" tIns="0" rIns="0" bIns="0" rtlCol="0" anchor="ctr">
            <a:spAutoFit/>
          </a:bodyPr>
          <a:lstStyle/>
          <a:p>
            <a:pPr algn="ctr"/>
            <a:r>
              <a:rPr lang="en-US" sz="3200" dirty="0">
                <a:gradFill>
                  <a:gsLst>
                    <a:gs pos="2917">
                      <a:schemeClr val="tx1"/>
                    </a:gs>
                    <a:gs pos="30000">
                      <a:schemeClr val="tx1"/>
                    </a:gs>
                  </a:gsLst>
                  <a:lin ang="5400000" scaled="0"/>
                </a:gradFill>
              </a:rPr>
              <a:t>…</a:t>
            </a:r>
          </a:p>
        </p:txBody>
      </p:sp>
      <p:sp>
        <p:nvSpPr>
          <p:cNvPr id="602" name="TextBox 601">
            <a:extLst>
              <a:ext uri="{FF2B5EF4-FFF2-40B4-BE49-F238E27FC236}">
                <a16:creationId xmlns:a16="http://schemas.microsoft.com/office/drawing/2014/main" id="{3C44C553-F938-4180-AEDC-A88E8AE58A99}"/>
              </a:ext>
            </a:extLst>
          </p:cNvPr>
          <p:cNvSpPr txBox="1"/>
          <p:nvPr/>
        </p:nvSpPr>
        <p:spPr>
          <a:xfrm>
            <a:off x="6640254" y="2907382"/>
            <a:ext cx="301366" cy="492443"/>
          </a:xfrm>
          <a:prstGeom prst="rect">
            <a:avLst/>
          </a:prstGeom>
          <a:noFill/>
        </p:spPr>
        <p:txBody>
          <a:bodyPr wrap="none" lIns="0" tIns="0" rIns="0" bIns="0" rtlCol="0" anchor="ctr">
            <a:spAutoFit/>
          </a:bodyPr>
          <a:lstStyle/>
          <a:p>
            <a:pPr algn="ctr"/>
            <a:r>
              <a:rPr lang="en-US" sz="3200" dirty="0">
                <a:gradFill>
                  <a:gsLst>
                    <a:gs pos="2917">
                      <a:schemeClr val="tx1"/>
                    </a:gs>
                    <a:gs pos="30000">
                      <a:schemeClr val="tx1"/>
                    </a:gs>
                  </a:gsLst>
                  <a:lin ang="5400000" scaled="0"/>
                </a:gradFill>
              </a:rPr>
              <a:t>…</a:t>
            </a:r>
          </a:p>
        </p:txBody>
      </p:sp>
      <p:sp>
        <p:nvSpPr>
          <p:cNvPr id="604" name="Freeform 3527">
            <a:extLst>
              <a:ext uri="{FF2B5EF4-FFF2-40B4-BE49-F238E27FC236}">
                <a16:creationId xmlns:a16="http://schemas.microsoft.com/office/drawing/2014/main" id="{A7EB2FFC-A8F7-4C42-B8EA-6F6EACF4A566}"/>
              </a:ext>
            </a:extLst>
          </p:cNvPr>
          <p:cNvSpPr>
            <a:spLocks/>
          </p:cNvSpPr>
          <p:nvPr/>
        </p:nvSpPr>
        <p:spPr bwMode="auto">
          <a:xfrm>
            <a:off x="5412202" y="4774969"/>
            <a:ext cx="1576576" cy="924960"/>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1440" tIns="45720" rIns="91440" bIns="45720" numCol="1" anchor="b" anchorCtr="0" compatLnSpc="1">
            <a:prstTxWarp prst="textNoShape">
              <a:avLst/>
            </a:prstTxWarp>
          </a:bodyPr>
          <a:lstStyle/>
          <a:p>
            <a:pPr algn="ctr"/>
            <a:r>
              <a:rPr lang="en-US" sz="1400" b="1" dirty="0">
                <a:solidFill>
                  <a:schemeClr val="bg1"/>
                </a:solidFill>
              </a:rPr>
              <a:t>WVD session host VMs</a:t>
            </a:r>
          </a:p>
        </p:txBody>
      </p:sp>
      <p:sp>
        <p:nvSpPr>
          <p:cNvPr id="389" name="Rectangle 388">
            <a:extLst>
              <a:ext uri="{FF2B5EF4-FFF2-40B4-BE49-F238E27FC236}">
                <a16:creationId xmlns:a16="http://schemas.microsoft.com/office/drawing/2014/main" id="{EE953FE9-ECD8-4F95-9A6C-BC97EB856A45}"/>
              </a:ext>
            </a:extLst>
          </p:cNvPr>
          <p:cNvSpPr/>
          <p:nvPr/>
        </p:nvSpPr>
        <p:spPr>
          <a:xfrm>
            <a:off x="4679211" y="3854638"/>
            <a:ext cx="730969" cy="215444"/>
          </a:xfrm>
          <a:prstGeom prst="rect">
            <a:avLst/>
          </a:prstGeom>
        </p:spPr>
        <p:txBody>
          <a:bodyPr wrap="none" lIns="0" tIns="0" rIns="0" bIns="0">
            <a:spAutoFit/>
          </a:bodyPr>
          <a:lstStyle/>
          <a:p>
            <a:r>
              <a:rPr lang="en-US" sz="1400" b="1" dirty="0">
                <a:solidFill>
                  <a:schemeClr val="bg1">
                    <a:lumMod val="65000"/>
                  </a:schemeClr>
                </a:solidFill>
              </a:rPr>
              <a:t>RDS CAL</a:t>
            </a:r>
          </a:p>
        </p:txBody>
      </p:sp>
      <p:sp>
        <p:nvSpPr>
          <p:cNvPr id="5" name="Equals 4">
            <a:extLst>
              <a:ext uri="{FF2B5EF4-FFF2-40B4-BE49-F238E27FC236}">
                <a16:creationId xmlns:a16="http://schemas.microsoft.com/office/drawing/2014/main" id="{C7F28FFC-D30A-4E94-A6A5-440316C46E22}"/>
              </a:ext>
            </a:extLst>
          </p:cNvPr>
          <p:cNvSpPr/>
          <p:nvPr/>
        </p:nvSpPr>
        <p:spPr bwMode="auto">
          <a:xfrm>
            <a:off x="4623765" y="3884709"/>
            <a:ext cx="822960" cy="155372"/>
          </a:xfrm>
          <a:prstGeom prst="mathEqual">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90" name="Rectangle 389">
            <a:extLst>
              <a:ext uri="{FF2B5EF4-FFF2-40B4-BE49-F238E27FC236}">
                <a16:creationId xmlns:a16="http://schemas.microsoft.com/office/drawing/2014/main" id="{F3B220F2-E8DF-47A4-B36D-1B5DC9D886F1}"/>
              </a:ext>
            </a:extLst>
          </p:cNvPr>
          <p:cNvSpPr/>
          <p:nvPr/>
        </p:nvSpPr>
        <p:spPr>
          <a:xfrm>
            <a:off x="5844996" y="3854638"/>
            <a:ext cx="730969" cy="215444"/>
          </a:xfrm>
          <a:prstGeom prst="rect">
            <a:avLst/>
          </a:prstGeom>
        </p:spPr>
        <p:txBody>
          <a:bodyPr wrap="none" lIns="0" tIns="0" rIns="0" bIns="0">
            <a:spAutoFit/>
          </a:bodyPr>
          <a:lstStyle/>
          <a:p>
            <a:r>
              <a:rPr lang="en-US" sz="1400" b="1" dirty="0">
                <a:solidFill>
                  <a:schemeClr val="bg1">
                    <a:lumMod val="65000"/>
                  </a:schemeClr>
                </a:solidFill>
              </a:rPr>
              <a:t>RDS CAL</a:t>
            </a:r>
          </a:p>
        </p:txBody>
      </p:sp>
      <p:sp>
        <p:nvSpPr>
          <p:cNvPr id="391" name="Equals 390">
            <a:extLst>
              <a:ext uri="{FF2B5EF4-FFF2-40B4-BE49-F238E27FC236}">
                <a16:creationId xmlns:a16="http://schemas.microsoft.com/office/drawing/2014/main" id="{2DEE0606-DF63-4C0F-A213-4862BC0D44C0}"/>
              </a:ext>
            </a:extLst>
          </p:cNvPr>
          <p:cNvSpPr/>
          <p:nvPr/>
        </p:nvSpPr>
        <p:spPr bwMode="auto">
          <a:xfrm>
            <a:off x="5789550" y="3884709"/>
            <a:ext cx="822960" cy="155372"/>
          </a:xfrm>
          <a:prstGeom prst="mathEqual">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a:extLst>
              <a:ext uri="{FF2B5EF4-FFF2-40B4-BE49-F238E27FC236}">
                <a16:creationId xmlns:a16="http://schemas.microsoft.com/office/drawing/2014/main" id="{960AF3F5-2EA3-40DB-A276-9564DBCD6D23}"/>
              </a:ext>
            </a:extLst>
          </p:cNvPr>
          <p:cNvSpPr/>
          <p:nvPr/>
        </p:nvSpPr>
        <p:spPr>
          <a:xfrm>
            <a:off x="7002800" y="3854638"/>
            <a:ext cx="730969" cy="215444"/>
          </a:xfrm>
          <a:prstGeom prst="rect">
            <a:avLst/>
          </a:prstGeom>
        </p:spPr>
        <p:txBody>
          <a:bodyPr wrap="none" lIns="0" tIns="0" rIns="0" bIns="0">
            <a:spAutoFit/>
          </a:bodyPr>
          <a:lstStyle/>
          <a:p>
            <a:r>
              <a:rPr lang="en-US" sz="1400" b="1" dirty="0">
                <a:solidFill>
                  <a:schemeClr val="bg1">
                    <a:lumMod val="65000"/>
                  </a:schemeClr>
                </a:solidFill>
              </a:rPr>
              <a:t>RDS CAL</a:t>
            </a:r>
          </a:p>
        </p:txBody>
      </p:sp>
      <p:sp>
        <p:nvSpPr>
          <p:cNvPr id="393" name="Equals 392">
            <a:extLst>
              <a:ext uri="{FF2B5EF4-FFF2-40B4-BE49-F238E27FC236}">
                <a16:creationId xmlns:a16="http://schemas.microsoft.com/office/drawing/2014/main" id="{F520306F-5D81-4803-A640-F2B13111CE4B}"/>
              </a:ext>
            </a:extLst>
          </p:cNvPr>
          <p:cNvSpPr/>
          <p:nvPr/>
        </p:nvSpPr>
        <p:spPr bwMode="auto">
          <a:xfrm>
            <a:off x="6947354" y="3884709"/>
            <a:ext cx="822960" cy="155372"/>
          </a:xfrm>
          <a:prstGeom prst="mathEqual">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1" name="TextBox 400">
            <a:extLst>
              <a:ext uri="{FF2B5EF4-FFF2-40B4-BE49-F238E27FC236}">
                <a16:creationId xmlns:a16="http://schemas.microsoft.com/office/drawing/2014/main" id="{71D64DBC-ADAE-42F0-B50B-9F3AC1099BE0}"/>
              </a:ext>
            </a:extLst>
          </p:cNvPr>
          <p:cNvSpPr txBox="1"/>
          <p:nvPr/>
        </p:nvSpPr>
        <p:spPr>
          <a:xfrm>
            <a:off x="8302299" y="2405259"/>
            <a:ext cx="3307089" cy="351075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defTabSz="914400" fontAlgn="auto">
              <a:spcBef>
                <a:spcPts val="0"/>
              </a:spcBef>
              <a:spcAft>
                <a:spcPts val="0"/>
              </a:spcAft>
            </a:pPr>
            <a:r>
              <a:rPr lang="en-US" sz="1600" b="1" i="1" dirty="0">
                <a:solidFill>
                  <a:schemeClr val="tx2"/>
                </a:solidFill>
                <a:ea typeface="+mn-ea"/>
                <a:cs typeface="+mn-cs"/>
              </a:rPr>
              <a:t>$17 Saving</a:t>
            </a:r>
            <a:r>
              <a:rPr lang="en-US" sz="1600" b="1" i="1" baseline="30000" dirty="0">
                <a:solidFill>
                  <a:schemeClr val="tx2"/>
                </a:solidFill>
                <a:ea typeface="+mn-ea"/>
                <a:cs typeface="+mn-cs"/>
              </a:rPr>
              <a:t>**</a:t>
            </a:r>
          </a:p>
          <a:p>
            <a:pPr lvl="0" algn="ctr" defTabSz="914400" fontAlgn="auto">
              <a:spcBef>
                <a:spcPts val="0"/>
              </a:spcBef>
              <a:spcAft>
                <a:spcPts val="0"/>
              </a:spcAft>
            </a:pPr>
            <a:r>
              <a:rPr lang="en-US" sz="1600" i="1" dirty="0">
                <a:solidFill>
                  <a:schemeClr val="tx2"/>
                </a:solidFill>
                <a:ea typeface="+mn-ea"/>
                <a:cs typeface="+mn-cs"/>
              </a:rPr>
              <a:t>Per user per month</a:t>
            </a:r>
            <a:endParaRPr lang="en-US" sz="1500" i="1" dirty="0">
              <a:solidFill>
                <a:schemeClr val="tx2"/>
              </a:solidFill>
              <a:ea typeface="+mn-ea"/>
              <a:cs typeface="+mn-cs"/>
            </a:endParaRPr>
          </a:p>
        </p:txBody>
      </p:sp>
      <p:sp>
        <p:nvSpPr>
          <p:cNvPr id="402" name="TextBox 401">
            <a:extLst>
              <a:ext uri="{FF2B5EF4-FFF2-40B4-BE49-F238E27FC236}">
                <a16:creationId xmlns:a16="http://schemas.microsoft.com/office/drawing/2014/main" id="{C59429F1-E797-41B8-B744-EB2A59205715}"/>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400" b="1" dirty="0">
                <a:solidFill>
                  <a:schemeClr val="bg1"/>
                </a:solidFill>
              </a:rPr>
              <a:t>Economic Benefit</a:t>
            </a:r>
          </a:p>
        </p:txBody>
      </p:sp>
      <p:sp>
        <p:nvSpPr>
          <p:cNvPr id="396" name="Freeform: Shape 395">
            <a:extLst>
              <a:ext uri="{FF2B5EF4-FFF2-40B4-BE49-F238E27FC236}">
                <a16:creationId xmlns:a16="http://schemas.microsoft.com/office/drawing/2014/main" id="{68CC892B-72CD-471F-8E2A-55F3897203F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Windows Server RDS on-prem to Windows 10 Enterprise Multi-session in WVD</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Save on RDS CAL when migrating from Windows Server RDS on-prem to Windows 10 Enterprise multi-Session* in WVD</a:t>
            </a:r>
          </a:p>
        </p:txBody>
      </p:sp>
      <p:grpSp>
        <p:nvGrpSpPr>
          <p:cNvPr id="397" name="Group 396">
            <a:extLst>
              <a:ext uri="{FF2B5EF4-FFF2-40B4-BE49-F238E27FC236}">
                <a16:creationId xmlns:a16="http://schemas.microsoft.com/office/drawing/2014/main" id="{F61F306A-8B48-40AA-A909-7D9E2F41AD6C}"/>
              </a:ext>
            </a:extLst>
          </p:cNvPr>
          <p:cNvGrpSpPr>
            <a:grpSpLocks noChangeAspect="1"/>
          </p:cNvGrpSpPr>
          <p:nvPr/>
        </p:nvGrpSpPr>
        <p:grpSpPr>
          <a:xfrm>
            <a:off x="10777886" y="1372927"/>
            <a:ext cx="806355" cy="914400"/>
            <a:chOff x="797126" y="3893732"/>
            <a:chExt cx="1125722" cy="1276864"/>
          </a:xfrm>
        </p:grpSpPr>
        <p:sp>
          <p:nvSpPr>
            <p:cNvPr id="398" name="Freeform 403">
              <a:extLst>
                <a:ext uri="{FF2B5EF4-FFF2-40B4-BE49-F238E27FC236}">
                  <a16:creationId xmlns:a16="http://schemas.microsoft.com/office/drawing/2014/main" id="{17983370-059C-49C3-89B8-FC4CC41093E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399" name="Freeform: Shape 398">
              <a:extLst>
                <a:ext uri="{FF2B5EF4-FFF2-40B4-BE49-F238E27FC236}">
                  <a16:creationId xmlns:a16="http://schemas.microsoft.com/office/drawing/2014/main" id="{7C083AAB-64DC-4300-AA07-83E7ACEBD268}"/>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400" name="Group 399">
              <a:extLst>
                <a:ext uri="{FF2B5EF4-FFF2-40B4-BE49-F238E27FC236}">
                  <a16:creationId xmlns:a16="http://schemas.microsoft.com/office/drawing/2014/main" id="{7F862C16-25F3-4051-90BB-202CB1E3029F}"/>
                </a:ext>
              </a:extLst>
            </p:cNvPr>
            <p:cNvGrpSpPr/>
            <p:nvPr/>
          </p:nvGrpSpPr>
          <p:grpSpPr>
            <a:xfrm>
              <a:off x="971699" y="4043345"/>
              <a:ext cx="773592" cy="920012"/>
              <a:chOff x="993458" y="3447450"/>
              <a:chExt cx="682781" cy="812014"/>
            </a:xfrm>
          </p:grpSpPr>
          <p:grpSp>
            <p:nvGrpSpPr>
              <p:cNvPr id="403" name="Group 402">
                <a:extLst>
                  <a:ext uri="{FF2B5EF4-FFF2-40B4-BE49-F238E27FC236}">
                    <a16:creationId xmlns:a16="http://schemas.microsoft.com/office/drawing/2014/main" id="{C8A6DB02-9B9C-41A1-8B82-4E6C73B9998F}"/>
                  </a:ext>
                </a:extLst>
              </p:cNvPr>
              <p:cNvGrpSpPr/>
              <p:nvPr/>
            </p:nvGrpSpPr>
            <p:grpSpPr>
              <a:xfrm>
                <a:off x="993458" y="3447450"/>
                <a:ext cx="576652" cy="812014"/>
                <a:chOff x="499414" y="1517311"/>
                <a:chExt cx="3686809" cy="5340604"/>
              </a:xfrm>
            </p:grpSpPr>
            <p:sp>
              <p:nvSpPr>
                <p:cNvPr id="502" name="Rectangle 501">
                  <a:extLst>
                    <a:ext uri="{FF2B5EF4-FFF2-40B4-BE49-F238E27FC236}">
                      <a16:creationId xmlns:a16="http://schemas.microsoft.com/office/drawing/2014/main" id="{C7B2297F-70A2-4D40-9BCC-028744625705}"/>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503" name="Group 502">
                  <a:extLst>
                    <a:ext uri="{FF2B5EF4-FFF2-40B4-BE49-F238E27FC236}">
                      <a16:creationId xmlns:a16="http://schemas.microsoft.com/office/drawing/2014/main" id="{12BB7004-86B1-4BA2-8DA9-E0A32D786B46}"/>
                    </a:ext>
                  </a:extLst>
                </p:cNvPr>
                <p:cNvGrpSpPr/>
                <p:nvPr/>
              </p:nvGrpSpPr>
              <p:grpSpPr>
                <a:xfrm rot="20371446">
                  <a:off x="2524661" y="2299216"/>
                  <a:ext cx="859576" cy="554927"/>
                  <a:chOff x="4775201" y="792163"/>
                  <a:chExt cx="2024063" cy="1306513"/>
                </a:xfrm>
              </p:grpSpPr>
              <p:sp>
                <p:nvSpPr>
                  <p:cNvPr id="557" name="Freeform 354">
                    <a:extLst>
                      <a:ext uri="{FF2B5EF4-FFF2-40B4-BE49-F238E27FC236}">
                        <a16:creationId xmlns:a16="http://schemas.microsoft.com/office/drawing/2014/main" id="{55A47651-4BE3-46D5-B546-ED5E8A8035F4}"/>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8" name="Rectangle 557">
                    <a:extLst>
                      <a:ext uri="{FF2B5EF4-FFF2-40B4-BE49-F238E27FC236}">
                        <a16:creationId xmlns:a16="http://schemas.microsoft.com/office/drawing/2014/main" id="{B502299E-5C5D-465C-8763-9825355B536D}"/>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9" name="Freeform 356">
                    <a:extLst>
                      <a:ext uri="{FF2B5EF4-FFF2-40B4-BE49-F238E27FC236}">
                        <a16:creationId xmlns:a16="http://schemas.microsoft.com/office/drawing/2014/main" id="{C460D1D0-6959-4F54-A514-9BC54ED211E1}"/>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0" name="Freeform 357">
                    <a:extLst>
                      <a:ext uri="{FF2B5EF4-FFF2-40B4-BE49-F238E27FC236}">
                        <a16:creationId xmlns:a16="http://schemas.microsoft.com/office/drawing/2014/main" id="{DE3776F2-727C-476B-8C3B-09462F98958B}"/>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1" name="Freeform 358">
                    <a:extLst>
                      <a:ext uri="{FF2B5EF4-FFF2-40B4-BE49-F238E27FC236}">
                        <a16:creationId xmlns:a16="http://schemas.microsoft.com/office/drawing/2014/main" id="{53CD2918-CDA1-4097-911D-E643D0F48C81}"/>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2" name="Rectangle 561">
                    <a:extLst>
                      <a:ext uri="{FF2B5EF4-FFF2-40B4-BE49-F238E27FC236}">
                        <a16:creationId xmlns:a16="http://schemas.microsoft.com/office/drawing/2014/main" id="{E0435FAE-7279-4936-A790-BB1EFFAC26A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3" name="Freeform 360">
                    <a:extLst>
                      <a:ext uri="{FF2B5EF4-FFF2-40B4-BE49-F238E27FC236}">
                        <a16:creationId xmlns:a16="http://schemas.microsoft.com/office/drawing/2014/main" id="{626C7A92-E936-4625-AE1C-96F88A88C7BB}"/>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4" name="Rectangle 563">
                    <a:extLst>
                      <a:ext uri="{FF2B5EF4-FFF2-40B4-BE49-F238E27FC236}">
                        <a16:creationId xmlns:a16="http://schemas.microsoft.com/office/drawing/2014/main" id="{DA59180A-1CB2-42F8-9683-854782AB5EC4}"/>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5" name="Rectangle 564">
                    <a:extLst>
                      <a:ext uri="{FF2B5EF4-FFF2-40B4-BE49-F238E27FC236}">
                        <a16:creationId xmlns:a16="http://schemas.microsoft.com/office/drawing/2014/main" id="{1D58BC5E-B093-4F92-9202-599305989D38}"/>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6" name="Rectangle 565">
                    <a:extLst>
                      <a:ext uri="{FF2B5EF4-FFF2-40B4-BE49-F238E27FC236}">
                        <a16:creationId xmlns:a16="http://schemas.microsoft.com/office/drawing/2014/main" id="{80DB7BF7-9B46-436F-8FB5-8DC6E9452C1B}"/>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7" name="Rectangle 566">
                    <a:extLst>
                      <a:ext uri="{FF2B5EF4-FFF2-40B4-BE49-F238E27FC236}">
                        <a16:creationId xmlns:a16="http://schemas.microsoft.com/office/drawing/2014/main" id="{C6FA9BEC-AD0E-454F-9148-6C558509FC4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8" name="Rectangle 567">
                    <a:extLst>
                      <a:ext uri="{FF2B5EF4-FFF2-40B4-BE49-F238E27FC236}">
                        <a16:creationId xmlns:a16="http://schemas.microsoft.com/office/drawing/2014/main" id="{CEEA6434-51B4-4F79-8A2E-41660295369B}"/>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504" name="Group 503">
                  <a:extLst>
                    <a:ext uri="{FF2B5EF4-FFF2-40B4-BE49-F238E27FC236}">
                      <a16:creationId xmlns:a16="http://schemas.microsoft.com/office/drawing/2014/main" id="{C1662AF1-C222-48AA-BB02-F082FF280D8E}"/>
                    </a:ext>
                  </a:extLst>
                </p:cNvPr>
                <p:cNvGrpSpPr/>
                <p:nvPr/>
              </p:nvGrpSpPr>
              <p:grpSpPr>
                <a:xfrm>
                  <a:off x="1190120" y="2235988"/>
                  <a:ext cx="983059" cy="983198"/>
                  <a:chOff x="5413781" y="5749281"/>
                  <a:chExt cx="652036" cy="652036"/>
                </a:xfrm>
              </p:grpSpPr>
              <p:sp>
                <p:nvSpPr>
                  <p:cNvPr id="555" name="Oval 554">
                    <a:extLst>
                      <a:ext uri="{FF2B5EF4-FFF2-40B4-BE49-F238E27FC236}">
                        <a16:creationId xmlns:a16="http://schemas.microsoft.com/office/drawing/2014/main" id="{D48F33AF-DC3A-4FB5-B3DD-25F00ACD3FDC}"/>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556" name="Freeform 353">
                    <a:extLst>
                      <a:ext uri="{FF2B5EF4-FFF2-40B4-BE49-F238E27FC236}">
                        <a16:creationId xmlns:a16="http://schemas.microsoft.com/office/drawing/2014/main" id="{E140591D-93CE-4373-9566-BDA012A88F9F}"/>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05" name="Group 504">
                  <a:extLst>
                    <a:ext uri="{FF2B5EF4-FFF2-40B4-BE49-F238E27FC236}">
                      <a16:creationId xmlns:a16="http://schemas.microsoft.com/office/drawing/2014/main" id="{80E92FB2-7FC0-433B-B053-898471423828}"/>
                    </a:ext>
                  </a:extLst>
                </p:cNvPr>
                <p:cNvGrpSpPr>
                  <a:grpSpLocks noChangeAspect="1"/>
                </p:cNvGrpSpPr>
                <p:nvPr/>
              </p:nvGrpSpPr>
              <p:grpSpPr bwMode="auto">
                <a:xfrm rot="1800000">
                  <a:off x="3563928" y="2295726"/>
                  <a:ext cx="622295" cy="847393"/>
                  <a:chOff x="6652" y="1661"/>
                  <a:chExt cx="260" cy="354"/>
                </a:xfrm>
              </p:grpSpPr>
              <p:sp>
                <p:nvSpPr>
                  <p:cNvPr id="551" name="AutoShape 138">
                    <a:extLst>
                      <a:ext uri="{FF2B5EF4-FFF2-40B4-BE49-F238E27FC236}">
                        <a16:creationId xmlns:a16="http://schemas.microsoft.com/office/drawing/2014/main" id="{E86E4BD6-B2D4-4526-BA33-4DF3E611A9B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552" name="Freeform 349">
                    <a:extLst>
                      <a:ext uri="{FF2B5EF4-FFF2-40B4-BE49-F238E27FC236}">
                        <a16:creationId xmlns:a16="http://schemas.microsoft.com/office/drawing/2014/main" id="{07E610B4-B88C-46A8-829F-FE95527CAC78}"/>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553" name="Rectangle 552">
                    <a:extLst>
                      <a:ext uri="{FF2B5EF4-FFF2-40B4-BE49-F238E27FC236}">
                        <a16:creationId xmlns:a16="http://schemas.microsoft.com/office/drawing/2014/main" id="{FD3FE4E8-867B-43C8-B5BF-6AE134D89531}"/>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554" name="Freeform 351">
                    <a:extLst>
                      <a:ext uri="{FF2B5EF4-FFF2-40B4-BE49-F238E27FC236}">
                        <a16:creationId xmlns:a16="http://schemas.microsoft.com/office/drawing/2014/main" id="{17103D37-8B81-453A-BF9E-001006CD7D64}"/>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506" name="Group 505">
                  <a:extLst>
                    <a:ext uri="{FF2B5EF4-FFF2-40B4-BE49-F238E27FC236}">
                      <a16:creationId xmlns:a16="http://schemas.microsoft.com/office/drawing/2014/main" id="{CBEF3EF5-78DF-4903-B5E6-16FCF7958337}"/>
                    </a:ext>
                  </a:extLst>
                </p:cNvPr>
                <p:cNvGrpSpPr/>
                <p:nvPr/>
              </p:nvGrpSpPr>
              <p:grpSpPr>
                <a:xfrm flipH="1">
                  <a:off x="499414" y="3565526"/>
                  <a:ext cx="1323206" cy="3292389"/>
                  <a:chOff x="8371759" y="2973033"/>
                  <a:chExt cx="1482609" cy="3688507"/>
                </a:xfrm>
              </p:grpSpPr>
              <p:sp>
                <p:nvSpPr>
                  <p:cNvPr id="517" name="Freeform 314">
                    <a:extLst>
                      <a:ext uri="{FF2B5EF4-FFF2-40B4-BE49-F238E27FC236}">
                        <a16:creationId xmlns:a16="http://schemas.microsoft.com/office/drawing/2014/main" id="{CC24379A-D3F3-44C8-8EC2-FE670E9D31E8}"/>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18" name="Freeform 315">
                    <a:extLst>
                      <a:ext uri="{FF2B5EF4-FFF2-40B4-BE49-F238E27FC236}">
                        <a16:creationId xmlns:a16="http://schemas.microsoft.com/office/drawing/2014/main" id="{FDC5B6EE-E8AC-4FDD-9F9B-9C7E87AA9F85}"/>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19" name="Freeform 316">
                    <a:extLst>
                      <a:ext uri="{FF2B5EF4-FFF2-40B4-BE49-F238E27FC236}">
                        <a16:creationId xmlns:a16="http://schemas.microsoft.com/office/drawing/2014/main" id="{8F3D57D9-EC57-4D0F-9696-C3AF984C4D5A}"/>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20" name="Rectangle 519">
                    <a:extLst>
                      <a:ext uri="{FF2B5EF4-FFF2-40B4-BE49-F238E27FC236}">
                        <a16:creationId xmlns:a16="http://schemas.microsoft.com/office/drawing/2014/main" id="{2E7F0745-21CF-432E-B446-11F8D2089538}"/>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21" name="Rectangle 520">
                    <a:extLst>
                      <a:ext uri="{FF2B5EF4-FFF2-40B4-BE49-F238E27FC236}">
                        <a16:creationId xmlns:a16="http://schemas.microsoft.com/office/drawing/2014/main" id="{7BDFBD2B-BF1A-49D0-96C2-256BC1C00712}"/>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22" name="Rectangle 521">
                    <a:extLst>
                      <a:ext uri="{FF2B5EF4-FFF2-40B4-BE49-F238E27FC236}">
                        <a16:creationId xmlns:a16="http://schemas.microsoft.com/office/drawing/2014/main" id="{0709BB7E-795B-42E7-BEBB-2E5C08EFC58F}"/>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23" name="Rectangle 522">
                    <a:extLst>
                      <a:ext uri="{FF2B5EF4-FFF2-40B4-BE49-F238E27FC236}">
                        <a16:creationId xmlns:a16="http://schemas.microsoft.com/office/drawing/2014/main" id="{2782AC3E-0D94-4867-8F4F-71D28C76D7C4}"/>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24" name="Freeform 321">
                    <a:extLst>
                      <a:ext uri="{FF2B5EF4-FFF2-40B4-BE49-F238E27FC236}">
                        <a16:creationId xmlns:a16="http://schemas.microsoft.com/office/drawing/2014/main" id="{69614D27-E148-4272-ABB1-76ADD07FCB77}"/>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25" name="Rectangle 524">
                    <a:extLst>
                      <a:ext uri="{FF2B5EF4-FFF2-40B4-BE49-F238E27FC236}">
                        <a16:creationId xmlns:a16="http://schemas.microsoft.com/office/drawing/2014/main" id="{958AD0AA-A905-4DE9-8B07-EC94E294BF13}"/>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26" name="Rectangle 525">
                    <a:extLst>
                      <a:ext uri="{FF2B5EF4-FFF2-40B4-BE49-F238E27FC236}">
                        <a16:creationId xmlns:a16="http://schemas.microsoft.com/office/drawing/2014/main" id="{A213D2AC-63C6-426D-B3C7-05097F993852}"/>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27" name="Freeform 324">
                    <a:extLst>
                      <a:ext uri="{FF2B5EF4-FFF2-40B4-BE49-F238E27FC236}">
                        <a16:creationId xmlns:a16="http://schemas.microsoft.com/office/drawing/2014/main" id="{CB9E771E-977F-4BB6-A130-2B5640798F5C}"/>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28" name="Freeform 325">
                    <a:extLst>
                      <a:ext uri="{FF2B5EF4-FFF2-40B4-BE49-F238E27FC236}">
                        <a16:creationId xmlns:a16="http://schemas.microsoft.com/office/drawing/2014/main" id="{B97998E8-02C8-4095-83AA-EF16C0EA7DF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29" name="Freeform 326">
                    <a:extLst>
                      <a:ext uri="{FF2B5EF4-FFF2-40B4-BE49-F238E27FC236}">
                        <a16:creationId xmlns:a16="http://schemas.microsoft.com/office/drawing/2014/main" id="{84FE6A99-624D-461D-B2BA-85D44BA3234F}"/>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30" name="Freeform 327">
                    <a:extLst>
                      <a:ext uri="{FF2B5EF4-FFF2-40B4-BE49-F238E27FC236}">
                        <a16:creationId xmlns:a16="http://schemas.microsoft.com/office/drawing/2014/main" id="{3698832E-E8A2-44D3-8FED-BDB03F3F2249}"/>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31" name="Freeform 328">
                    <a:extLst>
                      <a:ext uri="{FF2B5EF4-FFF2-40B4-BE49-F238E27FC236}">
                        <a16:creationId xmlns:a16="http://schemas.microsoft.com/office/drawing/2014/main" id="{99A24B76-8E68-4E6F-8278-AFB9E56DD956}"/>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32" name="Freeform 329">
                    <a:extLst>
                      <a:ext uri="{FF2B5EF4-FFF2-40B4-BE49-F238E27FC236}">
                        <a16:creationId xmlns:a16="http://schemas.microsoft.com/office/drawing/2014/main" id="{6DFAD642-99BE-475E-AA0A-5EA3927B343B}"/>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33" name="Freeform 330">
                    <a:extLst>
                      <a:ext uri="{FF2B5EF4-FFF2-40B4-BE49-F238E27FC236}">
                        <a16:creationId xmlns:a16="http://schemas.microsoft.com/office/drawing/2014/main" id="{BCC745C3-37D0-4D8D-9EC5-96EF4013BDC2}"/>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34" name="Freeform 331">
                    <a:extLst>
                      <a:ext uri="{FF2B5EF4-FFF2-40B4-BE49-F238E27FC236}">
                        <a16:creationId xmlns:a16="http://schemas.microsoft.com/office/drawing/2014/main" id="{DC792033-CFEE-4FAC-950C-031A23A9E53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35" name="Freeform 332">
                    <a:extLst>
                      <a:ext uri="{FF2B5EF4-FFF2-40B4-BE49-F238E27FC236}">
                        <a16:creationId xmlns:a16="http://schemas.microsoft.com/office/drawing/2014/main" id="{02E73469-10C6-4823-903D-EA844B92960E}"/>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36" name="Freeform 333">
                    <a:extLst>
                      <a:ext uri="{FF2B5EF4-FFF2-40B4-BE49-F238E27FC236}">
                        <a16:creationId xmlns:a16="http://schemas.microsoft.com/office/drawing/2014/main" id="{CC01D298-1B71-4D15-BD95-3F79527AF2CF}"/>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37" name="Freeform 334">
                    <a:extLst>
                      <a:ext uri="{FF2B5EF4-FFF2-40B4-BE49-F238E27FC236}">
                        <a16:creationId xmlns:a16="http://schemas.microsoft.com/office/drawing/2014/main" id="{97301F52-40E7-452D-BD26-57E33706A885}"/>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38" name="Freeform 335">
                    <a:extLst>
                      <a:ext uri="{FF2B5EF4-FFF2-40B4-BE49-F238E27FC236}">
                        <a16:creationId xmlns:a16="http://schemas.microsoft.com/office/drawing/2014/main" id="{971712F0-AE9A-4CCE-929D-C8C28A64A22F}"/>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39" name="Freeform 336">
                    <a:extLst>
                      <a:ext uri="{FF2B5EF4-FFF2-40B4-BE49-F238E27FC236}">
                        <a16:creationId xmlns:a16="http://schemas.microsoft.com/office/drawing/2014/main" id="{5937F072-F16C-4390-8A9E-187EB2CC1194}"/>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40" name="Freeform 337">
                    <a:extLst>
                      <a:ext uri="{FF2B5EF4-FFF2-40B4-BE49-F238E27FC236}">
                        <a16:creationId xmlns:a16="http://schemas.microsoft.com/office/drawing/2014/main" id="{9977D708-1746-4E71-A411-C00E045ED465}"/>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41" name="Freeform 338">
                    <a:extLst>
                      <a:ext uri="{FF2B5EF4-FFF2-40B4-BE49-F238E27FC236}">
                        <a16:creationId xmlns:a16="http://schemas.microsoft.com/office/drawing/2014/main" id="{AA1D73F1-EE71-4B9C-ADDD-5FA3B0BB29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42" name="Freeform 339">
                    <a:extLst>
                      <a:ext uri="{FF2B5EF4-FFF2-40B4-BE49-F238E27FC236}">
                        <a16:creationId xmlns:a16="http://schemas.microsoft.com/office/drawing/2014/main" id="{FDCA0223-8221-4513-B7DF-FE4CE40CF684}"/>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43" name="Freeform 340">
                    <a:extLst>
                      <a:ext uri="{FF2B5EF4-FFF2-40B4-BE49-F238E27FC236}">
                        <a16:creationId xmlns:a16="http://schemas.microsoft.com/office/drawing/2014/main" id="{253CB802-BD26-4C22-BDC5-F9AF9D7BC459}"/>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44" name="Freeform 341">
                    <a:extLst>
                      <a:ext uri="{FF2B5EF4-FFF2-40B4-BE49-F238E27FC236}">
                        <a16:creationId xmlns:a16="http://schemas.microsoft.com/office/drawing/2014/main" id="{1282D23D-3A71-4E1A-88F8-D6112D1EFE5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45" name="Freeform 342">
                    <a:extLst>
                      <a:ext uri="{FF2B5EF4-FFF2-40B4-BE49-F238E27FC236}">
                        <a16:creationId xmlns:a16="http://schemas.microsoft.com/office/drawing/2014/main" id="{86E89B3D-BDB4-4DF8-848B-C8964F49E7AF}"/>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46" name="Freeform 343">
                    <a:extLst>
                      <a:ext uri="{FF2B5EF4-FFF2-40B4-BE49-F238E27FC236}">
                        <a16:creationId xmlns:a16="http://schemas.microsoft.com/office/drawing/2014/main" id="{3B0D1844-C7C3-4069-B788-0710792C3D42}"/>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47" name="Freeform 344">
                    <a:extLst>
                      <a:ext uri="{FF2B5EF4-FFF2-40B4-BE49-F238E27FC236}">
                        <a16:creationId xmlns:a16="http://schemas.microsoft.com/office/drawing/2014/main" id="{554F96F4-29FD-45CA-8D7D-27B27764646C}"/>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48" name="Freeform 345">
                    <a:extLst>
                      <a:ext uri="{FF2B5EF4-FFF2-40B4-BE49-F238E27FC236}">
                        <a16:creationId xmlns:a16="http://schemas.microsoft.com/office/drawing/2014/main" id="{9A9FCA25-0A33-4D78-A266-B3CEE1660550}"/>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49" name="Freeform 346">
                    <a:extLst>
                      <a:ext uri="{FF2B5EF4-FFF2-40B4-BE49-F238E27FC236}">
                        <a16:creationId xmlns:a16="http://schemas.microsoft.com/office/drawing/2014/main" id="{CBEB6ADF-B493-4CC8-8DCB-D463459F7F04}"/>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550" name="Freeform 347">
                    <a:extLst>
                      <a:ext uri="{FF2B5EF4-FFF2-40B4-BE49-F238E27FC236}">
                        <a16:creationId xmlns:a16="http://schemas.microsoft.com/office/drawing/2014/main" id="{0B7CACE7-064E-44FD-A24A-316EB1154F96}"/>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507" name="Straight Connector 506">
                  <a:extLst>
                    <a:ext uri="{FF2B5EF4-FFF2-40B4-BE49-F238E27FC236}">
                      <a16:creationId xmlns:a16="http://schemas.microsoft.com/office/drawing/2014/main" id="{83627690-76BA-465B-806C-A1D0738172B2}"/>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508" name="Straight Connector 507">
                  <a:extLst>
                    <a:ext uri="{FF2B5EF4-FFF2-40B4-BE49-F238E27FC236}">
                      <a16:creationId xmlns:a16="http://schemas.microsoft.com/office/drawing/2014/main" id="{5BA43630-4E7C-41FD-814A-6949B30EA118}"/>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509" name="Straight Connector 508">
                  <a:extLst>
                    <a:ext uri="{FF2B5EF4-FFF2-40B4-BE49-F238E27FC236}">
                      <a16:creationId xmlns:a16="http://schemas.microsoft.com/office/drawing/2014/main" id="{54720559-BD78-4026-A69F-876BF8DD2227}"/>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510" name="Straight Connector 509">
                  <a:extLst>
                    <a:ext uri="{FF2B5EF4-FFF2-40B4-BE49-F238E27FC236}">
                      <a16:creationId xmlns:a16="http://schemas.microsoft.com/office/drawing/2014/main" id="{FEDA20DB-8E14-4472-8B24-EF1EA6B1EE9D}"/>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511" name="Group 510">
                  <a:extLst>
                    <a:ext uri="{FF2B5EF4-FFF2-40B4-BE49-F238E27FC236}">
                      <a16:creationId xmlns:a16="http://schemas.microsoft.com/office/drawing/2014/main" id="{D0188BBF-6333-4BE8-BC69-8B968330B5C9}"/>
                    </a:ext>
                  </a:extLst>
                </p:cNvPr>
                <p:cNvGrpSpPr/>
                <p:nvPr/>
              </p:nvGrpSpPr>
              <p:grpSpPr>
                <a:xfrm>
                  <a:off x="2022695" y="1566515"/>
                  <a:ext cx="766903" cy="767014"/>
                  <a:chOff x="9123445" y="2463609"/>
                  <a:chExt cx="652033" cy="652035"/>
                </a:xfrm>
              </p:grpSpPr>
              <p:sp>
                <p:nvSpPr>
                  <p:cNvPr id="515" name="Oval 514">
                    <a:extLst>
                      <a:ext uri="{FF2B5EF4-FFF2-40B4-BE49-F238E27FC236}">
                        <a16:creationId xmlns:a16="http://schemas.microsoft.com/office/drawing/2014/main" id="{411C1C42-50CD-4570-8040-3A34629B78A7}"/>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516" name="Freeform 313">
                    <a:extLst>
                      <a:ext uri="{FF2B5EF4-FFF2-40B4-BE49-F238E27FC236}">
                        <a16:creationId xmlns:a16="http://schemas.microsoft.com/office/drawing/2014/main" id="{D672C990-C66C-405B-8076-D2050784DE8E}"/>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512" name="Group 511">
                  <a:extLst>
                    <a:ext uri="{FF2B5EF4-FFF2-40B4-BE49-F238E27FC236}">
                      <a16:creationId xmlns:a16="http://schemas.microsoft.com/office/drawing/2014/main" id="{264634AD-7CC2-4D0A-B28C-E8504E3D265C}"/>
                    </a:ext>
                  </a:extLst>
                </p:cNvPr>
                <p:cNvGrpSpPr/>
                <p:nvPr/>
              </p:nvGrpSpPr>
              <p:grpSpPr>
                <a:xfrm>
                  <a:off x="1973388" y="1517311"/>
                  <a:ext cx="853073" cy="853194"/>
                  <a:chOff x="9123452" y="2463609"/>
                  <a:chExt cx="652035" cy="652035"/>
                </a:xfrm>
              </p:grpSpPr>
              <p:sp>
                <p:nvSpPr>
                  <p:cNvPr id="513" name="Oval 512">
                    <a:extLst>
                      <a:ext uri="{FF2B5EF4-FFF2-40B4-BE49-F238E27FC236}">
                        <a16:creationId xmlns:a16="http://schemas.microsoft.com/office/drawing/2014/main" id="{0B218CAA-03A4-4C6A-B9B0-5045B06EA4E9}"/>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514" name="Freeform 311">
                    <a:extLst>
                      <a:ext uri="{FF2B5EF4-FFF2-40B4-BE49-F238E27FC236}">
                        <a16:creationId xmlns:a16="http://schemas.microsoft.com/office/drawing/2014/main" id="{1E269E14-8B23-4CF9-B3EB-DDB3A0089209}"/>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404" name="Group 403">
                <a:extLst>
                  <a:ext uri="{FF2B5EF4-FFF2-40B4-BE49-F238E27FC236}">
                    <a16:creationId xmlns:a16="http://schemas.microsoft.com/office/drawing/2014/main" id="{2269A6D0-DBA8-41DA-B9E6-FA169F032466}"/>
                  </a:ext>
                </a:extLst>
              </p:cNvPr>
              <p:cNvGrpSpPr/>
              <p:nvPr/>
            </p:nvGrpSpPr>
            <p:grpSpPr>
              <a:xfrm>
                <a:off x="1226671" y="3909844"/>
                <a:ext cx="304563" cy="307388"/>
                <a:chOff x="4471988" y="3821062"/>
                <a:chExt cx="2035176" cy="2113013"/>
              </a:xfrm>
            </p:grpSpPr>
            <p:sp>
              <p:nvSpPr>
                <p:cNvPr id="448" name="Rectangle 6">
                  <a:extLst>
                    <a:ext uri="{FF2B5EF4-FFF2-40B4-BE49-F238E27FC236}">
                      <a16:creationId xmlns:a16="http://schemas.microsoft.com/office/drawing/2014/main" id="{D95A2ED3-EA43-4C79-B74C-CF33F13A09ED}"/>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49" name="Freeform 7">
                  <a:extLst>
                    <a:ext uri="{FF2B5EF4-FFF2-40B4-BE49-F238E27FC236}">
                      <a16:creationId xmlns:a16="http://schemas.microsoft.com/office/drawing/2014/main" id="{0FEFD44F-A0A9-44A7-9D6A-32CA15C98FA8}"/>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50" name="Freeform 10">
                  <a:extLst>
                    <a:ext uri="{FF2B5EF4-FFF2-40B4-BE49-F238E27FC236}">
                      <a16:creationId xmlns:a16="http://schemas.microsoft.com/office/drawing/2014/main" id="{9D08B22C-9F87-4A00-BF0B-126C775D73DD}"/>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51" name="Freeform 11">
                  <a:extLst>
                    <a:ext uri="{FF2B5EF4-FFF2-40B4-BE49-F238E27FC236}">
                      <a16:creationId xmlns:a16="http://schemas.microsoft.com/office/drawing/2014/main" id="{41A80138-8212-4683-8DF2-994FF6B8FA21}"/>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52" name="Oval 12">
                  <a:extLst>
                    <a:ext uri="{FF2B5EF4-FFF2-40B4-BE49-F238E27FC236}">
                      <a16:creationId xmlns:a16="http://schemas.microsoft.com/office/drawing/2014/main" id="{485DC5B5-2461-41F9-B52C-56785E6790C1}"/>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53" name="Oval 13">
                  <a:extLst>
                    <a:ext uri="{FF2B5EF4-FFF2-40B4-BE49-F238E27FC236}">
                      <a16:creationId xmlns:a16="http://schemas.microsoft.com/office/drawing/2014/main" id="{2FDC90C4-1D5B-461C-8E55-A8E2624397B5}"/>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54" name="Freeform 14">
                  <a:extLst>
                    <a:ext uri="{FF2B5EF4-FFF2-40B4-BE49-F238E27FC236}">
                      <a16:creationId xmlns:a16="http://schemas.microsoft.com/office/drawing/2014/main" id="{A0F0B5AA-6BC8-487F-B254-62F1E4070E14}"/>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55" name="Rectangle 15">
                  <a:extLst>
                    <a:ext uri="{FF2B5EF4-FFF2-40B4-BE49-F238E27FC236}">
                      <a16:creationId xmlns:a16="http://schemas.microsoft.com/office/drawing/2014/main" id="{E31C621E-1D14-4B09-AB8B-D3F6F1CFDCF8}"/>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56" name="Rectangle 16">
                  <a:extLst>
                    <a:ext uri="{FF2B5EF4-FFF2-40B4-BE49-F238E27FC236}">
                      <a16:creationId xmlns:a16="http://schemas.microsoft.com/office/drawing/2014/main" id="{3005EB6A-2FCD-4646-B8CA-02025273ACC0}"/>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57" name="Freeform 17">
                  <a:extLst>
                    <a:ext uri="{FF2B5EF4-FFF2-40B4-BE49-F238E27FC236}">
                      <a16:creationId xmlns:a16="http://schemas.microsoft.com/office/drawing/2014/main" id="{92DE437A-4DE8-42C7-B0B7-CD5E94399B4B}"/>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58" name="Freeform 18">
                  <a:extLst>
                    <a:ext uri="{FF2B5EF4-FFF2-40B4-BE49-F238E27FC236}">
                      <a16:creationId xmlns:a16="http://schemas.microsoft.com/office/drawing/2014/main" id="{0432FDEC-71BB-4659-95C3-517D6E8CB7D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59" name="Rectangle 19">
                  <a:extLst>
                    <a:ext uri="{FF2B5EF4-FFF2-40B4-BE49-F238E27FC236}">
                      <a16:creationId xmlns:a16="http://schemas.microsoft.com/office/drawing/2014/main" id="{17153128-35FE-495C-867E-971156C277E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60" name="Freeform 20">
                  <a:extLst>
                    <a:ext uri="{FF2B5EF4-FFF2-40B4-BE49-F238E27FC236}">
                      <a16:creationId xmlns:a16="http://schemas.microsoft.com/office/drawing/2014/main" id="{2F40DD51-7A0D-4274-868B-73467A082149}"/>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61" name="Freeform 21">
                  <a:extLst>
                    <a:ext uri="{FF2B5EF4-FFF2-40B4-BE49-F238E27FC236}">
                      <a16:creationId xmlns:a16="http://schemas.microsoft.com/office/drawing/2014/main" id="{FAA0B66B-6FED-491A-BA49-B62702A2C4C4}"/>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62" name="Freeform 22">
                  <a:extLst>
                    <a:ext uri="{FF2B5EF4-FFF2-40B4-BE49-F238E27FC236}">
                      <a16:creationId xmlns:a16="http://schemas.microsoft.com/office/drawing/2014/main" id="{494838DE-A304-440C-9551-4B1477833410}"/>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63" name="Freeform 23">
                  <a:extLst>
                    <a:ext uri="{FF2B5EF4-FFF2-40B4-BE49-F238E27FC236}">
                      <a16:creationId xmlns:a16="http://schemas.microsoft.com/office/drawing/2014/main" id="{798593E0-7B35-4E08-B9C1-D90FE4B14008}"/>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64" name="Freeform 24">
                  <a:extLst>
                    <a:ext uri="{FF2B5EF4-FFF2-40B4-BE49-F238E27FC236}">
                      <a16:creationId xmlns:a16="http://schemas.microsoft.com/office/drawing/2014/main" id="{676070F9-5F64-4B45-ACA9-D33224E4B873}"/>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65" name="Rectangle 25">
                  <a:extLst>
                    <a:ext uri="{FF2B5EF4-FFF2-40B4-BE49-F238E27FC236}">
                      <a16:creationId xmlns:a16="http://schemas.microsoft.com/office/drawing/2014/main" id="{86FFB57F-70AB-4177-ACEC-A37289E836DA}"/>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66" name="Freeform 26">
                  <a:extLst>
                    <a:ext uri="{FF2B5EF4-FFF2-40B4-BE49-F238E27FC236}">
                      <a16:creationId xmlns:a16="http://schemas.microsoft.com/office/drawing/2014/main" id="{0A4B12A8-8437-44F1-86D2-5FCDAB0B0110}"/>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67" name="Freeform 27">
                  <a:extLst>
                    <a:ext uri="{FF2B5EF4-FFF2-40B4-BE49-F238E27FC236}">
                      <a16:creationId xmlns:a16="http://schemas.microsoft.com/office/drawing/2014/main" id="{0678FCE8-9F0A-4EC1-A094-4B2177E93245}"/>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68" name="Freeform 28">
                  <a:extLst>
                    <a:ext uri="{FF2B5EF4-FFF2-40B4-BE49-F238E27FC236}">
                      <a16:creationId xmlns:a16="http://schemas.microsoft.com/office/drawing/2014/main" id="{84D35FC8-AB47-42CB-B924-913CD043DD9C}"/>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69" name="Freeform 29">
                  <a:extLst>
                    <a:ext uri="{FF2B5EF4-FFF2-40B4-BE49-F238E27FC236}">
                      <a16:creationId xmlns:a16="http://schemas.microsoft.com/office/drawing/2014/main" id="{B5607A06-A5C7-4A69-9167-B542C703D923}"/>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70" name="Freeform 30">
                  <a:extLst>
                    <a:ext uri="{FF2B5EF4-FFF2-40B4-BE49-F238E27FC236}">
                      <a16:creationId xmlns:a16="http://schemas.microsoft.com/office/drawing/2014/main" id="{5B0228DA-C651-40D7-8CD0-554162A44DE6}"/>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71" name="Freeform 31">
                  <a:extLst>
                    <a:ext uri="{FF2B5EF4-FFF2-40B4-BE49-F238E27FC236}">
                      <a16:creationId xmlns:a16="http://schemas.microsoft.com/office/drawing/2014/main" id="{1E26EDA8-1B97-4C2A-BA6B-E64DA8BE2015}"/>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72" name="Freeform 32">
                  <a:extLst>
                    <a:ext uri="{FF2B5EF4-FFF2-40B4-BE49-F238E27FC236}">
                      <a16:creationId xmlns:a16="http://schemas.microsoft.com/office/drawing/2014/main" id="{894CC0A3-4768-4E8F-A9A5-B497962EF8A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73" name="Freeform 102">
                  <a:extLst>
                    <a:ext uri="{FF2B5EF4-FFF2-40B4-BE49-F238E27FC236}">
                      <a16:creationId xmlns:a16="http://schemas.microsoft.com/office/drawing/2014/main" id="{7FA16799-0B92-435C-ABEE-7984821854E0}"/>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74" name="Freeform 103">
                  <a:extLst>
                    <a:ext uri="{FF2B5EF4-FFF2-40B4-BE49-F238E27FC236}">
                      <a16:creationId xmlns:a16="http://schemas.microsoft.com/office/drawing/2014/main" id="{B1B1CA53-5E22-4032-BF70-5C7473F839C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75" name="Freeform 104">
                  <a:extLst>
                    <a:ext uri="{FF2B5EF4-FFF2-40B4-BE49-F238E27FC236}">
                      <a16:creationId xmlns:a16="http://schemas.microsoft.com/office/drawing/2014/main" id="{CBD147D9-99FF-4432-B3BA-6C37AD7134FF}"/>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76" name="Freeform 105">
                  <a:extLst>
                    <a:ext uri="{FF2B5EF4-FFF2-40B4-BE49-F238E27FC236}">
                      <a16:creationId xmlns:a16="http://schemas.microsoft.com/office/drawing/2014/main" id="{7CE228A1-F673-43C2-ADF0-AD557BBD63A7}"/>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77" name="Freeform 106">
                  <a:extLst>
                    <a:ext uri="{FF2B5EF4-FFF2-40B4-BE49-F238E27FC236}">
                      <a16:creationId xmlns:a16="http://schemas.microsoft.com/office/drawing/2014/main" id="{5EC2948B-D237-4C7F-B504-C3F74F657909}"/>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78" name="Freeform 107">
                  <a:extLst>
                    <a:ext uri="{FF2B5EF4-FFF2-40B4-BE49-F238E27FC236}">
                      <a16:creationId xmlns:a16="http://schemas.microsoft.com/office/drawing/2014/main" id="{405DB98A-9240-4282-B859-1AFE02742AEF}"/>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79" name="Freeform 108">
                  <a:extLst>
                    <a:ext uri="{FF2B5EF4-FFF2-40B4-BE49-F238E27FC236}">
                      <a16:creationId xmlns:a16="http://schemas.microsoft.com/office/drawing/2014/main" id="{15936758-4CB0-43EA-B6A3-BA643FF86323}"/>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80" name="Rectangle 479">
                  <a:extLst>
                    <a:ext uri="{FF2B5EF4-FFF2-40B4-BE49-F238E27FC236}">
                      <a16:creationId xmlns:a16="http://schemas.microsoft.com/office/drawing/2014/main" id="{450536D9-5EAC-4797-B991-9129160BF96C}"/>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81" name="Freeform 110">
                  <a:extLst>
                    <a:ext uri="{FF2B5EF4-FFF2-40B4-BE49-F238E27FC236}">
                      <a16:creationId xmlns:a16="http://schemas.microsoft.com/office/drawing/2014/main" id="{16EC1C82-FEC6-4D56-9A42-330C706DEDAF}"/>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82" name="Freeform 111">
                  <a:extLst>
                    <a:ext uri="{FF2B5EF4-FFF2-40B4-BE49-F238E27FC236}">
                      <a16:creationId xmlns:a16="http://schemas.microsoft.com/office/drawing/2014/main" id="{D512640B-11BE-496A-9CB7-DEC8A0E3E2C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83" name="Freeform 112">
                  <a:extLst>
                    <a:ext uri="{FF2B5EF4-FFF2-40B4-BE49-F238E27FC236}">
                      <a16:creationId xmlns:a16="http://schemas.microsoft.com/office/drawing/2014/main" id="{8B06C19F-9D69-47F8-B851-BE972B677C91}"/>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84" name="Freeform 113">
                  <a:extLst>
                    <a:ext uri="{FF2B5EF4-FFF2-40B4-BE49-F238E27FC236}">
                      <a16:creationId xmlns:a16="http://schemas.microsoft.com/office/drawing/2014/main" id="{C5061547-B6AC-4FE9-9771-642AADEEA6A9}"/>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85" name="Rectangle 484">
                  <a:extLst>
                    <a:ext uri="{FF2B5EF4-FFF2-40B4-BE49-F238E27FC236}">
                      <a16:creationId xmlns:a16="http://schemas.microsoft.com/office/drawing/2014/main" id="{40FEC0BE-0D39-4CD2-9001-7293538CC1D5}"/>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86" name="Freeform 115">
                  <a:extLst>
                    <a:ext uri="{FF2B5EF4-FFF2-40B4-BE49-F238E27FC236}">
                      <a16:creationId xmlns:a16="http://schemas.microsoft.com/office/drawing/2014/main" id="{B87143B9-1DC5-4A8C-9396-B88D3516F9E1}"/>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87" name="Freeform 116">
                  <a:extLst>
                    <a:ext uri="{FF2B5EF4-FFF2-40B4-BE49-F238E27FC236}">
                      <a16:creationId xmlns:a16="http://schemas.microsoft.com/office/drawing/2014/main" id="{5EDAB026-2038-483C-820B-1C9969DBD1A6}"/>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88" name="Freeform 117">
                  <a:extLst>
                    <a:ext uri="{FF2B5EF4-FFF2-40B4-BE49-F238E27FC236}">
                      <a16:creationId xmlns:a16="http://schemas.microsoft.com/office/drawing/2014/main" id="{078BAB61-D755-41C0-BF63-BBFD355B2C58}"/>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89" name="Freeform 118">
                  <a:extLst>
                    <a:ext uri="{FF2B5EF4-FFF2-40B4-BE49-F238E27FC236}">
                      <a16:creationId xmlns:a16="http://schemas.microsoft.com/office/drawing/2014/main" id="{D2BEB056-F170-4229-A563-1BF6F69B2CA6}"/>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90" name="Oval 489">
                  <a:extLst>
                    <a:ext uri="{FF2B5EF4-FFF2-40B4-BE49-F238E27FC236}">
                      <a16:creationId xmlns:a16="http://schemas.microsoft.com/office/drawing/2014/main" id="{51D4C175-0D2B-4A56-9CCA-4DBBE27FD255}"/>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91" name="Freeform 120">
                  <a:extLst>
                    <a:ext uri="{FF2B5EF4-FFF2-40B4-BE49-F238E27FC236}">
                      <a16:creationId xmlns:a16="http://schemas.microsoft.com/office/drawing/2014/main" id="{C251B258-DD6C-47BC-AB89-A9E519BECAA7}"/>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92" name="Freeform 121">
                  <a:extLst>
                    <a:ext uri="{FF2B5EF4-FFF2-40B4-BE49-F238E27FC236}">
                      <a16:creationId xmlns:a16="http://schemas.microsoft.com/office/drawing/2014/main" id="{5F403E9A-A23A-44E7-8312-EF8DADEBC23B}"/>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93" name="Freeform 122">
                  <a:extLst>
                    <a:ext uri="{FF2B5EF4-FFF2-40B4-BE49-F238E27FC236}">
                      <a16:creationId xmlns:a16="http://schemas.microsoft.com/office/drawing/2014/main" id="{DE14BBD5-F8DE-4571-883B-E6F6794BF0D8}"/>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94" name="Freeform 123">
                  <a:extLst>
                    <a:ext uri="{FF2B5EF4-FFF2-40B4-BE49-F238E27FC236}">
                      <a16:creationId xmlns:a16="http://schemas.microsoft.com/office/drawing/2014/main" id="{2B94242C-8100-4999-AE93-AE1C7EE43CB2}"/>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95" name="Freeform 124">
                  <a:extLst>
                    <a:ext uri="{FF2B5EF4-FFF2-40B4-BE49-F238E27FC236}">
                      <a16:creationId xmlns:a16="http://schemas.microsoft.com/office/drawing/2014/main" id="{28E2A858-BA35-411B-95AC-B4839D9654D6}"/>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96" name="Freeform 63">
                  <a:extLst>
                    <a:ext uri="{FF2B5EF4-FFF2-40B4-BE49-F238E27FC236}">
                      <a16:creationId xmlns:a16="http://schemas.microsoft.com/office/drawing/2014/main" id="{07718DBB-BEC8-4556-ACE9-D23392C97E65}"/>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97" name="Freeform 65">
                  <a:extLst>
                    <a:ext uri="{FF2B5EF4-FFF2-40B4-BE49-F238E27FC236}">
                      <a16:creationId xmlns:a16="http://schemas.microsoft.com/office/drawing/2014/main" id="{507C5999-6D19-402C-9115-3EF5959F87E7}"/>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98" name="Freeform 66">
                  <a:extLst>
                    <a:ext uri="{FF2B5EF4-FFF2-40B4-BE49-F238E27FC236}">
                      <a16:creationId xmlns:a16="http://schemas.microsoft.com/office/drawing/2014/main" id="{D3D30639-0F8A-431F-8E95-97E279708411}"/>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499" name="Freeform 67">
                  <a:extLst>
                    <a:ext uri="{FF2B5EF4-FFF2-40B4-BE49-F238E27FC236}">
                      <a16:creationId xmlns:a16="http://schemas.microsoft.com/office/drawing/2014/main" id="{F26326C6-1661-4F6C-8050-05BE089EE0BE}"/>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00" name="Oval 68">
                  <a:extLst>
                    <a:ext uri="{FF2B5EF4-FFF2-40B4-BE49-F238E27FC236}">
                      <a16:creationId xmlns:a16="http://schemas.microsoft.com/office/drawing/2014/main" id="{96E6ACBE-87A2-42AE-806A-B879C7DC338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501" name="Oval 69">
                  <a:extLst>
                    <a:ext uri="{FF2B5EF4-FFF2-40B4-BE49-F238E27FC236}">
                      <a16:creationId xmlns:a16="http://schemas.microsoft.com/office/drawing/2014/main" id="{5EF891A2-08EC-4EA8-BDFA-79EE229D6A38}"/>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405" name="Group 404">
                <a:extLst>
                  <a:ext uri="{FF2B5EF4-FFF2-40B4-BE49-F238E27FC236}">
                    <a16:creationId xmlns:a16="http://schemas.microsoft.com/office/drawing/2014/main" id="{3EF2CFD1-CCBC-4036-BF0C-1969037CEF99}"/>
                  </a:ext>
                </a:extLst>
              </p:cNvPr>
              <p:cNvGrpSpPr/>
              <p:nvPr/>
            </p:nvGrpSpPr>
            <p:grpSpPr>
              <a:xfrm>
                <a:off x="1206839" y="3914891"/>
                <a:ext cx="469400" cy="342521"/>
                <a:chOff x="1557350" y="4606481"/>
                <a:chExt cx="3001095" cy="2252753"/>
              </a:xfrm>
            </p:grpSpPr>
            <p:sp>
              <p:nvSpPr>
                <p:cNvPr id="407" name="Rectangle 406">
                  <a:extLst>
                    <a:ext uri="{FF2B5EF4-FFF2-40B4-BE49-F238E27FC236}">
                      <a16:creationId xmlns:a16="http://schemas.microsoft.com/office/drawing/2014/main" id="{C3A91454-3D7E-4072-A3F4-42AB00A5C842}"/>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08" name="Rectangle 407">
                  <a:extLst>
                    <a:ext uri="{FF2B5EF4-FFF2-40B4-BE49-F238E27FC236}">
                      <a16:creationId xmlns:a16="http://schemas.microsoft.com/office/drawing/2014/main" id="{658D3D3E-1B0F-4442-AAB8-5D97EE4DA584}"/>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09" name="Rectangle 408">
                  <a:extLst>
                    <a:ext uri="{FF2B5EF4-FFF2-40B4-BE49-F238E27FC236}">
                      <a16:creationId xmlns:a16="http://schemas.microsoft.com/office/drawing/2014/main" id="{1492C075-5323-4276-A7CE-449973517869}"/>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10" name="Rectangle 409">
                  <a:extLst>
                    <a:ext uri="{FF2B5EF4-FFF2-40B4-BE49-F238E27FC236}">
                      <a16:creationId xmlns:a16="http://schemas.microsoft.com/office/drawing/2014/main" id="{FBBB210C-1FEF-4F97-A04A-101AED9B0290}"/>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11" name="Freeform 12">
                  <a:extLst>
                    <a:ext uri="{FF2B5EF4-FFF2-40B4-BE49-F238E27FC236}">
                      <a16:creationId xmlns:a16="http://schemas.microsoft.com/office/drawing/2014/main" id="{B4F50484-DB41-4E91-96A2-AB0E0738DED0}"/>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12" name="Rectangle 411">
                  <a:extLst>
                    <a:ext uri="{FF2B5EF4-FFF2-40B4-BE49-F238E27FC236}">
                      <a16:creationId xmlns:a16="http://schemas.microsoft.com/office/drawing/2014/main" id="{606321A6-87A3-4965-AB3E-B079FEBDE0F7}"/>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13" name="Freeform 14">
                  <a:extLst>
                    <a:ext uri="{FF2B5EF4-FFF2-40B4-BE49-F238E27FC236}">
                      <a16:creationId xmlns:a16="http://schemas.microsoft.com/office/drawing/2014/main" id="{C9E16BF1-3BAA-4289-AC7D-4BAC899379DD}"/>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14" name="Rectangle 413">
                  <a:extLst>
                    <a:ext uri="{FF2B5EF4-FFF2-40B4-BE49-F238E27FC236}">
                      <a16:creationId xmlns:a16="http://schemas.microsoft.com/office/drawing/2014/main" id="{0482CECE-B9F8-44BB-87DE-8E3F06B70085}"/>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15" name="Freeform 16">
                  <a:extLst>
                    <a:ext uri="{FF2B5EF4-FFF2-40B4-BE49-F238E27FC236}">
                      <a16:creationId xmlns:a16="http://schemas.microsoft.com/office/drawing/2014/main" id="{66CD1DDD-E289-4022-9E8A-8ED774FC28E7}"/>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16" name="Freeform 17">
                  <a:extLst>
                    <a:ext uri="{FF2B5EF4-FFF2-40B4-BE49-F238E27FC236}">
                      <a16:creationId xmlns:a16="http://schemas.microsoft.com/office/drawing/2014/main" id="{C093A9F8-2549-4DD7-A742-FC876E6A9323}"/>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17" name="Oval 416">
                  <a:extLst>
                    <a:ext uri="{FF2B5EF4-FFF2-40B4-BE49-F238E27FC236}">
                      <a16:creationId xmlns:a16="http://schemas.microsoft.com/office/drawing/2014/main" id="{1BA4E437-F6FA-4696-91D7-A8EEBED4C741}"/>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18" name="Rectangle 417">
                  <a:extLst>
                    <a:ext uri="{FF2B5EF4-FFF2-40B4-BE49-F238E27FC236}">
                      <a16:creationId xmlns:a16="http://schemas.microsoft.com/office/drawing/2014/main" id="{0668D00F-006E-44B4-8EDB-1841CF019B13}"/>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19" name="Freeform 20">
                  <a:extLst>
                    <a:ext uri="{FF2B5EF4-FFF2-40B4-BE49-F238E27FC236}">
                      <a16:creationId xmlns:a16="http://schemas.microsoft.com/office/drawing/2014/main" id="{910872BC-BC2C-49FA-9678-9277C47694C7}"/>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20" name="Freeform 21">
                  <a:extLst>
                    <a:ext uri="{FF2B5EF4-FFF2-40B4-BE49-F238E27FC236}">
                      <a16:creationId xmlns:a16="http://schemas.microsoft.com/office/drawing/2014/main" id="{B03D2F5A-44AA-449A-9311-C29A1E8065FA}"/>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421" name="Group 420">
                  <a:extLst>
                    <a:ext uri="{FF2B5EF4-FFF2-40B4-BE49-F238E27FC236}">
                      <a16:creationId xmlns:a16="http://schemas.microsoft.com/office/drawing/2014/main" id="{974FE3DF-88E9-440B-99D4-7D6B13652077}"/>
                    </a:ext>
                  </a:extLst>
                </p:cNvPr>
                <p:cNvGrpSpPr/>
                <p:nvPr/>
              </p:nvGrpSpPr>
              <p:grpSpPr>
                <a:xfrm>
                  <a:off x="3298176" y="4606481"/>
                  <a:ext cx="1260269" cy="2252753"/>
                  <a:chOff x="10352191" y="4087395"/>
                  <a:chExt cx="1336826" cy="2389605"/>
                </a:xfrm>
              </p:grpSpPr>
              <p:sp>
                <p:nvSpPr>
                  <p:cNvPr id="422" name="Rectangle 421">
                    <a:extLst>
                      <a:ext uri="{FF2B5EF4-FFF2-40B4-BE49-F238E27FC236}">
                        <a16:creationId xmlns:a16="http://schemas.microsoft.com/office/drawing/2014/main" id="{F0DC2895-EFDB-4991-8EC9-B871798F1615}"/>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23" name="Round Same Side Corner Rectangle 52">
                    <a:extLst>
                      <a:ext uri="{FF2B5EF4-FFF2-40B4-BE49-F238E27FC236}">
                        <a16:creationId xmlns:a16="http://schemas.microsoft.com/office/drawing/2014/main" id="{EBADBCDB-B5F5-496A-9E19-732E3334F738}"/>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424" name="Rectangle 423">
                    <a:extLst>
                      <a:ext uri="{FF2B5EF4-FFF2-40B4-BE49-F238E27FC236}">
                        <a16:creationId xmlns:a16="http://schemas.microsoft.com/office/drawing/2014/main" id="{1B5FAE1A-449D-4E5D-B688-F13558E0890F}"/>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25" name="Freeform 54">
                    <a:extLst>
                      <a:ext uri="{FF2B5EF4-FFF2-40B4-BE49-F238E27FC236}">
                        <a16:creationId xmlns:a16="http://schemas.microsoft.com/office/drawing/2014/main" id="{EC997C48-10E6-4339-8915-E153662C9763}"/>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26" name="Freeform 55">
                    <a:extLst>
                      <a:ext uri="{FF2B5EF4-FFF2-40B4-BE49-F238E27FC236}">
                        <a16:creationId xmlns:a16="http://schemas.microsoft.com/office/drawing/2014/main" id="{B72034B3-631C-486A-87EE-444125499A91}"/>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27" name="Freeform 56">
                    <a:extLst>
                      <a:ext uri="{FF2B5EF4-FFF2-40B4-BE49-F238E27FC236}">
                        <a16:creationId xmlns:a16="http://schemas.microsoft.com/office/drawing/2014/main" id="{42562677-6D4C-474F-942B-35EAF44472F8}"/>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28" name="Freeform 57">
                    <a:extLst>
                      <a:ext uri="{FF2B5EF4-FFF2-40B4-BE49-F238E27FC236}">
                        <a16:creationId xmlns:a16="http://schemas.microsoft.com/office/drawing/2014/main" id="{C116A9CB-0BF2-4258-93A3-79806BD0899E}"/>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29" name="Freeform 58">
                    <a:extLst>
                      <a:ext uri="{FF2B5EF4-FFF2-40B4-BE49-F238E27FC236}">
                        <a16:creationId xmlns:a16="http://schemas.microsoft.com/office/drawing/2014/main" id="{70A0BCD3-ED5F-4DB3-B3BE-2A20BCB89299}"/>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30" name="Freeform 59">
                    <a:extLst>
                      <a:ext uri="{FF2B5EF4-FFF2-40B4-BE49-F238E27FC236}">
                        <a16:creationId xmlns:a16="http://schemas.microsoft.com/office/drawing/2014/main" id="{0FF95AC6-AE96-49EF-A20B-45A376FE03BF}"/>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31" name="Freeform 60">
                    <a:extLst>
                      <a:ext uri="{FF2B5EF4-FFF2-40B4-BE49-F238E27FC236}">
                        <a16:creationId xmlns:a16="http://schemas.microsoft.com/office/drawing/2014/main" id="{9F581C6A-F0DD-48EB-A14C-EA4FFA6BF5A6}"/>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32" name="Freeform 61">
                    <a:extLst>
                      <a:ext uri="{FF2B5EF4-FFF2-40B4-BE49-F238E27FC236}">
                        <a16:creationId xmlns:a16="http://schemas.microsoft.com/office/drawing/2014/main" id="{4E780AB5-7AB0-44B0-8C59-41879E6DBE72}"/>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33" name="Oval 432">
                    <a:extLst>
                      <a:ext uri="{FF2B5EF4-FFF2-40B4-BE49-F238E27FC236}">
                        <a16:creationId xmlns:a16="http://schemas.microsoft.com/office/drawing/2014/main" id="{BF291983-2E08-44DA-82FE-CE44DD7D065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34" name="Freeform 63">
                    <a:extLst>
                      <a:ext uri="{FF2B5EF4-FFF2-40B4-BE49-F238E27FC236}">
                        <a16:creationId xmlns:a16="http://schemas.microsoft.com/office/drawing/2014/main" id="{D9A7B4A9-DF09-42B1-AF4E-9C79A55C9F19}"/>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35" name="Rectangle 434">
                    <a:extLst>
                      <a:ext uri="{FF2B5EF4-FFF2-40B4-BE49-F238E27FC236}">
                        <a16:creationId xmlns:a16="http://schemas.microsoft.com/office/drawing/2014/main" id="{35391659-65D6-4A28-834E-3A86E45497A5}"/>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36" name="Freeform 65">
                    <a:extLst>
                      <a:ext uri="{FF2B5EF4-FFF2-40B4-BE49-F238E27FC236}">
                        <a16:creationId xmlns:a16="http://schemas.microsoft.com/office/drawing/2014/main" id="{DD9228FD-A272-4796-A87E-E398F8827CF9}"/>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37" name="Freeform 66">
                    <a:extLst>
                      <a:ext uri="{FF2B5EF4-FFF2-40B4-BE49-F238E27FC236}">
                        <a16:creationId xmlns:a16="http://schemas.microsoft.com/office/drawing/2014/main" id="{B2F8E690-EABC-4384-AF7C-A4545A3CA453}"/>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38" name="Rectangle 437">
                    <a:extLst>
                      <a:ext uri="{FF2B5EF4-FFF2-40B4-BE49-F238E27FC236}">
                        <a16:creationId xmlns:a16="http://schemas.microsoft.com/office/drawing/2014/main" id="{218681AC-DFA2-4583-92D0-88FDF932CF5F}"/>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39" name="Freeform 68">
                    <a:extLst>
                      <a:ext uri="{FF2B5EF4-FFF2-40B4-BE49-F238E27FC236}">
                        <a16:creationId xmlns:a16="http://schemas.microsoft.com/office/drawing/2014/main" id="{EB1EF3E2-DB30-42A1-A23C-1EF3CF50F22E}"/>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40" name="Freeform 69">
                    <a:extLst>
                      <a:ext uri="{FF2B5EF4-FFF2-40B4-BE49-F238E27FC236}">
                        <a16:creationId xmlns:a16="http://schemas.microsoft.com/office/drawing/2014/main" id="{8BB00023-0B2D-450F-94B4-CBBE0482C247}"/>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41" name="Freeform 70">
                    <a:extLst>
                      <a:ext uri="{FF2B5EF4-FFF2-40B4-BE49-F238E27FC236}">
                        <a16:creationId xmlns:a16="http://schemas.microsoft.com/office/drawing/2014/main" id="{DD5DE33A-0DC6-4796-B693-7057450EF088}"/>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42" name="Freeform 71">
                    <a:extLst>
                      <a:ext uri="{FF2B5EF4-FFF2-40B4-BE49-F238E27FC236}">
                        <a16:creationId xmlns:a16="http://schemas.microsoft.com/office/drawing/2014/main" id="{D8ECA561-DD8A-4336-92B3-5D53B2B94ADC}"/>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43" name="Freeform 72">
                    <a:extLst>
                      <a:ext uri="{FF2B5EF4-FFF2-40B4-BE49-F238E27FC236}">
                        <a16:creationId xmlns:a16="http://schemas.microsoft.com/office/drawing/2014/main" id="{43D29558-913D-4ED0-BD76-4C3D84CA7312}"/>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44" name="Freeform 73">
                    <a:extLst>
                      <a:ext uri="{FF2B5EF4-FFF2-40B4-BE49-F238E27FC236}">
                        <a16:creationId xmlns:a16="http://schemas.microsoft.com/office/drawing/2014/main" id="{C2D21987-722B-4095-B5DC-C58F47AED819}"/>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45" name="Freeform 74">
                    <a:extLst>
                      <a:ext uri="{FF2B5EF4-FFF2-40B4-BE49-F238E27FC236}">
                        <a16:creationId xmlns:a16="http://schemas.microsoft.com/office/drawing/2014/main" id="{DEB43046-1129-4925-A3B5-3478809FD9FA}"/>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46" name="Rectangle 445">
                    <a:extLst>
                      <a:ext uri="{FF2B5EF4-FFF2-40B4-BE49-F238E27FC236}">
                        <a16:creationId xmlns:a16="http://schemas.microsoft.com/office/drawing/2014/main" id="{50D3529B-BD86-4A54-9D3A-86B37CD420D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447" name="Rectangle 446">
                    <a:extLst>
                      <a:ext uri="{FF2B5EF4-FFF2-40B4-BE49-F238E27FC236}">
                        <a16:creationId xmlns:a16="http://schemas.microsoft.com/office/drawing/2014/main" id="{411C9BFF-0E3D-4827-9790-FCA09265F2F6}"/>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406" name="Rectangle 405">
                <a:extLst>
                  <a:ext uri="{FF2B5EF4-FFF2-40B4-BE49-F238E27FC236}">
                    <a16:creationId xmlns:a16="http://schemas.microsoft.com/office/drawing/2014/main" id="{600DA90B-819B-4B9A-94AE-EC41A3DF955F}"/>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569" name="Rectangle 568">
            <a:extLst>
              <a:ext uri="{FF2B5EF4-FFF2-40B4-BE49-F238E27FC236}">
                <a16:creationId xmlns:a16="http://schemas.microsoft.com/office/drawing/2014/main" id="{73CDD028-9C49-4A4D-8195-B0D8380E58FC}"/>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Customers can leverage the license (e.g. M365 E3/E5, Win 10 E3/E5) they already own. See Appendix for a complete list of WVD licensing requirements</a:t>
            </a:r>
          </a:p>
          <a:p>
            <a:pPr fontAlgn="base"/>
            <a:r>
              <a:rPr lang="en-US" sz="1000" dirty="0"/>
              <a:t>Note: Figures are illustrative and based on pre-configured assumptions; actual savings vary by user requirements and current licensing position</a:t>
            </a:r>
          </a:p>
          <a:p>
            <a:pPr fontAlgn="base"/>
            <a:r>
              <a:rPr lang="en-US" sz="1000" dirty="0"/>
              <a:t>Note: Customers need to fully refactor desktops and apps when migrating from Windows Server deployment to Windows 10 multi-session in WVD</a:t>
            </a:r>
          </a:p>
        </p:txBody>
      </p:sp>
      <p:grpSp>
        <p:nvGrpSpPr>
          <p:cNvPr id="30" name="Group 29">
            <a:extLst>
              <a:ext uri="{FF2B5EF4-FFF2-40B4-BE49-F238E27FC236}">
                <a16:creationId xmlns:a16="http://schemas.microsoft.com/office/drawing/2014/main" id="{1322617A-99B0-4BAC-BE1E-ACCAE019D4B4}"/>
              </a:ext>
            </a:extLst>
          </p:cNvPr>
          <p:cNvGrpSpPr/>
          <p:nvPr/>
        </p:nvGrpSpPr>
        <p:grpSpPr>
          <a:xfrm>
            <a:off x="4864369" y="4088531"/>
            <a:ext cx="305930" cy="432282"/>
            <a:chOff x="4841776" y="4048586"/>
            <a:chExt cx="351115" cy="496130"/>
          </a:xfrm>
        </p:grpSpPr>
        <p:grpSp>
          <p:nvGrpSpPr>
            <p:cNvPr id="28" name="Group 27">
              <a:extLst>
                <a:ext uri="{FF2B5EF4-FFF2-40B4-BE49-F238E27FC236}">
                  <a16:creationId xmlns:a16="http://schemas.microsoft.com/office/drawing/2014/main" id="{19C21F3D-C78F-4193-9D54-2DD05D1E2C1D}"/>
                </a:ext>
              </a:extLst>
            </p:cNvPr>
            <p:cNvGrpSpPr/>
            <p:nvPr/>
          </p:nvGrpSpPr>
          <p:grpSpPr>
            <a:xfrm>
              <a:off x="4876327" y="4048586"/>
              <a:ext cx="280282" cy="465350"/>
              <a:chOff x="4928950" y="4120734"/>
              <a:chExt cx="660918" cy="1097328"/>
            </a:xfrm>
          </p:grpSpPr>
          <p:grpSp>
            <p:nvGrpSpPr>
              <p:cNvPr id="27" name="Group 26">
                <a:extLst>
                  <a:ext uri="{FF2B5EF4-FFF2-40B4-BE49-F238E27FC236}">
                    <a16:creationId xmlns:a16="http://schemas.microsoft.com/office/drawing/2014/main" id="{6408050F-B370-4B55-8782-1CF2BCE92BF0}"/>
                  </a:ext>
                </a:extLst>
              </p:cNvPr>
              <p:cNvGrpSpPr/>
              <p:nvPr/>
            </p:nvGrpSpPr>
            <p:grpSpPr>
              <a:xfrm>
                <a:off x="5087605" y="4193859"/>
                <a:ext cx="148238" cy="148238"/>
                <a:chOff x="7751583" y="3860624"/>
                <a:chExt cx="793750" cy="793750"/>
              </a:xfrm>
            </p:grpSpPr>
            <p:sp>
              <p:nvSpPr>
                <p:cNvPr id="571" name="Oval 570">
                  <a:extLst>
                    <a:ext uri="{FF2B5EF4-FFF2-40B4-BE49-F238E27FC236}">
                      <a16:creationId xmlns:a16="http://schemas.microsoft.com/office/drawing/2014/main" id="{D5029B0F-FF0D-4CDD-8C96-6AD99153B603}"/>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2" name="Freeform: Shape 571">
                  <a:extLst>
                    <a:ext uri="{FF2B5EF4-FFF2-40B4-BE49-F238E27FC236}">
                      <a16:creationId xmlns:a16="http://schemas.microsoft.com/office/drawing/2014/main" id="{639C688C-9C39-4B22-8FBE-C6C868377D63}"/>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73" name="Group 572">
                <a:extLst>
                  <a:ext uri="{FF2B5EF4-FFF2-40B4-BE49-F238E27FC236}">
                    <a16:creationId xmlns:a16="http://schemas.microsoft.com/office/drawing/2014/main" id="{15A88210-97B7-4E8B-9450-F2EC3F34E75E}"/>
                  </a:ext>
                </a:extLst>
              </p:cNvPr>
              <p:cNvGrpSpPr/>
              <p:nvPr/>
            </p:nvGrpSpPr>
            <p:grpSpPr>
              <a:xfrm>
                <a:off x="5271102" y="4270328"/>
                <a:ext cx="115209" cy="115209"/>
                <a:chOff x="7751583" y="3860624"/>
                <a:chExt cx="793750" cy="793750"/>
              </a:xfrm>
            </p:grpSpPr>
            <p:sp>
              <p:nvSpPr>
                <p:cNvPr id="574" name="Oval 573">
                  <a:extLst>
                    <a:ext uri="{FF2B5EF4-FFF2-40B4-BE49-F238E27FC236}">
                      <a16:creationId xmlns:a16="http://schemas.microsoft.com/office/drawing/2014/main" id="{04913C9E-1F3B-4A5C-ADD1-11129E15525B}"/>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5" name="Freeform: Shape 574">
                  <a:extLst>
                    <a:ext uri="{FF2B5EF4-FFF2-40B4-BE49-F238E27FC236}">
                      <a16:creationId xmlns:a16="http://schemas.microsoft.com/office/drawing/2014/main" id="{10B53EBA-7E04-45C8-8A53-D97096B6490E}"/>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76" name="Group 575">
                <a:extLst>
                  <a:ext uri="{FF2B5EF4-FFF2-40B4-BE49-F238E27FC236}">
                    <a16:creationId xmlns:a16="http://schemas.microsoft.com/office/drawing/2014/main" id="{743A121B-8142-4A8F-9147-406414C3AB06}"/>
                  </a:ext>
                </a:extLst>
              </p:cNvPr>
              <p:cNvGrpSpPr/>
              <p:nvPr/>
            </p:nvGrpSpPr>
            <p:grpSpPr>
              <a:xfrm>
                <a:off x="5231310" y="4120734"/>
                <a:ext cx="115209" cy="115209"/>
                <a:chOff x="7751583" y="3860624"/>
                <a:chExt cx="793750" cy="793750"/>
              </a:xfrm>
            </p:grpSpPr>
            <p:sp>
              <p:nvSpPr>
                <p:cNvPr id="577" name="Oval 576">
                  <a:extLst>
                    <a:ext uri="{FF2B5EF4-FFF2-40B4-BE49-F238E27FC236}">
                      <a16:creationId xmlns:a16="http://schemas.microsoft.com/office/drawing/2014/main" id="{25625726-8AB2-420C-BE79-B74736331BBD}"/>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8" name="Freeform: Shape 577">
                  <a:extLst>
                    <a:ext uri="{FF2B5EF4-FFF2-40B4-BE49-F238E27FC236}">
                      <a16:creationId xmlns:a16="http://schemas.microsoft.com/office/drawing/2014/main" id="{A428902B-834F-4FE4-B200-71226E95DCB8}"/>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Graphic 7">
                <a:extLst>
                  <a:ext uri="{FF2B5EF4-FFF2-40B4-BE49-F238E27FC236}">
                    <a16:creationId xmlns:a16="http://schemas.microsoft.com/office/drawing/2014/main" id="{1D8A99F2-D02E-4047-B556-26507F474000}"/>
                  </a:ext>
                </a:extLst>
              </p:cNvPr>
              <p:cNvGrpSpPr/>
              <p:nvPr/>
            </p:nvGrpSpPr>
            <p:grpSpPr>
              <a:xfrm>
                <a:off x="4928950" y="4314159"/>
                <a:ext cx="660918" cy="903903"/>
                <a:chOff x="4928950" y="4314159"/>
                <a:chExt cx="660918" cy="903903"/>
              </a:xfrm>
              <a:solidFill>
                <a:srgbClr val="000000"/>
              </a:solidFill>
            </p:grpSpPr>
            <p:sp>
              <p:nvSpPr>
                <p:cNvPr id="14" name="Freeform: Shape 13">
                  <a:extLst>
                    <a:ext uri="{FF2B5EF4-FFF2-40B4-BE49-F238E27FC236}">
                      <a16:creationId xmlns:a16="http://schemas.microsoft.com/office/drawing/2014/main" id="{B2F8FA7B-D4EA-4EA8-ACBE-740FA076C0A6}"/>
                    </a:ext>
                  </a:extLst>
                </p:cNvPr>
                <p:cNvSpPr/>
                <p:nvPr/>
              </p:nvSpPr>
              <p:spPr>
                <a:xfrm>
                  <a:off x="5482857" y="4507769"/>
                  <a:ext cx="97194" cy="68036"/>
                </a:xfrm>
                <a:custGeom>
                  <a:avLst/>
                  <a:gdLst>
                    <a:gd name="connsiteX0" fmla="*/ 100305 w 97193"/>
                    <a:gd name="connsiteY0" fmla="*/ 16426 h 68035"/>
                    <a:gd name="connsiteX1" fmla="*/ 4957 w 97193"/>
                    <a:gd name="connsiteY1" fmla="*/ 77366 h 68035"/>
                    <a:gd name="connsiteX2" fmla="*/ 0 w 97193"/>
                    <a:gd name="connsiteY2" fmla="*/ 57343 h 68035"/>
                    <a:gd name="connsiteX3" fmla="*/ 89807 w 97193"/>
                    <a:gd name="connsiteY3" fmla="*/ 0 h 68035"/>
                    <a:gd name="connsiteX4" fmla="*/ 100305 w 97193"/>
                    <a:gd name="connsiteY4" fmla="*/ 16426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16426"/>
                      </a:moveTo>
                      <a:lnTo>
                        <a:pt x="4957" y="77366"/>
                      </a:lnTo>
                      <a:cubicBezTo>
                        <a:pt x="4763" y="70174"/>
                        <a:pt x="3013" y="63469"/>
                        <a:pt x="0" y="57343"/>
                      </a:cubicBezTo>
                      <a:lnTo>
                        <a:pt x="89807" y="0"/>
                      </a:lnTo>
                      <a:lnTo>
                        <a:pt x="100305" y="16426"/>
                      </a:lnTo>
                      <a:close/>
                    </a:path>
                  </a:pathLst>
                </a:custGeom>
                <a:solidFill>
                  <a:schemeClr val="accent4"/>
                </a:solidFill>
                <a:ln w="9719"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40AA2A14-91B9-488B-A82C-A70C4ADA66BA}"/>
                    </a:ext>
                  </a:extLst>
                </p:cNvPr>
                <p:cNvSpPr/>
                <p:nvPr/>
              </p:nvSpPr>
              <p:spPr>
                <a:xfrm>
                  <a:off x="5482857" y="4588732"/>
                  <a:ext cx="97194" cy="68036"/>
                </a:xfrm>
                <a:custGeom>
                  <a:avLst/>
                  <a:gdLst>
                    <a:gd name="connsiteX0" fmla="*/ 100305 w 97193"/>
                    <a:gd name="connsiteY0" fmla="*/ 60940 h 68035"/>
                    <a:gd name="connsiteX1" fmla="*/ 89807 w 97193"/>
                    <a:gd name="connsiteY1" fmla="*/ 77269 h 68035"/>
                    <a:gd name="connsiteX2" fmla="*/ 0 w 97193"/>
                    <a:gd name="connsiteY2" fmla="*/ 19924 h 68035"/>
                    <a:gd name="connsiteX3" fmla="*/ 4957 w 97193"/>
                    <a:gd name="connsiteY3" fmla="*/ 0 h 68035"/>
                    <a:gd name="connsiteX4" fmla="*/ 100305 w 97193"/>
                    <a:gd name="connsiteY4" fmla="*/ 60940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60940"/>
                      </a:moveTo>
                      <a:lnTo>
                        <a:pt x="89807" y="77269"/>
                      </a:lnTo>
                      <a:lnTo>
                        <a:pt x="0" y="19924"/>
                      </a:lnTo>
                      <a:cubicBezTo>
                        <a:pt x="3014" y="13899"/>
                        <a:pt x="4763" y="7095"/>
                        <a:pt x="4957" y="0"/>
                      </a:cubicBezTo>
                      <a:lnTo>
                        <a:pt x="100305" y="60940"/>
                      </a:lnTo>
                      <a:close/>
                    </a:path>
                  </a:pathLst>
                </a:custGeom>
                <a:solidFill>
                  <a:schemeClr val="accent4"/>
                </a:solidFill>
                <a:ln w="9719" cap="flat">
                  <a:noFill/>
                  <a:prstDash val="solid"/>
                  <a:miter/>
                </a:ln>
              </p:spPr>
              <p:txBody>
                <a:bodyPr rtlCol="0" anchor="ctr"/>
                <a:lstStyle/>
                <a:p>
                  <a:endParaRPr lang="en-US" dirty="0"/>
                </a:p>
              </p:txBody>
            </p:sp>
            <p:grpSp>
              <p:nvGrpSpPr>
                <p:cNvPr id="16" name="Graphic 7">
                  <a:extLst>
                    <a:ext uri="{FF2B5EF4-FFF2-40B4-BE49-F238E27FC236}">
                      <a16:creationId xmlns:a16="http://schemas.microsoft.com/office/drawing/2014/main" id="{1D8A99F2-D02E-4047-B556-26507F474000}"/>
                    </a:ext>
                  </a:extLst>
                </p:cNvPr>
                <p:cNvGrpSpPr/>
                <p:nvPr/>
              </p:nvGrpSpPr>
              <p:grpSpPr>
                <a:xfrm>
                  <a:off x="4928950" y="4314159"/>
                  <a:ext cx="660918" cy="903903"/>
                  <a:chOff x="4928950" y="4314159"/>
                  <a:chExt cx="660918" cy="903903"/>
                </a:xfrm>
                <a:solidFill>
                  <a:srgbClr val="000000"/>
                </a:solidFill>
              </p:grpSpPr>
              <p:sp>
                <p:nvSpPr>
                  <p:cNvPr id="17" name="Freeform: Shape 16">
                    <a:extLst>
                      <a:ext uri="{FF2B5EF4-FFF2-40B4-BE49-F238E27FC236}">
                        <a16:creationId xmlns:a16="http://schemas.microsoft.com/office/drawing/2014/main" id="{5A259D38-305F-4CE8-A21E-DB9F33733960}"/>
                      </a:ext>
                    </a:extLst>
                  </p:cNvPr>
                  <p:cNvSpPr/>
                  <p:nvPr/>
                </p:nvSpPr>
                <p:spPr>
                  <a:xfrm>
                    <a:off x="5451173" y="4314936"/>
                    <a:ext cx="9719" cy="9719"/>
                  </a:xfrm>
                  <a:custGeom>
                    <a:avLst/>
                    <a:gdLst>
                      <a:gd name="connsiteX0" fmla="*/ 389 w 0"/>
                      <a:gd name="connsiteY0" fmla="*/ 0 h 0"/>
                      <a:gd name="connsiteX1" fmla="*/ 0 w 0"/>
                      <a:gd name="connsiteY1" fmla="*/ 389 h 0"/>
                      <a:gd name="connsiteX2" fmla="*/ 486 w 0"/>
                      <a:gd name="connsiteY2" fmla="*/ 0 h 0"/>
                      <a:gd name="connsiteX3" fmla="*/ 3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89" y="0"/>
                        </a:moveTo>
                        <a:cubicBezTo>
                          <a:pt x="292" y="97"/>
                          <a:pt x="194" y="292"/>
                          <a:pt x="0" y="389"/>
                        </a:cubicBezTo>
                        <a:cubicBezTo>
                          <a:pt x="194" y="194"/>
                          <a:pt x="389" y="97"/>
                          <a:pt x="486" y="0"/>
                        </a:cubicBezTo>
                        <a:lnTo>
                          <a:pt x="389" y="0"/>
                        </a:lnTo>
                        <a:close/>
                      </a:path>
                    </a:pathLst>
                  </a:custGeom>
                  <a:solidFill>
                    <a:srgbClr val="000000"/>
                  </a:solidFill>
                  <a:ln w="9719"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29ADC23B-403E-4838-8870-4530B070773B}"/>
                      </a:ext>
                    </a:extLst>
                  </p:cNvPr>
                  <p:cNvSpPr/>
                  <p:nvPr/>
                </p:nvSpPr>
                <p:spPr>
                  <a:xfrm>
                    <a:off x="5451756" y="4314159"/>
                    <a:ext cx="9719" cy="9719"/>
                  </a:xfrm>
                  <a:custGeom>
                    <a:avLst/>
                    <a:gdLst>
                      <a:gd name="connsiteX0" fmla="*/ 1458 w 0"/>
                      <a:gd name="connsiteY0" fmla="*/ 292 h 0"/>
                      <a:gd name="connsiteX1" fmla="*/ 194 w 0"/>
                      <a:gd name="connsiteY1" fmla="*/ 582 h 0"/>
                      <a:gd name="connsiteX2" fmla="*/ 779 w 0"/>
                      <a:gd name="connsiteY2" fmla="*/ 0 h 0"/>
                      <a:gd name="connsiteX3" fmla="*/ 0 w 0"/>
                      <a:gd name="connsiteY3" fmla="*/ 679 h 0"/>
                      <a:gd name="connsiteX4" fmla="*/ 97 w 0"/>
                      <a:gd name="connsiteY4" fmla="*/ 679 h 0"/>
                      <a:gd name="connsiteX5" fmla="*/ 1458 w 0"/>
                      <a:gd name="connsiteY5" fmla="*/ 29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58" y="292"/>
                        </a:moveTo>
                        <a:cubicBezTo>
                          <a:pt x="1069" y="292"/>
                          <a:pt x="583" y="485"/>
                          <a:pt x="194" y="582"/>
                        </a:cubicBezTo>
                        <a:cubicBezTo>
                          <a:pt x="389" y="292"/>
                          <a:pt x="583" y="194"/>
                          <a:pt x="779" y="0"/>
                        </a:cubicBezTo>
                        <a:cubicBezTo>
                          <a:pt x="584" y="194"/>
                          <a:pt x="293" y="388"/>
                          <a:pt x="0" y="679"/>
                        </a:cubicBezTo>
                        <a:lnTo>
                          <a:pt x="97" y="679"/>
                        </a:lnTo>
                        <a:cubicBezTo>
                          <a:pt x="584" y="485"/>
                          <a:pt x="973" y="388"/>
                          <a:pt x="1458" y="292"/>
                        </a:cubicBezTo>
                        <a:close/>
                      </a:path>
                    </a:pathLst>
                  </a:custGeom>
                  <a:solidFill>
                    <a:srgbClr val="000000"/>
                  </a:solidFill>
                  <a:ln w="9719"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93CC4864-3812-444E-B04A-1F7FF338DC48}"/>
                      </a:ext>
                    </a:extLst>
                  </p:cNvPr>
                  <p:cNvSpPr/>
                  <p:nvPr/>
                </p:nvSpPr>
                <p:spPr>
                  <a:xfrm>
                    <a:off x="5055204" y="4556074"/>
                    <a:ext cx="408214" cy="58316"/>
                  </a:xfrm>
                  <a:custGeom>
                    <a:avLst/>
                    <a:gdLst>
                      <a:gd name="connsiteX0" fmla="*/ 30909 w 408214"/>
                      <a:gd name="connsiteY0" fmla="*/ 0 h 58316"/>
                      <a:gd name="connsiteX1" fmla="*/ 0 w 408214"/>
                      <a:gd name="connsiteY1" fmla="*/ 30809 h 58316"/>
                      <a:gd name="connsiteX2" fmla="*/ 30909 w 408214"/>
                      <a:gd name="connsiteY2" fmla="*/ 61718 h 58316"/>
                      <a:gd name="connsiteX3" fmla="*/ 382459 w 408214"/>
                      <a:gd name="connsiteY3" fmla="*/ 61718 h 58316"/>
                      <a:gd name="connsiteX4" fmla="*/ 413268 w 408214"/>
                      <a:gd name="connsiteY4" fmla="*/ 30809 h 58316"/>
                      <a:gd name="connsiteX5" fmla="*/ 382459 w 408214"/>
                      <a:gd name="connsiteY5" fmla="*/ 0 h 58316"/>
                      <a:gd name="connsiteX6" fmla="*/ 30909 w 408214"/>
                      <a:gd name="connsiteY6" fmla="*/ 0 h 58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214" h="58316">
                        <a:moveTo>
                          <a:pt x="30909" y="0"/>
                        </a:moveTo>
                        <a:cubicBezTo>
                          <a:pt x="13900" y="0"/>
                          <a:pt x="0" y="13801"/>
                          <a:pt x="0" y="30809"/>
                        </a:cubicBezTo>
                        <a:cubicBezTo>
                          <a:pt x="0" y="47916"/>
                          <a:pt x="13900" y="61718"/>
                          <a:pt x="30909" y="61718"/>
                        </a:cubicBezTo>
                        <a:lnTo>
                          <a:pt x="382459" y="61718"/>
                        </a:lnTo>
                        <a:cubicBezTo>
                          <a:pt x="399468" y="61718"/>
                          <a:pt x="413268" y="47917"/>
                          <a:pt x="413268" y="30809"/>
                        </a:cubicBezTo>
                        <a:cubicBezTo>
                          <a:pt x="413268" y="13801"/>
                          <a:pt x="399468" y="0"/>
                          <a:pt x="382459" y="0"/>
                        </a:cubicBezTo>
                        <a:lnTo>
                          <a:pt x="30909" y="0"/>
                        </a:lnTo>
                        <a:close/>
                      </a:path>
                    </a:pathLst>
                  </a:custGeom>
                  <a:solidFill>
                    <a:schemeClr val="accent4"/>
                  </a:solidFill>
                  <a:ln w="9719"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9EF2595D-BF3B-436A-BDF0-E68D70C5AA8F}"/>
                      </a:ext>
                    </a:extLst>
                  </p:cNvPr>
                  <p:cNvSpPr/>
                  <p:nvPr/>
                </p:nvSpPr>
                <p:spPr>
                  <a:xfrm>
                    <a:off x="5047652" y="4332334"/>
                    <a:ext cx="417934" cy="204107"/>
                  </a:xfrm>
                  <a:custGeom>
                    <a:avLst/>
                    <a:gdLst>
                      <a:gd name="connsiteX0" fmla="*/ 342094 w 417933"/>
                      <a:gd name="connsiteY0" fmla="*/ 204302 h 204107"/>
                      <a:gd name="connsiteX1" fmla="*/ 426361 w 417933"/>
                      <a:gd name="connsiteY1" fmla="*/ 13025 h 204107"/>
                      <a:gd name="connsiteX2" fmla="*/ 414989 w 417933"/>
                      <a:gd name="connsiteY2" fmla="*/ 0 h 204107"/>
                      <a:gd name="connsiteX3" fmla="*/ 406922 w 417933"/>
                      <a:gd name="connsiteY3" fmla="*/ 3306 h 204107"/>
                      <a:gd name="connsiteX4" fmla="*/ 380194 w 417933"/>
                      <a:gd name="connsiteY4" fmla="*/ 30034 h 204107"/>
                      <a:gd name="connsiteX5" fmla="*/ 302828 w 417933"/>
                      <a:gd name="connsiteY5" fmla="*/ 29937 h 204107"/>
                      <a:gd name="connsiteX6" fmla="*/ 300884 w 417933"/>
                      <a:gd name="connsiteY6" fmla="*/ 27992 h 204107"/>
                      <a:gd name="connsiteX7" fmla="*/ 276100 w 417933"/>
                      <a:gd name="connsiteY7" fmla="*/ 19633 h 204107"/>
                      <a:gd name="connsiteX8" fmla="*/ 252870 w 417933"/>
                      <a:gd name="connsiteY8" fmla="*/ 29937 h 204107"/>
                      <a:gd name="connsiteX9" fmla="*/ 209521 w 417933"/>
                      <a:gd name="connsiteY9" fmla="*/ 45778 h 204107"/>
                      <a:gd name="connsiteX10" fmla="*/ 148678 w 417933"/>
                      <a:gd name="connsiteY10" fmla="*/ 19634 h 204107"/>
                      <a:gd name="connsiteX11" fmla="*/ 125547 w 417933"/>
                      <a:gd name="connsiteY11" fmla="*/ 29938 h 204107"/>
                      <a:gd name="connsiteX12" fmla="*/ 48082 w 417933"/>
                      <a:gd name="connsiteY12" fmla="*/ 29938 h 204107"/>
                      <a:gd name="connsiteX13" fmla="*/ 21548 w 417933"/>
                      <a:gd name="connsiteY13" fmla="*/ 3404 h 204107"/>
                      <a:gd name="connsiteX14" fmla="*/ 13481 w 417933"/>
                      <a:gd name="connsiteY14" fmla="*/ 1 h 204107"/>
                      <a:gd name="connsiteX15" fmla="*/ 11829 w 417933"/>
                      <a:gd name="connsiteY15" fmla="*/ 1 h 204107"/>
                      <a:gd name="connsiteX16" fmla="*/ 2110 w 417933"/>
                      <a:gd name="connsiteY16" fmla="*/ 4277 h 204107"/>
                      <a:gd name="connsiteX17" fmla="*/ 68 w 417933"/>
                      <a:gd name="connsiteY17" fmla="*/ 12247 h 204107"/>
                      <a:gd name="connsiteX18" fmla="*/ 85891 w 417933"/>
                      <a:gd name="connsiteY18" fmla="*/ 204303 h 204107"/>
                      <a:gd name="connsiteX19" fmla="*/ 342094 w 417933"/>
                      <a:gd name="connsiteY19" fmla="*/ 204303 h 20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933" h="204107">
                        <a:moveTo>
                          <a:pt x="342094" y="204302"/>
                        </a:moveTo>
                        <a:cubicBezTo>
                          <a:pt x="386413" y="153080"/>
                          <a:pt x="416350" y="71923"/>
                          <a:pt x="426361" y="13025"/>
                        </a:cubicBezTo>
                        <a:cubicBezTo>
                          <a:pt x="427634" y="6017"/>
                          <a:pt x="421710" y="0"/>
                          <a:pt x="414989" y="0"/>
                        </a:cubicBezTo>
                        <a:cubicBezTo>
                          <a:pt x="414017" y="168"/>
                          <a:pt x="410573" y="-198"/>
                          <a:pt x="406922" y="3306"/>
                        </a:cubicBezTo>
                        <a:lnTo>
                          <a:pt x="380194" y="30034"/>
                        </a:lnTo>
                        <a:cubicBezTo>
                          <a:pt x="359147" y="51079"/>
                          <a:pt x="324462" y="51571"/>
                          <a:pt x="302828" y="29937"/>
                        </a:cubicBezTo>
                        <a:lnTo>
                          <a:pt x="300884" y="27992"/>
                        </a:lnTo>
                        <a:cubicBezTo>
                          <a:pt x="296801" y="25174"/>
                          <a:pt x="287082" y="19633"/>
                          <a:pt x="276100" y="19633"/>
                        </a:cubicBezTo>
                        <a:cubicBezTo>
                          <a:pt x="267352" y="19633"/>
                          <a:pt x="259771" y="23035"/>
                          <a:pt x="252870" y="29937"/>
                        </a:cubicBezTo>
                        <a:cubicBezTo>
                          <a:pt x="236750" y="48202"/>
                          <a:pt x="203064" y="45617"/>
                          <a:pt x="209521" y="45778"/>
                        </a:cubicBezTo>
                        <a:cubicBezTo>
                          <a:pt x="180302" y="44218"/>
                          <a:pt x="175904" y="19634"/>
                          <a:pt x="148678" y="19634"/>
                        </a:cubicBezTo>
                        <a:cubicBezTo>
                          <a:pt x="140029" y="19634"/>
                          <a:pt x="132448" y="23036"/>
                          <a:pt x="125547" y="29938"/>
                        </a:cubicBezTo>
                        <a:cubicBezTo>
                          <a:pt x="109932" y="47632"/>
                          <a:pt x="73577" y="55183"/>
                          <a:pt x="48082" y="29938"/>
                        </a:cubicBezTo>
                        <a:lnTo>
                          <a:pt x="21548" y="3404"/>
                        </a:lnTo>
                        <a:cubicBezTo>
                          <a:pt x="19409" y="1264"/>
                          <a:pt x="16494" y="1"/>
                          <a:pt x="13481" y="1"/>
                        </a:cubicBezTo>
                        <a:lnTo>
                          <a:pt x="11829" y="1"/>
                        </a:lnTo>
                        <a:cubicBezTo>
                          <a:pt x="9399" y="293"/>
                          <a:pt x="4637" y="1556"/>
                          <a:pt x="2110" y="4277"/>
                        </a:cubicBezTo>
                        <a:cubicBezTo>
                          <a:pt x="1041" y="5541"/>
                          <a:pt x="-320" y="7582"/>
                          <a:pt x="68" y="12247"/>
                        </a:cubicBezTo>
                        <a:cubicBezTo>
                          <a:pt x="5413" y="72409"/>
                          <a:pt x="33988" y="154442"/>
                          <a:pt x="85891" y="204303"/>
                        </a:cubicBezTo>
                        <a:lnTo>
                          <a:pt x="342094" y="204303"/>
                        </a:lnTo>
                        <a:close/>
                      </a:path>
                    </a:pathLst>
                  </a:custGeom>
                  <a:solidFill>
                    <a:schemeClr val="accent3"/>
                  </a:solidFill>
                  <a:ln w="9719"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EDB7F46B-C516-4F65-8C63-BE76A2AC287E}"/>
                      </a:ext>
                    </a:extLst>
                  </p:cNvPr>
                  <p:cNvSpPr/>
                  <p:nvPr/>
                </p:nvSpPr>
                <p:spPr>
                  <a:xfrm>
                    <a:off x="4928950" y="4637231"/>
                    <a:ext cx="660918" cy="583163"/>
                  </a:xfrm>
                  <a:custGeom>
                    <a:avLst/>
                    <a:gdLst>
                      <a:gd name="connsiteX0" fmla="*/ 504340 w 660918"/>
                      <a:gd name="connsiteY0" fmla="*/ 0 h 583163"/>
                      <a:gd name="connsiteX1" fmla="*/ 161537 w 660918"/>
                      <a:gd name="connsiteY1" fmla="*/ 0 h 583163"/>
                      <a:gd name="connsiteX2" fmla="*/ 0 w 660918"/>
                      <a:gd name="connsiteY2" fmla="*/ 333278 h 583163"/>
                      <a:gd name="connsiteX3" fmla="*/ 131601 w 660918"/>
                      <a:gd name="connsiteY3" fmla="*/ 574415 h 583163"/>
                      <a:gd name="connsiteX4" fmla="*/ 178934 w 660918"/>
                      <a:gd name="connsiteY4" fmla="*/ 589286 h 583163"/>
                      <a:gd name="connsiteX5" fmla="*/ 486845 w 660918"/>
                      <a:gd name="connsiteY5" fmla="*/ 589286 h 583163"/>
                      <a:gd name="connsiteX6" fmla="*/ 534275 w 660918"/>
                      <a:gd name="connsiteY6" fmla="*/ 574415 h 583163"/>
                      <a:gd name="connsiteX7" fmla="*/ 665875 w 660918"/>
                      <a:gd name="connsiteY7" fmla="*/ 333278 h 583163"/>
                      <a:gd name="connsiteX8" fmla="*/ 504340 w 660918"/>
                      <a:gd name="connsiteY8" fmla="*/ 0 h 583163"/>
                      <a:gd name="connsiteX9" fmla="*/ 440191 w 660918"/>
                      <a:gd name="connsiteY9" fmla="*/ 239389 h 583163"/>
                      <a:gd name="connsiteX10" fmla="*/ 354758 w 660918"/>
                      <a:gd name="connsiteY10" fmla="*/ 239389 h 583163"/>
                      <a:gd name="connsiteX11" fmla="*/ 354758 w 660918"/>
                      <a:gd name="connsiteY11" fmla="*/ 229669 h 583163"/>
                      <a:gd name="connsiteX12" fmla="*/ 332986 w 660918"/>
                      <a:gd name="connsiteY12" fmla="*/ 207898 h 583163"/>
                      <a:gd name="connsiteX13" fmla="*/ 311118 w 660918"/>
                      <a:gd name="connsiteY13" fmla="*/ 229669 h 583163"/>
                      <a:gd name="connsiteX14" fmla="*/ 332986 w 660918"/>
                      <a:gd name="connsiteY14" fmla="*/ 251538 h 583163"/>
                      <a:gd name="connsiteX15" fmla="*/ 440191 w 660918"/>
                      <a:gd name="connsiteY15" fmla="*/ 358840 h 583163"/>
                      <a:gd name="connsiteX16" fmla="*/ 375752 w 660918"/>
                      <a:gd name="connsiteY16" fmla="*/ 457200 h 583163"/>
                      <a:gd name="connsiteX17" fmla="*/ 375752 w 660918"/>
                      <a:gd name="connsiteY17" fmla="*/ 502881 h 583163"/>
                      <a:gd name="connsiteX18" fmla="*/ 290222 w 660918"/>
                      <a:gd name="connsiteY18" fmla="*/ 502881 h 583163"/>
                      <a:gd name="connsiteX19" fmla="*/ 290222 w 660918"/>
                      <a:gd name="connsiteY19" fmla="*/ 457200 h 583163"/>
                      <a:gd name="connsiteX20" fmla="*/ 225587 w 660918"/>
                      <a:gd name="connsiteY20" fmla="*/ 358840 h 583163"/>
                      <a:gd name="connsiteX21" fmla="*/ 225587 w 660918"/>
                      <a:gd name="connsiteY21" fmla="*/ 349120 h 583163"/>
                      <a:gd name="connsiteX22" fmla="*/ 311118 w 660918"/>
                      <a:gd name="connsiteY22" fmla="*/ 349120 h 583163"/>
                      <a:gd name="connsiteX23" fmla="*/ 311118 w 660918"/>
                      <a:gd name="connsiteY23" fmla="*/ 358840 h 583163"/>
                      <a:gd name="connsiteX24" fmla="*/ 332986 w 660918"/>
                      <a:gd name="connsiteY24" fmla="*/ 380611 h 583163"/>
                      <a:gd name="connsiteX25" fmla="*/ 354758 w 660918"/>
                      <a:gd name="connsiteY25" fmla="*/ 358840 h 583163"/>
                      <a:gd name="connsiteX26" fmla="*/ 332986 w 660918"/>
                      <a:gd name="connsiteY26" fmla="*/ 337068 h 583163"/>
                      <a:gd name="connsiteX27" fmla="*/ 225587 w 660918"/>
                      <a:gd name="connsiteY27" fmla="*/ 229668 h 583163"/>
                      <a:gd name="connsiteX28" fmla="*/ 290222 w 660918"/>
                      <a:gd name="connsiteY28" fmla="*/ 131405 h 583163"/>
                      <a:gd name="connsiteX29" fmla="*/ 290222 w 660918"/>
                      <a:gd name="connsiteY29" fmla="*/ 86404 h 583163"/>
                      <a:gd name="connsiteX30" fmla="*/ 375752 w 660918"/>
                      <a:gd name="connsiteY30" fmla="*/ 86404 h 583163"/>
                      <a:gd name="connsiteX31" fmla="*/ 375752 w 660918"/>
                      <a:gd name="connsiteY31" fmla="*/ 131405 h 583163"/>
                      <a:gd name="connsiteX32" fmla="*/ 440191 w 660918"/>
                      <a:gd name="connsiteY32" fmla="*/ 229668 h 583163"/>
                      <a:gd name="connsiteX33" fmla="*/ 440191 w 660918"/>
                      <a:gd name="connsiteY33" fmla="*/ 239389 h 58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60918" h="583163">
                        <a:moveTo>
                          <a:pt x="504340" y="0"/>
                        </a:moveTo>
                        <a:lnTo>
                          <a:pt x="161537" y="0"/>
                        </a:lnTo>
                        <a:cubicBezTo>
                          <a:pt x="83198" y="83587"/>
                          <a:pt x="0" y="222282"/>
                          <a:pt x="0" y="333278"/>
                        </a:cubicBezTo>
                        <a:cubicBezTo>
                          <a:pt x="0" y="425903"/>
                          <a:pt x="47918" y="513864"/>
                          <a:pt x="131601" y="574415"/>
                        </a:cubicBezTo>
                        <a:cubicBezTo>
                          <a:pt x="144819" y="584037"/>
                          <a:pt x="161634" y="589286"/>
                          <a:pt x="178934" y="589286"/>
                        </a:cubicBezTo>
                        <a:lnTo>
                          <a:pt x="486845" y="589286"/>
                        </a:lnTo>
                        <a:cubicBezTo>
                          <a:pt x="504243" y="589286"/>
                          <a:pt x="521057" y="584037"/>
                          <a:pt x="534275" y="574415"/>
                        </a:cubicBezTo>
                        <a:cubicBezTo>
                          <a:pt x="617862" y="513863"/>
                          <a:pt x="665875" y="425903"/>
                          <a:pt x="665875" y="333278"/>
                        </a:cubicBezTo>
                        <a:cubicBezTo>
                          <a:pt x="665875" y="222282"/>
                          <a:pt x="582677" y="83587"/>
                          <a:pt x="504340" y="0"/>
                        </a:cubicBezTo>
                        <a:close/>
                        <a:moveTo>
                          <a:pt x="440191" y="239389"/>
                        </a:moveTo>
                        <a:lnTo>
                          <a:pt x="354758" y="239389"/>
                        </a:lnTo>
                        <a:lnTo>
                          <a:pt x="354758" y="229669"/>
                        </a:lnTo>
                        <a:cubicBezTo>
                          <a:pt x="354758" y="217714"/>
                          <a:pt x="344941" y="207898"/>
                          <a:pt x="332986" y="207898"/>
                        </a:cubicBezTo>
                        <a:cubicBezTo>
                          <a:pt x="320837" y="207898"/>
                          <a:pt x="311118" y="217714"/>
                          <a:pt x="311118" y="229669"/>
                        </a:cubicBezTo>
                        <a:cubicBezTo>
                          <a:pt x="311118" y="241721"/>
                          <a:pt x="320837" y="251538"/>
                          <a:pt x="332986" y="251538"/>
                        </a:cubicBezTo>
                        <a:cubicBezTo>
                          <a:pt x="392081" y="251538"/>
                          <a:pt x="440191" y="299746"/>
                          <a:pt x="440191" y="358840"/>
                        </a:cubicBezTo>
                        <a:cubicBezTo>
                          <a:pt x="440191" y="401604"/>
                          <a:pt x="414532" y="440191"/>
                          <a:pt x="375752" y="457200"/>
                        </a:cubicBezTo>
                        <a:lnTo>
                          <a:pt x="375752" y="502881"/>
                        </a:lnTo>
                        <a:lnTo>
                          <a:pt x="290222" y="502881"/>
                        </a:lnTo>
                        <a:lnTo>
                          <a:pt x="290222" y="457200"/>
                        </a:lnTo>
                        <a:cubicBezTo>
                          <a:pt x="251247" y="440287"/>
                          <a:pt x="225587" y="401604"/>
                          <a:pt x="225587" y="358840"/>
                        </a:cubicBezTo>
                        <a:lnTo>
                          <a:pt x="225587" y="349120"/>
                        </a:lnTo>
                        <a:lnTo>
                          <a:pt x="311118" y="349120"/>
                        </a:lnTo>
                        <a:lnTo>
                          <a:pt x="311118" y="358840"/>
                        </a:lnTo>
                        <a:cubicBezTo>
                          <a:pt x="311118" y="370892"/>
                          <a:pt x="320837" y="380611"/>
                          <a:pt x="332986" y="380611"/>
                        </a:cubicBezTo>
                        <a:cubicBezTo>
                          <a:pt x="344941" y="380611"/>
                          <a:pt x="354758" y="370892"/>
                          <a:pt x="354758" y="358840"/>
                        </a:cubicBezTo>
                        <a:cubicBezTo>
                          <a:pt x="354758" y="346885"/>
                          <a:pt x="344941" y="337068"/>
                          <a:pt x="332986" y="337068"/>
                        </a:cubicBezTo>
                        <a:cubicBezTo>
                          <a:pt x="273698" y="337068"/>
                          <a:pt x="225587" y="288957"/>
                          <a:pt x="225587" y="229668"/>
                        </a:cubicBezTo>
                        <a:cubicBezTo>
                          <a:pt x="225587" y="187000"/>
                          <a:pt x="251247" y="148317"/>
                          <a:pt x="290222" y="131405"/>
                        </a:cubicBezTo>
                        <a:lnTo>
                          <a:pt x="290222" y="86404"/>
                        </a:lnTo>
                        <a:lnTo>
                          <a:pt x="375752" y="86404"/>
                        </a:lnTo>
                        <a:lnTo>
                          <a:pt x="375752" y="131405"/>
                        </a:lnTo>
                        <a:cubicBezTo>
                          <a:pt x="414532" y="148317"/>
                          <a:pt x="440191" y="187000"/>
                          <a:pt x="440191" y="229668"/>
                        </a:cubicBezTo>
                        <a:lnTo>
                          <a:pt x="440191" y="239389"/>
                        </a:lnTo>
                        <a:close/>
                      </a:path>
                    </a:pathLst>
                  </a:custGeom>
                  <a:solidFill>
                    <a:schemeClr val="accent3"/>
                  </a:solidFill>
                  <a:ln w="9719"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3DC08BEC-A5A5-4780-8782-FB325FBE6F59}"/>
                      </a:ext>
                    </a:extLst>
                  </p:cNvPr>
                  <p:cNvSpPr/>
                  <p:nvPr/>
                </p:nvSpPr>
                <p:spPr>
                  <a:xfrm>
                    <a:off x="5173976" y="4743075"/>
                    <a:ext cx="174949" cy="369337"/>
                  </a:xfrm>
                  <a:custGeom>
                    <a:avLst/>
                    <a:gdLst>
                      <a:gd name="connsiteX0" fmla="*/ 117702 w 174948"/>
                      <a:gd name="connsiteY0" fmla="*/ 41307 h 369336"/>
                      <a:gd name="connsiteX1" fmla="*/ 111287 w 174948"/>
                      <a:gd name="connsiteY1" fmla="*/ 38975 h 369336"/>
                      <a:gd name="connsiteX2" fmla="*/ 111287 w 174948"/>
                      <a:gd name="connsiteY2" fmla="*/ 0 h 369336"/>
                      <a:gd name="connsiteX3" fmla="*/ 64635 w 174948"/>
                      <a:gd name="connsiteY3" fmla="*/ 0 h 369336"/>
                      <a:gd name="connsiteX4" fmla="*/ 64635 w 174948"/>
                      <a:gd name="connsiteY4" fmla="*/ 38975 h 369336"/>
                      <a:gd name="connsiteX5" fmla="*/ 58220 w 174948"/>
                      <a:gd name="connsiteY5" fmla="*/ 41307 h 369336"/>
                      <a:gd name="connsiteX6" fmla="*/ 0 w 174948"/>
                      <a:gd name="connsiteY6" fmla="*/ 123825 h 369336"/>
                      <a:gd name="connsiteX7" fmla="*/ 87960 w 174948"/>
                      <a:gd name="connsiteY7" fmla="*/ 211786 h 369336"/>
                      <a:gd name="connsiteX8" fmla="*/ 129171 w 174948"/>
                      <a:gd name="connsiteY8" fmla="*/ 252997 h 369336"/>
                      <a:gd name="connsiteX9" fmla="*/ 87960 w 174948"/>
                      <a:gd name="connsiteY9" fmla="*/ 294207 h 369336"/>
                      <a:gd name="connsiteX10" fmla="*/ 47723 w 174948"/>
                      <a:gd name="connsiteY10" fmla="*/ 262716 h 369336"/>
                      <a:gd name="connsiteX11" fmla="*/ 486 w 174948"/>
                      <a:gd name="connsiteY11" fmla="*/ 262716 h 369336"/>
                      <a:gd name="connsiteX12" fmla="*/ 58220 w 174948"/>
                      <a:gd name="connsiteY12" fmla="*/ 335611 h 369336"/>
                      <a:gd name="connsiteX13" fmla="*/ 64635 w 174948"/>
                      <a:gd name="connsiteY13" fmla="*/ 337944 h 369336"/>
                      <a:gd name="connsiteX14" fmla="*/ 64635 w 174948"/>
                      <a:gd name="connsiteY14" fmla="*/ 377599 h 369336"/>
                      <a:gd name="connsiteX15" fmla="*/ 111287 w 174948"/>
                      <a:gd name="connsiteY15" fmla="*/ 377599 h 369336"/>
                      <a:gd name="connsiteX16" fmla="*/ 111287 w 174948"/>
                      <a:gd name="connsiteY16" fmla="*/ 337944 h 369336"/>
                      <a:gd name="connsiteX17" fmla="*/ 117702 w 174948"/>
                      <a:gd name="connsiteY17" fmla="*/ 335611 h 369336"/>
                      <a:gd name="connsiteX18" fmla="*/ 175727 w 174948"/>
                      <a:gd name="connsiteY18" fmla="*/ 252997 h 369336"/>
                      <a:gd name="connsiteX19" fmla="*/ 87960 w 174948"/>
                      <a:gd name="connsiteY19" fmla="*/ 165133 h 369336"/>
                      <a:gd name="connsiteX20" fmla="*/ 46653 w 174948"/>
                      <a:gd name="connsiteY20" fmla="*/ 123826 h 369336"/>
                      <a:gd name="connsiteX21" fmla="*/ 87960 w 174948"/>
                      <a:gd name="connsiteY21" fmla="*/ 82616 h 369336"/>
                      <a:gd name="connsiteX22" fmla="*/ 128005 w 174948"/>
                      <a:gd name="connsiteY22" fmla="*/ 114107 h 369336"/>
                      <a:gd name="connsiteX23" fmla="*/ 175241 w 174948"/>
                      <a:gd name="connsiteY23" fmla="*/ 114107 h 369336"/>
                      <a:gd name="connsiteX24" fmla="*/ 117702 w 174948"/>
                      <a:gd name="connsiteY24" fmla="*/ 41307 h 36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948" h="369336">
                        <a:moveTo>
                          <a:pt x="117702" y="41307"/>
                        </a:moveTo>
                        <a:lnTo>
                          <a:pt x="111287" y="38975"/>
                        </a:lnTo>
                        <a:lnTo>
                          <a:pt x="111287" y="0"/>
                        </a:lnTo>
                        <a:lnTo>
                          <a:pt x="64635" y="0"/>
                        </a:lnTo>
                        <a:lnTo>
                          <a:pt x="64635" y="38975"/>
                        </a:lnTo>
                        <a:lnTo>
                          <a:pt x="58220" y="41307"/>
                        </a:lnTo>
                        <a:cubicBezTo>
                          <a:pt x="23327" y="53845"/>
                          <a:pt x="0" y="86989"/>
                          <a:pt x="0" y="123825"/>
                        </a:cubicBezTo>
                        <a:cubicBezTo>
                          <a:pt x="0" y="172325"/>
                          <a:pt x="39462" y="211786"/>
                          <a:pt x="87960" y="211786"/>
                        </a:cubicBezTo>
                        <a:cubicBezTo>
                          <a:pt x="110608" y="211786"/>
                          <a:pt x="129171" y="230252"/>
                          <a:pt x="129171" y="252997"/>
                        </a:cubicBezTo>
                        <a:cubicBezTo>
                          <a:pt x="129171" y="275740"/>
                          <a:pt x="110608" y="294207"/>
                          <a:pt x="87960" y="294207"/>
                        </a:cubicBezTo>
                        <a:cubicBezTo>
                          <a:pt x="68522" y="294207"/>
                          <a:pt x="52194" y="280794"/>
                          <a:pt x="47723" y="262716"/>
                        </a:cubicBezTo>
                        <a:lnTo>
                          <a:pt x="486" y="262716"/>
                        </a:lnTo>
                        <a:cubicBezTo>
                          <a:pt x="4180" y="295567"/>
                          <a:pt x="26437" y="324142"/>
                          <a:pt x="58220" y="335611"/>
                        </a:cubicBezTo>
                        <a:lnTo>
                          <a:pt x="64635" y="337944"/>
                        </a:lnTo>
                        <a:lnTo>
                          <a:pt x="64635" y="377599"/>
                        </a:lnTo>
                        <a:lnTo>
                          <a:pt x="111287" y="377599"/>
                        </a:lnTo>
                        <a:lnTo>
                          <a:pt x="111287" y="337944"/>
                        </a:lnTo>
                        <a:lnTo>
                          <a:pt x="117702" y="335611"/>
                        </a:lnTo>
                        <a:cubicBezTo>
                          <a:pt x="152401" y="323073"/>
                          <a:pt x="175727" y="289833"/>
                          <a:pt x="175727" y="252997"/>
                        </a:cubicBezTo>
                        <a:cubicBezTo>
                          <a:pt x="175727" y="204594"/>
                          <a:pt x="136363" y="165133"/>
                          <a:pt x="87960" y="165133"/>
                        </a:cubicBezTo>
                        <a:cubicBezTo>
                          <a:pt x="65120" y="165133"/>
                          <a:pt x="46653" y="146667"/>
                          <a:pt x="46653" y="123826"/>
                        </a:cubicBezTo>
                        <a:cubicBezTo>
                          <a:pt x="46653" y="101179"/>
                          <a:pt x="65120" y="82616"/>
                          <a:pt x="87960" y="82616"/>
                        </a:cubicBezTo>
                        <a:cubicBezTo>
                          <a:pt x="107302" y="82616"/>
                          <a:pt x="123631" y="96126"/>
                          <a:pt x="128005" y="114107"/>
                        </a:cubicBezTo>
                        <a:lnTo>
                          <a:pt x="175241" y="114107"/>
                        </a:lnTo>
                        <a:cubicBezTo>
                          <a:pt x="171548" y="81254"/>
                          <a:pt x="149290" y="52678"/>
                          <a:pt x="117702" y="41307"/>
                        </a:cubicBezTo>
                        <a:close/>
                      </a:path>
                    </a:pathLst>
                  </a:custGeom>
                  <a:solidFill>
                    <a:schemeClr val="accent3"/>
                  </a:solidFill>
                  <a:ln w="9719" cap="flat">
                    <a:noFill/>
                    <a:prstDash val="solid"/>
                    <a:miter/>
                  </a:ln>
                </p:spPr>
                <p:txBody>
                  <a:bodyPr rtlCol="0" anchor="ctr"/>
                  <a:lstStyle/>
                  <a:p>
                    <a:endParaRPr lang="en-US" dirty="0"/>
                  </a:p>
                </p:txBody>
              </p:sp>
            </p:grpSp>
          </p:grpSp>
        </p:grpSp>
        <p:sp>
          <p:nvSpPr>
            <p:cNvPr id="29" name="Rectangle: Rounded Corners 28">
              <a:extLst>
                <a:ext uri="{FF2B5EF4-FFF2-40B4-BE49-F238E27FC236}">
                  <a16:creationId xmlns:a16="http://schemas.microsoft.com/office/drawing/2014/main" id="{75AC4414-3C66-48FD-9D55-5A41740D086A}"/>
                </a:ext>
              </a:extLst>
            </p:cNvPr>
            <p:cNvSpPr/>
            <p:nvPr/>
          </p:nvSpPr>
          <p:spPr bwMode="auto">
            <a:xfrm>
              <a:off x="4841776" y="4517284"/>
              <a:ext cx="351115" cy="27432"/>
            </a:xfrm>
            <a:prstGeom prst="roundRect">
              <a:avLst>
                <a:gd name="adj" fmla="val 500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79" name="Group 578">
            <a:extLst>
              <a:ext uri="{FF2B5EF4-FFF2-40B4-BE49-F238E27FC236}">
                <a16:creationId xmlns:a16="http://schemas.microsoft.com/office/drawing/2014/main" id="{41935616-DE0B-4DC9-9A18-80AB8E63D82B}"/>
              </a:ext>
            </a:extLst>
          </p:cNvPr>
          <p:cNvGrpSpPr/>
          <p:nvPr/>
        </p:nvGrpSpPr>
        <p:grpSpPr>
          <a:xfrm>
            <a:off x="6064257" y="4088531"/>
            <a:ext cx="305930" cy="432282"/>
            <a:chOff x="4841776" y="4048586"/>
            <a:chExt cx="351115" cy="496130"/>
          </a:xfrm>
        </p:grpSpPr>
        <p:grpSp>
          <p:nvGrpSpPr>
            <p:cNvPr id="580" name="Group 579">
              <a:extLst>
                <a:ext uri="{FF2B5EF4-FFF2-40B4-BE49-F238E27FC236}">
                  <a16:creationId xmlns:a16="http://schemas.microsoft.com/office/drawing/2014/main" id="{E104519E-B937-457E-A5C5-09013161D938}"/>
                </a:ext>
              </a:extLst>
            </p:cNvPr>
            <p:cNvGrpSpPr/>
            <p:nvPr/>
          </p:nvGrpSpPr>
          <p:grpSpPr>
            <a:xfrm>
              <a:off x="4876327" y="4048586"/>
              <a:ext cx="280282" cy="465350"/>
              <a:chOff x="4928950" y="4120734"/>
              <a:chExt cx="660918" cy="1097328"/>
            </a:xfrm>
          </p:grpSpPr>
          <p:grpSp>
            <p:nvGrpSpPr>
              <p:cNvPr id="582" name="Group 581">
                <a:extLst>
                  <a:ext uri="{FF2B5EF4-FFF2-40B4-BE49-F238E27FC236}">
                    <a16:creationId xmlns:a16="http://schemas.microsoft.com/office/drawing/2014/main" id="{E31BC2F8-34EE-4966-9ECE-AA549A824F2E}"/>
                  </a:ext>
                </a:extLst>
              </p:cNvPr>
              <p:cNvGrpSpPr/>
              <p:nvPr/>
            </p:nvGrpSpPr>
            <p:grpSpPr>
              <a:xfrm>
                <a:off x="5087605" y="4193859"/>
                <a:ext cx="148238" cy="148238"/>
                <a:chOff x="7751583" y="3860624"/>
                <a:chExt cx="793750" cy="793750"/>
              </a:xfrm>
            </p:grpSpPr>
            <p:sp>
              <p:nvSpPr>
                <p:cNvPr id="599" name="Oval 598">
                  <a:extLst>
                    <a:ext uri="{FF2B5EF4-FFF2-40B4-BE49-F238E27FC236}">
                      <a16:creationId xmlns:a16="http://schemas.microsoft.com/office/drawing/2014/main" id="{67CCD9D8-DB90-463A-AAD7-2E2FE769B419}"/>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00" name="Freeform: Shape 599">
                  <a:extLst>
                    <a:ext uri="{FF2B5EF4-FFF2-40B4-BE49-F238E27FC236}">
                      <a16:creationId xmlns:a16="http://schemas.microsoft.com/office/drawing/2014/main" id="{DF33552A-D819-452D-87F4-8FD714B31D57}"/>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83" name="Group 582">
                <a:extLst>
                  <a:ext uri="{FF2B5EF4-FFF2-40B4-BE49-F238E27FC236}">
                    <a16:creationId xmlns:a16="http://schemas.microsoft.com/office/drawing/2014/main" id="{1DD61379-58D0-4AB2-B386-CC111310D15C}"/>
                  </a:ext>
                </a:extLst>
              </p:cNvPr>
              <p:cNvGrpSpPr/>
              <p:nvPr/>
            </p:nvGrpSpPr>
            <p:grpSpPr>
              <a:xfrm>
                <a:off x="5271102" y="4270328"/>
                <a:ext cx="115209" cy="115209"/>
                <a:chOff x="7751583" y="3860624"/>
                <a:chExt cx="793750" cy="793750"/>
              </a:xfrm>
            </p:grpSpPr>
            <p:sp>
              <p:nvSpPr>
                <p:cNvPr id="597" name="Oval 596">
                  <a:extLst>
                    <a:ext uri="{FF2B5EF4-FFF2-40B4-BE49-F238E27FC236}">
                      <a16:creationId xmlns:a16="http://schemas.microsoft.com/office/drawing/2014/main" id="{526B9B6E-F96C-441A-96B0-6F420EBE61E4}"/>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98" name="Freeform: Shape 597">
                  <a:extLst>
                    <a:ext uri="{FF2B5EF4-FFF2-40B4-BE49-F238E27FC236}">
                      <a16:creationId xmlns:a16="http://schemas.microsoft.com/office/drawing/2014/main" id="{A05902F9-DA2B-4A34-BB82-50E55330C7E7}"/>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84" name="Group 583">
                <a:extLst>
                  <a:ext uri="{FF2B5EF4-FFF2-40B4-BE49-F238E27FC236}">
                    <a16:creationId xmlns:a16="http://schemas.microsoft.com/office/drawing/2014/main" id="{07CF0558-AE20-4A84-95CC-C9E672E21FE6}"/>
                  </a:ext>
                </a:extLst>
              </p:cNvPr>
              <p:cNvGrpSpPr/>
              <p:nvPr/>
            </p:nvGrpSpPr>
            <p:grpSpPr>
              <a:xfrm>
                <a:off x="5231310" y="4120734"/>
                <a:ext cx="115209" cy="115209"/>
                <a:chOff x="7751583" y="3860624"/>
                <a:chExt cx="793750" cy="793750"/>
              </a:xfrm>
            </p:grpSpPr>
            <p:sp>
              <p:nvSpPr>
                <p:cNvPr id="595" name="Oval 594">
                  <a:extLst>
                    <a:ext uri="{FF2B5EF4-FFF2-40B4-BE49-F238E27FC236}">
                      <a16:creationId xmlns:a16="http://schemas.microsoft.com/office/drawing/2014/main" id="{2CFBA204-8B60-4804-A56F-8D1F8097A813}"/>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96" name="Freeform: Shape 595">
                  <a:extLst>
                    <a:ext uri="{FF2B5EF4-FFF2-40B4-BE49-F238E27FC236}">
                      <a16:creationId xmlns:a16="http://schemas.microsoft.com/office/drawing/2014/main" id="{23E7CE0C-C6DF-4B64-B41A-6C402D4D6CF7}"/>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85" name="Graphic 7">
                <a:extLst>
                  <a:ext uri="{FF2B5EF4-FFF2-40B4-BE49-F238E27FC236}">
                    <a16:creationId xmlns:a16="http://schemas.microsoft.com/office/drawing/2014/main" id="{FF63E59E-8C5A-409E-9F27-E7F1874B67D4}"/>
                  </a:ext>
                </a:extLst>
              </p:cNvPr>
              <p:cNvGrpSpPr/>
              <p:nvPr/>
            </p:nvGrpSpPr>
            <p:grpSpPr>
              <a:xfrm>
                <a:off x="4928950" y="4314159"/>
                <a:ext cx="660918" cy="903903"/>
                <a:chOff x="4928950" y="4314159"/>
                <a:chExt cx="660918" cy="903903"/>
              </a:xfrm>
              <a:solidFill>
                <a:srgbClr val="000000"/>
              </a:solidFill>
            </p:grpSpPr>
            <p:sp>
              <p:nvSpPr>
                <p:cNvPr id="586" name="Freeform: Shape 585">
                  <a:extLst>
                    <a:ext uri="{FF2B5EF4-FFF2-40B4-BE49-F238E27FC236}">
                      <a16:creationId xmlns:a16="http://schemas.microsoft.com/office/drawing/2014/main" id="{5752F50E-531E-4125-A9E4-0B2A912A2D99}"/>
                    </a:ext>
                  </a:extLst>
                </p:cNvPr>
                <p:cNvSpPr/>
                <p:nvPr/>
              </p:nvSpPr>
              <p:spPr>
                <a:xfrm>
                  <a:off x="5482857" y="4507769"/>
                  <a:ext cx="97194" cy="68036"/>
                </a:xfrm>
                <a:custGeom>
                  <a:avLst/>
                  <a:gdLst>
                    <a:gd name="connsiteX0" fmla="*/ 100305 w 97193"/>
                    <a:gd name="connsiteY0" fmla="*/ 16426 h 68035"/>
                    <a:gd name="connsiteX1" fmla="*/ 4957 w 97193"/>
                    <a:gd name="connsiteY1" fmla="*/ 77366 h 68035"/>
                    <a:gd name="connsiteX2" fmla="*/ 0 w 97193"/>
                    <a:gd name="connsiteY2" fmla="*/ 57343 h 68035"/>
                    <a:gd name="connsiteX3" fmla="*/ 89807 w 97193"/>
                    <a:gd name="connsiteY3" fmla="*/ 0 h 68035"/>
                    <a:gd name="connsiteX4" fmla="*/ 100305 w 97193"/>
                    <a:gd name="connsiteY4" fmla="*/ 16426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16426"/>
                      </a:moveTo>
                      <a:lnTo>
                        <a:pt x="4957" y="77366"/>
                      </a:lnTo>
                      <a:cubicBezTo>
                        <a:pt x="4763" y="70174"/>
                        <a:pt x="3013" y="63469"/>
                        <a:pt x="0" y="57343"/>
                      </a:cubicBezTo>
                      <a:lnTo>
                        <a:pt x="89807" y="0"/>
                      </a:lnTo>
                      <a:lnTo>
                        <a:pt x="100305" y="16426"/>
                      </a:lnTo>
                      <a:close/>
                    </a:path>
                  </a:pathLst>
                </a:custGeom>
                <a:solidFill>
                  <a:schemeClr val="accent4"/>
                </a:solidFill>
                <a:ln w="9719" cap="flat">
                  <a:noFill/>
                  <a:prstDash val="solid"/>
                  <a:miter/>
                </a:ln>
              </p:spPr>
              <p:txBody>
                <a:bodyPr rtlCol="0" anchor="ctr"/>
                <a:lstStyle/>
                <a:p>
                  <a:endParaRPr lang="en-US" dirty="0"/>
                </a:p>
              </p:txBody>
            </p:sp>
            <p:sp>
              <p:nvSpPr>
                <p:cNvPr id="587" name="Freeform: Shape 586">
                  <a:extLst>
                    <a:ext uri="{FF2B5EF4-FFF2-40B4-BE49-F238E27FC236}">
                      <a16:creationId xmlns:a16="http://schemas.microsoft.com/office/drawing/2014/main" id="{44E32C6C-734C-4532-80E8-16446370B466}"/>
                    </a:ext>
                  </a:extLst>
                </p:cNvPr>
                <p:cNvSpPr/>
                <p:nvPr/>
              </p:nvSpPr>
              <p:spPr>
                <a:xfrm>
                  <a:off x="5482857" y="4588732"/>
                  <a:ext cx="97194" cy="68036"/>
                </a:xfrm>
                <a:custGeom>
                  <a:avLst/>
                  <a:gdLst>
                    <a:gd name="connsiteX0" fmla="*/ 100305 w 97193"/>
                    <a:gd name="connsiteY0" fmla="*/ 60940 h 68035"/>
                    <a:gd name="connsiteX1" fmla="*/ 89807 w 97193"/>
                    <a:gd name="connsiteY1" fmla="*/ 77269 h 68035"/>
                    <a:gd name="connsiteX2" fmla="*/ 0 w 97193"/>
                    <a:gd name="connsiteY2" fmla="*/ 19924 h 68035"/>
                    <a:gd name="connsiteX3" fmla="*/ 4957 w 97193"/>
                    <a:gd name="connsiteY3" fmla="*/ 0 h 68035"/>
                    <a:gd name="connsiteX4" fmla="*/ 100305 w 97193"/>
                    <a:gd name="connsiteY4" fmla="*/ 60940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60940"/>
                      </a:moveTo>
                      <a:lnTo>
                        <a:pt x="89807" y="77269"/>
                      </a:lnTo>
                      <a:lnTo>
                        <a:pt x="0" y="19924"/>
                      </a:lnTo>
                      <a:cubicBezTo>
                        <a:pt x="3014" y="13899"/>
                        <a:pt x="4763" y="7095"/>
                        <a:pt x="4957" y="0"/>
                      </a:cubicBezTo>
                      <a:lnTo>
                        <a:pt x="100305" y="60940"/>
                      </a:lnTo>
                      <a:close/>
                    </a:path>
                  </a:pathLst>
                </a:custGeom>
                <a:solidFill>
                  <a:schemeClr val="accent4"/>
                </a:solidFill>
                <a:ln w="9719" cap="flat">
                  <a:noFill/>
                  <a:prstDash val="solid"/>
                  <a:miter/>
                </a:ln>
              </p:spPr>
              <p:txBody>
                <a:bodyPr rtlCol="0" anchor="ctr"/>
                <a:lstStyle/>
                <a:p>
                  <a:endParaRPr lang="en-US" dirty="0"/>
                </a:p>
              </p:txBody>
            </p:sp>
            <p:grpSp>
              <p:nvGrpSpPr>
                <p:cNvPr id="588" name="Graphic 7">
                  <a:extLst>
                    <a:ext uri="{FF2B5EF4-FFF2-40B4-BE49-F238E27FC236}">
                      <a16:creationId xmlns:a16="http://schemas.microsoft.com/office/drawing/2014/main" id="{3C213FD4-4009-4A28-8E1D-A0AEB8CDCAAE}"/>
                    </a:ext>
                  </a:extLst>
                </p:cNvPr>
                <p:cNvGrpSpPr/>
                <p:nvPr/>
              </p:nvGrpSpPr>
              <p:grpSpPr>
                <a:xfrm>
                  <a:off x="4928950" y="4314159"/>
                  <a:ext cx="660918" cy="903903"/>
                  <a:chOff x="4928950" y="4314159"/>
                  <a:chExt cx="660918" cy="903903"/>
                </a:xfrm>
                <a:solidFill>
                  <a:srgbClr val="000000"/>
                </a:solidFill>
              </p:grpSpPr>
              <p:sp>
                <p:nvSpPr>
                  <p:cNvPr id="589" name="Freeform: Shape 588">
                    <a:extLst>
                      <a:ext uri="{FF2B5EF4-FFF2-40B4-BE49-F238E27FC236}">
                        <a16:creationId xmlns:a16="http://schemas.microsoft.com/office/drawing/2014/main" id="{43B5CD13-4E70-4155-9869-38D47FFA10C9}"/>
                      </a:ext>
                    </a:extLst>
                  </p:cNvPr>
                  <p:cNvSpPr/>
                  <p:nvPr/>
                </p:nvSpPr>
                <p:spPr>
                  <a:xfrm>
                    <a:off x="5451173" y="4314936"/>
                    <a:ext cx="9719" cy="9719"/>
                  </a:xfrm>
                  <a:custGeom>
                    <a:avLst/>
                    <a:gdLst>
                      <a:gd name="connsiteX0" fmla="*/ 389 w 0"/>
                      <a:gd name="connsiteY0" fmla="*/ 0 h 0"/>
                      <a:gd name="connsiteX1" fmla="*/ 0 w 0"/>
                      <a:gd name="connsiteY1" fmla="*/ 389 h 0"/>
                      <a:gd name="connsiteX2" fmla="*/ 486 w 0"/>
                      <a:gd name="connsiteY2" fmla="*/ 0 h 0"/>
                      <a:gd name="connsiteX3" fmla="*/ 3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89" y="0"/>
                        </a:moveTo>
                        <a:cubicBezTo>
                          <a:pt x="292" y="97"/>
                          <a:pt x="194" y="292"/>
                          <a:pt x="0" y="389"/>
                        </a:cubicBezTo>
                        <a:cubicBezTo>
                          <a:pt x="194" y="194"/>
                          <a:pt x="389" y="97"/>
                          <a:pt x="486" y="0"/>
                        </a:cubicBezTo>
                        <a:lnTo>
                          <a:pt x="389" y="0"/>
                        </a:lnTo>
                        <a:close/>
                      </a:path>
                    </a:pathLst>
                  </a:custGeom>
                  <a:solidFill>
                    <a:srgbClr val="000000"/>
                  </a:solidFill>
                  <a:ln w="9719" cap="flat">
                    <a:noFill/>
                    <a:prstDash val="solid"/>
                    <a:miter/>
                  </a:ln>
                </p:spPr>
                <p:txBody>
                  <a:bodyPr rtlCol="0" anchor="ctr"/>
                  <a:lstStyle/>
                  <a:p>
                    <a:endParaRPr lang="en-US" dirty="0"/>
                  </a:p>
                </p:txBody>
              </p:sp>
              <p:sp>
                <p:nvSpPr>
                  <p:cNvPr id="590" name="Freeform: Shape 589">
                    <a:extLst>
                      <a:ext uri="{FF2B5EF4-FFF2-40B4-BE49-F238E27FC236}">
                        <a16:creationId xmlns:a16="http://schemas.microsoft.com/office/drawing/2014/main" id="{0CC0F608-D065-4DCC-8599-CC17EF1B8FF0}"/>
                      </a:ext>
                    </a:extLst>
                  </p:cNvPr>
                  <p:cNvSpPr/>
                  <p:nvPr/>
                </p:nvSpPr>
                <p:spPr>
                  <a:xfrm>
                    <a:off x="5451756" y="4314159"/>
                    <a:ext cx="9719" cy="9719"/>
                  </a:xfrm>
                  <a:custGeom>
                    <a:avLst/>
                    <a:gdLst>
                      <a:gd name="connsiteX0" fmla="*/ 1458 w 0"/>
                      <a:gd name="connsiteY0" fmla="*/ 292 h 0"/>
                      <a:gd name="connsiteX1" fmla="*/ 194 w 0"/>
                      <a:gd name="connsiteY1" fmla="*/ 582 h 0"/>
                      <a:gd name="connsiteX2" fmla="*/ 779 w 0"/>
                      <a:gd name="connsiteY2" fmla="*/ 0 h 0"/>
                      <a:gd name="connsiteX3" fmla="*/ 0 w 0"/>
                      <a:gd name="connsiteY3" fmla="*/ 679 h 0"/>
                      <a:gd name="connsiteX4" fmla="*/ 97 w 0"/>
                      <a:gd name="connsiteY4" fmla="*/ 679 h 0"/>
                      <a:gd name="connsiteX5" fmla="*/ 1458 w 0"/>
                      <a:gd name="connsiteY5" fmla="*/ 29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58" y="292"/>
                        </a:moveTo>
                        <a:cubicBezTo>
                          <a:pt x="1069" y="292"/>
                          <a:pt x="583" y="485"/>
                          <a:pt x="194" y="582"/>
                        </a:cubicBezTo>
                        <a:cubicBezTo>
                          <a:pt x="389" y="292"/>
                          <a:pt x="583" y="194"/>
                          <a:pt x="779" y="0"/>
                        </a:cubicBezTo>
                        <a:cubicBezTo>
                          <a:pt x="584" y="194"/>
                          <a:pt x="293" y="388"/>
                          <a:pt x="0" y="679"/>
                        </a:cubicBezTo>
                        <a:lnTo>
                          <a:pt x="97" y="679"/>
                        </a:lnTo>
                        <a:cubicBezTo>
                          <a:pt x="584" y="485"/>
                          <a:pt x="973" y="388"/>
                          <a:pt x="1458" y="292"/>
                        </a:cubicBezTo>
                        <a:close/>
                      </a:path>
                    </a:pathLst>
                  </a:custGeom>
                  <a:solidFill>
                    <a:srgbClr val="000000"/>
                  </a:solidFill>
                  <a:ln w="9719" cap="flat">
                    <a:noFill/>
                    <a:prstDash val="solid"/>
                    <a:miter/>
                  </a:ln>
                </p:spPr>
                <p:txBody>
                  <a:bodyPr rtlCol="0" anchor="ctr"/>
                  <a:lstStyle/>
                  <a:p>
                    <a:endParaRPr lang="en-US" dirty="0"/>
                  </a:p>
                </p:txBody>
              </p:sp>
              <p:sp>
                <p:nvSpPr>
                  <p:cNvPr id="591" name="Freeform: Shape 590">
                    <a:extLst>
                      <a:ext uri="{FF2B5EF4-FFF2-40B4-BE49-F238E27FC236}">
                        <a16:creationId xmlns:a16="http://schemas.microsoft.com/office/drawing/2014/main" id="{C81CBFC4-97A4-4C91-8C5D-BB6DEC017C9E}"/>
                      </a:ext>
                    </a:extLst>
                  </p:cNvPr>
                  <p:cNvSpPr/>
                  <p:nvPr/>
                </p:nvSpPr>
                <p:spPr>
                  <a:xfrm>
                    <a:off x="5055204" y="4556074"/>
                    <a:ext cx="408214" cy="58316"/>
                  </a:xfrm>
                  <a:custGeom>
                    <a:avLst/>
                    <a:gdLst>
                      <a:gd name="connsiteX0" fmla="*/ 30909 w 408214"/>
                      <a:gd name="connsiteY0" fmla="*/ 0 h 58316"/>
                      <a:gd name="connsiteX1" fmla="*/ 0 w 408214"/>
                      <a:gd name="connsiteY1" fmla="*/ 30809 h 58316"/>
                      <a:gd name="connsiteX2" fmla="*/ 30909 w 408214"/>
                      <a:gd name="connsiteY2" fmla="*/ 61718 h 58316"/>
                      <a:gd name="connsiteX3" fmla="*/ 382459 w 408214"/>
                      <a:gd name="connsiteY3" fmla="*/ 61718 h 58316"/>
                      <a:gd name="connsiteX4" fmla="*/ 413268 w 408214"/>
                      <a:gd name="connsiteY4" fmla="*/ 30809 h 58316"/>
                      <a:gd name="connsiteX5" fmla="*/ 382459 w 408214"/>
                      <a:gd name="connsiteY5" fmla="*/ 0 h 58316"/>
                      <a:gd name="connsiteX6" fmla="*/ 30909 w 408214"/>
                      <a:gd name="connsiteY6" fmla="*/ 0 h 58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214" h="58316">
                        <a:moveTo>
                          <a:pt x="30909" y="0"/>
                        </a:moveTo>
                        <a:cubicBezTo>
                          <a:pt x="13900" y="0"/>
                          <a:pt x="0" y="13801"/>
                          <a:pt x="0" y="30809"/>
                        </a:cubicBezTo>
                        <a:cubicBezTo>
                          <a:pt x="0" y="47916"/>
                          <a:pt x="13900" y="61718"/>
                          <a:pt x="30909" y="61718"/>
                        </a:cubicBezTo>
                        <a:lnTo>
                          <a:pt x="382459" y="61718"/>
                        </a:lnTo>
                        <a:cubicBezTo>
                          <a:pt x="399468" y="61718"/>
                          <a:pt x="413268" y="47917"/>
                          <a:pt x="413268" y="30809"/>
                        </a:cubicBezTo>
                        <a:cubicBezTo>
                          <a:pt x="413268" y="13801"/>
                          <a:pt x="399468" y="0"/>
                          <a:pt x="382459" y="0"/>
                        </a:cubicBezTo>
                        <a:lnTo>
                          <a:pt x="30909" y="0"/>
                        </a:lnTo>
                        <a:close/>
                      </a:path>
                    </a:pathLst>
                  </a:custGeom>
                  <a:solidFill>
                    <a:schemeClr val="accent4"/>
                  </a:solidFill>
                  <a:ln w="9719" cap="flat">
                    <a:noFill/>
                    <a:prstDash val="solid"/>
                    <a:miter/>
                  </a:ln>
                </p:spPr>
                <p:txBody>
                  <a:bodyPr rtlCol="0" anchor="ctr"/>
                  <a:lstStyle/>
                  <a:p>
                    <a:endParaRPr lang="en-US" dirty="0"/>
                  </a:p>
                </p:txBody>
              </p:sp>
              <p:sp>
                <p:nvSpPr>
                  <p:cNvPr id="592" name="Freeform: Shape 591">
                    <a:extLst>
                      <a:ext uri="{FF2B5EF4-FFF2-40B4-BE49-F238E27FC236}">
                        <a16:creationId xmlns:a16="http://schemas.microsoft.com/office/drawing/2014/main" id="{8F1F6C52-DF2B-4F05-A378-E6250A9696F4}"/>
                      </a:ext>
                    </a:extLst>
                  </p:cNvPr>
                  <p:cNvSpPr/>
                  <p:nvPr/>
                </p:nvSpPr>
                <p:spPr>
                  <a:xfrm>
                    <a:off x="5047652" y="4332334"/>
                    <a:ext cx="417934" cy="204107"/>
                  </a:xfrm>
                  <a:custGeom>
                    <a:avLst/>
                    <a:gdLst>
                      <a:gd name="connsiteX0" fmla="*/ 342094 w 417933"/>
                      <a:gd name="connsiteY0" fmla="*/ 204302 h 204107"/>
                      <a:gd name="connsiteX1" fmla="*/ 426361 w 417933"/>
                      <a:gd name="connsiteY1" fmla="*/ 13025 h 204107"/>
                      <a:gd name="connsiteX2" fmla="*/ 414989 w 417933"/>
                      <a:gd name="connsiteY2" fmla="*/ 0 h 204107"/>
                      <a:gd name="connsiteX3" fmla="*/ 406922 w 417933"/>
                      <a:gd name="connsiteY3" fmla="*/ 3306 h 204107"/>
                      <a:gd name="connsiteX4" fmla="*/ 380194 w 417933"/>
                      <a:gd name="connsiteY4" fmla="*/ 30034 h 204107"/>
                      <a:gd name="connsiteX5" fmla="*/ 302828 w 417933"/>
                      <a:gd name="connsiteY5" fmla="*/ 29937 h 204107"/>
                      <a:gd name="connsiteX6" fmla="*/ 300884 w 417933"/>
                      <a:gd name="connsiteY6" fmla="*/ 27992 h 204107"/>
                      <a:gd name="connsiteX7" fmla="*/ 276100 w 417933"/>
                      <a:gd name="connsiteY7" fmla="*/ 19633 h 204107"/>
                      <a:gd name="connsiteX8" fmla="*/ 252870 w 417933"/>
                      <a:gd name="connsiteY8" fmla="*/ 29937 h 204107"/>
                      <a:gd name="connsiteX9" fmla="*/ 209521 w 417933"/>
                      <a:gd name="connsiteY9" fmla="*/ 45778 h 204107"/>
                      <a:gd name="connsiteX10" fmla="*/ 148678 w 417933"/>
                      <a:gd name="connsiteY10" fmla="*/ 19634 h 204107"/>
                      <a:gd name="connsiteX11" fmla="*/ 125547 w 417933"/>
                      <a:gd name="connsiteY11" fmla="*/ 29938 h 204107"/>
                      <a:gd name="connsiteX12" fmla="*/ 48082 w 417933"/>
                      <a:gd name="connsiteY12" fmla="*/ 29938 h 204107"/>
                      <a:gd name="connsiteX13" fmla="*/ 21548 w 417933"/>
                      <a:gd name="connsiteY13" fmla="*/ 3404 h 204107"/>
                      <a:gd name="connsiteX14" fmla="*/ 13481 w 417933"/>
                      <a:gd name="connsiteY14" fmla="*/ 1 h 204107"/>
                      <a:gd name="connsiteX15" fmla="*/ 11829 w 417933"/>
                      <a:gd name="connsiteY15" fmla="*/ 1 h 204107"/>
                      <a:gd name="connsiteX16" fmla="*/ 2110 w 417933"/>
                      <a:gd name="connsiteY16" fmla="*/ 4277 h 204107"/>
                      <a:gd name="connsiteX17" fmla="*/ 68 w 417933"/>
                      <a:gd name="connsiteY17" fmla="*/ 12247 h 204107"/>
                      <a:gd name="connsiteX18" fmla="*/ 85891 w 417933"/>
                      <a:gd name="connsiteY18" fmla="*/ 204303 h 204107"/>
                      <a:gd name="connsiteX19" fmla="*/ 342094 w 417933"/>
                      <a:gd name="connsiteY19" fmla="*/ 204303 h 20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933" h="204107">
                        <a:moveTo>
                          <a:pt x="342094" y="204302"/>
                        </a:moveTo>
                        <a:cubicBezTo>
                          <a:pt x="386413" y="153080"/>
                          <a:pt x="416350" y="71923"/>
                          <a:pt x="426361" y="13025"/>
                        </a:cubicBezTo>
                        <a:cubicBezTo>
                          <a:pt x="427634" y="6017"/>
                          <a:pt x="421710" y="0"/>
                          <a:pt x="414989" y="0"/>
                        </a:cubicBezTo>
                        <a:cubicBezTo>
                          <a:pt x="414017" y="168"/>
                          <a:pt x="410573" y="-198"/>
                          <a:pt x="406922" y="3306"/>
                        </a:cubicBezTo>
                        <a:lnTo>
                          <a:pt x="380194" y="30034"/>
                        </a:lnTo>
                        <a:cubicBezTo>
                          <a:pt x="359147" y="51079"/>
                          <a:pt x="324462" y="51571"/>
                          <a:pt x="302828" y="29937"/>
                        </a:cubicBezTo>
                        <a:lnTo>
                          <a:pt x="300884" y="27992"/>
                        </a:lnTo>
                        <a:cubicBezTo>
                          <a:pt x="296801" y="25174"/>
                          <a:pt x="287082" y="19633"/>
                          <a:pt x="276100" y="19633"/>
                        </a:cubicBezTo>
                        <a:cubicBezTo>
                          <a:pt x="267352" y="19633"/>
                          <a:pt x="259771" y="23035"/>
                          <a:pt x="252870" y="29937"/>
                        </a:cubicBezTo>
                        <a:cubicBezTo>
                          <a:pt x="236750" y="48202"/>
                          <a:pt x="203064" y="45617"/>
                          <a:pt x="209521" y="45778"/>
                        </a:cubicBezTo>
                        <a:cubicBezTo>
                          <a:pt x="180302" y="44218"/>
                          <a:pt x="175904" y="19634"/>
                          <a:pt x="148678" y="19634"/>
                        </a:cubicBezTo>
                        <a:cubicBezTo>
                          <a:pt x="140029" y="19634"/>
                          <a:pt x="132448" y="23036"/>
                          <a:pt x="125547" y="29938"/>
                        </a:cubicBezTo>
                        <a:cubicBezTo>
                          <a:pt x="109932" y="47632"/>
                          <a:pt x="73577" y="55183"/>
                          <a:pt x="48082" y="29938"/>
                        </a:cubicBezTo>
                        <a:lnTo>
                          <a:pt x="21548" y="3404"/>
                        </a:lnTo>
                        <a:cubicBezTo>
                          <a:pt x="19409" y="1264"/>
                          <a:pt x="16494" y="1"/>
                          <a:pt x="13481" y="1"/>
                        </a:cubicBezTo>
                        <a:lnTo>
                          <a:pt x="11829" y="1"/>
                        </a:lnTo>
                        <a:cubicBezTo>
                          <a:pt x="9399" y="293"/>
                          <a:pt x="4637" y="1556"/>
                          <a:pt x="2110" y="4277"/>
                        </a:cubicBezTo>
                        <a:cubicBezTo>
                          <a:pt x="1041" y="5541"/>
                          <a:pt x="-320" y="7582"/>
                          <a:pt x="68" y="12247"/>
                        </a:cubicBezTo>
                        <a:cubicBezTo>
                          <a:pt x="5413" y="72409"/>
                          <a:pt x="33988" y="154442"/>
                          <a:pt x="85891" y="204303"/>
                        </a:cubicBezTo>
                        <a:lnTo>
                          <a:pt x="342094" y="204303"/>
                        </a:lnTo>
                        <a:close/>
                      </a:path>
                    </a:pathLst>
                  </a:custGeom>
                  <a:solidFill>
                    <a:schemeClr val="accent3"/>
                  </a:solidFill>
                  <a:ln w="9719" cap="flat">
                    <a:noFill/>
                    <a:prstDash val="solid"/>
                    <a:miter/>
                  </a:ln>
                </p:spPr>
                <p:txBody>
                  <a:bodyPr rtlCol="0" anchor="ctr"/>
                  <a:lstStyle/>
                  <a:p>
                    <a:endParaRPr lang="en-US" dirty="0"/>
                  </a:p>
                </p:txBody>
              </p:sp>
              <p:sp>
                <p:nvSpPr>
                  <p:cNvPr id="593" name="Freeform: Shape 592">
                    <a:extLst>
                      <a:ext uri="{FF2B5EF4-FFF2-40B4-BE49-F238E27FC236}">
                        <a16:creationId xmlns:a16="http://schemas.microsoft.com/office/drawing/2014/main" id="{0197A219-6A2D-49EA-8980-B05C2DFDBCC5}"/>
                      </a:ext>
                    </a:extLst>
                  </p:cNvPr>
                  <p:cNvSpPr/>
                  <p:nvPr/>
                </p:nvSpPr>
                <p:spPr>
                  <a:xfrm>
                    <a:off x="4928950" y="4637231"/>
                    <a:ext cx="660918" cy="583163"/>
                  </a:xfrm>
                  <a:custGeom>
                    <a:avLst/>
                    <a:gdLst>
                      <a:gd name="connsiteX0" fmla="*/ 504340 w 660918"/>
                      <a:gd name="connsiteY0" fmla="*/ 0 h 583163"/>
                      <a:gd name="connsiteX1" fmla="*/ 161537 w 660918"/>
                      <a:gd name="connsiteY1" fmla="*/ 0 h 583163"/>
                      <a:gd name="connsiteX2" fmla="*/ 0 w 660918"/>
                      <a:gd name="connsiteY2" fmla="*/ 333278 h 583163"/>
                      <a:gd name="connsiteX3" fmla="*/ 131601 w 660918"/>
                      <a:gd name="connsiteY3" fmla="*/ 574415 h 583163"/>
                      <a:gd name="connsiteX4" fmla="*/ 178934 w 660918"/>
                      <a:gd name="connsiteY4" fmla="*/ 589286 h 583163"/>
                      <a:gd name="connsiteX5" fmla="*/ 486845 w 660918"/>
                      <a:gd name="connsiteY5" fmla="*/ 589286 h 583163"/>
                      <a:gd name="connsiteX6" fmla="*/ 534275 w 660918"/>
                      <a:gd name="connsiteY6" fmla="*/ 574415 h 583163"/>
                      <a:gd name="connsiteX7" fmla="*/ 665875 w 660918"/>
                      <a:gd name="connsiteY7" fmla="*/ 333278 h 583163"/>
                      <a:gd name="connsiteX8" fmla="*/ 504340 w 660918"/>
                      <a:gd name="connsiteY8" fmla="*/ 0 h 583163"/>
                      <a:gd name="connsiteX9" fmla="*/ 440191 w 660918"/>
                      <a:gd name="connsiteY9" fmla="*/ 239389 h 583163"/>
                      <a:gd name="connsiteX10" fmla="*/ 354758 w 660918"/>
                      <a:gd name="connsiteY10" fmla="*/ 239389 h 583163"/>
                      <a:gd name="connsiteX11" fmla="*/ 354758 w 660918"/>
                      <a:gd name="connsiteY11" fmla="*/ 229669 h 583163"/>
                      <a:gd name="connsiteX12" fmla="*/ 332986 w 660918"/>
                      <a:gd name="connsiteY12" fmla="*/ 207898 h 583163"/>
                      <a:gd name="connsiteX13" fmla="*/ 311118 w 660918"/>
                      <a:gd name="connsiteY13" fmla="*/ 229669 h 583163"/>
                      <a:gd name="connsiteX14" fmla="*/ 332986 w 660918"/>
                      <a:gd name="connsiteY14" fmla="*/ 251538 h 583163"/>
                      <a:gd name="connsiteX15" fmla="*/ 440191 w 660918"/>
                      <a:gd name="connsiteY15" fmla="*/ 358840 h 583163"/>
                      <a:gd name="connsiteX16" fmla="*/ 375752 w 660918"/>
                      <a:gd name="connsiteY16" fmla="*/ 457200 h 583163"/>
                      <a:gd name="connsiteX17" fmla="*/ 375752 w 660918"/>
                      <a:gd name="connsiteY17" fmla="*/ 502881 h 583163"/>
                      <a:gd name="connsiteX18" fmla="*/ 290222 w 660918"/>
                      <a:gd name="connsiteY18" fmla="*/ 502881 h 583163"/>
                      <a:gd name="connsiteX19" fmla="*/ 290222 w 660918"/>
                      <a:gd name="connsiteY19" fmla="*/ 457200 h 583163"/>
                      <a:gd name="connsiteX20" fmla="*/ 225587 w 660918"/>
                      <a:gd name="connsiteY20" fmla="*/ 358840 h 583163"/>
                      <a:gd name="connsiteX21" fmla="*/ 225587 w 660918"/>
                      <a:gd name="connsiteY21" fmla="*/ 349120 h 583163"/>
                      <a:gd name="connsiteX22" fmla="*/ 311118 w 660918"/>
                      <a:gd name="connsiteY22" fmla="*/ 349120 h 583163"/>
                      <a:gd name="connsiteX23" fmla="*/ 311118 w 660918"/>
                      <a:gd name="connsiteY23" fmla="*/ 358840 h 583163"/>
                      <a:gd name="connsiteX24" fmla="*/ 332986 w 660918"/>
                      <a:gd name="connsiteY24" fmla="*/ 380611 h 583163"/>
                      <a:gd name="connsiteX25" fmla="*/ 354758 w 660918"/>
                      <a:gd name="connsiteY25" fmla="*/ 358840 h 583163"/>
                      <a:gd name="connsiteX26" fmla="*/ 332986 w 660918"/>
                      <a:gd name="connsiteY26" fmla="*/ 337068 h 583163"/>
                      <a:gd name="connsiteX27" fmla="*/ 225587 w 660918"/>
                      <a:gd name="connsiteY27" fmla="*/ 229668 h 583163"/>
                      <a:gd name="connsiteX28" fmla="*/ 290222 w 660918"/>
                      <a:gd name="connsiteY28" fmla="*/ 131405 h 583163"/>
                      <a:gd name="connsiteX29" fmla="*/ 290222 w 660918"/>
                      <a:gd name="connsiteY29" fmla="*/ 86404 h 583163"/>
                      <a:gd name="connsiteX30" fmla="*/ 375752 w 660918"/>
                      <a:gd name="connsiteY30" fmla="*/ 86404 h 583163"/>
                      <a:gd name="connsiteX31" fmla="*/ 375752 w 660918"/>
                      <a:gd name="connsiteY31" fmla="*/ 131405 h 583163"/>
                      <a:gd name="connsiteX32" fmla="*/ 440191 w 660918"/>
                      <a:gd name="connsiteY32" fmla="*/ 229668 h 583163"/>
                      <a:gd name="connsiteX33" fmla="*/ 440191 w 660918"/>
                      <a:gd name="connsiteY33" fmla="*/ 239389 h 58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60918" h="583163">
                        <a:moveTo>
                          <a:pt x="504340" y="0"/>
                        </a:moveTo>
                        <a:lnTo>
                          <a:pt x="161537" y="0"/>
                        </a:lnTo>
                        <a:cubicBezTo>
                          <a:pt x="83198" y="83587"/>
                          <a:pt x="0" y="222282"/>
                          <a:pt x="0" y="333278"/>
                        </a:cubicBezTo>
                        <a:cubicBezTo>
                          <a:pt x="0" y="425903"/>
                          <a:pt x="47918" y="513864"/>
                          <a:pt x="131601" y="574415"/>
                        </a:cubicBezTo>
                        <a:cubicBezTo>
                          <a:pt x="144819" y="584037"/>
                          <a:pt x="161634" y="589286"/>
                          <a:pt x="178934" y="589286"/>
                        </a:cubicBezTo>
                        <a:lnTo>
                          <a:pt x="486845" y="589286"/>
                        </a:lnTo>
                        <a:cubicBezTo>
                          <a:pt x="504243" y="589286"/>
                          <a:pt x="521057" y="584037"/>
                          <a:pt x="534275" y="574415"/>
                        </a:cubicBezTo>
                        <a:cubicBezTo>
                          <a:pt x="617862" y="513863"/>
                          <a:pt x="665875" y="425903"/>
                          <a:pt x="665875" y="333278"/>
                        </a:cubicBezTo>
                        <a:cubicBezTo>
                          <a:pt x="665875" y="222282"/>
                          <a:pt x="582677" y="83587"/>
                          <a:pt x="504340" y="0"/>
                        </a:cubicBezTo>
                        <a:close/>
                        <a:moveTo>
                          <a:pt x="440191" y="239389"/>
                        </a:moveTo>
                        <a:lnTo>
                          <a:pt x="354758" y="239389"/>
                        </a:lnTo>
                        <a:lnTo>
                          <a:pt x="354758" y="229669"/>
                        </a:lnTo>
                        <a:cubicBezTo>
                          <a:pt x="354758" y="217714"/>
                          <a:pt x="344941" y="207898"/>
                          <a:pt x="332986" y="207898"/>
                        </a:cubicBezTo>
                        <a:cubicBezTo>
                          <a:pt x="320837" y="207898"/>
                          <a:pt x="311118" y="217714"/>
                          <a:pt x="311118" y="229669"/>
                        </a:cubicBezTo>
                        <a:cubicBezTo>
                          <a:pt x="311118" y="241721"/>
                          <a:pt x="320837" y="251538"/>
                          <a:pt x="332986" y="251538"/>
                        </a:cubicBezTo>
                        <a:cubicBezTo>
                          <a:pt x="392081" y="251538"/>
                          <a:pt x="440191" y="299746"/>
                          <a:pt x="440191" y="358840"/>
                        </a:cubicBezTo>
                        <a:cubicBezTo>
                          <a:pt x="440191" y="401604"/>
                          <a:pt x="414532" y="440191"/>
                          <a:pt x="375752" y="457200"/>
                        </a:cubicBezTo>
                        <a:lnTo>
                          <a:pt x="375752" y="502881"/>
                        </a:lnTo>
                        <a:lnTo>
                          <a:pt x="290222" y="502881"/>
                        </a:lnTo>
                        <a:lnTo>
                          <a:pt x="290222" y="457200"/>
                        </a:lnTo>
                        <a:cubicBezTo>
                          <a:pt x="251247" y="440287"/>
                          <a:pt x="225587" y="401604"/>
                          <a:pt x="225587" y="358840"/>
                        </a:cubicBezTo>
                        <a:lnTo>
                          <a:pt x="225587" y="349120"/>
                        </a:lnTo>
                        <a:lnTo>
                          <a:pt x="311118" y="349120"/>
                        </a:lnTo>
                        <a:lnTo>
                          <a:pt x="311118" y="358840"/>
                        </a:lnTo>
                        <a:cubicBezTo>
                          <a:pt x="311118" y="370892"/>
                          <a:pt x="320837" y="380611"/>
                          <a:pt x="332986" y="380611"/>
                        </a:cubicBezTo>
                        <a:cubicBezTo>
                          <a:pt x="344941" y="380611"/>
                          <a:pt x="354758" y="370892"/>
                          <a:pt x="354758" y="358840"/>
                        </a:cubicBezTo>
                        <a:cubicBezTo>
                          <a:pt x="354758" y="346885"/>
                          <a:pt x="344941" y="337068"/>
                          <a:pt x="332986" y="337068"/>
                        </a:cubicBezTo>
                        <a:cubicBezTo>
                          <a:pt x="273698" y="337068"/>
                          <a:pt x="225587" y="288957"/>
                          <a:pt x="225587" y="229668"/>
                        </a:cubicBezTo>
                        <a:cubicBezTo>
                          <a:pt x="225587" y="187000"/>
                          <a:pt x="251247" y="148317"/>
                          <a:pt x="290222" y="131405"/>
                        </a:cubicBezTo>
                        <a:lnTo>
                          <a:pt x="290222" y="86404"/>
                        </a:lnTo>
                        <a:lnTo>
                          <a:pt x="375752" y="86404"/>
                        </a:lnTo>
                        <a:lnTo>
                          <a:pt x="375752" y="131405"/>
                        </a:lnTo>
                        <a:cubicBezTo>
                          <a:pt x="414532" y="148317"/>
                          <a:pt x="440191" y="187000"/>
                          <a:pt x="440191" y="229668"/>
                        </a:cubicBezTo>
                        <a:lnTo>
                          <a:pt x="440191" y="239389"/>
                        </a:lnTo>
                        <a:close/>
                      </a:path>
                    </a:pathLst>
                  </a:custGeom>
                  <a:solidFill>
                    <a:schemeClr val="accent3"/>
                  </a:solidFill>
                  <a:ln w="9719" cap="flat">
                    <a:noFill/>
                    <a:prstDash val="solid"/>
                    <a:miter/>
                  </a:ln>
                </p:spPr>
                <p:txBody>
                  <a:bodyPr rtlCol="0" anchor="ctr"/>
                  <a:lstStyle/>
                  <a:p>
                    <a:endParaRPr lang="en-US" dirty="0"/>
                  </a:p>
                </p:txBody>
              </p:sp>
              <p:sp>
                <p:nvSpPr>
                  <p:cNvPr id="594" name="Freeform: Shape 593">
                    <a:extLst>
                      <a:ext uri="{FF2B5EF4-FFF2-40B4-BE49-F238E27FC236}">
                        <a16:creationId xmlns:a16="http://schemas.microsoft.com/office/drawing/2014/main" id="{78B745F6-E4FB-4AAB-87E4-92BD63264931}"/>
                      </a:ext>
                    </a:extLst>
                  </p:cNvPr>
                  <p:cNvSpPr/>
                  <p:nvPr/>
                </p:nvSpPr>
                <p:spPr>
                  <a:xfrm>
                    <a:off x="5173976" y="4743075"/>
                    <a:ext cx="174949" cy="369337"/>
                  </a:xfrm>
                  <a:custGeom>
                    <a:avLst/>
                    <a:gdLst>
                      <a:gd name="connsiteX0" fmla="*/ 117702 w 174948"/>
                      <a:gd name="connsiteY0" fmla="*/ 41307 h 369336"/>
                      <a:gd name="connsiteX1" fmla="*/ 111287 w 174948"/>
                      <a:gd name="connsiteY1" fmla="*/ 38975 h 369336"/>
                      <a:gd name="connsiteX2" fmla="*/ 111287 w 174948"/>
                      <a:gd name="connsiteY2" fmla="*/ 0 h 369336"/>
                      <a:gd name="connsiteX3" fmla="*/ 64635 w 174948"/>
                      <a:gd name="connsiteY3" fmla="*/ 0 h 369336"/>
                      <a:gd name="connsiteX4" fmla="*/ 64635 w 174948"/>
                      <a:gd name="connsiteY4" fmla="*/ 38975 h 369336"/>
                      <a:gd name="connsiteX5" fmla="*/ 58220 w 174948"/>
                      <a:gd name="connsiteY5" fmla="*/ 41307 h 369336"/>
                      <a:gd name="connsiteX6" fmla="*/ 0 w 174948"/>
                      <a:gd name="connsiteY6" fmla="*/ 123825 h 369336"/>
                      <a:gd name="connsiteX7" fmla="*/ 87960 w 174948"/>
                      <a:gd name="connsiteY7" fmla="*/ 211786 h 369336"/>
                      <a:gd name="connsiteX8" fmla="*/ 129171 w 174948"/>
                      <a:gd name="connsiteY8" fmla="*/ 252997 h 369336"/>
                      <a:gd name="connsiteX9" fmla="*/ 87960 w 174948"/>
                      <a:gd name="connsiteY9" fmla="*/ 294207 h 369336"/>
                      <a:gd name="connsiteX10" fmla="*/ 47723 w 174948"/>
                      <a:gd name="connsiteY10" fmla="*/ 262716 h 369336"/>
                      <a:gd name="connsiteX11" fmla="*/ 486 w 174948"/>
                      <a:gd name="connsiteY11" fmla="*/ 262716 h 369336"/>
                      <a:gd name="connsiteX12" fmla="*/ 58220 w 174948"/>
                      <a:gd name="connsiteY12" fmla="*/ 335611 h 369336"/>
                      <a:gd name="connsiteX13" fmla="*/ 64635 w 174948"/>
                      <a:gd name="connsiteY13" fmla="*/ 337944 h 369336"/>
                      <a:gd name="connsiteX14" fmla="*/ 64635 w 174948"/>
                      <a:gd name="connsiteY14" fmla="*/ 377599 h 369336"/>
                      <a:gd name="connsiteX15" fmla="*/ 111287 w 174948"/>
                      <a:gd name="connsiteY15" fmla="*/ 377599 h 369336"/>
                      <a:gd name="connsiteX16" fmla="*/ 111287 w 174948"/>
                      <a:gd name="connsiteY16" fmla="*/ 337944 h 369336"/>
                      <a:gd name="connsiteX17" fmla="*/ 117702 w 174948"/>
                      <a:gd name="connsiteY17" fmla="*/ 335611 h 369336"/>
                      <a:gd name="connsiteX18" fmla="*/ 175727 w 174948"/>
                      <a:gd name="connsiteY18" fmla="*/ 252997 h 369336"/>
                      <a:gd name="connsiteX19" fmla="*/ 87960 w 174948"/>
                      <a:gd name="connsiteY19" fmla="*/ 165133 h 369336"/>
                      <a:gd name="connsiteX20" fmla="*/ 46653 w 174948"/>
                      <a:gd name="connsiteY20" fmla="*/ 123826 h 369336"/>
                      <a:gd name="connsiteX21" fmla="*/ 87960 w 174948"/>
                      <a:gd name="connsiteY21" fmla="*/ 82616 h 369336"/>
                      <a:gd name="connsiteX22" fmla="*/ 128005 w 174948"/>
                      <a:gd name="connsiteY22" fmla="*/ 114107 h 369336"/>
                      <a:gd name="connsiteX23" fmla="*/ 175241 w 174948"/>
                      <a:gd name="connsiteY23" fmla="*/ 114107 h 369336"/>
                      <a:gd name="connsiteX24" fmla="*/ 117702 w 174948"/>
                      <a:gd name="connsiteY24" fmla="*/ 41307 h 36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948" h="369336">
                        <a:moveTo>
                          <a:pt x="117702" y="41307"/>
                        </a:moveTo>
                        <a:lnTo>
                          <a:pt x="111287" y="38975"/>
                        </a:lnTo>
                        <a:lnTo>
                          <a:pt x="111287" y="0"/>
                        </a:lnTo>
                        <a:lnTo>
                          <a:pt x="64635" y="0"/>
                        </a:lnTo>
                        <a:lnTo>
                          <a:pt x="64635" y="38975"/>
                        </a:lnTo>
                        <a:lnTo>
                          <a:pt x="58220" y="41307"/>
                        </a:lnTo>
                        <a:cubicBezTo>
                          <a:pt x="23327" y="53845"/>
                          <a:pt x="0" y="86989"/>
                          <a:pt x="0" y="123825"/>
                        </a:cubicBezTo>
                        <a:cubicBezTo>
                          <a:pt x="0" y="172325"/>
                          <a:pt x="39462" y="211786"/>
                          <a:pt x="87960" y="211786"/>
                        </a:cubicBezTo>
                        <a:cubicBezTo>
                          <a:pt x="110608" y="211786"/>
                          <a:pt x="129171" y="230252"/>
                          <a:pt x="129171" y="252997"/>
                        </a:cubicBezTo>
                        <a:cubicBezTo>
                          <a:pt x="129171" y="275740"/>
                          <a:pt x="110608" y="294207"/>
                          <a:pt x="87960" y="294207"/>
                        </a:cubicBezTo>
                        <a:cubicBezTo>
                          <a:pt x="68522" y="294207"/>
                          <a:pt x="52194" y="280794"/>
                          <a:pt x="47723" y="262716"/>
                        </a:cubicBezTo>
                        <a:lnTo>
                          <a:pt x="486" y="262716"/>
                        </a:lnTo>
                        <a:cubicBezTo>
                          <a:pt x="4180" y="295567"/>
                          <a:pt x="26437" y="324142"/>
                          <a:pt x="58220" y="335611"/>
                        </a:cubicBezTo>
                        <a:lnTo>
                          <a:pt x="64635" y="337944"/>
                        </a:lnTo>
                        <a:lnTo>
                          <a:pt x="64635" y="377599"/>
                        </a:lnTo>
                        <a:lnTo>
                          <a:pt x="111287" y="377599"/>
                        </a:lnTo>
                        <a:lnTo>
                          <a:pt x="111287" y="337944"/>
                        </a:lnTo>
                        <a:lnTo>
                          <a:pt x="117702" y="335611"/>
                        </a:lnTo>
                        <a:cubicBezTo>
                          <a:pt x="152401" y="323073"/>
                          <a:pt x="175727" y="289833"/>
                          <a:pt x="175727" y="252997"/>
                        </a:cubicBezTo>
                        <a:cubicBezTo>
                          <a:pt x="175727" y="204594"/>
                          <a:pt x="136363" y="165133"/>
                          <a:pt x="87960" y="165133"/>
                        </a:cubicBezTo>
                        <a:cubicBezTo>
                          <a:pt x="65120" y="165133"/>
                          <a:pt x="46653" y="146667"/>
                          <a:pt x="46653" y="123826"/>
                        </a:cubicBezTo>
                        <a:cubicBezTo>
                          <a:pt x="46653" y="101179"/>
                          <a:pt x="65120" y="82616"/>
                          <a:pt x="87960" y="82616"/>
                        </a:cubicBezTo>
                        <a:cubicBezTo>
                          <a:pt x="107302" y="82616"/>
                          <a:pt x="123631" y="96126"/>
                          <a:pt x="128005" y="114107"/>
                        </a:cubicBezTo>
                        <a:lnTo>
                          <a:pt x="175241" y="114107"/>
                        </a:lnTo>
                        <a:cubicBezTo>
                          <a:pt x="171548" y="81254"/>
                          <a:pt x="149290" y="52678"/>
                          <a:pt x="117702" y="41307"/>
                        </a:cubicBezTo>
                        <a:close/>
                      </a:path>
                    </a:pathLst>
                  </a:custGeom>
                  <a:solidFill>
                    <a:schemeClr val="accent3"/>
                  </a:solidFill>
                  <a:ln w="9719" cap="flat">
                    <a:noFill/>
                    <a:prstDash val="solid"/>
                    <a:miter/>
                  </a:ln>
                </p:spPr>
                <p:txBody>
                  <a:bodyPr rtlCol="0" anchor="ctr"/>
                  <a:lstStyle/>
                  <a:p>
                    <a:endParaRPr lang="en-US" dirty="0"/>
                  </a:p>
                </p:txBody>
              </p:sp>
            </p:grpSp>
          </p:grpSp>
        </p:grpSp>
        <p:sp>
          <p:nvSpPr>
            <p:cNvPr id="581" name="Rectangle: Rounded Corners 580">
              <a:extLst>
                <a:ext uri="{FF2B5EF4-FFF2-40B4-BE49-F238E27FC236}">
                  <a16:creationId xmlns:a16="http://schemas.microsoft.com/office/drawing/2014/main" id="{D320ABBD-4C3F-4F1C-A9CE-F8B5A4EF17A9}"/>
                </a:ext>
              </a:extLst>
            </p:cNvPr>
            <p:cNvSpPr/>
            <p:nvPr/>
          </p:nvSpPr>
          <p:spPr bwMode="auto">
            <a:xfrm>
              <a:off x="4841776" y="4517284"/>
              <a:ext cx="351115" cy="27432"/>
            </a:xfrm>
            <a:prstGeom prst="roundRect">
              <a:avLst>
                <a:gd name="adj" fmla="val 500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05" name="Group 604">
            <a:extLst>
              <a:ext uri="{FF2B5EF4-FFF2-40B4-BE49-F238E27FC236}">
                <a16:creationId xmlns:a16="http://schemas.microsoft.com/office/drawing/2014/main" id="{C44AAA86-71E2-436D-A31C-52F0D484A6CB}"/>
              </a:ext>
            </a:extLst>
          </p:cNvPr>
          <p:cNvGrpSpPr/>
          <p:nvPr/>
        </p:nvGrpSpPr>
        <p:grpSpPr>
          <a:xfrm>
            <a:off x="7223324" y="4088531"/>
            <a:ext cx="305930" cy="432282"/>
            <a:chOff x="4841776" y="4048586"/>
            <a:chExt cx="351115" cy="496130"/>
          </a:xfrm>
        </p:grpSpPr>
        <p:grpSp>
          <p:nvGrpSpPr>
            <p:cNvPr id="606" name="Group 605">
              <a:extLst>
                <a:ext uri="{FF2B5EF4-FFF2-40B4-BE49-F238E27FC236}">
                  <a16:creationId xmlns:a16="http://schemas.microsoft.com/office/drawing/2014/main" id="{1FBC95BD-B4D7-465C-988B-3C36610475F6}"/>
                </a:ext>
              </a:extLst>
            </p:cNvPr>
            <p:cNvGrpSpPr/>
            <p:nvPr/>
          </p:nvGrpSpPr>
          <p:grpSpPr>
            <a:xfrm>
              <a:off x="4876327" y="4048586"/>
              <a:ext cx="280282" cy="465350"/>
              <a:chOff x="4928950" y="4120734"/>
              <a:chExt cx="660918" cy="1097328"/>
            </a:xfrm>
          </p:grpSpPr>
          <p:grpSp>
            <p:nvGrpSpPr>
              <p:cNvPr id="608" name="Group 607">
                <a:extLst>
                  <a:ext uri="{FF2B5EF4-FFF2-40B4-BE49-F238E27FC236}">
                    <a16:creationId xmlns:a16="http://schemas.microsoft.com/office/drawing/2014/main" id="{7A9B1CDA-DD9B-459E-82C2-991C9CB4A42B}"/>
                  </a:ext>
                </a:extLst>
              </p:cNvPr>
              <p:cNvGrpSpPr/>
              <p:nvPr/>
            </p:nvGrpSpPr>
            <p:grpSpPr>
              <a:xfrm>
                <a:off x="5087605" y="4193859"/>
                <a:ext cx="148238" cy="148238"/>
                <a:chOff x="7751583" y="3860624"/>
                <a:chExt cx="793750" cy="793750"/>
              </a:xfrm>
            </p:grpSpPr>
            <p:sp>
              <p:nvSpPr>
                <p:cNvPr id="625" name="Oval 624">
                  <a:extLst>
                    <a:ext uri="{FF2B5EF4-FFF2-40B4-BE49-F238E27FC236}">
                      <a16:creationId xmlns:a16="http://schemas.microsoft.com/office/drawing/2014/main" id="{F6ED5E47-295E-4637-8E72-28E592ABECE7}"/>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26" name="Freeform: Shape 625">
                  <a:extLst>
                    <a:ext uri="{FF2B5EF4-FFF2-40B4-BE49-F238E27FC236}">
                      <a16:creationId xmlns:a16="http://schemas.microsoft.com/office/drawing/2014/main" id="{5E0A65DB-90F7-4904-ABDE-E876BC19FFC7}"/>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09" name="Group 608">
                <a:extLst>
                  <a:ext uri="{FF2B5EF4-FFF2-40B4-BE49-F238E27FC236}">
                    <a16:creationId xmlns:a16="http://schemas.microsoft.com/office/drawing/2014/main" id="{4FC090B8-F1CE-48D1-8CAE-F80E7F2A784C}"/>
                  </a:ext>
                </a:extLst>
              </p:cNvPr>
              <p:cNvGrpSpPr/>
              <p:nvPr/>
            </p:nvGrpSpPr>
            <p:grpSpPr>
              <a:xfrm>
                <a:off x="5271102" y="4270328"/>
                <a:ext cx="115209" cy="115209"/>
                <a:chOff x="7751583" y="3860624"/>
                <a:chExt cx="793750" cy="793750"/>
              </a:xfrm>
            </p:grpSpPr>
            <p:sp>
              <p:nvSpPr>
                <p:cNvPr id="623" name="Oval 622">
                  <a:extLst>
                    <a:ext uri="{FF2B5EF4-FFF2-40B4-BE49-F238E27FC236}">
                      <a16:creationId xmlns:a16="http://schemas.microsoft.com/office/drawing/2014/main" id="{FE76A3F0-689D-40C3-884A-17A6DBF252C6}"/>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24" name="Freeform: Shape 623">
                  <a:extLst>
                    <a:ext uri="{FF2B5EF4-FFF2-40B4-BE49-F238E27FC236}">
                      <a16:creationId xmlns:a16="http://schemas.microsoft.com/office/drawing/2014/main" id="{78ED951C-0FA3-4995-88A6-9DA016205FBF}"/>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10" name="Group 609">
                <a:extLst>
                  <a:ext uri="{FF2B5EF4-FFF2-40B4-BE49-F238E27FC236}">
                    <a16:creationId xmlns:a16="http://schemas.microsoft.com/office/drawing/2014/main" id="{08218AD6-BF38-4AEA-A779-56DDEB82D192}"/>
                  </a:ext>
                </a:extLst>
              </p:cNvPr>
              <p:cNvGrpSpPr/>
              <p:nvPr/>
            </p:nvGrpSpPr>
            <p:grpSpPr>
              <a:xfrm>
                <a:off x="5231310" y="4120734"/>
                <a:ext cx="115209" cy="115209"/>
                <a:chOff x="7751583" y="3860624"/>
                <a:chExt cx="793750" cy="793750"/>
              </a:xfrm>
            </p:grpSpPr>
            <p:sp>
              <p:nvSpPr>
                <p:cNvPr id="621" name="Oval 620">
                  <a:extLst>
                    <a:ext uri="{FF2B5EF4-FFF2-40B4-BE49-F238E27FC236}">
                      <a16:creationId xmlns:a16="http://schemas.microsoft.com/office/drawing/2014/main" id="{FD5DCF1F-9F55-4BDE-ADE4-642FAA0F1C66}"/>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22" name="Freeform: Shape 621">
                  <a:extLst>
                    <a:ext uri="{FF2B5EF4-FFF2-40B4-BE49-F238E27FC236}">
                      <a16:creationId xmlns:a16="http://schemas.microsoft.com/office/drawing/2014/main" id="{28DFA440-F0F5-4FE2-BAB6-33E6D751B5C2}"/>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11" name="Graphic 7">
                <a:extLst>
                  <a:ext uri="{FF2B5EF4-FFF2-40B4-BE49-F238E27FC236}">
                    <a16:creationId xmlns:a16="http://schemas.microsoft.com/office/drawing/2014/main" id="{0C6DC04B-D524-4C09-8E7F-97D46586A94F}"/>
                  </a:ext>
                </a:extLst>
              </p:cNvPr>
              <p:cNvGrpSpPr/>
              <p:nvPr/>
            </p:nvGrpSpPr>
            <p:grpSpPr>
              <a:xfrm>
                <a:off x="4928950" y="4314159"/>
                <a:ext cx="660918" cy="903903"/>
                <a:chOff x="4928950" y="4314159"/>
                <a:chExt cx="660918" cy="903903"/>
              </a:xfrm>
              <a:solidFill>
                <a:srgbClr val="000000"/>
              </a:solidFill>
            </p:grpSpPr>
            <p:sp>
              <p:nvSpPr>
                <p:cNvPr id="612" name="Freeform: Shape 611">
                  <a:extLst>
                    <a:ext uri="{FF2B5EF4-FFF2-40B4-BE49-F238E27FC236}">
                      <a16:creationId xmlns:a16="http://schemas.microsoft.com/office/drawing/2014/main" id="{03904530-D55A-4140-8075-A2E5B35CFA45}"/>
                    </a:ext>
                  </a:extLst>
                </p:cNvPr>
                <p:cNvSpPr/>
                <p:nvPr/>
              </p:nvSpPr>
              <p:spPr>
                <a:xfrm>
                  <a:off x="5482857" y="4507769"/>
                  <a:ext cx="97194" cy="68036"/>
                </a:xfrm>
                <a:custGeom>
                  <a:avLst/>
                  <a:gdLst>
                    <a:gd name="connsiteX0" fmla="*/ 100305 w 97193"/>
                    <a:gd name="connsiteY0" fmla="*/ 16426 h 68035"/>
                    <a:gd name="connsiteX1" fmla="*/ 4957 w 97193"/>
                    <a:gd name="connsiteY1" fmla="*/ 77366 h 68035"/>
                    <a:gd name="connsiteX2" fmla="*/ 0 w 97193"/>
                    <a:gd name="connsiteY2" fmla="*/ 57343 h 68035"/>
                    <a:gd name="connsiteX3" fmla="*/ 89807 w 97193"/>
                    <a:gd name="connsiteY3" fmla="*/ 0 h 68035"/>
                    <a:gd name="connsiteX4" fmla="*/ 100305 w 97193"/>
                    <a:gd name="connsiteY4" fmla="*/ 16426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16426"/>
                      </a:moveTo>
                      <a:lnTo>
                        <a:pt x="4957" y="77366"/>
                      </a:lnTo>
                      <a:cubicBezTo>
                        <a:pt x="4763" y="70174"/>
                        <a:pt x="3013" y="63469"/>
                        <a:pt x="0" y="57343"/>
                      </a:cubicBezTo>
                      <a:lnTo>
                        <a:pt x="89807" y="0"/>
                      </a:lnTo>
                      <a:lnTo>
                        <a:pt x="100305" y="16426"/>
                      </a:lnTo>
                      <a:close/>
                    </a:path>
                  </a:pathLst>
                </a:custGeom>
                <a:solidFill>
                  <a:schemeClr val="accent4"/>
                </a:solidFill>
                <a:ln w="9719" cap="flat">
                  <a:noFill/>
                  <a:prstDash val="solid"/>
                  <a:miter/>
                </a:ln>
              </p:spPr>
              <p:txBody>
                <a:bodyPr rtlCol="0" anchor="ctr"/>
                <a:lstStyle/>
                <a:p>
                  <a:endParaRPr lang="en-US" dirty="0"/>
                </a:p>
              </p:txBody>
            </p:sp>
            <p:sp>
              <p:nvSpPr>
                <p:cNvPr id="613" name="Freeform: Shape 612">
                  <a:extLst>
                    <a:ext uri="{FF2B5EF4-FFF2-40B4-BE49-F238E27FC236}">
                      <a16:creationId xmlns:a16="http://schemas.microsoft.com/office/drawing/2014/main" id="{46382CF9-79A2-477B-8F56-B3422C86CCBA}"/>
                    </a:ext>
                  </a:extLst>
                </p:cNvPr>
                <p:cNvSpPr/>
                <p:nvPr/>
              </p:nvSpPr>
              <p:spPr>
                <a:xfrm>
                  <a:off x="5482857" y="4588732"/>
                  <a:ext cx="97194" cy="68036"/>
                </a:xfrm>
                <a:custGeom>
                  <a:avLst/>
                  <a:gdLst>
                    <a:gd name="connsiteX0" fmla="*/ 100305 w 97193"/>
                    <a:gd name="connsiteY0" fmla="*/ 60940 h 68035"/>
                    <a:gd name="connsiteX1" fmla="*/ 89807 w 97193"/>
                    <a:gd name="connsiteY1" fmla="*/ 77269 h 68035"/>
                    <a:gd name="connsiteX2" fmla="*/ 0 w 97193"/>
                    <a:gd name="connsiteY2" fmla="*/ 19924 h 68035"/>
                    <a:gd name="connsiteX3" fmla="*/ 4957 w 97193"/>
                    <a:gd name="connsiteY3" fmla="*/ 0 h 68035"/>
                    <a:gd name="connsiteX4" fmla="*/ 100305 w 97193"/>
                    <a:gd name="connsiteY4" fmla="*/ 60940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60940"/>
                      </a:moveTo>
                      <a:lnTo>
                        <a:pt x="89807" y="77269"/>
                      </a:lnTo>
                      <a:lnTo>
                        <a:pt x="0" y="19924"/>
                      </a:lnTo>
                      <a:cubicBezTo>
                        <a:pt x="3014" y="13899"/>
                        <a:pt x="4763" y="7095"/>
                        <a:pt x="4957" y="0"/>
                      </a:cubicBezTo>
                      <a:lnTo>
                        <a:pt x="100305" y="60940"/>
                      </a:lnTo>
                      <a:close/>
                    </a:path>
                  </a:pathLst>
                </a:custGeom>
                <a:solidFill>
                  <a:schemeClr val="accent4"/>
                </a:solidFill>
                <a:ln w="9719" cap="flat">
                  <a:noFill/>
                  <a:prstDash val="solid"/>
                  <a:miter/>
                </a:ln>
              </p:spPr>
              <p:txBody>
                <a:bodyPr rtlCol="0" anchor="ctr"/>
                <a:lstStyle/>
                <a:p>
                  <a:endParaRPr lang="en-US" dirty="0"/>
                </a:p>
              </p:txBody>
            </p:sp>
            <p:grpSp>
              <p:nvGrpSpPr>
                <p:cNvPr id="614" name="Graphic 7">
                  <a:extLst>
                    <a:ext uri="{FF2B5EF4-FFF2-40B4-BE49-F238E27FC236}">
                      <a16:creationId xmlns:a16="http://schemas.microsoft.com/office/drawing/2014/main" id="{55B8BB44-091C-4DE5-BEFF-715A0FE55CA7}"/>
                    </a:ext>
                  </a:extLst>
                </p:cNvPr>
                <p:cNvGrpSpPr/>
                <p:nvPr/>
              </p:nvGrpSpPr>
              <p:grpSpPr>
                <a:xfrm>
                  <a:off x="4928950" y="4314159"/>
                  <a:ext cx="660918" cy="903903"/>
                  <a:chOff x="4928950" y="4314159"/>
                  <a:chExt cx="660918" cy="903903"/>
                </a:xfrm>
                <a:solidFill>
                  <a:srgbClr val="000000"/>
                </a:solidFill>
              </p:grpSpPr>
              <p:sp>
                <p:nvSpPr>
                  <p:cNvPr id="615" name="Freeform: Shape 614">
                    <a:extLst>
                      <a:ext uri="{FF2B5EF4-FFF2-40B4-BE49-F238E27FC236}">
                        <a16:creationId xmlns:a16="http://schemas.microsoft.com/office/drawing/2014/main" id="{5A02A8DB-1969-4EE9-8938-3DD77A374D50}"/>
                      </a:ext>
                    </a:extLst>
                  </p:cNvPr>
                  <p:cNvSpPr/>
                  <p:nvPr/>
                </p:nvSpPr>
                <p:spPr>
                  <a:xfrm>
                    <a:off x="5451173" y="4314936"/>
                    <a:ext cx="9719" cy="9719"/>
                  </a:xfrm>
                  <a:custGeom>
                    <a:avLst/>
                    <a:gdLst>
                      <a:gd name="connsiteX0" fmla="*/ 389 w 0"/>
                      <a:gd name="connsiteY0" fmla="*/ 0 h 0"/>
                      <a:gd name="connsiteX1" fmla="*/ 0 w 0"/>
                      <a:gd name="connsiteY1" fmla="*/ 389 h 0"/>
                      <a:gd name="connsiteX2" fmla="*/ 486 w 0"/>
                      <a:gd name="connsiteY2" fmla="*/ 0 h 0"/>
                      <a:gd name="connsiteX3" fmla="*/ 3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89" y="0"/>
                        </a:moveTo>
                        <a:cubicBezTo>
                          <a:pt x="292" y="97"/>
                          <a:pt x="194" y="292"/>
                          <a:pt x="0" y="389"/>
                        </a:cubicBezTo>
                        <a:cubicBezTo>
                          <a:pt x="194" y="194"/>
                          <a:pt x="389" y="97"/>
                          <a:pt x="486" y="0"/>
                        </a:cubicBezTo>
                        <a:lnTo>
                          <a:pt x="389" y="0"/>
                        </a:lnTo>
                        <a:close/>
                      </a:path>
                    </a:pathLst>
                  </a:custGeom>
                  <a:solidFill>
                    <a:srgbClr val="000000"/>
                  </a:solidFill>
                  <a:ln w="9719" cap="flat">
                    <a:noFill/>
                    <a:prstDash val="solid"/>
                    <a:miter/>
                  </a:ln>
                </p:spPr>
                <p:txBody>
                  <a:bodyPr rtlCol="0" anchor="ctr"/>
                  <a:lstStyle/>
                  <a:p>
                    <a:endParaRPr lang="en-US" dirty="0"/>
                  </a:p>
                </p:txBody>
              </p:sp>
              <p:sp>
                <p:nvSpPr>
                  <p:cNvPr id="616" name="Freeform: Shape 615">
                    <a:extLst>
                      <a:ext uri="{FF2B5EF4-FFF2-40B4-BE49-F238E27FC236}">
                        <a16:creationId xmlns:a16="http://schemas.microsoft.com/office/drawing/2014/main" id="{C8C2A396-45B3-4352-926D-76CD1779D711}"/>
                      </a:ext>
                    </a:extLst>
                  </p:cNvPr>
                  <p:cNvSpPr/>
                  <p:nvPr/>
                </p:nvSpPr>
                <p:spPr>
                  <a:xfrm>
                    <a:off x="5451756" y="4314159"/>
                    <a:ext cx="9719" cy="9719"/>
                  </a:xfrm>
                  <a:custGeom>
                    <a:avLst/>
                    <a:gdLst>
                      <a:gd name="connsiteX0" fmla="*/ 1458 w 0"/>
                      <a:gd name="connsiteY0" fmla="*/ 292 h 0"/>
                      <a:gd name="connsiteX1" fmla="*/ 194 w 0"/>
                      <a:gd name="connsiteY1" fmla="*/ 582 h 0"/>
                      <a:gd name="connsiteX2" fmla="*/ 779 w 0"/>
                      <a:gd name="connsiteY2" fmla="*/ 0 h 0"/>
                      <a:gd name="connsiteX3" fmla="*/ 0 w 0"/>
                      <a:gd name="connsiteY3" fmla="*/ 679 h 0"/>
                      <a:gd name="connsiteX4" fmla="*/ 97 w 0"/>
                      <a:gd name="connsiteY4" fmla="*/ 679 h 0"/>
                      <a:gd name="connsiteX5" fmla="*/ 1458 w 0"/>
                      <a:gd name="connsiteY5" fmla="*/ 29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58" y="292"/>
                        </a:moveTo>
                        <a:cubicBezTo>
                          <a:pt x="1069" y="292"/>
                          <a:pt x="583" y="485"/>
                          <a:pt x="194" y="582"/>
                        </a:cubicBezTo>
                        <a:cubicBezTo>
                          <a:pt x="389" y="292"/>
                          <a:pt x="583" y="194"/>
                          <a:pt x="779" y="0"/>
                        </a:cubicBezTo>
                        <a:cubicBezTo>
                          <a:pt x="584" y="194"/>
                          <a:pt x="293" y="388"/>
                          <a:pt x="0" y="679"/>
                        </a:cubicBezTo>
                        <a:lnTo>
                          <a:pt x="97" y="679"/>
                        </a:lnTo>
                        <a:cubicBezTo>
                          <a:pt x="584" y="485"/>
                          <a:pt x="973" y="388"/>
                          <a:pt x="1458" y="292"/>
                        </a:cubicBezTo>
                        <a:close/>
                      </a:path>
                    </a:pathLst>
                  </a:custGeom>
                  <a:solidFill>
                    <a:srgbClr val="000000"/>
                  </a:solidFill>
                  <a:ln w="9719" cap="flat">
                    <a:noFill/>
                    <a:prstDash val="solid"/>
                    <a:miter/>
                  </a:ln>
                </p:spPr>
                <p:txBody>
                  <a:bodyPr rtlCol="0" anchor="ctr"/>
                  <a:lstStyle/>
                  <a:p>
                    <a:endParaRPr lang="en-US" dirty="0"/>
                  </a:p>
                </p:txBody>
              </p:sp>
              <p:sp>
                <p:nvSpPr>
                  <p:cNvPr id="617" name="Freeform: Shape 616">
                    <a:extLst>
                      <a:ext uri="{FF2B5EF4-FFF2-40B4-BE49-F238E27FC236}">
                        <a16:creationId xmlns:a16="http://schemas.microsoft.com/office/drawing/2014/main" id="{B0324F8B-FB7E-4D7F-9A7A-F735EF67BF5B}"/>
                      </a:ext>
                    </a:extLst>
                  </p:cNvPr>
                  <p:cNvSpPr/>
                  <p:nvPr/>
                </p:nvSpPr>
                <p:spPr>
                  <a:xfrm>
                    <a:off x="5055204" y="4556074"/>
                    <a:ext cx="408214" cy="58316"/>
                  </a:xfrm>
                  <a:custGeom>
                    <a:avLst/>
                    <a:gdLst>
                      <a:gd name="connsiteX0" fmla="*/ 30909 w 408214"/>
                      <a:gd name="connsiteY0" fmla="*/ 0 h 58316"/>
                      <a:gd name="connsiteX1" fmla="*/ 0 w 408214"/>
                      <a:gd name="connsiteY1" fmla="*/ 30809 h 58316"/>
                      <a:gd name="connsiteX2" fmla="*/ 30909 w 408214"/>
                      <a:gd name="connsiteY2" fmla="*/ 61718 h 58316"/>
                      <a:gd name="connsiteX3" fmla="*/ 382459 w 408214"/>
                      <a:gd name="connsiteY3" fmla="*/ 61718 h 58316"/>
                      <a:gd name="connsiteX4" fmla="*/ 413268 w 408214"/>
                      <a:gd name="connsiteY4" fmla="*/ 30809 h 58316"/>
                      <a:gd name="connsiteX5" fmla="*/ 382459 w 408214"/>
                      <a:gd name="connsiteY5" fmla="*/ 0 h 58316"/>
                      <a:gd name="connsiteX6" fmla="*/ 30909 w 408214"/>
                      <a:gd name="connsiteY6" fmla="*/ 0 h 58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214" h="58316">
                        <a:moveTo>
                          <a:pt x="30909" y="0"/>
                        </a:moveTo>
                        <a:cubicBezTo>
                          <a:pt x="13900" y="0"/>
                          <a:pt x="0" y="13801"/>
                          <a:pt x="0" y="30809"/>
                        </a:cubicBezTo>
                        <a:cubicBezTo>
                          <a:pt x="0" y="47916"/>
                          <a:pt x="13900" y="61718"/>
                          <a:pt x="30909" y="61718"/>
                        </a:cubicBezTo>
                        <a:lnTo>
                          <a:pt x="382459" y="61718"/>
                        </a:lnTo>
                        <a:cubicBezTo>
                          <a:pt x="399468" y="61718"/>
                          <a:pt x="413268" y="47917"/>
                          <a:pt x="413268" y="30809"/>
                        </a:cubicBezTo>
                        <a:cubicBezTo>
                          <a:pt x="413268" y="13801"/>
                          <a:pt x="399468" y="0"/>
                          <a:pt x="382459" y="0"/>
                        </a:cubicBezTo>
                        <a:lnTo>
                          <a:pt x="30909" y="0"/>
                        </a:lnTo>
                        <a:close/>
                      </a:path>
                    </a:pathLst>
                  </a:custGeom>
                  <a:solidFill>
                    <a:schemeClr val="accent4"/>
                  </a:solidFill>
                  <a:ln w="9719" cap="flat">
                    <a:noFill/>
                    <a:prstDash val="solid"/>
                    <a:miter/>
                  </a:ln>
                </p:spPr>
                <p:txBody>
                  <a:bodyPr rtlCol="0" anchor="ctr"/>
                  <a:lstStyle/>
                  <a:p>
                    <a:endParaRPr lang="en-US" dirty="0"/>
                  </a:p>
                </p:txBody>
              </p:sp>
              <p:sp>
                <p:nvSpPr>
                  <p:cNvPr id="618" name="Freeform: Shape 617">
                    <a:extLst>
                      <a:ext uri="{FF2B5EF4-FFF2-40B4-BE49-F238E27FC236}">
                        <a16:creationId xmlns:a16="http://schemas.microsoft.com/office/drawing/2014/main" id="{C1228FD4-65DD-4C6A-91A5-ED8561344B66}"/>
                      </a:ext>
                    </a:extLst>
                  </p:cNvPr>
                  <p:cNvSpPr/>
                  <p:nvPr/>
                </p:nvSpPr>
                <p:spPr>
                  <a:xfrm>
                    <a:off x="5047652" y="4332334"/>
                    <a:ext cx="417934" cy="204107"/>
                  </a:xfrm>
                  <a:custGeom>
                    <a:avLst/>
                    <a:gdLst>
                      <a:gd name="connsiteX0" fmla="*/ 342094 w 417933"/>
                      <a:gd name="connsiteY0" fmla="*/ 204302 h 204107"/>
                      <a:gd name="connsiteX1" fmla="*/ 426361 w 417933"/>
                      <a:gd name="connsiteY1" fmla="*/ 13025 h 204107"/>
                      <a:gd name="connsiteX2" fmla="*/ 414989 w 417933"/>
                      <a:gd name="connsiteY2" fmla="*/ 0 h 204107"/>
                      <a:gd name="connsiteX3" fmla="*/ 406922 w 417933"/>
                      <a:gd name="connsiteY3" fmla="*/ 3306 h 204107"/>
                      <a:gd name="connsiteX4" fmla="*/ 380194 w 417933"/>
                      <a:gd name="connsiteY4" fmla="*/ 30034 h 204107"/>
                      <a:gd name="connsiteX5" fmla="*/ 302828 w 417933"/>
                      <a:gd name="connsiteY5" fmla="*/ 29937 h 204107"/>
                      <a:gd name="connsiteX6" fmla="*/ 300884 w 417933"/>
                      <a:gd name="connsiteY6" fmla="*/ 27992 h 204107"/>
                      <a:gd name="connsiteX7" fmla="*/ 276100 w 417933"/>
                      <a:gd name="connsiteY7" fmla="*/ 19633 h 204107"/>
                      <a:gd name="connsiteX8" fmla="*/ 252870 w 417933"/>
                      <a:gd name="connsiteY8" fmla="*/ 29937 h 204107"/>
                      <a:gd name="connsiteX9" fmla="*/ 209521 w 417933"/>
                      <a:gd name="connsiteY9" fmla="*/ 45778 h 204107"/>
                      <a:gd name="connsiteX10" fmla="*/ 148678 w 417933"/>
                      <a:gd name="connsiteY10" fmla="*/ 19634 h 204107"/>
                      <a:gd name="connsiteX11" fmla="*/ 125547 w 417933"/>
                      <a:gd name="connsiteY11" fmla="*/ 29938 h 204107"/>
                      <a:gd name="connsiteX12" fmla="*/ 48082 w 417933"/>
                      <a:gd name="connsiteY12" fmla="*/ 29938 h 204107"/>
                      <a:gd name="connsiteX13" fmla="*/ 21548 w 417933"/>
                      <a:gd name="connsiteY13" fmla="*/ 3404 h 204107"/>
                      <a:gd name="connsiteX14" fmla="*/ 13481 w 417933"/>
                      <a:gd name="connsiteY14" fmla="*/ 1 h 204107"/>
                      <a:gd name="connsiteX15" fmla="*/ 11829 w 417933"/>
                      <a:gd name="connsiteY15" fmla="*/ 1 h 204107"/>
                      <a:gd name="connsiteX16" fmla="*/ 2110 w 417933"/>
                      <a:gd name="connsiteY16" fmla="*/ 4277 h 204107"/>
                      <a:gd name="connsiteX17" fmla="*/ 68 w 417933"/>
                      <a:gd name="connsiteY17" fmla="*/ 12247 h 204107"/>
                      <a:gd name="connsiteX18" fmla="*/ 85891 w 417933"/>
                      <a:gd name="connsiteY18" fmla="*/ 204303 h 204107"/>
                      <a:gd name="connsiteX19" fmla="*/ 342094 w 417933"/>
                      <a:gd name="connsiteY19" fmla="*/ 204303 h 20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933" h="204107">
                        <a:moveTo>
                          <a:pt x="342094" y="204302"/>
                        </a:moveTo>
                        <a:cubicBezTo>
                          <a:pt x="386413" y="153080"/>
                          <a:pt x="416350" y="71923"/>
                          <a:pt x="426361" y="13025"/>
                        </a:cubicBezTo>
                        <a:cubicBezTo>
                          <a:pt x="427634" y="6017"/>
                          <a:pt x="421710" y="0"/>
                          <a:pt x="414989" y="0"/>
                        </a:cubicBezTo>
                        <a:cubicBezTo>
                          <a:pt x="414017" y="168"/>
                          <a:pt x="410573" y="-198"/>
                          <a:pt x="406922" y="3306"/>
                        </a:cubicBezTo>
                        <a:lnTo>
                          <a:pt x="380194" y="30034"/>
                        </a:lnTo>
                        <a:cubicBezTo>
                          <a:pt x="359147" y="51079"/>
                          <a:pt x="324462" y="51571"/>
                          <a:pt x="302828" y="29937"/>
                        </a:cubicBezTo>
                        <a:lnTo>
                          <a:pt x="300884" y="27992"/>
                        </a:lnTo>
                        <a:cubicBezTo>
                          <a:pt x="296801" y="25174"/>
                          <a:pt x="287082" y="19633"/>
                          <a:pt x="276100" y="19633"/>
                        </a:cubicBezTo>
                        <a:cubicBezTo>
                          <a:pt x="267352" y="19633"/>
                          <a:pt x="259771" y="23035"/>
                          <a:pt x="252870" y="29937"/>
                        </a:cubicBezTo>
                        <a:cubicBezTo>
                          <a:pt x="236750" y="48202"/>
                          <a:pt x="203064" y="45617"/>
                          <a:pt x="209521" y="45778"/>
                        </a:cubicBezTo>
                        <a:cubicBezTo>
                          <a:pt x="180302" y="44218"/>
                          <a:pt x="175904" y="19634"/>
                          <a:pt x="148678" y="19634"/>
                        </a:cubicBezTo>
                        <a:cubicBezTo>
                          <a:pt x="140029" y="19634"/>
                          <a:pt x="132448" y="23036"/>
                          <a:pt x="125547" y="29938"/>
                        </a:cubicBezTo>
                        <a:cubicBezTo>
                          <a:pt x="109932" y="47632"/>
                          <a:pt x="73577" y="55183"/>
                          <a:pt x="48082" y="29938"/>
                        </a:cubicBezTo>
                        <a:lnTo>
                          <a:pt x="21548" y="3404"/>
                        </a:lnTo>
                        <a:cubicBezTo>
                          <a:pt x="19409" y="1264"/>
                          <a:pt x="16494" y="1"/>
                          <a:pt x="13481" y="1"/>
                        </a:cubicBezTo>
                        <a:lnTo>
                          <a:pt x="11829" y="1"/>
                        </a:lnTo>
                        <a:cubicBezTo>
                          <a:pt x="9399" y="293"/>
                          <a:pt x="4637" y="1556"/>
                          <a:pt x="2110" y="4277"/>
                        </a:cubicBezTo>
                        <a:cubicBezTo>
                          <a:pt x="1041" y="5541"/>
                          <a:pt x="-320" y="7582"/>
                          <a:pt x="68" y="12247"/>
                        </a:cubicBezTo>
                        <a:cubicBezTo>
                          <a:pt x="5413" y="72409"/>
                          <a:pt x="33988" y="154442"/>
                          <a:pt x="85891" y="204303"/>
                        </a:cubicBezTo>
                        <a:lnTo>
                          <a:pt x="342094" y="204303"/>
                        </a:lnTo>
                        <a:close/>
                      </a:path>
                    </a:pathLst>
                  </a:custGeom>
                  <a:solidFill>
                    <a:schemeClr val="accent3"/>
                  </a:solidFill>
                  <a:ln w="9719" cap="flat">
                    <a:noFill/>
                    <a:prstDash val="solid"/>
                    <a:miter/>
                  </a:ln>
                </p:spPr>
                <p:txBody>
                  <a:bodyPr rtlCol="0" anchor="ctr"/>
                  <a:lstStyle/>
                  <a:p>
                    <a:endParaRPr lang="en-US" dirty="0"/>
                  </a:p>
                </p:txBody>
              </p:sp>
              <p:sp>
                <p:nvSpPr>
                  <p:cNvPr id="619" name="Freeform: Shape 618">
                    <a:extLst>
                      <a:ext uri="{FF2B5EF4-FFF2-40B4-BE49-F238E27FC236}">
                        <a16:creationId xmlns:a16="http://schemas.microsoft.com/office/drawing/2014/main" id="{F6A5EAE1-FF8B-4281-875F-1CCD78FF1AA9}"/>
                      </a:ext>
                    </a:extLst>
                  </p:cNvPr>
                  <p:cNvSpPr/>
                  <p:nvPr/>
                </p:nvSpPr>
                <p:spPr>
                  <a:xfrm>
                    <a:off x="4928950" y="4637231"/>
                    <a:ext cx="660918" cy="583163"/>
                  </a:xfrm>
                  <a:custGeom>
                    <a:avLst/>
                    <a:gdLst>
                      <a:gd name="connsiteX0" fmla="*/ 504340 w 660918"/>
                      <a:gd name="connsiteY0" fmla="*/ 0 h 583163"/>
                      <a:gd name="connsiteX1" fmla="*/ 161537 w 660918"/>
                      <a:gd name="connsiteY1" fmla="*/ 0 h 583163"/>
                      <a:gd name="connsiteX2" fmla="*/ 0 w 660918"/>
                      <a:gd name="connsiteY2" fmla="*/ 333278 h 583163"/>
                      <a:gd name="connsiteX3" fmla="*/ 131601 w 660918"/>
                      <a:gd name="connsiteY3" fmla="*/ 574415 h 583163"/>
                      <a:gd name="connsiteX4" fmla="*/ 178934 w 660918"/>
                      <a:gd name="connsiteY4" fmla="*/ 589286 h 583163"/>
                      <a:gd name="connsiteX5" fmla="*/ 486845 w 660918"/>
                      <a:gd name="connsiteY5" fmla="*/ 589286 h 583163"/>
                      <a:gd name="connsiteX6" fmla="*/ 534275 w 660918"/>
                      <a:gd name="connsiteY6" fmla="*/ 574415 h 583163"/>
                      <a:gd name="connsiteX7" fmla="*/ 665875 w 660918"/>
                      <a:gd name="connsiteY7" fmla="*/ 333278 h 583163"/>
                      <a:gd name="connsiteX8" fmla="*/ 504340 w 660918"/>
                      <a:gd name="connsiteY8" fmla="*/ 0 h 583163"/>
                      <a:gd name="connsiteX9" fmla="*/ 440191 w 660918"/>
                      <a:gd name="connsiteY9" fmla="*/ 239389 h 583163"/>
                      <a:gd name="connsiteX10" fmla="*/ 354758 w 660918"/>
                      <a:gd name="connsiteY10" fmla="*/ 239389 h 583163"/>
                      <a:gd name="connsiteX11" fmla="*/ 354758 w 660918"/>
                      <a:gd name="connsiteY11" fmla="*/ 229669 h 583163"/>
                      <a:gd name="connsiteX12" fmla="*/ 332986 w 660918"/>
                      <a:gd name="connsiteY12" fmla="*/ 207898 h 583163"/>
                      <a:gd name="connsiteX13" fmla="*/ 311118 w 660918"/>
                      <a:gd name="connsiteY13" fmla="*/ 229669 h 583163"/>
                      <a:gd name="connsiteX14" fmla="*/ 332986 w 660918"/>
                      <a:gd name="connsiteY14" fmla="*/ 251538 h 583163"/>
                      <a:gd name="connsiteX15" fmla="*/ 440191 w 660918"/>
                      <a:gd name="connsiteY15" fmla="*/ 358840 h 583163"/>
                      <a:gd name="connsiteX16" fmla="*/ 375752 w 660918"/>
                      <a:gd name="connsiteY16" fmla="*/ 457200 h 583163"/>
                      <a:gd name="connsiteX17" fmla="*/ 375752 w 660918"/>
                      <a:gd name="connsiteY17" fmla="*/ 502881 h 583163"/>
                      <a:gd name="connsiteX18" fmla="*/ 290222 w 660918"/>
                      <a:gd name="connsiteY18" fmla="*/ 502881 h 583163"/>
                      <a:gd name="connsiteX19" fmla="*/ 290222 w 660918"/>
                      <a:gd name="connsiteY19" fmla="*/ 457200 h 583163"/>
                      <a:gd name="connsiteX20" fmla="*/ 225587 w 660918"/>
                      <a:gd name="connsiteY20" fmla="*/ 358840 h 583163"/>
                      <a:gd name="connsiteX21" fmla="*/ 225587 w 660918"/>
                      <a:gd name="connsiteY21" fmla="*/ 349120 h 583163"/>
                      <a:gd name="connsiteX22" fmla="*/ 311118 w 660918"/>
                      <a:gd name="connsiteY22" fmla="*/ 349120 h 583163"/>
                      <a:gd name="connsiteX23" fmla="*/ 311118 w 660918"/>
                      <a:gd name="connsiteY23" fmla="*/ 358840 h 583163"/>
                      <a:gd name="connsiteX24" fmla="*/ 332986 w 660918"/>
                      <a:gd name="connsiteY24" fmla="*/ 380611 h 583163"/>
                      <a:gd name="connsiteX25" fmla="*/ 354758 w 660918"/>
                      <a:gd name="connsiteY25" fmla="*/ 358840 h 583163"/>
                      <a:gd name="connsiteX26" fmla="*/ 332986 w 660918"/>
                      <a:gd name="connsiteY26" fmla="*/ 337068 h 583163"/>
                      <a:gd name="connsiteX27" fmla="*/ 225587 w 660918"/>
                      <a:gd name="connsiteY27" fmla="*/ 229668 h 583163"/>
                      <a:gd name="connsiteX28" fmla="*/ 290222 w 660918"/>
                      <a:gd name="connsiteY28" fmla="*/ 131405 h 583163"/>
                      <a:gd name="connsiteX29" fmla="*/ 290222 w 660918"/>
                      <a:gd name="connsiteY29" fmla="*/ 86404 h 583163"/>
                      <a:gd name="connsiteX30" fmla="*/ 375752 w 660918"/>
                      <a:gd name="connsiteY30" fmla="*/ 86404 h 583163"/>
                      <a:gd name="connsiteX31" fmla="*/ 375752 w 660918"/>
                      <a:gd name="connsiteY31" fmla="*/ 131405 h 583163"/>
                      <a:gd name="connsiteX32" fmla="*/ 440191 w 660918"/>
                      <a:gd name="connsiteY32" fmla="*/ 229668 h 583163"/>
                      <a:gd name="connsiteX33" fmla="*/ 440191 w 660918"/>
                      <a:gd name="connsiteY33" fmla="*/ 239389 h 58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60918" h="583163">
                        <a:moveTo>
                          <a:pt x="504340" y="0"/>
                        </a:moveTo>
                        <a:lnTo>
                          <a:pt x="161537" y="0"/>
                        </a:lnTo>
                        <a:cubicBezTo>
                          <a:pt x="83198" y="83587"/>
                          <a:pt x="0" y="222282"/>
                          <a:pt x="0" y="333278"/>
                        </a:cubicBezTo>
                        <a:cubicBezTo>
                          <a:pt x="0" y="425903"/>
                          <a:pt x="47918" y="513864"/>
                          <a:pt x="131601" y="574415"/>
                        </a:cubicBezTo>
                        <a:cubicBezTo>
                          <a:pt x="144819" y="584037"/>
                          <a:pt x="161634" y="589286"/>
                          <a:pt x="178934" y="589286"/>
                        </a:cubicBezTo>
                        <a:lnTo>
                          <a:pt x="486845" y="589286"/>
                        </a:lnTo>
                        <a:cubicBezTo>
                          <a:pt x="504243" y="589286"/>
                          <a:pt x="521057" y="584037"/>
                          <a:pt x="534275" y="574415"/>
                        </a:cubicBezTo>
                        <a:cubicBezTo>
                          <a:pt x="617862" y="513863"/>
                          <a:pt x="665875" y="425903"/>
                          <a:pt x="665875" y="333278"/>
                        </a:cubicBezTo>
                        <a:cubicBezTo>
                          <a:pt x="665875" y="222282"/>
                          <a:pt x="582677" y="83587"/>
                          <a:pt x="504340" y="0"/>
                        </a:cubicBezTo>
                        <a:close/>
                        <a:moveTo>
                          <a:pt x="440191" y="239389"/>
                        </a:moveTo>
                        <a:lnTo>
                          <a:pt x="354758" y="239389"/>
                        </a:lnTo>
                        <a:lnTo>
                          <a:pt x="354758" y="229669"/>
                        </a:lnTo>
                        <a:cubicBezTo>
                          <a:pt x="354758" y="217714"/>
                          <a:pt x="344941" y="207898"/>
                          <a:pt x="332986" y="207898"/>
                        </a:cubicBezTo>
                        <a:cubicBezTo>
                          <a:pt x="320837" y="207898"/>
                          <a:pt x="311118" y="217714"/>
                          <a:pt x="311118" y="229669"/>
                        </a:cubicBezTo>
                        <a:cubicBezTo>
                          <a:pt x="311118" y="241721"/>
                          <a:pt x="320837" y="251538"/>
                          <a:pt x="332986" y="251538"/>
                        </a:cubicBezTo>
                        <a:cubicBezTo>
                          <a:pt x="392081" y="251538"/>
                          <a:pt x="440191" y="299746"/>
                          <a:pt x="440191" y="358840"/>
                        </a:cubicBezTo>
                        <a:cubicBezTo>
                          <a:pt x="440191" y="401604"/>
                          <a:pt x="414532" y="440191"/>
                          <a:pt x="375752" y="457200"/>
                        </a:cubicBezTo>
                        <a:lnTo>
                          <a:pt x="375752" y="502881"/>
                        </a:lnTo>
                        <a:lnTo>
                          <a:pt x="290222" y="502881"/>
                        </a:lnTo>
                        <a:lnTo>
                          <a:pt x="290222" y="457200"/>
                        </a:lnTo>
                        <a:cubicBezTo>
                          <a:pt x="251247" y="440287"/>
                          <a:pt x="225587" y="401604"/>
                          <a:pt x="225587" y="358840"/>
                        </a:cubicBezTo>
                        <a:lnTo>
                          <a:pt x="225587" y="349120"/>
                        </a:lnTo>
                        <a:lnTo>
                          <a:pt x="311118" y="349120"/>
                        </a:lnTo>
                        <a:lnTo>
                          <a:pt x="311118" y="358840"/>
                        </a:lnTo>
                        <a:cubicBezTo>
                          <a:pt x="311118" y="370892"/>
                          <a:pt x="320837" y="380611"/>
                          <a:pt x="332986" y="380611"/>
                        </a:cubicBezTo>
                        <a:cubicBezTo>
                          <a:pt x="344941" y="380611"/>
                          <a:pt x="354758" y="370892"/>
                          <a:pt x="354758" y="358840"/>
                        </a:cubicBezTo>
                        <a:cubicBezTo>
                          <a:pt x="354758" y="346885"/>
                          <a:pt x="344941" y="337068"/>
                          <a:pt x="332986" y="337068"/>
                        </a:cubicBezTo>
                        <a:cubicBezTo>
                          <a:pt x="273698" y="337068"/>
                          <a:pt x="225587" y="288957"/>
                          <a:pt x="225587" y="229668"/>
                        </a:cubicBezTo>
                        <a:cubicBezTo>
                          <a:pt x="225587" y="187000"/>
                          <a:pt x="251247" y="148317"/>
                          <a:pt x="290222" y="131405"/>
                        </a:cubicBezTo>
                        <a:lnTo>
                          <a:pt x="290222" y="86404"/>
                        </a:lnTo>
                        <a:lnTo>
                          <a:pt x="375752" y="86404"/>
                        </a:lnTo>
                        <a:lnTo>
                          <a:pt x="375752" y="131405"/>
                        </a:lnTo>
                        <a:cubicBezTo>
                          <a:pt x="414532" y="148317"/>
                          <a:pt x="440191" y="187000"/>
                          <a:pt x="440191" y="229668"/>
                        </a:cubicBezTo>
                        <a:lnTo>
                          <a:pt x="440191" y="239389"/>
                        </a:lnTo>
                        <a:close/>
                      </a:path>
                    </a:pathLst>
                  </a:custGeom>
                  <a:solidFill>
                    <a:schemeClr val="accent3"/>
                  </a:solidFill>
                  <a:ln w="9719" cap="flat">
                    <a:noFill/>
                    <a:prstDash val="solid"/>
                    <a:miter/>
                  </a:ln>
                </p:spPr>
                <p:txBody>
                  <a:bodyPr rtlCol="0" anchor="ctr"/>
                  <a:lstStyle/>
                  <a:p>
                    <a:endParaRPr lang="en-US" dirty="0"/>
                  </a:p>
                </p:txBody>
              </p:sp>
              <p:sp>
                <p:nvSpPr>
                  <p:cNvPr id="620" name="Freeform: Shape 619">
                    <a:extLst>
                      <a:ext uri="{FF2B5EF4-FFF2-40B4-BE49-F238E27FC236}">
                        <a16:creationId xmlns:a16="http://schemas.microsoft.com/office/drawing/2014/main" id="{3A9E5F67-271C-4F89-BA83-CF28FB5AA268}"/>
                      </a:ext>
                    </a:extLst>
                  </p:cNvPr>
                  <p:cNvSpPr/>
                  <p:nvPr/>
                </p:nvSpPr>
                <p:spPr>
                  <a:xfrm>
                    <a:off x="5173976" y="4743075"/>
                    <a:ext cx="174949" cy="369337"/>
                  </a:xfrm>
                  <a:custGeom>
                    <a:avLst/>
                    <a:gdLst>
                      <a:gd name="connsiteX0" fmla="*/ 117702 w 174948"/>
                      <a:gd name="connsiteY0" fmla="*/ 41307 h 369336"/>
                      <a:gd name="connsiteX1" fmla="*/ 111287 w 174948"/>
                      <a:gd name="connsiteY1" fmla="*/ 38975 h 369336"/>
                      <a:gd name="connsiteX2" fmla="*/ 111287 w 174948"/>
                      <a:gd name="connsiteY2" fmla="*/ 0 h 369336"/>
                      <a:gd name="connsiteX3" fmla="*/ 64635 w 174948"/>
                      <a:gd name="connsiteY3" fmla="*/ 0 h 369336"/>
                      <a:gd name="connsiteX4" fmla="*/ 64635 w 174948"/>
                      <a:gd name="connsiteY4" fmla="*/ 38975 h 369336"/>
                      <a:gd name="connsiteX5" fmla="*/ 58220 w 174948"/>
                      <a:gd name="connsiteY5" fmla="*/ 41307 h 369336"/>
                      <a:gd name="connsiteX6" fmla="*/ 0 w 174948"/>
                      <a:gd name="connsiteY6" fmla="*/ 123825 h 369336"/>
                      <a:gd name="connsiteX7" fmla="*/ 87960 w 174948"/>
                      <a:gd name="connsiteY7" fmla="*/ 211786 h 369336"/>
                      <a:gd name="connsiteX8" fmla="*/ 129171 w 174948"/>
                      <a:gd name="connsiteY8" fmla="*/ 252997 h 369336"/>
                      <a:gd name="connsiteX9" fmla="*/ 87960 w 174948"/>
                      <a:gd name="connsiteY9" fmla="*/ 294207 h 369336"/>
                      <a:gd name="connsiteX10" fmla="*/ 47723 w 174948"/>
                      <a:gd name="connsiteY10" fmla="*/ 262716 h 369336"/>
                      <a:gd name="connsiteX11" fmla="*/ 486 w 174948"/>
                      <a:gd name="connsiteY11" fmla="*/ 262716 h 369336"/>
                      <a:gd name="connsiteX12" fmla="*/ 58220 w 174948"/>
                      <a:gd name="connsiteY12" fmla="*/ 335611 h 369336"/>
                      <a:gd name="connsiteX13" fmla="*/ 64635 w 174948"/>
                      <a:gd name="connsiteY13" fmla="*/ 337944 h 369336"/>
                      <a:gd name="connsiteX14" fmla="*/ 64635 w 174948"/>
                      <a:gd name="connsiteY14" fmla="*/ 377599 h 369336"/>
                      <a:gd name="connsiteX15" fmla="*/ 111287 w 174948"/>
                      <a:gd name="connsiteY15" fmla="*/ 377599 h 369336"/>
                      <a:gd name="connsiteX16" fmla="*/ 111287 w 174948"/>
                      <a:gd name="connsiteY16" fmla="*/ 337944 h 369336"/>
                      <a:gd name="connsiteX17" fmla="*/ 117702 w 174948"/>
                      <a:gd name="connsiteY17" fmla="*/ 335611 h 369336"/>
                      <a:gd name="connsiteX18" fmla="*/ 175727 w 174948"/>
                      <a:gd name="connsiteY18" fmla="*/ 252997 h 369336"/>
                      <a:gd name="connsiteX19" fmla="*/ 87960 w 174948"/>
                      <a:gd name="connsiteY19" fmla="*/ 165133 h 369336"/>
                      <a:gd name="connsiteX20" fmla="*/ 46653 w 174948"/>
                      <a:gd name="connsiteY20" fmla="*/ 123826 h 369336"/>
                      <a:gd name="connsiteX21" fmla="*/ 87960 w 174948"/>
                      <a:gd name="connsiteY21" fmla="*/ 82616 h 369336"/>
                      <a:gd name="connsiteX22" fmla="*/ 128005 w 174948"/>
                      <a:gd name="connsiteY22" fmla="*/ 114107 h 369336"/>
                      <a:gd name="connsiteX23" fmla="*/ 175241 w 174948"/>
                      <a:gd name="connsiteY23" fmla="*/ 114107 h 369336"/>
                      <a:gd name="connsiteX24" fmla="*/ 117702 w 174948"/>
                      <a:gd name="connsiteY24" fmla="*/ 41307 h 36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948" h="369336">
                        <a:moveTo>
                          <a:pt x="117702" y="41307"/>
                        </a:moveTo>
                        <a:lnTo>
                          <a:pt x="111287" y="38975"/>
                        </a:lnTo>
                        <a:lnTo>
                          <a:pt x="111287" y="0"/>
                        </a:lnTo>
                        <a:lnTo>
                          <a:pt x="64635" y="0"/>
                        </a:lnTo>
                        <a:lnTo>
                          <a:pt x="64635" y="38975"/>
                        </a:lnTo>
                        <a:lnTo>
                          <a:pt x="58220" y="41307"/>
                        </a:lnTo>
                        <a:cubicBezTo>
                          <a:pt x="23327" y="53845"/>
                          <a:pt x="0" y="86989"/>
                          <a:pt x="0" y="123825"/>
                        </a:cubicBezTo>
                        <a:cubicBezTo>
                          <a:pt x="0" y="172325"/>
                          <a:pt x="39462" y="211786"/>
                          <a:pt x="87960" y="211786"/>
                        </a:cubicBezTo>
                        <a:cubicBezTo>
                          <a:pt x="110608" y="211786"/>
                          <a:pt x="129171" y="230252"/>
                          <a:pt x="129171" y="252997"/>
                        </a:cubicBezTo>
                        <a:cubicBezTo>
                          <a:pt x="129171" y="275740"/>
                          <a:pt x="110608" y="294207"/>
                          <a:pt x="87960" y="294207"/>
                        </a:cubicBezTo>
                        <a:cubicBezTo>
                          <a:pt x="68522" y="294207"/>
                          <a:pt x="52194" y="280794"/>
                          <a:pt x="47723" y="262716"/>
                        </a:cubicBezTo>
                        <a:lnTo>
                          <a:pt x="486" y="262716"/>
                        </a:lnTo>
                        <a:cubicBezTo>
                          <a:pt x="4180" y="295567"/>
                          <a:pt x="26437" y="324142"/>
                          <a:pt x="58220" y="335611"/>
                        </a:cubicBezTo>
                        <a:lnTo>
                          <a:pt x="64635" y="337944"/>
                        </a:lnTo>
                        <a:lnTo>
                          <a:pt x="64635" y="377599"/>
                        </a:lnTo>
                        <a:lnTo>
                          <a:pt x="111287" y="377599"/>
                        </a:lnTo>
                        <a:lnTo>
                          <a:pt x="111287" y="337944"/>
                        </a:lnTo>
                        <a:lnTo>
                          <a:pt x="117702" y="335611"/>
                        </a:lnTo>
                        <a:cubicBezTo>
                          <a:pt x="152401" y="323073"/>
                          <a:pt x="175727" y="289833"/>
                          <a:pt x="175727" y="252997"/>
                        </a:cubicBezTo>
                        <a:cubicBezTo>
                          <a:pt x="175727" y="204594"/>
                          <a:pt x="136363" y="165133"/>
                          <a:pt x="87960" y="165133"/>
                        </a:cubicBezTo>
                        <a:cubicBezTo>
                          <a:pt x="65120" y="165133"/>
                          <a:pt x="46653" y="146667"/>
                          <a:pt x="46653" y="123826"/>
                        </a:cubicBezTo>
                        <a:cubicBezTo>
                          <a:pt x="46653" y="101179"/>
                          <a:pt x="65120" y="82616"/>
                          <a:pt x="87960" y="82616"/>
                        </a:cubicBezTo>
                        <a:cubicBezTo>
                          <a:pt x="107302" y="82616"/>
                          <a:pt x="123631" y="96126"/>
                          <a:pt x="128005" y="114107"/>
                        </a:cubicBezTo>
                        <a:lnTo>
                          <a:pt x="175241" y="114107"/>
                        </a:lnTo>
                        <a:cubicBezTo>
                          <a:pt x="171548" y="81254"/>
                          <a:pt x="149290" y="52678"/>
                          <a:pt x="117702" y="41307"/>
                        </a:cubicBezTo>
                        <a:close/>
                      </a:path>
                    </a:pathLst>
                  </a:custGeom>
                  <a:solidFill>
                    <a:schemeClr val="accent3"/>
                  </a:solidFill>
                  <a:ln w="9719" cap="flat">
                    <a:noFill/>
                    <a:prstDash val="solid"/>
                    <a:miter/>
                  </a:ln>
                </p:spPr>
                <p:txBody>
                  <a:bodyPr rtlCol="0" anchor="ctr"/>
                  <a:lstStyle/>
                  <a:p>
                    <a:endParaRPr lang="en-US" dirty="0"/>
                  </a:p>
                </p:txBody>
              </p:sp>
            </p:grpSp>
          </p:grpSp>
        </p:grpSp>
        <p:sp>
          <p:nvSpPr>
            <p:cNvPr id="607" name="Rectangle: Rounded Corners 606">
              <a:extLst>
                <a:ext uri="{FF2B5EF4-FFF2-40B4-BE49-F238E27FC236}">
                  <a16:creationId xmlns:a16="http://schemas.microsoft.com/office/drawing/2014/main" id="{52243165-0689-4CDE-9C5F-B43BF50C32C1}"/>
                </a:ext>
              </a:extLst>
            </p:cNvPr>
            <p:cNvSpPr/>
            <p:nvPr/>
          </p:nvSpPr>
          <p:spPr bwMode="auto">
            <a:xfrm>
              <a:off x="4841776" y="4517284"/>
              <a:ext cx="351115" cy="27432"/>
            </a:xfrm>
            <a:prstGeom prst="roundRect">
              <a:avLst>
                <a:gd name="adj" fmla="val 500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FC86EF6-DFD6-4B9F-81A1-C11D5E823627}"/>
              </a:ext>
            </a:extLst>
          </p:cNvPr>
          <p:cNvSpPr/>
          <p:nvPr/>
        </p:nvSpPr>
        <p:spPr>
          <a:xfrm>
            <a:off x="8302299" y="5411811"/>
            <a:ext cx="3301438" cy="484748"/>
          </a:xfrm>
          <a:prstGeom prst="rect">
            <a:avLst/>
          </a:prstGeom>
        </p:spPr>
        <p:txBody>
          <a:bodyPr wrap="square">
            <a:spAutoFit/>
          </a:bodyPr>
          <a:lstStyle/>
          <a:p>
            <a:pPr lvl="0"/>
            <a:r>
              <a:rPr lang="en-US" sz="850" dirty="0">
                <a:solidFill>
                  <a:srgbClr val="000000"/>
                </a:solidFill>
              </a:rPr>
              <a:t>**This saving applies when customers migrate from Windows Server deployment to Windows 10 multi-session in WVD; Windows Server in WVD still requires RDS CAL</a:t>
            </a:r>
          </a:p>
        </p:txBody>
      </p:sp>
      <p:grpSp>
        <p:nvGrpSpPr>
          <p:cNvPr id="628" name="Group 627">
            <a:extLst>
              <a:ext uri="{FF2B5EF4-FFF2-40B4-BE49-F238E27FC236}">
                <a16:creationId xmlns:a16="http://schemas.microsoft.com/office/drawing/2014/main" id="{75CF83F7-8673-40A5-8802-F6D0FE794502}"/>
              </a:ext>
            </a:extLst>
          </p:cNvPr>
          <p:cNvGrpSpPr/>
          <p:nvPr/>
        </p:nvGrpSpPr>
        <p:grpSpPr>
          <a:xfrm>
            <a:off x="10052458" y="146014"/>
            <a:ext cx="2033626" cy="1015650"/>
            <a:chOff x="10052458" y="146014"/>
            <a:chExt cx="2033626" cy="1015650"/>
          </a:xfrm>
        </p:grpSpPr>
        <p:pic>
          <p:nvPicPr>
            <p:cNvPr id="629" name="Picture 628">
              <a:extLst>
                <a:ext uri="{FF2B5EF4-FFF2-40B4-BE49-F238E27FC236}">
                  <a16:creationId xmlns:a16="http://schemas.microsoft.com/office/drawing/2014/main" id="{2AC145D6-9E50-4DA8-A302-F876883AA53A}"/>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630" name="Rectangle 629">
              <a:extLst>
                <a:ext uri="{FF2B5EF4-FFF2-40B4-BE49-F238E27FC236}">
                  <a16:creationId xmlns:a16="http://schemas.microsoft.com/office/drawing/2014/main" id="{1EBB57AA-054D-47AA-97EE-AB5BE5F47759}"/>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30872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2169630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2"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19" name="Rectangle 218">
            <a:extLst>
              <a:ext uri="{FF2B5EF4-FFF2-40B4-BE49-F238E27FC236}">
                <a16:creationId xmlns:a16="http://schemas.microsoft.com/office/drawing/2014/main" id="{37630CEF-0213-45BF-A473-A7E0CB219257}"/>
              </a:ext>
            </a:extLst>
          </p:cNvPr>
          <p:cNvSpPr/>
          <p:nvPr/>
        </p:nvSpPr>
        <p:spPr bwMode="auto">
          <a:xfrm>
            <a:off x="584200" y="2349952"/>
            <a:ext cx="7330440" cy="36593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220" name="TextBox 219">
            <a:extLst>
              <a:ext uri="{FF2B5EF4-FFF2-40B4-BE49-F238E27FC236}">
                <a16:creationId xmlns:a16="http://schemas.microsoft.com/office/drawing/2014/main" id="{8CAB154A-5B8D-4BCB-95F3-2B3B60E4A205}"/>
              </a:ext>
            </a:extLst>
          </p:cNvPr>
          <p:cNvSpPr txBox="1"/>
          <p:nvPr/>
        </p:nvSpPr>
        <p:spPr>
          <a:xfrm>
            <a:off x="651493" y="2410627"/>
            <a:ext cx="3307089" cy="35041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221" name="TextBox 220">
            <a:extLst>
              <a:ext uri="{FF2B5EF4-FFF2-40B4-BE49-F238E27FC236}">
                <a16:creationId xmlns:a16="http://schemas.microsoft.com/office/drawing/2014/main" id="{861FE9F5-C057-4ED6-81AA-1C75C8FBC0A1}"/>
              </a:ext>
            </a:extLst>
          </p:cNvPr>
          <p:cNvSpPr txBox="1"/>
          <p:nvPr/>
        </p:nvSpPr>
        <p:spPr>
          <a:xfrm>
            <a:off x="4540258" y="2410627"/>
            <a:ext cx="3307089" cy="350530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grpSp>
        <p:nvGrpSpPr>
          <p:cNvPr id="222" name="Group 221">
            <a:extLst>
              <a:ext uri="{FF2B5EF4-FFF2-40B4-BE49-F238E27FC236}">
                <a16:creationId xmlns:a16="http://schemas.microsoft.com/office/drawing/2014/main" id="{1150662B-6664-476E-813F-0400A1B6F1B3}"/>
              </a:ext>
            </a:extLst>
          </p:cNvPr>
          <p:cNvGrpSpPr/>
          <p:nvPr/>
        </p:nvGrpSpPr>
        <p:grpSpPr>
          <a:xfrm>
            <a:off x="4048759" y="2549361"/>
            <a:ext cx="401322" cy="3292123"/>
            <a:chOff x="4048759" y="2770559"/>
            <a:chExt cx="401322" cy="3292123"/>
          </a:xfrm>
        </p:grpSpPr>
        <p:cxnSp>
          <p:nvCxnSpPr>
            <p:cNvPr id="223" name="Straight Connector 222">
              <a:extLst>
                <a:ext uri="{FF2B5EF4-FFF2-40B4-BE49-F238E27FC236}">
                  <a16:creationId xmlns:a16="http://schemas.microsoft.com/office/drawing/2014/main" id="{E1187782-C9F0-4F1D-95B7-2C680FA29E20}"/>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24" name="Group 223">
              <a:extLst>
                <a:ext uri="{FF2B5EF4-FFF2-40B4-BE49-F238E27FC236}">
                  <a16:creationId xmlns:a16="http://schemas.microsoft.com/office/drawing/2014/main" id="{54A9DCE0-0A14-41F7-AC53-D5F49B793CF7}"/>
                </a:ext>
              </a:extLst>
            </p:cNvPr>
            <p:cNvGrpSpPr/>
            <p:nvPr/>
          </p:nvGrpSpPr>
          <p:grpSpPr>
            <a:xfrm>
              <a:off x="4048759" y="4250939"/>
              <a:ext cx="401322" cy="401322"/>
              <a:chOff x="4048759" y="4228862"/>
              <a:chExt cx="401322" cy="401322"/>
            </a:xfrm>
          </p:grpSpPr>
          <p:sp>
            <p:nvSpPr>
              <p:cNvPr id="225" name="Oval 224">
                <a:extLst>
                  <a:ext uri="{FF2B5EF4-FFF2-40B4-BE49-F238E27FC236}">
                    <a16:creationId xmlns:a16="http://schemas.microsoft.com/office/drawing/2014/main" id="{2ABA316F-9F5C-4CC5-A7E8-683DA7ED3E6F}"/>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26" name="Isosceles Triangle 225">
                <a:extLst>
                  <a:ext uri="{FF2B5EF4-FFF2-40B4-BE49-F238E27FC236}">
                    <a16:creationId xmlns:a16="http://schemas.microsoft.com/office/drawing/2014/main" id="{0D122F0A-9892-4F30-A886-1F62BCD2CFB7}"/>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3-year Win7 ESU Included</a:t>
            </a:r>
          </a:p>
        </p:txBody>
      </p:sp>
      <p:sp>
        <p:nvSpPr>
          <p:cNvPr id="1613" name="Rectangle 1612">
            <a:extLst>
              <a:ext uri="{FF2B5EF4-FFF2-40B4-BE49-F238E27FC236}">
                <a16:creationId xmlns:a16="http://schemas.microsoft.com/office/drawing/2014/main" id="{249173E8-A675-4095-8497-813BC4AE5CAA}"/>
              </a:ext>
            </a:extLst>
          </p:cNvPr>
          <p:cNvSpPr/>
          <p:nvPr/>
        </p:nvSpPr>
        <p:spPr>
          <a:xfrm>
            <a:off x="533943" y="114846"/>
            <a:ext cx="3109249" cy="369332"/>
          </a:xfrm>
          <a:prstGeom prst="rect">
            <a:avLst/>
          </a:prstGeom>
        </p:spPr>
        <p:txBody>
          <a:bodyPr wrap="none">
            <a:spAutoFit/>
          </a:bodyPr>
          <a:lstStyle/>
          <a:p>
            <a:r>
              <a:rPr lang="en-US" b="1" i="1" dirty="0"/>
              <a:t>Cost-advantaged licensing</a:t>
            </a:r>
          </a:p>
        </p:txBody>
      </p:sp>
      <p:sp>
        <p:nvSpPr>
          <p:cNvPr id="340" name="TextBox 339">
            <a:extLst>
              <a:ext uri="{FF2B5EF4-FFF2-40B4-BE49-F238E27FC236}">
                <a16:creationId xmlns:a16="http://schemas.microsoft.com/office/drawing/2014/main" id="{AC2D7A7A-80E0-43E9-A3C9-E95E00760CDA}"/>
              </a:ext>
            </a:extLst>
          </p:cNvPr>
          <p:cNvSpPr txBox="1"/>
          <p:nvPr/>
        </p:nvSpPr>
        <p:spPr>
          <a:xfrm>
            <a:off x="8302299" y="2416465"/>
            <a:ext cx="3307089" cy="34994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defTabSz="914400" fontAlgn="auto">
              <a:spcBef>
                <a:spcPts val="0"/>
              </a:spcBef>
              <a:spcAft>
                <a:spcPts val="0"/>
              </a:spcAft>
            </a:pPr>
            <a:r>
              <a:rPr lang="en-US" sz="1600" b="1" i="1" dirty="0">
                <a:solidFill>
                  <a:schemeClr val="tx2"/>
                </a:solidFill>
                <a:ea typeface="+mn-ea"/>
                <a:cs typeface="+mn-cs"/>
              </a:rPr>
              <a:t>$25-200 Savings</a:t>
            </a:r>
          </a:p>
          <a:p>
            <a:pPr lvl="0" algn="ctr" defTabSz="914400" fontAlgn="auto">
              <a:spcBef>
                <a:spcPts val="0"/>
              </a:spcBef>
              <a:spcAft>
                <a:spcPts val="0"/>
              </a:spcAft>
            </a:pPr>
            <a:r>
              <a:rPr lang="en-US" sz="1600" i="1" dirty="0">
                <a:solidFill>
                  <a:schemeClr val="tx2"/>
                </a:solidFill>
                <a:ea typeface="+mn-ea"/>
                <a:cs typeface="+mn-cs"/>
              </a:rPr>
              <a:t>Per device per year</a:t>
            </a:r>
          </a:p>
        </p:txBody>
      </p:sp>
      <p:sp>
        <p:nvSpPr>
          <p:cNvPr id="347" name="Arrow: Down 346">
            <a:extLst>
              <a:ext uri="{FF2B5EF4-FFF2-40B4-BE49-F238E27FC236}">
                <a16:creationId xmlns:a16="http://schemas.microsoft.com/office/drawing/2014/main" id="{B3FEFC1E-4E6A-4316-B88E-87391DE24DF2}"/>
              </a:ext>
            </a:extLst>
          </p:cNvPr>
          <p:cNvSpPr/>
          <p:nvPr/>
        </p:nvSpPr>
        <p:spPr bwMode="auto">
          <a:xfrm>
            <a:off x="2086501" y="3574677"/>
            <a:ext cx="437072" cy="316231"/>
          </a:xfrm>
          <a:prstGeom prst="downArrow">
            <a:avLst>
              <a:gd name="adj1" fmla="val 46356"/>
              <a:gd name="adj2" fmla="val 46246"/>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353" name="Picture 352">
            <a:extLst>
              <a:ext uri="{FF2B5EF4-FFF2-40B4-BE49-F238E27FC236}">
                <a16:creationId xmlns:a16="http://schemas.microsoft.com/office/drawing/2014/main" id="{36AC02D8-369A-42FB-B033-27A72D79A066}"/>
              </a:ext>
            </a:extLst>
          </p:cNvPr>
          <p:cNvPicPr>
            <a:picLocks noChangeAspect="1"/>
          </p:cNvPicPr>
          <p:nvPr/>
        </p:nvPicPr>
        <p:blipFill>
          <a:blip r:embed="rId8"/>
          <a:stretch>
            <a:fillRect/>
          </a:stretch>
        </p:blipFill>
        <p:spPr>
          <a:xfrm>
            <a:off x="1596865" y="3047998"/>
            <a:ext cx="1416344" cy="345228"/>
          </a:xfrm>
          <a:prstGeom prst="rect">
            <a:avLst/>
          </a:prstGeom>
        </p:spPr>
      </p:pic>
      <p:pic>
        <p:nvPicPr>
          <p:cNvPr id="362" name="Picture 361">
            <a:extLst>
              <a:ext uri="{FF2B5EF4-FFF2-40B4-BE49-F238E27FC236}">
                <a16:creationId xmlns:a16="http://schemas.microsoft.com/office/drawing/2014/main" id="{A108B516-45F2-4907-96B3-887BD121D942}"/>
              </a:ext>
            </a:extLst>
          </p:cNvPr>
          <p:cNvPicPr>
            <a:picLocks noChangeAspect="1"/>
          </p:cNvPicPr>
          <p:nvPr/>
        </p:nvPicPr>
        <p:blipFill>
          <a:blip r:embed="rId8"/>
          <a:stretch>
            <a:fillRect/>
          </a:stretch>
        </p:blipFill>
        <p:spPr>
          <a:xfrm>
            <a:off x="5485630" y="3047998"/>
            <a:ext cx="1416344" cy="345228"/>
          </a:xfrm>
          <a:prstGeom prst="rect">
            <a:avLst/>
          </a:prstGeom>
        </p:spPr>
      </p:pic>
      <p:sp>
        <p:nvSpPr>
          <p:cNvPr id="372" name="Rectangle 371">
            <a:extLst>
              <a:ext uri="{FF2B5EF4-FFF2-40B4-BE49-F238E27FC236}">
                <a16:creationId xmlns:a16="http://schemas.microsoft.com/office/drawing/2014/main" id="{6683C214-8106-475E-9DF4-975CA045F845}"/>
              </a:ext>
            </a:extLst>
          </p:cNvPr>
          <p:cNvSpPr/>
          <p:nvPr/>
        </p:nvSpPr>
        <p:spPr>
          <a:xfrm>
            <a:off x="861373" y="3969876"/>
            <a:ext cx="2887329" cy="276999"/>
          </a:xfrm>
          <a:prstGeom prst="rect">
            <a:avLst/>
          </a:prstGeom>
        </p:spPr>
        <p:txBody>
          <a:bodyPr wrap="none">
            <a:spAutoFit/>
          </a:bodyPr>
          <a:lstStyle/>
          <a:p>
            <a:r>
              <a:rPr lang="en-US" sz="1200" b="1" dirty="0">
                <a:solidFill>
                  <a:schemeClr val="tx2"/>
                </a:solidFill>
              </a:rPr>
              <a:t>Pricing for extended security updates</a:t>
            </a:r>
          </a:p>
        </p:txBody>
      </p:sp>
      <p:sp>
        <p:nvSpPr>
          <p:cNvPr id="376" name="Arrow: Down 375">
            <a:extLst>
              <a:ext uri="{FF2B5EF4-FFF2-40B4-BE49-F238E27FC236}">
                <a16:creationId xmlns:a16="http://schemas.microsoft.com/office/drawing/2014/main" id="{92B86267-EDB0-4691-B8C8-037B4EC7B27B}"/>
              </a:ext>
            </a:extLst>
          </p:cNvPr>
          <p:cNvSpPr/>
          <p:nvPr/>
        </p:nvSpPr>
        <p:spPr bwMode="auto">
          <a:xfrm>
            <a:off x="5975266" y="3620551"/>
            <a:ext cx="437072" cy="316231"/>
          </a:xfrm>
          <a:prstGeom prst="downArrow">
            <a:avLst>
              <a:gd name="adj1" fmla="val 46356"/>
              <a:gd name="adj2" fmla="val 46246"/>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Table 4">
            <a:extLst>
              <a:ext uri="{FF2B5EF4-FFF2-40B4-BE49-F238E27FC236}">
                <a16:creationId xmlns:a16="http://schemas.microsoft.com/office/drawing/2014/main" id="{D065283C-C703-4616-8FC3-7272BF9827C9}"/>
              </a:ext>
            </a:extLst>
          </p:cNvPr>
          <p:cNvGraphicFramePr>
            <a:graphicFrameLocks noGrp="1"/>
          </p:cNvGraphicFramePr>
          <p:nvPr/>
        </p:nvGraphicFramePr>
        <p:xfrm>
          <a:off x="748314" y="4321871"/>
          <a:ext cx="3113448" cy="1424442"/>
        </p:xfrm>
        <a:graphic>
          <a:graphicData uri="http://schemas.openxmlformats.org/drawingml/2006/table">
            <a:tbl>
              <a:tblPr firstRow="1">
                <a:tableStyleId>{073A0DAA-6AF3-43AB-8588-CEC1D06C72B9}</a:tableStyleId>
              </a:tblPr>
              <a:tblGrid>
                <a:gridCol w="1209908">
                  <a:extLst>
                    <a:ext uri="{9D8B030D-6E8A-4147-A177-3AD203B41FA5}">
                      <a16:colId xmlns:a16="http://schemas.microsoft.com/office/drawing/2014/main" val="2819463679"/>
                    </a:ext>
                  </a:extLst>
                </a:gridCol>
                <a:gridCol w="951770">
                  <a:extLst>
                    <a:ext uri="{9D8B030D-6E8A-4147-A177-3AD203B41FA5}">
                      <a16:colId xmlns:a16="http://schemas.microsoft.com/office/drawing/2014/main" val="3831150239"/>
                    </a:ext>
                  </a:extLst>
                </a:gridCol>
                <a:gridCol w="951770">
                  <a:extLst>
                    <a:ext uri="{9D8B030D-6E8A-4147-A177-3AD203B41FA5}">
                      <a16:colId xmlns:a16="http://schemas.microsoft.com/office/drawing/2014/main" val="818994176"/>
                    </a:ext>
                  </a:extLst>
                </a:gridCol>
              </a:tblGrid>
              <a:tr h="323601">
                <a:tc rowSpan="2">
                  <a:txBody>
                    <a:bodyPr/>
                    <a:lstStyle/>
                    <a:p>
                      <a:pPr algn="ctr"/>
                      <a:r>
                        <a:rPr lang="en-US" sz="1200" b="1" dirty="0">
                          <a:solidFill>
                            <a:schemeClr val="bg1"/>
                          </a:solidFill>
                          <a:latin typeface="+mn-lt"/>
                        </a:rPr>
                        <a:t>Year</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gridSpan="2">
                  <a:txBody>
                    <a:bodyPr/>
                    <a:lstStyle/>
                    <a:p>
                      <a:pPr algn="ctr"/>
                      <a:r>
                        <a:rPr lang="en-US" sz="1200" b="1" dirty="0">
                          <a:solidFill>
                            <a:schemeClr val="bg1"/>
                          </a:solidFill>
                          <a:latin typeface="+mn-lt"/>
                        </a:rPr>
                        <a:t>ESU Cost (/</a:t>
                      </a:r>
                      <a:r>
                        <a:rPr lang="zh-CN" altLang="en-US" sz="1200" b="1" dirty="0">
                          <a:solidFill>
                            <a:schemeClr val="bg1"/>
                          </a:solidFill>
                          <a:latin typeface="+mn-lt"/>
                        </a:rPr>
                        <a:t> </a:t>
                      </a:r>
                      <a:r>
                        <a:rPr lang="en-US" altLang="zh-CN" sz="1200" b="1" dirty="0">
                          <a:solidFill>
                            <a:schemeClr val="bg1"/>
                          </a:solidFill>
                          <a:latin typeface="+mn-lt"/>
                        </a:rPr>
                        <a:t>device)</a:t>
                      </a:r>
                      <a:endParaRPr lang="en-US" sz="1200" b="1" dirty="0">
                        <a:solidFill>
                          <a:schemeClr val="bg1"/>
                        </a:solidFill>
                        <a:latin typeface="+mn-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extLst>
                  <a:ext uri="{0D108BD9-81ED-4DB2-BD59-A6C34878D82A}">
                    <a16:rowId xmlns:a16="http://schemas.microsoft.com/office/drawing/2014/main" val="2285203000"/>
                  </a:ext>
                </a:extLst>
              </a:tr>
              <a:tr h="323601">
                <a:tc vMerge="1">
                  <a:txBody>
                    <a:bodyPr/>
                    <a:lstStyle/>
                    <a:p>
                      <a:pPr algn="ctr"/>
                      <a:endParaRPr lang="en-US" sz="1200" b="1" dirty="0">
                        <a:solidFill>
                          <a:schemeClr val="bg1"/>
                        </a:solidFill>
                        <a:latin typeface="+mn-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a:txBody>
                    <a:bodyPr/>
                    <a:lstStyle/>
                    <a:p>
                      <a:pPr algn="ctr"/>
                      <a:r>
                        <a:rPr lang="en-US" sz="1050" b="1" dirty="0">
                          <a:solidFill>
                            <a:schemeClr val="bg1"/>
                          </a:solidFill>
                          <a:latin typeface="+mn-lt"/>
                        </a:rPr>
                        <a:t>Enterprise</a:t>
                      </a:r>
                    </a:p>
                  </a:txBody>
                  <a:tcPr anchor="ctr">
                    <a:lnL w="63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a:txBody>
                    <a:bodyPr/>
                    <a:lstStyle/>
                    <a:p>
                      <a:pPr algn="ctr"/>
                      <a:r>
                        <a:rPr lang="en-US" sz="1050" b="1" dirty="0">
                          <a:solidFill>
                            <a:schemeClr val="bg1"/>
                          </a:solidFill>
                          <a:latin typeface="+mn-lt"/>
                        </a:rPr>
                        <a:t>Pro</a:t>
                      </a:r>
                      <a:endParaRPr lang="en-US" sz="1200" b="1" dirty="0">
                        <a:solidFill>
                          <a:schemeClr val="bg1"/>
                        </a:solidFill>
                        <a:latin typeface="+mn-lt"/>
                      </a:endParaRPr>
                    </a:p>
                  </a:txBody>
                  <a:tcPr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1656412863"/>
                  </a:ext>
                </a:extLst>
              </a:tr>
              <a:tr h="192830">
                <a:tc>
                  <a:txBody>
                    <a:bodyPr/>
                    <a:lstStyle/>
                    <a:p>
                      <a:pPr algn="ctr"/>
                      <a:r>
                        <a:rPr lang="en-US" sz="1100" dirty="0">
                          <a:solidFill>
                            <a:schemeClr val="tx1"/>
                          </a:solidFill>
                        </a:rPr>
                        <a:t>2020</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25</a:t>
                      </a:r>
                    </a:p>
                  </a:txBody>
                  <a:tcPr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50</a:t>
                      </a:r>
                    </a:p>
                  </a:txBody>
                  <a:tcPr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6033986"/>
                  </a:ext>
                </a:extLst>
              </a:tr>
              <a:tr h="192830">
                <a:tc>
                  <a:txBody>
                    <a:bodyPr/>
                    <a:lstStyle/>
                    <a:p>
                      <a:pPr algn="ctr"/>
                      <a:r>
                        <a:rPr lang="en-US" sz="1100" dirty="0">
                          <a:solidFill>
                            <a:schemeClr val="tx1"/>
                          </a:solidFill>
                        </a:rPr>
                        <a:t>2021</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50</a:t>
                      </a:r>
                    </a:p>
                  </a:txBody>
                  <a:tcPr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100</a:t>
                      </a:r>
                    </a:p>
                  </a:txBody>
                  <a:tcPr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81947142"/>
                  </a:ext>
                </a:extLst>
              </a:tr>
              <a:tr h="192830">
                <a:tc>
                  <a:txBody>
                    <a:bodyPr/>
                    <a:lstStyle/>
                    <a:p>
                      <a:pPr algn="ctr"/>
                      <a:r>
                        <a:rPr lang="en-US" sz="1100" dirty="0">
                          <a:solidFill>
                            <a:schemeClr val="tx1"/>
                          </a:solidFill>
                        </a:rPr>
                        <a:t>2022</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100" dirty="0">
                          <a:solidFill>
                            <a:schemeClr val="tx1"/>
                          </a:solidFill>
                        </a:rPr>
                        <a:t>$100</a:t>
                      </a:r>
                    </a:p>
                  </a:txBody>
                  <a:tcPr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100" dirty="0">
                          <a:solidFill>
                            <a:schemeClr val="tx1"/>
                          </a:solidFill>
                        </a:rPr>
                        <a:t>$200</a:t>
                      </a:r>
                    </a:p>
                  </a:txBody>
                  <a:tcPr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925804410"/>
                  </a:ext>
                </a:extLst>
              </a:tr>
            </a:tbl>
          </a:graphicData>
        </a:graphic>
      </p:graphicFrame>
      <p:graphicFrame>
        <p:nvGraphicFramePr>
          <p:cNvPr id="199" name="Table 198">
            <a:extLst>
              <a:ext uri="{FF2B5EF4-FFF2-40B4-BE49-F238E27FC236}">
                <a16:creationId xmlns:a16="http://schemas.microsoft.com/office/drawing/2014/main" id="{DA24D4AA-BDE4-4347-A1EC-9A418792BFC8}"/>
              </a:ext>
            </a:extLst>
          </p:cNvPr>
          <p:cNvGraphicFramePr>
            <a:graphicFrameLocks noGrp="1"/>
          </p:cNvGraphicFramePr>
          <p:nvPr/>
        </p:nvGraphicFramePr>
        <p:xfrm>
          <a:off x="4637078" y="4321871"/>
          <a:ext cx="3113448" cy="1424442"/>
        </p:xfrm>
        <a:graphic>
          <a:graphicData uri="http://schemas.openxmlformats.org/drawingml/2006/table">
            <a:tbl>
              <a:tblPr firstRow="1">
                <a:tableStyleId>{073A0DAA-6AF3-43AB-8588-CEC1D06C72B9}</a:tableStyleId>
              </a:tblPr>
              <a:tblGrid>
                <a:gridCol w="1209908">
                  <a:extLst>
                    <a:ext uri="{9D8B030D-6E8A-4147-A177-3AD203B41FA5}">
                      <a16:colId xmlns:a16="http://schemas.microsoft.com/office/drawing/2014/main" val="2819463679"/>
                    </a:ext>
                  </a:extLst>
                </a:gridCol>
                <a:gridCol w="951770">
                  <a:extLst>
                    <a:ext uri="{9D8B030D-6E8A-4147-A177-3AD203B41FA5}">
                      <a16:colId xmlns:a16="http://schemas.microsoft.com/office/drawing/2014/main" val="3831150239"/>
                    </a:ext>
                  </a:extLst>
                </a:gridCol>
                <a:gridCol w="951770">
                  <a:extLst>
                    <a:ext uri="{9D8B030D-6E8A-4147-A177-3AD203B41FA5}">
                      <a16:colId xmlns:a16="http://schemas.microsoft.com/office/drawing/2014/main" val="818994176"/>
                    </a:ext>
                  </a:extLst>
                </a:gridCol>
              </a:tblGrid>
              <a:tr h="323601">
                <a:tc rowSpan="2">
                  <a:txBody>
                    <a:bodyPr/>
                    <a:lstStyle/>
                    <a:p>
                      <a:pPr algn="ctr"/>
                      <a:r>
                        <a:rPr lang="en-US" sz="1200" b="1" dirty="0">
                          <a:solidFill>
                            <a:schemeClr val="bg1"/>
                          </a:solidFill>
                          <a:latin typeface="+mn-lt"/>
                        </a:rPr>
                        <a:t>Year</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gridSpan="2">
                  <a:txBody>
                    <a:bodyPr/>
                    <a:lstStyle/>
                    <a:p>
                      <a:pPr algn="ctr"/>
                      <a:r>
                        <a:rPr lang="en-US" sz="1200" b="1" dirty="0">
                          <a:solidFill>
                            <a:schemeClr val="bg1"/>
                          </a:solidFill>
                          <a:latin typeface="+mn-lt"/>
                        </a:rPr>
                        <a:t>ESU Cost (/</a:t>
                      </a:r>
                      <a:r>
                        <a:rPr lang="zh-CN" altLang="en-US" sz="1200" b="1" dirty="0">
                          <a:solidFill>
                            <a:schemeClr val="bg1"/>
                          </a:solidFill>
                          <a:latin typeface="+mn-lt"/>
                        </a:rPr>
                        <a:t> </a:t>
                      </a:r>
                      <a:r>
                        <a:rPr lang="en-US" altLang="zh-CN" sz="1200" b="1" dirty="0">
                          <a:solidFill>
                            <a:schemeClr val="bg1"/>
                          </a:solidFill>
                          <a:latin typeface="+mn-lt"/>
                        </a:rPr>
                        <a:t>device)</a:t>
                      </a:r>
                      <a:endParaRPr lang="en-US" sz="1200" b="1" dirty="0">
                        <a:solidFill>
                          <a:schemeClr val="bg1"/>
                        </a:solidFill>
                        <a:latin typeface="+mn-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extLst>
                  <a:ext uri="{0D108BD9-81ED-4DB2-BD59-A6C34878D82A}">
                    <a16:rowId xmlns:a16="http://schemas.microsoft.com/office/drawing/2014/main" val="2285203000"/>
                  </a:ext>
                </a:extLst>
              </a:tr>
              <a:tr h="323601">
                <a:tc vMerge="1">
                  <a:txBody>
                    <a:bodyPr/>
                    <a:lstStyle/>
                    <a:p>
                      <a:pPr algn="ctr"/>
                      <a:endParaRPr lang="en-US" sz="1200" b="1" dirty="0">
                        <a:solidFill>
                          <a:schemeClr val="bg1"/>
                        </a:solidFill>
                        <a:latin typeface="+mn-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a:txBody>
                    <a:bodyPr/>
                    <a:lstStyle/>
                    <a:p>
                      <a:pPr algn="ctr"/>
                      <a:r>
                        <a:rPr lang="en-US" sz="1050" b="1" dirty="0">
                          <a:solidFill>
                            <a:schemeClr val="bg1"/>
                          </a:solidFill>
                          <a:latin typeface="+mn-lt"/>
                        </a:rPr>
                        <a:t>Enterprise</a:t>
                      </a:r>
                    </a:p>
                  </a:txBody>
                  <a:tcPr anchor="ctr">
                    <a:lnL w="63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a:txBody>
                    <a:bodyPr/>
                    <a:lstStyle/>
                    <a:p>
                      <a:pPr algn="ctr"/>
                      <a:r>
                        <a:rPr lang="en-US" sz="1050" b="1" dirty="0">
                          <a:solidFill>
                            <a:schemeClr val="bg1"/>
                          </a:solidFill>
                          <a:latin typeface="+mn-lt"/>
                        </a:rPr>
                        <a:t>Pro</a:t>
                      </a:r>
                      <a:endParaRPr lang="en-US" sz="1200" b="1" dirty="0">
                        <a:solidFill>
                          <a:schemeClr val="bg1"/>
                        </a:solidFill>
                        <a:latin typeface="+mn-lt"/>
                      </a:endParaRPr>
                    </a:p>
                  </a:txBody>
                  <a:tcPr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1656412863"/>
                  </a:ext>
                </a:extLst>
              </a:tr>
              <a:tr h="192830">
                <a:tc>
                  <a:txBody>
                    <a:bodyPr/>
                    <a:lstStyle/>
                    <a:p>
                      <a:pPr algn="ctr"/>
                      <a:r>
                        <a:rPr lang="en-US" sz="1100" dirty="0">
                          <a:solidFill>
                            <a:schemeClr val="tx1"/>
                          </a:solidFill>
                        </a:rPr>
                        <a:t>2020</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25</a:t>
                      </a:r>
                    </a:p>
                  </a:txBody>
                  <a:tcPr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50</a:t>
                      </a:r>
                    </a:p>
                  </a:txBody>
                  <a:tcPr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6033986"/>
                  </a:ext>
                </a:extLst>
              </a:tr>
              <a:tr h="192830">
                <a:tc>
                  <a:txBody>
                    <a:bodyPr/>
                    <a:lstStyle/>
                    <a:p>
                      <a:pPr algn="ctr"/>
                      <a:r>
                        <a:rPr lang="en-US" sz="1100" dirty="0">
                          <a:solidFill>
                            <a:schemeClr val="tx1"/>
                          </a:solidFill>
                        </a:rPr>
                        <a:t>2021</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50</a:t>
                      </a:r>
                    </a:p>
                  </a:txBody>
                  <a:tcPr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100</a:t>
                      </a:r>
                    </a:p>
                  </a:txBody>
                  <a:tcPr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81947142"/>
                  </a:ext>
                </a:extLst>
              </a:tr>
              <a:tr h="192830">
                <a:tc>
                  <a:txBody>
                    <a:bodyPr/>
                    <a:lstStyle/>
                    <a:p>
                      <a:pPr algn="ctr"/>
                      <a:r>
                        <a:rPr lang="en-US" sz="1100" dirty="0">
                          <a:solidFill>
                            <a:schemeClr val="tx1"/>
                          </a:solidFill>
                        </a:rPr>
                        <a:t>2022</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100" dirty="0">
                          <a:solidFill>
                            <a:schemeClr val="tx1"/>
                          </a:solidFill>
                        </a:rPr>
                        <a:t>$100</a:t>
                      </a:r>
                    </a:p>
                  </a:txBody>
                  <a:tcPr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100" dirty="0">
                          <a:solidFill>
                            <a:schemeClr val="tx1"/>
                          </a:solidFill>
                        </a:rPr>
                        <a:t>$200</a:t>
                      </a:r>
                    </a:p>
                  </a:txBody>
                  <a:tcPr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925804410"/>
                  </a:ext>
                </a:extLst>
              </a:tr>
            </a:tbl>
          </a:graphicData>
        </a:graphic>
      </p:graphicFrame>
      <p:sp>
        <p:nvSpPr>
          <p:cNvPr id="202" name="Graphic 50">
            <a:extLst>
              <a:ext uri="{FF2B5EF4-FFF2-40B4-BE49-F238E27FC236}">
                <a16:creationId xmlns:a16="http://schemas.microsoft.com/office/drawing/2014/main" id="{113CFC5A-B104-4760-8D80-DAC808A46180}"/>
              </a:ext>
            </a:extLst>
          </p:cNvPr>
          <p:cNvSpPr/>
          <p:nvPr/>
        </p:nvSpPr>
        <p:spPr>
          <a:xfrm>
            <a:off x="4999263" y="4029741"/>
            <a:ext cx="2312130" cy="2081643"/>
          </a:xfrm>
          <a:prstGeom prst="mathMultiply">
            <a:avLst>
              <a:gd name="adj1" fmla="val 6238"/>
            </a:avLst>
          </a:prstGeom>
          <a:solidFill>
            <a:srgbClr val="FF0000"/>
          </a:solidFill>
          <a:ln w="29766" cap="flat">
            <a:noFill/>
            <a:prstDash val="solid"/>
            <a:miter/>
          </a:ln>
        </p:spPr>
        <p:txBody>
          <a:bodyPr rtlCol="0" anchor="ctr"/>
          <a:lstStyle/>
          <a:p>
            <a:endParaRPr lang="en-US" dirty="0"/>
          </a:p>
        </p:txBody>
      </p:sp>
      <p:sp>
        <p:nvSpPr>
          <p:cNvPr id="200" name="Freeform: Shape 199">
            <a:extLst>
              <a:ext uri="{FF2B5EF4-FFF2-40B4-BE49-F238E27FC236}">
                <a16:creationId xmlns:a16="http://schemas.microsoft.com/office/drawing/2014/main" id="{7CF25DEB-EFF1-41E9-BEB5-268E49AE8654}"/>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Windows 7 on-prem to Windows 7 in WVD</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With WVD, 3-year Extended Security Update is included for Windows 7 VMs running on Azure*</a:t>
            </a:r>
          </a:p>
        </p:txBody>
      </p:sp>
      <p:grpSp>
        <p:nvGrpSpPr>
          <p:cNvPr id="201" name="Group 200">
            <a:extLst>
              <a:ext uri="{FF2B5EF4-FFF2-40B4-BE49-F238E27FC236}">
                <a16:creationId xmlns:a16="http://schemas.microsoft.com/office/drawing/2014/main" id="{0498A27C-3375-410A-93B9-01AAF88309DC}"/>
              </a:ext>
            </a:extLst>
          </p:cNvPr>
          <p:cNvGrpSpPr>
            <a:grpSpLocks noChangeAspect="1"/>
          </p:cNvGrpSpPr>
          <p:nvPr/>
        </p:nvGrpSpPr>
        <p:grpSpPr>
          <a:xfrm>
            <a:off x="10777886" y="1372927"/>
            <a:ext cx="806355" cy="914400"/>
            <a:chOff x="797126" y="3893732"/>
            <a:chExt cx="1125722" cy="1276864"/>
          </a:xfrm>
        </p:grpSpPr>
        <p:sp>
          <p:nvSpPr>
            <p:cNvPr id="203" name="Freeform 403">
              <a:extLst>
                <a:ext uri="{FF2B5EF4-FFF2-40B4-BE49-F238E27FC236}">
                  <a16:creationId xmlns:a16="http://schemas.microsoft.com/office/drawing/2014/main" id="{6D753840-ADF9-45A6-83BD-7AB56F315B8C}"/>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204" name="Freeform: Shape 203">
              <a:extLst>
                <a:ext uri="{FF2B5EF4-FFF2-40B4-BE49-F238E27FC236}">
                  <a16:creationId xmlns:a16="http://schemas.microsoft.com/office/drawing/2014/main" id="{8B0685DE-DACE-4A1B-A773-2470D19957E4}"/>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205" name="Group 204">
              <a:extLst>
                <a:ext uri="{FF2B5EF4-FFF2-40B4-BE49-F238E27FC236}">
                  <a16:creationId xmlns:a16="http://schemas.microsoft.com/office/drawing/2014/main" id="{F0B566E9-3797-476D-9FAE-752CE528E879}"/>
                </a:ext>
              </a:extLst>
            </p:cNvPr>
            <p:cNvGrpSpPr/>
            <p:nvPr/>
          </p:nvGrpSpPr>
          <p:grpSpPr>
            <a:xfrm>
              <a:off x="971699" y="4043345"/>
              <a:ext cx="773592" cy="920012"/>
              <a:chOff x="993458" y="3447450"/>
              <a:chExt cx="682781" cy="812014"/>
            </a:xfrm>
          </p:grpSpPr>
          <p:grpSp>
            <p:nvGrpSpPr>
              <p:cNvPr id="206" name="Group 205">
                <a:extLst>
                  <a:ext uri="{FF2B5EF4-FFF2-40B4-BE49-F238E27FC236}">
                    <a16:creationId xmlns:a16="http://schemas.microsoft.com/office/drawing/2014/main" id="{80168D60-2A7D-4947-A239-7782304E70BC}"/>
                  </a:ext>
                </a:extLst>
              </p:cNvPr>
              <p:cNvGrpSpPr/>
              <p:nvPr/>
            </p:nvGrpSpPr>
            <p:grpSpPr>
              <a:xfrm>
                <a:off x="993458" y="3447450"/>
                <a:ext cx="576652" cy="812014"/>
                <a:chOff x="499414" y="1517311"/>
                <a:chExt cx="3686809" cy="5340604"/>
              </a:xfrm>
            </p:grpSpPr>
            <p:sp>
              <p:nvSpPr>
                <p:cNvPr id="314" name="Rectangle 313">
                  <a:extLst>
                    <a:ext uri="{FF2B5EF4-FFF2-40B4-BE49-F238E27FC236}">
                      <a16:creationId xmlns:a16="http://schemas.microsoft.com/office/drawing/2014/main" id="{2E040069-D6D8-411F-B755-665842C33729}"/>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315" name="Group 314">
                  <a:extLst>
                    <a:ext uri="{FF2B5EF4-FFF2-40B4-BE49-F238E27FC236}">
                      <a16:creationId xmlns:a16="http://schemas.microsoft.com/office/drawing/2014/main" id="{2C3C763C-BB59-41F2-9057-794D11408893}"/>
                    </a:ext>
                  </a:extLst>
                </p:cNvPr>
                <p:cNvGrpSpPr/>
                <p:nvPr/>
              </p:nvGrpSpPr>
              <p:grpSpPr>
                <a:xfrm rot="20371446">
                  <a:off x="2524661" y="2299216"/>
                  <a:ext cx="859576" cy="554927"/>
                  <a:chOff x="4775201" y="792163"/>
                  <a:chExt cx="2024063" cy="1306513"/>
                </a:xfrm>
              </p:grpSpPr>
              <p:sp>
                <p:nvSpPr>
                  <p:cNvPr id="549" name="Freeform 354">
                    <a:extLst>
                      <a:ext uri="{FF2B5EF4-FFF2-40B4-BE49-F238E27FC236}">
                        <a16:creationId xmlns:a16="http://schemas.microsoft.com/office/drawing/2014/main" id="{B894D106-8D43-463A-A4A2-F3E609CF67C1}"/>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0" name="Rectangle 549">
                    <a:extLst>
                      <a:ext uri="{FF2B5EF4-FFF2-40B4-BE49-F238E27FC236}">
                        <a16:creationId xmlns:a16="http://schemas.microsoft.com/office/drawing/2014/main" id="{3506B0D3-9C9C-4D6B-A3E9-C16546CA528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1" name="Freeform 356">
                    <a:extLst>
                      <a:ext uri="{FF2B5EF4-FFF2-40B4-BE49-F238E27FC236}">
                        <a16:creationId xmlns:a16="http://schemas.microsoft.com/office/drawing/2014/main" id="{DD375F99-262A-4198-86F8-017FA2BA1B5E}"/>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2" name="Freeform 357">
                    <a:extLst>
                      <a:ext uri="{FF2B5EF4-FFF2-40B4-BE49-F238E27FC236}">
                        <a16:creationId xmlns:a16="http://schemas.microsoft.com/office/drawing/2014/main" id="{8B1A5D37-0F62-422B-A82F-E277CDB19856}"/>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4" name="Freeform 358">
                    <a:extLst>
                      <a:ext uri="{FF2B5EF4-FFF2-40B4-BE49-F238E27FC236}">
                        <a16:creationId xmlns:a16="http://schemas.microsoft.com/office/drawing/2014/main" id="{46D3B5AD-AC17-4CF9-BD46-4401804858BB}"/>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5" name="Rectangle 554">
                    <a:extLst>
                      <a:ext uri="{FF2B5EF4-FFF2-40B4-BE49-F238E27FC236}">
                        <a16:creationId xmlns:a16="http://schemas.microsoft.com/office/drawing/2014/main" id="{DB5617E3-BDC8-42EE-95B0-A8820006EDFE}"/>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6" name="Freeform 360">
                    <a:extLst>
                      <a:ext uri="{FF2B5EF4-FFF2-40B4-BE49-F238E27FC236}">
                        <a16:creationId xmlns:a16="http://schemas.microsoft.com/office/drawing/2014/main" id="{9B669F46-7284-4936-9BCE-45AFCC8CCB13}"/>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7" name="Rectangle 556">
                    <a:extLst>
                      <a:ext uri="{FF2B5EF4-FFF2-40B4-BE49-F238E27FC236}">
                        <a16:creationId xmlns:a16="http://schemas.microsoft.com/office/drawing/2014/main" id="{7C5E43EE-A263-4E09-AA07-6BC8897C858E}"/>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8" name="Rectangle 557">
                    <a:extLst>
                      <a:ext uri="{FF2B5EF4-FFF2-40B4-BE49-F238E27FC236}">
                        <a16:creationId xmlns:a16="http://schemas.microsoft.com/office/drawing/2014/main" id="{F4539E21-3991-47F6-9E03-E215F8A603B8}"/>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9" name="Rectangle 558">
                    <a:extLst>
                      <a:ext uri="{FF2B5EF4-FFF2-40B4-BE49-F238E27FC236}">
                        <a16:creationId xmlns:a16="http://schemas.microsoft.com/office/drawing/2014/main" id="{83A7CC0A-F0E1-4844-B77F-139710B87D78}"/>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0" name="Rectangle 559">
                    <a:extLst>
                      <a:ext uri="{FF2B5EF4-FFF2-40B4-BE49-F238E27FC236}">
                        <a16:creationId xmlns:a16="http://schemas.microsoft.com/office/drawing/2014/main" id="{BA7EDA62-CA4F-4BDF-823B-1B4A198805B7}"/>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1" name="Rectangle 560">
                    <a:extLst>
                      <a:ext uri="{FF2B5EF4-FFF2-40B4-BE49-F238E27FC236}">
                        <a16:creationId xmlns:a16="http://schemas.microsoft.com/office/drawing/2014/main" id="{AA7AD965-196F-4B78-BEFC-F86C66EABD4E}"/>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316" name="Group 315">
                  <a:extLst>
                    <a:ext uri="{FF2B5EF4-FFF2-40B4-BE49-F238E27FC236}">
                      <a16:creationId xmlns:a16="http://schemas.microsoft.com/office/drawing/2014/main" id="{1C512FEB-FED7-47A0-A910-D979746DFFD9}"/>
                    </a:ext>
                  </a:extLst>
                </p:cNvPr>
                <p:cNvGrpSpPr/>
                <p:nvPr/>
              </p:nvGrpSpPr>
              <p:grpSpPr>
                <a:xfrm>
                  <a:off x="1190120" y="2235988"/>
                  <a:ext cx="983059" cy="983198"/>
                  <a:chOff x="5413781" y="5749281"/>
                  <a:chExt cx="652036" cy="652036"/>
                </a:xfrm>
              </p:grpSpPr>
              <p:sp>
                <p:nvSpPr>
                  <p:cNvPr id="547" name="Oval 546">
                    <a:extLst>
                      <a:ext uri="{FF2B5EF4-FFF2-40B4-BE49-F238E27FC236}">
                        <a16:creationId xmlns:a16="http://schemas.microsoft.com/office/drawing/2014/main" id="{9F81071A-54C2-4B08-B5AF-44ABDCABB499}"/>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548" name="Freeform 353">
                    <a:extLst>
                      <a:ext uri="{FF2B5EF4-FFF2-40B4-BE49-F238E27FC236}">
                        <a16:creationId xmlns:a16="http://schemas.microsoft.com/office/drawing/2014/main" id="{0539AA0F-E1C0-41D6-A8D5-92B35FAC9FE8}"/>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17" name="Group 316">
                  <a:extLst>
                    <a:ext uri="{FF2B5EF4-FFF2-40B4-BE49-F238E27FC236}">
                      <a16:creationId xmlns:a16="http://schemas.microsoft.com/office/drawing/2014/main" id="{F8BEE13E-07B8-4945-814E-03F0B41369BF}"/>
                    </a:ext>
                  </a:extLst>
                </p:cNvPr>
                <p:cNvGrpSpPr>
                  <a:grpSpLocks noChangeAspect="1"/>
                </p:cNvGrpSpPr>
                <p:nvPr/>
              </p:nvGrpSpPr>
              <p:grpSpPr bwMode="auto">
                <a:xfrm rot="1800000">
                  <a:off x="3563928" y="2295726"/>
                  <a:ext cx="622295" cy="847393"/>
                  <a:chOff x="6652" y="1661"/>
                  <a:chExt cx="260" cy="354"/>
                </a:xfrm>
              </p:grpSpPr>
              <p:sp>
                <p:nvSpPr>
                  <p:cNvPr id="368" name="AutoShape 138">
                    <a:extLst>
                      <a:ext uri="{FF2B5EF4-FFF2-40B4-BE49-F238E27FC236}">
                        <a16:creationId xmlns:a16="http://schemas.microsoft.com/office/drawing/2014/main" id="{D6320DA1-FFB6-4472-B7E5-CDFFC607F14A}"/>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369" name="Freeform 349">
                    <a:extLst>
                      <a:ext uri="{FF2B5EF4-FFF2-40B4-BE49-F238E27FC236}">
                        <a16:creationId xmlns:a16="http://schemas.microsoft.com/office/drawing/2014/main" id="{53488468-BD99-47F3-9D11-E9FBF796B38A}"/>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370" name="Rectangle 369">
                    <a:extLst>
                      <a:ext uri="{FF2B5EF4-FFF2-40B4-BE49-F238E27FC236}">
                        <a16:creationId xmlns:a16="http://schemas.microsoft.com/office/drawing/2014/main" id="{33B4A40A-CB75-4F9B-9A06-EF2856DE80D5}"/>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sp>
                <p:nvSpPr>
                  <p:cNvPr id="371" name="Freeform 351">
                    <a:extLst>
                      <a:ext uri="{FF2B5EF4-FFF2-40B4-BE49-F238E27FC236}">
                        <a16:creationId xmlns:a16="http://schemas.microsoft.com/office/drawing/2014/main" id="{3AAEBFAE-55F7-4EF1-86C2-20DDBDE5DDA1}"/>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ea typeface="+mn-ea"/>
                      <a:cs typeface="+mn-cs"/>
                    </a:endParaRPr>
                  </a:p>
                </p:txBody>
              </p:sp>
            </p:grpSp>
            <p:grpSp>
              <p:nvGrpSpPr>
                <p:cNvPr id="318" name="Group 317">
                  <a:extLst>
                    <a:ext uri="{FF2B5EF4-FFF2-40B4-BE49-F238E27FC236}">
                      <a16:creationId xmlns:a16="http://schemas.microsoft.com/office/drawing/2014/main" id="{A7946FD5-18A8-453C-A969-970465B6D5AF}"/>
                    </a:ext>
                  </a:extLst>
                </p:cNvPr>
                <p:cNvGrpSpPr/>
                <p:nvPr/>
              </p:nvGrpSpPr>
              <p:grpSpPr>
                <a:xfrm flipH="1">
                  <a:off x="499414" y="3565526"/>
                  <a:ext cx="1323206" cy="3292389"/>
                  <a:chOff x="8371759" y="2973033"/>
                  <a:chExt cx="1482609" cy="3688507"/>
                </a:xfrm>
              </p:grpSpPr>
              <p:sp>
                <p:nvSpPr>
                  <p:cNvPr id="329" name="Freeform 314">
                    <a:extLst>
                      <a:ext uri="{FF2B5EF4-FFF2-40B4-BE49-F238E27FC236}">
                        <a16:creationId xmlns:a16="http://schemas.microsoft.com/office/drawing/2014/main" id="{5A9B2F5F-0326-4843-BDAB-93F5DA96E098}"/>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30" name="Freeform 315">
                    <a:extLst>
                      <a:ext uri="{FF2B5EF4-FFF2-40B4-BE49-F238E27FC236}">
                        <a16:creationId xmlns:a16="http://schemas.microsoft.com/office/drawing/2014/main" id="{45EF2085-D864-4271-BC6C-44DAB8407EA6}"/>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31" name="Freeform 316">
                    <a:extLst>
                      <a:ext uri="{FF2B5EF4-FFF2-40B4-BE49-F238E27FC236}">
                        <a16:creationId xmlns:a16="http://schemas.microsoft.com/office/drawing/2014/main" id="{CBCCC875-67CA-4104-ACC0-6D4AE525725D}"/>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32" name="Rectangle 331">
                    <a:extLst>
                      <a:ext uri="{FF2B5EF4-FFF2-40B4-BE49-F238E27FC236}">
                        <a16:creationId xmlns:a16="http://schemas.microsoft.com/office/drawing/2014/main" id="{1A2767D0-C9CB-4B0B-A1E4-4FD626C33222}"/>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33" name="Rectangle 332">
                    <a:extLst>
                      <a:ext uri="{FF2B5EF4-FFF2-40B4-BE49-F238E27FC236}">
                        <a16:creationId xmlns:a16="http://schemas.microsoft.com/office/drawing/2014/main" id="{8D374D7E-F7F6-4160-BDA9-39750EB41F31}"/>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34" name="Rectangle 333">
                    <a:extLst>
                      <a:ext uri="{FF2B5EF4-FFF2-40B4-BE49-F238E27FC236}">
                        <a16:creationId xmlns:a16="http://schemas.microsoft.com/office/drawing/2014/main" id="{11F07C94-DE51-4636-83E8-67372A6EC572}"/>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35" name="Rectangle 334">
                    <a:extLst>
                      <a:ext uri="{FF2B5EF4-FFF2-40B4-BE49-F238E27FC236}">
                        <a16:creationId xmlns:a16="http://schemas.microsoft.com/office/drawing/2014/main" id="{56E7D2A0-56C4-4B00-B1B3-246D3AE7A05C}"/>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36" name="Freeform 321">
                    <a:extLst>
                      <a:ext uri="{FF2B5EF4-FFF2-40B4-BE49-F238E27FC236}">
                        <a16:creationId xmlns:a16="http://schemas.microsoft.com/office/drawing/2014/main" id="{6F918DC0-AD35-4954-9335-FFDEB085A8D4}"/>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37" name="Rectangle 336">
                    <a:extLst>
                      <a:ext uri="{FF2B5EF4-FFF2-40B4-BE49-F238E27FC236}">
                        <a16:creationId xmlns:a16="http://schemas.microsoft.com/office/drawing/2014/main" id="{FA7A664E-33B3-4742-8B93-9DC94045AEB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39" name="Rectangle 338">
                    <a:extLst>
                      <a:ext uri="{FF2B5EF4-FFF2-40B4-BE49-F238E27FC236}">
                        <a16:creationId xmlns:a16="http://schemas.microsoft.com/office/drawing/2014/main" id="{BD2DA79B-9552-407B-A4DF-AC301505BFE9}"/>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41" name="Freeform 324">
                    <a:extLst>
                      <a:ext uri="{FF2B5EF4-FFF2-40B4-BE49-F238E27FC236}">
                        <a16:creationId xmlns:a16="http://schemas.microsoft.com/office/drawing/2014/main" id="{8DABF86A-E1C3-4B83-8A59-602133DCCCB3}"/>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42" name="Freeform 325">
                    <a:extLst>
                      <a:ext uri="{FF2B5EF4-FFF2-40B4-BE49-F238E27FC236}">
                        <a16:creationId xmlns:a16="http://schemas.microsoft.com/office/drawing/2014/main" id="{B57D3F7B-1D94-4B32-8929-F95479FEB0A4}"/>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43" name="Freeform 326">
                    <a:extLst>
                      <a:ext uri="{FF2B5EF4-FFF2-40B4-BE49-F238E27FC236}">
                        <a16:creationId xmlns:a16="http://schemas.microsoft.com/office/drawing/2014/main" id="{F7048D26-B508-4AFA-AD79-0601BA07E18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44" name="Freeform 327">
                    <a:extLst>
                      <a:ext uri="{FF2B5EF4-FFF2-40B4-BE49-F238E27FC236}">
                        <a16:creationId xmlns:a16="http://schemas.microsoft.com/office/drawing/2014/main" id="{8E44251E-9B89-4BF8-ABC0-83FED72D059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45" name="Freeform 328">
                    <a:extLst>
                      <a:ext uri="{FF2B5EF4-FFF2-40B4-BE49-F238E27FC236}">
                        <a16:creationId xmlns:a16="http://schemas.microsoft.com/office/drawing/2014/main" id="{38438BB0-7F47-45C5-B5F4-0F7D44A039D1}"/>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46" name="Freeform 329">
                    <a:extLst>
                      <a:ext uri="{FF2B5EF4-FFF2-40B4-BE49-F238E27FC236}">
                        <a16:creationId xmlns:a16="http://schemas.microsoft.com/office/drawing/2014/main" id="{EA42198B-B248-41D6-A73F-C497CD449A3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48" name="Freeform 330">
                    <a:extLst>
                      <a:ext uri="{FF2B5EF4-FFF2-40B4-BE49-F238E27FC236}">
                        <a16:creationId xmlns:a16="http://schemas.microsoft.com/office/drawing/2014/main" id="{E6F2B032-4F19-47EE-8431-03D28EEE75C4}"/>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49" name="Freeform 331">
                    <a:extLst>
                      <a:ext uri="{FF2B5EF4-FFF2-40B4-BE49-F238E27FC236}">
                        <a16:creationId xmlns:a16="http://schemas.microsoft.com/office/drawing/2014/main" id="{3064F469-6F39-44FD-88D8-E347D937ADEC}"/>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50" name="Freeform 332">
                    <a:extLst>
                      <a:ext uri="{FF2B5EF4-FFF2-40B4-BE49-F238E27FC236}">
                        <a16:creationId xmlns:a16="http://schemas.microsoft.com/office/drawing/2014/main" id="{5B724852-AA4F-43F1-B3FE-6642C8883117}"/>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51" name="Freeform 333">
                    <a:extLst>
                      <a:ext uri="{FF2B5EF4-FFF2-40B4-BE49-F238E27FC236}">
                        <a16:creationId xmlns:a16="http://schemas.microsoft.com/office/drawing/2014/main" id="{66E37DC0-0D5F-47AA-A1CC-2EB62DEDF9F6}"/>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52" name="Freeform 334">
                    <a:extLst>
                      <a:ext uri="{FF2B5EF4-FFF2-40B4-BE49-F238E27FC236}">
                        <a16:creationId xmlns:a16="http://schemas.microsoft.com/office/drawing/2014/main" id="{6026200E-FFCC-4F93-B7F9-A7C255C8924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54" name="Freeform 335">
                    <a:extLst>
                      <a:ext uri="{FF2B5EF4-FFF2-40B4-BE49-F238E27FC236}">
                        <a16:creationId xmlns:a16="http://schemas.microsoft.com/office/drawing/2014/main" id="{C8837D66-FA6B-475C-A9E9-D467A4D0CD68}"/>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55" name="Freeform 336">
                    <a:extLst>
                      <a:ext uri="{FF2B5EF4-FFF2-40B4-BE49-F238E27FC236}">
                        <a16:creationId xmlns:a16="http://schemas.microsoft.com/office/drawing/2014/main" id="{38EDE632-BDF7-4AB5-8DD6-B4416D172A0E}"/>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56" name="Freeform 337">
                    <a:extLst>
                      <a:ext uri="{FF2B5EF4-FFF2-40B4-BE49-F238E27FC236}">
                        <a16:creationId xmlns:a16="http://schemas.microsoft.com/office/drawing/2014/main" id="{5A02840E-4F85-435F-A550-62E8A5B1F965}"/>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57" name="Freeform 338">
                    <a:extLst>
                      <a:ext uri="{FF2B5EF4-FFF2-40B4-BE49-F238E27FC236}">
                        <a16:creationId xmlns:a16="http://schemas.microsoft.com/office/drawing/2014/main" id="{602A04A2-3504-4202-A73A-DC1110968BE0}"/>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58" name="Freeform 339">
                    <a:extLst>
                      <a:ext uri="{FF2B5EF4-FFF2-40B4-BE49-F238E27FC236}">
                        <a16:creationId xmlns:a16="http://schemas.microsoft.com/office/drawing/2014/main" id="{ADA86E58-3052-4B97-97C4-C8994DC4A991}"/>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59" name="Freeform 340">
                    <a:extLst>
                      <a:ext uri="{FF2B5EF4-FFF2-40B4-BE49-F238E27FC236}">
                        <a16:creationId xmlns:a16="http://schemas.microsoft.com/office/drawing/2014/main" id="{1D576D6F-C454-45A2-9266-B73472B6D7E6}"/>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60" name="Freeform 341">
                    <a:extLst>
                      <a:ext uri="{FF2B5EF4-FFF2-40B4-BE49-F238E27FC236}">
                        <a16:creationId xmlns:a16="http://schemas.microsoft.com/office/drawing/2014/main" id="{DA07D8EE-C47A-45CD-97EB-6D1526A4E707}"/>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61" name="Freeform 342">
                    <a:extLst>
                      <a:ext uri="{FF2B5EF4-FFF2-40B4-BE49-F238E27FC236}">
                        <a16:creationId xmlns:a16="http://schemas.microsoft.com/office/drawing/2014/main" id="{F43AB73B-1B6A-42BA-981C-B06DFB2528B1}"/>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63" name="Freeform 343">
                    <a:extLst>
                      <a:ext uri="{FF2B5EF4-FFF2-40B4-BE49-F238E27FC236}">
                        <a16:creationId xmlns:a16="http://schemas.microsoft.com/office/drawing/2014/main" id="{301E262A-7306-497D-895A-BEB8C390B6DB}"/>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64" name="Freeform 344">
                    <a:extLst>
                      <a:ext uri="{FF2B5EF4-FFF2-40B4-BE49-F238E27FC236}">
                        <a16:creationId xmlns:a16="http://schemas.microsoft.com/office/drawing/2014/main" id="{E5CC49E1-C9C8-4D23-8673-3FD5E835BAD5}"/>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65" name="Freeform 345">
                    <a:extLst>
                      <a:ext uri="{FF2B5EF4-FFF2-40B4-BE49-F238E27FC236}">
                        <a16:creationId xmlns:a16="http://schemas.microsoft.com/office/drawing/2014/main" id="{F212DAF0-4D6B-4FB3-855E-6171CFEC469C}"/>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66" name="Freeform 346">
                    <a:extLst>
                      <a:ext uri="{FF2B5EF4-FFF2-40B4-BE49-F238E27FC236}">
                        <a16:creationId xmlns:a16="http://schemas.microsoft.com/office/drawing/2014/main" id="{B4647EA1-065E-4AE2-8B54-483D7ACC1284}"/>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sp>
                <p:nvSpPr>
                  <p:cNvPr id="367" name="Freeform 347">
                    <a:extLst>
                      <a:ext uri="{FF2B5EF4-FFF2-40B4-BE49-F238E27FC236}">
                        <a16:creationId xmlns:a16="http://schemas.microsoft.com/office/drawing/2014/main" id="{FA3FDA0D-44AD-4CCB-8E3D-477F5A942F90}"/>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ea typeface="+mn-ea"/>
                      <a:cs typeface="+mn-cs"/>
                    </a:endParaRPr>
                  </a:p>
                </p:txBody>
              </p:sp>
            </p:grpSp>
            <p:cxnSp>
              <p:nvCxnSpPr>
                <p:cNvPr id="319" name="Straight Connector 318">
                  <a:extLst>
                    <a:ext uri="{FF2B5EF4-FFF2-40B4-BE49-F238E27FC236}">
                      <a16:creationId xmlns:a16="http://schemas.microsoft.com/office/drawing/2014/main" id="{E06818FA-54AD-47CF-BB4F-728926271ECD}"/>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320" name="Straight Connector 319">
                  <a:extLst>
                    <a:ext uri="{FF2B5EF4-FFF2-40B4-BE49-F238E27FC236}">
                      <a16:creationId xmlns:a16="http://schemas.microsoft.com/office/drawing/2014/main" id="{A9864AFF-ED02-4681-8B17-FBC0609E3B65}"/>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321" name="Straight Connector 320">
                  <a:extLst>
                    <a:ext uri="{FF2B5EF4-FFF2-40B4-BE49-F238E27FC236}">
                      <a16:creationId xmlns:a16="http://schemas.microsoft.com/office/drawing/2014/main" id="{C3CFDACF-1D9D-4860-B1D9-73FC8C8BF2F6}"/>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322" name="Straight Connector 321">
                  <a:extLst>
                    <a:ext uri="{FF2B5EF4-FFF2-40B4-BE49-F238E27FC236}">
                      <a16:creationId xmlns:a16="http://schemas.microsoft.com/office/drawing/2014/main" id="{BFAC700C-3E88-497C-BF70-C4ED1235F01D}"/>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323" name="Group 322">
                  <a:extLst>
                    <a:ext uri="{FF2B5EF4-FFF2-40B4-BE49-F238E27FC236}">
                      <a16:creationId xmlns:a16="http://schemas.microsoft.com/office/drawing/2014/main" id="{AD5C0081-0C3D-40C8-B4FA-93C45A996290}"/>
                    </a:ext>
                  </a:extLst>
                </p:cNvPr>
                <p:cNvGrpSpPr/>
                <p:nvPr/>
              </p:nvGrpSpPr>
              <p:grpSpPr>
                <a:xfrm>
                  <a:off x="2022695" y="1566515"/>
                  <a:ext cx="766903" cy="767014"/>
                  <a:chOff x="9123445" y="2463609"/>
                  <a:chExt cx="652033" cy="652035"/>
                </a:xfrm>
              </p:grpSpPr>
              <p:sp>
                <p:nvSpPr>
                  <p:cNvPr id="327" name="Oval 326">
                    <a:extLst>
                      <a:ext uri="{FF2B5EF4-FFF2-40B4-BE49-F238E27FC236}">
                        <a16:creationId xmlns:a16="http://schemas.microsoft.com/office/drawing/2014/main" id="{1B4782A5-AD45-4723-88B4-42C5F1B64A6B}"/>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28" name="Freeform 313">
                    <a:extLst>
                      <a:ext uri="{FF2B5EF4-FFF2-40B4-BE49-F238E27FC236}">
                        <a16:creationId xmlns:a16="http://schemas.microsoft.com/office/drawing/2014/main" id="{BB8FDB9B-8C92-465F-B8BE-E57C0FBD94B3}"/>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nvGrpSpPr>
                <p:cNvPr id="324" name="Group 323">
                  <a:extLst>
                    <a:ext uri="{FF2B5EF4-FFF2-40B4-BE49-F238E27FC236}">
                      <a16:creationId xmlns:a16="http://schemas.microsoft.com/office/drawing/2014/main" id="{2C3E9266-52E9-44CD-8FF7-C1927222631D}"/>
                    </a:ext>
                  </a:extLst>
                </p:cNvPr>
                <p:cNvGrpSpPr/>
                <p:nvPr/>
              </p:nvGrpSpPr>
              <p:grpSpPr>
                <a:xfrm>
                  <a:off x="1973388" y="1517311"/>
                  <a:ext cx="853073" cy="853194"/>
                  <a:chOff x="9123452" y="2463609"/>
                  <a:chExt cx="652035" cy="652035"/>
                </a:xfrm>
              </p:grpSpPr>
              <p:sp>
                <p:nvSpPr>
                  <p:cNvPr id="325" name="Oval 324">
                    <a:extLst>
                      <a:ext uri="{FF2B5EF4-FFF2-40B4-BE49-F238E27FC236}">
                        <a16:creationId xmlns:a16="http://schemas.microsoft.com/office/drawing/2014/main" id="{3286B79F-BF33-4AFE-8B7B-E1E68EF2FC9E}"/>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26" name="Freeform 311">
                    <a:extLst>
                      <a:ext uri="{FF2B5EF4-FFF2-40B4-BE49-F238E27FC236}">
                        <a16:creationId xmlns:a16="http://schemas.microsoft.com/office/drawing/2014/main" id="{4C6813C2-282D-4A3B-9463-BB1BD1C845E9}"/>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207" name="Group 206">
                <a:extLst>
                  <a:ext uri="{FF2B5EF4-FFF2-40B4-BE49-F238E27FC236}">
                    <a16:creationId xmlns:a16="http://schemas.microsoft.com/office/drawing/2014/main" id="{42BC0A63-FE5F-4E21-875C-2C52EB138553}"/>
                  </a:ext>
                </a:extLst>
              </p:cNvPr>
              <p:cNvGrpSpPr/>
              <p:nvPr/>
            </p:nvGrpSpPr>
            <p:grpSpPr>
              <a:xfrm>
                <a:off x="1226671" y="3909844"/>
                <a:ext cx="304563" cy="307388"/>
                <a:chOff x="4471988" y="3821062"/>
                <a:chExt cx="2035176" cy="2113013"/>
              </a:xfrm>
            </p:grpSpPr>
            <p:sp>
              <p:nvSpPr>
                <p:cNvPr id="260" name="Rectangle 6">
                  <a:extLst>
                    <a:ext uri="{FF2B5EF4-FFF2-40B4-BE49-F238E27FC236}">
                      <a16:creationId xmlns:a16="http://schemas.microsoft.com/office/drawing/2014/main" id="{DA71FF9B-1BD1-4BBC-9662-A149B775D0EE}"/>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61" name="Freeform 7">
                  <a:extLst>
                    <a:ext uri="{FF2B5EF4-FFF2-40B4-BE49-F238E27FC236}">
                      <a16:creationId xmlns:a16="http://schemas.microsoft.com/office/drawing/2014/main" id="{B255C9A4-E288-4B6C-A437-41103FA2B24B}"/>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62" name="Freeform 10">
                  <a:extLst>
                    <a:ext uri="{FF2B5EF4-FFF2-40B4-BE49-F238E27FC236}">
                      <a16:creationId xmlns:a16="http://schemas.microsoft.com/office/drawing/2014/main" id="{B1758C97-3575-4D19-B3BF-74AF0D4B6DB3}"/>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63" name="Freeform 11">
                  <a:extLst>
                    <a:ext uri="{FF2B5EF4-FFF2-40B4-BE49-F238E27FC236}">
                      <a16:creationId xmlns:a16="http://schemas.microsoft.com/office/drawing/2014/main" id="{E60544D7-9B2B-4270-B0B4-DB5CBB0B9731}"/>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64" name="Oval 12">
                  <a:extLst>
                    <a:ext uri="{FF2B5EF4-FFF2-40B4-BE49-F238E27FC236}">
                      <a16:creationId xmlns:a16="http://schemas.microsoft.com/office/drawing/2014/main" id="{F004901F-F680-4C04-B048-1C7C01733B74}"/>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65" name="Oval 13">
                  <a:extLst>
                    <a:ext uri="{FF2B5EF4-FFF2-40B4-BE49-F238E27FC236}">
                      <a16:creationId xmlns:a16="http://schemas.microsoft.com/office/drawing/2014/main" id="{13DD4C11-BCCA-45EF-80CB-4BD4470A9690}"/>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66" name="Freeform 14">
                  <a:extLst>
                    <a:ext uri="{FF2B5EF4-FFF2-40B4-BE49-F238E27FC236}">
                      <a16:creationId xmlns:a16="http://schemas.microsoft.com/office/drawing/2014/main" id="{103C1FC7-ABC7-45D1-AB40-BAC83E36CA9D}"/>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67" name="Rectangle 15">
                  <a:extLst>
                    <a:ext uri="{FF2B5EF4-FFF2-40B4-BE49-F238E27FC236}">
                      <a16:creationId xmlns:a16="http://schemas.microsoft.com/office/drawing/2014/main" id="{D0F1A0BF-D814-4CAC-8DDB-9C2FD17DA95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68" name="Rectangle 16">
                  <a:extLst>
                    <a:ext uri="{FF2B5EF4-FFF2-40B4-BE49-F238E27FC236}">
                      <a16:creationId xmlns:a16="http://schemas.microsoft.com/office/drawing/2014/main" id="{87277F87-94DE-46C9-92F5-B5F94DDCE0F8}"/>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69" name="Freeform 17">
                  <a:extLst>
                    <a:ext uri="{FF2B5EF4-FFF2-40B4-BE49-F238E27FC236}">
                      <a16:creationId xmlns:a16="http://schemas.microsoft.com/office/drawing/2014/main" id="{7AA575F0-80DB-48AD-821C-F2ECD500AF50}"/>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70" name="Freeform 18">
                  <a:extLst>
                    <a:ext uri="{FF2B5EF4-FFF2-40B4-BE49-F238E27FC236}">
                      <a16:creationId xmlns:a16="http://schemas.microsoft.com/office/drawing/2014/main" id="{A70CBB73-2D99-4A5D-9638-48C27A7C066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71" name="Rectangle 19">
                  <a:extLst>
                    <a:ext uri="{FF2B5EF4-FFF2-40B4-BE49-F238E27FC236}">
                      <a16:creationId xmlns:a16="http://schemas.microsoft.com/office/drawing/2014/main" id="{987B9AEC-D873-4269-B4BD-23D523D8462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72" name="Freeform 20">
                  <a:extLst>
                    <a:ext uri="{FF2B5EF4-FFF2-40B4-BE49-F238E27FC236}">
                      <a16:creationId xmlns:a16="http://schemas.microsoft.com/office/drawing/2014/main" id="{32C444D4-F326-4457-8C4E-DCCDE089F4C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73" name="Freeform 21">
                  <a:extLst>
                    <a:ext uri="{FF2B5EF4-FFF2-40B4-BE49-F238E27FC236}">
                      <a16:creationId xmlns:a16="http://schemas.microsoft.com/office/drawing/2014/main" id="{4EE67A71-AE07-4D0A-8D47-5FF246F4F352}"/>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74" name="Freeform 22">
                  <a:extLst>
                    <a:ext uri="{FF2B5EF4-FFF2-40B4-BE49-F238E27FC236}">
                      <a16:creationId xmlns:a16="http://schemas.microsoft.com/office/drawing/2014/main" id="{D8E65819-BABF-437F-8C2C-F2CE9136BDDF}"/>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75" name="Freeform 23">
                  <a:extLst>
                    <a:ext uri="{FF2B5EF4-FFF2-40B4-BE49-F238E27FC236}">
                      <a16:creationId xmlns:a16="http://schemas.microsoft.com/office/drawing/2014/main" id="{DFD44689-6B4A-4167-A170-39806A4CBCFE}"/>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76" name="Freeform 24">
                  <a:extLst>
                    <a:ext uri="{FF2B5EF4-FFF2-40B4-BE49-F238E27FC236}">
                      <a16:creationId xmlns:a16="http://schemas.microsoft.com/office/drawing/2014/main" id="{BAAEEB3F-BC2D-4D69-BBA0-5D141666C339}"/>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77" name="Rectangle 25">
                  <a:extLst>
                    <a:ext uri="{FF2B5EF4-FFF2-40B4-BE49-F238E27FC236}">
                      <a16:creationId xmlns:a16="http://schemas.microsoft.com/office/drawing/2014/main" id="{D5095F07-8262-4540-B9C8-AAED7021A9E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78" name="Freeform 26">
                  <a:extLst>
                    <a:ext uri="{FF2B5EF4-FFF2-40B4-BE49-F238E27FC236}">
                      <a16:creationId xmlns:a16="http://schemas.microsoft.com/office/drawing/2014/main" id="{2C6ED669-9ED5-486C-8819-3CD5CD8DEC27}"/>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79" name="Freeform 27">
                  <a:extLst>
                    <a:ext uri="{FF2B5EF4-FFF2-40B4-BE49-F238E27FC236}">
                      <a16:creationId xmlns:a16="http://schemas.microsoft.com/office/drawing/2014/main" id="{3913F275-39DB-4B5E-848A-D7A71AAABD9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80" name="Freeform 28">
                  <a:extLst>
                    <a:ext uri="{FF2B5EF4-FFF2-40B4-BE49-F238E27FC236}">
                      <a16:creationId xmlns:a16="http://schemas.microsoft.com/office/drawing/2014/main" id="{F0C92929-B9D0-4B85-9B2D-63E2FB43E6C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81" name="Freeform 29">
                  <a:extLst>
                    <a:ext uri="{FF2B5EF4-FFF2-40B4-BE49-F238E27FC236}">
                      <a16:creationId xmlns:a16="http://schemas.microsoft.com/office/drawing/2014/main" id="{5472CD25-B702-455C-9A36-061A4BD08A4E}"/>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82" name="Freeform 30">
                  <a:extLst>
                    <a:ext uri="{FF2B5EF4-FFF2-40B4-BE49-F238E27FC236}">
                      <a16:creationId xmlns:a16="http://schemas.microsoft.com/office/drawing/2014/main" id="{E1D9107F-9FEA-4530-8F3E-C6C76283F55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83" name="Freeform 31">
                  <a:extLst>
                    <a:ext uri="{FF2B5EF4-FFF2-40B4-BE49-F238E27FC236}">
                      <a16:creationId xmlns:a16="http://schemas.microsoft.com/office/drawing/2014/main" id="{2A3D96B0-B5EC-45ED-851B-5A619877FBDA}"/>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84" name="Freeform 32">
                  <a:extLst>
                    <a:ext uri="{FF2B5EF4-FFF2-40B4-BE49-F238E27FC236}">
                      <a16:creationId xmlns:a16="http://schemas.microsoft.com/office/drawing/2014/main" id="{D8EF462B-1504-491A-AFA0-1D5D88A8442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85" name="Freeform 102">
                  <a:extLst>
                    <a:ext uri="{FF2B5EF4-FFF2-40B4-BE49-F238E27FC236}">
                      <a16:creationId xmlns:a16="http://schemas.microsoft.com/office/drawing/2014/main" id="{D4B36139-D27F-4D04-9FA0-BE22087CF15C}"/>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86" name="Freeform 103">
                  <a:extLst>
                    <a:ext uri="{FF2B5EF4-FFF2-40B4-BE49-F238E27FC236}">
                      <a16:creationId xmlns:a16="http://schemas.microsoft.com/office/drawing/2014/main" id="{B86E91AF-14A2-4600-BC35-B91F1B88EEE2}"/>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87" name="Freeform 104">
                  <a:extLst>
                    <a:ext uri="{FF2B5EF4-FFF2-40B4-BE49-F238E27FC236}">
                      <a16:creationId xmlns:a16="http://schemas.microsoft.com/office/drawing/2014/main" id="{1BD9309A-5448-438E-8DD1-444A97AFE943}"/>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88" name="Freeform 105">
                  <a:extLst>
                    <a:ext uri="{FF2B5EF4-FFF2-40B4-BE49-F238E27FC236}">
                      <a16:creationId xmlns:a16="http://schemas.microsoft.com/office/drawing/2014/main" id="{A6C7DFE5-8486-4F1B-8DB2-279F1501BCC2}"/>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89" name="Freeform 106">
                  <a:extLst>
                    <a:ext uri="{FF2B5EF4-FFF2-40B4-BE49-F238E27FC236}">
                      <a16:creationId xmlns:a16="http://schemas.microsoft.com/office/drawing/2014/main" id="{10A2B8AB-61EA-49E4-ACA3-791D2CC310F9}"/>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0" name="Freeform 107">
                  <a:extLst>
                    <a:ext uri="{FF2B5EF4-FFF2-40B4-BE49-F238E27FC236}">
                      <a16:creationId xmlns:a16="http://schemas.microsoft.com/office/drawing/2014/main" id="{A0CB97CE-365B-4EF7-A29C-88D5F6F28C44}"/>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1" name="Freeform 108">
                  <a:extLst>
                    <a:ext uri="{FF2B5EF4-FFF2-40B4-BE49-F238E27FC236}">
                      <a16:creationId xmlns:a16="http://schemas.microsoft.com/office/drawing/2014/main" id="{4ACEB7CD-E310-42AD-91D1-F0EACBF3ECED}"/>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2" name="Rectangle 291">
                  <a:extLst>
                    <a:ext uri="{FF2B5EF4-FFF2-40B4-BE49-F238E27FC236}">
                      <a16:creationId xmlns:a16="http://schemas.microsoft.com/office/drawing/2014/main" id="{A500DC94-C33B-45EF-AB53-6BB1796C6A8B}"/>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3" name="Freeform 110">
                  <a:extLst>
                    <a:ext uri="{FF2B5EF4-FFF2-40B4-BE49-F238E27FC236}">
                      <a16:creationId xmlns:a16="http://schemas.microsoft.com/office/drawing/2014/main" id="{9AF47749-3C0C-4B00-AA7F-A9A978775736}"/>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4" name="Freeform 111">
                  <a:extLst>
                    <a:ext uri="{FF2B5EF4-FFF2-40B4-BE49-F238E27FC236}">
                      <a16:creationId xmlns:a16="http://schemas.microsoft.com/office/drawing/2014/main" id="{3372B079-48CF-4424-8232-3BA72931BA13}"/>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5" name="Freeform 112">
                  <a:extLst>
                    <a:ext uri="{FF2B5EF4-FFF2-40B4-BE49-F238E27FC236}">
                      <a16:creationId xmlns:a16="http://schemas.microsoft.com/office/drawing/2014/main" id="{451BC4B9-D691-46D0-A6DA-F39A288BBF9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6" name="Freeform 113">
                  <a:extLst>
                    <a:ext uri="{FF2B5EF4-FFF2-40B4-BE49-F238E27FC236}">
                      <a16:creationId xmlns:a16="http://schemas.microsoft.com/office/drawing/2014/main" id="{B556DDFE-622B-4706-B25A-256EFA6841AF}"/>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7" name="Rectangle 296">
                  <a:extLst>
                    <a:ext uri="{FF2B5EF4-FFF2-40B4-BE49-F238E27FC236}">
                      <a16:creationId xmlns:a16="http://schemas.microsoft.com/office/drawing/2014/main" id="{F2273545-0DFC-42E2-91CF-87B39FFD0AFE}"/>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8" name="Freeform 115">
                  <a:extLst>
                    <a:ext uri="{FF2B5EF4-FFF2-40B4-BE49-F238E27FC236}">
                      <a16:creationId xmlns:a16="http://schemas.microsoft.com/office/drawing/2014/main" id="{459C2FBA-9246-49B6-9FAD-8B18E7455DDA}"/>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299" name="Freeform 116">
                  <a:extLst>
                    <a:ext uri="{FF2B5EF4-FFF2-40B4-BE49-F238E27FC236}">
                      <a16:creationId xmlns:a16="http://schemas.microsoft.com/office/drawing/2014/main" id="{50365D6D-3D63-409A-848A-D16339951D99}"/>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0" name="Freeform 117">
                  <a:extLst>
                    <a:ext uri="{FF2B5EF4-FFF2-40B4-BE49-F238E27FC236}">
                      <a16:creationId xmlns:a16="http://schemas.microsoft.com/office/drawing/2014/main" id="{9B0CC297-B965-47AF-8FFF-6E3439087D32}"/>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1" name="Freeform 118">
                  <a:extLst>
                    <a:ext uri="{FF2B5EF4-FFF2-40B4-BE49-F238E27FC236}">
                      <a16:creationId xmlns:a16="http://schemas.microsoft.com/office/drawing/2014/main" id="{1AB686E4-A33B-48CC-8C24-950202AF03DE}"/>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2" name="Oval 301">
                  <a:extLst>
                    <a:ext uri="{FF2B5EF4-FFF2-40B4-BE49-F238E27FC236}">
                      <a16:creationId xmlns:a16="http://schemas.microsoft.com/office/drawing/2014/main" id="{428720DC-99FF-43DB-9846-5A46E94518FF}"/>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3" name="Freeform 120">
                  <a:extLst>
                    <a:ext uri="{FF2B5EF4-FFF2-40B4-BE49-F238E27FC236}">
                      <a16:creationId xmlns:a16="http://schemas.microsoft.com/office/drawing/2014/main" id="{008A658A-9CFF-4CD1-81EC-D3ACCD416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4" name="Freeform 121">
                  <a:extLst>
                    <a:ext uri="{FF2B5EF4-FFF2-40B4-BE49-F238E27FC236}">
                      <a16:creationId xmlns:a16="http://schemas.microsoft.com/office/drawing/2014/main" id="{C53AC1CF-D89D-4843-94B6-45A50404F1B5}"/>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5" name="Freeform 122">
                  <a:extLst>
                    <a:ext uri="{FF2B5EF4-FFF2-40B4-BE49-F238E27FC236}">
                      <a16:creationId xmlns:a16="http://schemas.microsoft.com/office/drawing/2014/main" id="{87E007A6-2A44-4177-B0AB-356CCDD4578B}"/>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6" name="Freeform 123">
                  <a:extLst>
                    <a:ext uri="{FF2B5EF4-FFF2-40B4-BE49-F238E27FC236}">
                      <a16:creationId xmlns:a16="http://schemas.microsoft.com/office/drawing/2014/main" id="{02D7B684-3365-46E7-8BC6-5C044384F22C}"/>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7" name="Freeform 124">
                  <a:extLst>
                    <a:ext uri="{FF2B5EF4-FFF2-40B4-BE49-F238E27FC236}">
                      <a16:creationId xmlns:a16="http://schemas.microsoft.com/office/drawing/2014/main" id="{1AC8A9A0-12A0-455D-B855-B34DCA19E67E}"/>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8" name="Freeform 63">
                  <a:extLst>
                    <a:ext uri="{FF2B5EF4-FFF2-40B4-BE49-F238E27FC236}">
                      <a16:creationId xmlns:a16="http://schemas.microsoft.com/office/drawing/2014/main" id="{ABCB34AA-322E-4829-910D-F528BAC8E803}"/>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09" name="Freeform 65">
                  <a:extLst>
                    <a:ext uri="{FF2B5EF4-FFF2-40B4-BE49-F238E27FC236}">
                      <a16:creationId xmlns:a16="http://schemas.microsoft.com/office/drawing/2014/main" id="{D91823DD-5484-4941-A19D-7575F3F2FE8C}"/>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0" name="Freeform 66">
                  <a:extLst>
                    <a:ext uri="{FF2B5EF4-FFF2-40B4-BE49-F238E27FC236}">
                      <a16:creationId xmlns:a16="http://schemas.microsoft.com/office/drawing/2014/main" id="{A9A39E54-62FD-4626-A821-766DC6609515}"/>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1" name="Freeform 67">
                  <a:extLst>
                    <a:ext uri="{FF2B5EF4-FFF2-40B4-BE49-F238E27FC236}">
                      <a16:creationId xmlns:a16="http://schemas.microsoft.com/office/drawing/2014/main" id="{F4AB0D64-43AC-481B-8034-2926FFDA3656}"/>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2" name="Oval 68">
                  <a:extLst>
                    <a:ext uri="{FF2B5EF4-FFF2-40B4-BE49-F238E27FC236}">
                      <a16:creationId xmlns:a16="http://schemas.microsoft.com/office/drawing/2014/main" id="{32DE37CB-ABB0-4182-8666-ABA52E2E6493}"/>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sp>
              <p:nvSpPr>
                <p:cNvPr id="313" name="Oval 69">
                  <a:extLst>
                    <a:ext uri="{FF2B5EF4-FFF2-40B4-BE49-F238E27FC236}">
                      <a16:creationId xmlns:a16="http://schemas.microsoft.com/office/drawing/2014/main" id="{45503344-7BBD-4F79-8191-343714AD7473}"/>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endParaRPr>
                </a:p>
              </p:txBody>
            </p:sp>
          </p:grpSp>
          <p:grpSp>
            <p:nvGrpSpPr>
              <p:cNvPr id="208" name="Group 207">
                <a:extLst>
                  <a:ext uri="{FF2B5EF4-FFF2-40B4-BE49-F238E27FC236}">
                    <a16:creationId xmlns:a16="http://schemas.microsoft.com/office/drawing/2014/main" id="{C42CCD81-6DD1-49A4-9AEA-196E1EF153F8}"/>
                  </a:ext>
                </a:extLst>
              </p:cNvPr>
              <p:cNvGrpSpPr/>
              <p:nvPr/>
            </p:nvGrpSpPr>
            <p:grpSpPr>
              <a:xfrm>
                <a:off x="1206839" y="3914891"/>
                <a:ext cx="469400" cy="342521"/>
                <a:chOff x="1557350" y="4606481"/>
                <a:chExt cx="3001095" cy="2252753"/>
              </a:xfrm>
            </p:grpSpPr>
            <p:sp>
              <p:nvSpPr>
                <p:cNvPr id="210" name="Rectangle 209">
                  <a:extLst>
                    <a:ext uri="{FF2B5EF4-FFF2-40B4-BE49-F238E27FC236}">
                      <a16:creationId xmlns:a16="http://schemas.microsoft.com/office/drawing/2014/main" id="{A689BA27-FB8B-4DFD-8905-F9A439FF5A2B}"/>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11" name="Rectangle 210">
                  <a:extLst>
                    <a:ext uri="{FF2B5EF4-FFF2-40B4-BE49-F238E27FC236}">
                      <a16:creationId xmlns:a16="http://schemas.microsoft.com/office/drawing/2014/main" id="{7F7F080B-CACC-420D-AC08-4B2174873B3C}"/>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12" name="Rectangle 211">
                  <a:extLst>
                    <a:ext uri="{FF2B5EF4-FFF2-40B4-BE49-F238E27FC236}">
                      <a16:creationId xmlns:a16="http://schemas.microsoft.com/office/drawing/2014/main" id="{0466C49C-DD73-4BFC-A39C-3A5C492A8253}"/>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13" name="Rectangle 212">
                  <a:extLst>
                    <a:ext uri="{FF2B5EF4-FFF2-40B4-BE49-F238E27FC236}">
                      <a16:creationId xmlns:a16="http://schemas.microsoft.com/office/drawing/2014/main" id="{02C1ED67-064C-42C9-90AB-233700D043D1}"/>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14" name="Freeform 12">
                  <a:extLst>
                    <a:ext uri="{FF2B5EF4-FFF2-40B4-BE49-F238E27FC236}">
                      <a16:creationId xmlns:a16="http://schemas.microsoft.com/office/drawing/2014/main" id="{4DB1AA1B-86F7-495B-AB61-F87A96A8C8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15" name="Rectangle 214">
                  <a:extLst>
                    <a:ext uri="{FF2B5EF4-FFF2-40B4-BE49-F238E27FC236}">
                      <a16:creationId xmlns:a16="http://schemas.microsoft.com/office/drawing/2014/main" id="{2E2B24FB-E5C2-42E1-A2F6-4EF14E7445CC}"/>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16" name="Freeform 14">
                  <a:extLst>
                    <a:ext uri="{FF2B5EF4-FFF2-40B4-BE49-F238E27FC236}">
                      <a16:creationId xmlns:a16="http://schemas.microsoft.com/office/drawing/2014/main" id="{A5E6369A-C3B4-443B-8D7F-646E2CA9CC08}"/>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17" name="Rectangle 216">
                  <a:extLst>
                    <a:ext uri="{FF2B5EF4-FFF2-40B4-BE49-F238E27FC236}">
                      <a16:creationId xmlns:a16="http://schemas.microsoft.com/office/drawing/2014/main" id="{17C3A50E-4B3D-4CAA-9B69-F2BE53661AA9}"/>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27" name="Freeform 16">
                  <a:extLst>
                    <a:ext uri="{FF2B5EF4-FFF2-40B4-BE49-F238E27FC236}">
                      <a16:creationId xmlns:a16="http://schemas.microsoft.com/office/drawing/2014/main" id="{BF9DD70E-AB6D-43F9-812E-96526D7EE1F6}"/>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28" name="Freeform 17">
                  <a:extLst>
                    <a:ext uri="{FF2B5EF4-FFF2-40B4-BE49-F238E27FC236}">
                      <a16:creationId xmlns:a16="http://schemas.microsoft.com/office/drawing/2014/main" id="{70D0446F-D6AA-42F8-AE49-8288065B044D}"/>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29" name="Oval 228">
                  <a:extLst>
                    <a:ext uri="{FF2B5EF4-FFF2-40B4-BE49-F238E27FC236}">
                      <a16:creationId xmlns:a16="http://schemas.microsoft.com/office/drawing/2014/main" id="{92FE4716-BF3B-453C-A325-3C9CC9D0078C}"/>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30" name="Rectangle 229">
                  <a:extLst>
                    <a:ext uri="{FF2B5EF4-FFF2-40B4-BE49-F238E27FC236}">
                      <a16:creationId xmlns:a16="http://schemas.microsoft.com/office/drawing/2014/main" id="{002F5E54-6BA6-4657-B9F3-14969D2ADA1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31" name="Freeform 20">
                  <a:extLst>
                    <a:ext uri="{FF2B5EF4-FFF2-40B4-BE49-F238E27FC236}">
                      <a16:creationId xmlns:a16="http://schemas.microsoft.com/office/drawing/2014/main" id="{B99A0115-EBC2-4ED0-8BCB-0A852CB438E5}"/>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32" name="Freeform 21">
                  <a:extLst>
                    <a:ext uri="{FF2B5EF4-FFF2-40B4-BE49-F238E27FC236}">
                      <a16:creationId xmlns:a16="http://schemas.microsoft.com/office/drawing/2014/main" id="{DA167B34-CDBF-4C09-918E-711998CD3DB8}"/>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nvGrpSpPr>
                <p:cNvPr id="233" name="Group 232">
                  <a:extLst>
                    <a:ext uri="{FF2B5EF4-FFF2-40B4-BE49-F238E27FC236}">
                      <a16:creationId xmlns:a16="http://schemas.microsoft.com/office/drawing/2014/main" id="{23323255-0B5D-43D0-89FA-B90666D3932D}"/>
                    </a:ext>
                  </a:extLst>
                </p:cNvPr>
                <p:cNvGrpSpPr/>
                <p:nvPr/>
              </p:nvGrpSpPr>
              <p:grpSpPr>
                <a:xfrm>
                  <a:off x="3298176" y="4606481"/>
                  <a:ext cx="1260269" cy="2252753"/>
                  <a:chOff x="10352191" y="4087395"/>
                  <a:chExt cx="1336826" cy="2389605"/>
                </a:xfrm>
              </p:grpSpPr>
              <p:sp>
                <p:nvSpPr>
                  <p:cNvPr id="234" name="Rectangle 233">
                    <a:extLst>
                      <a:ext uri="{FF2B5EF4-FFF2-40B4-BE49-F238E27FC236}">
                        <a16:creationId xmlns:a16="http://schemas.microsoft.com/office/drawing/2014/main" id="{E50F47CD-BA32-4626-91A8-616AE20015FA}"/>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35" name="Round Same Side Corner Rectangle 52">
                    <a:extLst>
                      <a:ext uri="{FF2B5EF4-FFF2-40B4-BE49-F238E27FC236}">
                        <a16:creationId xmlns:a16="http://schemas.microsoft.com/office/drawing/2014/main" id="{FE997018-B12D-4EA9-87BD-B4DE5B3ED0CB}"/>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ea typeface="+mn-ea"/>
                      <a:cs typeface="+mn-cs"/>
                    </a:endParaRPr>
                  </a:p>
                </p:txBody>
              </p:sp>
              <p:sp>
                <p:nvSpPr>
                  <p:cNvPr id="236" name="Rectangle 235">
                    <a:extLst>
                      <a:ext uri="{FF2B5EF4-FFF2-40B4-BE49-F238E27FC236}">
                        <a16:creationId xmlns:a16="http://schemas.microsoft.com/office/drawing/2014/main" id="{E4F02193-A9FC-49C5-9FB3-9DBFFEE651E8}"/>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37" name="Freeform 54">
                    <a:extLst>
                      <a:ext uri="{FF2B5EF4-FFF2-40B4-BE49-F238E27FC236}">
                        <a16:creationId xmlns:a16="http://schemas.microsoft.com/office/drawing/2014/main" id="{CC275EDD-09E4-492C-AFAC-2F168ACFF3A5}"/>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38" name="Freeform 55">
                    <a:extLst>
                      <a:ext uri="{FF2B5EF4-FFF2-40B4-BE49-F238E27FC236}">
                        <a16:creationId xmlns:a16="http://schemas.microsoft.com/office/drawing/2014/main" id="{E37D19A4-48FF-4FEA-B4B9-08D89E28BD24}"/>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39" name="Freeform 56">
                    <a:extLst>
                      <a:ext uri="{FF2B5EF4-FFF2-40B4-BE49-F238E27FC236}">
                        <a16:creationId xmlns:a16="http://schemas.microsoft.com/office/drawing/2014/main" id="{7FCCA88B-DAB9-4AD2-AD4F-BAAB2CF0778B}"/>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40" name="Freeform 57">
                    <a:extLst>
                      <a:ext uri="{FF2B5EF4-FFF2-40B4-BE49-F238E27FC236}">
                        <a16:creationId xmlns:a16="http://schemas.microsoft.com/office/drawing/2014/main" id="{38E98BB3-9F6C-4C53-8CF1-1C5CD1F85A4C}"/>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41" name="Freeform 58">
                    <a:extLst>
                      <a:ext uri="{FF2B5EF4-FFF2-40B4-BE49-F238E27FC236}">
                        <a16:creationId xmlns:a16="http://schemas.microsoft.com/office/drawing/2014/main" id="{CEB34A59-E7A8-40D0-B5CD-9C97AD7AA1FE}"/>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42" name="Freeform 59">
                    <a:extLst>
                      <a:ext uri="{FF2B5EF4-FFF2-40B4-BE49-F238E27FC236}">
                        <a16:creationId xmlns:a16="http://schemas.microsoft.com/office/drawing/2014/main" id="{7CA1B3DE-3915-4871-80C1-D899AAD945CB}"/>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43" name="Freeform 60">
                    <a:extLst>
                      <a:ext uri="{FF2B5EF4-FFF2-40B4-BE49-F238E27FC236}">
                        <a16:creationId xmlns:a16="http://schemas.microsoft.com/office/drawing/2014/main" id="{184D3480-7251-4A7A-8A20-7EDEF9DA445D}"/>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44" name="Freeform 61">
                    <a:extLst>
                      <a:ext uri="{FF2B5EF4-FFF2-40B4-BE49-F238E27FC236}">
                        <a16:creationId xmlns:a16="http://schemas.microsoft.com/office/drawing/2014/main" id="{AA35D905-41F7-491F-AD07-58C31CD3273D}"/>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45" name="Oval 244">
                    <a:extLst>
                      <a:ext uri="{FF2B5EF4-FFF2-40B4-BE49-F238E27FC236}">
                        <a16:creationId xmlns:a16="http://schemas.microsoft.com/office/drawing/2014/main" id="{C684B91B-FCAD-46D7-BF32-6E2210460E3C}"/>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46" name="Freeform 63">
                    <a:extLst>
                      <a:ext uri="{FF2B5EF4-FFF2-40B4-BE49-F238E27FC236}">
                        <a16:creationId xmlns:a16="http://schemas.microsoft.com/office/drawing/2014/main" id="{4EAD821F-04F2-4EA7-A0FC-45A98B473878}"/>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47" name="Rectangle 246">
                    <a:extLst>
                      <a:ext uri="{FF2B5EF4-FFF2-40B4-BE49-F238E27FC236}">
                        <a16:creationId xmlns:a16="http://schemas.microsoft.com/office/drawing/2014/main" id="{28DA54C8-EE80-4A5E-B094-309C6D2DA4E8}"/>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48" name="Freeform 65">
                    <a:extLst>
                      <a:ext uri="{FF2B5EF4-FFF2-40B4-BE49-F238E27FC236}">
                        <a16:creationId xmlns:a16="http://schemas.microsoft.com/office/drawing/2014/main" id="{296CCC81-D2F9-4A41-A7CD-B97DAD334C07}"/>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49" name="Freeform 66">
                    <a:extLst>
                      <a:ext uri="{FF2B5EF4-FFF2-40B4-BE49-F238E27FC236}">
                        <a16:creationId xmlns:a16="http://schemas.microsoft.com/office/drawing/2014/main" id="{A7E1DE96-0D8C-4AFB-80E5-268C78E712B8}"/>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0" name="Rectangle 249">
                    <a:extLst>
                      <a:ext uri="{FF2B5EF4-FFF2-40B4-BE49-F238E27FC236}">
                        <a16:creationId xmlns:a16="http://schemas.microsoft.com/office/drawing/2014/main" id="{B8F86917-0F9A-4031-BA13-5CAB4A385A5F}"/>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1" name="Freeform 68">
                    <a:extLst>
                      <a:ext uri="{FF2B5EF4-FFF2-40B4-BE49-F238E27FC236}">
                        <a16:creationId xmlns:a16="http://schemas.microsoft.com/office/drawing/2014/main" id="{86DA362A-4A45-4310-9334-BD9256C91888}"/>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2" name="Freeform 69">
                    <a:extLst>
                      <a:ext uri="{FF2B5EF4-FFF2-40B4-BE49-F238E27FC236}">
                        <a16:creationId xmlns:a16="http://schemas.microsoft.com/office/drawing/2014/main" id="{8C4F6C0E-F462-43C7-AC96-62569F513832}"/>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3" name="Freeform 70">
                    <a:extLst>
                      <a:ext uri="{FF2B5EF4-FFF2-40B4-BE49-F238E27FC236}">
                        <a16:creationId xmlns:a16="http://schemas.microsoft.com/office/drawing/2014/main" id="{BC8B6E4A-E4F9-4928-A2CA-9F7CED642A06}"/>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4" name="Freeform 71">
                    <a:extLst>
                      <a:ext uri="{FF2B5EF4-FFF2-40B4-BE49-F238E27FC236}">
                        <a16:creationId xmlns:a16="http://schemas.microsoft.com/office/drawing/2014/main" id="{44FDBBD3-BD11-46DF-8219-233DED49B391}"/>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5" name="Freeform 72">
                    <a:extLst>
                      <a:ext uri="{FF2B5EF4-FFF2-40B4-BE49-F238E27FC236}">
                        <a16:creationId xmlns:a16="http://schemas.microsoft.com/office/drawing/2014/main" id="{CEB086E8-2CA7-4338-94A6-F3DA2B2D8828}"/>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6" name="Freeform 73">
                    <a:extLst>
                      <a:ext uri="{FF2B5EF4-FFF2-40B4-BE49-F238E27FC236}">
                        <a16:creationId xmlns:a16="http://schemas.microsoft.com/office/drawing/2014/main" id="{503CDF38-14BA-4920-87E8-94C801FE681C}"/>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7" name="Freeform 74">
                    <a:extLst>
                      <a:ext uri="{FF2B5EF4-FFF2-40B4-BE49-F238E27FC236}">
                        <a16:creationId xmlns:a16="http://schemas.microsoft.com/office/drawing/2014/main" id="{EF1579D0-A6CC-4A5F-A1CF-EDF1E67DE4F6}"/>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8" name="Rectangle 257">
                    <a:extLst>
                      <a:ext uri="{FF2B5EF4-FFF2-40B4-BE49-F238E27FC236}">
                        <a16:creationId xmlns:a16="http://schemas.microsoft.com/office/drawing/2014/main" id="{52A7AA1F-E5CB-4D88-9BC0-BAFCC5EA3BE3}"/>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sp>
                <p:nvSpPr>
                  <p:cNvPr id="259" name="Rectangle 258">
                    <a:extLst>
                      <a:ext uri="{FF2B5EF4-FFF2-40B4-BE49-F238E27FC236}">
                        <a16:creationId xmlns:a16="http://schemas.microsoft.com/office/drawing/2014/main" id="{507CBCFF-84AC-4493-B55D-14D9155F4D1C}"/>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ea typeface="+mn-ea"/>
                      <a:cs typeface="+mn-cs"/>
                    </a:endParaRPr>
                  </a:p>
                </p:txBody>
              </p:sp>
            </p:grpSp>
          </p:grpSp>
          <p:sp>
            <p:nvSpPr>
              <p:cNvPr id="209" name="Rectangle 208">
                <a:extLst>
                  <a:ext uri="{FF2B5EF4-FFF2-40B4-BE49-F238E27FC236}">
                    <a16:creationId xmlns:a16="http://schemas.microsoft.com/office/drawing/2014/main" id="{F7F055F4-E0C1-449C-96CB-95F126DB11A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338" name="Rectangle 337">
            <a:extLst>
              <a:ext uri="{FF2B5EF4-FFF2-40B4-BE49-F238E27FC236}">
                <a16:creationId xmlns:a16="http://schemas.microsoft.com/office/drawing/2014/main" id="{498F46BA-4732-4A0D-B40B-4289AE40BBE1}"/>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Benefit not applicable to Windows 7 running on local devices</a:t>
            </a:r>
          </a:p>
          <a:p>
            <a:pPr fontAlgn="base"/>
            <a:r>
              <a:rPr lang="en-US" sz="1000" dirty="0"/>
              <a:t>Note: Figures are illustrative and based on pre-configured assumptions; actual savings vary by user requirements and current licensing position</a:t>
            </a:r>
          </a:p>
        </p:txBody>
      </p:sp>
      <p:sp>
        <p:nvSpPr>
          <p:cNvPr id="218" name="TextBox 217">
            <a:extLst>
              <a:ext uri="{FF2B5EF4-FFF2-40B4-BE49-F238E27FC236}">
                <a16:creationId xmlns:a16="http://schemas.microsoft.com/office/drawing/2014/main" id="{9AA4A767-AFF1-4DD0-965F-57A076B02374}"/>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400" b="1" dirty="0">
                <a:solidFill>
                  <a:schemeClr val="bg1"/>
                </a:solidFill>
              </a:rPr>
              <a:t>Economic Benefit</a:t>
            </a:r>
          </a:p>
        </p:txBody>
      </p:sp>
      <p:sp>
        <p:nvSpPr>
          <p:cNvPr id="377" name="TextBox 376">
            <a:extLst>
              <a:ext uri="{FF2B5EF4-FFF2-40B4-BE49-F238E27FC236}">
                <a16:creationId xmlns:a16="http://schemas.microsoft.com/office/drawing/2014/main" id="{16A00955-39FB-4D6F-B4F2-17807569D272}"/>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400" b="1" dirty="0">
                <a:solidFill>
                  <a:schemeClr val="bg1"/>
                </a:solidFill>
              </a:rPr>
              <a:t>On-prem</a:t>
            </a:r>
          </a:p>
        </p:txBody>
      </p:sp>
      <p:sp>
        <p:nvSpPr>
          <p:cNvPr id="378" name="TextBox 377">
            <a:extLst>
              <a:ext uri="{FF2B5EF4-FFF2-40B4-BE49-F238E27FC236}">
                <a16:creationId xmlns:a16="http://schemas.microsoft.com/office/drawing/2014/main" id="{157D5A3D-955D-4D40-A333-A612C1268D2E}"/>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400" b="1" dirty="0">
                <a:solidFill>
                  <a:schemeClr val="bg1"/>
                </a:solidFill>
              </a:rPr>
              <a:t>WVD</a:t>
            </a:r>
          </a:p>
        </p:txBody>
      </p:sp>
      <p:grpSp>
        <p:nvGrpSpPr>
          <p:cNvPr id="379" name="Group 378">
            <a:extLst>
              <a:ext uri="{FF2B5EF4-FFF2-40B4-BE49-F238E27FC236}">
                <a16:creationId xmlns:a16="http://schemas.microsoft.com/office/drawing/2014/main" id="{5F62C717-0F2B-4E51-B573-5A8CFFA67539}"/>
              </a:ext>
            </a:extLst>
          </p:cNvPr>
          <p:cNvGrpSpPr/>
          <p:nvPr/>
        </p:nvGrpSpPr>
        <p:grpSpPr>
          <a:xfrm>
            <a:off x="10052458" y="146014"/>
            <a:ext cx="2033626" cy="1015650"/>
            <a:chOff x="10052458" y="146014"/>
            <a:chExt cx="2033626" cy="1015650"/>
          </a:xfrm>
        </p:grpSpPr>
        <p:pic>
          <p:nvPicPr>
            <p:cNvPr id="380" name="Picture 379">
              <a:extLst>
                <a:ext uri="{FF2B5EF4-FFF2-40B4-BE49-F238E27FC236}">
                  <a16:creationId xmlns:a16="http://schemas.microsoft.com/office/drawing/2014/main" id="{7763317A-BC0E-470C-A95F-62903AA66C84}"/>
                </a:ext>
              </a:extLst>
            </p:cNvPr>
            <p:cNvPicPr>
              <a:picLocks noChangeAspect="1"/>
            </p:cNvPicPr>
            <p:nvPr/>
          </p:nvPicPr>
          <p:blipFill>
            <a:blip r:embed="rId9"/>
            <a:stretch>
              <a:fillRect/>
            </a:stretch>
          </p:blipFill>
          <p:spPr>
            <a:xfrm>
              <a:off x="10052458" y="146014"/>
              <a:ext cx="2033626" cy="1015650"/>
            </a:xfrm>
            <a:prstGeom prst="rect">
              <a:avLst/>
            </a:prstGeom>
          </p:spPr>
        </p:pic>
        <p:sp>
          <p:nvSpPr>
            <p:cNvPr id="381" name="Rectangle 380">
              <a:extLst>
                <a:ext uri="{FF2B5EF4-FFF2-40B4-BE49-F238E27FC236}">
                  <a16:creationId xmlns:a16="http://schemas.microsoft.com/office/drawing/2014/main" id="{81047EBE-6E1A-43C1-9D1B-B773A045435B}"/>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2478600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1390698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6" name="think-cell Slide" r:id="rId13" imgW="503" imgH="503" progId="TCLayout.ActiveDocument.1">
                  <p:embed/>
                </p:oleObj>
              </mc:Choice>
              <mc:Fallback>
                <p:oleObj name="think-cell Slide" r:id="rId13"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20" name="Rectangle 219">
            <a:extLst>
              <a:ext uri="{FF2B5EF4-FFF2-40B4-BE49-F238E27FC236}">
                <a16:creationId xmlns:a16="http://schemas.microsoft.com/office/drawing/2014/main" id="{4B278D46-9F96-4D57-954A-65943699301E}"/>
              </a:ext>
            </a:extLst>
          </p:cNvPr>
          <p:cNvSpPr/>
          <p:nvPr/>
        </p:nvSpPr>
        <p:spPr bwMode="auto">
          <a:xfrm>
            <a:off x="582613" y="1449900"/>
            <a:ext cx="7710713" cy="20488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91440" bIns="146304" numCol="1" spcCol="0" rtlCol="0" fromWordArt="0" anchor="t" anchorCtr="0" forceAA="0" compatLnSpc="1">
            <a:prstTxWarp prst="textNoShape">
              <a:avLst/>
            </a:prstTxWarp>
            <a:noAutofit/>
          </a:bodyPr>
          <a:lstStyle/>
          <a:p>
            <a:pPr marL="1028700" lvl="0" defTabSz="932472" fontAlgn="base">
              <a:spcBef>
                <a:spcPct val="0"/>
              </a:spcBef>
              <a:spcAft>
                <a:spcPct val="0"/>
              </a:spcAft>
            </a:pPr>
            <a:r>
              <a:rPr lang="en-US" sz="2000" b="1" dirty="0">
                <a:solidFill>
                  <a:schemeClr val="tx2"/>
                </a:solidFill>
                <a:ea typeface="Segoe UI" pitchFamily="34" charset="0"/>
                <a:cs typeface="Segoe UI" pitchFamily="34" charset="0"/>
              </a:rPr>
              <a:t>Lower labor cost because compute and storage move to cloud</a:t>
            </a:r>
          </a:p>
          <a:p>
            <a:pPr marL="1377950" lvl="0" indent="-228600" defTabSz="932472" fontAlgn="base">
              <a:spcBef>
                <a:spcPts val="600"/>
              </a:spcBef>
              <a:spcAft>
                <a:spcPct val="0"/>
              </a:spcAft>
              <a:buFont typeface="Arial" panose="020B0604020202020204" pitchFamily="34" charset="0"/>
              <a:buChar char="•"/>
            </a:pPr>
            <a:r>
              <a:rPr lang="en-US" dirty="0">
                <a:solidFill>
                  <a:schemeClr val="tx1"/>
                </a:solidFill>
                <a:cs typeface="Segoe UI" pitchFamily="34" charset="0"/>
              </a:rPr>
              <a:t>Eliminate high overhead associated with managing</a:t>
            </a:r>
            <a:br>
              <a:rPr lang="en-US" dirty="0">
                <a:solidFill>
                  <a:schemeClr val="tx1"/>
                </a:solidFill>
                <a:cs typeface="Segoe UI" pitchFamily="34" charset="0"/>
              </a:rPr>
            </a:br>
            <a:r>
              <a:rPr lang="en-US" dirty="0">
                <a:solidFill>
                  <a:schemeClr val="tx1"/>
                </a:solidFill>
                <a:cs typeface="Segoe UI" pitchFamily="34" charset="0"/>
              </a:rPr>
              <a:t>on-premise infrastructure </a:t>
            </a:r>
          </a:p>
          <a:p>
            <a:pPr marL="1377950" lvl="0" indent="-228600" defTabSz="932472" fontAlgn="base">
              <a:spcBef>
                <a:spcPts val="600"/>
              </a:spcBef>
              <a:spcAft>
                <a:spcPct val="0"/>
              </a:spcAft>
              <a:buFont typeface="Arial" panose="020B0604020202020204" pitchFamily="34" charset="0"/>
              <a:buChar char="•"/>
            </a:pPr>
            <a:r>
              <a:rPr lang="en-US" dirty="0">
                <a:solidFill>
                  <a:schemeClr val="tx1"/>
                </a:solidFill>
                <a:cs typeface="Segoe UI" pitchFamily="34" charset="0"/>
              </a:rPr>
              <a:t>Reduced labor cost due to increased automation in</a:t>
            </a:r>
            <a:br>
              <a:rPr lang="en-US" dirty="0">
                <a:solidFill>
                  <a:schemeClr val="tx1"/>
                </a:solidFill>
                <a:cs typeface="Segoe UI" pitchFamily="34" charset="0"/>
              </a:rPr>
            </a:br>
            <a:r>
              <a:rPr lang="en-US" dirty="0">
                <a:solidFill>
                  <a:schemeClr val="tx1"/>
                </a:solidFill>
                <a:cs typeface="Segoe UI" pitchFamily="34" charset="0"/>
              </a:rPr>
              <a:t>the cloud</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Reduced Labor Requirements</a:t>
            </a:r>
          </a:p>
        </p:txBody>
      </p:sp>
      <p:sp>
        <p:nvSpPr>
          <p:cNvPr id="457" name="Rectangle 456">
            <a:extLst>
              <a:ext uri="{FF2B5EF4-FFF2-40B4-BE49-F238E27FC236}">
                <a16:creationId xmlns:a16="http://schemas.microsoft.com/office/drawing/2014/main" id="{CC62205B-EACB-4526-B39E-06783BC4F7C0}"/>
              </a:ext>
            </a:extLst>
          </p:cNvPr>
          <p:cNvSpPr/>
          <p:nvPr/>
        </p:nvSpPr>
        <p:spPr bwMode="auto">
          <a:xfrm>
            <a:off x="8397550" y="1449901"/>
            <a:ext cx="3211837" cy="4186430"/>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600" b="1" dirty="0">
                <a:solidFill>
                  <a:schemeClr val="tx1"/>
                </a:solidFill>
                <a:ea typeface="Segoe UI" pitchFamily="34" charset="0"/>
                <a:cs typeface="Segoe UI" pitchFamily="34" charset="0"/>
              </a:rPr>
              <a:t>Per Desktop Per Year IT </a:t>
            </a:r>
            <a:br>
              <a:rPr lang="en-US" sz="1600" b="1" dirty="0">
                <a:solidFill>
                  <a:schemeClr val="tx1"/>
                </a:solidFill>
                <a:ea typeface="Segoe UI" pitchFamily="34" charset="0"/>
                <a:cs typeface="Segoe UI" pitchFamily="34" charset="0"/>
              </a:rPr>
            </a:br>
            <a:r>
              <a:rPr lang="en-US" sz="1600" b="1" dirty="0">
                <a:solidFill>
                  <a:schemeClr val="tx1"/>
                </a:solidFill>
                <a:ea typeface="Segoe UI" pitchFamily="34" charset="0"/>
                <a:cs typeface="Segoe UI" pitchFamily="34" charset="0"/>
              </a:rPr>
              <a:t>Labor Cost</a:t>
            </a: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lvl="0"/>
            <a:endParaRPr lang="en-US" sz="900" dirty="0">
              <a:solidFill>
                <a:srgbClr val="000000"/>
              </a:solidFill>
            </a:endParaRPr>
          </a:p>
          <a:p>
            <a:pPr lvl="0"/>
            <a:endParaRPr lang="en-US" sz="900" dirty="0">
              <a:solidFill>
                <a:srgbClr val="000000"/>
              </a:solidFill>
            </a:endParaRPr>
          </a:p>
          <a:p>
            <a:pPr lvl="0"/>
            <a:r>
              <a:rPr lang="en-US" sz="900" dirty="0">
                <a:solidFill>
                  <a:srgbClr val="000000"/>
                </a:solidFill>
              </a:rPr>
              <a:t>Source: industry analysis</a:t>
            </a:r>
          </a:p>
        </p:txBody>
      </p:sp>
      <p:grpSp>
        <p:nvGrpSpPr>
          <p:cNvPr id="482" name="Group 481">
            <a:extLst>
              <a:ext uri="{FF2B5EF4-FFF2-40B4-BE49-F238E27FC236}">
                <a16:creationId xmlns:a16="http://schemas.microsoft.com/office/drawing/2014/main" id="{257F5A4F-B25A-441D-B09A-0A4E6E3E37D3}"/>
              </a:ext>
            </a:extLst>
          </p:cNvPr>
          <p:cNvGrpSpPr/>
          <p:nvPr/>
        </p:nvGrpSpPr>
        <p:grpSpPr>
          <a:xfrm>
            <a:off x="787463" y="1676492"/>
            <a:ext cx="844519" cy="952147"/>
            <a:chOff x="779494" y="3207037"/>
            <a:chExt cx="940499" cy="1066772"/>
          </a:xfrm>
        </p:grpSpPr>
        <p:grpSp>
          <p:nvGrpSpPr>
            <p:cNvPr id="483" name="Group 482">
              <a:extLst>
                <a:ext uri="{FF2B5EF4-FFF2-40B4-BE49-F238E27FC236}">
                  <a16:creationId xmlns:a16="http://schemas.microsoft.com/office/drawing/2014/main" id="{83854657-F224-4862-A765-7DCDF989B9C7}"/>
                </a:ext>
              </a:extLst>
            </p:cNvPr>
            <p:cNvGrpSpPr/>
            <p:nvPr/>
          </p:nvGrpSpPr>
          <p:grpSpPr>
            <a:xfrm>
              <a:off x="779494" y="3207037"/>
              <a:ext cx="940499" cy="1066772"/>
              <a:chOff x="779494" y="3207037"/>
              <a:chExt cx="940499" cy="1066772"/>
            </a:xfrm>
          </p:grpSpPr>
          <p:sp>
            <p:nvSpPr>
              <p:cNvPr id="571" name="Freeform 403">
                <a:extLst>
                  <a:ext uri="{FF2B5EF4-FFF2-40B4-BE49-F238E27FC236}">
                    <a16:creationId xmlns:a16="http://schemas.microsoft.com/office/drawing/2014/main" id="{80F75B83-DFBF-465E-A7BA-EAD73A41011F}"/>
                  </a:ext>
                </a:extLst>
              </p:cNvPr>
              <p:cNvSpPr>
                <a:spLocks/>
              </p:cNvSpPr>
              <p:nvPr/>
            </p:nvSpPr>
            <p:spPr bwMode="auto">
              <a:xfrm>
                <a:off x="779494" y="3207037"/>
                <a:ext cx="940499" cy="1066772"/>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572" name="Freeform: Shape 571">
                <a:extLst>
                  <a:ext uri="{FF2B5EF4-FFF2-40B4-BE49-F238E27FC236}">
                    <a16:creationId xmlns:a16="http://schemas.microsoft.com/office/drawing/2014/main" id="{6FBCB9A8-4BDF-441B-AE4E-48FEBBF942E3}"/>
                  </a:ext>
                </a:extLst>
              </p:cNvPr>
              <p:cNvSpPr>
                <a:spLocks noChangeArrowheads="1"/>
              </p:cNvSpPr>
              <p:nvPr/>
            </p:nvSpPr>
            <p:spPr bwMode="auto">
              <a:xfrm>
                <a:off x="927946" y="3539345"/>
                <a:ext cx="498795" cy="729933"/>
              </a:xfrm>
              <a:custGeom>
                <a:avLst/>
                <a:gdLst>
                  <a:gd name="connsiteX0" fmla="*/ 0 w 1666611"/>
                  <a:gd name="connsiteY0" fmla="*/ 0 h 2438907"/>
                  <a:gd name="connsiteX1" fmla="*/ 1666611 w 1666611"/>
                  <a:gd name="connsiteY1" fmla="*/ 0 h 2438907"/>
                  <a:gd name="connsiteX2" fmla="*/ 1666611 w 1666611"/>
                  <a:gd name="connsiteY2" fmla="*/ 2149762 h 2438907"/>
                  <a:gd name="connsiteX3" fmla="*/ 1653403 w 1666611"/>
                  <a:gd name="connsiteY3" fmla="*/ 2157421 h 2438907"/>
                  <a:gd name="connsiteX4" fmla="*/ 1246281 w 1666611"/>
                  <a:gd name="connsiteY4" fmla="*/ 2393487 h 2438907"/>
                  <a:gd name="connsiteX5" fmla="*/ 907021 w 1666611"/>
                  <a:gd name="connsiteY5" fmla="*/ 2393487 h 2438907"/>
                  <a:gd name="connsiteX6" fmla="*/ 80732 w 1666611"/>
                  <a:gd name="connsiteY6" fmla="*/ 1914371 h 2438907"/>
                  <a:gd name="connsiteX7" fmla="*/ 0 w 1666611"/>
                  <a:gd name="connsiteY7" fmla="*/ 1867559 h 243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611" h="2438907">
                    <a:moveTo>
                      <a:pt x="0" y="0"/>
                    </a:moveTo>
                    <a:lnTo>
                      <a:pt x="1666611" y="0"/>
                    </a:lnTo>
                    <a:lnTo>
                      <a:pt x="1666611" y="2149762"/>
                    </a:lnTo>
                    <a:lnTo>
                      <a:pt x="1653403" y="2157421"/>
                    </a:lnTo>
                    <a:cubicBezTo>
                      <a:pt x="1535361" y="2225866"/>
                      <a:pt x="1400457" y="2304089"/>
                      <a:pt x="1246281" y="2393487"/>
                    </a:cubicBezTo>
                    <a:cubicBezTo>
                      <a:pt x="1139903" y="2454047"/>
                      <a:pt x="1010524" y="2454047"/>
                      <a:pt x="907021" y="2393487"/>
                    </a:cubicBezTo>
                    <a:cubicBezTo>
                      <a:pt x="907021" y="2393487"/>
                      <a:pt x="907021" y="2393487"/>
                      <a:pt x="80732" y="1914371"/>
                    </a:cubicBezTo>
                    <a:lnTo>
                      <a:pt x="0" y="1867559"/>
                    </a:lnTo>
                    <a:close/>
                  </a:path>
                </a:pathLst>
              </a:cu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endParaRPr lang="en-IN" dirty="0"/>
              </a:p>
            </p:txBody>
          </p:sp>
          <p:sp>
            <p:nvSpPr>
              <p:cNvPr id="573" name="Freeform: Shape 572">
                <a:extLst>
                  <a:ext uri="{FF2B5EF4-FFF2-40B4-BE49-F238E27FC236}">
                    <a16:creationId xmlns:a16="http://schemas.microsoft.com/office/drawing/2014/main" id="{AEF34261-55D2-4E4F-8252-E6B6E52BB6E0}"/>
                  </a:ext>
                </a:extLst>
              </p:cNvPr>
              <p:cNvSpPr>
                <a:spLocks noChangeArrowheads="1"/>
              </p:cNvSpPr>
              <p:nvPr/>
            </p:nvSpPr>
            <p:spPr bwMode="auto">
              <a:xfrm>
                <a:off x="1426741" y="3539345"/>
                <a:ext cx="144800" cy="643396"/>
              </a:xfrm>
              <a:custGeom>
                <a:avLst/>
                <a:gdLst>
                  <a:gd name="connsiteX0" fmla="*/ 0 w 483816"/>
                  <a:gd name="connsiteY0" fmla="*/ 0 h 2149762"/>
                  <a:gd name="connsiteX1" fmla="*/ 483816 w 483816"/>
                  <a:gd name="connsiteY1" fmla="*/ 0 h 2149762"/>
                  <a:gd name="connsiteX2" fmla="*/ 483816 w 483816"/>
                  <a:gd name="connsiteY2" fmla="*/ 1869225 h 2149762"/>
                  <a:gd name="connsiteX3" fmla="*/ 412282 w 483816"/>
                  <a:gd name="connsiteY3" fmla="*/ 1910704 h 2149762"/>
                  <a:gd name="connsiteX4" fmla="*/ 151507 w 483816"/>
                  <a:gd name="connsiteY4" fmla="*/ 2061912 h 2149762"/>
                  <a:gd name="connsiteX5" fmla="*/ 0 w 483816"/>
                  <a:gd name="connsiteY5" fmla="*/ 2149762 h 214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816" h="2149762">
                    <a:moveTo>
                      <a:pt x="0" y="0"/>
                    </a:moveTo>
                    <a:lnTo>
                      <a:pt x="483816" y="0"/>
                    </a:lnTo>
                    <a:lnTo>
                      <a:pt x="483816" y="1869225"/>
                    </a:lnTo>
                    <a:lnTo>
                      <a:pt x="412282" y="1910704"/>
                    </a:lnTo>
                    <a:cubicBezTo>
                      <a:pt x="339410" y="1952958"/>
                      <a:pt x="253288" y="2002895"/>
                      <a:pt x="151507" y="2061912"/>
                    </a:cubicBezTo>
                    <a:lnTo>
                      <a:pt x="0" y="2149762"/>
                    </a:lnTo>
                    <a:close/>
                  </a:path>
                </a:pathLst>
              </a:cu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endParaRPr lang="en-IN" dirty="0"/>
              </a:p>
            </p:txBody>
          </p:sp>
          <p:sp>
            <p:nvSpPr>
              <p:cNvPr id="577" name="Freeform 168">
                <a:extLst>
                  <a:ext uri="{FF2B5EF4-FFF2-40B4-BE49-F238E27FC236}">
                    <a16:creationId xmlns:a16="http://schemas.microsoft.com/office/drawing/2014/main" id="{28CB924B-D9AD-41C3-9A80-E85F41C9FD6C}"/>
                  </a:ext>
                </a:extLst>
              </p:cNvPr>
              <p:cNvSpPr>
                <a:spLocks noEditPoints="1"/>
              </p:cNvSpPr>
              <p:nvPr/>
            </p:nvSpPr>
            <p:spPr bwMode="auto">
              <a:xfrm>
                <a:off x="975964" y="372471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78" name="Freeform 169">
                <a:extLst>
                  <a:ext uri="{FF2B5EF4-FFF2-40B4-BE49-F238E27FC236}">
                    <a16:creationId xmlns:a16="http://schemas.microsoft.com/office/drawing/2014/main" id="{B6A57681-B244-41A7-A424-C4D5837F8589}"/>
                  </a:ext>
                </a:extLst>
              </p:cNvPr>
              <p:cNvSpPr>
                <a:spLocks noEditPoints="1"/>
              </p:cNvSpPr>
              <p:nvPr/>
            </p:nvSpPr>
            <p:spPr bwMode="auto">
              <a:xfrm>
                <a:off x="975964" y="358326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79" name="Oval 170">
                <a:extLst>
                  <a:ext uri="{FF2B5EF4-FFF2-40B4-BE49-F238E27FC236}">
                    <a16:creationId xmlns:a16="http://schemas.microsoft.com/office/drawing/2014/main" id="{9BA3B8C8-9B40-41C3-88C9-C65C5E29E3E3}"/>
                  </a:ext>
                </a:extLst>
              </p:cNvPr>
              <p:cNvSpPr>
                <a:spLocks noChangeArrowheads="1"/>
              </p:cNvSpPr>
              <p:nvPr/>
            </p:nvSpPr>
            <p:spPr bwMode="auto">
              <a:xfrm>
                <a:off x="1290875" y="3769758"/>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80" name="Oval 171">
                <a:extLst>
                  <a:ext uri="{FF2B5EF4-FFF2-40B4-BE49-F238E27FC236}">
                    <a16:creationId xmlns:a16="http://schemas.microsoft.com/office/drawing/2014/main" id="{B7B7B04E-F257-4AD7-BC6F-DDA52A7B5C91}"/>
                  </a:ext>
                </a:extLst>
              </p:cNvPr>
              <p:cNvSpPr>
                <a:spLocks noChangeArrowheads="1"/>
              </p:cNvSpPr>
              <p:nvPr/>
            </p:nvSpPr>
            <p:spPr bwMode="auto">
              <a:xfrm>
                <a:off x="1331821" y="3769758"/>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81" name="Freeform 172">
                <a:extLst>
                  <a:ext uri="{FF2B5EF4-FFF2-40B4-BE49-F238E27FC236}">
                    <a16:creationId xmlns:a16="http://schemas.microsoft.com/office/drawing/2014/main" id="{7A07D551-EE90-4737-9A18-69686FB56F1F}"/>
                  </a:ext>
                </a:extLst>
              </p:cNvPr>
              <p:cNvSpPr>
                <a:spLocks noEditPoints="1"/>
              </p:cNvSpPr>
              <p:nvPr/>
            </p:nvSpPr>
            <p:spPr bwMode="auto">
              <a:xfrm>
                <a:off x="975964" y="3856862"/>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82" name="Oval 173">
                <a:extLst>
                  <a:ext uri="{FF2B5EF4-FFF2-40B4-BE49-F238E27FC236}">
                    <a16:creationId xmlns:a16="http://schemas.microsoft.com/office/drawing/2014/main" id="{F2643F2D-9E98-4900-AC92-7866CCA5E2DE}"/>
                  </a:ext>
                </a:extLst>
              </p:cNvPr>
              <p:cNvSpPr>
                <a:spLocks noChangeArrowheads="1"/>
              </p:cNvSpPr>
              <p:nvPr/>
            </p:nvSpPr>
            <p:spPr bwMode="auto">
              <a:xfrm>
                <a:off x="1290875" y="3901903"/>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83" name="Oval 174">
                <a:extLst>
                  <a:ext uri="{FF2B5EF4-FFF2-40B4-BE49-F238E27FC236}">
                    <a16:creationId xmlns:a16="http://schemas.microsoft.com/office/drawing/2014/main" id="{0328646A-DC1F-4F5B-8CA1-629B81267257}"/>
                  </a:ext>
                </a:extLst>
              </p:cNvPr>
              <p:cNvSpPr>
                <a:spLocks noChangeArrowheads="1"/>
              </p:cNvSpPr>
              <p:nvPr/>
            </p:nvSpPr>
            <p:spPr bwMode="auto">
              <a:xfrm>
                <a:off x="1331821" y="3901903"/>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84" name="Freeform 175">
                <a:extLst>
                  <a:ext uri="{FF2B5EF4-FFF2-40B4-BE49-F238E27FC236}">
                    <a16:creationId xmlns:a16="http://schemas.microsoft.com/office/drawing/2014/main" id="{876AF3F7-88E5-41B7-824A-73FA3AAC17E7}"/>
                  </a:ext>
                </a:extLst>
              </p:cNvPr>
              <p:cNvSpPr>
                <a:spLocks noEditPoints="1"/>
              </p:cNvSpPr>
              <p:nvPr/>
            </p:nvSpPr>
            <p:spPr bwMode="auto">
              <a:xfrm>
                <a:off x="975964" y="3989005"/>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85" name="Oval 176">
                <a:extLst>
                  <a:ext uri="{FF2B5EF4-FFF2-40B4-BE49-F238E27FC236}">
                    <a16:creationId xmlns:a16="http://schemas.microsoft.com/office/drawing/2014/main" id="{8F21AF69-DA84-47AA-9D22-981FB6AD6C2A}"/>
                  </a:ext>
                </a:extLst>
              </p:cNvPr>
              <p:cNvSpPr>
                <a:spLocks noChangeArrowheads="1"/>
              </p:cNvSpPr>
              <p:nvPr/>
            </p:nvSpPr>
            <p:spPr bwMode="auto">
              <a:xfrm>
                <a:off x="1290875" y="4034046"/>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86" name="Oval 177">
                <a:extLst>
                  <a:ext uri="{FF2B5EF4-FFF2-40B4-BE49-F238E27FC236}">
                    <a16:creationId xmlns:a16="http://schemas.microsoft.com/office/drawing/2014/main" id="{5E9F6B99-39F1-46E4-9694-5BB7955BDE00}"/>
                  </a:ext>
                </a:extLst>
              </p:cNvPr>
              <p:cNvSpPr>
                <a:spLocks noChangeArrowheads="1"/>
              </p:cNvSpPr>
              <p:nvPr/>
            </p:nvSpPr>
            <p:spPr bwMode="auto">
              <a:xfrm>
                <a:off x="1331821" y="4034046"/>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87" name="Oval 196">
                <a:extLst>
                  <a:ext uri="{FF2B5EF4-FFF2-40B4-BE49-F238E27FC236}">
                    <a16:creationId xmlns:a16="http://schemas.microsoft.com/office/drawing/2014/main" id="{E8C8646D-BCA0-4CF2-82C3-B8915E6CA483}"/>
                  </a:ext>
                </a:extLst>
              </p:cNvPr>
              <p:cNvSpPr>
                <a:spLocks noChangeArrowheads="1"/>
              </p:cNvSpPr>
              <p:nvPr/>
            </p:nvSpPr>
            <p:spPr bwMode="auto">
              <a:xfrm>
                <a:off x="1290875" y="3637615"/>
                <a:ext cx="24195" cy="238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88" name="Oval 197">
                <a:extLst>
                  <a:ext uri="{FF2B5EF4-FFF2-40B4-BE49-F238E27FC236}">
                    <a16:creationId xmlns:a16="http://schemas.microsoft.com/office/drawing/2014/main" id="{3A769756-AA9D-45B0-8212-0C03D2827463}"/>
                  </a:ext>
                </a:extLst>
              </p:cNvPr>
              <p:cNvSpPr>
                <a:spLocks noChangeArrowheads="1"/>
              </p:cNvSpPr>
              <p:nvPr/>
            </p:nvSpPr>
            <p:spPr bwMode="auto">
              <a:xfrm>
                <a:off x="1331821" y="3637615"/>
                <a:ext cx="24195" cy="23823"/>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89" name="Freeform: Shape 588">
                <a:extLst>
                  <a:ext uri="{FF2B5EF4-FFF2-40B4-BE49-F238E27FC236}">
                    <a16:creationId xmlns:a16="http://schemas.microsoft.com/office/drawing/2014/main" id="{8ABA4EAE-5A2D-4995-A636-52F72E3BDBCA}"/>
                  </a:ext>
                </a:extLst>
              </p:cNvPr>
              <p:cNvSpPr/>
              <p:nvPr/>
            </p:nvSpPr>
            <p:spPr bwMode="auto">
              <a:xfrm>
                <a:off x="975964" y="4121149"/>
                <a:ext cx="403131" cy="114277"/>
              </a:xfrm>
              <a:custGeom>
                <a:avLst/>
                <a:gdLst>
                  <a:gd name="connsiteX0" fmla="*/ 0 w 1346972"/>
                  <a:gd name="connsiteY0" fmla="*/ 0 h 381830"/>
                  <a:gd name="connsiteX1" fmla="*/ 1346972 w 1346972"/>
                  <a:gd name="connsiteY1" fmla="*/ 0 h 381830"/>
                  <a:gd name="connsiteX2" fmla="*/ 1346972 w 1346972"/>
                  <a:gd name="connsiteY2" fmla="*/ 298103 h 381830"/>
                  <a:gd name="connsiteX3" fmla="*/ 1302952 w 1346972"/>
                  <a:gd name="connsiteY3" fmla="*/ 323628 h 381830"/>
                  <a:gd name="connsiteX4" fmla="*/ 1202576 w 1346972"/>
                  <a:gd name="connsiteY4" fmla="*/ 381830 h 381830"/>
                  <a:gd name="connsiteX5" fmla="*/ 629845 w 1346972"/>
                  <a:gd name="connsiteY5" fmla="*/ 381830 h 381830"/>
                  <a:gd name="connsiteX6" fmla="*/ 592404 w 1346972"/>
                  <a:gd name="connsiteY6" fmla="*/ 360120 h 381830"/>
                  <a:gd name="connsiteX7" fmla="*/ 445455 w 1346972"/>
                  <a:gd name="connsiteY7" fmla="*/ 274913 h 381830"/>
                  <a:gd name="connsiteX8" fmla="*/ 427342 w 1346972"/>
                  <a:gd name="connsiteY8" fmla="*/ 264410 h 381830"/>
                  <a:gd name="connsiteX9" fmla="*/ 427342 w 1346972"/>
                  <a:gd name="connsiteY9" fmla="*/ 61140 h 381830"/>
                  <a:gd name="connsiteX10" fmla="*/ 363008 w 1346972"/>
                  <a:gd name="connsiteY10" fmla="*/ 61140 h 381830"/>
                  <a:gd name="connsiteX11" fmla="*/ 363008 w 1346972"/>
                  <a:gd name="connsiteY11" fmla="*/ 227107 h 381830"/>
                  <a:gd name="connsiteX12" fmla="*/ 345783 w 1346972"/>
                  <a:gd name="connsiteY12" fmla="*/ 217119 h 381830"/>
                  <a:gd name="connsiteX13" fmla="*/ 326977 w 1346972"/>
                  <a:gd name="connsiteY13" fmla="*/ 206215 h 381830"/>
                  <a:gd name="connsiteX14" fmla="*/ 326977 w 1346972"/>
                  <a:gd name="connsiteY14" fmla="*/ 61140 h 381830"/>
                  <a:gd name="connsiteX15" fmla="*/ 262643 w 1346972"/>
                  <a:gd name="connsiteY15" fmla="*/ 61140 h 381830"/>
                  <a:gd name="connsiteX16" fmla="*/ 262643 w 1346972"/>
                  <a:gd name="connsiteY16" fmla="*/ 168911 h 381830"/>
                  <a:gd name="connsiteX17" fmla="*/ 226612 w 1346972"/>
                  <a:gd name="connsiteY17" fmla="*/ 148019 h 381830"/>
                  <a:gd name="connsiteX18" fmla="*/ 226612 w 1346972"/>
                  <a:gd name="connsiteY18" fmla="*/ 61140 h 381830"/>
                  <a:gd name="connsiteX19" fmla="*/ 162278 w 1346972"/>
                  <a:gd name="connsiteY19" fmla="*/ 61140 h 381830"/>
                  <a:gd name="connsiteX20" fmla="*/ 162278 w 1346972"/>
                  <a:gd name="connsiteY20" fmla="*/ 110715 h 381830"/>
                  <a:gd name="connsiteX21" fmla="*/ 126247 w 1346972"/>
                  <a:gd name="connsiteY21" fmla="*/ 89823 h 381830"/>
                  <a:gd name="connsiteX22" fmla="*/ 126247 w 1346972"/>
                  <a:gd name="connsiteY22" fmla="*/ 61140 h 381830"/>
                  <a:gd name="connsiteX23" fmla="*/ 76781 w 1346972"/>
                  <a:gd name="connsiteY23" fmla="*/ 61140 h 381830"/>
                  <a:gd name="connsiteX24" fmla="*/ 0 w 1346972"/>
                  <a:gd name="connsiteY24" fmla="*/ 16620 h 38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6972" h="381830">
                    <a:moveTo>
                      <a:pt x="0" y="0"/>
                    </a:moveTo>
                    <a:lnTo>
                      <a:pt x="1346972" y="0"/>
                    </a:lnTo>
                    <a:lnTo>
                      <a:pt x="1346972" y="298103"/>
                    </a:lnTo>
                    <a:lnTo>
                      <a:pt x="1302952" y="323628"/>
                    </a:lnTo>
                    <a:lnTo>
                      <a:pt x="1202576" y="381830"/>
                    </a:lnTo>
                    <a:lnTo>
                      <a:pt x="629845" y="381830"/>
                    </a:lnTo>
                    <a:lnTo>
                      <a:pt x="592404" y="360120"/>
                    </a:lnTo>
                    <a:cubicBezTo>
                      <a:pt x="553860" y="337771"/>
                      <a:pt x="505680" y="309834"/>
                      <a:pt x="445455" y="274913"/>
                    </a:cubicBezTo>
                    <a:lnTo>
                      <a:pt x="427342" y="264410"/>
                    </a:lnTo>
                    <a:lnTo>
                      <a:pt x="427342" y="61140"/>
                    </a:lnTo>
                    <a:lnTo>
                      <a:pt x="363008" y="61140"/>
                    </a:lnTo>
                    <a:lnTo>
                      <a:pt x="363008" y="227107"/>
                    </a:lnTo>
                    <a:lnTo>
                      <a:pt x="345783" y="217119"/>
                    </a:lnTo>
                    <a:lnTo>
                      <a:pt x="326977" y="206215"/>
                    </a:lnTo>
                    <a:lnTo>
                      <a:pt x="326977" y="61140"/>
                    </a:lnTo>
                    <a:lnTo>
                      <a:pt x="262643" y="61140"/>
                    </a:lnTo>
                    <a:lnTo>
                      <a:pt x="262643" y="168911"/>
                    </a:lnTo>
                    <a:lnTo>
                      <a:pt x="226612" y="148019"/>
                    </a:lnTo>
                    <a:lnTo>
                      <a:pt x="226612" y="61140"/>
                    </a:lnTo>
                    <a:lnTo>
                      <a:pt x="162278" y="61140"/>
                    </a:lnTo>
                    <a:lnTo>
                      <a:pt x="162278" y="110715"/>
                    </a:lnTo>
                    <a:lnTo>
                      <a:pt x="126247" y="89823"/>
                    </a:lnTo>
                    <a:lnTo>
                      <a:pt x="126247" y="61140"/>
                    </a:lnTo>
                    <a:lnTo>
                      <a:pt x="76781" y="61140"/>
                    </a:lnTo>
                    <a:lnTo>
                      <a:pt x="0" y="1662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84" name="Group 483">
              <a:extLst>
                <a:ext uri="{FF2B5EF4-FFF2-40B4-BE49-F238E27FC236}">
                  <a16:creationId xmlns:a16="http://schemas.microsoft.com/office/drawing/2014/main" id="{A31267AD-303E-4286-A671-2AED713281C3}"/>
                </a:ext>
              </a:extLst>
            </p:cNvPr>
            <p:cNvGrpSpPr/>
            <p:nvPr/>
          </p:nvGrpSpPr>
          <p:grpSpPr>
            <a:xfrm>
              <a:off x="859461" y="3322964"/>
              <a:ext cx="587778" cy="591036"/>
              <a:chOff x="892466" y="3356290"/>
              <a:chExt cx="451453" cy="453957"/>
            </a:xfrm>
          </p:grpSpPr>
          <p:grpSp>
            <p:nvGrpSpPr>
              <p:cNvPr id="485" name="Group 484">
                <a:extLst>
                  <a:ext uri="{FF2B5EF4-FFF2-40B4-BE49-F238E27FC236}">
                    <a16:creationId xmlns:a16="http://schemas.microsoft.com/office/drawing/2014/main" id="{6EB487D6-9BBA-423E-BDE3-97F2DD6D8861}"/>
                  </a:ext>
                </a:extLst>
              </p:cNvPr>
              <p:cNvGrpSpPr/>
              <p:nvPr/>
            </p:nvGrpSpPr>
            <p:grpSpPr>
              <a:xfrm flipH="1">
                <a:off x="892466" y="3356290"/>
                <a:ext cx="451453" cy="453957"/>
                <a:chOff x="2593291" y="4312951"/>
                <a:chExt cx="924471" cy="929599"/>
              </a:xfrm>
            </p:grpSpPr>
            <p:sp>
              <p:nvSpPr>
                <p:cNvPr id="558" name="Freeform 60">
                  <a:extLst>
                    <a:ext uri="{FF2B5EF4-FFF2-40B4-BE49-F238E27FC236}">
                      <a16:creationId xmlns:a16="http://schemas.microsoft.com/office/drawing/2014/main" id="{4487F827-D632-4705-A38D-D02661063124}"/>
                    </a:ext>
                  </a:extLst>
                </p:cNvPr>
                <p:cNvSpPr>
                  <a:spLocks/>
                </p:cNvSpPr>
                <p:nvPr/>
              </p:nvSpPr>
              <p:spPr bwMode="auto">
                <a:xfrm>
                  <a:off x="2632594" y="4352255"/>
                  <a:ext cx="584416" cy="587834"/>
                </a:xfrm>
                <a:custGeom>
                  <a:avLst/>
                  <a:gdLst>
                    <a:gd name="T0" fmla="*/ 45 w 252"/>
                    <a:gd name="T1" fmla="*/ 207 h 252"/>
                    <a:gd name="T2" fmla="*/ 207 w 252"/>
                    <a:gd name="T3" fmla="*/ 207 h 252"/>
                    <a:gd name="T4" fmla="*/ 207 w 252"/>
                    <a:gd name="T5" fmla="*/ 45 h 252"/>
                    <a:gd name="T6" fmla="*/ 45 w 252"/>
                    <a:gd name="T7" fmla="*/ 45 h 252"/>
                    <a:gd name="T8" fmla="*/ 45 w 252"/>
                    <a:gd name="T9" fmla="*/ 207 h 252"/>
                  </a:gdLst>
                  <a:ahLst/>
                  <a:cxnLst>
                    <a:cxn ang="0">
                      <a:pos x="T0" y="T1"/>
                    </a:cxn>
                    <a:cxn ang="0">
                      <a:pos x="T2" y="T3"/>
                    </a:cxn>
                    <a:cxn ang="0">
                      <a:pos x="T4" y="T5"/>
                    </a:cxn>
                    <a:cxn ang="0">
                      <a:pos x="T6" y="T7"/>
                    </a:cxn>
                    <a:cxn ang="0">
                      <a:pos x="T8" y="T9"/>
                    </a:cxn>
                  </a:cxnLst>
                  <a:rect l="0" t="0" r="r" b="b"/>
                  <a:pathLst>
                    <a:path w="252" h="252">
                      <a:moveTo>
                        <a:pt x="45" y="207"/>
                      </a:moveTo>
                      <a:cubicBezTo>
                        <a:pt x="90" y="252"/>
                        <a:pt x="163" y="252"/>
                        <a:pt x="207" y="207"/>
                      </a:cubicBezTo>
                      <a:cubicBezTo>
                        <a:pt x="252" y="162"/>
                        <a:pt x="252" y="90"/>
                        <a:pt x="207" y="45"/>
                      </a:cubicBezTo>
                      <a:cubicBezTo>
                        <a:pt x="163" y="0"/>
                        <a:pt x="90" y="0"/>
                        <a:pt x="45" y="45"/>
                      </a:cubicBezTo>
                      <a:cubicBezTo>
                        <a:pt x="0" y="90"/>
                        <a:pt x="0" y="162"/>
                        <a:pt x="45" y="207"/>
                      </a:cubicBezTo>
                    </a:path>
                  </a:pathLst>
                </a:custGeom>
                <a:solidFill>
                  <a:srgbClr val="E6E6E5">
                    <a:alpha val="3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6" name="Freeform 64">
                  <a:extLst>
                    <a:ext uri="{FF2B5EF4-FFF2-40B4-BE49-F238E27FC236}">
                      <a16:creationId xmlns:a16="http://schemas.microsoft.com/office/drawing/2014/main" id="{651DD7BE-2486-4B94-839E-3ACE2FEF7FCA}"/>
                    </a:ext>
                  </a:extLst>
                </p:cNvPr>
                <p:cNvSpPr>
                  <a:spLocks noEditPoints="1"/>
                </p:cNvSpPr>
                <p:nvPr/>
              </p:nvSpPr>
              <p:spPr bwMode="auto">
                <a:xfrm>
                  <a:off x="2593291" y="4312951"/>
                  <a:ext cx="669857" cy="673275"/>
                </a:xfrm>
                <a:custGeom>
                  <a:avLst/>
                  <a:gdLst>
                    <a:gd name="T0" fmla="*/ 289 w 289"/>
                    <a:gd name="T1" fmla="*/ 268 h 289"/>
                    <a:gd name="T2" fmla="*/ 246 w 289"/>
                    <a:gd name="T3" fmla="*/ 224 h 289"/>
                    <a:gd name="T4" fmla="*/ 236 w 289"/>
                    <a:gd name="T5" fmla="*/ 51 h 289"/>
                    <a:gd name="T6" fmla="*/ 51 w 289"/>
                    <a:gd name="T7" fmla="*/ 51 h 289"/>
                    <a:gd name="T8" fmla="*/ 51 w 289"/>
                    <a:gd name="T9" fmla="*/ 235 h 289"/>
                    <a:gd name="T10" fmla="*/ 225 w 289"/>
                    <a:gd name="T11" fmla="*/ 245 h 289"/>
                    <a:gd name="T12" fmla="*/ 268 w 289"/>
                    <a:gd name="T13" fmla="*/ 289 h 289"/>
                    <a:gd name="T14" fmla="*/ 289 w 289"/>
                    <a:gd name="T15" fmla="*/ 268 h 289"/>
                    <a:gd name="T16" fmla="*/ 70 w 289"/>
                    <a:gd name="T17" fmla="*/ 216 h 289"/>
                    <a:gd name="T18" fmla="*/ 70 w 289"/>
                    <a:gd name="T19" fmla="*/ 70 h 289"/>
                    <a:gd name="T20" fmla="*/ 216 w 289"/>
                    <a:gd name="T21" fmla="*/ 70 h 289"/>
                    <a:gd name="T22" fmla="*/ 216 w 289"/>
                    <a:gd name="T23" fmla="*/ 216 h 289"/>
                    <a:gd name="T24" fmla="*/ 70 w 289"/>
                    <a:gd name="T25" fmla="*/ 21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 h="289">
                      <a:moveTo>
                        <a:pt x="289" y="268"/>
                      </a:moveTo>
                      <a:cubicBezTo>
                        <a:pt x="246" y="224"/>
                        <a:pt x="246" y="224"/>
                        <a:pt x="246" y="224"/>
                      </a:cubicBezTo>
                      <a:cubicBezTo>
                        <a:pt x="286" y="173"/>
                        <a:pt x="283" y="98"/>
                        <a:pt x="236" y="51"/>
                      </a:cubicBezTo>
                      <a:cubicBezTo>
                        <a:pt x="185" y="0"/>
                        <a:pt x="102" y="0"/>
                        <a:pt x="51" y="51"/>
                      </a:cubicBezTo>
                      <a:cubicBezTo>
                        <a:pt x="0" y="102"/>
                        <a:pt x="0" y="184"/>
                        <a:pt x="51" y="235"/>
                      </a:cubicBezTo>
                      <a:cubicBezTo>
                        <a:pt x="98" y="283"/>
                        <a:pt x="173" y="286"/>
                        <a:pt x="225" y="245"/>
                      </a:cubicBezTo>
                      <a:cubicBezTo>
                        <a:pt x="268" y="289"/>
                        <a:pt x="268" y="289"/>
                        <a:pt x="268" y="289"/>
                      </a:cubicBezTo>
                      <a:lnTo>
                        <a:pt x="289" y="268"/>
                      </a:lnTo>
                      <a:close/>
                      <a:moveTo>
                        <a:pt x="70" y="216"/>
                      </a:moveTo>
                      <a:cubicBezTo>
                        <a:pt x="30" y="176"/>
                        <a:pt x="30" y="110"/>
                        <a:pt x="70" y="70"/>
                      </a:cubicBezTo>
                      <a:cubicBezTo>
                        <a:pt x="111" y="30"/>
                        <a:pt x="176" y="30"/>
                        <a:pt x="216" y="70"/>
                      </a:cubicBezTo>
                      <a:cubicBezTo>
                        <a:pt x="257" y="110"/>
                        <a:pt x="257" y="176"/>
                        <a:pt x="216" y="216"/>
                      </a:cubicBezTo>
                      <a:cubicBezTo>
                        <a:pt x="176" y="256"/>
                        <a:pt x="111" y="256"/>
                        <a:pt x="70" y="21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8" name="Freeform 65">
                  <a:extLst>
                    <a:ext uri="{FF2B5EF4-FFF2-40B4-BE49-F238E27FC236}">
                      <a16:creationId xmlns:a16="http://schemas.microsoft.com/office/drawing/2014/main" id="{3B80BFAC-8428-46D1-80DC-57B137380509}"/>
                    </a:ext>
                  </a:extLst>
                </p:cNvPr>
                <p:cNvSpPr>
                  <a:spLocks/>
                </p:cNvSpPr>
                <p:nvPr/>
              </p:nvSpPr>
              <p:spPr bwMode="auto">
                <a:xfrm>
                  <a:off x="3157201" y="4878571"/>
                  <a:ext cx="360561" cy="363979"/>
                </a:xfrm>
                <a:custGeom>
                  <a:avLst/>
                  <a:gdLst>
                    <a:gd name="T0" fmla="*/ 122 w 156"/>
                    <a:gd name="T1" fmla="*/ 153 h 156"/>
                    <a:gd name="T2" fmla="*/ 153 w 156"/>
                    <a:gd name="T3" fmla="*/ 122 h 156"/>
                    <a:gd name="T4" fmla="*/ 153 w 156"/>
                    <a:gd name="T5" fmla="*/ 113 h 156"/>
                    <a:gd name="T6" fmla="*/ 43 w 156"/>
                    <a:gd name="T7" fmla="*/ 2 h 156"/>
                    <a:gd name="T8" fmla="*/ 34 w 156"/>
                    <a:gd name="T9" fmla="*/ 2 h 156"/>
                    <a:gd name="T10" fmla="*/ 3 w 156"/>
                    <a:gd name="T11" fmla="*/ 33 h 156"/>
                    <a:gd name="T12" fmla="*/ 3 w 156"/>
                    <a:gd name="T13" fmla="*/ 43 h 156"/>
                    <a:gd name="T14" fmla="*/ 113 w 156"/>
                    <a:gd name="T15" fmla="*/ 153 h 156"/>
                    <a:gd name="T16" fmla="*/ 122 w 156"/>
                    <a:gd name="T17" fmla="*/ 15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56">
                      <a:moveTo>
                        <a:pt x="122" y="153"/>
                      </a:moveTo>
                      <a:cubicBezTo>
                        <a:pt x="153" y="122"/>
                        <a:pt x="153" y="122"/>
                        <a:pt x="153" y="122"/>
                      </a:cubicBezTo>
                      <a:cubicBezTo>
                        <a:pt x="156" y="120"/>
                        <a:pt x="156" y="115"/>
                        <a:pt x="153" y="113"/>
                      </a:cubicBezTo>
                      <a:cubicBezTo>
                        <a:pt x="43" y="2"/>
                        <a:pt x="43" y="2"/>
                        <a:pt x="43" y="2"/>
                      </a:cubicBezTo>
                      <a:cubicBezTo>
                        <a:pt x="41" y="0"/>
                        <a:pt x="36" y="0"/>
                        <a:pt x="34" y="2"/>
                      </a:cubicBezTo>
                      <a:cubicBezTo>
                        <a:pt x="3" y="33"/>
                        <a:pt x="3" y="33"/>
                        <a:pt x="3" y="33"/>
                      </a:cubicBezTo>
                      <a:cubicBezTo>
                        <a:pt x="0" y="36"/>
                        <a:pt x="0" y="40"/>
                        <a:pt x="3" y="43"/>
                      </a:cubicBezTo>
                      <a:cubicBezTo>
                        <a:pt x="113" y="153"/>
                        <a:pt x="113" y="153"/>
                        <a:pt x="113" y="153"/>
                      </a:cubicBezTo>
                      <a:cubicBezTo>
                        <a:pt x="115" y="156"/>
                        <a:pt x="120" y="156"/>
                        <a:pt x="122" y="15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0" name="Freeform 67">
                  <a:extLst>
                    <a:ext uri="{FF2B5EF4-FFF2-40B4-BE49-F238E27FC236}">
                      <a16:creationId xmlns:a16="http://schemas.microsoft.com/office/drawing/2014/main" id="{51D1540A-1B53-4782-B795-14E5A41C5D20}"/>
                    </a:ext>
                  </a:extLst>
                </p:cNvPr>
                <p:cNvSpPr>
                  <a:spLocks/>
                </p:cNvSpPr>
                <p:nvPr/>
              </p:nvSpPr>
              <p:spPr bwMode="auto">
                <a:xfrm>
                  <a:off x="3157201" y="4921291"/>
                  <a:ext cx="360561" cy="321258"/>
                </a:xfrm>
                <a:custGeom>
                  <a:avLst/>
                  <a:gdLst>
                    <a:gd name="T0" fmla="*/ 3 w 156"/>
                    <a:gd name="T1" fmla="*/ 15 h 138"/>
                    <a:gd name="T2" fmla="*/ 18 w 156"/>
                    <a:gd name="T3" fmla="*/ 0 h 138"/>
                    <a:gd name="T4" fmla="*/ 126 w 156"/>
                    <a:gd name="T5" fmla="*/ 107 h 138"/>
                    <a:gd name="T6" fmla="*/ 130 w 156"/>
                    <a:gd name="T7" fmla="*/ 107 h 138"/>
                    <a:gd name="T8" fmla="*/ 148 w 156"/>
                    <a:gd name="T9" fmla="*/ 89 h 138"/>
                    <a:gd name="T10" fmla="*/ 154 w 156"/>
                    <a:gd name="T11" fmla="*/ 95 h 138"/>
                    <a:gd name="T12" fmla="*/ 154 w 156"/>
                    <a:gd name="T13" fmla="*/ 104 h 138"/>
                    <a:gd name="T14" fmla="*/ 122 w 156"/>
                    <a:gd name="T15" fmla="*/ 136 h 138"/>
                    <a:gd name="T16" fmla="*/ 113 w 156"/>
                    <a:gd name="T17" fmla="*/ 136 h 138"/>
                    <a:gd name="T18" fmla="*/ 3 w 156"/>
                    <a:gd name="T19" fmla="*/ 25 h 138"/>
                    <a:gd name="T20" fmla="*/ 3 w 156"/>
                    <a:gd name="T2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38">
                      <a:moveTo>
                        <a:pt x="3" y="15"/>
                      </a:moveTo>
                      <a:cubicBezTo>
                        <a:pt x="18" y="0"/>
                        <a:pt x="18" y="0"/>
                        <a:pt x="18" y="0"/>
                      </a:cubicBezTo>
                      <a:cubicBezTo>
                        <a:pt x="126" y="107"/>
                        <a:pt x="126" y="107"/>
                        <a:pt x="126" y="107"/>
                      </a:cubicBezTo>
                      <a:cubicBezTo>
                        <a:pt x="127" y="108"/>
                        <a:pt x="129" y="108"/>
                        <a:pt x="130" y="107"/>
                      </a:cubicBezTo>
                      <a:cubicBezTo>
                        <a:pt x="148" y="89"/>
                        <a:pt x="148" y="89"/>
                        <a:pt x="148" y="89"/>
                      </a:cubicBezTo>
                      <a:cubicBezTo>
                        <a:pt x="154" y="95"/>
                        <a:pt x="154" y="95"/>
                        <a:pt x="154" y="95"/>
                      </a:cubicBezTo>
                      <a:cubicBezTo>
                        <a:pt x="156" y="97"/>
                        <a:pt x="156" y="101"/>
                        <a:pt x="154" y="104"/>
                      </a:cubicBezTo>
                      <a:cubicBezTo>
                        <a:pt x="122" y="136"/>
                        <a:pt x="122" y="136"/>
                        <a:pt x="122" y="136"/>
                      </a:cubicBezTo>
                      <a:cubicBezTo>
                        <a:pt x="120" y="138"/>
                        <a:pt x="116" y="138"/>
                        <a:pt x="113" y="136"/>
                      </a:cubicBezTo>
                      <a:cubicBezTo>
                        <a:pt x="3" y="25"/>
                        <a:pt x="3" y="25"/>
                        <a:pt x="3" y="25"/>
                      </a:cubicBezTo>
                      <a:cubicBezTo>
                        <a:pt x="0" y="22"/>
                        <a:pt x="0" y="18"/>
                        <a:pt x="3" y="15"/>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nvGrpSpPr>
              <p:cNvPr id="486" name="Group 485">
                <a:extLst>
                  <a:ext uri="{FF2B5EF4-FFF2-40B4-BE49-F238E27FC236}">
                    <a16:creationId xmlns:a16="http://schemas.microsoft.com/office/drawing/2014/main" id="{2C7CDF09-6060-4F40-91C9-A9A4CD17040F}"/>
                  </a:ext>
                </a:extLst>
              </p:cNvPr>
              <p:cNvGrpSpPr/>
              <p:nvPr/>
            </p:nvGrpSpPr>
            <p:grpSpPr>
              <a:xfrm>
                <a:off x="1083072" y="3433338"/>
                <a:ext cx="154379" cy="171350"/>
                <a:chOff x="5925200" y="3293204"/>
                <a:chExt cx="515824" cy="572529"/>
              </a:xfrm>
            </p:grpSpPr>
            <p:sp>
              <p:nvSpPr>
                <p:cNvPr id="487" name="Freeform 357">
                  <a:extLst>
                    <a:ext uri="{FF2B5EF4-FFF2-40B4-BE49-F238E27FC236}">
                      <a16:creationId xmlns:a16="http://schemas.microsoft.com/office/drawing/2014/main" id="{07CCE881-433A-4586-8782-924C1DA21476}"/>
                    </a:ext>
                  </a:extLst>
                </p:cNvPr>
                <p:cNvSpPr>
                  <a:spLocks noEditPoints="1"/>
                </p:cNvSpPr>
                <p:nvPr/>
              </p:nvSpPr>
              <p:spPr bwMode="auto">
                <a:xfrm rot="2700000">
                  <a:off x="5954544" y="3455891"/>
                  <a:ext cx="327262" cy="280456"/>
                </a:xfrm>
                <a:custGeom>
                  <a:avLst/>
                  <a:gdLst>
                    <a:gd name="T0" fmla="*/ 327 w 337"/>
                    <a:gd name="T1" fmla="*/ 18 h 289"/>
                    <a:gd name="T2" fmla="*/ 309 w 337"/>
                    <a:gd name="T3" fmla="*/ 0 h 289"/>
                    <a:gd name="T4" fmla="*/ 269 w 337"/>
                    <a:gd name="T5" fmla="*/ 39 h 289"/>
                    <a:gd name="T6" fmla="*/ 269 w 337"/>
                    <a:gd name="T7" fmla="*/ 39 h 289"/>
                    <a:gd name="T8" fmla="*/ 125 w 337"/>
                    <a:gd name="T9" fmla="*/ 184 h 289"/>
                    <a:gd name="T10" fmla="*/ 116 w 337"/>
                    <a:gd name="T11" fmla="*/ 173 h 289"/>
                    <a:gd name="T12" fmla="*/ 26 w 337"/>
                    <a:gd name="T13" fmla="*/ 173 h 289"/>
                    <a:gd name="T14" fmla="*/ 26 w 337"/>
                    <a:gd name="T15" fmla="*/ 264 h 289"/>
                    <a:gd name="T16" fmla="*/ 115 w 337"/>
                    <a:gd name="T17" fmla="*/ 265 h 289"/>
                    <a:gd name="T18" fmla="*/ 116 w 337"/>
                    <a:gd name="T19" fmla="*/ 265 h 289"/>
                    <a:gd name="T20" fmla="*/ 157 w 337"/>
                    <a:gd name="T21" fmla="*/ 223 h 289"/>
                    <a:gd name="T22" fmla="*/ 230 w 337"/>
                    <a:gd name="T23" fmla="*/ 151 h 289"/>
                    <a:gd name="T24" fmla="*/ 327 w 337"/>
                    <a:gd name="T25" fmla="*/ 53 h 289"/>
                    <a:gd name="T26" fmla="*/ 327 w 337"/>
                    <a:gd name="T27" fmla="*/ 18 h 289"/>
                    <a:gd name="T28" fmla="*/ 97 w 337"/>
                    <a:gd name="T29" fmla="*/ 245 h 289"/>
                    <a:gd name="T30" fmla="*/ 44 w 337"/>
                    <a:gd name="T31" fmla="*/ 245 h 289"/>
                    <a:gd name="T32" fmla="*/ 44 w 337"/>
                    <a:gd name="T33" fmla="*/ 192 h 289"/>
                    <a:gd name="T34" fmla="*/ 97 w 337"/>
                    <a:gd name="T35" fmla="*/ 192 h 289"/>
                    <a:gd name="T36" fmla="*/ 97 w 337"/>
                    <a:gd name="T37" fmla="*/ 24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7" h="289">
                      <a:moveTo>
                        <a:pt x="327" y="18"/>
                      </a:moveTo>
                      <a:cubicBezTo>
                        <a:pt x="309" y="0"/>
                        <a:pt x="309" y="0"/>
                        <a:pt x="309" y="0"/>
                      </a:cubicBezTo>
                      <a:cubicBezTo>
                        <a:pt x="269" y="39"/>
                        <a:pt x="269" y="39"/>
                        <a:pt x="269" y="39"/>
                      </a:cubicBezTo>
                      <a:cubicBezTo>
                        <a:pt x="269" y="39"/>
                        <a:pt x="269" y="39"/>
                        <a:pt x="269" y="39"/>
                      </a:cubicBezTo>
                      <a:cubicBezTo>
                        <a:pt x="125" y="184"/>
                        <a:pt x="125" y="184"/>
                        <a:pt x="125" y="184"/>
                      </a:cubicBezTo>
                      <a:cubicBezTo>
                        <a:pt x="123" y="180"/>
                        <a:pt x="120" y="176"/>
                        <a:pt x="116" y="173"/>
                      </a:cubicBezTo>
                      <a:cubicBezTo>
                        <a:pt x="91" y="148"/>
                        <a:pt x="51" y="148"/>
                        <a:pt x="26" y="173"/>
                      </a:cubicBezTo>
                      <a:cubicBezTo>
                        <a:pt x="0" y="198"/>
                        <a:pt x="0" y="239"/>
                        <a:pt x="26" y="264"/>
                      </a:cubicBezTo>
                      <a:cubicBezTo>
                        <a:pt x="50" y="289"/>
                        <a:pt x="90" y="289"/>
                        <a:pt x="115" y="265"/>
                      </a:cubicBezTo>
                      <a:cubicBezTo>
                        <a:pt x="116" y="265"/>
                        <a:pt x="116" y="265"/>
                        <a:pt x="116" y="265"/>
                      </a:cubicBezTo>
                      <a:cubicBezTo>
                        <a:pt x="157" y="223"/>
                        <a:pt x="157" y="223"/>
                        <a:pt x="157" y="223"/>
                      </a:cubicBezTo>
                      <a:cubicBezTo>
                        <a:pt x="230" y="151"/>
                        <a:pt x="230" y="151"/>
                        <a:pt x="230" y="151"/>
                      </a:cubicBezTo>
                      <a:cubicBezTo>
                        <a:pt x="327" y="53"/>
                        <a:pt x="327" y="53"/>
                        <a:pt x="327" y="53"/>
                      </a:cubicBezTo>
                      <a:cubicBezTo>
                        <a:pt x="337" y="44"/>
                        <a:pt x="337" y="28"/>
                        <a:pt x="327" y="18"/>
                      </a:cubicBezTo>
                      <a:close/>
                      <a:moveTo>
                        <a:pt x="97" y="245"/>
                      </a:moveTo>
                      <a:cubicBezTo>
                        <a:pt x="83" y="260"/>
                        <a:pt x="59" y="260"/>
                        <a:pt x="44" y="245"/>
                      </a:cubicBezTo>
                      <a:cubicBezTo>
                        <a:pt x="30" y="230"/>
                        <a:pt x="30" y="207"/>
                        <a:pt x="44" y="192"/>
                      </a:cubicBezTo>
                      <a:cubicBezTo>
                        <a:pt x="59" y="177"/>
                        <a:pt x="83" y="177"/>
                        <a:pt x="97" y="192"/>
                      </a:cubicBezTo>
                      <a:cubicBezTo>
                        <a:pt x="112" y="207"/>
                        <a:pt x="112" y="230"/>
                        <a:pt x="97" y="24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91" name="Freeform 31">
                  <a:extLst>
                    <a:ext uri="{FF2B5EF4-FFF2-40B4-BE49-F238E27FC236}">
                      <a16:creationId xmlns:a16="http://schemas.microsoft.com/office/drawing/2014/main" id="{5D777334-FFF9-483C-BC29-2471A58D9BA4}"/>
                    </a:ext>
                  </a:extLst>
                </p:cNvPr>
                <p:cNvSpPr>
                  <a:spLocks/>
                </p:cNvSpPr>
                <p:nvPr/>
              </p:nvSpPr>
              <p:spPr bwMode="auto">
                <a:xfrm>
                  <a:off x="6135709" y="3293204"/>
                  <a:ext cx="305315" cy="572529"/>
                </a:xfrm>
                <a:custGeom>
                  <a:avLst/>
                  <a:gdLst>
                    <a:gd name="T0" fmla="*/ 73 w 73"/>
                    <a:gd name="T1" fmla="*/ 86 h 134"/>
                    <a:gd name="T2" fmla="*/ 72 w 73"/>
                    <a:gd name="T3" fmla="*/ 95 h 134"/>
                    <a:gd name="T4" fmla="*/ 68 w 73"/>
                    <a:gd name="T5" fmla="*/ 103 h 134"/>
                    <a:gd name="T6" fmla="*/ 60 w 73"/>
                    <a:gd name="T7" fmla="*/ 111 h 134"/>
                    <a:gd name="T8" fmla="*/ 47 w 73"/>
                    <a:gd name="T9" fmla="*/ 117 h 134"/>
                    <a:gd name="T10" fmla="*/ 47 w 73"/>
                    <a:gd name="T11" fmla="*/ 134 h 134"/>
                    <a:gd name="T12" fmla="*/ 29 w 73"/>
                    <a:gd name="T13" fmla="*/ 134 h 134"/>
                    <a:gd name="T14" fmla="*/ 29 w 73"/>
                    <a:gd name="T15" fmla="*/ 119 h 134"/>
                    <a:gd name="T16" fmla="*/ 21 w 73"/>
                    <a:gd name="T17" fmla="*/ 118 h 134"/>
                    <a:gd name="T18" fmla="*/ 13 w 73"/>
                    <a:gd name="T19" fmla="*/ 117 h 134"/>
                    <a:gd name="T20" fmla="*/ 6 w 73"/>
                    <a:gd name="T21" fmla="*/ 115 h 134"/>
                    <a:gd name="T22" fmla="*/ 1 w 73"/>
                    <a:gd name="T23" fmla="*/ 113 h 134"/>
                    <a:gd name="T24" fmla="*/ 1 w 73"/>
                    <a:gd name="T25" fmla="*/ 85 h 134"/>
                    <a:gd name="T26" fmla="*/ 16 w 73"/>
                    <a:gd name="T27" fmla="*/ 93 h 134"/>
                    <a:gd name="T28" fmla="*/ 31 w 73"/>
                    <a:gd name="T29" fmla="*/ 96 h 134"/>
                    <a:gd name="T30" fmla="*/ 35 w 73"/>
                    <a:gd name="T31" fmla="*/ 95 h 134"/>
                    <a:gd name="T32" fmla="*/ 38 w 73"/>
                    <a:gd name="T33" fmla="*/ 94 h 134"/>
                    <a:gd name="T34" fmla="*/ 39 w 73"/>
                    <a:gd name="T35" fmla="*/ 92 h 134"/>
                    <a:gd name="T36" fmla="*/ 40 w 73"/>
                    <a:gd name="T37" fmla="*/ 89 h 134"/>
                    <a:gd name="T38" fmla="*/ 39 w 73"/>
                    <a:gd name="T39" fmla="*/ 86 h 134"/>
                    <a:gd name="T40" fmla="*/ 37 w 73"/>
                    <a:gd name="T41" fmla="*/ 83 h 134"/>
                    <a:gd name="T42" fmla="*/ 32 w 73"/>
                    <a:gd name="T43" fmla="*/ 80 h 134"/>
                    <a:gd name="T44" fmla="*/ 24 w 73"/>
                    <a:gd name="T45" fmla="*/ 77 h 134"/>
                    <a:gd name="T46" fmla="*/ 13 w 73"/>
                    <a:gd name="T47" fmla="*/ 71 h 134"/>
                    <a:gd name="T48" fmla="*/ 5 w 73"/>
                    <a:gd name="T49" fmla="*/ 63 h 134"/>
                    <a:gd name="T50" fmla="*/ 1 w 73"/>
                    <a:gd name="T51" fmla="*/ 55 h 134"/>
                    <a:gd name="T52" fmla="*/ 0 w 73"/>
                    <a:gd name="T53" fmla="*/ 46 h 134"/>
                    <a:gd name="T54" fmla="*/ 2 w 73"/>
                    <a:gd name="T55" fmla="*/ 34 h 134"/>
                    <a:gd name="T56" fmla="*/ 8 w 73"/>
                    <a:gd name="T57" fmla="*/ 25 h 134"/>
                    <a:gd name="T58" fmla="*/ 17 w 73"/>
                    <a:gd name="T59" fmla="*/ 18 h 134"/>
                    <a:gd name="T60" fmla="*/ 29 w 73"/>
                    <a:gd name="T61" fmla="*/ 15 h 134"/>
                    <a:gd name="T62" fmla="*/ 29 w 73"/>
                    <a:gd name="T63" fmla="*/ 0 h 134"/>
                    <a:gd name="T64" fmla="*/ 47 w 73"/>
                    <a:gd name="T65" fmla="*/ 0 h 134"/>
                    <a:gd name="T66" fmla="*/ 47 w 73"/>
                    <a:gd name="T67" fmla="*/ 14 h 134"/>
                    <a:gd name="T68" fmla="*/ 59 w 73"/>
                    <a:gd name="T69" fmla="*/ 15 h 134"/>
                    <a:gd name="T70" fmla="*/ 68 w 73"/>
                    <a:gd name="T71" fmla="*/ 17 h 134"/>
                    <a:gd name="T72" fmla="*/ 68 w 73"/>
                    <a:gd name="T73" fmla="*/ 44 h 134"/>
                    <a:gd name="T74" fmla="*/ 63 w 73"/>
                    <a:gd name="T75" fmla="*/ 41 h 134"/>
                    <a:gd name="T76" fmla="*/ 56 w 73"/>
                    <a:gd name="T77" fmla="*/ 39 h 134"/>
                    <a:gd name="T78" fmla="*/ 49 w 73"/>
                    <a:gd name="T79" fmla="*/ 37 h 134"/>
                    <a:gd name="T80" fmla="*/ 41 w 73"/>
                    <a:gd name="T81" fmla="*/ 36 h 134"/>
                    <a:gd name="T82" fmla="*/ 37 w 73"/>
                    <a:gd name="T83" fmla="*/ 37 h 134"/>
                    <a:gd name="T84" fmla="*/ 34 w 73"/>
                    <a:gd name="T85" fmla="*/ 38 h 134"/>
                    <a:gd name="T86" fmla="*/ 33 w 73"/>
                    <a:gd name="T87" fmla="*/ 40 h 134"/>
                    <a:gd name="T88" fmla="*/ 32 w 73"/>
                    <a:gd name="T89" fmla="*/ 43 h 134"/>
                    <a:gd name="T90" fmla="*/ 32 w 73"/>
                    <a:gd name="T91" fmla="*/ 45 h 134"/>
                    <a:gd name="T92" fmla="*/ 34 w 73"/>
                    <a:gd name="T93" fmla="*/ 48 h 134"/>
                    <a:gd name="T94" fmla="*/ 38 w 73"/>
                    <a:gd name="T95" fmla="*/ 51 h 134"/>
                    <a:gd name="T96" fmla="*/ 45 w 73"/>
                    <a:gd name="T97" fmla="*/ 54 h 134"/>
                    <a:gd name="T98" fmla="*/ 58 w 73"/>
                    <a:gd name="T99" fmla="*/ 61 h 134"/>
                    <a:gd name="T100" fmla="*/ 67 w 73"/>
                    <a:gd name="T101" fmla="*/ 69 h 134"/>
                    <a:gd name="T102" fmla="*/ 72 w 73"/>
                    <a:gd name="T103" fmla="*/ 77 h 134"/>
                    <a:gd name="T104" fmla="*/ 73 w 73"/>
                    <a:gd name="T105" fmla="*/ 8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134">
                      <a:moveTo>
                        <a:pt x="73" y="86"/>
                      </a:moveTo>
                      <a:cubicBezTo>
                        <a:pt x="73" y="89"/>
                        <a:pt x="73" y="92"/>
                        <a:pt x="72" y="95"/>
                      </a:cubicBezTo>
                      <a:cubicBezTo>
                        <a:pt x="71" y="98"/>
                        <a:pt x="70" y="101"/>
                        <a:pt x="68" y="103"/>
                      </a:cubicBezTo>
                      <a:cubicBezTo>
                        <a:pt x="66" y="106"/>
                        <a:pt x="63" y="109"/>
                        <a:pt x="60" y="111"/>
                      </a:cubicBezTo>
                      <a:cubicBezTo>
                        <a:pt x="56" y="114"/>
                        <a:pt x="52" y="115"/>
                        <a:pt x="47" y="117"/>
                      </a:cubicBezTo>
                      <a:cubicBezTo>
                        <a:pt x="47" y="134"/>
                        <a:pt x="47" y="134"/>
                        <a:pt x="47" y="134"/>
                      </a:cubicBezTo>
                      <a:cubicBezTo>
                        <a:pt x="29" y="134"/>
                        <a:pt x="29" y="134"/>
                        <a:pt x="29" y="134"/>
                      </a:cubicBezTo>
                      <a:cubicBezTo>
                        <a:pt x="29" y="119"/>
                        <a:pt x="29" y="119"/>
                        <a:pt x="29" y="119"/>
                      </a:cubicBezTo>
                      <a:cubicBezTo>
                        <a:pt x="27" y="119"/>
                        <a:pt x="24" y="119"/>
                        <a:pt x="21" y="118"/>
                      </a:cubicBezTo>
                      <a:cubicBezTo>
                        <a:pt x="18" y="118"/>
                        <a:pt x="15" y="117"/>
                        <a:pt x="13" y="117"/>
                      </a:cubicBezTo>
                      <a:cubicBezTo>
                        <a:pt x="10" y="116"/>
                        <a:pt x="8" y="116"/>
                        <a:pt x="6" y="115"/>
                      </a:cubicBezTo>
                      <a:cubicBezTo>
                        <a:pt x="4" y="114"/>
                        <a:pt x="2" y="113"/>
                        <a:pt x="1" y="113"/>
                      </a:cubicBezTo>
                      <a:cubicBezTo>
                        <a:pt x="1" y="85"/>
                        <a:pt x="1" y="85"/>
                        <a:pt x="1" y="85"/>
                      </a:cubicBezTo>
                      <a:cubicBezTo>
                        <a:pt x="6" y="88"/>
                        <a:pt x="11" y="91"/>
                        <a:pt x="16" y="93"/>
                      </a:cubicBezTo>
                      <a:cubicBezTo>
                        <a:pt x="21" y="95"/>
                        <a:pt x="26" y="96"/>
                        <a:pt x="31" y="96"/>
                      </a:cubicBezTo>
                      <a:cubicBezTo>
                        <a:pt x="33" y="96"/>
                        <a:pt x="34" y="96"/>
                        <a:pt x="35" y="95"/>
                      </a:cubicBezTo>
                      <a:cubicBezTo>
                        <a:pt x="36" y="95"/>
                        <a:pt x="37" y="94"/>
                        <a:pt x="38" y="94"/>
                      </a:cubicBezTo>
                      <a:cubicBezTo>
                        <a:pt x="38" y="93"/>
                        <a:pt x="39" y="92"/>
                        <a:pt x="39" y="92"/>
                      </a:cubicBezTo>
                      <a:cubicBezTo>
                        <a:pt x="39" y="91"/>
                        <a:pt x="40" y="90"/>
                        <a:pt x="40" y="89"/>
                      </a:cubicBezTo>
                      <a:cubicBezTo>
                        <a:pt x="40" y="88"/>
                        <a:pt x="40" y="87"/>
                        <a:pt x="39" y="86"/>
                      </a:cubicBezTo>
                      <a:cubicBezTo>
                        <a:pt x="39" y="85"/>
                        <a:pt x="38" y="84"/>
                        <a:pt x="37" y="83"/>
                      </a:cubicBezTo>
                      <a:cubicBezTo>
                        <a:pt x="36" y="82"/>
                        <a:pt x="35" y="81"/>
                        <a:pt x="32" y="80"/>
                      </a:cubicBezTo>
                      <a:cubicBezTo>
                        <a:pt x="30" y="79"/>
                        <a:pt x="28" y="78"/>
                        <a:pt x="24" y="77"/>
                      </a:cubicBezTo>
                      <a:cubicBezTo>
                        <a:pt x="20" y="75"/>
                        <a:pt x="16" y="73"/>
                        <a:pt x="13" y="71"/>
                      </a:cubicBezTo>
                      <a:cubicBezTo>
                        <a:pt x="10" y="68"/>
                        <a:pt x="7" y="66"/>
                        <a:pt x="5" y="63"/>
                      </a:cubicBezTo>
                      <a:cubicBezTo>
                        <a:pt x="3" y="61"/>
                        <a:pt x="2" y="58"/>
                        <a:pt x="1" y="55"/>
                      </a:cubicBezTo>
                      <a:cubicBezTo>
                        <a:pt x="0" y="52"/>
                        <a:pt x="0" y="49"/>
                        <a:pt x="0" y="46"/>
                      </a:cubicBezTo>
                      <a:cubicBezTo>
                        <a:pt x="0" y="42"/>
                        <a:pt x="1" y="38"/>
                        <a:pt x="2" y="34"/>
                      </a:cubicBezTo>
                      <a:cubicBezTo>
                        <a:pt x="3" y="31"/>
                        <a:pt x="5" y="28"/>
                        <a:pt x="8" y="25"/>
                      </a:cubicBezTo>
                      <a:cubicBezTo>
                        <a:pt x="10" y="22"/>
                        <a:pt x="13" y="20"/>
                        <a:pt x="17" y="18"/>
                      </a:cubicBezTo>
                      <a:cubicBezTo>
                        <a:pt x="21" y="17"/>
                        <a:pt x="25" y="15"/>
                        <a:pt x="29" y="15"/>
                      </a:cubicBezTo>
                      <a:cubicBezTo>
                        <a:pt x="29" y="0"/>
                        <a:pt x="29" y="0"/>
                        <a:pt x="29" y="0"/>
                      </a:cubicBezTo>
                      <a:cubicBezTo>
                        <a:pt x="47" y="0"/>
                        <a:pt x="47" y="0"/>
                        <a:pt x="47" y="0"/>
                      </a:cubicBezTo>
                      <a:cubicBezTo>
                        <a:pt x="47" y="14"/>
                        <a:pt x="47" y="14"/>
                        <a:pt x="47" y="14"/>
                      </a:cubicBezTo>
                      <a:cubicBezTo>
                        <a:pt x="51" y="14"/>
                        <a:pt x="55" y="14"/>
                        <a:pt x="59" y="15"/>
                      </a:cubicBezTo>
                      <a:cubicBezTo>
                        <a:pt x="63" y="16"/>
                        <a:pt x="66" y="16"/>
                        <a:pt x="68" y="17"/>
                      </a:cubicBezTo>
                      <a:cubicBezTo>
                        <a:pt x="68" y="44"/>
                        <a:pt x="68" y="44"/>
                        <a:pt x="68" y="44"/>
                      </a:cubicBezTo>
                      <a:cubicBezTo>
                        <a:pt x="67" y="43"/>
                        <a:pt x="65" y="42"/>
                        <a:pt x="63" y="41"/>
                      </a:cubicBezTo>
                      <a:cubicBezTo>
                        <a:pt x="61" y="41"/>
                        <a:pt x="59" y="40"/>
                        <a:pt x="56" y="39"/>
                      </a:cubicBezTo>
                      <a:cubicBezTo>
                        <a:pt x="54" y="38"/>
                        <a:pt x="52" y="38"/>
                        <a:pt x="49" y="37"/>
                      </a:cubicBezTo>
                      <a:cubicBezTo>
                        <a:pt x="46" y="37"/>
                        <a:pt x="44" y="36"/>
                        <a:pt x="41" y="36"/>
                      </a:cubicBezTo>
                      <a:cubicBezTo>
                        <a:pt x="40" y="36"/>
                        <a:pt x="38" y="37"/>
                        <a:pt x="37" y="37"/>
                      </a:cubicBezTo>
                      <a:cubicBezTo>
                        <a:pt x="36" y="37"/>
                        <a:pt x="35" y="38"/>
                        <a:pt x="34" y="38"/>
                      </a:cubicBezTo>
                      <a:cubicBezTo>
                        <a:pt x="34" y="39"/>
                        <a:pt x="33" y="40"/>
                        <a:pt x="33" y="40"/>
                      </a:cubicBezTo>
                      <a:cubicBezTo>
                        <a:pt x="32" y="41"/>
                        <a:pt x="32" y="42"/>
                        <a:pt x="32" y="43"/>
                      </a:cubicBezTo>
                      <a:cubicBezTo>
                        <a:pt x="32" y="44"/>
                        <a:pt x="32" y="45"/>
                        <a:pt x="32" y="45"/>
                      </a:cubicBezTo>
                      <a:cubicBezTo>
                        <a:pt x="33" y="46"/>
                        <a:pt x="33" y="47"/>
                        <a:pt x="34" y="48"/>
                      </a:cubicBezTo>
                      <a:cubicBezTo>
                        <a:pt x="35" y="49"/>
                        <a:pt x="36" y="50"/>
                        <a:pt x="38" y="51"/>
                      </a:cubicBezTo>
                      <a:cubicBezTo>
                        <a:pt x="40" y="52"/>
                        <a:pt x="42" y="53"/>
                        <a:pt x="45" y="54"/>
                      </a:cubicBezTo>
                      <a:cubicBezTo>
                        <a:pt x="50" y="57"/>
                        <a:pt x="55" y="59"/>
                        <a:pt x="58" y="61"/>
                      </a:cubicBezTo>
                      <a:cubicBezTo>
                        <a:pt x="62" y="64"/>
                        <a:pt x="65" y="66"/>
                        <a:pt x="67" y="69"/>
                      </a:cubicBezTo>
                      <a:cubicBezTo>
                        <a:pt x="69" y="72"/>
                        <a:pt x="71" y="74"/>
                        <a:pt x="72" y="77"/>
                      </a:cubicBezTo>
                      <a:cubicBezTo>
                        <a:pt x="73" y="80"/>
                        <a:pt x="73" y="83"/>
                        <a:pt x="73"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2" name="AutoShape 354">
                  <a:extLst>
                    <a:ext uri="{FF2B5EF4-FFF2-40B4-BE49-F238E27FC236}">
                      <a16:creationId xmlns:a16="http://schemas.microsoft.com/office/drawing/2014/main" id="{4FE84923-BD2C-4721-B56B-24AAB0F1646C}"/>
                    </a:ext>
                  </a:extLst>
                </p:cNvPr>
                <p:cNvSpPr>
                  <a:spLocks noChangeAspect="1" noChangeArrowheads="1" noTextEdit="1"/>
                </p:cNvSpPr>
                <p:nvPr/>
              </p:nvSpPr>
              <p:spPr bwMode="auto">
                <a:xfrm rot="2700000">
                  <a:off x="5953988" y="3415490"/>
                  <a:ext cx="317604" cy="37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93" name="Freeform 356">
                  <a:extLst>
                    <a:ext uri="{FF2B5EF4-FFF2-40B4-BE49-F238E27FC236}">
                      <a16:creationId xmlns:a16="http://schemas.microsoft.com/office/drawing/2014/main" id="{877CCA01-E58D-4BD2-AD45-869CE5CE95BB}"/>
                    </a:ext>
                  </a:extLst>
                </p:cNvPr>
                <p:cNvSpPr>
                  <a:spLocks noEditPoints="1"/>
                </p:cNvSpPr>
                <p:nvPr/>
              </p:nvSpPr>
              <p:spPr bwMode="auto">
                <a:xfrm rot="2700000">
                  <a:off x="6088185" y="3452920"/>
                  <a:ext cx="124070" cy="375180"/>
                </a:xfrm>
                <a:custGeom>
                  <a:avLst/>
                  <a:gdLst>
                    <a:gd name="T0" fmla="*/ 64 w 128"/>
                    <a:gd name="T1" fmla="*/ 258 h 387"/>
                    <a:gd name="T2" fmla="*/ 50 w 128"/>
                    <a:gd name="T3" fmla="*/ 260 h 387"/>
                    <a:gd name="T4" fmla="*/ 50 w 128"/>
                    <a:gd name="T5" fmla="*/ 90 h 387"/>
                    <a:gd name="T6" fmla="*/ 50 w 128"/>
                    <a:gd name="T7" fmla="*/ 24 h 387"/>
                    <a:gd name="T8" fmla="*/ 50 w 128"/>
                    <a:gd name="T9" fmla="*/ 0 h 387"/>
                    <a:gd name="T10" fmla="*/ 26 w 128"/>
                    <a:gd name="T11" fmla="*/ 0 h 387"/>
                    <a:gd name="T12" fmla="*/ 25 w 128"/>
                    <a:gd name="T13" fmla="*/ 0 h 387"/>
                    <a:gd name="T14" fmla="*/ 0 w 128"/>
                    <a:gd name="T15" fmla="*/ 24 h 387"/>
                    <a:gd name="T16" fmla="*/ 0 w 128"/>
                    <a:gd name="T17" fmla="*/ 162 h 387"/>
                    <a:gd name="T18" fmla="*/ 0 w 128"/>
                    <a:gd name="T19" fmla="*/ 264 h 387"/>
                    <a:gd name="T20" fmla="*/ 0 w 128"/>
                    <a:gd name="T21" fmla="*/ 324 h 387"/>
                    <a:gd name="T22" fmla="*/ 0 w 128"/>
                    <a:gd name="T23" fmla="*/ 324 h 387"/>
                    <a:gd name="T24" fmla="*/ 64 w 128"/>
                    <a:gd name="T25" fmla="*/ 387 h 387"/>
                    <a:gd name="T26" fmla="*/ 128 w 128"/>
                    <a:gd name="T27" fmla="*/ 322 h 387"/>
                    <a:gd name="T28" fmla="*/ 64 w 128"/>
                    <a:gd name="T29" fmla="*/ 258 h 387"/>
                    <a:gd name="T30" fmla="*/ 64 w 128"/>
                    <a:gd name="T31" fmla="*/ 360 h 387"/>
                    <a:gd name="T32" fmla="*/ 27 w 128"/>
                    <a:gd name="T33" fmla="*/ 322 h 387"/>
                    <a:gd name="T34" fmla="*/ 64 w 128"/>
                    <a:gd name="T35" fmla="*/ 285 h 387"/>
                    <a:gd name="T36" fmla="*/ 102 w 128"/>
                    <a:gd name="T37" fmla="*/ 322 h 387"/>
                    <a:gd name="T38" fmla="*/ 64 w 128"/>
                    <a:gd name="T39" fmla="*/ 36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387">
                      <a:moveTo>
                        <a:pt x="64" y="258"/>
                      </a:moveTo>
                      <a:cubicBezTo>
                        <a:pt x="59" y="258"/>
                        <a:pt x="55" y="259"/>
                        <a:pt x="50" y="260"/>
                      </a:cubicBezTo>
                      <a:cubicBezTo>
                        <a:pt x="50" y="90"/>
                        <a:pt x="50" y="90"/>
                        <a:pt x="50" y="90"/>
                      </a:cubicBezTo>
                      <a:cubicBezTo>
                        <a:pt x="50" y="24"/>
                        <a:pt x="50" y="24"/>
                        <a:pt x="50" y="24"/>
                      </a:cubicBezTo>
                      <a:cubicBezTo>
                        <a:pt x="50" y="0"/>
                        <a:pt x="50" y="0"/>
                        <a:pt x="50" y="0"/>
                      </a:cubicBezTo>
                      <a:cubicBezTo>
                        <a:pt x="26" y="0"/>
                        <a:pt x="26" y="0"/>
                        <a:pt x="26" y="0"/>
                      </a:cubicBezTo>
                      <a:cubicBezTo>
                        <a:pt x="25" y="0"/>
                        <a:pt x="25" y="0"/>
                        <a:pt x="25" y="0"/>
                      </a:cubicBezTo>
                      <a:cubicBezTo>
                        <a:pt x="11" y="0"/>
                        <a:pt x="0" y="11"/>
                        <a:pt x="0" y="24"/>
                      </a:cubicBezTo>
                      <a:cubicBezTo>
                        <a:pt x="0" y="162"/>
                        <a:pt x="0" y="162"/>
                        <a:pt x="0" y="162"/>
                      </a:cubicBezTo>
                      <a:cubicBezTo>
                        <a:pt x="0" y="264"/>
                        <a:pt x="0" y="264"/>
                        <a:pt x="0" y="264"/>
                      </a:cubicBezTo>
                      <a:cubicBezTo>
                        <a:pt x="0" y="324"/>
                        <a:pt x="0" y="324"/>
                        <a:pt x="0" y="324"/>
                      </a:cubicBezTo>
                      <a:cubicBezTo>
                        <a:pt x="0" y="324"/>
                        <a:pt x="0" y="324"/>
                        <a:pt x="0" y="324"/>
                      </a:cubicBezTo>
                      <a:cubicBezTo>
                        <a:pt x="1" y="358"/>
                        <a:pt x="29" y="387"/>
                        <a:pt x="64" y="387"/>
                      </a:cubicBezTo>
                      <a:cubicBezTo>
                        <a:pt x="100" y="387"/>
                        <a:pt x="128" y="358"/>
                        <a:pt x="128" y="322"/>
                      </a:cubicBezTo>
                      <a:cubicBezTo>
                        <a:pt x="128" y="287"/>
                        <a:pt x="100" y="258"/>
                        <a:pt x="64" y="258"/>
                      </a:cubicBezTo>
                      <a:close/>
                      <a:moveTo>
                        <a:pt x="64" y="360"/>
                      </a:moveTo>
                      <a:cubicBezTo>
                        <a:pt x="43" y="360"/>
                        <a:pt x="27" y="343"/>
                        <a:pt x="27" y="322"/>
                      </a:cubicBezTo>
                      <a:cubicBezTo>
                        <a:pt x="27" y="302"/>
                        <a:pt x="43" y="285"/>
                        <a:pt x="64" y="285"/>
                      </a:cubicBezTo>
                      <a:cubicBezTo>
                        <a:pt x="85" y="285"/>
                        <a:pt x="102" y="302"/>
                        <a:pt x="102" y="322"/>
                      </a:cubicBezTo>
                      <a:cubicBezTo>
                        <a:pt x="102" y="343"/>
                        <a:pt x="85" y="360"/>
                        <a:pt x="64" y="36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94" name="Oval 358">
                  <a:extLst>
                    <a:ext uri="{FF2B5EF4-FFF2-40B4-BE49-F238E27FC236}">
                      <a16:creationId xmlns:a16="http://schemas.microsoft.com/office/drawing/2014/main" id="{4D71B3E8-9B86-4BCE-92BA-61BFA11B6444}"/>
                    </a:ext>
                  </a:extLst>
                </p:cNvPr>
                <p:cNvSpPr>
                  <a:spLocks noChangeArrowheads="1"/>
                </p:cNvSpPr>
                <p:nvPr/>
              </p:nvSpPr>
              <p:spPr bwMode="auto">
                <a:xfrm rot="2700000">
                  <a:off x="6105462" y="3602056"/>
                  <a:ext cx="31203" cy="312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48" name="Freeform 359">
                  <a:extLst>
                    <a:ext uri="{FF2B5EF4-FFF2-40B4-BE49-F238E27FC236}">
                      <a16:creationId xmlns:a16="http://schemas.microsoft.com/office/drawing/2014/main" id="{3A03A9D4-0959-407C-A01E-FCF2BC3CC072}"/>
                    </a:ext>
                  </a:extLst>
                </p:cNvPr>
                <p:cNvSpPr>
                  <a:spLocks/>
                </p:cNvSpPr>
                <p:nvPr/>
              </p:nvSpPr>
              <p:spPr bwMode="auto">
                <a:xfrm rot="2700000">
                  <a:off x="6111691" y="3607311"/>
                  <a:ext cx="20059" cy="20431"/>
                </a:xfrm>
                <a:custGeom>
                  <a:avLst/>
                  <a:gdLst>
                    <a:gd name="T0" fmla="*/ 20 w 21"/>
                    <a:gd name="T1" fmla="*/ 20 h 21"/>
                    <a:gd name="T2" fmla="*/ 17 w 21"/>
                    <a:gd name="T3" fmla="*/ 20 h 21"/>
                    <a:gd name="T4" fmla="*/ 1 w 21"/>
                    <a:gd name="T5" fmla="*/ 4 h 21"/>
                    <a:gd name="T6" fmla="*/ 1 w 21"/>
                    <a:gd name="T7" fmla="*/ 1 h 21"/>
                    <a:gd name="T8" fmla="*/ 1 w 21"/>
                    <a:gd name="T9" fmla="*/ 1 h 21"/>
                    <a:gd name="T10" fmla="*/ 4 w 21"/>
                    <a:gd name="T11" fmla="*/ 1 h 21"/>
                    <a:gd name="T12" fmla="*/ 20 w 21"/>
                    <a:gd name="T13" fmla="*/ 17 h 21"/>
                    <a:gd name="T14" fmla="*/ 2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20" y="20"/>
                      </a:moveTo>
                      <a:cubicBezTo>
                        <a:pt x="19" y="21"/>
                        <a:pt x="18" y="21"/>
                        <a:pt x="17" y="20"/>
                      </a:cubicBezTo>
                      <a:cubicBezTo>
                        <a:pt x="1" y="4"/>
                        <a:pt x="1" y="4"/>
                        <a:pt x="1" y="4"/>
                      </a:cubicBezTo>
                      <a:cubicBezTo>
                        <a:pt x="0" y="4"/>
                        <a:pt x="0" y="2"/>
                        <a:pt x="1" y="1"/>
                      </a:cubicBezTo>
                      <a:cubicBezTo>
                        <a:pt x="1" y="1"/>
                        <a:pt x="1" y="1"/>
                        <a:pt x="1" y="1"/>
                      </a:cubicBezTo>
                      <a:cubicBezTo>
                        <a:pt x="2" y="0"/>
                        <a:pt x="3" y="0"/>
                        <a:pt x="4" y="1"/>
                      </a:cubicBezTo>
                      <a:cubicBezTo>
                        <a:pt x="20" y="17"/>
                        <a:pt x="20" y="17"/>
                        <a:pt x="20" y="17"/>
                      </a:cubicBezTo>
                      <a:cubicBezTo>
                        <a:pt x="21" y="18"/>
                        <a:pt x="21" y="20"/>
                        <a:pt x="20" y="2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56" name="Freeform 360">
                  <a:extLst>
                    <a:ext uri="{FF2B5EF4-FFF2-40B4-BE49-F238E27FC236}">
                      <a16:creationId xmlns:a16="http://schemas.microsoft.com/office/drawing/2014/main" id="{F287BE8A-AD20-42F9-BA8E-F123287F9B80}"/>
                    </a:ext>
                  </a:extLst>
                </p:cNvPr>
                <p:cNvSpPr>
                  <a:spLocks/>
                </p:cNvSpPr>
                <p:nvPr/>
              </p:nvSpPr>
              <p:spPr bwMode="auto">
                <a:xfrm rot="2700000">
                  <a:off x="6155449" y="3578731"/>
                  <a:ext cx="10030" cy="78379"/>
                </a:xfrm>
                <a:custGeom>
                  <a:avLst/>
                  <a:gdLst>
                    <a:gd name="T0" fmla="*/ 0 w 27"/>
                    <a:gd name="T1" fmla="*/ 23 h 211"/>
                    <a:gd name="T2" fmla="*/ 0 w 27"/>
                    <a:gd name="T3" fmla="*/ 211 h 211"/>
                    <a:gd name="T4" fmla="*/ 27 w 27"/>
                    <a:gd name="T5" fmla="*/ 185 h 211"/>
                    <a:gd name="T6" fmla="*/ 27 w 27"/>
                    <a:gd name="T7" fmla="*/ 0 h 211"/>
                    <a:gd name="T8" fmla="*/ 0 w 27"/>
                    <a:gd name="T9" fmla="*/ 23 h 211"/>
                  </a:gdLst>
                  <a:ahLst/>
                  <a:cxnLst>
                    <a:cxn ang="0">
                      <a:pos x="T0" y="T1"/>
                    </a:cxn>
                    <a:cxn ang="0">
                      <a:pos x="T2" y="T3"/>
                    </a:cxn>
                    <a:cxn ang="0">
                      <a:pos x="T4" y="T5"/>
                    </a:cxn>
                    <a:cxn ang="0">
                      <a:pos x="T6" y="T7"/>
                    </a:cxn>
                    <a:cxn ang="0">
                      <a:pos x="T8" y="T9"/>
                    </a:cxn>
                  </a:cxnLst>
                  <a:rect l="0" t="0" r="r" b="b"/>
                  <a:pathLst>
                    <a:path w="27" h="211">
                      <a:moveTo>
                        <a:pt x="0" y="23"/>
                      </a:moveTo>
                      <a:lnTo>
                        <a:pt x="0" y="211"/>
                      </a:lnTo>
                      <a:lnTo>
                        <a:pt x="27" y="185"/>
                      </a:lnTo>
                      <a:lnTo>
                        <a:pt x="27" y="0"/>
                      </a:lnTo>
                      <a:lnTo>
                        <a:pt x="0" y="23"/>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grpSp>
      <p:sp>
        <p:nvSpPr>
          <p:cNvPr id="221" name="Rectangle 220">
            <a:extLst>
              <a:ext uri="{FF2B5EF4-FFF2-40B4-BE49-F238E27FC236}">
                <a16:creationId xmlns:a16="http://schemas.microsoft.com/office/drawing/2014/main" id="{DBE03218-8D37-4BFD-BD86-06F131253D19}"/>
              </a:ext>
            </a:extLst>
          </p:cNvPr>
          <p:cNvSpPr/>
          <p:nvPr/>
        </p:nvSpPr>
        <p:spPr bwMode="auto">
          <a:xfrm>
            <a:off x="582613" y="3587437"/>
            <a:ext cx="7710713" cy="20488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91440" bIns="146304" numCol="1" spcCol="0" rtlCol="0" fromWordArt="0" anchor="t" anchorCtr="0" forceAA="0" compatLnSpc="1">
            <a:prstTxWarp prst="textNoShape">
              <a:avLst/>
            </a:prstTxWarp>
            <a:noAutofit/>
          </a:bodyPr>
          <a:lstStyle/>
          <a:p>
            <a:pPr marL="1028700" defTabSz="932472" fontAlgn="base">
              <a:spcBef>
                <a:spcPct val="0"/>
              </a:spcBef>
              <a:spcAft>
                <a:spcPct val="0"/>
              </a:spcAft>
            </a:pPr>
            <a:r>
              <a:rPr lang="en-US" sz="2000" b="1" dirty="0">
                <a:solidFill>
                  <a:schemeClr val="tx2"/>
                </a:solidFill>
                <a:ea typeface="Segoe UI" pitchFamily="34" charset="0"/>
                <a:cs typeface="Segoe UI" pitchFamily="34" charset="0"/>
              </a:rPr>
              <a:t>Lower labor cost when you use PaaS services</a:t>
            </a:r>
          </a:p>
          <a:p>
            <a:pPr marL="1377950" indent="-228600" defTabSz="932472" fontAlgn="base">
              <a:spcBef>
                <a:spcPts val="600"/>
              </a:spcBef>
              <a:buFont typeface="Arial" panose="020B0604020202020204" pitchFamily="34" charset="0"/>
              <a:buChar char="•"/>
            </a:pPr>
            <a:r>
              <a:rPr lang="en-US" dirty="0">
                <a:solidFill>
                  <a:schemeClr val="tx1"/>
                </a:solidFill>
                <a:cs typeface="Segoe UI" pitchFamily="34" charset="0"/>
              </a:rPr>
              <a:t>WVD delivered as an evergreen PaaS service, reducing your labor cost for managing and upgrading management plane</a:t>
            </a:r>
          </a:p>
          <a:p>
            <a:pPr marL="1377950" indent="-228600" defTabSz="932472" fontAlgn="base">
              <a:spcBef>
                <a:spcPts val="600"/>
              </a:spcBef>
              <a:buFont typeface="Arial" panose="020B0604020202020204" pitchFamily="34" charset="0"/>
              <a:buChar char="•"/>
            </a:pPr>
            <a:r>
              <a:rPr lang="en-US" dirty="0">
                <a:solidFill>
                  <a:schemeClr val="tx1"/>
                </a:solidFill>
                <a:cs typeface="Segoe UI" pitchFamily="34" charset="0"/>
              </a:rPr>
              <a:t>Simplified file storage management, leveraging fully managed NetApp Files service</a:t>
            </a:r>
          </a:p>
        </p:txBody>
      </p:sp>
      <p:grpSp>
        <p:nvGrpSpPr>
          <p:cNvPr id="222" name="Group 221">
            <a:extLst>
              <a:ext uri="{FF2B5EF4-FFF2-40B4-BE49-F238E27FC236}">
                <a16:creationId xmlns:a16="http://schemas.microsoft.com/office/drawing/2014/main" id="{A0F3A6AD-8BC6-4CC8-84D5-52FE1CFF66BA}"/>
              </a:ext>
            </a:extLst>
          </p:cNvPr>
          <p:cNvGrpSpPr/>
          <p:nvPr/>
        </p:nvGrpSpPr>
        <p:grpSpPr>
          <a:xfrm>
            <a:off x="786838" y="3809926"/>
            <a:ext cx="844519" cy="957905"/>
            <a:chOff x="769400" y="5158668"/>
            <a:chExt cx="844519" cy="957905"/>
          </a:xfrm>
        </p:grpSpPr>
        <p:sp>
          <p:nvSpPr>
            <p:cNvPr id="223" name="Freeform 403">
              <a:extLst>
                <a:ext uri="{FF2B5EF4-FFF2-40B4-BE49-F238E27FC236}">
                  <a16:creationId xmlns:a16="http://schemas.microsoft.com/office/drawing/2014/main" id="{F3B534BF-ABA3-4448-B5E9-391C998876D7}"/>
                </a:ext>
              </a:extLst>
            </p:cNvPr>
            <p:cNvSpPr>
              <a:spLocks/>
            </p:cNvSpPr>
            <p:nvPr/>
          </p:nvSpPr>
          <p:spPr bwMode="auto">
            <a:xfrm>
              <a:off x="769400" y="5158668"/>
              <a:ext cx="844519" cy="957905"/>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224" name="Freeform: Shape 223">
              <a:extLst>
                <a:ext uri="{FF2B5EF4-FFF2-40B4-BE49-F238E27FC236}">
                  <a16:creationId xmlns:a16="http://schemas.microsoft.com/office/drawing/2014/main" id="{C0A88674-61BB-4F5E-9F2E-E71830C2B84A}"/>
                </a:ext>
              </a:extLst>
            </p:cNvPr>
            <p:cNvSpPr>
              <a:spLocks/>
            </p:cNvSpPr>
            <p:nvPr/>
          </p:nvSpPr>
          <p:spPr bwMode="auto">
            <a:xfrm>
              <a:off x="876609" y="5942851"/>
              <a:ext cx="630450" cy="60280"/>
            </a:xfrm>
            <a:custGeom>
              <a:avLst/>
              <a:gdLst>
                <a:gd name="connsiteX0" fmla="*/ 1278 w 630450"/>
                <a:gd name="connsiteY0" fmla="*/ 0 h 60280"/>
                <a:gd name="connsiteX1" fmla="*/ 628822 w 630450"/>
                <a:gd name="connsiteY1" fmla="*/ 0 h 60280"/>
                <a:gd name="connsiteX2" fmla="*/ 630450 w 630450"/>
                <a:gd name="connsiteY2" fmla="*/ 1223 h 60280"/>
                <a:gd name="connsiteX3" fmla="*/ 611570 w 630450"/>
                <a:gd name="connsiteY3" fmla="*/ 12170 h 60280"/>
                <a:gd name="connsiteX4" fmla="*/ 552656 w 630450"/>
                <a:gd name="connsiteY4" fmla="*/ 46331 h 60280"/>
                <a:gd name="connsiteX5" fmla="*/ 528599 w 630450"/>
                <a:gd name="connsiteY5" fmla="*/ 60280 h 60280"/>
                <a:gd name="connsiteX6" fmla="*/ 518359 w 630450"/>
                <a:gd name="connsiteY6" fmla="*/ 60280 h 60280"/>
                <a:gd name="connsiteX7" fmla="*/ 112967 w 630450"/>
                <a:gd name="connsiteY7" fmla="*/ 60280 h 60280"/>
                <a:gd name="connsiteX8" fmla="*/ 102275 w 630450"/>
                <a:gd name="connsiteY8" fmla="*/ 60280 h 60280"/>
                <a:gd name="connsiteX9" fmla="*/ 47790 w 630450"/>
                <a:gd name="connsiteY9" fmla="*/ 28688 h 60280"/>
                <a:gd name="connsiteX10" fmla="*/ 0 w 630450"/>
                <a:gd name="connsiteY10" fmla="*/ 977 h 6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0450" h="60280">
                  <a:moveTo>
                    <a:pt x="1278" y="0"/>
                  </a:moveTo>
                  <a:cubicBezTo>
                    <a:pt x="628822" y="0"/>
                    <a:pt x="628822" y="0"/>
                    <a:pt x="628822" y="0"/>
                  </a:cubicBezTo>
                  <a:lnTo>
                    <a:pt x="630450" y="1223"/>
                  </a:lnTo>
                  <a:lnTo>
                    <a:pt x="611570" y="12170"/>
                  </a:lnTo>
                  <a:cubicBezTo>
                    <a:pt x="595385" y="21555"/>
                    <a:pt x="575963" y="32817"/>
                    <a:pt x="552656" y="46331"/>
                  </a:cubicBezTo>
                  <a:lnTo>
                    <a:pt x="528599" y="60280"/>
                  </a:lnTo>
                  <a:lnTo>
                    <a:pt x="518359" y="60280"/>
                  </a:lnTo>
                  <a:cubicBezTo>
                    <a:pt x="311526" y="60280"/>
                    <a:pt x="187427" y="60280"/>
                    <a:pt x="112967" y="60280"/>
                  </a:cubicBezTo>
                  <a:lnTo>
                    <a:pt x="102275" y="60280"/>
                  </a:lnTo>
                  <a:lnTo>
                    <a:pt x="47790" y="28688"/>
                  </a:lnTo>
                  <a:lnTo>
                    <a:pt x="0" y="977"/>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25" name="Freeform 21">
              <a:extLst>
                <a:ext uri="{FF2B5EF4-FFF2-40B4-BE49-F238E27FC236}">
                  <a16:creationId xmlns:a16="http://schemas.microsoft.com/office/drawing/2014/main" id="{0BD5F2FB-B719-4969-9012-976029B3BEAF}"/>
                </a:ext>
              </a:extLst>
            </p:cNvPr>
            <p:cNvSpPr>
              <a:spLocks noEditPoints="1"/>
            </p:cNvSpPr>
            <p:nvPr/>
          </p:nvSpPr>
          <p:spPr bwMode="auto">
            <a:xfrm>
              <a:off x="1305562" y="5774058"/>
              <a:ext cx="72931" cy="194209"/>
            </a:xfrm>
            <a:custGeom>
              <a:avLst/>
              <a:gdLst>
                <a:gd name="T0" fmla="*/ 152 w 164"/>
                <a:gd name="T1" fmla="*/ 438 h 438"/>
                <a:gd name="T2" fmla="*/ 144 w 164"/>
                <a:gd name="T3" fmla="*/ 436 h 438"/>
                <a:gd name="T4" fmla="*/ 123 w 164"/>
                <a:gd name="T5" fmla="*/ 415 h 438"/>
                <a:gd name="T6" fmla="*/ 0 w 164"/>
                <a:gd name="T7" fmla="*/ 5 h 438"/>
                <a:gd name="T8" fmla="*/ 1 w 164"/>
                <a:gd name="T9" fmla="*/ 1 h 438"/>
                <a:gd name="T10" fmla="*/ 4 w 164"/>
                <a:gd name="T11" fmla="*/ 0 h 438"/>
                <a:gd name="T12" fmla="*/ 91 w 164"/>
                <a:gd name="T13" fmla="*/ 0 h 438"/>
                <a:gd name="T14" fmla="*/ 95 w 164"/>
                <a:gd name="T15" fmla="*/ 3 h 438"/>
                <a:gd name="T16" fmla="*/ 163 w 164"/>
                <a:gd name="T17" fmla="*/ 432 h 438"/>
                <a:gd name="T18" fmla="*/ 161 w 164"/>
                <a:gd name="T19" fmla="*/ 436 h 438"/>
                <a:gd name="T20" fmla="*/ 152 w 164"/>
                <a:gd name="T21" fmla="*/ 438 h 438"/>
                <a:gd name="T22" fmla="*/ 9 w 164"/>
                <a:gd name="T23" fmla="*/ 8 h 438"/>
                <a:gd name="T24" fmla="*/ 131 w 164"/>
                <a:gd name="T25" fmla="*/ 412 h 438"/>
                <a:gd name="T26" fmla="*/ 146 w 164"/>
                <a:gd name="T27" fmla="*/ 429 h 438"/>
                <a:gd name="T28" fmla="*/ 155 w 164"/>
                <a:gd name="T29" fmla="*/ 430 h 438"/>
                <a:gd name="T30" fmla="*/ 87 w 164"/>
                <a:gd name="T31" fmla="*/ 8 h 438"/>
                <a:gd name="T32" fmla="*/ 9 w 164"/>
                <a:gd name="T33" fmla="*/ 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4" h="438">
                  <a:moveTo>
                    <a:pt x="152" y="438"/>
                  </a:moveTo>
                  <a:cubicBezTo>
                    <a:pt x="150" y="438"/>
                    <a:pt x="147" y="438"/>
                    <a:pt x="144" y="436"/>
                  </a:cubicBezTo>
                  <a:cubicBezTo>
                    <a:pt x="135" y="433"/>
                    <a:pt x="128" y="426"/>
                    <a:pt x="123" y="415"/>
                  </a:cubicBezTo>
                  <a:cubicBezTo>
                    <a:pt x="110" y="387"/>
                    <a:pt x="5" y="20"/>
                    <a:pt x="0" y="5"/>
                  </a:cubicBezTo>
                  <a:cubicBezTo>
                    <a:pt x="0" y="4"/>
                    <a:pt x="0" y="2"/>
                    <a:pt x="1" y="1"/>
                  </a:cubicBezTo>
                  <a:cubicBezTo>
                    <a:pt x="1" y="0"/>
                    <a:pt x="3" y="0"/>
                    <a:pt x="4" y="0"/>
                  </a:cubicBezTo>
                  <a:cubicBezTo>
                    <a:pt x="91" y="0"/>
                    <a:pt x="91" y="0"/>
                    <a:pt x="91" y="0"/>
                  </a:cubicBezTo>
                  <a:cubicBezTo>
                    <a:pt x="93" y="0"/>
                    <a:pt x="94" y="1"/>
                    <a:pt x="95" y="3"/>
                  </a:cubicBezTo>
                  <a:cubicBezTo>
                    <a:pt x="163" y="432"/>
                    <a:pt x="163" y="432"/>
                    <a:pt x="163" y="432"/>
                  </a:cubicBezTo>
                  <a:cubicBezTo>
                    <a:pt x="164" y="434"/>
                    <a:pt x="163" y="435"/>
                    <a:pt x="161" y="436"/>
                  </a:cubicBezTo>
                  <a:cubicBezTo>
                    <a:pt x="161" y="436"/>
                    <a:pt x="157" y="438"/>
                    <a:pt x="152" y="438"/>
                  </a:cubicBezTo>
                  <a:close/>
                  <a:moveTo>
                    <a:pt x="9" y="8"/>
                  </a:moveTo>
                  <a:cubicBezTo>
                    <a:pt x="22" y="53"/>
                    <a:pt x="119" y="386"/>
                    <a:pt x="131" y="412"/>
                  </a:cubicBezTo>
                  <a:cubicBezTo>
                    <a:pt x="135" y="421"/>
                    <a:pt x="140" y="427"/>
                    <a:pt x="146" y="429"/>
                  </a:cubicBezTo>
                  <a:cubicBezTo>
                    <a:pt x="150" y="430"/>
                    <a:pt x="153" y="430"/>
                    <a:pt x="155" y="430"/>
                  </a:cubicBezTo>
                  <a:cubicBezTo>
                    <a:pt x="87" y="8"/>
                    <a:pt x="87" y="8"/>
                    <a:pt x="87" y="8"/>
                  </a:cubicBezTo>
                  <a:lnTo>
                    <a:pt x="9" y="8"/>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6" name="Freeform 22">
              <a:extLst>
                <a:ext uri="{FF2B5EF4-FFF2-40B4-BE49-F238E27FC236}">
                  <a16:creationId xmlns:a16="http://schemas.microsoft.com/office/drawing/2014/main" id="{2CCEDAD1-8E27-4648-BB0A-8C6755F188EB}"/>
                </a:ext>
              </a:extLst>
            </p:cNvPr>
            <p:cNvSpPr>
              <a:spLocks noEditPoints="1"/>
            </p:cNvSpPr>
            <p:nvPr/>
          </p:nvSpPr>
          <p:spPr bwMode="auto">
            <a:xfrm>
              <a:off x="993352" y="5774058"/>
              <a:ext cx="72931" cy="194209"/>
            </a:xfrm>
            <a:custGeom>
              <a:avLst/>
              <a:gdLst>
                <a:gd name="T0" fmla="*/ 12 w 165"/>
                <a:gd name="T1" fmla="*/ 438 h 438"/>
                <a:gd name="T2" fmla="*/ 3 w 165"/>
                <a:gd name="T3" fmla="*/ 436 h 438"/>
                <a:gd name="T4" fmla="*/ 1 w 165"/>
                <a:gd name="T5" fmla="*/ 432 h 438"/>
                <a:gd name="T6" fmla="*/ 70 w 165"/>
                <a:gd name="T7" fmla="*/ 3 h 438"/>
                <a:gd name="T8" fmla="*/ 73 w 165"/>
                <a:gd name="T9" fmla="*/ 0 h 438"/>
                <a:gd name="T10" fmla="*/ 160 w 165"/>
                <a:gd name="T11" fmla="*/ 0 h 438"/>
                <a:gd name="T12" fmla="*/ 164 w 165"/>
                <a:gd name="T13" fmla="*/ 1 h 438"/>
                <a:gd name="T14" fmla="*/ 164 w 165"/>
                <a:gd name="T15" fmla="*/ 5 h 438"/>
                <a:gd name="T16" fmla="*/ 41 w 165"/>
                <a:gd name="T17" fmla="*/ 415 h 438"/>
                <a:gd name="T18" fmla="*/ 21 w 165"/>
                <a:gd name="T19" fmla="*/ 436 h 438"/>
                <a:gd name="T20" fmla="*/ 12 w 165"/>
                <a:gd name="T21" fmla="*/ 438 h 438"/>
                <a:gd name="T22" fmla="*/ 9 w 165"/>
                <a:gd name="T23" fmla="*/ 430 h 438"/>
                <a:gd name="T24" fmla="*/ 34 w 165"/>
                <a:gd name="T25" fmla="*/ 412 h 438"/>
                <a:gd name="T26" fmla="*/ 155 w 165"/>
                <a:gd name="T27" fmla="*/ 8 h 438"/>
                <a:gd name="T28" fmla="*/ 77 w 165"/>
                <a:gd name="T29" fmla="*/ 8 h 438"/>
                <a:gd name="T30" fmla="*/ 9 w 165"/>
                <a:gd name="T31" fmla="*/ 43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38">
                  <a:moveTo>
                    <a:pt x="12" y="438"/>
                  </a:moveTo>
                  <a:cubicBezTo>
                    <a:pt x="7" y="438"/>
                    <a:pt x="3" y="436"/>
                    <a:pt x="3" y="436"/>
                  </a:cubicBezTo>
                  <a:cubicBezTo>
                    <a:pt x="1" y="435"/>
                    <a:pt x="0" y="434"/>
                    <a:pt x="1" y="432"/>
                  </a:cubicBezTo>
                  <a:cubicBezTo>
                    <a:pt x="70" y="3"/>
                    <a:pt x="70" y="3"/>
                    <a:pt x="70" y="3"/>
                  </a:cubicBezTo>
                  <a:cubicBezTo>
                    <a:pt x="70" y="1"/>
                    <a:pt x="72" y="0"/>
                    <a:pt x="73" y="0"/>
                  </a:cubicBezTo>
                  <a:cubicBezTo>
                    <a:pt x="160" y="0"/>
                    <a:pt x="160" y="0"/>
                    <a:pt x="160" y="0"/>
                  </a:cubicBezTo>
                  <a:cubicBezTo>
                    <a:pt x="162" y="0"/>
                    <a:pt x="163" y="0"/>
                    <a:pt x="164" y="1"/>
                  </a:cubicBezTo>
                  <a:cubicBezTo>
                    <a:pt x="164" y="2"/>
                    <a:pt x="165" y="4"/>
                    <a:pt x="164" y="5"/>
                  </a:cubicBezTo>
                  <a:cubicBezTo>
                    <a:pt x="160" y="20"/>
                    <a:pt x="54" y="387"/>
                    <a:pt x="41" y="415"/>
                  </a:cubicBezTo>
                  <a:cubicBezTo>
                    <a:pt x="36" y="426"/>
                    <a:pt x="29" y="433"/>
                    <a:pt x="21" y="436"/>
                  </a:cubicBezTo>
                  <a:cubicBezTo>
                    <a:pt x="18" y="438"/>
                    <a:pt x="15" y="438"/>
                    <a:pt x="12" y="438"/>
                  </a:cubicBezTo>
                  <a:close/>
                  <a:moveTo>
                    <a:pt x="9" y="430"/>
                  </a:moveTo>
                  <a:cubicBezTo>
                    <a:pt x="14" y="431"/>
                    <a:pt x="25" y="430"/>
                    <a:pt x="34" y="412"/>
                  </a:cubicBezTo>
                  <a:cubicBezTo>
                    <a:pt x="46" y="386"/>
                    <a:pt x="142" y="53"/>
                    <a:pt x="155" y="8"/>
                  </a:cubicBezTo>
                  <a:cubicBezTo>
                    <a:pt x="77" y="8"/>
                    <a:pt x="77" y="8"/>
                    <a:pt x="77" y="8"/>
                  </a:cubicBezTo>
                  <a:lnTo>
                    <a:pt x="9" y="43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 name="Freeform 23">
              <a:extLst>
                <a:ext uri="{FF2B5EF4-FFF2-40B4-BE49-F238E27FC236}">
                  <a16:creationId xmlns:a16="http://schemas.microsoft.com/office/drawing/2014/main" id="{B44AC831-683F-411E-9D67-EA79FC382691}"/>
                </a:ext>
              </a:extLst>
            </p:cNvPr>
            <p:cNvSpPr>
              <a:spLocks/>
            </p:cNvSpPr>
            <p:nvPr/>
          </p:nvSpPr>
          <p:spPr bwMode="auto">
            <a:xfrm>
              <a:off x="981061" y="5774058"/>
              <a:ext cx="409724" cy="26222"/>
            </a:xfrm>
            <a:custGeom>
              <a:avLst/>
              <a:gdLst>
                <a:gd name="T0" fmla="*/ 461 w 921"/>
                <a:gd name="T1" fmla="*/ 30 h 58"/>
                <a:gd name="T2" fmla="*/ 10 w 921"/>
                <a:gd name="T3" fmla="*/ 0 h 58"/>
                <a:gd name="T4" fmla="*/ 0 w 921"/>
                <a:gd name="T5" fmla="*/ 0 h 58"/>
                <a:gd name="T6" fmla="*/ 0 w 921"/>
                <a:gd name="T7" fmla="*/ 20 h 58"/>
                <a:gd name="T8" fmla="*/ 461 w 921"/>
                <a:gd name="T9" fmla="*/ 58 h 58"/>
                <a:gd name="T10" fmla="*/ 921 w 921"/>
                <a:gd name="T11" fmla="*/ 20 h 58"/>
                <a:gd name="T12" fmla="*/ 921 w 921"/>
                <a:gd name="T13" fmla="*/ 0 h 58"/>
                <a:gd name="T14" fmla="*/ 911 w 921"/>
                <a:gd name="T15" fmla="*/ 0 h 58"/>
                <a:gd name="T16" fmla="*/ 461 w 921"/>
                <a:gd name="T17"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1" h="58">
                  <a:moveTo>
                    <a:pt x="461" y="30"/>
                  </a:moveTo>
                  <a:cubicBezTo>
                    <a:pt x="239" y="30"/>
                    <a:pt x="55" y="17"/>
                    <a:pt x="10" y="0"/>
                  </a:cubicBezTo>
                  <a:cubicBezTo>
                    <a:pt x="0" y="0"/>
                    <a:pt x="0" y="0"/>
                    <a:pt x="0" y="0"/>
                  </a:cubicBezTo>
                  <a:cubicBezTo>
                    <a:pt x="0" y="20"/>
                    <a:pt x="0" y="20"/>
                    <a:pt x="0" y="20"/>
                  </a:cubicBezTo>
                  <a:cubicBezTo>
                    <a:pt x="0" y="41"/>
                    <a:pt x="206" y="58"/>
                    <a:pt x="461" y="58"/>
                  </a:cubicBezTo>
                  <a:cubicBezTo>
                    <a:pt x="715" y="58"/>
                    <a:pt x="921" y="41"/>
                    <a:pt x="921" y="20"/>
                  </a:cubicBezTo>
                  <a:cubicBezTo>
                    <a:pt x="921" y="0"/>
                    <a:pt x="921" y="0"/>
                    <a:pt x="921" y="0"/>
                  </a:cubicBezTo>
                  <a:cubicBezTo>
                    <a:pt x="911" y="0"/>
                    <a:pt x="911" y="0"/>
                    <a:pt x="911" y="0"/>
                  </a:cubicBezTo>
                  <a:cubicBezTo>
                    <a:pt x="867" y="17"/>
                    <a:pt x="682" y="30"/>
                    <a:pt x="461" y="3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Oval 24">
              <a:extLst>
                <a:ext uri="{FF2B5EF4-FFF2-40B4-BE49-F238E27FC236}">
                  <a16:creationId xmlns:a16="http://schemas.microsoft.com/office/drawing/2014/main" id="{429F4F9B-D91E-4254-A1E7-B43A8E89769E}"/>
                </a:ext>
              </a:extLst>
            </p:cNvPr>
            <p:cNvSpPr>
              <a:spLocks noChangeArrowheads="1"/>
            </p:cNvSpPr>
            <p:nvPr/>
          </p:nvSpPr>
          <p:spPr bwMode="auto">
            <a:xfrm>
              <a:off x="981061" y="5757669"/>
              <a:ext cx="409724" cy="33597"/>
            </a:xfrm>
            <a:prstGeom prst="ellipse">
              <a:avLst/>
            </a:pr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9" name="Rectangle 25">
              <a:extLst>
                <a:ext uri="{FF2B5EF4-FFF2-40B4-BE49-F238E27FC236}">
                  <a16:creationId xmlns:a16="http://schemas.microsoft.com/office/drawing/2014/main" id="{39102E51-D855-44FC-B567-31518B464CEB}"/>
                </a:ext>
              </a:extLst>
            </p:cNvPr>
            <p:cNvSpPr>
              <a:spLocks noChangeArrowheads="1"/>
            </p:cNvSpPr>
            <p:nvPr/>
          </p:nvSpPr>
          <p:spPr bwMode="auto">
            <a:xfrm>
              <a:off x="1165437" y="5771600"/>
              <a:ext cx="2458" cy="3278"/>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0" name="Freeform 26">
              <a:extLst>
                <a:ext uri="{FF2B5EF4-FFF2-40B4-BE49-F238E27FC236}">
                  <a16:creationId xmlns:a16="http://schemas.microsoft.com/office/drawing/2014/main" id="{5DEB51CD-2F91-4F7E-8AFA-34FBB8ED810B}"/>
                </a:ext>
              </a:extLst>
            </p:cNvPr>
            <p:cNvSpPr>
              <a:spLocks/>
            </p:cNvSpPr>
            <p:nvPr/>
          </p:nvSpPr>
          <p:spPr bwMode="auto">
            <a:xfrm>
              <a:off x="1079395" y="5774058"/>
              <a:ext cx="89320" cy="8194"/>
            </a:xfrm>
            <a:custGeom>
              <a:avLst/>
              <a:gdLst>
                <a:gd name="T0" fmla="*/ 200 w 201"/>
                <a:gd name="T1" fmla="*/ 2 h 18"/>
                <a:gd name="T2" fmla="*/ 199 w 201"/>
                <a:gd name="T3" fmla="*/ 0 h 18"/>
                <a:gd name="T4" fmla="*/ 19 w 201"/>
                <a:gd name="T5" fmla="*/ 0 h 18"/>
                <a:gd name="T6" fmla="*/ 14 w 201"/>
                <a:gd name="T7" fmla="*/ 2 h 18"/>
                <a:gd name="T8" fmla="*/ 1 w 201"/>
                <a:gd name="T9" fmla="*/ 16 h 18"/>
                <a:gd name="T10" fmla="*/ 2 w 201"/>
                <a:gd name="T11" fmla="*/ 18 h 18"/>
                <a:gd name="T12" fmla="*/ 182 w 201"/>
                <a:gd name="T13" fmla="*/ 18 h 18"/>
                <a:gd name="T14" fmla="*/ 186 w 201"/>
                <a:gd name="T15" fmla="*/ 16 h 18"/>
                <a:gd name="T16" fmla="*/ 200 w 201"/>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8">
                  <a:moveTo>
                    <a:pt x="200" y="2"/>
                  </a:moveTo>
                  <a:cubicBezTo>
                    <a:pt x="201" y="1"/>
                    <a:pt x="200" y="0"/>
                    <a:pt x="199" y="0"/>
                  </a:cubicBezTo>
                  <a:cubicBezTo>
                    <a:pt x="19" y="0"/>
                    <a:pt x="19" y="0"/>
                    <a:pt x="19" y="0"/>
                  </a:cubicBezTo>
                  <a:cubicBezTo>
                    <a:pt x="17" y="0"/>
                    <a:pt x="15" y="1"/>
                    <a:pt x="14" y="2"/>
                  </a:cubicBezTo>
                  <a:cubicBezTo>
                    <a:pt x="1" y="16"/>
                    <a:pt x="1" y="16"/>
                    <a:pt x="1" y="16"/>
                  </a:cubicBezTo>
                  <a:cubicBezTo>
                    <a:pt x="0" y="17"/>
                    <a:pt x="0" y="18"/>
                    <a:pt x="2" y="18"/>
                  </a:cubicBezTo>
                  <a:cubicBezTo>
                    <a:pt x="182" y="18"/>
                    <a:pt x="182" y="18"/>
                    <a:pt x="182" y="18"/>
                  </a:cubicBezTo>
                  <a:cubicBezTo>
                    <a:pt x="183" y="18"/>
                    <a:pt x="185" y="17"/>
                    <a:pt x="186" y="16"/>
                  </a:cubicBezTo>
                  <a:lnTo>
                    <a:pt x="200" y="2"/>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 name="Freeform 27">
              <a:extLst>
                <a:ext uri="{FF2B5EF4-FFF2-40B4-BE49-F238E27FC236}">
                  <a16:creationId xmlns:a16="http://schemas.microsoft.com/office/drawing/2014/main" id="{721C4DA6-57A5-4E79-9504-53CB326CFC99}"/>
                </a:ext>
              </a:extLst>
            </p:cNvPr>
            <p:cNvSpPr>
              <a:spLocks/>
            </p:cNvSpPr>
            <p:nvPr/>
          </p:nvSpPr>
          <p:spPr bwMode="auto">
            <a:xfrm>
              <a:off x="1079395" y="5771600"/>
              <a:ext cx="89320" cy="8194"/>
            </a:xfrm>
            <a:custGeom>
              <a:avLst/>
              <a:gdLst>
                <a:gd name="T0" fmla="*/ 200 w 201"/>
                <a:gd name="T1" fmla="*/ 2 h 18"/>
                <a:gd name="T2" fmla="*/ 199 w 201"/>
                <a:gd name="T3" fmla="*/ 0 h 18"/>
                <a:gd name="T4" fmla="*/ 19 w 201"/>
                <a:gd name="T5" fmla="*/ 0 h 18"/>
                <a:gd name="T6" fmla="*/ 14 w 201"/>
                <a:gd name="T7" fmla="*/ 2 h 18"/>
                <a:gd name="T8" fmla="*/ 1 w 201"/>
                <a:gd name="T9" fmla="*/ 16 h 18"/>
                <a:gd name="T10" fmla="*/ 2 w 201"/>
                <a:gd name="T11" fmla="*/ 18 h 18"/>
                <a:gd name="T12" fmla="*/ 182 w 201"/>
                <a:gd name="T13" fmla="*/ 18 h 18"/>
                <a:gd name="T14" fmla="*/ 186 w 201"/>
                <a:gd name="T15" fmla="*/ 16 h 18"/>
                <a:gd name="T16" fmla="*/ 200 w 201"/>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8">
                  <a:moveTo>
                    <a:pt x="200" y="2"/>
                  </a:moveTo>
                  <a:cubicBezTo>
                    <a:pt x="201" y="0"/>
                    <a:pt x="200" y="0"/>
                    <a:pt x="199" y="0"/>
                  </a:cubicBezTo>
                  <a:cubicBezTo>
                    <a:pt x="19" y="0"/>
                    <a:pt x="19" y="0"/>
                    <a:pt x="19" y="0"/>
                  </a:cubicBezTo>
                  <a:cubicBezTo>
                    <a:pt x="17" y="0"/>
                    <a:pt x="15" y="0"/>
                    <a:pt x="14" y="2"/>
                  </a:cubicBezTo>
                  <a:cubicBezTo>
                    <a:pt x="1" y="16"/>
                    <a:pt x="1" y="16"/>
                    <a:pt x="1" y="16"/>
                  </a:cubicBezTo>
                  <a:cubicBezTo>
                    <a:pt x="0" y="17"/>
                    <a:pt x="0" y="18"/>
                    <a:pt x="2" y="18"/>
                  </a:cubicBezTo>
                  <a:cubicBezTo>
                    <a:pt x="182" y="18"/>
                    <a:pt x="182" y="18"/>
                    <a:pt x="182" y="18"/>
                  </a:cubicBezTo>
                  <a:cubicBezTo>
                    <a:pt x="183" y="18"/>
                    <a:pt x="185" y="17"/>
                    <a:pt x="186" y="16"/>
                  </a:cubicBezTo>
                  <a:lnTo>
                    <a:pt x="20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 name="Rectangle 28">
              <a:extLst>
                <a:ext uri="{FF2B5EF4-FFF2-40B4-BE49-F238E27FC236}">
                  <a16:creationId xmlns:a16="http://schemas.microsoft.com/office/drawing/2014/main" id="{2B617387-6B4A-4051-9DA5-3F4CC43BC39B}"/>
                </a:ext>
              </a:extLst>
            </p:cNvPr>
            <p:cNvSpPr>
              <a:spLocks noChangeArrowheads="1"/>
            </p:cNvSpPr>
            <p:nvPr/>
          </p:nvSpPr>
          <p:spPr bwMode="auto">
            <a:xfrm>
              <a:off x="1231812" y="5769141"/>
              <a:ext cx="76209" cy="245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 name="Freeform 29">
              <a:extLst>
                <a:ext uri="{FF2B5EF4-FFF2-40B4-BE49-F238E27FC236}">
                  <a16:creationId xmlns:a16="http://schemas.microsoft.com/office/drawing/2014/main" id="{BEABE5F6-2256-40BE-BB8B-703CC4FA0B0A}"/>
                </a:ext>
              </a:extLst>
            </p:cNvPr>
            <p:cNvSpPr>
              <a:spLocks/>
            </p:cNvSpPr>
            <p:nvPr/>
          </p:nvSpPr>
          <p:spPr bwMode="auto">
            <a:xfrm>
              <a:off x="1229354" y="5764225"/>
              <a:ext cx="81125" cy="5736"/>
            </a:xfrm>
            <a:custGeom>
              <a:avLst/>
              <a:gdLst>
                <a:gd name="T0" fmla="*/ 142 w 182"/>
                <a:gd name="T1" fmla="*/ 0 h 14"/>
                <a:gd name="T2" fmla="*/ 156 w 182"/>
                <a:gd name="T3" fmla="*/ 3 h 14"/>
                <a:gd name="T4" fmla="*/ 167 w 182"/>
                <a:gd name="T5" fmla="*/ 8 h 14"/>
                <a:gd name="T6" fmla="*/ 175 w 182"/>
                <a:gd name="T7" fmla="*/ 11 h 14"/>
                <a:gd name="T8" fmla="*/ 171 w 182"/>
                <a:gd name="T9" fmla="*/ 14 h 14"/>
                <a:gd name="T10" fmla="*/ 144 w 182"/>
                <a:gd name="T11" fmla="*/ 14 h 14"/>
                <a:gd name="T12" fmla="*/ 142 w 182"/>
                <a:gd name="T13" fmla="*/ 14 h 14"/>
                <a:gd name="T14" fmla="*/ 10 w 182"/>
                <a:gd name="T15" fmla="*/ 14 h 14"/>
                <a:gd name="T16" fmla="*/ 10 w 182"/>
                <a:gd name="T17" fmla="*/ 10 h 14"/>
                <a:gd name="T18" fmla="*/ 22 w 182"/>
                <a:gd name="T19" fmla="*/ 5 h 14"/>
                <a:gd name="T20" fmla="*/ 44 w 182"/>
                <a:gd name="T21" fmla="*/ 0 h 14"/>
                <a:gd name="T22" fmla="*/ 142 w 182"/>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4">
                  <a:moveTo>
                    <a:pt x="142" y="0"/>
                  </a:moveTo>
                  <a:cubicBezTo>
                    <a:pt x="142" y="0"/>
                    <a:pt x="149" y="0"/>
                    <a:pt x="156" y="3"/>
                  </a:cubicBezTo>
                  <a:cubicBezTo>
                    <a:pt x="167" y="8"/>
                    <a:pt x="167" y="8"/>
                    <a:pt x="167" y="8"/>
                  </a:cubicBezTo>
                  <a:cubicBezTo>
                    <a:pt x="175" y="11"/>
                    <a:pt x="175" y="11"/>
                    <a:pt x="175" y="11"/>
                  </a:cubicBezTo>
                  <a:cubicBezTo>
                    <a:pt x="175" y="11"/>
                    <a:pt x="182" y="14"/>
                    <a:pt x="171" y="14"/>
                  </a:cubicBezTo>
                  <a:cubicBezTo>
                    <a:pt x="144" y="14"/>
                    <a:pt x="144" y="14"/>
                    <a:pt x="144" y="14"/>
                  </a:cubicBezTo>
                  <a:cubicBezTo>
                    <a:pt x="142" y="14"/>
                    <a:pt x="142" y="14"/>
                    <a:pt x="142" y="14"/>
                  </a:cubicBezTo>
                  <a:cubicBezTo>
                    <a:pt x="10" y="14"/>
                    <a:pt x="10" y="14"/>
                    <a:pt x="10" y="14"/>
                  </a:cubicBezTo>
                  <a:cubicBezTo>
                    <a:pt x="10" y="14"/>
                    <a:pt x="0" y="14"/>
                    <a:pt x="10" y="10"/>
                  </a:cubicBezTo>
                  <a:cubicBezTo>
                    <a:pt x="22" y="5"/>
                    <a:pt x="22" y="5"/>
                    <a:pt x="22" y="5"/>
                  </a:cubicBezTo>
                  <a:cubicBezTo>
                    <a:pt x="22" y="5"/>
                    <a:pt x="33" y="0"/>
                    <a:pt x="44" y="0"/>
                  </a:cubicBezTo>
                  <a:lnTo>
                    <a:pt x="142"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 name="Rectangle 30">
              <a:extLst>
                <a:ext uri="{FF2B5EF4-FFF2-40B4-BE49-F238E27FC236}">
                  <a16:creationId xmlns:a16="http://schemas.microsoft.com/office/drawing/2014/main" id="{DD4758F4-2697-4E38-89F6-B8B96B0FF801}"/>
                </a:ext>
              </a:extLst>
            </p:cNvPr>
            <p:cNvSpPr>
              <a:spLocks noChangeArrowheads="1"/>
            </p:cNvSpPr>
            <p:nvPr/>
          </p:nvSpPr>
          <p:spPr bwMode="auto">
            <a:xfrm>
              <a:off x="1258034" y="5739641"/>
              <a:ext cx="23764" cy="245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 name="Freeform 31">
              <a:extLst>
                <a:ext uri="{FF2B5EF4-FFF2-40B4-BE49-F238E27FC236}">
                  <a16:creationId xmlns:a16="http://schemas.microsoft.com/office/drawing/2014/main" id="{9BA4544A-7E68-4F83-95BE-08B74F472FBE}"/>
                </a:ext>
              </a:extLst>
            </p:cNvPr>
            <p:cNvSpPr>
              <a:spLocks/>
            </p:cNvSpPr>
            <p:nvPr/>
          </p:nvSpPr>
          <p:spPr bwMode="auto">
            <a:xfrm>
              <a:off x="1159700" y="5609349"/>
              <a:ext cx="220432" cy="131112"/>
            </a:xfrm>
            <a:custGeom>
              <a:avLst/>
              <a:gdLst>
                <a:gd name="T0" fmla="*/ 472 w 494"/>
                <a:gd name="T1" fmla="*/ 0 h 296"/>
                <a:gd name="T2" fmla="*/ 494 w 494"/>
                <a:gd name="T3" fmla="*/ 23 h 296"/>
                <a:gd name="T4" fmla="*/ 494 w 494"/>
                <a:gd name="T5" fmla="*/ 274 h 296"/>
                <a:gd name="T6" fmla="*/ 472 w 494"/>
                <a:gd name="T7" fmla="*/ 296 h 296"/>
                <a:gd name="T8" fmla="*/ 23 w 494"/>
                <a:gd name="T9" fmla="*/ 296 h 296"/>
                <a:gd name="T10" fmla="*/ 0 w 494"/>
                <a:gd name="T11" fmla="*/ 274 h 296"/>
                <a:gd name="T12" fmla="*/ 0 w 494"/>
                <a:gd name="T13" fmla="*/ 23 h 296"/>
                <a:gd name="T14" fmla="*/ 23 w 494"/>
                <a:gd name="T15" fmla="*/ 0 h 296"/>
                <a:gd name="T16" fmla="*/ 472 w 494"/>
                <a:gd name="T17"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4" h="296">
                  <a:moveTo>
                    <a:pt x="472" y="0"/>
                  </a:moveTo>
                  <a:cubicBezTo>
                    <a:pt x="472" y="0"/>
                    <a:pt x="494" y="0"/>
                    <a:pt x="494" y="23"/>
                  </a:cubicBezTo>
                  <a:cubicBezTo>
                    <a:pt x="494" y="274"/>
                    <a:pt x="494" y="274"/>
                    <a:pt x="494" y="274"/>
                  </a:cubicBezTo>
                  <a:cubicBezTo>
                    <a:pt x="494" y="274"/>
                    <a:pt x="494" y="296"/>
                    <a:pt x="472" y="296"/>
                  </a:cubicBezTo>
                  <a:cubicBezTo>
                    <a:pt x="23" y="296"/>
                    <a:pt x="23" y="296"/>
                    <a:pt x="23" y="296"/>
                  </a:cubicBezTo>
                  <a:cubicBezTo>
                    <a:pt x="23" y="296"/>
                    <a:pt x="0" y="296"/>
                    <a:pt x="0" y="274"/>
                  </a:cubicBezTo>
                  <a:cubicBezTo>
                    <a:pt x="0" y="23"/>
                    <a:pt x="0" y="23"/>
                    <a:pt x="0" y="23"/>
                  </a:cubicBezTo>
                  <a:cubicBezTo>
                    <a:pt x="0" y="23"/>
                    <a:pt x="0" y="0"/>
                    <a:pt x="23" y="0"/>
                  </a:cubicBezTo>
                  <a:lnTo>
                    <a:pt x="47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 name="Freeform 32">
              <a:extLst>
                <a:ext uri="{FF2B5EF4-FFF2-40B4-BE49-F238E27FC236}">
                  <a16:creationId xmlns:a16="http://schemas.microsoft.com/office/drawing/2014/main" id="{63458326-332B-4DB4-BB98-91D9371EC5D9}"/>
                </a:ext>
              </a:extLst>
            </p:cNvPr>
            <p:cNvSpPr>
              <a:spLocks/>
            </p:cNvSpPr>
            <p:nvPr/>
          </p:nvSpPr>
          <p:spPr bwMode="auto">
            <a:xfrm>
              <a:off x="1168714" y="5617544"/>
              <a:ext cx="203223" cy="115542"/>
            </a:xfrm>
            <a:custGeom>
              <a:avLst/>
              <a:gdLst>
                <a:gd name="T0" fmla="*/ 447 w 457"/>
                <a:gd name="T1" fmla="*/ 0 h 262"/>
                <a:gd name="T2" fmla="*/ 457 w 457"/>
                <a:gd name="T3" fmla="*/ 9 h 262"/>
                <a:gd name="T4" fmla="*/ 457 w 457"/>
                <a:gd name="T5" fmla="*/ 253 h 262"/>
                <a:gd name="T6" fmla="*/ 447 w 457"/>
                <a:gd name="T7" fmla="*/ 262 h 262"/>
                <a:gd name="T8" fmla="*/ 9 w 457"/>
                <a:gd name="T9" fmla="*/ 262 h 262"/>
                <a:gd name="T10" fmla="*/ 0 w 457"/>
                <a:gd name="T11" fmla="*/ 253 h 262"/>
                <a:gd name="T12" fmla="*/ 0 w 457"/>
                <a:gd name="T13" fmla="*/ 9 h 262"/>
                <a:gd name="T14" fmla="*/ 9 w 457"/>
                <a:gd name="T15" fmla="*/ 0 h 262"/>
                <a:gd name="T16" fmla="*/ 391 w 457"/>
                <a:gd name="T17" fmla="*/ 0 h 262"/>
                <a:gd name="T18" fmla="*/ 447 w 457"/>
                <a:gd name="T19"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7" h="262">
                  <a:moveTo>
                    <a:pt x="447" y="0"/>
                  </a:moveTo>
                  <a:cubicBezTo>
                    <a:pt x="447" y="0"/>
                    <a:pt x="457" y="0"/>
                    <a:pt x="457" y="9"/>
                  </a:cubicBezTo>
                  <a:cubicBezTo>
                    <a:pt x="457" y="253"/>
                    <a:pt x="457" y="253"/>
                    <a:pt x="457" y="253"/>
                  </a:cubicBezTo>
                  <a:cubicBezTo>
                    <a:pt x="457" y="253"/>
                    <a:pt x="457" y="262"/>
                    <a:pt x="447" y="262"/>
                  </a:cubicBezTo>
                  <a:cubicBezTo>
                    <a:pt x="9" y="262"/>
                    <a:pt x="9" y="262"/>
                    <a:pt x="9" y="262"/>
                  </a:cubicBezTo>
                  <a:cubicBezTo>
                    <a:pt x="9" y="262"/>
                    <a:pt x="0" y="262"/>
                    <a:pt x="0" y="253"/>
                  </a:cubicBezTo>
                  <a:cubicBezTo>
                    <a:pt x="0" y="9"/>
                    <a:pt x="0" y="9"/>
                    <a:pt x="0" y="9"/>
                  </a:cubicBezTo>
                  <a:cubicBezTo>
                    <a:pt x="0" y="9"/>
                    <a:pt x="0" y="0"/>
                    <a:pt x="9" y="0"/>
                  </a:cubicBezTo>
                  <a:cubicBezTo>
                    <a:pt x="391" y="0"/>
                    <a:pt x="391" y="0"/>
                    <a:pt x="391" y="0"/>
                  </a:cubicBezTo>
                  <a:lnTo>
                    <a:pt x="447"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 name="Freeform 33">
              <a:extLst>
                <a:ext uri="{FF2B5EF4-FFF2-40B4-BE49-F238E27FC236}">
                  <a16:creationId xmlns:a16="http://schemas.microsoft.com/office/drawing/2014/main" id="{0351ED22-62B5-4894-BE43-8227A39DAB26}"/>
                </a:ext>
              </a:extLst>
            </p:cNvPr>
            <p:cNvSpPr>
              <a:spLocks/>
            </p:cNvSpPr>
            <p:nvPr/>
          </p:nvSpPr>
          <p:spPr bwMode="auto">
            <a:xfrm>
              <a:off x="1196576" y="5647863"/>
              <a:ext cx="49167" cy="10653"/>
            </a:xfrm>
            <a:custGeom>
              <a:avLst/>
              <a:gdLst>
                <a:gd name="T0" fmla="*/ 110 w 110"/>
                <a:gd name="T1" fmla="*/ 15 h 24"/>
                <a:gd name="T2" fmla="*/ 101 w 110"/>
                <a:gd name="T3" fmla="*/ 24 h 24"/>
                <a:gd name="T4" fmla="*/ 8 w 110"/>
                <a:gd name="T5" fmla="*/ 24 h 24"/>
                <a:gd name="T6" fmla="*/ 0 w 110"/>
                <a:gd name="T7" fmla="*/ 15 h 24"/>
                <a:gd name="T8" fmla="*/ 0 w 110"/>
                <a:gd name="T9" fmla="*/ 9 h 24"/>
                <a:gd name="T10" fmla="*/ 8 w 110"/>
                <a:gd name="T11" fmla="*/ 0 h 24"/>
                <a:gd name="T12" fmla="*/ 101 w 110"/>
                <a:gd name="T13" fmla="*/ 0 h 24"/>
                <a:gd name="T14" fmla="*/ 110 w 110"/>
                <a:gd name="T15" fmla="*/ 9 h 24"/>
                <a:gd name="T16" fmla="*/ 110 w 110"/>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24">
                  <a:moveTo>
                    <a:pt x="110" y="15"/>
                  </a:moveTo>
                  <a:cubicBezTo>
                    <a:pt x="110" y="20"/>
                    <a:pt x="106" y="24"/>
                    <a:pt x="101" y="24"/>
                  </a:cubicBezTo>
                  <a:cubicBezTo>
                    <a:pt x="8" y="24"/>
                    <a:pt x="8" y="24"/>
                    <a:pt x="8" y="24"/>
                  </a:cubicBezTo>
                  <a:cubicBezTo>
                    <a:pt x="4" y="24"/>
                    <a:pt x="0" y="20"/>
                    <a:pt x="0" y="15"/>
                  </a:cubicBezTo>
                  <a:cubicBezTo>
                    <a:pt x="0" y="9"/>
                    <a:pt x="0" y="9"/>
                    <a:pt x="0" y="9"/>
                  </a:cubicBezTo>
                  <a:cubicBezTo>
                    <a:pt x="0" y="4"/>
                    <a:pt x="4" y="0"/>
                    <a:pt x="8" y="0"/>
                  </a:cubicBezTo>
                  <a:cubicBezTo>
                    <a:pt x="101" y="0"/>
                    <a:pt x="101" y="0"/>
                    <a:pt x="101" y="0"/>
                  </a:cubicBezTo>
                  <a:cubicBezTo>
                    <a:pt x="106" y="0"/>
                    <a:pt x="110" y="4"/>
                    <a:pt x="110" y="9"/>
                  </a:cubicBezTo>
                  <a:cubicBezTo>
                    <a:pt x="110" y="15"/>
                    <a:pt x="110" y="15"/>
                    <a:pt x="110"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34">
              <a:extLst>
                <a:ext uri="{FF2B5EF4-FFF2-40B4-BE49-F238E27FC236}">
                  <a16:creationId xmlns:a16="http://schemas.microsoft.com/office/drawing/2014/main" id="{CE51D912-5C43-45AF-87C0-3DF442BF947D}"/>
                </a:ext>
              </a:extLst>
            </p:cNvPr>
            <p:cNvSpPr>
              <a:spLocks/>
            </p:cNvSpPr>
            <p:nvPr/>
          </p:nvSpPr>
          <p:spPr bwMode="auto">
            <a:xfrm>
              <a:off x="1196576" y="5662613"/>
              <a:ext cx="86862" cy="10653"/>
            </a:xfrm>
            <a:custGeom>
              <a:avLst/>
              <a:gdLst>
                <a:gd name="T0" fmla="*/ 195 w 195"/>
                <a:gd name="T1" fmla="*/ 16 h 25"/>
                <a:gd name="T2" fmla="*/ 186 w 195"/>
                <a:gd name="T3" fmla="*/ 25 h 25"/>
                <a:gd name="T4" fmla="*/ 8 w 195"/>
                <a:gd name="T5" fmla="*/ 25 h 25"/>
                <a:gd name="T6" fmla="*/ 0 w 195"/>
                <a:gd name="T7" fmla="*/ 16 h 25"/>
                <a:gd name="T8" fmla="*/ 0 w 195"/>
                <a:gd name="T9" fmla="*/ 9 h 25"/>
                <a:gd name="T10" fmla="*/ 8 w 195"/>
                <a:gd name="T11" fmla="*/ 0 h 25"/>
                <a:gd name="T12" fmla="*/ 186 w 195"/>
                <a:gd name="T13" fmla="*/ 0 h 25"/>
                <a:gd name="T14" fmla="*/ 195 w 195"/>
                <a:gd name="T15" fmla="*/ 9 h 25"/>
                <a:gd name="T16" fmla="*/ 195 w 195"/>
                <a:gd name="T1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5">
                  <a:moveTo>
                    <a:pt x="195" y="16"/>
                  </a:moveTo>
                  <a:cubicBezTo>
                    <a:pt x="195" y="21"/>
                    <a:pt x="191" y="25"/>
                    <a:pt x="186" y="25"/>
                  </a:cubicBezTo>
                  <a:cubicBezTo>
                    <a:pt x="8" y="25"/>
                    <a:pt x="8" y="25"/>
                    <a:pt x="8" y="25"/>
                  </a:cubicBezTo>
                  <a:cubicBezTo>
                    <a:pt x="4" y="25"/>
                    <a:pt x="0" y="21"/>
                    <a:pt x="0" y="16"/>
                  </a:cubicBezTo>
                  <a:cubicBezTo>
                    <a:pt x="0" y="9"/>
                    <a:pt x="0" y="9"/>
                    <a:pt x="0" y="9"/>
                  </a:cubicBezTo>
                  <a:cubicBezTo>
                    <a:pt x="0" y="4"/>
                    <a:pt x="4" y="0"/>
                    <a:pt x="8" y="0"/>
                  </a:cubicBezTo>
                  <a:cubicBezTo>
                    <a:pt x="186" y="0"/>
                    <a:pt x="186" y="0"/>
                    <a:pt x="186" y="0"/>
                  </a:cubicBezTo>
                  <a:cubicBezTo>
                    <a:pt x="191" y="0"/>
                    <a:pt x="195" y="4"/>
                    <a:pt x="195" y="9"/>
                  </a:cubicBezTo>
                  <a:cubicBezTo>
                    <a:pt x="195" y="16"/>
                    <a:pt x="195" y="16"/>
                    <a:pt x="195" y="16"/>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 name="Freeform 35">
              <a:extLst>
                <a:ext uri="{FF2B5EF4-FFF2-40B4-BE49-F238E27FC236}">
                  <a16:creationId xmlns:a16="http://schemas.microsoft.com/office/drawing/2014/main" id="{C4D8D2A4-4954-4274-8C37-1ADC744462BE}"/>
                </a:ext>
              </a:extLst>
            </p:cNvPr>
            <p:cNvSpPr>
              <a:spLocks/>
            </p:cNvSpPr>
            <p:nvPr/>
          </p:nvSpPr>
          <p:spPr bwMode="auto">
            <a:xfrm>
              <a:off x="1244104" y="5677363"/>
              <a:ext cx="86862" cy="10653"/>
            </a:xfrm>
            <a:custGeom>
              <a:avLst/>
              <a:gdLst>
                <a:gd name="T0" fmla="*/ 195 w 195"/>
                <a:gd name="T1" fmla="*/ 15 h 24"/>
                <a:gd name="T2" fmla="*/ 187 w 195"/>
                <a:gd name="T3" fmla="*/ 24 h 24"/>
                <a:gd name="T4" fmla="*/ 9 w 195"/>
                <a:gd name="T5" fmla="*/ 24 h 24"/>
                <a:gd name="T6" fmla="*/ 0 w 195"/>
                <a:gd name="T7" fmla="*/ 15 h 24"/>
                <a:gd name="T8" fmla="*/ 0 w 195"/>
                <a:gd name="T9" fmla="*/ 9 h 24"/>
                <a:gd name="T10" fmla="*/ 9 w 195"/>
                <a:gd name="T11" fmla="*/ 0 h 24"/>
                <a:gd name="T12" fmla="*/ 187 w 195"/>
                <a:gd name="T13" fmla="*/ 0 h 24"/>
                <a:gd name="T14" fmla="*/ 195 w 195"/>
                <a:gd name="T15" fmla="*/ 9 h 24"/>
                <a:gd name="T16" fmla="*/ 195 w 195"/>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4">
                  <a:moveTo>
                    <a:pt x="195" y="15"/>
                  </a:moveTo>
                  <a:cubicBezTo>
                    <a:pt x="195" y="20"/>
                    <a:pt x="191" y="24"/>
                    <a:pt x="187" y="24"/>
                  </a:cubicBezTo>
                  <a:cubicBezTo>
                    <a:pt x="9" y="24"/>
                    <a:pt x="9" y="24"/>
                    <a:pt x="9" y="24"/>
                  </a:cubicBezTo>
                  <a:cubicBezTo>
                    <a:pt x="4" y="24"/>
                    <a:pt x="0" y="20"/>
                    <a:pt x="0" y="15"/>
                  </a:cubicBezTo>
                  <a:cubicBezTo>
                    <a:pt x="0" y="9"/>
                    <a:pt x="0" y="9"/>
                    <a:pt x="0" y="9"/>
                  </a:cubicBezTo>
                  <a:cubicBezTo>
                    <a:pt x="0" y="4"/>
                    <a:pt x="4" y="0"/>
                    <a:pt x="9" y="0"/>
                  </a:cubicBezTo>
                  <a:cubicBezTo>
                    <a:pt x="187" y="0"/>
                    <a:pt x="187" y="0"/>
                    <a:pt x="187" y="0"/>
                  </a:cubicBezTo>
                  <a:cubicBezTo>
                    <a:pt x="191" y="0"/>
                    <a:pt x="195" y="4"/>
                    <a:pt x="195" y="9"/>
                  </a:cubicBezTo>
                  <a:cubicBezTo>
                    <a:pt x="195" y="15"/>
                    <a:pt x="195" y="15"/>
                    <a:pt x="195"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 name="Freeform 36">
              <a:extLst>
                <a:ext uri="{FF2B5EF4-FFF2-40B4-BE49-F238E27FC236}">
                  <a16:creationId xmlns:a16="http://schemas.microsoft.com/office/drawing/2014/main" id="{3191F4A2-0C66-41D5-B578-E68E8C55928E}"/>
                </a:ext>
              </a:extLst>
            </p:cNvPr>
            <p:cNvSpPr>
              <a:spLocks/>
            </p:cNvSpPr>
            <p:nvPr/>
          </p:nvSpPr>
          <p:spPr bwMode="auto">
            <a:xfrm>
              <a:off x="1244104" y="5692113"/>
              <a:ext cx="106528" cy="10653"/>
            </a:xfrm>
            <a:custGeom>
              <a:avLst/>
              <a:gdLst>
                <a:gd name="T0" fmla="*/ 238 w 238"/>
                <a:gd name="T1" fmla="*/ 15 h 24"/>
                <a:gd name="T2" fmla="*/ 229 w 238"/>
                <a:gd name="T3" fmla="*/ 24 h 24"/>
                <a:gd name="T4" fmla="*/ 9 w 238"/>
                <a:gd name="T5" fmla="*/ 24 h 24"/>
                <a:gd name="T6" fmla="*/ 0 w 238"/>
                <a:gd name="T7" fmla="*/ 15 h 24"/>
                <a:gd name="T8" fmla="*/ 0 w 238"/>
                <a:gd name="T9" fmla="*/ 8 h 24"/>
                <a:gd name="T10" fmla="*/ 9 w 238"/>
                <a:gd name="T11" fmla="*/ 0 h 24"/>
                <a:gd name="T12" fmla="*/ 229 w 238"/>
                <a:gd name="T13" fmla="*/ 0 h 24"/>
                <a:gd name="T14" fmla="*/ 238 w 238"/>
                <a:gd name="T15" fmla="*/ 8 h 24"/>
                <a:gd name="T16" fmla="*/ 238 w 238"/>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24">
                  <a:moveTo>
                    <a:pt x="238" y="15"/>
                  </a:moveTo>
                  <a:cubicBezTo>
                    <a:pt x="238" y="20"/>
                    <a:pt x="234" y="24"/>
                    <a:pt x="229" y="24"/>
                  </a:cubicBezTo>
                  <a:cubicBezTo>
                    <a:pt x="9" y="24"/>
                    <a:pt x="9" y="24"/>
                    <a:pt x="9" y="24"/>
                  </a:cubicBezTo>
                  <a:cubicBezTo>
                    <a:pt x="4" y="24"/>
                    <a:pt x="0" y="20"/>
                    <a:pt x="0" y="15"/>
                  </a:cubicBezTo>
                  <a:cubicBezTo>
                    <a:pt x="0" y="8"/>
                    <a:pt x="0" y="8"/>
                    <a:pt x="0" y="8"/>
                  </a:cubicBezTo>
                  <a:cubicBezTo>
                    <a:pt x="0" y="3"/>
                    <a:pt x="4" y="0"/>
                    <a:pt x="9" y="0"/>
                  </a:cubicBezTo>
                  <a:cubicBezTo>
                    <a:pt x="229" y="0"/>
                    <a:pt x="229" y="0"/>
                    <a:pt x="229" y="0"/>
                  </a:cubicBezTo>
                  <a:cubicBezTo>
                    <a:pt x="234" y="0"/>
                    <a:pt x="238" y="3"/>
                    <a:pt x="238" y="8"/>
                  </a:cubicBezTo>
                  <a:cubicBezTo>
                    <a:pt x="238" y="15"/>
                    <a:pt x="238" y="15"/>
                    <a:pt x="238"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 name="Freeform 37">
              <a:extLst>
                <a:ext uri="{FF2B5EF4-FFF2-40B4-BE49-F238E27FC236}">
                  <a16:creationId xmlns:a16="http://schemas.microsoft.com/office/drawing/2014/main" id="{BA9588D0-68E9-42C1-84A4-38FABEB97BB6}"/>
                </a:ext>
              </a:extLst>
            </p:cNvPr>
            <p:cNvSpPr>
              <a:spLocks/>
            </p:cNvSpPr>
            <p:nvPr/>
          </p:nvSpPr>
          <p:spPr bwMode="auto">
            <a:xfrm>
              <a:off x="1168714" y="5618363"/>
              <a:ext cx="201584" cy="114723"/>
            </a:xfrm>
            <a:custGeom>
              <a:avLst/>
              <a:gdLst>
                <a:gd name="T0" fmla="*/ 3 w 453"/>
                <a:gd name="T1" fmla="*/ 0 h 260"/>
                <a:gd name="T2" fmla="*/ 0 w 453"/>
                <a:gd name="T3" fmla="*/ 7 h 260"/>
                <a:gd name="T4" fmla="*/ 0 w 453"/>
                <a:gd name="T5" fmla="*/ 251 h 260"/>
                <a:gd name="T6" fmla="*/ 9 w 453"/>
                <a:gd name="T7" fmla="*/ 260 h 260"/>
                <a:gd name="T8" fmla="*/ 447 w 453"/>
                <a:gd name="T9" fmla="*/ 260 h 260"/>
                <a:gd name="T10" fmla="*/ 453 w 453"/>
                <a:gd name="T11" fmla="*/ 258 h 260"/>
                <a:gd name="T12" fmla="*/ 337 w 453"/>
                <a:gd name="T13" fmla="*/ 192 h 260"/>
                <a:gd name="T14" fmla="*/ 180 w 453"/>
                <a:gd name="T15" fmla="*/ 192 h 260"/>
                <a:gd name="T16" fmla="*/ 171 w 453"/>
                <a:gd name="T17" fmla="*/ 183 h 260"/>
                <a:gd name="T18" fmla="*/ 171 w 453"/>
                <a:gd name="T19" fmla="*/ 176 h 260"/>
                <a:gd name="T20" fmla="*/ 180 w 453"/>
                <a:gd name="T21" fmla="*/ 168 h 260"/>
                <a:gd name="T22" fmla="*/ 295 w 453"/>
                <a:gd name="T23" fmla="*/ 168 h 260"/>
                <a:gd name="T24" fmla="*/ 279 w 453"/>
                <a:gd name="T25" fmla="*/ 158 h 260"/>
                <a:gd name="T26" fmla="*/ 180 w 453"/>
                <a:gd name="T27" fmla="*/ 158 h 260"/>
                <a:gd name="T28" fmla="*/ 171 w 453"/>
                <a:gd name="T29" fmla="*/ 149 h 260"/>
                <a:gd name="T30" fmla="*/ 171 w 453"/>
                <a:gd name="T31" fmla="*/ 143 h 260"/>
                <a:gd name="T32" fmla="*/ 180 w 453"/>
                <a:gd name="T33" fmla="*/ 134 h 260"/>
                <a:gd name="T34" fmla="*/ 237 w 453"/>
                <a:gd name="T35" fmla="*/ 134 h 260"/>
                <a:gd name="T36" fmla="*/ 220 w 453"/>
                <a:gd name="T37" fmla="*/ 125 h 260"/>
                <a:gd name="T38" fmla="*/ 72 w 453"/>
                <a:gd name="T39" fmla="*/ 125 h 260"/>
                <a:gd name="T40" fmla="*/ 64 w 453"/>
                <a:gd name="T41" fmla="*/ 116 h 260"/>
                <a:gd name="T42" fmla="*/ 64 w 453"/>
                <a:gd name="T43" fmla="*/ 109 h 260"/>
                <a:gd name="T44" fmla="*/ 72 w 453"/>
                <a:gd name="T45" fmla="*/ 100 h 260"/>
                <a:gd name="T46" fmla="*/ 179 w 453"/>
                <a:gd name="T47" fmla="*/ 100 h 260"/>
                <a:gd name="T48" fmla="*/ 162 w 453"/>
                <a:gd name="T49" fmla="*/ 91 h 260"/>
                <a:gd name="T50" fmla="*/ 72 w 453"/>
                <a:gd name="T51" fmla="*/ 91 h 260"/>
                <a:gd name="T52" fmla="*/ 64 w 453"/>
                <a:gd name="T53" fmla="*/ 82 h 260"/>
                <a:gd name="T54" fmla="*/ 64 w 453"/>
                <a:gd name="T55" fmla="*/ 76 h 260"/>
                <a:gd name="T56" fmla="*/ 72 w 453"/>
                <a:gd name="T57" fmla="*/ 67 h 260"/>
                <a:gd name="T58" fmla="*/ 120 w 453"/>
                <a:gd name="T59" fmla="*/ 67 h 260"/>
                <a:gd name="T60" fmla="*/ 3 w 453"/>
                <a:gd name="T6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3" h="260">
                  <a:moveTo>
                    <a:pt x="3" y="0"/>
                  </a:moveTo>
                  <a:cubicBezTo>
                    <a:pt x="0" y="3"/>
                    <a:pt x="0" y="7"/>
                    <a:pt x="0" y="7"/>
                  </a:cubicBezTo>
                  <a:cubicBezTo>
                    <a:pt x="0" y="251"/>
                    <a:pt x="0" y="251"/>
                    <a:pt x="0" y="251"/>
                  </a:cubicBezTo>
                  <a:cubicBezTo>
                    <a:pt x="0" y="260"/>
                    <a:pt x="9" y="260"/>
                    <a:pt x="9" y="260"/>
                  </a:cubicBezTo>
                  <a:cubicBezTo>
                    <a:pt x="447" y="260"/>
                    <a:pt x="447" y="260"/>
                    <a:pt x="447" y="260"/>
                  </a:cubicBezTo>
                  <a:cubicBezTo>
                    <a:pt x="450" y="260"/>
                    <a:pt x="452" y="259"/>
                    <a:pt x="453" y="258"/>
                  </a:cubicBezTo>
                  <a:cubicBezTo>
                    <a:pt x="337" y="192"/>
                    <a:pt x="337" y="192"/>
                    <a:pt x="337" y="192"/>
                  </a:cubicBezTo>
                  <a:cubicBezTo>
                    <a:pt x="180" y="192"/>
                    <a:pt x="180" y="192"/>
                    <a:pt x="180" y="192"/>
                  </a:cubicBezTo>
                  <a:cubicBezTo>
                    <a:pt x="175" y="192"/>
                    <a:pt x="171" y="188"/>
                    <a:pt x="171" y="183"/>
                  </a:cubicBezTo>
                  <a:cubicBezTo>
                    <a:pt x="171" y="176"/>
                    <a:pt x="171" y="176"/>
                    <a:pt x="171" y="176"/>
                  </a:cubicBezTo>
                  <a:cubicBezTo>
                    <a:pt x="171" y="171"/>
                    <a:pt x="175" y="168"/>
                    <a:pt x="180" y="168"/>
                  </a:cubicBezTo>
                  <a:cubicBezTo>
                    <a:pt x="295" y="168"/>
                    <a:pt x="295" y="168"/>
                    <a:pt x="295" y="168"/>
                  </a:cubicBezTo>
                  <a:cubicBezTo>
                    <a:pt x="279" y="158"/>
                    <a:pt x="279" y="158"/>
                    <a:pt x="279" y="158"/>
                  </a:cubicBezTo>
                  <a:cubicBezTo>
                    <a:pt x="180" y="158"/>
                    <a:pt x="180" y="158"/>
                    <a:pt x="180" y="158"/>
                  </a:cubicBezTo>
                  <a:cubicBezTo>
                    <a:pt x="175" y="158"/>
                    <a:pt x="171" y="154"/>
                    <a:pt x="171" y="149"/>
                  </a:cubicBezTo>
                  <a:cubicBezTo>
                    <a:pt x="171" y="143"/>
                    <a:pt x="171" y="143"/>
                    <a:pt x="171" y="143"/>
                  </a:cubicBezTo>
                  <a:cubicBezTo>
                    <a:pt x="171" y="138"/>
                    <a:pt x="175" y="134"/>
                    <a:pt x="180" y="134"/>
                  </a:cubicBezTo>
                  <a:cubicBezTo>
                    <a:pt x="237" y="134"/>
                    <a:pt x="237" y="134"/>
                    <a:pt x="237" y="134"/>
                  </a:cubicBezTo>
                  <a:cubicBezTo>
                    <a:pt x="220" y="125"/>
                    <a:pt x="220" y="125"/>
                    <a:pt x="220" y="125"/>
                  </a:cubicBezTo>
                  <a:cubicBezTo>
                    <a:pt x="72" y="125"/>
                    <a:pt x="72" y="125"/>
                    <a:pt x="72" y="125"/>
                  </a:cubicBezTo>
                  <a:cubicBezTo>
                    <a:pt x="68" y="125"/>
                    <a:pt x="64" y="121"/>
                    <a:pt x="64" y="116"/>
                  </a:cubicBezTo>
                  <a:cubicBezTo>
                    <a:pt x="64" y="109"/>
                    <a:pt x="64" y="109"/>
                    <a:pt x="64" y="109"/>
                  </a:cubicBezTo>
                  <a:cubicBezTo>
                    <a:pt x="64" y="104"/>
                    <a:pt x="68" y="100"/>
                    <a:pt x="72" y="100"/>
                  </a:cubicBezTo>
                  <a:cubicBezTo>
                    <a:pt x="179" y="100"/>
                    <a:pt x="179" y="100"/>
                    <a:pt x="179" y="100"/>
                  </a:cubicBezTo>
                  <a:cubicBezTo>
                    <a:pt x="162" y="91"/>
                    <a:pt x="162" y="91"/>
                    <a:pt x="162" y="91"/>
                  </a:cubicBezTo>
                  <a:cubicBezTo>
                    <a:pt x="72" y="91"/>
                    <a:pt x="72" y="91"/>
                    <a:pt x="72" y="91"/>
                  </a:cubicBezTo>
                  <a:cubicBezTo>
                    <a:pt x="68" y="91"/>
                    <a:pt x="64" y="87"/>
                    <a:pt x="64" y="82"/>
                  </a:cubicBezTo>
                  <a:cubicBezTo>
                    <a:pt x="64" y="76"/>
                    <a:pt x="64" y="76"/>
                    <a:pt x="64" y="76"/>
                  </a:cubicBezTo>
                  <a:cubicBezTo>
                    <a:pt x="64" y="71"/>
                    <a:pt x="68" y="67"/>
                    <a:pt x="72" y="67"/>
                  </a:cubicBezTo>
                  <a:cubicBezTo>
                    <a:pt x="120" y="67"/>
                    <a:pt x="120" y="67"/>
                    <a:pt x="120" y="67"/>
                  </a:cubicBezTo>
                  <a:cubicBezTo>
                    <a:pt x="3" y="0"/>
                    <a:pt x="3" y="0"/>
                    <a:pt x="3" y="0"/>
                  </a:cubicBezTo>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 name="Freeform 38">
              <a:extLst>
                <a:ext uri="{FF2B5EF4-FFF2-40B4-BE49-F238E27FC236}">
                  <a16:creationId xmlns:a16="http://schemas.microsoft.com/office/drawing/2014/main" id="{5B14D3CD-D5AC-4AB5-8674-8F65919812D7}"/>
                </a:ext>
              </a:extLst>
            </p:cNvPr>
            <p:cNvSpPr>
              <a:spLocks/>
            </p:cNvSpPr>
            <p:nvPr/>
          </p:nvSpPr>
          <p:spPr bwMode="auto">
            <a:xfrm>
              <a:off x="1196576" y="5647863"/>
              <a:ext cx="44250" cy="10653"/>
            </a:xfrm>
            <a:custGeom>
              <a:avLst/>
              <a:gdLst>
                <a:gd name="T0" fmla="*/ 56 w 98"/>
                <a:gd name="T1" fmla="*/ 0 h 24"/>
                <a:gd name="T2" fmla="*/ 8 w 98"/>
                <a:gd name="T3" fmla="*/ 0 h 24"/>
                <a:gd name="T4" fmla="*/ 0 w 98"/>
                <a:gd name="T5" fmla="*/ 9 h 24"/>
                <a:gd name="T6" fmla="*/ 0 w 98"/>
                <a:gd name="T7" fmla="*/ 15 h 24"/>
                <a:gd name="T8" fmla="*/ 8 w 98"/>
                <a:gd name="T9" fmla="*/ 24 h 24"/>
                <a:gd name="T10" fmla="*/ 98 w 98"/>
                <a:gd name="T11" fmla="*/ 24 h 24"/>
                <a:gd name="T12" fmla="*/ 56 w 9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98" h="24">
                  <a:moveTo>
                    <a:pt x="56" y="0"/>
                  </a:moveTo>
                  <a:cubicBezTo>
                    <a:pt x="8" y="0"/>
                    <a:pt x="8" y="0"/>
                    <a:pt x="8" y="0"/>
                  </a:cubicBezTo>
                  <a:cubicBezTo>
                    <a:pt x="4" y="0"/>
                    <a:pt x="0" y="4"/>
                    <a:pt x="0" y="9"/>
                  </a:cubicBezTo>
                  <a:cubicBezTo>
                    <a:pt x="0" y="15"/>
                    <a:pt x="0" y="15"/>
                    <a:pt x="0" y="15"/>
                  </a:cubicBezTo>
                  <a:cubicBezTo>
                    <a:pt x="0" y="20"/>
                    <a:pt x="4" y="24"/>
                    <a:pt x="8" y="24"/>
                  </a:cubicBezTo>
                  <a:cubicBezTo>
                    <a:pt x="98" y="24"/>
                    <a:pt x="98" y="24"/>
                    <a:pt x="98" y="24"/>
                  </a:cubicBezTo>
                  <a:cubicBezTo>
                    <a:pt x="56" y="0"/>
                    <a:pt x="56" y="0"/>
                    <a:pt x="56"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 name="Freeform 39">
              <a:extLst>
                <a:ext uri="{FF2B5EF4-FFF2-40B4-BE49-F238E27FC236}">
                  <a16:creationId xmlns:a16="http://schemas.microsoft.com/office/drawing/2014/main" id="{63EAC3F3-3D97-4419-9F6C-21168D18F17E}"/>
                </a:ext>
              </a:extLst>
            </p:cNvPr>
            <p:cNvSpPr>
              <a:spLocks/>
            </p:cNvSpPr>
            <p:nvPr/>
          </p:nvSpPr>
          <p:spPr bwMode="auto">
            <a:xfrm>
              <a:off x="1196576" y="5662613"/>
              <a:ext cx="69653" cy="10653"/>
            </a:xfrm>
            <a:custGeom>
              <a:avLst/>
              <a:gdLst>
                <a:gd name="T0" fmla="*/ 115 w 156"/>
                <a:gd name="T1" fmla="*/ 0 h 25"/>
                <a:gd name="T2" fmla="*/ 8 w 156"/>
                <a:gd name="T3" fmla="*/ 0 h 25"/>
                <a:gd name="T4" fmla="*/ 0 w 156"/>
                <a:gd name="T5" fmla="*/ 9 h 25"/>
                <a:gd name="T6" fmla="*/ 0 w 156"/>
                <a:gd name="T7" fmla="*/ 16 h 25"/>
                <a:gd name="T8" fmla="*/ 8 w 156"/>
                <a:gd name="T9" fmla="*/ 25 h 25"/>
                <a:gd name="T10" fmla="*/ 156 w 156"/>
                <a:gd name="T11" fmla="*/ 25 h 25"/>
                <a:gd name="T12" fmla="*/ 115 w 156"/>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56" h="25">
                  <a:moveTo>
                    <a:pt x="115" y="0"/>
                  </a:moveTo>
                  <a:cubicBezTo>
                    <a:pt x="8" y="0"/>
                    <a:pt x="8" y="0"/>
                    <a:pt x="8" y="0"/>
                  </a:cubicBezTo>
                  <a:cubicBezTo>
                    <a:pt x="4" y="0"/>
                    <a:pt x="0" y="4"/>
                    <a:pt x="0" y="9"/>
                  </a:cubicBezTo>
                  <a:cubicBezTo>
                    <a:pt x="0" y="16"/>
                    <a:pt x="0" y="16"/>
                    <a:pt x="0" y="16"/>
                  </a:cubicBezTo>
                  <a:cubicBezTo>
                    <a:pt x="0" y="21"/>
                    <a:pt x="4" y="25"/>
                    <a:pt x="8" y="25"/>
                  </a:cubicBezTo>
                  <a:cubicBezTo>
                    <a:pt x="156" y="25"/>
                    <a:pt x="156" y="25"/>
                    <a:pt x="156" y="25"/>
                  </a:cubicBezTo>
                  <a:cubicBezTo>
                    <a:pt x="115" y="0"/>
                    <a:pt x="115" y="0"/>
                    <a:pt x="115"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 name="Freeform 40">
              <a:extLst>
                <a:ext uri="{FF2B5EF4-FFF2-40B4-BE49-F238E27FC236}">
                  <a16:creationId xmlns:a16="http://schemas.microsoft.com/office/drawing/2014/main" id="{C277135B-0DF1-45A2-8941-D3EB03024BB5}"/>
                </a:ext>
              </a:extLst>
            </p:cNvPr>
            <p:cNvSpPr>
              <a:spLocks/>
            </p:cNvSpPr>
            <p:nvPr/>
          </p:nvSpPr>
          <p:spPr bwMode="auto">
            <a:xfrm>
              <a:off x="1244104" y="5677363"/>
              <a:ext cx="48347" cy="10653"/>
            </a:xfrm>
            <a:custGeom>
              <a:avLst/>
              <a:gdLst>
                <a:gd name="T0" fmla="*/ 66 w 108"/>
                <a:gd name="T1" fmla="*/ 0 h 24"/>
                <a:gd name="T2" fmla="*/ 9 w 108"/>
                <a:gd name="T3" fmla="*/ 0 h 24"/>
                <a:gd name="T4" fmla="*/ 0 w 108"/>
                <a:gd name="T5" fmla="*/ 9 h 24"/>
                <a:gd name="T6" fmla="*/ 0 w 108"/>
                <a:gd name="T7" fmla="*/ 15 h 24"/>
                <a:gd name="T8" fmla="*/ 9 w 108"/>
                <a:gd name="T9" fmla="*/ 24 h 24"/>
                <a:gd name="T10" fmla="*/ 108 w 108"/>
                <a:gd name="T11" fmla="*/ 24 h 24"/>
                <a:gd name="T12" fmla="*/ 66 w 10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08" h="24">
                  <a:moveTo>
                    <a:pt x="66" y="0"/>
                  </a:moveTo>
                  <a:cubicBezTo>
                    <a:pt x="9" y="0"/>
                    <a:pt x="9" y="0"/>
                    <a:pt x="9" y="0"/>
                  </a:cubicBezTo>
                  <a:cubicBezTo>
                    <a:pt x="4" y="0"/>
                    <a:pt x="0" y="4"/>
                    <a:pt x="0" y="9"/>
                  </a:cubicBezTo>
                  <a:cubicBezTo>
                    <a:pt x="0" y="15"/>
                    <a:pt x="0" y="15"/>
                    <a:pt x="0" y="15"/>
                  </a:cubicBezTo>
                  <a:cubicBezTo>
                    <a:pt x="0" y="20"/>
                    <a:pt x="4" y="24"/>
                    <a:pt x="9" y="24"/>
                  </a:cubicBezTo>
                  <a:cubicBezTo>
                    <a:pt x="108" y="24"/>
                    <a:pt x="108" y="24"/>
                    <a:pt x="108" y="24"/>
                  </a:cubicBezTo>
                  <a:cubicBezTo>
                    <a:pt x="66" y="0"/>
                    <a:pt x="66" y="0"/>
                    <a:pt x="66"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 name="Freeform 41">
              <a:extLst>
                <a:ext uri="{FF2B5EF4-FFF2-40B4-BE49-F238E27FC236}">
                  <a16:creationId xmlns:a16="http://schemas.microsoft.com/office/drawing/2014/main" id="{9CEA8AD1-F193-4DA6-AC94-26875B92F116}"/>
                </a:ext>
              </a:extLst>
            </p:cNvPr>
            <p:cNvSpPr>
              <a:spLocks/>
            </p:cNvSpPr>
            <p:nvPr/>
          </p:nvSpPr>
          <p:spPr bwMode="auto">
            <a:xfrm>
              <a:off x="1244104" y="5692113"/>
              <a:ext cx="74570" cy="10653"/>
            </a:xfrm>
            <a:custGeom>
              <a:avLst/>
              <a:gdLst>
                <a:gd name="T0" fmla="*/ 124 w 166"/>
                <a:gd name="T1" fmla="*/ 0 h 24"/>
                <a:gd name="T2" fmla="*/ 9 w 166"/>
                <a:gd name="T3" fmla="*/ 0 h 24"/>
                <a:gd name="T4" fmla="*/ 0 w 166"/>
                <a:gd name="T5" fmla="*/ 8 h 24"/>
                <a:gd name="T6" fmla="*/ 0 w 166"/>
                <a:gd name="T7" fmla="*/ 15 h 24"/>
                <a:gd name="T8" fmla="*/ 9 w 166"/>
                <a:gd name="T9" fmla="*/ 24 h 24"/>
                <a:gd name="T10" fmla="*/ 166 w 166"/>
                <a:gd name="T11" fmla="*/ 24 h 24"/>
                <a:gd name="T12" fmla="*/ 124 w 16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66" h="24">
                  <a:moveTo>
                    <a:pt x="124" y="0"/>
                  </a:moveTo>
                  <a:cubicBezTo>
                    <a:pt x="9" y="0"/>
                    <a:pt x="9" y="0"/>
                    <a:pt x="9" y="0"/>
                  </a:cubicBezTo>
                  <a:cubicBezTo>
                    <a:pt x="4" y="0"/>
                    <a:pt x="0" y="3"/>
                    <a:pt x="0" y="8"/>
                  </a:cubicBezTo>
                  <a:cubicBezTo>
                    <a:pt x="0" y="15"/>
                    <a:pt x="0" y="15"/>
                    <a:pt x="0" y="15"/>
                  </a:cubicBezTo>
                  <a:cubicBezTo>
                    <a:pt x="0" y="20"/>
                    <a:pt x="4" y="24"/>
                    <a:pt x="9" y="24"/>
                  </a:cubicBezTo>
                  <a:cubicBezTo>
                    <a:pt x="166" y="24"/>
                    <a:pt x="166" y="24"/>
                    <a:pt x="166" y="24"/>
                  </a:cubicBezTo>
                  <a:cubicBezTo>
                    <a:pt x="124" y="0"/>
                    <a:pt x="124" y="0"/>
                    <a:pt x="124"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 name="Freeform 42">
              <a:extLst>
                <a:ext uri="{FF2B5EF4-FFF2-40B4-BE49-F238E27FC236}">
                  <a16:creationId xmlns:a16="http://schemas.microsoft.com/office/drawing/2014/main" id="{E731DCA2-8ECF-4B6A-8D53-BAF8C5ED557D}"/>
                </a:ext>
              </a:extLst>
            </p:cNvPr>
            <p:cNvSpPr>
              <a:spLocks/>
            </p:cNvSpPr>
            <p:nvPr/>
          </p:nvSpPr>
          <p:spPr bwMode="auto">
            <a:xfrm>
              <a:off x="1130200" y="5294681"/>
              <a:ext cx="202404" cy="113903"/>
            </a:xfrm>
            <a:custGeom>
              <a:avLst/>
              <a:gdLst>
                <a:gd name="T0" fmla="*/ 392 w 454"/>
                <a:gd name="T1" fmla="*/ 130 h 257"/>
                <a:gd name="T2" fmla="*/ 394 w 454"/>
                <a:gd name="T3" fmla="*/ 114 h 257"/>
                <a:gd name="T4" fmla="*/ 314 w 454"/>
                <a:gd name="T5" fmla="*/ 35 h 257"/>
                <a:gd name="T6" fmla="*/ 267 w 454"/>
                <a:gd name="T7" fmla="*/ 50 h 257"/>
                <a:gd name="T8" fmla="*/ 180 w 454"/>
                <a:gd name="T9" fmla="*/ 0 h 257"/>
                <a:gd name="T10" fmla="*/ 80 w 454"/>
                <a:gd name="T11" fmla="*/ 98 h 257"/>
                <a:gd name="T12" fmla="*/ 79 w 454"/>
                <a:gd name="T13" fmla="*/ 98 h 257"/>
                <a:gd name="T14" fmla="*/ 0 w 454"/>
                <a:gd name="T15" fmla="*/ 178 h 257"/>
                <a:gd name="T16" fmla="*/ 79 w 454"/>
                <a:gd name="T17" fmla="*/ 257 h 257"/>
                <a:gd name="T18" fmla="*/ 390 w 454"/>
                <a:gd name="T19" fmla="*/ 257 h 257"/>
                <a:gd name="T20" fmla="*/ 454 w 454"/>
                <a:gd name="T21" fmla="*/ 194 h 257"/>
                <a:gd name="T22" fmla="*/ 392 w 454"/>
                <a:gd name="T23" fmla="*/ 13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4" h="257">
                  <a:moveTo>
                    <a:pt x="392" y="130"/>
                  </a:moveTo>
                  <a:cubicBezTo>
                    <a:pt x="393" y="125"/>
                    <a:pt x="394" y="120"/>
                    <a:pt x="394" y="114"/>
                  </a:cubicBezTo>
                  <a:cubicBezTo>
                    <a:pt x="394" y="70"/>
                    <a:pt x="358" y="35"/>
                    <a:pt x="314" y="35"/>
                  </a:cubicBezTo>
                  <a:cubicBezTo>
                    <a:pt x="296" y="35"/>
                    <a:pt x="280" y="41"/>
                    <a:pt x="267" y="50"/>
                  </a:cubicBezTo>
                  <a:cubicBezTo>
                    <a:pt x="249" y="21"/>
                    <a:pt x="217" y="0"/>
                    <a:pt x="180" y="0"/>
                  </a:cubicBezTo>
                  <a:cubicBezTo>
                    <a:pt x="126" y="0"/>
                    <a:pt x="82" y="44"/>
                    <a:pt x="80" y="98"/>
                  </a:cubicBezTo>
                  <a:cubicBezTo>
                    <a:pt x="80" y="98"/>
                    <a:pt x="80" y="98"/>
                    <a:pt x="79" y="98"/>
                  </a:cubicBezTo>
                  <a:cubicBezTo>
                    <a:pt x="35" y="98"/>
                    <a:pt x="0" y="134"/>
                    <a:pt x="0" y="178"/>
                  </a:cubicBezTo>
                  <a:cubicBezTo>
                    <a:pt x="0" y="222"/>
                    <a:pt x="35" y="257"/>
                    <a:pt x="79" y="257"/>
                  </a:cubicBezTo>
                  <a:cubicBezTo>
                    <a:pt x="390" y="257"/>
                    <a:pt x="390" y="257"/>
                    <a:pt x="390" y="257"/>
                  </a:cubicBezTo>
                  <a:cubicBezTo>
                    <a:pt x="426" y="257"/>
                    <a:pt x="454" y="229"/>
                    <a:pt x="454" y="194"/>
                  </a:cubicBezTo>
                  <a:cubicBezTo>
                    <a:pt x="454" y="159"/>
                    <a:pt x="426" y="131"/>
                    <a:pt x="392" y="1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Freeform 43">
              <a:extLst>
                <a:ext uri="{FF2B5EF4-FFF2-40B4-BE49-F238E27FC236}">
                  <a16:creationId xmlns:a16="http://schemas.microsoft.com/office/drawing/2014/main" id="{4536CE77-1196-4485-AD15-7923A8091D2C}"/>
                </a:ext>
              </a:extLst>
            </p:cNvPr>
            <p:cNvSpPr>
              <a:spLocks/>
            </p:cNvSpPr>
            <p:nvPr/>
          </p:nvSpPr>
          <p:spPr bwMode="auto">
            <a:xfrm>
              <a:off x="1130200" y="5325820"/>
              <a:ext cx="188473" cy="82764"/>
            </a:xfrm>
            <a:custGeom>
              <a:avLst/>
              <a:gdLst>
                <a:gd name="T0" fmla="*/ 423 w 423"/>
                <a:gd name="T1" fmla="*/ 178 h 187"/>
                <a:gd name="T2" fmla="*/ 85 w 423"/>
                <a:gd name="T3" fmla="*/ 0 h 187"/>
                <a:gd name="T4" fmla="*/ 80 w 423"/>
                <a:gd name="T5" fmla="*/ 28 h 187"/>
                <a:gd name="T6" fmla="*/ 79 w 423"/>
                <a:gd name="T7" fmla="*/ 28 h 187"/>
                <a:gd name="T8" fmla="*/ 0 w 423"/>
                <a:gd name="T9" fmla="*/ 108 h 187"/>
                <a:gd name="T10" fmla="*/ 79 w 423"/>
                <a:gd name="T11" fmla="*/ 187 h 187"/>
                <a:gd name="T12" fmla="*/ 390 w 423"/>
                <a:gd name="T13" fmla="*/ 187 h 187"/>
                <a:gd name="T14" fmla="*/ 423 w 423"/>
                <a:gd name="T15" fmla="*/ 178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3" h="187">
                  <a:moveTo>
                    <a:pt x="423" y="178"/>
                  </a:moveTo>
                  <a:cubicBezTo>
                    <a:pt x="85" y="0"/>
                    <a:pt x="85" y="0"/>
                    <a:pt x="85" y="0"/>
                  </a:cubicBezTo>
                  <a:cubicBezTo>
                    <a:pt x="82" y="9"/>
                    <a:pt x="81" y="18"/>
                    <a:pt x="80" y="28"/>
                  </a:cubicBezTo>
                  <a:cubicBezTo>
                    <a:pt x="80" y="28"/>
                    <a:pt x="80" y="28"/>
                    <a:pt x="79" y="28"/>
                  </a:cubicBezTo>
                  <a:cubicBezTo>
                    <a:pt x="35" y="28"/>
                    <a:pt x="0" y="64"/>
                    <a:pt x="0" y="108"/>
                  </a:cubicBezTo>
                  <a:cubicBezTo>
                    <a:pt x="0" y="152"/>
                    <a:pt x="35" y="187"/>
                    <a:pt x="79" y="187"/>
                  </a:cubicBezTo>
                  <a:cubicBezTo>
                    <a:pt x="390" y="187"/>
                    <a:pt x="390" y="187"/>
                    <a:pt x="390" y="187"/>
                  </a:cubicBezTo>
                  <a:cubicBezTo>
                    <a:pt x="402" y="187"/>
                    <a:pt x="413" y="184"/>
                    <a:pt x="423" y="178"/>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Freeform 44">
              <a:extLst>
                <a:ext uri="{FF2B5EF4-FFF2-40B4-BE49-F238E27FC236}">
                  <a16:creationId xmlns:a16="http://schemas.microsoft.com/office/drawing/2014/main" id="{4979AAB6-0661-4482-87F6-9BCC218B02CF}"/>
                </a:ext>
              </a:extLst>
            </p:cNvPr>
            <p:cNvSpPr>
              <a:spLocks/>
            </p:cNvSpPr>
            <p:nvPr/>
          </p:nvSpPr>
          <p:spPr bwMode="auto">
            <a:xfrm>
              <a:off x="1071200" y="5434807"/>
              <a:ext cx="76209" cy="42611"/>
            </a:xfrm>
            <a:custGeom>
              <a:avLst/>
              <a:gdLst>
                <a:gd name="T0" fmla="*/ 149 w 172"/>
                <a:gd name="T1" fmla="*/ 49 h 98"/>
                <a:gd name="T2" fmla="*/ 149 w 172"/>
                <a:gd name="T3" fmla="*/ 43 h 98"/>
                <a:gd name="T4" fmla="*/ 119 w 172"/>
                <a:gd name="T5" fmla="*/ 13 h 98"/>
                <a:gd name="T6" fmla="*/ 101 w 172"/>
                <a:gd name="T7" fmla="*/ 19 h 98"/>
                <a:gd name="T8" fmla="*/ 68 w 172"/>
                <a:gd name="T9" fmla="*/ 0 h 98"/>
                <a:gd name="T10" fmla="*/ 30 w 172"/>
                <a:gd name="T11" fmla="*/ 37 h 98"/>
                <a:gd name="T12" fmla="*/ 30 w 172"/>
                <a:gd name="T13" fmla="*/ 37 h 98"/>
                <a:gd name="T14" fmla="*/ 0 w 172"/>
                <a:gd name="T15" fmla="*/ 67 h 98"/>
                <a:gd name="T16" fmla="*/ 30 w 172"/>
                <a:gd name="T17" fmla="*/ 98 h 98"/>
                <a:gd name="T18" fmla="*/ 148 w 172"/>
                <a:gd name="T19" fmla="*/ 98 h 98"/>
                <a:gd name="T20" fmla="*/ 172 w 172"/>
                <a:gd name="T21" fmla="*/ 73 h 98"/>
                <a:gd name="T22" fmla="*/ 149 w 172"/>
                <a:gd name="T23" fmla="*/ 4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 h="98">
                  <a:moveTo>
                    <a:pt x="149" y="49"/>
                  </a:moveTo>
                  <a:cubicBezTo>
                    <a:pt x="149" y="47"/>
                    <a:pt x="149" y="45"/>
                    <a:pt x="149" y="43"/>
                  </a:cubicBezTo>
                  <a:cubicBezTo>
                    <a:pt x="149" y="26"/>
                    <a:pt x="136" y="13"/>
                    <a:pt x="119" y="13"/>
                  </a:cubicBezTo>
                  <a:cubicBezTo>
                    <a:pt x="113" y="13"/>
                    <a:pt x="106" y="15"/>
                    <a:pt x="101" y="19"/>
                  </a:cubicBezTo>
                  <a:cubicBezTo>
                    <a:pt x="95" y="8"/>
                    <a:pt x="82" y="0"/>
                    <a:pt x="68" y="0"/>
                  </a:cubicBezTo>
                  <a:cubicBezTo>
                    <a:pt x="48" y="0"/>
                    <a:pt x="31" y="16"/>
                    <a:pt x="30" y="37"/>
                  </a:cubicBezTo>
                  <a:cubicBezTo>
                    <a:pt x="30" y="37"/>
                    <a:pt x="30" y="37"/>
                    <a:pt x="30" y="37"/>
                  </a:cubicBezTo>
                  <a:cubicBezTo>
                    <a:pt x="13" y="37"/>
                    <a:pt x="0" y="51"/>
                    <a:pt x="0" y="67"/>
                  </a:cubicBezTo>
                  <a:cubicBezTo>
                    <a:pt x="0" y="84"/>
                    <a:pt x="13" y="98"/>
                    <a:pt x="30" y="98"/>
                  </a:cubicBezTo>
                  <a:cubicBezTo>
                    <a:pt x="148" y="98"/>
                    <a:pt x="148" y="98"/>
                    <a:pt x="148" y="98"/>
                  </a:cubicBezTo>
                  <a:cubicBezTo>
                    <a:pt x="162" y="98"/>
                    <a:pt x="172" y="87"/>
                    <a:pt x="172" y="73"/>
                  </a:cubicBezTo>
                  <a:cubicBezTo>
                    <a:pt x="172" y="60"/>
                    <a:pt x="162" y="49"/>
                    <a:pt x="149"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Freeform 45">
              <a:extLst>
                <a:ext uri="{FF2B5EF4-FFF2-40B4-BE49-F238E27FC236}">
                  <a16:creationId xmlns:a16="http://schemas.microsoft.com/office/drawing/2014/main" id="{ED6563AF-2691-48FC-81BA-0504365102BD}"/>
                </a:ext>
              </a:extLst>
            </p:cNvPr>
            <p:cNvSpPr>
              <a:spLocks/>
            </p:cNvSpPr>
            <p:nvPr/>
          </p:nvSpPr>
          <p:spPr bwMode="auto">
            <a:xfrm>
              <a:off x="1340799" y="5304514"/>
              <a:ext cx="65556" cy="36875"/>
            </a:xfrm>
            <a:custGeom>
              <a:avLst/>
              <a:gdLst>
                <a:gd name="T0" fmla="*/ 126 w 146"/>
                <a:gd name="T1" fmla="*/ 41 h 82"/>
                <a:gd name="T2" fmla="*/ 126 w 146"/>
                <a:gd name="T3" fmla="*/ 36 h 82"/>
                <a:gd name="T4" fmla="*/ 101 w 146"/>
                <a:gd name="T5" fmla="*/ 11 h 82"/>
                <a:gd name="T6" fmla="*/ 85 w 146"/>
                <a:gd name="T7" fmla="*/ 16 h 82"/>
                <a:gd name="T8" fmla="*/ 58 w 146"/>
                <a:gd name="T9" fmla="*/ 0 h 82"/>
                <a:gd name="T10" fmla="*/ 26 w 146"/>
                <a:gd name="T11" fmla="*/ 31 h 82"/>
                <a:gd name="T12" fmla="*/ 25 w 146"/>
                <a:gd name="T13" fmla="*/ 31 h 82"/>
                <a:gd name="T14" fmla="*/ 0 w 146"/>
                <a:gd name="T15" fmla="*/ 57 h 82"/>
                <a:gd name="T16" fmla="*/ 25 w 146"/>
                <a:gd name="T17" fmla="*/ 82 h 82"/>
                <a:gd name="T18" fmla="*/ 125 w 146"/>
                <a:gd name="T19" fmla="*/ 82 h 82"/>
                <a:gd name="T20" fmla="*/ 146 w 146"/>
                <a:gd name="T21" fmla="*/ 62 h 82"/>
                <a:gd name="T22" fmla="*/ 126 w 146"/>
                <a:gd name="T23"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6" h="82">
                  <a:moveTo>
                    <a:pt x="126" y="41"/>
                  </a:moveTo>
                  <a:cubicBezTo>
                    <a:pt x="126" y="40"/>
                    <a:pt x="126" y="38"/>
                    <a:pt x="126" y="36"/>
                  </a:cubicBezTo>
                  <a:cubicBezTo>
                    <a:pt x="126" y="22"/>
                    <a:pt x="115" y="11"/>
                    <a:pt x="101" y="11"/>
                  </a:cubicBezTo>
                  <a:cubicBezTo>
                    <a:pt x="95" y="11"/>
                    <a:pt x="90" y="13"/>
                    <a:pt x="85" y="16"/>
                  </a:cubicBezTo>
                  <a:cubicBezTo>
                    <a:pt x="80" y="6"/>
                    <a:pt x="69" y="0"/>
                    <a:pt x="58" y="0"/>
                  </a:cubicBezTo>
                  <a:cubicBezTo>
                    <a:pt x="40" y="0"/>
                    <a:pt x="26" y="14"/>
                    <a:pt x="26" y="31"/>
                  </a:cubicBezTo>
                  <a:cubicBezTo>
                    <a:pt x="25" y="31"/>
                    <a:pt x="25" y="31"/>
                    <a:pt x="25" y="31"/>
                  </a:cubicBezTo>
                  <a:cubicBezTo>
                    <a:pt x="11" y="31"/>
                    <a:pt x="0" y="43"/>
                    <a:pt x="0" y="57"/>
                  </a:cubicBezTo>
                  <a:cubicBezTo>
                    <a:pt x="0" y="71"/>
                    <a:pt x="11" y="82"/>
                    <a:pt x="25" y="82"/>
                  </a:cubicBezTo>
                  <a:cubicBezTo>
                    <a:pt x="125" y="82"/>
                    <a:pt x="125" y="82"/>
                    <a:pt x="125" y="82"/>
                  </a:cubicBezTo>
                  <a:cubicBezTo>
                    <a:pt x="136" y="82"/>
                    <a:pt x="146" y="73"/>
                    <a:pt x="146" y="62"/>
                  </a:cubicBezTo>
                  <a:cubicBezTo>
                    <a:pt x="146" y="51"/>
                    <a:pt x="137" y="42"/>
                    <a:pt x="126"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Freeform 46">
              <a:extLst>
                <a:ext uri="{FF2B5EF4-FFF2-40B4-BE49-F238E27FC236}">
                  <a16:creationId xmlns:a16="http://schemas.microsoft.com/office/drawing/2014/main" id="{F4922254-E228-46A8-B2D5-D63FAF1ED945}"/>
                </a:ext>
              </a:extLst>
            </p:cNvPr>
            <p:cNvSpPr>
              <a:spLocks/>
            </p:cNvSpPr>
            <p:nvPr/>
          </p:nvSpPr>
          <p:spPr bwMode="auto">
            <a:xfrm>
              <a:off x="1054811" y="5639669"/>
              <a:ext cx="0" cy="819"/>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1" y="0"/>
                    <a:pt x="1" y="1"/>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Freeform 47">
              <a:extLst>
                <a:ext uri="{FF2B5EF4-FFF2-40B4-BE49-F238E27FC236}">
                  <a16:creationId xmlns:a16="http://schemas.microsoft.com/office/drawing/2014/main" id="{B1B29220-6E33-476C-ABF3-85F0EF35E6AE}"/>
                </a:ext>
              </a:extLst>
            </p:cNvPr>
            <p:cNvSpPr>
              <a:spLocks/>
            </p:cNvSpPr>
            <p:nvPr/>
          </p:nvSpPr>
          <p:spPr bwMode="auto">
            <a:xfrm>
              <a:off x="1048255" y="5624919"/>
              <a:ext cx="58181" cy="70473"/>
            </a:xfrm>
            <a:custGeom>
              <a:avLst/>
              <a:gdLst>
                <a:gd name="T0" fmla="*/ 95 w 131"/>
                <a:gd name="T1" fmla="*/ 16 h 160"/>
                <a:gd name="T2" fmla="*/ 57 w 131"/>
                <a:gd name="T3" fmla="*/ 4 h 160"/>
                <a:gd name="T4" fmla="*/ 52 w 131"/>
                <a:gd name="T5" fmla="*/ 0 h 160"/>
                <a:gd name="T6" fmla="*/ 52 w 131"/>
                <a:gd name="T7" fmla="*/ 0 h 160"/>
                <a:gd name="T8" fmla="*/ 23 w 131"/>
                <a:gd name="T9" fmla="*/ 21 h 160"/>
                <a:gd name="T10" fmla="*/ 1 w 131"/>
                <a:gd name="T11" fmla="*/ 21 h 160"/>
                <a:gd name="T12" fmla="*/ 0 w 131"/>
                <a:gd name="T13" fmla="*/ 21 h 160"/>
                <a:gd name="T14" fmla="*/ 14 w 131"/>
                <a:gd name="T15" fmla="*/ 34 h 160"/>
                <a:gd name="T16" fmla="*/ 15 w 131"/>
                <a:gd name="T17" fmla="*/ 35 h 160"/>
                <a:gd name="T18" fmla="*/ 28 w 131"/>
                <a:gd name="T19" fmla="*/ 48 h 160"/>
                <a:gd name="T20" fmla="*/ 38 w 131"/>
                <a:gd name="T21" fmla="*/ 57 h 160"/>
                <a:gd name="T22" fmla="*/ 31 w 131"/>
                <a:gd name="T23" fmla="*/ 64 h 160"/>
                <a:gd name="T24" fmla="*/ 11 w 131"/>
                <a:gd name="T25" fmla="*/ 66 h 160"/>
                <a:gd name="T26" fmla="*/ 4 w 131"/>
                <a:gd name="T27" fmla="*/ 75 h 160"/>
                <a:gd name="T28" fmla="*/ 18 w 131"/>
                <a:gd name="T29" fmla="*/ 89 h 160"/>
                <a:gd name="T30" fmla="*/ 29 w 131"/>
                <a:gd name="T31" fmla="*/ 95 h 160"/>
                <a:gd name="T32" fmla="*/ 35 w 131"/>
                <a:gd name="T33" fmla="*/ 98 h 160"/>
                <a:gd name="T34" fmla="*/ 35 w 131"/>
                <a:gd name="T35" fmla="*/ 98 h 160"/>
                <a:gd name="T36" fmla="*/ 35 w 131"/>
                <a:gd name="T37" fmla="*/ 98 h 160"/>
                <a:gd name="T38" fmla="*/ 47 w 131"/>
                <a:gd name="T39" fmla="*/ 128 h 160"/>
                <a:gd name="T40" fmla="*/ 39 w 131"/>
                <a:gd name="T41" fmla="*/ 133 h 160"/>
                <a:gd name="T42" fmla="*/ 49 w 131"/>
                <a:gd name="T43" fmla="*/ 160 h 160"/>
                <a:gd name="T44" fmla="*/ 114 w 131"/>
                <a:gd name="T45" fmla="*/ 139 h 160"/>
                <a:gd name="T46" fmla="*/ 102 w 131"/>
                <a:gd name="T47" fmla="*/ 107 h 160"/>
                <a:gd name="T48" fmla="*/ 116 w 131"/>
                <a:gd name="T49" fmla="*/ 95 h 160"/>
                <a:gd name="T50" fmla="*/ 125 w 131"/>
                <a:gd name="T51" fmla="*/ 77 h 160"/>
                <a:gd name="T52" fmla="*/ 94 w 131"/>
                <a:gd name="T53" fmla="*/ 34 h 160"/>
                <a:gd name="T54" fmla="*/ 95 w 131"/>
                <a:gd name="T55"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 h="160">
                  <a:moveTo>
                    <a:pt x="95" y="16"/>
                  </a:moveTo>
                  <a:cubicBezTo>
                    <a:pt x="92" y="15"/>
                    <a:pt x="61" y="8"/>
                    <a:pt x="57" y="4"/>
                  </a:cubicBezTo>
                  <a:cubicBezTo>
                    <a:pt x="55" y="2"/>
                    <a:pt x="53" y="1"/>
                    <a:pt x="52" y="0"/>
                  </a:cubicBezTo>
                  <a:cubicBezTo>
                    <a:pt x="52" y="0"/>
                    <a:pt x="52" y="0"/>
                    <a:pt x="52" y="0"/>
                  </a:cubicBezTo>
                  <a:cubicBezTo>
                    <a:pt x="44" y="13"/>
                    <a:pt x="33" y="18"/>
                    <a:pt x="23" y="21"/>
                  </a:cubicBezTo>
                  <a:cubicBezTo>
                    <a:pt x="12" y="23"/>
                    <a:pt x="2" y="21"/>
                    <a:pt x="1" y="21"/>
                  </a:cubicBezTo>
                  <a:cubicBezTo>
                    <a:pt x="1" y="21"/>
                    <a:pt x="0" y="21"/>
                    <a:pt x="0" y="21"/>
                  </a:cubicBezTo>
                  <a:cubicBezTo>
                    <a:pt x="14" y="34"/>
                    <a:pt x="14" y="34"/>
                    <a:pt x="14" y="34"/>
                  </a:cubicBezTo>
                  <a:cubicBezTo>
                    <a:pt x="15" y="35"/>
                    <a:pt x="15" y="35"/>
                    <a:pt x="15" y="35"/>
                  </a:cubicBezTo>
                  <a:cubicBezTo>
                    <a:pt x="18" y="38"/>
                    <a:pt x="23" y="43"/>
                    <a:pt x="28" y="48"/>
                  </a:cubicBezTo>
                  <a:cubicBezTo>
                    <a:pt x="33" y="52"/>
                    <a:pt x="37" y="56"/>
                    <a:pt x="38" y="57"/>
                  </a:cubicBezTo>
                  <a:cubicBezTo>
                    <a:pt x="42" y="63"/>
                    <a:pt x="31" y="64"/>
                    <a:pt x="31" y="64"/>
                  </a:cubicBezTo>
                  <a:cubicBezTo>
                    <a:pt x="31" y="64"/>
                    <a:pt x="19" y="63"/>
                    <a:pt x="11" y="66"/>
                  </a:cubicBezTo>
                  <a:cubicBezTo>
                    <a:pt x="6" y="68"/>
                    <a:pt x="3" y="71"/>
                    <a:pt x="4" y="75"/>
                  </a:cubicBezTo>
                  <a:cubicBezTo>
                    <a:pt x="5" y="80"/>
                    <a:pt x="11" y="85"/>
                    <a:pt x="18" y="89"/>
                  </a:cubicBezTo>
                  <a:cubicBezTo>
                    <a:pt x="22" y="92"/>
                    <a:pt x="26" y="94"/>
                    <a:pt x="29" y="95"/>
                  </a:cubicBezTo>
                  <a:cubicBezTo>
                    <a:pt x="33" y="97"/>
                    <a:pt x="35" y="98"/>
                    <a:pt x="35" y="98"/>
                  </a:cubicBezTo>
                  <a:cubicBezTo>
                    <a:pt x="35" y="98"/>
                    <a:pt x="35" y="98"/>
                    <a:pt x="35" y="98"/>
                  </a:cubicBezTo>
                  <a:cubicBezTo>
                    <a:pt x="35" y="98"/>
                    <a:pt x="35" y="98"/>
                    <a:pt x="35" y="98"/>
                  </a:cubicBezTo>
                  <a:cubicBezTo>
                    <a:pt x="35" y="98"/>
                    <a:pt x="50" y="114"/>
                    <a:pt x="47" y="128"/>
                  </a:cubicBezTo>
                  <a:cubicBezTo>
                    <a:pt x="39" y="133"/>
                    <a:pt x="39" y="133"/>
                    <a:pt x="39" y="133"/>
                  </a:cubicBezTo>
                  <a:cubicBezTo>
                    <a:pt x="49" y="160"/>
                    <a:pt x="49" y="160"/>
                    <a:pt x="49" y="160"/>
                  </a:cubicBezTo>
                  <a:cubicBezTo>
                    <a:pt x="49" y="160"/>
                    <a:pt x="116" y="143"/>
                    <a:pt x="114" y="139"/>
                  </a:cubicBezTo>
                  <a:cubicBezTo>
                    <a:pt x="113" y="131"/>
                    <a:pt x="102" y="107"/>
                    <a:pt x="102" y="107"/>
                  </a:cubicBezTo>
                  <a:cubicBezTo>
                    <a:pt x="108" y="102"/>
                    <a:pt x="113" y="98"/>
                    <a:pt x="116" y="95"/>
                  </a:cubicBezTo>
                  <a:cubicBezTo>
                    <a:pt x="131" y="84"/>
                    <a:pt x="125" y="77"/>
                    <a:pt x="125" y="77"/>
                  </a:cubicBezTo>
                  <a:cubicBezTo>
                    <a:pt x="94" y="34"/>
                    <a:pt x="94" y="34"/>
                    <a:pt x="94" y="34"/>
                  </a:cubicBezTo>
                  <a:cubicBezTo>
                    <a:pt x="108" y="17"/>
                    <a:pt x="98" y="16"/>
                    <a:pt x="95"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 name="Freeform 48">
              <a:extLst>
                <a:ext uri="{FF2B5EF4-FFF2-40B4-BE49-F238E27FC236}">
                  <a16:creationId xmlns:a16="http://schemas.microsoft.com/office/drawing/2014/main" id="{820F88B4-B98C-4DD0-989E-7393F50D4026}"/>
                </a:ext>
              </a:extLst>
            </p:cNvPr>
            <p:cNvSpPr>
              <a:spLocks/>
            </p:cNvSpPr>
            <p:nvPr/>
          </p:nvSpPr>
          <p:spPr bwMode="auto">
            <a:xfrm>
              <a:off x="1048255" y="5633932"/>
              <a:ext cx="12292" cy="12292"/>
            </a:xfrm>
            <a:custGeom>
              <a:avLst/>
              <a:gdLst>
                <a:gd name="T0" fmla="*/ 0 w 28"/>
                <a:gd name="T1" fmla="*/ 0 h 27"/>
                <a:gd name="T2" fmla="*/ 14 w 28"/>
                <a:gd name="T3" fmla="*/ 13 h 27"/>
                <a:gd name="T4" fmla="*/ 15 w 28"/>
                <a:gd name="T5" fmla="*/ 14 h 27"/>
                <a:gd name="T6" fmla="*/ 28 w 28"/>
                <a:gd name="T7" fmla="*/ 27 h 27"/>
                <a:gd name="T8" fmla="*/ 23 w 28"/>
                <a:gd name="T9" fmla="*/ 0 h 27"/>
                <a:gd name="T10" fmla="*/ 1 w 28"/>
                <a:gd name="T11" fmla="*/ 0 h 27"/>
                <a:gd name="T12" fmla="*/ 0 w 28"/>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0" y="0"/>
                  </a:moveTo>
                  <a:cubicBezTo>
                    <a:pt x="14" y="13"/>
                    <a:pt x="14" y="13"/>
                    <a:pt x="14" y="13"/>
                  </a:cubicBezTo>
                  <a:cubicBezTo>
                    <a:pt x="15" y="14"/>
                    <a:pt x="15" y="14"/>
                    <a:pt x="15" y="14"/>
                  </a:cubicBezTo>
                  <a:cubicBezTo>
                    <a:pt x="18" y="17"/>
                    <a:pt x="23" y="22"/>
                    <a:pt x="28" y="27"/>
                  </a:cubicBezTo>
                  <a:cubicBezTo>
                    <a:pt x="26" y="21"/>
                    <a:pt x="23" y="11"/>
                    <a:pt x="23" y="0"/>
                  </a:cubicBezTo>
                  <a:cubicBezTo>
                    <a:pt x="12" y="2"/>
                    <a:pt x="2" y="0"/>
                    <a:pt x="1" y="0"/>
                  </a:cubicBezTo>
                  <a:cubicBezTo>
                    <a:pt x="1" y="0"/>
                    <a:pt x="0" y="0"/>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 name="Freeform 49">
              <a:extLst>
                <a:ext uri="{FF2B5EF4-FFF2-40B4-BE49-F238E27FC236}">
                  <a16:creationId xmlns:a16="http://schemas.microsoft.com/office/drawing/2014/main" id="{9C4673B8-2DBA-4DE2-8B4A-6899F138EC57}"/>
                </a:ext>
              </a:extLst>
            </p:cNvPr>
            <p:cNvSpPr>
              <a:spLocks/>
            </p:cNvSpPr>
            <p:nvPr/>
          </p:nvSpPr>
          <p:spPr bwMode="auto">
            <a:xfrm>
              <a:off x="1049894" y="5653599"/>
              <a:ext cx="11472" cy="13111"/>
            </a:xfrm>
            <a:custGeom>
              <a:avLst/>
              <a:gdLst>
                <a:gd name="T0" fmla="*/ 8 w 26"/>
                <a:gd name="T1" fmla="*/ 0 h 29"/>
                <a:gd name="T2" fmla="*/ 1 w 26"/>
                <a:gd name="T3" fmla="*/ 9 h 29"/>
                <a:gd name="T4" fmla="*/ 15 w 26"/>
                <a:gd name="T5" fmla="*/ 23 h 29"/>
                <a:gd name="T6" fmla="*/ 26 w 26"/>
                <a:gd name="T7" fmla="*/ 29 h 29"/>
                <a:gd name="T8" fmla="*/ 8 w 26"/>
                <a:gd name="T9" fmla="*/ 0 h 29"/>
              </a:gdLst>
              <a:ahLst/>
              <a:cxnLst>
                <a:cxn ang="0">
                  <a:pos x="T0" y="T1"/>
                </a:cxn>
                <a:cxn ang="0">
                  <a:pos x="T2" y="T3"/>
                </a:cxn>
                <a:cxn ang="0">
                  <a:pos x="T4" y="T5"/>
                </a:cxn>
                <a:cxn ang="0">
                  <a:pos x="T6" y="T7"/>
                </a:cxn>
                <a:cxn ang="0">
                  <a:pos x="T8" y="T9"/>
                </a:cxn>
              </a:cxnLst>
              <a:rect l="0" t="0" r="r" b="b"/>
              <a:pathLst>
                <a:path w="26" h="29">
                  <a:moveTo>
                    <a:pt x="8" y="0"/>
                  </a:moveTo>
                  <a:cubicBezTo>
                    <a:pt x="3" y="2"/>
                    <a:pt x="0" y="5"/>
                    <a:pt x="1" y="9"/>
                  </a:cubicBezTo>
                  <a:cubicBezTo>
                    <a:pt x="2" y="14"/>
                    <a:pt x="8" y="19"/>
                    <a:pt x="15" y="23"/>
                  </a:cubicBezTo>
                  <a:cubicBezTo>
                    <a:pt x="19" y="26"/>
                    <a:pt x="23" y="28"/>
                    <a:pt x="26" y="29"/>
                  </a:cubicBezTo>
                  <a:cubicBezTo>
                    <a:pt x="20" y="24"/>
                    <a:pt x="5" y="10"/>
                    <a:pt x="8"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 name="Freeform 50">
              <a:extLst>
                <a:ext uri="{FF2B5EF4-FFF2-40B4-BE49-F238E27FC236}">
                  <a16:creationId xmlns:a16="http://schemas.microsoft.com/office/drawing/2014/main" id="{23CC985A-61B5-4A0A-AA1F-C3F420AA7C12}"/>
                </a:ext>
              </a:extLst>
            </p:cNvPr>
            <p:cNvSpPr>
              <a:spLocks/>
            </p:cNvSpPr>
            <p:nvPr/>
          </p:nvSpPr>
          <p:spPr bwMode="auto">
            <a:xfrm>
              <a:off x="1077756" y="5671627"/>
              <a:ext cx="17208" cy="11472"/>
            </a:xfrm>
            <a:custGeom>
              <a:avLst/>
              <a:gdLst>
                <a:gd name="T0" fmla="*/ 0 w 39"/>
                <a:gd name="T1" fmla="*/ 23 h 25"/>
                <a:gd name="T2" fmla="*/ 39 w 39"/>
                <a:gd name="T3" fmla="*/ 7 h 25"/>
                <a:gd name="T4" fmla="*/ 36 w 39"/>
                <a:gd name="T5" fmla="*/ 0 h 25"/>
                <a:gd name="T6" fmla="*/ 0 w 39"/>
                <a:gd name="T7" fmla="*/ 23 h 25"/>
              </a:gdLst>
              <a:ahLst/>
              <a:cxnLst>
                <a:cxn ang="0">
                  <a:pos x="T0" y="T1"/>
                </a:cxn>
                <a:cxn ang="0">
                  <a:pos x="T2" y="T3"/>
                </a:cxn>
                <a:cxn ang="0">
                  <a:pos x="T4" y="T5"/>
                </a:cxn>
                <a:cxn ang="0">
                  <a:pos x="T6" y="T7"/>
                </a:cxn>
              </a:cxnLst>
              <a:rect l="0" t="0" r="r" b="b"/>
              <a:pathLst>
                <a:path w="39" h="25">
                  <a:moveTo>
                    <a:pt x="0" y="23"/>
                  </a:moveTo>
                  <a:cubicBezTo>
                    <a:pt x="7" y="25"/>
                    <a:pt x="29" y="17"/>
                    <a:pt x="39" y="7"/>
                  </a:cubicBezTo>
                  <a:cubicBezTo>
                    <a:pt x="39" y="3"/>
                    <a:pt x="37" y="1"/>
                    <a:pt x="36" y="0"/>
                  </a:cubicBezTo>
                  <a:cubicBezTo>
                    <a:pt x="26" y="8"/>
                    <a:pt x="14" y="17"/>
                    <a:pt x="0" y="23"/>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5" name="Freeform 51">
              <a:extLst>
                <a:ext uri="{FF2B5EF4-FFF2-40B4-BE49-F238E27FC236}">
                  <a16:creationId xmlns:a16="http://schemas.microsoft.com/office/drawing/2014/main" id="{A35647C0-526F-47D0-8F88-129B215AA005}"/>
                </a:ext>
              </a:extLst>
            </p:cNvPr>
            <p:cNvSpPr>
              <a:spLocks/>
            </p:cNvSpPr>
            <p:nvPr/>
          </p:nvSpPr>
          <p:spPr bwMode="auto">
            <a:xfrm>
              <a:off x="1090867" y="5646224"/>
              <a:ext cx="6556" cy="3278"/>
            </a:xfrm>
            <a:custGeom>
              <a:avLst/>
              <a:gdLst>
                <a:gd name="T0" fmla="*/ 10 w 16"/>
                <a:gd name="T1" fmla="*/ 0 h 9"/>
                <a:gd name="T2" fmla="*/ 0 w 16"/>
                <a:gd name="T3" fmla="*/ 7 h 9"/>
                <a:gd name="T4" fmla="*/ 16 w 16"/>
                <a:gd name="T5" fmla="*/ 9 h 9"/>
                <a:gd name="T6" fmla="*/ 10 w 16"/>
                <a:gd name="T7" fmla="*/ 0 h 9"/>
              </a:gdLst>
              <a:ahLst/>
              <a:cxnLst>
                <a:cxn ang="0">
                  <a:pos x="T0" y="T1"/>
                </a:cxn>
                <a:cxn ang="0">
                  <a:pos x="T2" y="T3"/>
                </a:cxn>
                <a:cxn ang="0">
                  <a:pos x="T4" y="T5"/>
                </a:cxn>
                <a:cxn ang="0">
                  <a:pos x="T6" y="T7"/>
                </a:cxn>
              </a:cxnLst>
              <a:rect l="0" t="0" r="r" b="b"/>
              <a:pathLst>
                <a:path w="16" h="9">
                  <a:moveTo>
                    <a:pt x="10" y="0"/>
                  </a:moveTo>
                  <a:cubicBezTo>
                    <a:pt x="0" y="7"/>
                    <a:pt x="0" y="7"/>
                    <a:pt x="0" y="7"/>
                  </a:cubicBezTo>
                  <a:cubicBezTo>
                    <a:pt x="1" y="8"/>
                    <a:pt x="8" y="9"/>
                    <a:pt x="16" y="9"/>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6" name="Freeform 52">
              <a:extLst>
                <a:ext uri="{FF2B5EF4-FFF2-40B4-BE49-F238E27FC236}">
                  <a16:creationId xmlns:a16="http://schemas.microsoft.com/office/drawing/2014/main" id="{A9AB1E08-85B5-41B8-865A-A4A54355D86F}"/>
                </a:ext>
              </a:extLst>
            </p:cNvPr>
            <p:cNvSpPr>
              <a:spLocks/>
            </p:cNvSpPr>
            <p:nvPr/>
          </p:nvSpPr>
          <p:spPr bwMode="auto">
            <a:xfrm>
              <a:off x="1074478" y="5632294"/>
              <a:ext cx="4097" cy="4917"/>
            </a:xfrm>
            <a:custGeom>
              <a:avLst/>
              <a:gdLst>
                <a:gd name="T0" fmla="*/ 1 w 10"/>
                <a:gd name="T1" fmla="*/ 3 h 11"/>
                <a:gd name="T2" fmla="*/ 0 w 10"/>
                <a:gd name="T3" fmla="*/ 4 h 11"/>
                <a:gd name="T4" fmla="*/ 2 w 10"/>
                <a:gd name="T5" fmla="*/ 9 h 11"/>
                <a:gd name="T6" fmla="*/ 4 w 10"/>
                <a:gd name="T7" fmla="*/ 10 h 11"/>
                <a:gd name="T8" fmla="*/ 9 w 10"/>
                <a:gd name="T9" fmla="*/ 8 h 11"/>
                <a:gd name="T10" fmla="*/ 8 w 10"/>
                <a:gd name="T11" fmla="*/ 2 h 11"/>
                <a:gd name="T12" fmla="*/ 1 w 10"/>
                <a:gd name="T13" fmla="*/ 3 h 11"/>
              </a:gdLst>
              <a:ahLst/>
              <a:cxnLst>
                <a:cxn ang="0">
                  <a:pos x="T0" y="T1"/>
                </a:cxn>
                <a:cxn ang="0">
                  <a:pos x="T2" y="T3"/>
                </a:cxn>
                <a:cxn ang="0">
                  <a:pos x="T4" y="T5"/>
                </a:cxn>
                <a:cxn ang="0">
                  <a:pos x="T6" y="T7"/>
                </a:cxn>
                <a:cxn ang="0">
                  <a:pos x="T8" y="T9"/>
                </a:cxn>
                <a:cxn ang="0">
                  <a:pos x="T10" y="T11"/>
                </a:cxn>
                <a:cxn ang="0">
                  <a:pos x="T12" y="T13"/>
                </a:cxn>
              </a:cxnLst>
              <a:rect l="0" t="0" r="r" b="b"/>
              <a:pathLst>
                <a:path w="10" h="11">
                  <a:moveTo>
                    <a:pt x="1" y="3"/>
                  </a:moveTo>
                  <a:cubicBezTo>
                    <a:pt x="0" y="3"/>
                    <a:pt x="0" y="4"/>
                    <a:pt x="0" y="4"/>
                  </a:cubicBezTo>
                  <a:cubicBezTo>
                    <a:pt x="0" y="6"/>
                    <a:pt x="0" y="8"/>
                    <a:pt x="2" y="9"/>
                  </a:cubicBezTo>
                  <a:cubicBezTo>
                    <a:pt x="3" y="10"/>
                    <a:pt x="3" y="10"/>
                    <a:pt x="4" y="10"/>
                  </a:cubicBezTo>
                  <a:cubicBezTo>
                    <a:pt x="6" y="11"/>
                    <a:pt x="8" y="10"/>
                    <a:pt x="9" y="8"/>
                  </a:cubicBezTo>
                  <a:cubicBezTo>
                    <a:pt x="10" y="6"/>
                    <a:pt x="10" y="3"/>
                    <a:pt x="8" y="2"/>
                  </a:cubicBezTo>
                  <a:cubicBezTo>
                    <a:pt x="6" y="0"/>
                    <a:pt x="2" y="0"/>
                    <a:pt x="1" y="3"/>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7" name="Freeform 53">
              <a:extLst>
                <a:ext uri="{FF2B5EF4-FFF2-40B4-BE49-F238E27FC236}">
                  <a16:creationId xmlns:a16="http://schemas.microsoft.com/office/drawing/2014/main" id="{65CAA3A3-49CC-4158-BFE8-FE730CC09F9A}"/>
                </a:ext>
              </a:extLst>
            </p:cNvPr>
            <p:cNvSpPr>
              <a:spLocks/>
            </p:cNvSpPr>
            <p:nvPr/>
          </p:nvSpPr>
          <p:spPr bwMode="auto">
            <a:xfrm>
              <a:off x="1001547" y="5598696"/>
              <a:ext cx="72931" cy="94237"/>
            </a:xfrm>
            <a:custGeom>
              <a:avLst/>
              <a:gdLst>
                <a:gd name="T0" fmla="*/ 130 w 163"/>
                <a:gd name="T1" fmla="*/ 0 h 214"/>
                <a:gd name="T2" fmla="*/ 55 w 163"/>
                <a:gd name="T3" fmla="*/ 39 h 214"/>
                <a:gd name="T4" fmla="*/ 34 w 163"/>
                <a:gd name="T5" fmla="*/ 57 h 214"/>
                <a:gd name="T6" fmla="*/ 18 w 163"/>
                <a:gd name="T7" fmla="*/ 81 h 214"/>
                <a:gd name="T8" fmla="*/ 46 w 163"/>
                <a:gd name="T9" fmla="*/ 189 h 214"/>
                <a:gd name="T10" fmla="*/ 149 w 163"/>
                <a:gd name="T11" fmla="*/ 196 h 214"/>
                <a:gd name="T12" fmla="*/ 150 w 163"/>
                <a:gd name="T13" fmla="*/ 195 h 214"/>
                <a:gd name="T14" fmla="*/ 150 w 163"/>
                <a:gd name="T15" fmla="*/ 195 h 214"/>
                <a:gd name="T16" fmla="*/ 140 w 163"/>
                <a:gd name="T17" fmla="*/ 157 h 214"/>
                <a:gd name="T18" fmla="*/ 140 w 163"/>
                <a:gd name="T19" fmla="*/ 157 h 214"/>
                <a:gd name="T20" fmla="*/ 140 w 163"/>
                <a:gd name="T21" fmla="*/ 157 h 214"/>
                <a:gd name="T22" fmla="*/ 134 w 163"/>
                <a:gd name="T23" fmla="*/ 154 h 214"/>
                <a:gd name="T24" fmla="*/ 123 w 163"/>
                <a:gd name="T25" fmla="*/ 148 h 214"/>
                <a:gd name="T26" fmla="*/ 109 w 163"/>
                <a:gd name="T27" fmla="*/ 134 h 214"/>
                <a:gd name="T28" fmla="*/ 116 w 163"/>
                <a:gd name="T29" fmla="*/ 125 h 214"/>
                <a:gd name="T30" fmla="*/ 136 w 163"/>
                <a:gd name="T31" fmla="*/ 123 h 214"/>
                <a:gd name="T32" fmla="*/ 143 w 163"/>
                <a:gd name="T33" fmla="*/ 116 h 214"/>
                <a:gd name="T34" fmla="*/ 105 w 163"/>
                <a:gd name="T35" fmla="*/ 80 h 214"/>
                <a:gd name="T36" fmla="*/ 106 w 163"/>
                <a:gd name="T37" fmla="*/ 80 h 214"/>
                <a:gd name="T38" fmla="*/ 128 w 163"/>
                <a:gd name="T39" fmla="*/ 80 h 214"/>
                <a:gd name="T40" fmla="*/ 157 w 163"/>
                <a:gd name="T41" fmla="*/ 59 h 214"/>
                <a:gd name="T42" fmla="*/ 157 w 163"/>
                <a:gd name="T43" fmla="*/ 59 h 214"/>
                <a:gd name="T44" fmla="*/ 157 w 163"/>
                <a:gd name="T45" fmla="*/ 58 h 214"/>
                <a:gd name="T46" fmla="*/ 130 w 163"/>
                <a:gd name="T47"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3" h="214">
                  <a:moveTo>
                    <a:pt x="130" y="0"/>
                  </a:moveTo>
                  <a:cubicBezTo>
                    <a:pt x="55" y="39"/>
                    <a:pt x="55" y="39"/>
                    <a:pt x="55" y="39"/>
                  </a:cubicBezTo>
                  <a:cubicBezTo>
                    <a:pt x="47" y="44"/>
                    <a:pt x="40" y="49"/>
                    <a:pt x="34" y="57"/>
                  </a:cubicBezTo>
                  <a:cubicBezTo>
                    <a:pt x="27" y="64"/>
                    <a:pt x="22" y="73"/>
                    <a:pt x="18" y="81"/>
                  </a:cubicBezTo>
                  <a:cubicBezTo>
                    <a:pt x="0" y="119"/>
                    <a:pt x="12" y="165"/>
                    <a:pt x="46" y="189"/>
                  </a:cubicBezTo>
                  <a:cubicBezTo>
                    <a:pt x="77" y="213"/>
                    <a:pt x="117" y="214"/>
                    <a:pt x="149" y="196"/>
                  </a:cubicBezTo>
                  <a:cubicBezTo>
                    <a:pt x="149" y="195"/>
                    <a:pt x="149" y="195"/>
                    <a:pt x="150" y="195"/>
                  </a:cubicBezTo>
                  <a:cubicBezTo>
                    <a:pt x="150" y="195"/>
                    <a:pt x="150" y="195"/>
                    <a:pt x="150" y="195"/>
                  </a:cubicBezTo>
                  <a:cubicBezTo>
                    <a:pt x="160" y="179"/>
                    <a:pt x="140" y="157"/>
                    <a:pt x="140" y="157"/>
                  </a:cubicBezTo>
                  <a:cubicBezTo>
                    <a:pt x="140" y="157"/>
                    <a:pt x="140" y="157"/>
                    <a:pt x="140" y="157"/>
                  </a:cubicBezTo>
                  <a:cubicBezTo>
                    <a:pt x="140" y="157"/>
                    <a:pt x="140" y="157"/>
                    <a:pt x="140" y="157"/>
                  </a:cubicBezTo>
                  <a:cubicBezTo>
                    <a:pt x="140" y="157"/>
                    <a:pt x="138" y="156"/>
                    <a:pt x="134" y="154"/>
                  </a:cubicBezTo>
                  <a:cubicBezTo>
                    <a:pt x="131" y="153"/>
                    <a:pt x="127" y="151"/>
                    <a:pt x="123" y="148"/>
                  </a:cubicBezTo>
                  <a:cubicBezTo>
                    <a:pt x="116" y="144"/>
                    <a:pt x="110" y="139"/>
                    <a:pt x="109" y="134"/>
                  </a:cubicBezTo>
                  <a:cubicBezTo>
                    <a:pt x="108" y="130"/>
                    <a:pt x="111" y="127"/>
                    <a:pt x="116" y="125"/>
                  </a:cubicBezTo>
                  <a:cubicBezTo>
                    <a:pt x="124" y="122"/>
                    <a:pt x="136" y="123"/>
                    <a:pt x="136" y="123"/>
                  </a:cubicBezTo>
                  <a:cubicBezTo>
                    <a:pt x="136" y="123"/>
                    <a:pt x="147" y="122"/>
                    <a:pt x="143" y="116"/>
                  </a:cubicBezTo>
                  <a:cubicBezTo>
                    <a:pt x="105" y="80"/>
                    <a:pt x="105" y="80"/>
                    <a:pt x="105" y="80"/>
                  </a:cubicBezTo>
                  <a:cubicBezTo>
                    <a:pt x="105" y="80"/>
                    <a:pt x="106" y="80"/>
                    <a:pt x="106" y="80"/>
                  </a:cubicBezTo>
                  <a:cubicBezTo>
                    <a:pt x="107" y="80"/>
                    <a:pt x="117" y="82"/>
                    <a:pt x="128" y="80"/>
                  </a:cubicBezTo>
                  <a:cubicBezTo>
                    <a:pt x="138" y="77"/>
                    <a:pt x="149" y="72"/>
                    <a:pt x="157" y="59"/>
                  </a:cubicBezTo>
                  <a:cubicBezTo>
                    <a:pt x="157" y="59"/>
                    <a:pt x="157" y="59"/>
                    <a:pt x="157" y="59"/>
                  </a:cubicBezTo>
                  <a:cubicBezTo>
                    <a:pt x="157" y="59"/>
                    <a:pt x="157" y="58"/>
                    <a:pt x="157" y="58"/>
                  </a:cubicBezTo>
                  <a:cubicBezTo>
                    <a:pt x="163" y="33"/>
                    <a:pt x="130" y="0"/>
                    <a:pt x="130"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8" name="Freeform 54">
              <a:extLst>
                <a:ext uri="{FF2B5EF4-FFF2-40B4-BE49-F238E27FC236}">
                  <a16:creationId xmlns:a16="http://schemas.microsoft.com/office/drawing/2014/main" id="{3D1595EC-1378-48A2-BF7B-C9088764F54B}"/>
                </a:ext>
              </a:extLst>
            </p:cNvPr>
            <p:cNvSpPr>
              <a:spLocks/>
            </p:cNvSpPr>
            <p:nvPr/>
          </p:nvSpPr>
          <p:spPr bwMode="auto">
            <a:xfrm>
              <a:off x="1053992" y="5598696"/>
              <a:ext cx="20486" cy="36056"/>
            </a:xfrm>
            <a:custGeom>
              <a:avLst/>
              <a:gdLst>
                <a:gd name="T0" fmla="*/ 13 w 46"/>
                <a:gd name="T1" fmla="*/ 0 h 81"/>
                <a:gd name="T2" fmla="*/ 2 w 46"/>
                <a:gd name="T3" fmla="*/ 5 h 81"/>
                <a:gd name="T4" fmla="*/ 26 w 46"/>
                <a:gd name="T5" fmla="*/ 60 h 81"/>
                <a:gd name="T6" fmla="*/ 26 w 46"/>
                <a:gd name="T7" fmla="*/ 61 h 81"/>
                <a:gd name="T8" fmla="*/ 26 w 46"/>
                <a:gd name="T9" fmla="*/ 61 h 81"/>
                <a:gd name="T10" fmla="*/ 0 w 46"/>
                <a:gd name="T11" fmla="*/ 81 h 81"/>
                <a:gd name="T12" fmla="*/ 11 w 46"/>
                <a:gd name="T13" fmla="*/ 80 h 81"/>
                <a:gd name="T14" fmla="*/ 40 w 46"/>
                <a:gd name="T15" fmla="*/ 59 h 81"/>
                <a:gd name="T16" fmla="*/ 40 w 46"/>
                <a:gd name="T17" fmla="*/ 59 h 81"/>
                <a:gd name="T18" fmla="*/ 40 w 46"/>
                <a:gd name="T19" fmla="*/ 58 h 81"/>
                <a:gd name="T20" fmla="*/ 13 w 46"/>
                <a:gd name="T2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81">
                  <a:moveTo>
                    <a:pt x="13" y="0"/>
                  </a:moveTo>
                  <a:cubicBezTo>
                    <a:pt x="2" y="5"/>
                    <a:pt x="2" y="5"/>
                    <a:pt x="2" y="5"/>
                  </a:cubicBezTo>
                  <a:cubicBezTo>
                    <a:pt x="11" y="15"/>
                    <a:pt x="31" y="40"/>
                    <a:pt x="26" y="60"/>
                  </a:cubicBezTo>
                  <a:cubicBezTo>
                    <a:pt x="26" y="60"/>
                    <a:pt x="26" y="61"/>
                    <a:pt x="26" y="61"/>
                  </a:cubicBezTo>
                  <a:cubicBezTo>
                    <a:pt x="26" y="61"/>
                    <a:pt x="26" y="61"/>
                    <a:pt x="26" y="61"/>
                  </a:cubicBezTo>
                  <a:cubicBezTo>
                    <a:pt x="18" y="73"/>
                    <a:pt x="9" y="78"/>
                    <a:pt x="0" y="81"/>
                  </a:cubicBezTo>
                  <a:cubicBezTo>
                    <a:pt x="3" y="81"/>
                    <a:pt x="7" y="81"/>
                    <a:pt x="11" y="80"/>
                  </a:cubicBezTo>
                  <a:cubicBezTo>
                    <a:pt x="21" y="77"/>
                    <a:pt x="32" y="72"/>
                    <a:pt x="40" y="59"/>
                  </a:cubicBezTo>
                  <a:cubicBezTo>
                    <a:pt x="40" y="59"/>
                    <a:pt x="40" y="59"/>
                    <a:pt x="40" y="59"/>
                  </a:cubicBezTo>
                  <a:cubicBezTo>
                    <a:pt x="40" y="59"/>
                    <a:pt x="40" y="58"/>
                    <a:pt x="40" y="58"/>
                  </a:cubicBezTo>
                  <a:cubicBezTo>
                    <a:pt x="46" y="33"/>
                    <a:pt x="13" y="0"/>
                    <a:pt x="13"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9" name="Freeform 55">
              <a:extLst>
                <a:ext uri="{FF2B5EF4-FFF2-40B4-BE49-F238E27FC236}">
                  <a16:creationId xmlns:a16="http://schemas.microsoft.com/office/drawing/2014/main" id="{CC16CAC9-2862-4361-9940-BDDC6BCA49CE}"/>
                </a:ext>
              </a:extLst>
            </p:cNvPr>
            <p:cNvSpPr>
              <a:spLocks/>
            </p:cNvSpPr>
            <p:nvPr/>
          </p:nvSpPr>
          <p:spPr bwMode="auto">
            <a:xfrm>
              <a:off x="1004005" y="5645405"/>
              <a:ext cx="68834" cy="47528"/>
            </a:xfrm>
            <a:custGeom>
              <a:avLst/>
              <a:gdLst>
                <a:gd name="T0" fmla="*/ 134 w 154"/>
                <a:gd name="T1" fmla="*/ 52 h 109"/>
                <a:gd name="T2" fmla="*/ 134 w 154"/>
                <a:gd name="T3" fmla="*/ 52 h 109"/>
                <a:gd name="T4" fmla="*/ 134 w 154"/>
                <a:gd name="T5" fmla="*/ 52 h 109"/>
                <a:gd name="T6" fmla="*/ 134 w 154"/>
                <a:gd name="T7" fmla="*/ 52 h 109"/>
                <a:gd name="T8" fmla="*/ 37 w 154"/>
                <a:gd name="T9" fmla="*/ 43 h 109"/>
                <a:gd name="T10" fmla="*/ 5 w 154"/>
                <a:gd name="T11" fmla="*/ 0 h 109"/>
                <a:gd name="T12" fmla="*/ 40 w 154"/>
                <a:gd name="T13" fmla="*/ 84 h 109"/>
                <a:gd name="T14" fmla="*/ 143 w 154"/>
                <a:gd name="T15" fmla="*/ 91 h 109"/>
                <a:gd name="T16" fmla="*/ 144 w 154"/>
                <a:gd name="T17" fmla="*/ 90 h 109"/>
                <a:gd name="T18" fmla="*/ 144 w 154"/>
                <a:gd name="T19" fmla="*/ 90 h 109"/>
                <a:gd name="T20" fmla="*/ 134 w 154"/>
                <a:gd name="T21" fmla="*/ 5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109">
                  <a:moveTo>
                    <a:pt x="134" y="52"/>
                  </a:moveTo>
                  <a:cubicBezTo>
                    <a:pt x="134" y="52"/>
                    <a:pt x="134" y="52"/>
                    <a:pt x="134" y="52"/>
                  </a:cubicBezTo>
                  <a:cubicBezTo>
                    <a:pt x="134" y="52"/>
                    <a:pt x="134" y="52"/>
                    <a:pt x="134" y="52"/>
                  </a:cubicBezTo>
                  <a:cubicBezTo>
                    <a:pt x="134" y="52"/>
                    <a:pt x="134" y="52"/>
                    <a:pt x="134" y="52"/>
                  </a:cubicBezTo>
                  <a:cubicBezTo>
                    <a:pt x="103" y="67"/>
                    <a:pt x="65" y="65"/>
                    <a:pt x="37" y="43"/>
                  </a:cubicBezTo>
                  <a:cubicBezTo>
                    <a:pt x="21" y="32"/>
                    <a:pt x="11" y="17"/>
                    <a:pt x="5" y="0"/>
                  </a:cubicBezTo>
                  <a:cubicBezTo>
                    <a:pt x="0" y="32"/>
                    <a:pt x="13" y="65"/>
                    <a:pt x="40" y="84"/>
                  </a:cubicBezTo>
                  <a:cubicBezTo>
                    <a:pt x="70" y="108"/>
                    <a:pt x="111" y="109"/>
                    <a:pt x="143" y="91"/>
                  </a:cubicBezTo>
                  <a:cubicBezTo>
                    <a:pt x="143" y="90"/>
                    <a:pt x="143" y="90"/>
                    <a:pt x="144" y="90"/>
                  </a:cubicBezTo>
                  <a:cubicBezTo>
                    <a:pt x="144" y="90"/>
                    <a:pt x="144" y="90"/>
                    <a:pt x="144" y="90"/>
                  </a:cubicBezTo>
                  <a:cubicBezTo>
                    <a:pt x="154" y="74"/>
                    <a:pt x="134" y="52"/>
                    <a:pt x="134" y="52"/>
                  </a:cubicBezTo>
                  <a:close/>
                </a:path>
              </a:pathLst>
            </a:custGeom>
            <a:solidFill>
              <a:srgbClr val="0013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0" name="Freeform 56">
              <a:extLst>
                <a:ext uri="{FF2B5EF4-FFF2-40B4-BE49-F238E27FC236}">
                  <a16:creationId xmlns:a16="http://schemas.microsoft.com/office/drawing/2014/main" id="{1203B2E2-D8C6-4056-94AE-4FF0BA335C00}"/>
                </a:ext>
              </a:extLst>
            </p:cNvPr>
            <p:cNvSpPr>
              <a:spLocks/>
            </p:cNvSpPr>
            <p:nvPr/>
          </p:nvSpPr>
          <p:spPr bwMode="auto">
            <a:xfrm>
              <a:off x="1066283" y="5683919"/>
              <a:ext cx="44250" cy="22125"/>
            </a:xfrm>
            <a:custGeom>
              <a:avLst/>
              <a:gdLst>
                <a:gd name="T0" fmla="*/ 39 w 54"/>
                <a:gd name="T1" fmla="*/ 0 h 27"/>
                <a:gd name="T2" fmla="*/ 0 w 54"/>
                <a:gd name="T3" fmla="*/ 5 h 27"/>
                <a:gd name="T4" fmla="*/ 1 w 54"/>
                <a:gd name="T5" fmla="*/ 25 h 27"/>
                <a:gd name="T6" fmla="*/ 54 w 54"/>
                <a:gd name="T7" fmla="*/ 27 h 27"/>
                <a:gd name="T8" fmla="*/ 39 w 54"/>
                <a:gd name="T9" fmla="*/ 0 h 27"/>
              </a:gdLst>
              <a:ahLst/>
              <a:cxnLst>
                <a:cxn ang="0">
                  <a:pos x="T0" y="T1"/>
                </a:cxn>
                <a:cxn ang="0">
                  <a:pos x="T2" y="T3"/>
                </a:cxn>
                <a:cxn ang="0">
                  <a:pos x="T4" y="T5"/>
                </a:cxn>
                <a:cxn ang="0">
                  <a:pos x="T6" y="T7"/>
                </a:cxn>
                <a:cxn ang="0">
                  <a:pos x="T8" y="T9"/>
                </a:cxn>
              </a:cxnLst>
              <a:rect l="0" t="0" r="r" b="b"/>
              <a:pathLst>
                <a:path w="54" h="27">
                  <a:moveTo>
                    <a:pt x="39" y="0"/>
                  </a:moveTo>
                  <a:lnTo>
                    <a:pt x="0" y="5"/>
                  </a:lnTo>
                  <a:lnTo>
                    <a:pt x="1" y="25"/>
                  </a:lnTo>
                  <a:lnTo>
                    <a:pt x="54" y="27"/>
                  </a:ln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1" name="Rectangle 57">
              <a:extLst>
                <a:ext uri="{FF2B5EF4-FFF2-40B4-BE49-F238E27FC236}">
                  <a16:creationId xmlns:a16="http://schemas.microsoft.com/office/drawing/2014/main" id="{CE550015-3439-4BE3-9F27-0DA47D261A69}"/>
                </a:ext>
              </a:extLst>
            </p:cNvPr>
            <p:cNvSpPr>
              <a:spLocks noChangeArrowheads="1"/>
            </p:cNvSpPr>
            <p:nvPr/>
          </p:nvSpPr>
          <p:spPr bwMode="auto">
            <a:xfrm>
              <a:off x="1081853" y="5830600"/>
              <a:ext cx="26222" cy="983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2" name="Freeform 58">
              <a:extLst>
                <a:ext uri="{FF2B5EF4-FFF2-40B4-BE49-F238E27FC236}">
                  <a16:creationId xmlns:a16="http://schemas.microsoft.com/office/drawing/2014/main" id="{42EAB967-0857-4F59-A935-A3BFA3D049C2}"/>
                </a:ext>
              </a:extLst>
            </p:cNvPr>
            <p:cNvSpPr>
              <a:spLocks/>
            </p:cNvSpPr>
            <p:nvPr/>
          </p:nvSpPr>
          <p:spPr bwMode="auto">
            <a:xfrm>
              <a:off x="1031866" y="5704405"/>
              <a:ext cx="33597" cy="66375"/>
            </a:xfrm>
            <a:custGeom>
              <a:avLst/>
              <a:gdLst>
                <a:gd name="T0" fmla="*/ 54 w 75"/>
                <a:gd name="T1" fmla="*/ 0 h 150"/>
                <a:gd name="T2" fmla="*/ 0 w 75"/>
                <a:gd name="T3" fmla="*/ 150 h 150"/>
                <a:gd name="T4" fmla="*/ 60 w 75"/>
                <a:gd name="T5" fmla="*/ 150 h 150"/>
              </a:gdLst>
              <a:ahLst/>
              <a:cxnLst>
                <a:cxn ang="0">
                  <a:pos x="T0" y="T1"/>
                </a:cxn>
                <a:cxn ang="0">
                  <a:pos x="T2" y="T3"/>
                </a:cxn>
                <a:cxn ang="0">
                  <a:pos x="T4" y="T5"/>
                </a:cxn>
              </a:cxnLst>
              <a:rect l="0" t="0" r="r" b="b"/>
              <a:pathLst>
                <a:path w="75" h="150">
                  <a:moveTo>
                    <a:pt x="54" y="0"/>
                  </a:moveTo>
                  <a:cubicBezTo>
                    <a:pt x="54" y="0"/>
                    <a:pt x="9" y="45"/>
                    <a:pt x="0" y="150"/>
                  </a:cubicBezTo>
                  <a:cubicBezTo>
                    <a:pt x="75" y="150"/>
                    <a:pt x="60" y="150"/>
                    <a:pt x="60" y="150"/>
                  </a:cubicBezTo>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3" name="Freeform 59">
              <a:extLst>
                <a:ext uri="{FF2B5EF4-FFF2-40B4-BE49-F238E27FC236}">
                  <a16:creationId xmlns:a16="http://schemas.microsoft.com/office/drawing/2014/main" id="{D5E0F6CC-39F2-4A15-885F-8491A74F7DD4}"/>
                </a:ext>
              </a:extLst>
            </p:cNvPr>
            <p:cNvSpPr>
              <a:spLocks/>
            </p:cNvSpPr>
            <p:nvPr/>
          </p:nvSpPr>
          <p:spPr bwMode="auto">
            <a:xfrm>
              <a:off x="1081033" y="5798642"/>
              <a:ext cx="99973" cy="162251"/>
            </a:xfrm>
            <a:custGeom>
              <a:avLst/>
              <a:gdLst>
                <a:gd name="T0" fmla="*/ 177 w 224"/>
                <a:gd name="T1" fmla="*/ 365 h 365"/>
                <a:gd name="T2" fmla="*/ 124 w 224"/>
                <a:gd name="T3" fmla="*/ 93 h 365"/>
                <a:gd name="T4" fmla="*/ 0 w 224"/>
                <a:gd name="T5" fmla="*/ 75 h 365"/>
                <a:gd name="T6" fmla="*/ 11 w 224"/>
                <a:gd name="T7" fmla="*/ 0 h 365"/>
                <a:gd name="T8" fmla="*/ 164 w 224"/>
                <a:gd name="T9" fmla="*/ 23 h 365"/>
                <a:gd name="T10" fmla="*/ 196 w 224"/>
                <a:gd name="T11" fmla="*/ 56 h 365"/>
                <a:gd name="T12" fmla="*/ 224 w 224"/>
                <a:gd name="T13" fmla="*/ 365 h 365"/>
                <a:gd name="T14" fmla="*/ 177 w 224"/>
                <a:gd name="T15" fmla="*/ 365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365">
                  <a:moveTo>
                    <a:pt x="177" y="365"/>
                  </a:moveTo>
                  <a:cubicBezTo>
                    <a:pt x="124" y="93"/>
                    <a:pt x="124" y="93"/>
                    <a:pt x="124" y="93"/>
                  </a:cubicBezTo>
                  <a:cubicBezTo>
                    <a:pt x="0" y="75"/>
                    <a:pt x="0" y="75"/>
                    <a:pt x="0" y="75"/>
                  </a:cubicBezTo>
                  <a:cubicBezTo>
                    <a:pt x="11" y="0"/>
                    <a:pt x="11" y="0"/>
                    <a:pt x="11" y="0"/>
                  </a:cubicBezTo>
                  <a:cubicBezTo>
                    <a:pt x="164" y="23"/>
                    <a:pt x="164" y="23"/>
                    <a:pt x="164" y="23"/>
                  </a:cubicBezTo>
                  <a:cubicBezTo>
                    <a:pt x="180" y="26"/>
                    <a:pt x="194" y="39"/>
                    <a:pt x="196" y="56"/>
                  </a:cubicBezTo>
                  <a:cubicBezTo>
                    <a:pt x="224" y="365"/>
                    <a:pt x="224" y="365"/>
                    <a:pt x="224" y="365"/>
                  </a:cubicBezTo>
                  <a:lnTo>
                    <a:pt x="177" y="36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4" name="Freeform 60">
              <a:extLst>
                <a:ext uri="{FF2B5EF4-FFF2-40B4-BE49-F238E27FC236}">
                  <a16:creationId xmlns:a16="http://schemas.microsoft.com/office/drawing/2014/main" id="{5639473B-7712-444F-A24A-FE75D251DFF1}"/>
                </a:ext>
              </a:extLst>
            </p:cNvPr>
            <p:cNvSpPr>
              <a:spLocks/>
            </p:cNvSpPr>
            <p:nvPr/>
          </p:nvSpPr>
          <p:spPr bwMode="auto">
            <a:xfrm>
              <a:off x="1081033" y="5798642"/>
              <a:ext cx="82764" cy="162251"/>
            </a:xfrm>
            <a:custGeom>
              <a:avLst/>
              <a:gdLst>
                <a:gd name="T0" fmla="*/ 81 w 101"/>
                <a:gd name="T1" fmla="*/ 47 h 198"/>
                <a:gd name="T2" fmla="*/ 12 w 101"/>
                <a:gd name="T3" fmla="*/ 38 h 198"/>
                <a:gd name="T4" fmla="*/ 18 w 101"/>
                <a:gd name="T5" fmla="*/ 2 h 198"/>
                <a:gd name="T6" fmla="*/ 6 w 101"/>
                <a:gd name="T7" fmla="*/ 0 h 198"/>
                <a:gd name="T8" fmla="*/ 0 w 101"/>
                <a:gd name="T9" fmla="*/ 41 h 198"/>
                <a:gd name="T10" fmla="*/ 68 w 101"/>
                <a:gd name="T11" fmla="*/ 51 h 198"/>
                <a:gd name="T12" fmla="*/ 96 w 101"/>
                <a:gd name="T13" fmla="*/ 198 h 198"/>
                <a:gd name="T14" fmla="*/ 101 w 101"/>
                <a:gd name="T15" fmla="*/ 194 h 198"/>
                <a:gd name="T16" fmla="*/ 81 w 101"/>
                <a:gd name="T17" fmla="*/ 47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98">
                  <a:moveTo>
                    <a:pt x="81" y="47"/>
                  </a:moveTo>
                  <a:lnTo>
                    <a:pt x="12" y="38"/>
                  </a:lnTo>
                  <a:lnTo>
                    <a:pt x="18" y="2"/>
                  </a:lnTo>
                  <a:lnTo>
                    <a:pt x="6" y="0"/>
                  </a:lnTo>
                  <a:lnTo>
                    <a:pt x="0" y="41"/>
                  </a:lnTo>
                  <a:lnTo>
                    <a:pt x="68" y="51"/>
                  </a:lnTo>
                  <a:lnTo>
                    <a:pt x="96" y="198"/>
                  </a:lnTo>
                  <a:lnTo>
                    <a:pt x="101" y="194"/>
                  </a:lnTo>
                  <a:lnTo>
                    <a:pt x="81" y="47"/>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5" name="Freeform 61">
              <a:extLst>
                <a:ext uri="{FF2B5EF4-FFF2-40B4-BE49-F238E27FC236}">
                  <a16:creationId xmlns:a16="http://schemas.microsoft.com/office/drawing/2014/main" id="{AFA85B5A-C4F9-4E39-BB98-1D6FDDA36CD4}"/>
                </a:ext>
              </a:extLst>
            </p:cNvPr>
            <p:cNvSpPr>
              <a:spLocks/>
            </p:cNvSpPr>
            <p:nvPr/>
          </p:nvSpPr>
          <p:spPr bwMode="auto">
            <a:xfrm>
              <a:off x="1081033" y="5798642"/>
              <a:ext cx="82764" cy="162251"/>
            </a:xfrm>
            <a:custGeom>
              <a:avLst/>
              <a:gdLst>
                <a:gd name="T0" fmla="*/ 81 w 101"/>
                <a:gd name="T1" fmla="*/ 47 h 198"/>
                <a:gd name="T2" fmla="*/ 12 w 101"/>
                <a:gd name="T3" fmla="*/ 38 h 198"/>
                <a:gd name="T4" fmla="*/ 18 w 101"/>
                <a:gd name="T5" fmla="*/ 2 h 198"/>
                <a:gd name="T6" fmla="*/ 6 w 101"/>
                <a:gd name="T7" fmla="*/ 0 h 198"/>
                <a:gd name="T8" fmla="*/ 0 w 101"/>
                <a:gd name="T9" fmla="*/ 41 h 198"/>
                <a:gd name="T10" fmla="*/ 68 w 101"/>
                <a:gd name="T11" fmla="*/ 51 h 198"/>
                <a:gd name="T12" fmla="*/ 96 w 101"/>
                <a:gd name="T13" fmla="*/ 198 h 198"/>
                <a:gd name="T14" fmla="*/ 101 w 101"/>
                <a:gd name="T15" fmla="*/ 194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98">
                  <a:moveTo>
                    <a:pt x="81" y="47"/>
                  </a:moveTo>
                  <a:lnTo>
                    <a:pt x="12" y="38"/>
                  </a:lnTo>
                  <a:lnTo>
                    <a:pt x="18" y="2"/>
                  </a:lnTo>
                  <a:lnTo>
                    <a:pt x="6" y="0"/>
                  </a:lnTo>
                  <a:lnTo>
                    <a:pt x="0" y="41"/>
                  </a:lnTo>
                  <a:lnTo>
                    <a:pt x="68" y="51"/>
                  </a:lnTo>
                  <a:lnTo>
                    <a:pt x="96" y="198"/>
                  </a:lnTo>
                  <a:lnTo>
                    <a:pt x="101" y="1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6" name="Freeform 62">
              <a:extLst>
                <a:ext uri="{FF2B5EF4-FFF2-40B4-BE49-F238E27FC236}">
                  <a16:creationId xmlns:a16="http://schemas.microsoft.com/office/drawing/2014/main" id="{32D04952-9249-4A71-87C0-772728C79722}"/>
                </a:ext>
              </a:extLst>
            </p:cNvPr>
            <p:cNvSpPr>
              <a:spLocks/>
            </p:cNvSpPr>
            <p:nvPr/>
          </p:nvSpPr>
          <p:spPr bwMode="auto">
            <a:xfrm>
              <a:off x="1079395" y="5803558"/>
              <a:ext cx="158973" cy="158973"/>
            </a:xfrm>
            <a:custGeom>
              <a:avLst/>
              <a:gdLst>
                <a:gd name="T0" fmla="*/ 304 w 358"/>
                <a:gd name="T1" fmla="*/ 360 h 360"/>
                <a:gd name="T2" fmla="*/ 215 w 358"/>
                <a:gd name="T3" fmla="*/ 99 h 360"/>
                <a:gd name="T4" fmla="*/ 0 w 358"/>
                <a:gd name="T5" fmla="*/ 76 h 360"/>
                <a:gd name="T6" fmla="*/ 8 w 358"/>
                <a:gd name="T7" fmla="*/ 0 h 360"/>
                <a:gd name="T8" fmla="*/ 250 w 358"/>
                <a:gd name="T9" fmla="*/ 27 h 360"/>
                <a:gd name="T10" fmla="*/ 282 w 358"/>
                <a:gd name="T11" fmla="*/ 55 h 360"/>
                <a:gd name="T12" fmla="*/ 358 w 358"/>
                <a:gd name="T13" fmla="*/ 360 h 360"/>
                <a:gd name="T14" fmla="*/ 304 w 358"/>
                <a:gd name="T15" fmla="*/ 36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8" h="360">
                  <a:moveTo>
                    <a:pt x="304" y="360"/>
                  </a:moveTo>
                  <a:cubicBezTo>
                    <a:pt x="215" y="99"/>
                    <a:pt x="215" y="99"/>
                    <a:pt x="215" y="99"/>
                  </a:cubicBezTo>
                  <a:cubicBezTo>
                    <a:pt x="0" y="76"/>
                    <a:pt x="0" y="76"/>
                    <a:pt x="0" y="76"/>
                  </a:cubicBezTo>
                  <a:cubicBezTo>
                    <a:pt x="8" y="0"/>
                    <a:pt x="8" y="0"/>
                    <a:pt x="8" y="0"/>
                  </a:cubicBezTo>
                  <a:cubicBezTo>
                    <a:pt x="250" y="27"/>
                    <a:pt x="250" y="27"/>
                    <a:pt x="250" y="27"/>
                  </a:cubicBezTo>
                  <a:cubicBezTo>
                    <a:pt x="265" y="29"/>
                    <a:pt x="278" y="40"/>
                    <a:pt x="282" y="55"/>
                  </a:cubicBezTo>
                  <a:cubicBezTo>
                    <a:pt x="358" y="360"/>
                    <a:pt x="358" y="360"/>
                    <a:pt x="358" y="360"/>
                  </a:cubicBezTo>
                  <a:lnTo>
                    <a:pt x="304" y="36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7" name="Freeform 63">
              <a:extLst>
                <a:ext uri="{FF2B5EF4-FFF2-40B4-BE49-F238E27FC236}">
                  <a16:creationId xmlns:a16="http://schemas.microsoft.com/office/drawing/2014/main" id="{3DF6115D-C21A-424D-8620-95109F410D5B}"/>
                </a:ext>
              </a:extLst>
            </p:cNvPr>
            <p:cNvSpPr>
              <a:spLocks/>
            </p:cNvSpPr>
            <p:nvPr/>
          </p:nvSpPr>
          <p:spPr bwMode="auto">
            <a:xfrm>
              <a:off x="1079395" y="5828961"/>
              <a:ext cx="138487" cy="133570"/>
            </a:xfrm>
            <a:custGeom>
              <a:avLst/>
              <a:gdLst>
                <a:gd name="T0" fmla="*/ 304 w 312"/>
                <a:gd name="T1" fmla="*/ 303 h 303"/>
                <a:gd name="T2" fmla="*/ 312 w 312"/>
                <a:gd name="T3" fmla="*/ 303 h 303"/>
                <a:gd name="T4" fmla="*/ 240 w 312"/>
                <a:gd name="T5" fmla="*/ 51 h 303"/>
                <a:gd name="T6" fmla="*/ 208 w 312"/>
                <a:gd name="T7" fmla="*/ 23 h 303"/>
                <a:gd name="T8" fmla="*/ 2 w 312"/>
                <a:gd name="T9" fmla="*/ 0 h 303"/>
                <a:gd name="T10" fmla="*/ 0 w 312"/>
                <a:gd name="T11" fmla="*/ 19 h 303"/>
                <a:gd name="T12" fmla="*/ 215 w 312"/>
                <a:gd name="T13" fmla="*/ 42 h 303"/>
                <a:gd name="T14" fmla="*/ 304 w 312"/>
                <a:gd name="T15" fmla="*/ 303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303">
                  <a:moveTo>
                    <a:pt x="304" y="303"/>
                  </a:moveTo>
                  <a:cubicBezTo>
                    <a:pt x="312" y="303"/>
                    <a:pt x="312" y="303"/>
                    <a:pt x="312" y="303"/>
                  </a:cubicBezTo>
                  <a:cubicBezTo>
                    <a:pt x="240" y="51"/>
                    <a:pt x="240" y="51"/>
                    <a:pt x="240" y="51"/>
                  </a:cubicBezTo>
                  <a:cubicBezTo>
                    <a:pt x="236" y="36"/>
                    <a:pt x="223" y="25"/>
                    <a:pt x="208" y="23"/>
                  </a:cubicBezTo>
                  <a:cubicBezTo>
                    <a:pt x="2" y="0"/>
                    <a:pt x="2" y="0"/>
                    <a:pt x="2" y="0"/>
                  </a:cubicBezTo>
                  <a:cubicBezTo>
                    <a:pt x="0" y="19"/>
                    <a:pt x="0" y="19"/>
                    <a:pt x="0" y="19"/>
                  </a:cubicBezTo>
                  <a:cubicBezTo>
                    <a:pt x="215" y="42"/>
                    <a:pt x="215" y="42"/>
                    <a:pt x="215" y="42"/>
                  </a:cubicBezTo>
                  <a:lnTo>
                    <a:pt x="304" y="303"/>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 name="Freeform 64">
              <a:extLst>
                <a:ext uri="{FF2B5EF4-FFF2-40B4-BE49-F238E27FC236}">
                  <a16:creationId xmlns:a16="http://schemas.microsoft.com/office/drawing/2014/main" id="{B9042718-905C-4514-A7EA-3A01581B016B}"/>
                </a:ext>
              </a:extLst>
            </p:cNvPr>
            <p:cNvSpPr>
              <a:spLocks/>
            </p:cNvSpPr>
            <p:nvPr/>
          </p:nvSpPr>
          <p:spPr bwMode="auto">
            <a:xfrm>
              <a:off x="1117089" y="5807655"/>
              <a:ext cx="86042" cy="16389"/>
            </a:xfrm>
            <a:custGeom>
              <a:avLst/>
              <a:gdLst>
                <a:gd name="T0" fmla="*/ 165 w 194"/>
                <a:gd name="T1" fmla="*/ 18 h 38"/>
                <a:gd name="T2" fmla="*/ 2 w 194"/>
                <a:gd name="T3" fmla="*/ 0 h 38"/>
                <a:gd name="T4" fmla="*/ 0 w 194"/>
                <a:gd name="T5" fmla="*/ 17 h 38"/>
                <a:gd name="T6" fmla="*/ 194 w 194"/>
                <a:gd name="T7" fmla="*/ 38 h 38"/>
                <a:gd name="T8" fmla="*/ 165 w 194"/>
                <a:gd name="T9" fmla="*/ 18 h 38"/>
              </a:gdLst>
              <a:ahLst/>
              <a:cxnLst>
                <a:cxn ang="0">
                  <a:pos x="T0" y="T1"/>
                </a:cxn>
                <a:cxn ang="0">
                  <a:pos x="T2" y="T3"/>
                </a:cxn>
                <a:cxn ang="0">
                  <a:pos x="T4" y="T5"/>
                </a:cxn>
                <a:cxn ang="0">
                  <a:pos x="T6" y="T7"/>
                </a:cxn>
                <a:cxn ang="0">
                  <a:pos x="T8" y="T9"/>
                </a:cxn>
              </a:cxnLst>
              <a:rect l="0" t="0" r="r" b="b"/>
              <a:pathLst>
                <a:path w="194" h="38">
                  <a:moveTo>
                    <a:pt x="165" y="18"/>
                  </a:moveTo>
                  <a:cubicBezTo>
                    <a:pt x="2" y="0"/>
                    <a:pt x="2" y="0"/>
                    <a:pt x="2" y="0"/>
                  </a:cubicBezTo>
                  <a:cubicBezTo>
                    <a:pt x="0" y="17"/>
                    <a:pt x="0" y="17"/>
                    <a:pt x="0" y="17"/>
                  </a:cubicBezTo>
                  <a:cubicBezTo>
                    <a:pt x="194" y="38"/>
                    <a:pt x="194" y="38"/>
                    <a:pt x="194" y="38"/>
                  </a:cubicBezTo>
                  <a:cubicBezTo>
                    <a:pt x="188" y="27"/>
                    <a:pt x="177" y="20"/>
                    <a:pt x="165" y="1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9" name="Freeform 65">
              <a:extLst>
                <a:ext uri="{FF2B5EF4-FFF2-40B4-BE49-F238E27FC236}">
                  <a16:creationId xmlns:a16="http://schemas.microsoft.com/office/drawing/2014/main" id="{E328EF68-5ACF-4C6A-842F-A259C3E94EEF}"/>
                </a:ext>
              </a:extLst>
            </p:cNvPr>
            <p:cNvSpPr>
              <a:spLocks/>
            </p:cNvSpPr>
            <p:nvPr/>
          </p:nvSpPr>
          <p:spPr bwMode="auto">
            <a:xfrm>
              <a:off x="1044978" y="5692113"/>
              <a:ext cx="89320" cy="154876"/>
            </a:xfrm>
            <a:custGeom>
              <a:avLst/>
              <a:gdLst>
                <a:gd name="T0" fmla="*/ 161 w 201"/>
                <a:gd name="T1" fmla="*/ 33 h 349"/>
                <a:gd name="T2" fmla="*/ 112 w 201"/>
                <a:gd name="T3" fmla="*/ 0 h 349"/>
                <a:gd name="T4" fmla="*/ 60 w 201"/>
                <a:gd name="T5" fmla="*/ 0 h 349"/>
                <a:gd name="T6" fmla="*/ 17 w 201"/>
                <a:gd name="T7" fmla="*/ 43 h 349"/>
                <a:gd name="T8" fmla="*/ 1 w 201"/>
                <a:gd name="T9" fmla="*/ 249 h 349"/>
                <a:gd name="T10" fmla="*/ 30 w 201"/>
                <a:gd name="T11" fmla="*/ 331 h 349"/>
                <a:gd name="T12" fmla="*/ 92 w 201"/>
                <a:gd name="T13" fmla="*/ 331 h 349"/>
                <a:gd name="T14" fmla="*/ 201 w 201"/>
                <a:gd name="T15" fmla="*/ 298 h 349"/>
                <a:gd name="T16" fmla="*/ 161 w 201"/>
                <a:gd name="T17" fmla="*/ 3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49">
                  <a:moveTo>
                    <a:pt x="161" y="33"/>
                  </a:moveTo>
                  <a:cubicBezTo>
                    <a:pt x="155" y="26"/>
                    <a:pt x="147" y="0"/>
                    <a:pt x="112" y="0"/>
                  </a:cubicBezTo>
                  <a:cubicBezTo>
                    <a:pt x="104" y="0"/>
                    <a:pt x="68" y="0"/>
                    <a:pt x="60" y="0"/>
                  </a:cubicBezTo>
                  <a:cubicBezTo>
                    <a:pt x="25" y="0"/>
                    <a:pt x="20" y="36"/>
                    <a:pt x="17" y="43"/>
                  </a:cubicBezTo>
                  <a:cubicBezTo>
                    <a:pt x="6" y="72"/>
                    <a:pt x="1" y="197"/>
                    <a:pt x="1" y="249"/>
                  </a:cubicBezTo>
                  <a:cubicBezTo>
                    <a:pt x="1" y="300"/>
                    <a:pt x="0" y="331"/>
                    <a:pt x="30" y="331"/>
                  </a:cubicBezTo>
                  <a:cubicBezTo>
                    <a:pt x="92" y="331"/>
                    <a:pt x="92" y="331"/>
                    <a:pt x="92" y="331"/>
                  </a:cubicBezTo>
                  <a:cubicBezTo>
                    <a:pt x="122" y="331"/>
                    <a:pt x="201" y="349"/>
                    <a:pt x="201" y="298"/>
                  </a:cubicBezTo>
                  <a:cubicBezTo>
                    <a:pt x="201" y="247"/>
                    <a:pt x="177" y="53"/>
                    <a:pt x="16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0" name="Freeform 66">
              <a:extLst>
                <a:ext uri="{FF2B5EF4-FFF2-40B4-BE49-F238E27FC236}">
                  <a16:creationId xmlns:a16="http://schemas.microsoft.com/office/drawing/2014/main" id="{5917B940-E505-4EE4-AB5A-88215E916473}"/>
                </a:ext>
              </a:extLst>
            </p:cNvPr>
            <p:cNvSpPr>
              <a:spLocks/>
            </p:cNvSpPr>
            <p:nvPr/>
          </p:nvSpPr>
          <p:spPr bwMode="auto">
            <a:xfrm>
              <a:off x="1053992" y="5692113"/>
              <a:ext cx="49986" cy="15570"/>
            </a:xfrm>
            <a:custGeom>
              <a:avLst/>
              <a:gdLst>
                <a:gd name="T0" fmla="*/ 113 w 113"/>
                <a:gd name="T1" fmla="*/ 4 h 35"/>
                <a:gd name="T2" fmla="*/ 93 w 113"/>
                <a:gd name="T3" fmla="*/ 0 h 35"/>
                <a:gd name="T4" fmla="*/ 40 w 113"/>
                <a:gd name="T5" fmla="*/ 0 h 35"/>
                <a:gd name="T6" fmla="*/ 0 w 113"/>
                <a:gd name="T7" fmla="*/ 35 h 35"/>
                <a:gd name="T8" fmla="*/ 28 w 113"/>
                <a:gd name="T9" fmla="*/ 11 h 35"/>
                <a:gd name="T10" fmla="*/ 90 w 113"/>
                <a:gd name="T11" fmla="*/ 6 h 35"/>
                <a:gd name="T12" fmla="*/ 112 w 113"/>
                <a:gd name="T13" fmla="*/ 6 h 35"/>
                <a:gd name="T14" fmla="*/ 113 w 113"/>
                <a:gd name="T15" fmla="*/ 4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35">
                  <a:moveTo>
                    <a:pt x="113" y="4"/>
                  </a:moveTo>
                  <a:cubicBezTo>
                    <a:pt x="108" y="1"/>
                    <a:pt x="101" y="0"/>
                    <a:pt x="93" y="0"/>
                  </a:cubicBezTo>
                  <a:cubicBezTo>
                    <a:pt x="84" y="0"/>
                    <a:pt x="48" y="0"/>
                    <a:pt x="40" y="0"/>
                  </a:cubicBezTo>
                  <a:cubicBezTo>
                    <a:pt x="13" y="0"/>
                    <a:pt x="4" y="21"/>
                    <a:pt x="0" y="35"/>
                  </a:cubicBezTo>
                  <a:cubicBezTo>
                    <a:pt x="6" y="26"/>
                    <a:pt x="13" y="14"/>
                    <a:pt x="28" y="11"/>
                  </a:cubicBezTo>
                  <a:cubicBezTo>
                    <a:pt x="38" y="10"/>
                    <a:pt x="80" y="7"/>
                    <a:pt x="90" y="6"/>
                  </a:cubicBezTo>
                  <a:cubicBezTo>
                    <a:pt x="98" y="4"/>
                    <a:pt x="105" y="5"/>
                    <a:pt x="112" y="6"/>
                  </a:cubicBezTo>
                  <a:lnTo>
                    <a:pt x="113" y="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1" name="Freeform 67">
              <a:extLst>
                <a:ext uri="{FF2B5EF4-FFF2-40B4-BE49-F238E27FC236}">
                  <a16:creationId xmlns:a16="http://schemas.microsoft.com/office/drawing/2014/main" id="{D3385C32-2308-4483-A3E5-A8F11CE7CBA0}"/>
                </a:ext>
              </a:extLst>
            </p:cNvPr>
            <p:cNvSpPr>
              <a:spLocks/>
            </p:cNvSpPr>
            <p:nvPr/>
          </p:nvSpPr>
          <p:spPr bwMode="auto">
            <a:xfrm>
              <a:off x="1157242" y="5947781"/>
              <a:ext cx="54903" cy="27042"/>
            </a:xfrm>
            <a:custGeom>
              <a:avLst/>
              <a:gdLst>
                <a:gd name="T0" fmla="*/ 113 w 123"/>
                <a:gd name="T1" fmla="*/ 26 h 61"/>
                <a:gd name="T2" fmla="*/ 55 w 123"/>
                <a:gd name="T3" fmla="*/ 1 h 61"/>
                <a:gd name="T4" fmla="*/ 55 w 123"/>
                <a:gd name="T5" fmla="*/ 1 h 61"/>
                <a:gd name="T6" fmla="*/ 52 w 123"/>
                <a:gd name="T7" fmla="*/ 0 h 61"/>
                <a:gd name="T8" fmla="*/ 45 w 123"/>
                <a:gd name="T9" fmla="*/ 6 h 61"/>
                <a:gd name="T10" fmla="*/ 45 w 123"/>
                <a:gd name="T11" fmla="*/ 6 h 61"/>
                <a:gd name="T12" fmla="*/ 23 w 123"/>
                <a:gd name="T13" fmla="*/ 21 h 61"/>
                <a:gd name="T14" fmla="*/ 2 w 123"/>
                <a:gd name="T15" fmla="*/ 8 h 61"/>
                <a:gd name="T16" fmla="*/ 1 w 123"/>
                <a:gd name="T17" fmla="*/ 52 h 61"/>
                <a:gd name="T18" fmla="*/ 10 w 123"/>
                <a:gd name="T19" fmla="*/ 61 h 61"/>
                <a:gd name="T20" fmla="*/ 114 w 123"/>
                <a:gd name="T21" fmla="*/ 58 h 61"/>
                <a:gd name="T22" fmla="*/ 121 w 123"/>
                <a:gd name="T23" fmla="*/ 51 h 61"/>
                <a:gd name="T24" fmla="*/ 122 w 123"/>
                <a:gd name="T25" fmla="*/ 37 h 61"/>
                <a:gd name="T26" fmla="*/ 113 w 123"/>
                <a:gd name="T27"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61">
                  <a:moveTo>
                    <a:pt x="113" y="26"/>
                  </a:moveTo>
                  <a:cubicBezTo>
                    <a:pt x="103" y="21"/>
                    <a:pt x="55" y="1"/>
                    <a:pt x="55" y="1"/>
                  </a:cubicBezTo>
                  <a:cubicBezTo>
                    <a:pt x="55" y="1"/>
                    <a:pt x="55" y="1"/>
                    <a:pt x="55" y="1"/>
                  </a:cubicBezTo>
                  <a:cubicBezTo>
                    <a:pt x="54" y="0"/>
                    <a:pt x="53" y="0"/>
                    <a:pt x="52" y="0"/>
                  </a:cubicBezTo>
                  <a:cubicBezTo>
                    <a:pt x="49" y="0"/>
                    <a:pt x="46" y="2"/>
                    <a:pt x="45" y="6"/>
                  </a:cubicBezTo>
                  <a:cubicBezTo>
                    <a:pt x="45" y="6"/>
                    <a:pt x="45" y="6"/>
                    <a:pt x="45" y="6"/>
                  </a:cubicBezTo>
                  <a:cubicBezTo>
                    <a:pt x="44" y="11"/>
                    <a:pt x="38" y="22"/>
                    <a:pt x="23" y="21"/>
                  </a:cubicBezTo>
                  <a:cubicBezTo>
                    <a:pt x="2" y="8"/>
                    <a:pt x="2" y="8"/>
                    <a:pt x="2" y="8"/>
                  </a:cubicBezTo>
                  <a:cubicBezTo>
                    <a:pt x="1" y="52"/>
                    <a:pt x="1" y="52"/>
                    <a:pt x="1" y="52"/>
                  </a:cubicBezTo>
                  <a:cubicBezTo>
                    <a:pt x="1" y="52"/>
                    <a:pt x="0" y="61"/>
                    <a:pt x="10" y="61"/>
                  </a:cubicBezTo>
                  <a:cubicBezTo>
                    <a:pt x="114" y="58"/>
                    <a:pt x="114" y="58"/>
                    <a:pt x="114" y="58"/>
                  </a:cubicBezTo>
                  <a:cubicBezTo>
                    <a:pt x="114" y="58"/>
                    <a:pt x="121" y="59"/>
                    <a:pt x="121" y="51"/>
                  </a:cubicBezTo>
                  <a:cubicBezTo>
                    <a:pt x="122" y="37"/>
                    <a:pt x="122" y="37"/>
                    <a:pt x="122" y="37"/>
                  </a:cubicBezTo>
                  <a:cubicBezTo>
                    <a:pt x="122" y="37"/>
                    <a:pt x="123" y="31"/>
                    <a:pt x="113" y="2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 name="Freeform 68">
              <a:extLst>
                <a:ext uri="{FF2B5EF4-FFF2-40B4-BE49-F238E27FC236}">
                  <a16:creationId xmlns:a16="http://schemas.microsoft.com/office/drawing/2014/main" id="{FFF80C73-C90E-4741-99C2-EE636B3C0D3B}"/>
                </a:ext>
              </a:extLst>
            </p:cNvPr>
            <p:cNvSpPr>
              <a:spLocks/>
            </p:cNvSpPr>
            <p:nvPr/>
          </p:nvSpPr>
          <p:spPr bwMode="auto">
            <a:xfrm>
              <a:off x="1210506" y="5946962"/>
              <a:ext cx="59000" cy="27861"/>
            </a:xfrm>
            <a:custGeom>
              <a:avLst/>
              <a:gdLst>
                <a:gd name="T0" fmla="*/ 123 w 133"/>
                <a:gd name="T1" fmla="*/ 27 h 63"/>
                <a:gd name="T2" fmla="*/ 58 w 133"/>
                <a:gd name="T3" fmla="*/ 0 h 63"/>
                <a:gd name="T4" fmla="*/ 57 w 133"/>
                <a:gd name="T5" fmla="*/ 0 h 63"/>
                <a:gd name="T6" fmla="*/ 54 w 133"/>
                <a:gd name="T7" fmla="*/ 0 h 63"/>
                <a:gd name="T8" fmla="*/ 48 w 133"/>
                <a:gd name="T9" fmla="*/ 5 h 63"/>
                <a:gd name="T10" fmla="*/ 47 w 133"/>
                <a:gd name="T11" fmla="*/ 6 h 63"/>
                <a:gd name="T12" fmla="*/ 24 w 133"/>
                <a:gd name="T13" fmla="*/ 22 h 63"/>
                <a:gd name="T14" fmla="*/ 2 w 133"/>
                <a:gd name="T15" fmla="*/ 8 h 63"/>
                <a:gd name="T16" fmla="*/ 1 w 133"/>
                <a:gd name="T17" fmla="*/ 54 h 63"/>
                <a:gd name="T18" fmla="*/ 10 w 133"/>
                <a:gd name="T19" fmla="*/ 63 h 63"/>
                <a:gd name="T20" fmla="*/ 124 w 133"/>
                <a:gd name="T21" fmla="*/ 60 h 63"/>
                <a:gd name="T22" fmla="*/ 131 w 133"/>
                <a:gd name="T23" fmla="*/ 53 h 63"/>
                <a:gd name="T24" fmla="*/ 131 w 133"/>
                <a:gd name="T25" fmla="*/ 38 h 63"/>
                <a:gd name="T26" fmla="*/ 123 w 133"/>
                <a:gd name="T27"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63">
                  <a:moveTo>
                    <a:pt x="123" y="27"/>
                  </a:moveTo>
                  <a:cubicBezTo>
                    <a:pt x="112" y="21"/>
                    <a:pt x="58" y="0"/>
                    <a:pt x="58" y="0"/>
                  </a:cubicBezTo>
                  <a:cubicBezTo>
                    <a:pt x="58" y="0"/>
                    <a:pt x="58" y="0"/>
                    <a:pt x="57" y="0"/>
                  </a:cubicBezTo>
                  <a:cubicBezTo>
                    <a:pt x="57" y="0"/>
                    <a:pt x="56" y="0"/>
                    <a:pt x="54" y="0"/>
                  </a:cubicBezTo>
                  <a:cubicBezTo>
                    <a:pt x="51" y="0"/>
                    <a:pt x="48" y="2"/>
                    <a:pt x="48" y="5"/>
                  </a:cubicBezTo>
                  <a:cubicBezTo>
                    <a:pt x="48" y="5"/>
                    <a:pt x="48" y="6"/>
                    <a:pt x="47" y="6"/>
                  </a:cubicBezTo>
                  <a:cubicBezTo>
                    <a:pt x="47" y="11"/>
                    <a:pt x="40" y="22"/>
                    <a:pt x="24" y="22"/>
                  </a:cubicBezTo>
                  <a:cubicBezTo>
                    <a:pt x="2" y="8"/>
                    <a:pt x="2" y="8"/>
                    <a:pt x="2" y="8"/>
                  </a:cubicBezTo>
                  <a:cubicBezTo>
                    <a:pt x="1" y="54"/>
                    <a:pt x="1" y="54"/>
                    <a:pt x="1" y="54"/>
                  </a:cubicBezTo>
                  <a:cubicBezTo>
                    <a:pt x="1" y="54"/>
                    <a:pt x="0" y="63"/>
                    <a:pt x="10" y="63"/>
                  </a:cubicBezTo>
                  <a:cubicBezTo>
                    <a:pt x="124" y="60"/>
                    <a:pt x="124" y="60"/>
                    <a:pt x="124" y="60"/>
                  </a:cubicBezTo>
                  <a:cubicBezTo>
                    <a:pt x="124" y="60"/>
                    <a:pt x="131" y="62"/>
                    <a:pt x="131" y="53"/>
                  </a:cubicBezTo>
                  <a:cubicBezTo>
                    <a:pt x="131" y="38"/>
                    <a:pt x="131" y="38"/>
                    <a:pt x="131" y="38"/>
                  </a:cubicBezTo>
                  <a:cubicBezTo>
                    <a:pt x="131" y="38"/>
                    <a:pt x="133" y="33"/>
                    <a:pt x="123" y="2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3" name="Freeform 69">
              <a:extLst>
                <a:ext uri="{FF2B5EF4-FFF2-40B4-BE49-F238E27FC236}">
                  <a16:creationId xmlns:a16="http://schemas.microsoft.com/office/drawing/2014/main" id="{5C529429-A5B6-43A9-A8EF-C0F9C2F863CD}"/>
                </a:ext>
              </a:extLst>
            </p:cNvPr>
            <p:cNvSpPr>
              <a:spLocks/>
            </p:cNvSpPr>
            <p:nvPr/>
          </p:nvSpPr>
          <p:spPr bwMode="auto">
            <a:xfrm>
              <a:off x="1229354" y="5459390"/>
              <a:ext cx="15570" cy="23764"/>
            </a:xfrm>
            <a:custGeom>
              <a:avLst/>
              <a:gdLst>
                <a:gd name="T0" fmla="*/ 27 w 35"/>
                <a:gd name="T1" fmla="*/ 54 h 54"/>
                <a:gd name="T2" fmla="*/ 15 w 35"/>
                <a:gd name="T3" fmla="*/ 39 h 54"/>
                <a:gd name="T4" fmla="*/ 1 w 35"/>
                <a:gd name="T5" fmla="*/ 11 h 54"/>
                <a:gd name="T6" fmla="*/ 5 w 35"/>
                <a:gd name="T7" fmla="*/ 2 h 54"/>
                <a:gd name="T8" fmla="*/ 14 w 35"/>
                <a:gd name="T9" fmla="*/ 5 h 54"/>
                <a:gd name="T10" fmla="*/ 33 w 35"/>
                <a:gd name="T11" fmla="*/ 43 h 54"/>
                <a:gd name="T12" fmla="*/ 30 w 35"/>
                <a:gd name="T13" fmla="*/ 53 h 54"/>
                <a:gd name="T14" fmla="*/ 27 w 35"/>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54">
                  <a:moveTo>
                    <a:pt x="27" y="54"/>
                  </a:moveTo>
                  <a:cubicBezTo>
                    <a:pt x="24" y="54"/>
                    <a:pt x="20" y="39"/>
                    <a:pt x="15" y="39"/>
                  </a:cubicBezTo>
                  <a:cubicBezTo>
                    <a:pt x="9" y="38"/>
                    <a:pt x="1" y="11"/>
                    <a:pt x="1" y="11"/>
                  </a:cubicBezTo>
                  <a:cubicBezTo>
                    <a:pt x="0" y="8"/>
                    <a:pt x="1" y="3"/>
                    <a:pt x="5" y="2"/>
                  </a:cubicBezTo>
                  <a:cubicBezTo>
                    <a:pt x="8" y="0"/>
                    <a:pt x="12" y="1"/>
                    <a:pt x="14" y="5"/>
                  </a:cubicBezTo>
                  <a:cubicBezTo>
                    <a:pt x="33" y="43"/>
                    <a:pt x="33" y="43"/>
                    <a:pt x="33" y="43"/>
                  </a:cubicBezTo>
                  <a:cubicBezTo>
                    <a:pt x="35" y="47"/>
                    <a:pt x="33" y="51"/>
                    <a:pt x="30" y="53"/>
                  </a:cubicBezTo>
                  <a:cubicBezTo>
                    <a:pt x="29" y="53"/>
                    <a:pt x="28" y="54"/>
                    <a:pt x="27" y="54"/>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4" name="Freeform 70">
              <a:extLst>
                <a:ext uri="{FF2B5EF4-FFF2-40B4-BE49-F238E27FC236}">
                  <a16:creationId xmlns:a16="http://schemas.microsoft.com/office/drawing/2014/main" id="{6FEC426D-0160-4303-ADA1-A301B9AE46F9}"/>
                </a:ext>
              </a:extLst>
            </p:cNvPr>
            <p:cNvSpPr>
              <a:spLocks/>
            </p:cNvSpPr>
            <p:nvPr/>
          </p:nvSpPr>
          <p:spPr bwMode="auto">
            <a:xfrm>
              <a:off x="1194117" y="5388918"/>
              <a:ext cx="80306" cy="81125"/>
            </a:xfrm>
            <a:custGeom>
              <a:avLst/>
              <a:gdLst>
                <a:gd name="T0" fmla="*/ 175 w 182"/>
                <a:gd name="T1" fmla="*/ 83 h 184"/>
                <a:gd name="T2" fmla="*/ 120 w 182"/>
                <a:gd name="T3" fmla="*/ 43 h 184"/>
                <a:gd name="T4" fmla="*/ 124 w 182"/>
                <a:gd name="T5" fmla="*/ 37 h 184"/>
                <a:gd name="T6" fmla="*/ 122 w 182"/>
                <a:gd name="T7" fmla="*/ 27 h 184"/>
                <a:gd name="T8" fmla="*/ 88 w 182"/>
                <a:gd name="T9" fmla="*/ 2 h 184"/>
                <a:gd name="T10" fmla="*/ 78 w 182"/>
                <a:gd name="T11" fmla="*/ 4 h 184"/>
                <a:gd name="T12" fmla="*/ 74 w 182"/>
                <a:gd name="T13" fmla="*/ 10 h 184"/>
                <a:gd name="T14" fmla="*/ 58 w 182"/>
                <a:gd name="T15" fmla="*/ 15 h 184"/>
                <a:gd name="T16" fmla="*/ 4 w 182"/>
                <a:gd name="T17" fmla="*/ 88 h 184"/>
                <a:gd name="T18" fmla="*/ 7 w 182"/>
                <a:gd name="T19" fmla="*/ 108 h 184"/>
                <a:gd name="T20" fmla="*/ 104 w 182"/>
                <a:gd name="T21" fmla="*/ 179 h 184"/>
                <a:gd name="T22" fmla="*/ 124 w 182"/>
                <a:gd name="T23" fmla="*/ 176 h 184"/>
                <a:gd name="T24" fmla="*/ 178 w 182"/>
                <a:gd name="T25" fmla="*/ 103 h 184"/>
                <a:gd name="T26" fmla="*/ 175 w 182"/>
                <a:gd name="T27" fmla="*/ 8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84">
                  <a:moveTo>
                    <a:pt x="175" y="83"/>
                  </a:moveTo>
                  <a:cubicBezTo>
                    <a:pt x="120" y="43"/>
                    <a:pt x="120" y="43"/>
                    <a:pt x="120" y="43"/>
                  </a:cubicBezTo>
                  <a:cubicBezTo>
                    <a:pt x="124" y="37"/>
                    <a:pt x="124" y="37"/>
                    <a:pt x="124" y="37"/>
                  </a:cubicBezTo>
                  <a:cubicBezTo>
                    <a:pt x="126" y="34"/>
                    <a:pt x="126" y="30"/>
                    <a:pt x="122" y="27"/>
                  </a:cubicBezTo>
                  <a:cubicBezTo>
                    <a:pt x="88" y="2"/>
                    <a:pt x="88" y="2"/>
                    <a:pt x="88" y="2"/>
                  </a:cubicBezTo>
                  <a:cubicBezTo>
                    <a:pt x="85" y="0"/>
                    <a:pt x="81" y="1"/>
                    <a:pt x="78" y="4"/>
                  </a:cubicBezTo>
                  <a:cubicBezTo>
                    <a:pt x="74" y="10"/>
                    <a:pt x="74" y="10"/>
                    <a:pt x="74" y="10"/>
                  </a:cubicBezTo>
                  <a:cubicBezTo>
                    <a:pt x="68" y="8"/>
                    <a:pt x="62" y="10"/>
                    <a:pt x="58" y="15"/>
                  </a:cubicBezTo>
                  <a:cubicBezTo>
                    <a:pt x="4" y="88"/>
                    <a:pt x="4" y="88"/>
                    <a:pt x="4" y="88"/>
                  </a:cubicBezTo>
                  <a:cubicBezTo>
                    <a:pt x="0" y="95"/>
                    <a:pt x="1" y="103"/>
                    <a:pt x="7" y="108"/>
                  </a:cubicBezTo>
                  <a:cubicBezTo>
                    <a:pt x="104" y="179"/>
                    <a:pt x="104" y="179"/>
                    <a:pt x="104" y="179"/>
                  </a:cubicBezTo>
                  <a:cubicBezTo>
                    <a:pt x="110" y="184"/>
                    <a:pt x="119" y="182"/>
                    <a:pt x="124" y="176"/>
                  </a:cubicBezTo>
                  <a:cubicBezTo>
                    <a:pt x="178" y="103"/>
                    <a:pt x="178" y="103"/>
                    <a:pt x="178" y="103"/>
                  </a:cubicBezTo>
                  <a:cubicBezTo>
                    <a:pt x="182" y="96"/>
                    <a:pt x="181" y="88"/>
                    <a:pt x="175" y="83"/>
                  </a:cubicBez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71">
              <a:extLst>
                <a:ext uri="{FF2B5EF4-FFF2-40B4-BE49-F238E27FC236}">
                  <a16:creationId xmlns:a16="http://schemas.microsoft.com/office/drawing/2014/main" id="{A65A0B7C-684C-4503-B67D-25C863CC7470}"/>
                </a:ext>
              </a:extLst>
            </p:cNvPr>
            <p:cNvSpPr>
              <a:spLocks/>
            </p:cNvSpPr>
            <p:nvPr/>
          </p:nvSpPr>
          <p:spPr bwMode="auto">
            <a:xfrm>
              <a:off x="1194117" y="5403668"/>
              <a:ext cx="84403" cy="66375"/>
            </a:xfrm>
            <a:custGeom>
              <a:avLst/>
              <a:gdLst>
                <a:gd name="T0" fmla="*/ 126 w 190"/>
                <a:gd name="T1" fmla="*/ 145 h 150"/>
                <a:gd name="T2" fmla="*/ 104 w 190"/>
                <a:gd name="T3" fmla="*/ 146 h 150"/>
                <a:gd name="T4" fmla="*/ 7 w 190"/>
                <a:gd name="T5" fmla="*/ 75 h 150"/>
                <a:gd name="T6" fmla="*/ 6 w 190"/>
                <a:gd name="T7" fmla="*/ 57 h 150"/>
                <a:gd name="T8" fmla="*/ 64 w 190"/>
                <a:gd name="T9" fmla="*/ 6 h 150"/>
                <a:gd name="T10" fmla="*/ 86 w 190"/>
                <a:gd name="T11" fmla="*/ 5 h 150"/>
                <a:gd name="T12" fmla="*/ 183 w 190"/>
                <a:gd name="T13" fmla="*/ 76 h 150"/>
                <a:gd name="T14" fmla="*/ 184 w 190"/>
                <a:gd name="T15" fmla="*/ 94 h 150"/>
                <a:gd name="T16" fmla="*/ 126 w 190"/>
                <a:gd name="T17" fmla="*/ 14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150">
                  <a:moveTo>
                    <a:pt x="126" y="145"/>
                  </a:moveTo>
                  <a:cubicBezTo>
                    <a:pt x="120" y="150"/>
                    <a:pt x="110" y="150"/>
                    <a:pt x="104" y="146"/>
                  </a:cubicBezTo>
                  <a:cubicBezTo>
                    <a:pt x="7" y="75"/>
                    <a:pt x="7" y="75"/>
                    <a:pt x="7" y="75"/>
                  </a:cubicBezTo>
                  <a:cubicBezTo>
                    <a:pt x="0" y="70"/>
                    <a:pt x="0" y="62"/>
                    <a:pt x="6" y="57"/>
                  </a:cubicBezTo>
                  <a:cubicBezTo>
                    <a:pt x="64" y="6"/>
                    <a:pt x="64" y="6"/>
                    <a:pt x="64" y="6"/>
                  </a:cubicBezTo>
                  <a:cubicBezTo>
                    <a:pt x="70" y="1"/>
                    <a:pt x="80" y="0"/>
                    <a:pt x="86" y="5"/>
                  </a:cubicBezTo>
                  <a:cubicBezTo>
                    <a:pt x="183" y="76"/>
                    <a:pt x="183" y="76"/>
                    <a:pt x="183" y="76"/>
                  </a:cubicBezTo>
                  <a:cubicBezTo>
                    <a:pt x="190" y="81"/>
                    <a:pt x="190" y="89"/>
                    <a:pt x="184" y="94"/>
                  </a:cubicBezTo>
                  <a:lnTo>
                    <a:pt x="126" y="145"/>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72">
              <a:extLst>
                <a:ext uri="{FF2B5EF4-FFF2-40B4-BE49-F238E27FC236}">
                  <a16:creationId xmlns:a16="http://schemas.microsoft.com/office/drawing/2014/main" id="{D4333690-6E3E-4692-A711-7B314844B145}"/>
                </a:ext>
              </a:extLst>
            </p:cNvPr>
            <p:cNvSpPr>
              <a:spLocks/>
            </p:cNvSpPr>
            <p:nvPr/>
          </p:nvSpPr>
          <p:spPr bwMode="auto">
            <a:xfrm>
              <a:off x="1235909" y="5443821"/>
              <a:ext cx="7375" cy="25403"/>
            </a:xfrm>
            <a:custGeom>
              <a:avLst/>
              <a:gdLst>
                <a:gd name="T0" fmla="*/ 7 w 17"/>
                <a:gd name="T1" fmla="*/ 57 h 57"/>
                <a:gd name="T2" fmla="*/ 0 w 17"/>
                <a:gd name="T3" fmla="*/ 50 h 57"/>
                <a:gd name="T4" fmla="*/ 2 w 17"/>
                <a:gd name="T5" fmla="*/ 7 h 57"/>
                <a:gd name="T6" fmla="*/ 10 w 17"/>
                <a:gd name="T7" fmla="*/ 0 h 57"/>
                <a:gd name="T8" fmla="*/ 17 w 17"/>
                <a:gd name="T9" fmla="*/ 8 h 57"/>
                <a:gd name="T10" fmla="*/ 14 w 17"/>
                <a:gd name="T11" fmla="*/ 50 h 57"/>
                <a:gd name="T12" fmla="*/ 7 w 17"/>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7" h="57">
                  <a:moveTo>
                    <a:pt x="7" y="57"/>
                  </a:moveTo>
                  <a:cubicBezTo>
                    <a:pt x="3" y="57"/>
                    <a:pt x="0" y="54"/>
                    <a:pt x="0" y="50"/>
                  </a:cubicBezTo>
                  <a:cubicBezTo>
                    <a:pt x="2" y="7"/>
                    <a:pt x="2" y="7"/>
                    <a:pt x="2" y="7"/>
                  </a:cubicBezTo>
                  <a:cubicBezTo>
                    <a:pt x="3" y="3"/>
                    <a:pt x="6" y="0"/>
                    <a:pt x="10" y="0"/>
                  </a:cubicBezTo>
                  <a:cubicBezTo>
                    <a:pt x="14" y="0"/>
                    <a:pt x="17" y="4"/>
                    <a:pt x="17" y="8"/>
                  </a:cubicBezTo>
                  <a:cubicBezTo>
                    <a:pt x="14" y="50"/>
                    <a:pt x="14" y="50"/>
                    <a:pt x="14" y="50"/>
                  </a:cubicBezTo>
                  <a:cubicBezTo>
                    <a:pt x="14" y="54"/>
                    <a:pt x="11" y="57"/>
                    <a:pt x="7" y="5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73">
              <a:extLst>
                <a:ext uri="{FF2B5EF4-FFF2-40B4-BE49-F238E27FC236}">
                  <a16:creationId xmlns:a16="http://schemas.microsoft.com/office/drawing/2014/main" id="{86C3D02B-8F61-4CE6-963B-6A2A82794710}"/>
                </a:ext>
              </a:extLst>
            </p:cNvPr>
            <p:cNvSpPr>
              <a:spLocks/>
            </p:cNvSpPr>
            <p:nvPr/>
          </p:nvSpPr>
          <p:spPr bwMode="auto">
            <a:xfrm>
              <a:off x="1246562" y="5448737"/>
              <a:ext cx="7375" cy="25403"/>
            </a:xfrm>
            <a:custGeom>
              <a:avLst/>
              <a:gdLst>
                <a:gd name="T0" fmla="*/ 7 w 17"/>
                <a:gd name="T1" fmla="*/ 57 h 58"/>
                <a:gd name="T2" fmla="*/ 0 w 17"/>
                <a:gd name="T3" fmla="*/ 50 h 58"/>
                <a:gd name="T4" fmla="*/ 2 w 17"/>
                <a:gd name="T5" fmla="*/ 7 h 58"/>
                <a:gd name="T6" fmla="*/ 10 w 17"/>
                <a:gd name="T7" fmla="*/ 1 h 58"/>
                <a:gd name="T8" fmla="*/ 16 w 17"/>
                <a:gd name="T9" fmla="*/ 8 h 58"/>
                <a:gd name="T10" fmla="*/ 14 w 17"/>
                <a:gd name="T11" fmla="*/ 51 h 58"/>
                <a:gd name="T12" fmla="*/ 7 w 17"/>
                <a:gd name="T13" fmla="*/ 57 h 58"/>
              </a:gdLst>
              <a:ahLst/>
              <a:cxnLst>
                <a:cxn ang="0">
                  <a:pos x="T0" y="T1"/>
                </a:cxn>
                <a:cxn ang="0">
                  <a:pos x="T2" y="T3"/>
                </a:cxn>
                <a:cxn ang="0">
                  <a:pos x="T4" y="T5"/>
                </a:cxn>
                <a:cxn ang="0">
                  <a:pos x="T6" y="T7"/>
                </a:cxn>
                <a:cxn ang="0">
                  <a:pos x="T8" y="T9"/>
                </a:cxn>
                <a:cxn ang="0">
                  <a:pos x="T10" y="T11"/>
                </a:cxn>
                <a:cxn ang="0">
                  <a:pos x="T12" y="T13"/>
                </a:cxn>
              </a:cxnLst>
              <a:rect l="0" t="0" r="r" b="b"/>
              <a:pathLst>
                <a:path w="17" h="58">
                  <a:moveTo>
                    <a:pt x="7" y="57"/>
                  </a:moveTo>
                  <a:cubicBezTo>
                    <a:pt x="3" y="57"/>
                    <a:pt x="0" y="54"/>
                    <a:pt x="0" y="50"/>
                  </a:cubicBezTo>
                  <a:cubicBezTo>
                    <a:pt x="2" y="7"/>
                    <a:pt x="2" y="7"/>
                    <a:pt x="2" y="7"/>
                  </a:cubicBezTo>
                  <a:cubicBezTo>
                    <a:pt x="2" y="3"/>
                    <a:pt x="6" y="0"/>
                    <a:pt x="10" y="1"/>
                  </a:cubicBezTo>
                  <a:cubicBezTo>
                    <a:pt x="14" y="1"/>
                    <a:pt x="17" y="4"/>
                    <a:pt x="16" y="8"/>
                  </a:cubicBezTo>
                  <a:cubicBezTo>
                    <a:pt x="14" y="51"/>
                    <a:pt x="14" y="51"/>
                    <a:pt x="14" y="51"/>
                  </a:cubicBezTo>
                  <a:cubicBezTo>
                    <a:pt x="14" y="55"/>
                    <a:pt x="11" y="58"/>
                    <a:pt x="7" y="5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Freeform 74">
              <a:extLst>
                <a:ext uri="{FF2B5EF4-FFF2-40B4-BE49-F238E27FC236}">
                  <a16:creationId xmlns:a16="http://schemas.microsoft.com/office/drawing/2014/main" id="{BC13AD32-641C-45E3-B457-F35C19D9724D}"/>
                </a:ext>
              </a:extLst>
            </p:cNvPr>
            <p:cNvSpPr>
              <a:spLocks/>
            </p:cNvSpPr>
            <p:nvPr/>
          </p:nvSpPr>
          <p:spPr bwMode="auto">
            <a:xfrm>
              <a:off x="1251479" y="5452834"/>
              <a:ext cx="7375" cy="22125"/>
            </a:xfrm>
            <a:custGeom>
              <a:avLst/>
              <a:gdLst>
                <a:gd name="T0" fmla="*/ 7 w 17"/>
                <a:gd name="T1" fmla="*/ 51 h 51"/>
                <a:gd name="T2" fmla="*/ 1 w 17"/>
                <a:gd name="T3" fmla="*/ 44 h 51"/>
                <a:gd name="T4" fmla="*/ 2 w 17"/>
                <a:gd name="T5" fmla="*/ 7 h 51"/>
                <a:gd name="T6" fmla="*/ 10 w 17"/>
                <a:gd name="T7" fmla="*/ 0 h 51"/>
                <a:gd name="T8" fmla="*/ 17 w 17"/>
                <a:gd name="T9" fmla="*/ 8 h 51"/>
                <a:gd name="T10" fmla="*/ 15 w 17"/>
                <a:gd name="T11" fmla="*/ 44 h 51"/>
                <a:gd name="T12" fmla="*/ 7 w 17"/>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17" h="51">
                  <a:moveTo>
                    <a:pt x="7" y="51"/>
                  </a:moveTo>
                  <a:cubicBezTo>
                    <a:pt x="3" y="51"/>
                    <a:pt x="0" y="48"/>
                    <a:pt x="1" y="44"/>
                  </a:cubicBezTo>
                  <a:cubicBezTo>
                    <a:pt x="2" y="7"/>
                    <a:pt x="2" y="7"/>
                    <a:pt x="2" y="7"/>
                  </a:cubicBezTo>
                  <a:cubicBezTo>
                    <a:pt x="3" y="3"/>
                    <a:pt x="6" y="0"/>
                    <a:pt x="10" y="0"/>
                  </a:cubicBezTo>
                  <a:cubicBezTo>
                    <a:pt x="14" y="1"/>
                    <a:pt x="17" y="4"/>
                    <a:pt x="17" y="8"/>
                  </a:cubicBezTo>
                  <a:cubicBezTo>
                    <a:pt x="15" y="44"/>
                    <a:pt x="15" y="44"/>
                    <a:pt x="15" y="44"/>
                  </a:cubicBezTo>
                  <a:cubicBezTo>
                    <a:pt x="14" y="48"/>
                    <a:pt x="11" y="51"/>
                    <a:pt x="7" y="5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Freeform 75">
              <a:extLst>
                <a:ext uri="{FF2B5EF4-FFF2-40B4-BE49-F238E27FC236}">
                  <a16:creationId xmlns:a16="http://schemas.microsoft.com/office/drawing/2014/main" id="{5B274EC8-B822-4098-98AF-CC148E64ABED}"/>
                </a:ext>
              </a:extLst>
            </p:cNvPr>
            <p:cNvSpPr>
              <a:spLocks/>
            </p:cNvSpPr>
            <p:nvPr/>
          </p:nvSpPr>
          <p:spPr bwMode="auto">
            <a:xfrm>
              <a:off x="1240826" y="5447098"/>
              <a:ext cx="7375" cy="27042"/>
            </a:xfrm>
            <a:custGeom>
              <a:avLst/>
              <a:gdLst>
                <a:gd name="T0" fmla="*/ 7 w 17"/>
                <a:gd name="T1" fmla="*/ 61 h 61"/>
                <a:gd name="T2" fmla="*/ 0 w 17"/>
                <a:gd name="T3" fmla="*/ 53 h 61"/>
                <a:gd name="T4" fmla="*/ 3 w 17"/>
                <a:gd name="T5" fmla="*/ 7 h 61"/>
                <a:gd name="T6" fmla="*/ 10 w 17"/>
                <a:gd name="T7" fmla="*/ 0 h 61"/>
                <a:gd name="T8" fmla="*/ 17 w 17"/>
                <a:gd name="T9" fmla="*/ 8 h 61"/>
                <a:gd name="T10" fmla="*/ 15 w 17"/>
                <a:gd name="T11" fmla="*/ 54 h 61"/>
                <a:gd name="T12" fmla="*/ 7 w 17"/>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7" h="61">
                  <a:moveTo>
                    <a:pt x="7" y="61"/>
                  </a:moveTo>
                  <a:cubicBezTo>
                    <a:pt x="3" y="61"/>
                    <a:pt x="0" y="57"/>
                    <a:pt x="0" y="53"/>
                  </a:cubicBezTo>
                  <a:cubicBezTo>
                    <a:pt x="3" y="7"/>
                    <a:pt x="3" y="7"/>
                    <a:pt x="3" y="7"/>
                  </a:cubicBezTo>
                  <a:cubicBezTo>
                    <a:pt x="3" y="3"/>
                    <a:pt x="6" y="0"/>
                    <a:pt x="10" y="0"/>
                  </a:cubicBezTo>
                  <a:cubicBezTo>
                    <a:pt x="14" y="1"/>
                    <a:pt x="17" y="4"/>
                    <a:pt x="17" y="8"/>
                  </a:cubicBezTo>
                  <a:cubicBezTo>
                    <a:pt x="15" y="54"/>
                    <a:pt x="15" y="54"/>
                    <a:pt x="15" y="54"/>
                  </a:cubicBezTo>
                  <a:cubicBezTo>
                    <a:pt x="14" y="58"/>
                    <a:pt x="11" y="61"/>
                    <a:pt x="7" y="6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Freeform 76">
              <a:extLst>
                <a:ext uri="{FF2B5EF4-FFF2-40B4-BE49-F238E27FC236}">
                  <a16:creationId xmlns:a16="http://schemas.microsoft.com/office/drawing/2014/main" id="{AC5D2DEE-344D-4EF3-871E-E5F6095B2AD8}"/>
                </a:ext>
              </a:extLst>
            </p:cNvPr>
            <p:cNvSpPr>
              <a:spLocks/>
            </p:cNvSpPr>
            <p:nvPr/>
          </p:nvSpPr>
          <p:spPr bwMode="auto">
            <a:xfrm>
              <a:off x="1235909" y="5466765"/>
              <a:ext cx="22945" cy="9833"/>
            </a:xfrm>
            <a:custGeom>
              <a:avLst/>
              <a:gdLst>
                <a:gd name="T0" fmla="*/ 38 w 52"/>
                <a:gd name="T1" fmla="*/ 22 h 22"/>
                <a:gd name="T2" fmla="*/ 0 w 52"/>
                <a:gd name="T3" fmla="*/ 21 h 22"/>
                <a:gd name="T4" fmla="*/ 0 w 52"/>
                <a:gd name="T5" fmla="*/ 0 h 22"/>
                <a:gd name="T6" fmla="*/ 49 w 52"/>
                <a:gd name="T7" fmla="*/ 3 h 22"/>
                <a:gd name="T8" fmla="*/ 38 w 52"/>
                <a:gd name="T9" fmla="*/ 22 h 22"/>
              </a:gdLst>
              <a:ahLst/>
              <a:cxnLst>
                <a:cxn ang="0">
                  <a:pos x="T0" y="T1"/>
                </a:cxn>
                <a:cxn ang="0">
                  <a:pos x="T2" y="T3"/>
                </a:cxn>
                <a:cxn ang="0">
                  <a:pos x="T4" y="T5"/>
                </a:cxn>
                <a:cxn ang="0">
                  <a:pos x="T6" y="T7"/>
                </a:cxn>
                <a:cxn ang="0">
                  <a:pos x="T8" y="T9"/>
                </a:cxn>
              </a:cxnLst>
              <a:rect l="0" t="0" r="r" b="b"/>
              <a:pathLst>
                <a:path w="52" h="22">
                  <a:moveTo>
                    <a:pt x="38" y="22"/>
                  </a:moveTo>
                  <a:cubicBezTo>
                    <a:pt x="23" y="22"/>
                    <a:pt x="0" y="21"/>
                    <a:pt x="0" y="21"/>
                  </a:cubicBezTo>
                  <a:cubicBezTo>
                    <a:pt x="0" y="0"/>
                    <a:pt x="0" y="0"/>
                    <a:pt x="0" y="0"/>
                  </a:cubicBezTo>
                  <a:cubicBezTo>
                    <a:pt x="49" y="3"/>
                    <a:pt x="49" y="3"/>
                    <a:pt x="49" y="3"/>
                  </a:cubicBezTo>
                  <a:cubicBezTo>
                    <a:pt x="49" y="3"/>
                    <a:pt x="52" y="22"/>
                    <a:pt x="38" y="2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2" name="Rectangle 77">
              <a:extLst>
                <a:ext uri="{FF2B5EF4-FFF2-40B4-BE49-F238E27FC236}">
                  <a16:creationId xmlns:a16="http://schemas.microsoft.com/office/drawing/2014/main" id="{66918D0A-8C58-43DA-A8CD-6753FBDCBB63}"/>
                </a:ext>
              </a:extLst>
            </p:cNvPr>
            <p:cNvSpPr>
              <a:spLocks noChangeArrowheads="1"/>
            </p:cNvSpPr>
            <p:nvPr/>
          </p:nvSpPr>
          <p:spPr bwMode="auto">
            <a:xfrm>
              <a:off x="1232631" y="5476598"/>
              <a:ext cx="25403" cy="40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3" name="Freeform 78">
              <a:extLst>
                <a:ext uri="{FF2B5EF4-FFF2-40B4-BE49-F238E27FC236}">
                  <a16:creationId xmlns:a16="http://schemas.microsoft.com/office/drawing/2014/main" id="{CCDEC1DF-CCBC-4648-928F-6C47F7C17B0B}"/>
                </a:ext>
              </a:extLst>
            </p:cNvPr>
            <p:cNvSpPr>
              <a:spLocks/>
            </p:cNvSpPr>
            <p:nvPr/>
          </p:nvSpPr>
          <p:spPr bwMode="auto">
            <a:xfrm>
              <a:off x="1100700" y="5480696"/>
              <a:ext cx="155695" cy="248293"/>
            </a:xfrm>
            <a:custGeom>
              <a:avLst/>
              <a:gdLst>
                <a:gd name="T0" fmla="*/ 301 w 350"/>
                <a:gd name="T1" fmla="*/ 0 h 560"/>
                <a:gd name="T2" fmla="*/ 236 w 350"/>
                <a:gd name="T3" fmla="*/ 236 h 560"/>
                <a:gd name="T4" fmla="*/ 9 w 350"/>
                <a:gd name="T5" fmla="*/ 483 h 560"/>
                <a:gd name="T6" fmla="*/ 0 w 350"/>
                <a:gd name="T7" fmla="*/ 560 h 560"/>
                <a:gd name="T8" fmla="*/ 350 w 350"/>
                <a:gd name="T9" fmla="*/ 0 h 560"/>
                <a:gd name="T10" fmla="*/ 301 w 350"/>
                <a:gd name="T11" fmla="*/ 0 h 560"/>
              </a:gdLst>
              <a:ahLst/>
              <a:cxnLst>
                <a:cxn ang="0">
                  <a:pos x="T0" y="T1"/>
                </a:cxn>
                <a:cxn ang="0">
                  <a:pos x="T2" y="T3"/>
                </a:cxn>
                <a:cxn ang="0">
                  <a:pos x="T4" y="T5"/>
                </a:cxn>
                <a:cxn ang="0">
                  <a:pos x="T6" y="T7"/>
                </a:cxn>
                <a:cxn ang="0">
                  <a:pos x="T8" y="T9"/>
                </a:cxn>
                <a:cxn ang="0">
                  <a:pos x="T10" y="T11"/>
                </a:cxn>
              </a:cxnLst>
              <a:rect l="0" t="0" r="r" b="b"/>
              <a:pathLst>
                <a:path w="350" h="560">
                  <a:moveTo>
                    <a:pt x="301" y="0"/>
                  </a:moveTo>
                  <a:cubicBezTo>
                    <a:pt x="296" y="31"/>
                    <a:pt x="279" y="125"/>
                    <a:pt x="236" y="236"/>
                  </a:cubicBezTo>
                  <a:cubicBezTo>
                    <a:pt x="192" y="351"/>
                    <a:pt x="127" y="473"/>
                    <a:pt x="9" y="483"/>
                  </a:cubicBezTo>
                  <a:cubicBezTo>
                    <a:pt x="0" y="560"/>
                    <a:pt x="0" y="560"/>
                    <a:pt x="0" y="560"/>
                  </a:cubicBezTo>
                  <a:cubicBezTo>
                    <a:pt x="264" y="538"/>
                    <a:pt x="344" y="38"/>
                    <a:pt x="350" y="0"/>
                  </a:cubicBezTo>
                  <a:lnTo>
                    <a:pt x="30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 name="Freeform 79">
              <a:extLst>
                <a:ext uri="{FF2B5EF4-FFF2-40B4-BE49-F238E27FC236}">
                  <a16:creationId xmlns:a16="http://schemas.microsoft.com/office/drawing/2014/main" id="{77731F47-6649-494C-A119-A7722A9833F7}"/>
                </a:ext>
              </a:extLst>
            </p:cNvPr>
            <p:cNvSpPr>
              <a:spLocks/>
            </p:cNvSpPr>
            <p:nvPr/>
          </p:nvSpPr>
          <p:spPr bwMode="auto">
            <a:xfrm>
              <a:off x="1114631" y="5480696"/>
              <a:ext cx="141765" cy="358918"/>
            </a:xfrm>
            <a:custGeom>
              <a:avLst/>
              <a:gdLst>
                <a:gd name="T0" fmla="*/ 28 w 317"/>
                <a:gd name="T1" fmla="*/ 766 h 811"/>
                <a:gd name="T2" fmla="*/ 0 w 317"/>
                <a:gd name="T3" fmla="*/ 540 h 811"/>
                <a:gd name="T4" fmla="*/ 299 w 317"/>
                <a:gd name="T5" fmla="*/ 0 h 811"/>
                <a:gd name="T6" fmla="*/ 317 w 317"/>
                <a:gd name="T7" fmla="*/ 0 h 811"/>
                <a:gd name="T8" fmla="*/ 16 w 317"/>
                <a:gd name="T9" fmla="*/ 550 h 811"/>
                <a:gd name="T10" fmla="*/ 44 w 317"/>
                <a:gd name="T11" fmla="*/ 776 h 811"/>
                <a:gd name="T12" fmla="*/ 10 w 317"/>
                <a:gd name="T13" fmla="*/ 811 h 811"/>
                <a:gd name="T14" fmla="*/ 28 w 317"/>
                <a:gd name="T15" fmla="*/ 766 h 8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7" h="811">
                  <a:moveTo>
                    <a:pt x="28" y="766"/>
                  </a:moveTo>
                  <a:cubicBezTo>
                    <a:pt x="27" y="727"/>
                    <a:pt x="14" y="604"/>
                    <a:pt x="0" y="540"/>
                  </a:cubicBezTo>
                  <a:cubicBezTo>
                    <a:pt x="212" y="468"/>
                    <a:pt x="286" y="77"/>
                    <a:pt x="299" y="0"/>
                  </a:cubicBezTo>
                  <a:cubicBezTo>
                    <a:pt x="317" y="0"/>
                    <a:pt x="317" y="0"/>
                    <a:pt x="317" y="0"/>
                  </a:cubicBezTo>
                  <a:cubicBezTo>
                    <a:pt x="311" y="36"/>
                    <a:pt x="241" y="473"/>
                    <a:pt x="16" y="550"/>
                  </a:cubicBezTo>
                  <a:cubicBezTo>
                    <a:pt x="30" y="614"/>
                    <a:pt x="44" y="737"/>
                    <a:pt x="44" y="776"/>
                  </a:cubicBezTo>
                  <a:cubicBezTo>
                    <a:pt x="44" y="799"/>
                    <a:pt x="29" y="808"/>
                    <a:pt x="10" y="811"/>
                  </a:cubicBezTo>
                  <a:cubicBezTo>
                    <a:pt x="10" y="811"/>
                    <a:pt x="28" y="801"/>
                    <a:pt x="28" y="766"/>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 name="Freeform 80">
              <a:extLst>
                <a:ext uri="{FF2B5EF4-FFF2-40B4-BE49-F238E27FC236}">
                  <a16:creationId xmlns:a16="http://schemas.microsoft.com/office/drawing/2014/main" id="{7FEFFC7F-EBD6-40AE-A486-8DD3FCD20B26}"/>
                </a:ext>
              </a:extLst>
            </p:cNvPr>
            <p:cNvSpPr>
              <a:spLocks/>
            </p:cNvSpPr>
            <p:nvPr/>
          </p:nvSpPr>
          <p:spPr bwMode="auto">
            <a:xfrm>
              <a:off x="1232631" y="5465126"/>
              <a:ext cx="8194" cy="10653"/>
            </a:xfrm>
            <a:custGeom>
              <a:avLst/>
              <a:gdLst>
                <a:gd name="T0" fmla="*/ 7 w 18"/>
                <a:gd name="T1" fmla="*/ 0 h 24"/>
                <a:gd name="T2" fmla="*/ 5 w 18"/>
                <a:gd name="T3" fmla="*/ 24 h 24"/>
                <a:gd name="T4" fmla="*/ 18 w 18"/>
                <a:gd name="T5" fmla="*/ 24 h 24"/>
              </a:gdLst>
              <a:ahLst/>
              <a:cxnLst>
                <a:cxn ang="0">
                  <a:pos x="T0" y="T1"/>
                </a:cxn>
                <a:cxn ang="0">
                  <a:pos x="T2" y="T3"/>
                </a:cxn>
                <a:cxn ang="0">
                  <a:pos x="T4" y="T5"/>
                </a:cxn>
              </a:cxnLst>
              <a:rect l="0" t="0" r="r" b="b"/>
              <a:pathLst>
                <a:path w="18" h="24">
                  <a:moveTo>
                    <a:pt x="7" y="0"/>
                  </a:moveTo>
                  <a:cubicBezTo>
                    <a:pt x="7" y="0"/>
                    <a:pt x="0" y="12"/>
                    <a:pt x="5" y="24"/>
                  </a:cubicBezTo>
                  <a:cubicBezTo>
                    <a:pt x="15" y="24"/>
                    <a:pt x="18" y="24"/>
                    <a:pt x="18" y="24"/>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 name="Freeform 81">
              <a:extLst>
                <a:ext uri="{FF2B5EF4-FFF2-40B4-BE49-F238E27FC236}">
                  <a16:creationId xmlns:a16="http://schemas.microsoft.com/office/drawing/2014/main" id="{382120F7-AF4E-4177-B0E3-B09C5B0AD59F}"/>
                </a:ext>
              </a:extLst>
            </p:cNvPr>
            <p:cNvSpPr>
              <a:spLocks/>
            </p:cNvSpPr>
            <p:nvPr/>
          </p:nvSpPr>
          <p:spPr bwMode="auto">
            <a:xfrm>
              <a:off x="1085950" y="5851086"/>
              <a:ext cx="13111" cy="100792"/>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 name="Freeform 82">
              <a:extLst>
                <a:ext uri="{FF2B5EF4-FFF2-40B4-BE49-F238E27FC236}">
                  <a16:creationId xmlns:a16="http://schemas.microsoft.com/office/drawing/2014/main" id="{3EDA2F27-6885-4E2A-8CA7-02A61B1D056D}"/>
                </a:ext>
              </a:extLst>
            </p:cNvPr>
            <p:cNvSpPr>
              <a:spLocks/>
            </p:cNvSpPr>
            <p:nvPr/>
          </p:nvSpPr>
          <p:spPr bwMode="auto">
            <a:xfrm>
              <a:off x="1031866" y="5838794"/>
              <a:ext cx="121278" cy="18847"/>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 name="Freeform 83">
              <a:extLst>
                <a:ext uri="{FF2B5EF4-FFF2-40B4-BE49-F238E27FC236}">
                  <a16:creationId xmlns:a16="http://schemas.microsoft.com/office/drawing/2014/main" id="{95821034-F874-4073-B8DA-CF4650279925}"/>
                </a:ext>
              </a:extLst>
            </p:cNvPr>
            <p:cNvSpPr>
              <a:spLocks/>
            </p:cNvSpPr>
            <p:nvPr/>
          </p:nvSpPr>
          <p:spPr bwMode="auto">
            <a:xfrm>
              <a:off x="1044158" y="5838794"/>
              <a:ext cx="108987" cy="18847"/>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 name="Freeform 84">
              <a:extLst>
                <a:ext uri="{FF2B5EF4-FFF2-40B4-BE49-F238E27FC236}">
                  <a16:creationId xmlns:a16="http://schemas.microsoft.com/office/drawing/2014/main" id="{BFA0F1B7-81B7-4672-8F25-AE180469D686}"/>
                </a:ext>
              </a:extLst>
            </p:cNvPr>
            <p:cNvSpPr>
              <a:spLocks/>
            </p:cNvSpPr>
            <p:nvPr/>
          </p:nvSpPr>
          <p:spPr bwMode="auto">
            <a:xfrm>
              <a:off x="1047436" y="5931392"/>
              <a:ext cx="90139" cy="30320"/>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 name="Oval 85">
              <a:extLst>
                <a:ext uri="{FF2B5EF4-FFF2-40B4-BE49-F238E27FC236}">
                  <a16:creationId xmlns:a16="http://schemas.microsoft.com/office/drawing/2014/main" id="{4F51BA07-1B7E-4B6C-9382-4C6F8B1189B4}"/>
                </a:ext>
              </a:extLst>
            </p:cNvPr>
            <p:cNvSpPr>
              <a:spLocks noChangeArrowheads="1"/>
            </p:cNvSpPr>
            <p:nvPr/>
          </p:nvSpPr>
          <p:spPr bwMode="auto">
            <a:xfrm>
              <a:off x="1048255" y="5957614"/>
              <a:ext cx="13931" cy="14750"/>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 name="Oval 86">
              <a:extLst>
                <a:ext uri="{FF2B5EF4-FFF2-40B4-BE49-F238E27FC236}">
                  <a16:creationId xmlns:a16="http://schemas.microsoft.com/office/drawing/2014/main" id="{EB7B7553-D873-4B24-B19B-DF420BFE88CB}"/>
                </a:ext>
              </a:extLst>
            </p:cNvPr>
            <p:cNvSpPr>
              <a:spLocks noChangeArrowheads="1"/>
            </p:cNvSpPr>
            <p:nvPr/>
          </p:nvSpPr>
          <p:spPr bwMode="auto">
            <a:xfrm>
              <a:off x="1122825" y="5957614"/>
              <a:ext cx="13931" cy="14750"/>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 name="Freeform 87">
              <a:extLst>
                <a:ext uri="{FF2B5EF4-FFF2-40B4-BE49-F238E27FC236}">
                  <a16:creationId xmlns:a16="http://schemas.microsoft.com/office/drawing/2014/main" id="{09BF31A9-8B92-44EF-B6FF-86887920E9C1}"/>
                </a:ext>
              </a:extLst>
            </p:cNvPr>
            <p:cNvSpPr>
              <a:spLocks/>
            </p:cNvSpPr>
            <p:nvPr/>
          </p:nvSpPr>
          <p:spPr bwMode="auto">
            <a:xfrm>
              <a:off x="1070381" y="5741280"/>
              <a:ext cx="22125" cy="68014"/>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 name="Freeform 88">
              <a:extLst>
                <a:ext uri="{FF2B5EF4-FFF2-40B4-BE49-F238E27FC236}">
                  <a16:creationId xmlns:a16="http://schemas.microsoft.com/office/drawing/2014/main" id="{F6366083-B664-453C-8953-F528B5467E40}"/>
                </a:ext>
              </a:extLst>
            </p:cNvPr>
            <p:cNvSpPr>
              <a:spLocks/>
            </p:cNvSpPr>
            <p:nvPr/>
          </p:nvSpPr>
          <p:spPr bwMode="auto">
            <a:xfrm>
              <a:off x="1031866" y="5741280"/>
              <a:ext cx="52445" cy="67195"/>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 name="Freeform 89">
              <a:extLst>
                <a:ext uri="{FF2B5EF4-FFF2-40B4-BE49-F238E27FC236}">
                  <a16:creationId xmlns:a16="http://schemas.microsoft.com/office/drawing/2014/main" id="{5AFFCFE6-D51C-4A0C-AE2B-041CEDFDFB50}"/>
                </a:ext>
              </a:extLst>
            </p:cNvPr>
            <p:cNvSpPr>
              <a:spLocks/>
            </p:cNvSpPr>
            <p:nvPr/>
          </p:nvSpPr>
          <p:spPr bwMode="auto">
            <a:xfrm>
              <a:off x="1066283" y="5741280"/>
              <a:ext cx="18028" cy="67195"/>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 name="Freeform 90">
              <a:extLst>
                <a:ext uri="{FF2B5EF4-FFF2-40B4-BE49-F238E27FC236}">
                  <a16:creationId xmlns:a16="http://schemas.microsoft.com/office/drawing/2014/main" id="{DEF62B3F-24E0-4E77-A651-29CCDA592078}"/>
                </a:ext>
              </a:extLst>
            </p:cNvPr>
            <p:cNvSpPr>
              <a:spLocks/>
            </p:cNvSpPr>
            <p:nvPr/>
          </p:nvSpPr>
          <p:spPr bwMode="auto">
            <a:xfrm>
              <a:off x="1046617" y="5770780"/>
              <a:ext cx="9833" cy="80306"/>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 name="Rectangle 91">
              <a:extLst>
                <a:ext uri="{FF2B5EF4-FFF2-40B4-BE49-F238E27FC236}">
                  <a16:creationId xmlns:a16="http://schemas.microsoft.com/office/drawing/2014/main" id="{90846E4A-BB33-4972-ACE4-2CE74896E317}"/>
                </a:ext>
              </a:extLst>
            </p:cNvPr>
            <p:cNvSpPr>
              <a:spLocks noChangeArrowheads="1"/>
            </p:cNvSpPr>
            <p:nvPr/>
          </p:nvSpPr>
          <p:spPr bwMode="auto">
            <a:xfrm>
              <a:off x="1226895" y="5617544"/>
              <a:ext cx="1639" cy="11554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302" name="Chart 301">
            <a:extLst>
              <a:ext uri="{FF2B5EF4-FFF2-40B4-BE49-F238E27FC236}">
                <a16:creationId xmlns:a16="http://schemas.microsoft.com/office/drawing/2014/main" id="{53AE7941-DA84-4D8B-A67C-77B0439DCA62}"/>
              </a:ext>
            </a:extLst>
          </p:cNvPr>
          <p:cNvGraphicFramePr/>
          <p:nvPr>
            <p:custDataLst>
              <p:tags r:id="rId4"/>
            </p:custDataLst>
          </p:nvPr>
        </p:nvGraphicFramePr>
        <p:xfrm>
          <a:off x="8477250" y="2132013"/>
          <a:ext cx="3101975" cy="2749550"/>
        </p:xfrm>
        <a:graphic>
          <a:graphicData uri="http://schemas.openxmlformats.org/drawingml/2006/chart">
            <c:chart xmlns:c="http://schemas.openxmlformats.org/drawingml/2006/chart" xmlns:r="http://schemas.openxmlformats.org/officeDocument/2006/relationships" r:id="rId15"/>
          </a:graphicData>
        </a:graphic>
      </p:graphicFrame>
      <p:cxnSp>
        <p:nvCxnSpPr>
          <p:cNvPr id="5" name="Straight Connector 4">
            <a:extLst>
              <a:ext uri="{FF2B5EF4-FFF2-40B4-BE49-F238E27FC236}">
                <a16:creationId xmlns:a16="http://schemas.microsoft.com/office/drawing/2014/main" id="{00715D2F-62F8-4556-B293-FDAF07190A34}"/>
              </a:ext>
            </a:extLst>
          </p:cNvPr>
          <p:cNvCxnSpPr/>
          <p:nvPr>
            <p:custDataLst>
              <p:tags r:id="rId5"/>
            </p:custDataLst>
          </p:nvPr>
        </p:nvCxnSpPr>
        <p:spPr bwMode="gray">
          <a:xfrm flipV="1">
            <a:off x="9599613" y="2228850"/>
            <a:ext cx="0" cy="188913"/>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6E8C7A5-0955-4747-9136-0B5925F02C40}"/>
              </a:ext>
            </a:extLst>
          </p:cNvPr>
          <p:cNvCxnSpPr/>
          <p:nvPr>
            <p:custDataLst>
              <p:tags r:id="rId6"/>
            </p:custDataLst>
          </p:nvPr>
        </p:nvCxnSpPr>
        <p:spPr bwMode="gray">
          <a:xfrm>
            <a:off x="9599612" y="2228850"/>
            <a:ext cx="1263650"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6CEEEE0-B376-4459-A00B-FD5BEB2A6A6C}"/>
              </a:ext>
            </a:extLst>
          </p:cNvPr>
          <p:cNvCxnSpPr/>
          <p:nvPr>
            <p:custDataLst>
              <p:tags r:id="rId7"/>
            </p:custDataLst>
          </p:nvPr>
        </p:nvCxnSpPr>
        <p:spPr bwMode="gray">
          <a:xfrm>
            <a:off x="10863263" y="2228850"/>
            <a:ext cx="0" cy="1504950"/>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129" name="Text Placeholder 3">
            <a:extLst>
              <a:ext uri="{FF2B5EF4-FFF2-40B4-BE49-F238E27FC236}">
                <a16:creationId xmlns:a16="http://schemas.microsoft.com/office/drawing/2014/main" id="{D874D185-FF65-4D99-A066-44CA70253AF0}"/>
              </a:ext>
            </a:extLst>
          </p:cNvPr>
          <p:cNvSpPr>
            <a:spLocks noGrp="1"/>
          </p:cNvSpPr>
          <p:nvPr>
            <p:custDataLst>
              <p:tags r:id="rId8"/>
            </p:custDataLst>
          </p:nvPr>
        </p:nvSpPr>
        <p:spPr bwMode="auto">
          <a:xfrm>
            <a:off x="10660063" y="4868863"/>
            <a:ext cx="4079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71BC98B-2876-4283-8C3E-4D019D339832}" type="datetime'''''''''''''''''C''''l''''''''''''''o''''''''''''''''u''d'">
              <a:rPr lang="en-US" altLang="en-US" sz="1200" smtClean="0">
                <a:solidFill>
                  <a:schemeClr val="tx1"/>
                </a:solidFill>
                <a:cs typeface="+mn-cs"/>
                <a:sym typeface="+mn-lt"/>
              </a:rPr>
              <a:pPr/>
              <a:t>Cloud</a:t>
            </a:fld>
            <a:endParaRPr lang="en-US" sz="1200" dirty="0">
              <a:solidFill>
                <a:schemeClr val="tx1"/>
              </a:solidFill>
              <a:cs typeface="+mn-cs"/>
              <a:sym typeface="+mn-lt"/>
            </a:endParaRPr>
          </a:p>
        </p:txBody>
      </p:sp>
      <p:sp>
        <p:nvSpPr>
          <p:cNvPr id="117" name="Text Placeholder 3">
            <a:extLst>
              <a:ext uri="{FF2B5EF4-FFF2-40B4-BE49-F238E27FC236}">
                <a16:creationId xmlns:a16="http://schemas.microsoft.com/office/drawing/2014/main" id="{6205E7CF-BB7E-411C-B691-0E493277C9FE}"/>
              </a:ext>
            </a:extLst>
          </p:cNvPr>
          <p:cNvSpPr>
            <a:spLocks noGrp="1"/>
          </p:cNvSpPr>
          <p:nvPr>
            <p:custDataLst>
              <p:tags r:id="rId9"/>
            </p:custDataLst>
          </p:nvPr>
        </p:nvSpPr>
        <p:spPr bwMode="auto">
          <a:xfrm>
            <a:off x="9297988" y="4868863"/>
            <a:ext cx="6048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9A1B983-67E1-4D2C-8B63-9FBF5F0AB066}" type="datetime'''''''O''''n'''''''''' ''''''p''''''''r''e''m'''''''''''">
              <a:rPr lang="en-US" altLang="en-US" sz="1200" smtClean="0">
                <a:solidFill>
                  <a:schemeClr val="tx1"/>
                </a:solidFill>
                <a:cs typeface="+mn-cs"/>
                <a:sym typeface="+mn-lt"/>
              </a:rPr>
              <a:pPr/>
              <a:t>On prem</a:t>
            </a:fld>
            <a:endParaRPr lang="en-US" sz="1200" dirty="0">
              <a:solidFill>
                <a:schemeClr val="tx1"/>
              </a:solidFill>
              <a:cs typeface="+mn-cs"/>
              <a:sym typeface="+mn-lt"/>
            </a:endParaRPr>
          </a:p>
        </p:txBody>
      </p:sp>
      <p:sp>
        <p:nvSpPr>
          <p:cNvPr id="139" name="Text Placeholder 3">
            <a:extLst>
              <a:ext uri="{FF2B5EF4-FFF2-40B4-BE49-F238E27FC236}">
                <a16:creationId xmlns:a16="http://schemas.microsoft.com/office/drawing/2014/main" id="{783ECDD4-E985-4415-9385-4D2B0DF76414}"/>
              </a:ext>
            </a:extLst>
          </p:cNvPr>
          <p:cNvSpPr>
            <a:spLocks noGrp="1"/>
          </p:cNvSpPr>
          <p:nvPr>
            <p:custDataLst>
              <p:tags r:id="rId10"/>
            </p:custDataLst>
          </p:nvPr>
        </p:nvSpPr>
        <p:spPr bwMode="auto">
          <a:xfrm>
            <a:off x="9928225" y="2078038"/>
            <a:ext cx="606425" cy="301625"/>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00" b="1" dirty="0">
                <a:solidFill>
                  <a:schemeClr val="tx1"/>
                </a:solidFill>
                <a:cs typeface="+mn-cs"/>
                <a:sym typeface="+mn-lt"/>
              </a:rPr>
              <a:t>-60%</a:t>
            </a:r>
          </a:p>
        </p:txBody>
      </p:sp>
      <p:sp>
        <p:nvSpPr>
          <p:cNvPr id="275" name="Rectangle 274">
            <a:extLst>
              <a:ext uri="{FF2B5EF4-FFF2-40B4-BE49-F238E27FC236}">
                <a16:creationId xmlns:a16="http://schemas.microsoft.com/office/drawing/2014/main" id="{03635FDB-3480-4DBE-B431-0C677858D03A}"/>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Note: Figures are illustrative; actual savings vary by user requirements and current virtual desktop operating model</a:t>
            </a:r>
          </a:p>
        </p:txBody>
      </p:sp>
      <p:grpSp>
        <p:nvGrpSpPr>
          <p:cNvPr id="126" name="Group 125">
            <a:extLst>
              <a:ext uri="{FF2B5EF4-FFF2-40B4-BE49-F238E27FC236}">
                <a16:creationId xmlns:a16="http://schemas.microsoft.com/office/drawing/2014/main" id="{5BCDB051-5BD1-4D77-AF07-9D1648D09704}"/>
              </a:ext>
            </a:extLst>
          </p:cNvPr>
          <p:cNvGrpSpPr/>
          <p:nvPr/>
        </p:nvGrpSpPr>
        <p:grpSpPr>
          <a:xfrm>
            <a:off x="10052458" y="146014"/>
            <a:ext cx="2033626" cy="1015650"/>
            <a:chOff x="10052458" y="146014"/>
            <a:chExt cx="2033626" cy="1015650"/>
          </a:xfrm>
        </p:grpSpPr>
        <p:pic>
          <p:nvPicPr>
            <p:cNvPr id="127" name="Picture 126">
              <a:extLst>
                <a:ext uri="{FF2B5EF4-FFF2-40B4-BE49-F238E27FC236}">
                  <a16:creationId xmlns:a16="http://schemas.microsoft.com/office/drawing/2014/main" id="{B9536A7B-D1E0-4958-BD69-E93C4B29FF25}"/>
                </a:ext>
              </a:extLst>
            </p:cNvPr>
            <p:cNvPicPr>
              <a:picLocks noChangeAspect="1"/>
            </p:cNvPicPr>
            <p:nvPr/>
          </p:nvPicPr>
          <p:blipFill>
            <a:blip r:embed="rId16"/>
            <a:stretch>
              <a:fillRect/>
            </a:stretch>
          </p:blipFill>
          <p:spPr>
            <a:xfrm>
              <a:off x="10052458" y="146014"/>
              <a:ext cx="2033626" cy="1015650"/>
            </a:xfrm>
            <a:prstGeom prst="rect">
              <a:avLst/>
            </a:prstGeom>
          </p:spPr>
        </p:pic>
        <p:sp>
          <p:nvSpPr>
            <p:cNvPr id="128" name="Rectangle 127">
              <a:extLst>
                <a:ext uri="{FF2B5EF4-FFF2-40B4-BE49-F238E27FC236}">
                  <a16:creationId xmlns:a16="http://schemas.microsoft.com/office/drawing/2014/main" id="{DD3BF4DD-2B7B-4EDA-B8AA-8CC0AC2D55B3}"/>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743483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D1E9B18-59A8-4AB1-810F-FC966E9B296E}"/>
              </a:ext>
            </a:extLst>
          </p:cNvPr>
          <p:cNvGraphicFramePr>
            <a:graphicFrameLocks noChangeAspect="1"/>
          </p:cNvGraphicFramePr>
          <p:nvPr>
            <p:custDataLst>
              <p:tags r:id="rId2"/>
            </p:custDataLst>
            <p:extLst>
              <p:ext uri="{D42A27DB-BD31-4B8C-83A1-F6EECF244321}">
                <p14:modId xmlns:p14="http://schemas.microsoft.com/office/powerpoint/2010/main" val="3205628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5" imgW="377" imgH="377" progId="TCLayout.ActiveDocument.1">
                  <p:embed/>
                </p:oleObj>
              </mc:Choice>
              <mc:Fallback>
                <p:oleObj name="think-cell Slide" r:id="rId5" imgW="377" imgH="377" progId="TCLayout.ActiveDocument.1">
                  <p:embed/>
                  <p:pic>
                    <p:nvPicPr>
                      <p:cNvPr id="4" name="Object 3" hidden="1">
                        <a:extLst>
                          <a:ext uri="{FF2B5EF4-FFF2-40B4-BE49-F238E27FC236}">
                            <a16:creationId xmlns:a16="http://schemas.microsoft.com/office/drawing/2014/main" id="{AD1E9B18-59A8-4AB1-810F-FC966E9B29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AC9050D-10DA-4A3D-9444-E71A0F252A32}"/>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7370970-B3B1-4B6D-9D43-A27E45BB6BC0}"/>
              </a:ext>
            </a:extLst>
          </p:cNvPr>
          <p:cNvSpPr>
            <a:spLocks noGrp="1"/>
          </p:cNvSpPr>
          <p:nvPr>
            <p:ph type="title"/>
          </p:nvPr>
        </p:nvSpPr>
        <p:spPr>
          <a:xfrm>
            <a:off x="588263" y="457200"/>
            <a:ext cx="11018520" cy="430887"/>
          </a:xfrm>
        </p:spPr>
        <p:txBody>
          <a:bodyPr/>
          <a:lstStyle/>
          <a:p>
            <a:r>
              <a:rPr lang="en-US" dirty="0"/>
              <a:t>Content Navigator</a:t>
            </a:r>
          </a:p>
        </p:txBody>
      </p:sp>
      <p:sp>
        <p:nvSpPr>
          <p:cNvPr id="9" name="TextBox 8">
            <a:extLst>
              <a:ext uri="{FF2B5EF4-FFF2-40B4-BE49-F238E27FC236}">
                <a16:creationId xmlns:a16="http://schemas.microsoft.com/office/drawing/2014/main" id="{9353B3D7-BE78-4796-BDB8-53165280C7E0}"/>
              </a:ext>
            </a:extLst>
          </p:cNvPr>
          <p:cNvSpPr txBox="1"/>
          <p:nvPr/>
        </p:nvSpPr>
        <p:spPr>
          <a:xfrm>
            <a:off x="588263" y="1638300"/>
            <a:ext cx="7943850"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hlinkClick r:id="rId7" action="ppaction://hlinksldjump"/>
              </a:rPr>
              <a:t>User Experience Pillar Details</a:t>
            </a:r>
            <a:endParaRPr lang="en-US" sz="2000" dirty="0">
              <a:gradFill>
                <a:gsLst>
                  <a:gs pos="2917">
                    <a:schemeClr val="tx1"/>
                  </a:gs>
                  <a:gs pos="30000">
                    <a:schemeClr val="tx1"/>
                  </a:gs>
                </a:gsLst>
                <a:lin ang="5400000" scaled="0"/>
              </a:gradFill>
            </a:endParaRPr>
          </a:p>
        </p:txBody>
      </p:sp>
      <p:sp>
        <p:nvSpPr>
          <p:cNvPr id="24" name="TextBox 23">
            <a:extLst>
              <a:ext uri="{FF2B5EF4-FFF2-40B4-BE49-F238E27FC236}">
                <a16:creationId xmlns:a16="http://schemas.microsoft.com/office/drawing/2014/main" id="{3648E877-3392-4182-BA9D-0B7E4F11931F}"/>
              </a:ext>
            </a:extLst>
          </p:cNvPr>
          <p:cNvSpPr txBox="1"/>
          <p:nvPr/>
        </p:nvSpPr>
        <p:spPr>
          <a:xfrm>
            <a:off x="588263" y="2488307"/>
            <a:ext cx="7943850"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hlinkClick r:id="rId8" action="ppaction://hlinksldjump"/>
              </a:rPr>
              <a:t>Security Pillar Details</a:t>
            </a:r>
            <a:endParaRPr lang="en-US" sz="2000" dirty="0">
              <a:gradFill>
                <a:gsLst>
                  <a:gs pos="2917">
                    <a:schemeClr val="tx1"/>
                  </a:gs>
                  <a:gs pos="30000">
                    <a:schemeClr val="tx1"/>
                  </a:gs>
                </a:gsLst>
                <a:lin ang="5400000" scaled="0"/>
              </a:gradFill>
            </a:endParaRPr>
          </a:p>
        </p:txBody>
      </p:sp>
      <p:sp>
        <p:nvSpPr>
          <p:cNvPr id="25" name="TextBox 24">
            <a:extLst>
              <a:ext uri="{FF2B5EF4-FFF2-40B4-BE49-F238E27FC236}">
                <a16:creationId xmlns:a16="http://schemas.microsoft.com/office/drawing/2014/main" id="{3A65E96E-F0DC-4FDA-AF77-8304DD129D33}"/>
              </a:ext>
            </a:extLst>
          </p:cNvPr>
          <p:cNvSpPr txBox="1"/>
          <p:nvPr/>
        </p:nvSpPr>
        <p:spPr>
          <a:xfrm>
            <a:off x="588263" y="3338314"/>
            <a:ext cx="7943850"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hlinkClick r:id="rId9" action="ppaction://hlinksldjump"/>
              </a:rPr>
              <a:t>Management Pillar Details</a:t>
            </a:r>
            <a:endParaRPr lang="en-US" sz="2000" dirty="0">
              <a:gradFill>
                <a:gsLst>
                  <a:gs pos="2917">
                    <a:schemeClr val="tx1"/>
                  </a:gs>
                  <a:gs pos="30000">
                    <a:schemeClr val="tx1"/>
                  </a:gs>
                </a:gsLst>
                <a:lin ang="5400000" scaled="0"/>
              </a:gradFill>
            </a:endParaRPr>
          </a:p>
        </p:txBody>
      </p:sp>
      <p:sp>
        <p:nvSpPr>
          <p:cNvPr id="26" name="TextBox 25">
            <a:extLst>
              <a:ext uri="{FF2B5EF4-FFF2-40B4-BE49-F238E27FC236}">
                <a16:creationId xmlns:a16="http://schemas.microsoft.com/office/drawing/2014/main" id="{33EA62A0-2D73-4389-9FB3-9441A7A18A71}"/>
              </a:ext>
            </a:extLst>
          </p:cNvPr>
          <p:cNvSpPr txBox="1"/>
          <p:nvPr/>
        </p:nvSpPr>
        <p:spPr>
          <a:xfrm>
            <a:off x="588263" y="5038328"/>
            <a:ext cx="7943850"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hlinkClick r:id="rId10" action="ppaction://hlinksldjump"/>
              </a:rPr>
              <a:t>Economics Pillar Details</a:t>
            </a:r>
            <a:endParaRPr lang="en-US" sz="2000" dirty="0">
              <a:gradFill>
                <a:gsLst>
                  <a:gs pos="2917">
                    <a:schemeClr val="tx1"/>
                  </a:gs>
                  <a:gs pos="30000">
                    <a:schemeClr val="tx1"/>
                  </a:gs>
                </a:gsLst>
                <a:lin ang="5400000" scaled="0"/>
              </a:gradFill>
            </a:endParaRPr>
          </a:p>
        </p:txBody>
      </p:sp>
      <p:sp>
        <p:nvSpPr>
          <p:cNvPr id="29" name="TextBox 28">
            <a:extLst>
              <a:ext uri="{FF2B5EF4-FFF2-40B4-BE49-F238E27FC236}">
                <a16:creationId xmlns:a16="http://schemas.microsoft.com/office/drawing/2014/main" id="{9F9336F8-6382-497B-80E8-EB06846EC29F}"/>
              </a:ext>
            </a:extLst>
          </p:cNvPr>
          <p:cNvSpPr txBox="1"/>
          <p:nvPr/>
        </p:nvSpPr>
        <p:spPr>
          <a:xfrm>
            <a:off x="588263" y="5888333"/>
            <a:ext cx="7943850"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hlinkClick r:id="rId11" action="ppaction://hlinksldjump"/>
              </a:rPr>
              <a:t>Azure Details</a:t>
            </a:r>
            <a:endParaRPr lang="en-US" sz="2000" dirty="0">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DBB3E455-8F7F-4004-8D8E-6C400D454475}"/>
              </a:ext>
            </a:extLst>
          </p:cNvPr>
          <p:cNvSpPr txBox="1"/>
          <p:nvPr/>
        </p:nvSpPr>
        <p:spPr>
          <a:xfrm>
            <a:off x="588263" y="4188321"/>
            <a:ext cx="7943850"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hlinkClick r:id="rId12" action="ppaction://hlinksldjump"/>
              </a:rPr>
              <a:t>Partner Pillar Details</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58996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507912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0" name="think-cell Slide" r:id="rId37" imgW="503" imgH="503" progId="TCLayout.ActiveDocument.1">
                  <p:embed/>
                </p:oleObj>
              </mc:Choice>
              <mc:Fallback>
                <p:oleObj name="think-cell Slide" r:id="rId37"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9" name="Rectangle 48">
            <a:extLst>
              <a:ext uri="{FF2B5EF4-FFF2-40B4-BE49-F238E27FC236}">
                <a16:creationId xmlns:a16="http://schemas.microsoft.com/office/drawing/2014/main" id="{78A1181C-BE36-4072-9432-1F1DDA985B5B}"/>
              </a:ext>
            </a:extLst>
          </p:cNvPr>
          <p:cNvSpPr/>
          <p:nvPr/>
        </p:nvSpPr>
        <p:spPr bwMode="auto">
          <a:xfrm>
            <a:off x="595370" y="2057400"/>
            <a:ext cx="11011413" cy="287496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017520" tIns="45720" rIns="91440" bIns="45720" numCol="1" spcCol="0" rtlCol="0" fromWordArt="0" anchor="t" anchorCtr="0" forceAA="0" compatLnSpc="1">
            <a:prstTxWarp prst="textNoShape">
              <a:avLst/>
            </a:prstTxWarp>
            <a:noAutofit/>
          </a:bodyPr>
          <a:lstStyle/>
          <a:p>
            <a:pPr defTabSz="932472" fontAlgn="base">
              <a:spcBef>
                <a:spcPct val="0"/>
              </a:spcBef>
              <a:spcAft>
                <a:spcPts val="600"/>
              </a:spcAft>
            </a:pPr>
            <a:r>
              <a:rPr lang="en-US" b="1" dirty="0">
                <a:solidFill>
                  <a:schemeClr val="tx2"/>
                </a:solidFill>
                <a:ea typeface="Segoe UI" pitchFamily="34" charset="0"/>
                <a:cs typeface="Segoe UI" pitchFamily="34" charset="0"/>
              </a:rPr>
              <a:t>Virtual Desktop Cost ($ per month)</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Example Scenario: WVD Economic Benefits</a:t>
            </a:r>
          </a:p>
        </p:txBody>
      </p:sp>
      <p:sp>
        <p:nvSpPr>
          <p:cNvPr id="666" name="TextBox 665">
            <a:extLst>
              <a:ext uri="{FF2B5EF4-FFF2-40B4-BE49-F238E27FC236}">
                <a16:creationId xmlns:a16="http://schemas.microsoft.com/office/drawing/2014/main" id="{A1BDB277-5786-4FF7-BA82-1C4C5AA323F6}"/>
              </a:ext>
            </a:extLst>
          </p:cNvPr>
          <p:cNvSpPr txBox="1"/>
          <p:nvPr/>
        </p:nvSpPr>
        <p:spPr>
          <a:xfrm>
            <a:off x="815324" y="4984751"/>
            <a:ext cx="1350546" cy="822325"/>
          </a:xfrm>
          <a:prstGeom prst="rect">
            <a:avLst/>
          </a:prstGeom>
          <a:noFill/>
          <a:ln w="6350">
            <a:solidFill>
              <a:schemeClr val="bg1">
                <a:lumMod val="75000"/>
              </a:schemeClr>
            </a:solidFill>
          </a:ln>
        </p:spPr>
        <p:txBody>
          <a:bodyPr wrap="square" lIns="0" tIns="0" rIns="0" bIns="0" rtlCol="0" anchor="ctr">
            <a:noAutofit/>
          </a:bodyPr>
          <a:lstStyle/>
          <a:p>
            <a:pPr algn="ctr"/>
            <a:r>
              <a:rPr lang="en-US" sz="1050" b="1" dirty="0"/>
              <a:t>Drivers</a:t>
            </a:r>
            <a:br>
              <a:rPr lang="en-US" sz="1050" b="1" dirty="0"/>
            </a:br>
            <a:r>
              <a:rPr lang="en-US" sz="1050" b="1" dirty="0"/>
              <a:t>for Saving</a:t>
            </a:r>
          </a:p>
        </p:txBody>
      </p:sp>
      <p:sp>
        <p:nvSpPr>
          <p:cNvPr id="1859" name="Rectangle 1858">
            <a:extLst>
              <a:ext uri="{FF2B5EF4-FFF2-40B4-BE49-F238E27FC236}">
                <a16:creationId xmlns:a16="http://schemas.microsoft.com/office/drawing/2014/main" id="{206A0132-61C8-4CBA-8008-BA78F79ACD06}"/>
              </a:ext>
            </a:extLst>
          </p:cNvPr>
          <p:cNvSpPr/>
          <p:nvPr>
            <p:custDataLst>
              <p:tags r:id="rId4"/>
            </p:custDataLst>
          </p:nvPr>
        </p:nvSpPr>
        <p:spPr bwMode="auto">
          <a:xfrm>
            <a:off x="9544050" y="2198688"/>
            <a:ext cx="196850" cy="1476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860" name="Rectangle 1859">
            <a:extLst>
              <a:ext uri="{FF2B5EF4-FFF2-40B4-BE49-F238E27FC236}">
                <a16:creationId xmlns:a16="http://schemas.microsoft.com/office/drawing/2014/main" id="{87C5B7DE-2948-456E-8600-BC3E18FB0BC7}"/>
              </a:ext>
            </a:extLst>
          </p:cNvPr>
          <p:cNvSpPr/>
          <p:nvPr>
            <p:custDataLst>
              <p:tags r:id="rId5"/>
            </p:custDataLst>
          </p:nvPr>
        </p:nvSpPr>
        <p:spPr bwMode="auto">
          <a:xfrm>
            <a:off x="9544050" y="2417763"/>
            <a:ext cx="196850" cy="14763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02" name="Text Placeholder 3">
            <a:extLst>
              <a:ext uri="{FF2B5EF4-FFF2-40B4-BE49-F238E27FC236}">
                <a16:creationId xmlns:a16="http://schemas.microsoft.com/office/drawing/2014/main" id="{F51E7E5E-C93A-4161-8FE9-EFE0090B0B60}"/>
              </a:ext>
            </a:extLst>
          </p:cNvPr>
          <p:cNvSpPr>
            <a:spLocks noGrp="1"/>
          </p:cNvSpPr>
          <p:nvPr>
            <p:custDataLst>
              <p:tags r:id="rId6"/>
            </p:custDataLst>
          </p:nvPr>
        </p:nvSpPr>
        <p:spPr bwMode="auto">
          <a:xfrm>
            <a:off x="9791700" y="2193925"/>
            <a:ext cx="16478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AE7FB75-19D7-4DDF-BB1F-4DABE8F6101C}" type="datetime'In''''fra''''st''ru''''''''ctur''e'' ''''''Co''''''st'''''''''">
              <a:rPr lang="en-US" altLang="en-US" sz="1100" smtClean="0">
                <a:solidFill>
                  <a:schemeClr val="tx1"/>
                </a:solidFill>
                <a:cs typeface="+mn-cs"/>
                <a:sym typeface="+mn-lt"/>
              </a:rPr>
              <a:pPr/>
              <a:t>Infrastructure Cost</a:t>
            </a:fld>
            <a:r>
              <a:rPr lang="en-US" altLang="en-US" sz="1100" dirty="0">
                <a:solidFill>
                  <a:schemeClr val="tx1"/>
                </a:solidFill>
                <a:cs typeface="+mn-cs"/>
                <a:sym typeface="+mn-lt"/>
              </a:rPr>
              <a:t> Savings</a:t>
            </a:r>
            <a:endParaRPr lang="en-US" sz="1100" dirty="0">
              <a:solidFill>
                <a:schemeClr val="tx1"/>
              </a:solidFill>
              <a:cs typeface="+mn-cs"/>
              <a:sym typeface="+mn-lt"/>
            </a:endParaRPr>
          </a:p>
        </p:txBody>
      </p:sp>
      <p:sp>
        <p:nvSpPr>
          <p:cNvPr id="104" name="Text Placeholder 3">
            <a:extLst>
              <a:ext uri="{FF2B5EF4-FFF2-40B4-BE49-F238E27FC236}">
                <a16:creationId xmlns:a16="http://schemas.microsoft.com/office/drawing/2014/main" id="{D985DBB9-C939-4B38-966A-E2643FB66BAC}"/>
              </a:ext>
            </a:extLst>
          </p:cNvPr>
          <p:cNvSpPr>
            <a:spLocks noGrp="1"/>
          </p:cNvSpPr>
          <p:nvPr>
            <p:custDataLst>
              <p:tags r:id="rId7"/>
            </p:custDataLst>
          </p:nvPr>
        </p:nvSpPr>
        <p:spPr bwMode="auto">
          <a:xfrm>
            <a:off x="9791700" y="2413000"/>
            <a:ext cx="12652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B938004-6D7A-4805-B6D3-AE64D5F6E273}" type="datetime'''L''''''i''''cens''e'''''''''''' ''C''''os''''t'''''''''''">
              <a:rPr lang="en-US" altLang="en-US" sz="1100" smtClean="0">
                <a:solidFill>
                  <a:schemeClr val="tx1"/>
                </a:solidFill>
                <a:cs typeface="+mn-cs"/>
                <a:sym typeface="+mn-lt"/>
              </a:rPr>
              <a:pPr/>
              <a:t>License Cost</a:t>
            </a:fld>
            <a:r>
              <a:rPr lang="en-US" altLang="en-US" sz="1100" dirty="0">
                <a:solidFill>
                  <a:schemeClr val="tx1"/>
                </a:solidFill>
                <a:cs typeface="+mn-cs"/>
                <a:sym typeface="+mn-lt"/>
              </a:rPr>
              <a:t> Savings</a:t>
            </a:r>
            <a:endParaRPr lang="en-US" sz="1100" dirty="0">
              <a:solidFill>
                <a:schemeClr val="tx1"/>
              </a:solidFill>
              <a:cs typeface="+mn-cs"/>
              <a:sym typeface="+mn-lt"/>
            </a:endParaRPr>
          </a:p>
        </p:txBody>
      </p:sp>
      <p:sp>
        <p:nvSpPr>
          <p:cNvPr id="53" name="Rectangle 52">
            <a:extLst>
              <a:ext uri="{FF2B5EF4-FFF2-40B4-BE49-F238E27FC236}">
                <a16:creationId xmlns:a16="http://schemas.microsoft.com/office/drawing/2014/main" id="{71673C4D-CCE9-4B13-8EC0-74DD5482C11E}"/>
              </a:ext>
            </a:extLst>
          </p:cNvPr>
          <p:cNvSpPr/>
          <p:nvPr/>
        </p:nvSpPr>
        <p:spPr bwMode="auto">
          <a:xfrm>
            <a:off x="584200" y="1285860"/>
            <a:ext cx="11022583" cy="704308"/>
          </a:xfrm>
          <a:prstGeom prst="rect">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Example Migration Scenario</a:t>
            </a:r>
          </a:p>
          <a:p>
            <a:pPr marL="233363" indent="-173038" defTabSz="932472" fontAlgn="base">
              <a:spcAft>
                <a:spcPct val="0"/>
              </a:spcAft>
              <a:buFont typeface="Arial" panose="020B0604020202020204" pitchFamily="34" charset="0"/>
              <a:buChar char="•"/>
            </a:pPr>
            <a:r>
              <a:rPr lang="en-US" sz="1200" dirty="0">
                <a:solidFill>
                  <a:schemeClr val="tx1"/>
                </a:solidFill>
                <a:cs typeface="Segoe UI" pitchFamily="34" charset="0"/>
              </a:rPr>
              <a:t>User Group 1: 800 medium workload users (session running 170 hrs/month): From Windows Server on-prem to Windows 10 multi-session in WVD</a:t>
            </a:r>
          </a:p>
          <a:p>
            <a:pPr marL="233363" indent="-173038" defTabSz="932472" fontAlgn="base">
              <a:spcAft>
                <a:spcPct val="0"/>
              </a:spcAft>
              <a:buFont typeface="Arial" panose="020B0604020202020204" pitchFamily="34" charset="0"/>
              <a:buChar char="•"/>
            </a:pPr>
            <a:r>
              <a:rPr lang="en-US" sz="1200" dirty="0">
                <a:solidFill>
                  <a:schemeClr val="tx1"/>
                </a:solidFill>
                <a:cs typeface="Segoe UI" pitchFamily="34" charset="0"/>
              </a:rPr>
              <a:t>User Group 2: 200 medium workload users (session running 400 hrs/month): From Windows 10 single-session on-prem to Windows 10 multi-session in WVD</a:t>
            </a:r>
          </a:p>
        </p:txBody>
      </p:sp>
      <p:cxnSp>
        <p:nvCxnSpPr>
          <p:cNvPr id="32" name="Straight Connector 31">
            <a:extLst>
              <a:ext uri="{FF2B5EF4-FFF2-40B4-BE49-F238E27FC236}">
                <a16:creationId xmlns:a16="http://schemas.microsoft.com/office/drawing/2014/main" id="{C6B81C0A-790F-4611-AF8F-AB854881BB98}"/>
              </a:ext>
            </a:extLst>
          </p:cNvPr>
          <p:cNvCxnSpPr/>
          <p:nvPr>
            <p:custDataLst>
              <p:tags r:id="rId8"/>
            </p:custDataLst>
          </p:nvPr>
        </p:nvCxnSpPr>
        <p:spPr bwMode="auto">
          <a:xfrm>
            <a:off x="4984750" y="3621088"/>
            <a:ext cx="671513"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144B0D0-10C2-4888-B588-2E505B024DC1}"/>
              </a:ext>
            </a:extLst>
          </p:cNvPr>
          <p:cNvCxnSpPr/>
          <p:nvPr>
            <p:custDataLst>
              <p:tags r:id="rId9"/>
            </p:custDataLst>
          </p:nvPr>
        </p:nvCxnSpPr>
        <p:spPr bwMode="auto">
          <a:xfrm>
            <a:off x="6497638" y="3644900"/>
            <a:ext cx="671513"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2551A97-CCBB-4997-946B-ADF478EE89D3}"/>
              </a:ext>
            </a:extLst>
          </p:cNvPr>
          <p:cNvCxnSpPr/>
          <p:nvPr>
            <p:custDataLst>
              <p:tags r:id="rId10"/>
            </p:custDataLst>
          </p:nvPr>
        </p:nvCxnSpPr>
        <p:spPr bwMode="auto">
          <a:xfrm>
            <a:off x="3473450" y="3408363"/>
            <a:ext cx="671513"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604D261-529D-4232-96DA-FF7E91D379FE}"/>
              </a:ext>
            </a:extLst>
          </p:cNvPr>
          <p:cNvCxnSpPr/>
          <p:nvPr>
            <p:custDataLst>
              <p:tags r:id="rId11"/>
            </p:custDataLst>
          </p:nvPr>
        </p:nvCxnSpPr>
        <p:spPr bwMode="auto">
          <a:xfrm>
            <a:off x="1962150" y="3086100"/>
            <a:ext cx="671513"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E2FF93F-54DF-45FF-A7A7-AE3BB684AABE}"/>
              </a:ext>
            </a:extLst>
          </p:cNvPr>
          <p:cNvCxnSpPr/>
          <p:nvPr>
            <p:custDataLst>
              <p:tags r:id="rId12"/>
            </p:custDataLst>
          </p:nvPr>
        </p:nvCxnSpPr>
        <p:spPr bwMode="auto">
          <a:xfrm>
            <a:off x="8008938" y="3735388"/>
            <a:ext cx="671513"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B8725A2-23BD-4606-A1CE-FFC9595BB287}"/>
              </a:ext>
            </a:extLst>
          </p:cNvPr>
          <p:cNvCxnSpPr/>
          <p:nvPr>
            <p:custDataLst>
              <p:tags r:id="rId13"/>
            </p:custDataLst>
          </p:nvPr>
        </p:nvCxnSpPr>
        <p:spPr bwMode="auto">
          <a:xfrm>
            <a:off x="9520238" y="4035425"/>
            <a:ext cx="671513"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graphicFrame>
        <p:nvGraphicFramePr>
          <p:cNvPr id="48" name="Chart 47">
            <a:extLst>
              <a:ext uri="{FF2B5EF4-FFF2-40B4-BE49-F238E27FC236}">
                <a16:creationId xmlns:a16="http://schemas.microsoft.com/office/drawing/2014/main" id="{5C80AD77-3D77-4B32-BB44-44ED00209684}"/>
              </a:ext>
            </a:extLst>
          </p:cNvPr>
          <p:cNvGraphicFramePr/>
          <p:nvPr>
            <p:custDataLst>
              <p:tags r:id="rId14"/>
            </p:custDataLst>
          </p:nvPr>
        </p:nvGraphicFramePr>
        <p:xfrm>
          <a:off x="704850" y="3003550"/>
          <a:ext cx="10745788" cy="1614488"/>
        </p:xfrm>
        <a:graphic>
          <a:graphicData uri="http://schemas.openxmlformats.org/drawingml/2006/chart">
            <c:chart xmlns:c="http://schemas.openxmlformats.org/drawingml/2006/chart" xmlns:r="http://schemas.openxmlformats.org/officeDocument/2006/relationships" r:id="rId39"/>
          </a:graphicData>
        </a:graphic>
      </p:graphicFrame>
      <p:cxnSp>
        <p:nvCxnSpPr>
          <p:cNvPr id="19" name="Straight Connector 18">
            <a:extLst>
              <a:ext uri="{FF2B5EF4-FFF2-40B4-BE49-F238E27FC236}">
                <a16:creationId xmlns:a16="http://schemas.microsoft.com/office/drawing/2014/main" id="{EF7D3AF8-3CBA-4FDB-A991-C3B987FEB0C1}"/>
              </a:ext>
            </a:extLst>
          </p:cNvPr>
          <p:cNvCxnSpPr/>
          <p:nvPr>
            <p:custDataLst>
              <p:tags r:id="rId15"/>
            </p:custDataLst>
          </p:nvPr>
        </p:nvCxnSpPr>
        <p:spPr bwMode="auto">
          <a:xfrm>
            <a:off x="10191750" y="4035425"/>
            <a:ext cx="839788" cy="0"/>
          </a:xfrm>
          <a:prstGeom prst="line">
            <a:avLst/>
          </a:prstGeom>
          <a:ln w="28575" cap="flat" cmpd="sng" algn="ctr">
            <a:solidFill>
              <a:schemeClr val="tx1"/>
            </a:solidFill>
            <a:prstDash val="sysDot"/>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EBAE6A7-84E2-4ECB-B5FA-731AD14AC7F3}"/>
              </a:ext>
            </a:extLst>
          </p:cNvPr>
          <p:cNvCxnSpPr/>
          <p:nvPr>
            <p:custDataLst>
              <p:tags r:id="rId16"/>
            </p:custDataLst>
          </p:nvPr>
        </p:nvCxnSpPr>
        <p:spPr bwMode="auto">
          <a:xfrm>
            <a:off x="10191750" y="4035425"/>
            <a:ext cx="0" cy="495300"/>
          </a:xfrm>
          <a:prstGeom prst="line">
            <a:avLst/>
          </a:prstGeom>
          <a:ln w="28575" cap="flat" cmpd="sng" algn="ctr">
            <a:solidFill>
              <a:schemeClr val="tx1"/>
            </a:solidFill>
            <a:prstDash val="sysDot"/>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CE09BB-C5DF-4FC3-AF7A-2008B73B31EC}"/>
              </a:ext>
            </a:extLst>
          </p:cNvPr>
          <p:cNvCxnSpPr/>
          <p:nvPr>
            <p:custDataLst>
              <p:tags r:id="rId17"/>
            </p:custDataLst>
          </p:nvPr>
        </p:nvCxnSpPr>
        <p:spPr bwMode="auto">
          <a:xfrm>
            <a:off x="11031538" y="4035425"/>
            <a:ext cx="0" cy="495300"/>
          </a:xfrm>
          <a:prstGeom prst="line">
            <a:avLst/>
          </a:prstGeom>
          <a:ln w="28575" cap="flat" cmpd="sng" algn="ctr">
            <a:solidFill>
              <a:schemeClr val="tx1"/>
            </a:solidFill>
            <a:prstDash val="sysDot"/>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204140B-036A-4FA9-A19C-D946488DB67C}"/>
              </a:ext>
            </a:extLst>
          </p:cNvPr>
          <p:cNvCxnSpPr/>
          <p:nvPr>
            <p:custDataLst>
              <p:tags r:id="rId18"/>
            </p:custDataLst>
          </p:nvPr>
        </p:nvCxnSpPr>
        <p:spPr bwMode="auto">
          <a:xfrm>
            <a:off x="1122363" y="3740151"/>
            <a:ext cx="0" cy="790575"/>
          </a:xfrm>
          <a:prstGeom prst="line">
            <a:avLst/>
          </a:prstGeom>
          <a:ln w="28575" cap="flat" cmpd="sng" algn="ctr">
            <a:solidFill>
              <a:schemeClr val="tx1"/>
            </a:solidFill>
            <a:prstDash val="sysDot"/>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E423E46-E05F-4F0E-887C-09A925EC0DD0}"/>
              </a:ext>
            </a:extLst>
          </p:cNvPr>
          <p:cNvCxnSpPr/>
          <p:nvPr>
            <p:custDataLst>
              <p:tags r:id="rId19"/>
            </p:custDataLst>
          </p:nvPr>
        </p:nvCxnSpPr>
        <p:spPr bwMode="auto">
          <a:xfrm>
            <a:off x="1962150" y="3740151"/>
            <a:ext cx="0" cy="790575"/>
          </a:xfrm>
          <a:prstGeom prst="line">
            <a:avLst/>
          </a:prstGeom>
          <a:ln w="28575" cap="flat" cmpd="sng" algn="ctr">
            <a:solidFill>
              <a:schemeClr val="tx1"/>
            </a:solidFill>
            <a:prstDash val="sysDot"/>
            <a:roun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33A4D65D-17C9-4B59-A68D-35276B056E25}"/>
              </a:ext>
            </a:extLst>
          </p:cNvPr>
          <p:cNvSpPr/>
          <p:nvPr>
            <p:custDataLst>
              <p:tags r:id="rId20"/>
            </p:custDataLst>
          </p:nvPr>
        </p:nvSpPr>
        <p:spPr bwMode="auto">
          <a:xfrm>
            <a:off x="1122363" y="3086100"/>
            <a:ext cx="839787" cy="654050"/>
          </a:xfrm>
          <a:prstGeom prst="rect">
            <a:avLst/>
          </a:prstGeom>
          <a:noFill/>
          <a:ln w="28575" algn="ctr">
            <a:solidFill>
              <a:schemeClr val="tx1"/>
            </a:solidFill>
            <a:prstDash val="sysDot"/>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40" name="Straight Connector 39">
            <a:extLst>
              <a:ext uri="{FF2B5EF4-FFF2-40B4-BE49-F238E27FC236}">
                <a16:creationId xmlns:a16="http://schemas.microsoft.com/office/drawing/2014/main" id="{22D2E1C1-F815-4F3A-BD91-7255A4A2C6C8}"/>
              </a:ext>
            </a:extLst>
          </p:cNvPr>
          <p:cNvCxnSpPr/>
          <p:nvPr>
            <p:custDataLst>
              <p:tags r:id="rId21"/>
            </p:custDataLst>
          </p:nvPr>
        </p:nvCxnSpPr>
        <p:spPr bwMode="gray">
          <a:xfrm flipV="1">
            <a:off x="1541463" y="2778125"/>
            <a:ext cx="0" cy="7620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16C85EE-0DEE-4077-B384-89137643153B}"/>
              </a:ext>
            </a:extLst>
          </p:cNvPr>
          <p:cNvCxnSpPr/>
          <p:nvPr>
            <p:custDataLst>
              <p:tags r:id="rId22"/>
            </p:custDataLst>
          </p:nvPr>
        </p:nvCxnSpPr>
        <p:spPr bwMode="gray">
          <a:xfrm>
            <a:off x="1541462" y="2778125"/>
            <a:ext cx="9069388"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35F2329-34AC-4F55-8233-2D35FDF57D8E}"/>
              </a:ext>
            </a:extLst>
          </p:cNvPr>
          <p:cNvCxnSpPr/>
          <p:nvPr>
            <p:custDataLst>
              <p:tags r:id="rId23"/>
            </p:custDataLst>
          </p:nvPr>
        </p:nvCxnSpPr>
        <p:spPr bwMode="gray">
          <a:xfrm>
            <a:off x="10610850" y="2778125"/>
            <a:ext cx="0" cy="1025525"/>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98" name="Text Placeholder 3">
            <a:extLst>
              <a:ext uri="{FF2B5EF4-FFF2-40B4-BE49-F238E27FC236}">
                <a16:creationId xmlns:a16="http://schemas.microsoft.com/office/drawing/2014/main" id="{4E0912D7-7607-4C1E-BBD0-475ABF8C29D1}"/>
              </a:ext>
            </a:extLst>
          </p:cNvPr>
          <p:cNvSpPr>
            <a:spLocks noGrp="1"/>
          </p:cNvSpPr>
          <p:nvPr>
            <p:custDataLst>
              <p:tags r:id="rId24"/>
            </p:custDataLst>
          </p:nvPr>
        </p:nvSpPr>
        <p:spPr bwMode="auto">
          <a:xfrm>
            <a:off x="4213226" y="4652963"/>
            <a:ext cx="7032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AC35C8F-B216-48A5-91C0-CBA1633E9ED6}" type="datetime'''''''''''''Linux ''''''R''''''''''''''a''''''''''''t''e'">
              <a:rPr lang="en-US" altLang="en-US" sz="1100" smtClean="0">
                <a:solidFill>
                  <a:schemeClr val="tx1"/>
                </a:solidFill>
                <a:cs typeface="+mn-cs"/>
                <a:sym typeface="+mn-lt"/>
              </a:rPr>
              <a:pPr/>
              <a:t>Linux Rate</a:t>
            </a:fld>
            <a:r>
              <a:rPr lang="en-US" altLang="en-US" sz="1200" baseline="30000" dirty="0">
                <a:solidFill>
                  <a:schemeClr val="tx1"/>
                </a:solidFill>
                <a:cs typeface="+mn-cs"/>
                <a:sym typeface="+mn-lt"/>
              </a:rPr>
              <a:t>1</a:t>
            </a:r>
            <a:endParaRPr lang="en-US" sz="1200" baseline="30000" dirty="0">
              <a:solidFill>
                <a:schemeClr val="tx1"/>
              </a:solidFill>
              <a:cs typeface="+mn-cs"/>
              <a:sym typeface="+mn-lt"/>
            </a:endParaRPr>
          </a:p>
        </p:txBody>
      </p:sp>
      <p:sp>
        <p:nvSpPr>
          <p:cNvPr id="130" name="Text Placeholder 3">
            <a:extLst>
              <a:ext uri="{FF2B5EF4-FFF2-40B4-BE49-F238E27FC236}">
                <a16:creationId xmlns:a16="http://schemas.microsoft.com/office/drawing/2014/main" id="{F8E2790B-306A-4E31-B3FF-28B2A1F1B6E7}"/>
              </a:ext>
            </a:extLst>
          </p:cNvPr>
          <p:cNvSpPr>
            <a:spLocks noGrp="1"/>
          </p:cNvSpPr>
          <p:nvPr>
            <p:custDataLst>
              <p:tags r:id="rId25"/>
            </p:custDataLst>
          </p:nvPr>
        </p:nvSpPr>
        <p:spPr bwMode="auto">
          <a:xfrm>
            <a:off x="5405438" y="4652963"/>
            <a:ext cx="13446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1DE85F6-4353-4B64-8919-2EA6A2DC88E9}" type="datetime'''''''Pay'' f''''''''or'''' A''ct''ual'' ''''''''''Usa''ge'''">
              <a:rPr lang="en-US" altLang="en-US" sz="1100" smtClean="0">
                <a:solidFill>
                  <a:schemeClr val="tx1"/>
                </a:solidFill>
                <a:cs typeface="+mn-cs"/>
                <a:sym typeface="+mn-lt"/>
              </a:rPr>
              <a:pPr/>
              <a:t>Pay for Actual Usage</a:t>
            </a:fld>
            <a:r>
              <a:rPr lang="en-US" altLang="en-US" sz="1200" baseline="30000" dirty="0">
                <a:solidFill>
                  <a:schemeClr val="tx1"/>
                </a:solidFill>
                <a:cs typeface="+mn-cs"/>
                <a:sym typeface="+mn-lt"/>
              </a:rPr>
              <a:t>1</a:t>
            </a:r>
            <a:endParaRPr lang="en-US" sz="1200" baseline="30000" dirty="0">
              <a:solidFill>
                <a:schemeClr val="tx1"/>
              </a:solidFill>
              <a:cs typeface="+mn-cs"/>
              <a:sym typeface="+mn-lt"/>
            </a:endParaRPr>
          </a:p>
        </p:txBody>
      </p:sp>
      <p:sp>
        <p:nvSpPr>
          <p:cNvPr id="142" name="Text Placeholder 3">
            <a:extLst>
              <a:ext uri="{FF2B5EF4-FFF2-40B4-BE49-F238E27FC236}">
                <a16:creationId xmlns:a16="http://schemas.microsoft.com/office/drawing/2014/main" id="{AE40F1F8-76D8-458A-9B10-94A8980B7A12}"/>
              </a:ext>
            </a:extLst>
          </p:cNvPr>
          <p:cNvSpPr>
            <a:spLocks noGrp="1"/>
          </p:cNvSpPr>
          <p:nvPr>
            <p:custDataLst>
              <p:tags r:id="rId26"/>
            </p:custDataLst>
          </p:nvPr>
        </p:nvSpPr>
        <p:spPr bwMode="auto">
          <a:xfrm>
            <a:off x="8435975" y="4652963"/>
            <a:ext cx="13287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4FD4B47-B77D-43D9-928D-42A3C3E2F578}" type="datetime'RD''''''''''''S'''' CA''L'' E''l''i''m''''''''''''inati''''on'">
              <a:rPr lang="en-US" altLang="en-US" sz="1100" smtClean="0">
                <a:solidFill>
                  <a:schemeClr val="tx1"/>
                </a:solidFill>
                <a:cs typeface="+mn-cs"/>
                <a:sym typeface="+mn-lt"/>
              </a:rPr>
              <a:pPr/>
              <a:t>RDS CAL Elimination</a:t>
            </a:fld>
            <a:r>
              <a:rPr lang="en-US" altLang="en-US" sz="1200" baseline="30000" dirty="0">
                <a:solidFill>
                  <a:schemeClr val="tx1"/>
                </a:solidFill>
                <a:cs typeface="+mn-cs"/>
                <a:sym typeface="+mn-lt"/>
              </a:rPr>
              <a:t>2</a:t>
            </a:r>
            <a:endParaRPr lang="en-US" sz="1200" baseline="30000" dirty="0">
              <a:solidFill>
                <a:schemeClr val="tx1"/>
              </a:solidFill>
              <a:cs typeface="+mn-cs"/>
              <a:sym typeface="+mn-lt"/>
            </a:endParaRPr>
          </a:p>
        </p:txBody>
      </p:sp>
      <p:sp>
        <p:nvSpPr>
          <p:cNvPr id="96" name="Text Placeholder 3">
            <a:extLst>
              <a:ext uri="{FF2B5EF4-FFF2-40B4-BE49-F238E27FC236}">
                <a16:creationId xmlns:a16="http://schemas.microsoft.com/office/drawing/2014/main" id="{F25DDD07-8282-475C-9615-38C0D0EB183A}"/>
              </a:ext>
            </a:extLst>
          </p:cNvPr>
          <p:cNvSpPr>
            <a:spLocks noGrp="1"/>
          </p:cNvSpPr>
          <p:nvPr>
            <p:custDataLst>
              <p:tags r:id="rId27"/>
            </p:custDataLst>
          </p:nvPr>
        </p:nvSpPr>
        <p:spPr bwMode="auto">
          <a:xfrm>
            <a:off x="949325" y="4652963"/>
            <a:ext cx="1184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B106555-B2B3-4470-8045-0AC1E1A62C7D}" type="datetime'O''''''''n''''''''''-p''''re''''''''''''''''''m'''''''''''">
              <a:rPr lang="en-US" altLang="en-US" sz="1400" b="1" smtClean="0">
                <a:solidFill>
                  <a:schemeClr val="tx1"/>
                </a:solidFill>
                <a:cs typeface="+mn-cs"/>
                <a:sym typeface="+mn-lt"/>
              </a:rPr>
              <a:pPr/>
              <a:t>On-prem</a:t>
            </a:fld>
            <a:r>
              <a:rPr lang="en-US" altLang="en-US" sz="1400" b="1" dirty="0">
                <a:solidFill>
                  <a:schemeClr val="tx1"/>
                </a:solidFill>
                <a:cs typeface="+mn-cs"/>
                <a:sym typeface="+mn-lt"/>
              </a:rPr>
              <a:t> Cost</a:t>
            </a:r>
            <a:endParaRPr lang="en-US" sz="1400" b="1" dirty="0">
              <a:solidFill>
                <a:schemeClr val="tx1"/>
              </a:solidFill>
              <a:cs typeface="+mn-cs"/>
              <a:sym typeface="+mn-lt"/>
            </a:endParaRPr>
          </a:p>
        </p:txBody>
      </p:sp>
      <p:sp>
        <p:nvSpPr>
          <p:cNvPr id="136" name="Text Placeholder 3">
            <a:extLst>
              <a:ext uri="{FF2B5EF4-FFF2-40B4-BE49-F238E27FC236}">
                <a16:creationId xmlns:a16="http://schemas.microsoft.com/office/drawing/2014/main" id="{C41D4685-172E-44A4-BF5D-F27FE71495C3}"/>
              </a:ext>
            </a:extLst>
          </p:cNvPr>
          <p:cNvSpPr>
            <a:spLocks noGrp="1"/>
          </p:cNvSpPr>
          <p:nvPr>
            <p:custDataLst>
              <p:tags r:id="rId28"/>
            </p:custDataLst>
          </p:nvPr>
        </p:nvSpPr>
        <p:spPr bwMode="gray">
          <a:xfrm>
            <a:off x="5945189" y="3548063"/>
            <a:ext cx="265113" cy="168275"/>
          </a:xfrm>
          <a:prstGeom prst="rect">
            <a:avLst/>
          </a:prstGeom>
          <a:solidFill>
            <a:schemeClr val="accent1"/>
          </a:solidFill>
          <a:ln>
            <a:noFill/>
          </a:ln>
        </p:spPr>
        <p:txBody>
          <a:bodyPr vert="horz" wrap="none" lIns="20638" tIns="0" rIns="20638"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86DD055-BCC7-47EE-A9C4-1A4E1F430A46}" type="datetime'''''''6''''''''''5''0'''''''''''''''''''''">
              <a:rPr lang="en-US" altLang="en-US" sz="1100" smtClean="0">
                <a:solidFill>
                  <a:schemeClr val="bg1"/>
                </a:solidFill>
                <a:cs typeface="+mn-cs"/>
                <a:sym typeface="+mn-lt"/>
              </a:rPr>
              <a:pPr/>
              <a:t>650</a:t>
            </a:fld>
            <a:endParaRPr lang="en-US" sz="1100" dirty="0">
              <a:solidFill>
                <a:schemeClr val="bg1"/>
              </a:solidFill>
              <a:cs typeface="+mn-cs"/>
              <a:sym typeface="+mn-lt"/>
            </a:endParaRPr>
          </a:p>
        </p:txBody>
      </p:sp>
      <p:sp>
        <p:nvSpPr>
          <p:cNvPr id="135" name="Text Placeholder 3">
            <a:extLst>
              <a:ext uri="{FF2B5EF4-FFF2-40B4-BE49-F238E27FC236}">
                <a16:creationId xmlns:a16="http://schemas.microsoft.com/office/drawing/2014/main" id="{A86EACFC-888E-4843-92D1-3827CC610389}"/>
              </a:ext>
            </a:extLst>
          </p:cNvPr>
          <p:cNvSpPr>
            <a:spLocks noGrp="1"/>
          </p:cNvSpPr>
          <p:nvPr>
            <p:custDataLst>
              <p:tags r:id="rId29"/>
            </p:custDataLst>
          </p:nvPr>
        </p:nvSpPr>
        <p:spPr bwMode="auto">
          <a:xfrm>
            <a:off x="6919913" y="4652963"/>
            <a:ext cx="13366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A6BDA42-45CB-4A45-8068-472AD60D81F8}" type="datetime'''''''''''''''Mg''''n''t'' ''''''S''v''c'' ''Include''''d'''''">
              <a:rPr lang="en-US" altLang="en-US" sz="1100" smtClean="0">
                <a:solidFill>
                  <a:schemeClr val="tx1"/>
                </a:solidFill>
                <a:cs typeface="+mn-cs"/>
                <a:sym typeface="+mn-lt"/>
              </a:rPr>
              <a:pPr/>
              <a:t>Mgnt Svc Included</a:t>
            </a:fld>
            <a:r>
              <a:rPr lang="en-US" altLang="en-US" sz="1200" baseline="30000" dirty="0">
                <a:solidFill>
                  <a:schemeClr val="tx1"/>
                </a:solidFill>
                <a:cs typeface="+mn-cs"/>
                <a:sym typeface="+mn-lt"/>
              </a:rPr>
              <a:t>1, 2</a:t>
            </a:r>
            <a:endParaRPr lang="en-US" sz="1200" baseline="30000" dirty="0">
              <a:solidFill>
                <a:schemeClr val="tx1"/>
              </a:solidFill>
              <a:cs typeface="+mn-cs"/>
              <a:sym typeface="+mn-lt"/>
            </a:endParaRPr>
          </a:p>
        </p:txBody>
      </p:sp>
      <p:sp>
        <p:nvSpPr>
          <p:cNvPr id="97" name="Text Placeholder 3">
            <a:extLst>
              <a:ext uri="{FF2B5EF4-FFF2-40B4-BE49-F238E27FC236}">
                <a16:creationId xmlns:a16="http://schemas.microsoft.com/office/drawing/2014/main" id="{B81BB4B7-6EC4-4FE8-8177-3D786ABF7189}"/>
              </a:ext>
            </a:extLst>
          </p:cNvPr>
          <p:cNvSpPr>
            <a:spLocks noGrp="1"/>
          </p:cNvSpPr>
          <p:nvPr>
            <p:custDataLst>
              <p:tags r:id="rId30"/>
            </p:custDataLst>
          </p:nvPr>
        </p:nvSpPr>
        <p:spPr bwMode="auto">
          <a:xfrm>
            <a:off x="2609850" y="4652963"/>
            <a:ext cx="8874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DBE9A4B-E59A-4249-AC3A-E7FB9E1B2ABF}" type="datetime'''''''Mu''''lti''''-s''''''''''''''e''''''''ss''''ion'">
              <a:rPr lang="en-US" altLang="en-US" sz="1100" smtClean="0">
                <a:solidFill>
                  <a:schemeClr val="tx1"/>
                </a:solidFill>
                <a:cs typeface="+mn-cs"/>
                <a:sym typeface="+mn-lt"/>
              </a:rPr>
              <a:pPr/>
              <a:t>Multi-session</a:t>
            </a:fld>
            <a:r>
              <a:rPr lang="en-US" altLang="en-US" sz="1200" baseline="30000" dirty="0">
                <a:solidFill>
                  <a:schemeClr val="tx1"/>
                </a:solidFill>
                <a:cs typeface="+mn-cs"/>
                <a:sym typeface="+mn-lt"/>
              </a:rPr>
              <a:t>2</a:t>
            </a:r>
            <a:endParaRPr lang="en-US" sz="1200" baseline="30000" dirty="0">
              <a:solidFill>
                <a:schemeClr val="tx1"/>
              </a:solidFill>
              <a:cs typeface="+mn-cs"/>
              <a:sym typeface="+mn-lt"/>
            </a:endParaRPr>
          </a:p>
        </p:txBody>
      </p:sp>
      <p:sp>
        <p:nvSpPr>
          <p:cNvPr id="150" name="Text Placeholder 3">
            <a:extLst>
              <a:ext uri="{FF2B5EF4-FFF2-40B4-BE49-F238E27FC236}">
                <a16:creationId xmlns:a16="http://schemas.microsoft.com/office/drawing/2014/main" id="{4F102913-D5FE-4E07-BCEE-B3773863707F}"/>
              </a:ext>
            </a:extLst>
          </p:cNvPr>
          <p:cNvSpPr>
            <a:spLocks noGrp="1"/>
          </p:cNvSpPr>
          <p:nvPr>
            <p:custDataLst>
              <p:tags r:id="rId31"/>
            </p:custDataLst>
          </p:nvPr>
        </p:nvSpPr>
        <p:spPr bwMode="gray">
          <a:xfrm>
            <a:off x="7404100" y="3605213"/>
            <a:ext cx="369888" cy="168275"/>
          </a:xfrm>
          <a:prstGeom prst="rect">
            <a:avLst/>
          </a:prstGeom>
          <a:solidFill>
            <a:schemeClr val="accent2"/>
          </a:solidFill>
          <a:ln>
            <a:noFill/>
          </a:ln>
        </p:spPr>
        <p:txBody>
          <a:bodyPr vert="horz" wrap="none" lIns="20638" tIns="0" rIns="20638"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40E3302-546F-4D71-BF26-4FA918D37AC0}" type="datetime'''2'''',''''''''''4''''''''''''''''''''0''''''''0'''''''''''">
              <a:rPr lang="en-US" altLang="en-US" sz="1100" smtClean="0">
                <a:solidFill>
                  <a:schemeClr val="bg1"/>
                </a:solidFill>
                <a:cs typeface="+mn-cs"/>
                <a:sym typeface="+mn-lt"/>
              </a:rPr>
              <a:pPr marL="0" indent="0" algn="ctr">
                <a:spcBef>
                  <a:spcPct val="0"/>
                </a:spcBef>
                <a:spcAft>
                  <a:spcPct val="0"/>
                </a:spcAft>
                <a:buNone/>
              </a:pPr>
              <a:t>2,400</a:t>
            </a:fld>
            <a:endParaRPr lang="en-US" sz="1100" dirty="0">
              <a:solidFill>
                <a:schemeClr val="bg1"/>
              </a:solidFill>
              <a:cs typeface="+mn-cs"/>
              <a:sym typeface="+mn-lt"/>
            </a:endParaRPr>
          </a:p>
        </p:txBody>
      </p:sp>
      <p:sp>
        <p:nvSpPr>
          <p:cNvPr id="147" name="Text Placeholder 3">
            <a:extLst>
              <a:ext uri="{FF2B5EF4-FFF2-40B4-BE49-F238E27FC236}">
                <a16:creationId xmlns:a16="http://schemas.microsoft.com/office/drawing/2014/main" id="{3BE6C977-00A5-4112-A4B8-74C5D6DE4FA0}"/>
              </a:ext>
            </a:extLst>
          </p:cNvPr>
          <p:cNvSpPr>
            <a:spLocks noGrp="1"/>
          </p:cNvSpPr>
          <p:nvPr>
            <p:custDataLst>
              <p:tags r:id="rId32"/>
            </p:custDataLst>
          </p:nvPr>
        </p:nvSpPr>
        <p:spPr bwMode="auto">
          <a:xfrm>
            <a:off x="10182224" y="4652963"/>
            <a:ext cx="8588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E893BA6-7DAB-45BF-9C58-E02900CFCF20}" type="datetime'''''''''WV''''''''''''''D'''''''''''''''">
              <a:rPr lang="en-US" altLang="en-US" sz="1400" b="1" smtClean="0">
                <a:solidFill>
                  <a:schemeClr val="tx1"/>
                </a:solidFill>
                <a:cs typeface="+mn-cs"/>
                <a:sym typeface="+mn-lt"/>
              </a:rPr>
              <a:pPr/>
              <a:t>WVD</a:t>
            </a:fld>
            <a:r>
              <a:rPr lang="en-US" altLang="en-US" sz="1400" b="1" dirty="0">
                <a:solidFill>
                  <a:schemeClr val="tx1"/>
                </a:solidFill>
                <a:cs typeface="+mn-cs"/>
                <a:sym typeface="+mn-lt"/>
              </a:rPr>
              <a:t> Cost</a:t>
            </a:r>
            <a:endParaRPr lang="en-US" sz="1400" b="1" dirty="0">
              <a:solidFill>
                <a:schemeClr val="tx1"/>
              </a:solidFill>
              <a:cs typeface="+mn-cs"/>
              <a:sym typeface="+mn-lt"/>
            </a:endParaRPr>
          </a:p>
        </p:txBody>
      </p:sp>
      <p:sp>
        <p:nvSpPr>
          <p:cNvPr id="105" name="Text Placeholder 3">
            <a:extLst>
              <a:ext uri="{FF2B5EF4-FFF2-40B4-BE49-F238E27FC236}">
                <a16:creationId xmlns:a16="http://schemas.microsoft.com/office/drawing/2014/main" id="{37ACE998-E361-4402-97D1-688CD0B93A11}"/>
              </a:ext>
            </a:extLst>
          </p:cNvPr>
          <p:cNvSpPr>
            <a:spLocks noGrp="1"/>
          </p:cNvSpPr>
          <p:nvPr>
            <p:custDataLst>
              <p:tags r:id="rId33"/>
            </p:custDataLst>
          </p:nvPr>
        </p:nvSpPr>
        <p:spPr bwMode="gray">
          <a:xfrm>
            <a:off x="1319213" y="2892425"/>
            <a:ext cx="4445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C61DF7C-C1AB-4438-AD8C-2F99551E0B77}" type="datetime'''''''''''''''3''''''''''''''''''''''''8'''',''''''''600'''">
              <a:rPr lang="en-US" altLang="en-US" sz="1100" smtClean="0">
                <a:solidFill>
                  <a:schemeClr val="tx1"/>
                </a:solidFill>
                <a:cs typeface="+mn-cs"/>
                <a:sym typeface="+mn-lt"/>
              </a:rPr>
              <a:pPr/>
              <a:t>38,600</a:t>
            </a:fld>
            <a:endParaRPr lang="en-US" sz="1200" dirty="0">
              <a:solidFill>
                <a:schemeClr val="tx1"/>
              </a:solidFill>
              <a:cs typeface="+mn-cs"/>
              <a:sym typeface="+mn-lt"/>
            </a:endParaRPr>
          </a:p>
        </p:txBody>
      </p:sp>
      <p:sp>
        <p:nvSpPr>
          <p:cNvPr id="157" name="Text Placeholder 3">
            <a:extLst>
              <a:ext uri="{FF2B5EF4-FFF2-40B4-BE49-F238E27FC236}">
                <a16:creationId xmlns:a16="http://schemas.microsoft.com/office/drawing/2014/main" id="{B1FF8C9D-DB13-4584-BBE1-4CD18095ADCA}"/>
              </a:ext>
            </a:extLst>
          </p:cNvPr>
          <p:cNvSpPr>
            <a:spLocks noGrp="1"/>
          </p:cNvSpPr>
          <p:nvPr>
            <p:custDataLst>
              <p:tags r:id="rId34"/>
            </p:custDataLst>
          </p:nvPr>
        </p:nvSpPr>
        <p:spPr bwMode="auto">
          <a:xfrm>
            <a:off x="5624512" y="2476500"/>
            <a:ext cx="903288" cy="603250"/>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00" b="1" dirty="0">
                <a:solidFill>
                  <a:schemeClr val="tx1"/>
                </a:solidFill>
                <a:cs typeface="+mn-cs"/>
                <a:sym typeface="+mn-lt"/>
              </a:rPr>
              <a:t>~65%</a:t>
            </a:r>
            <a:r>
              <a:rPr lang="en-US" altLang="en-US" sz="1400" b="1" baseline="30000" dirty="0">
                <a:solidFill>
                  <a:schemeClr val="tx1"/>
                </a:solidFill>
                <a:cs typeface="+mn-cs"/>
                <a:sym typeface="+mn-lt"/>
              </a:rPr>
              <a:t>*</a:t>
            </a:r>
          </a:p>
          <a:p>
            <a:pPr marL="0" indent="0" algn="ctr">
              <a:spcBef>
                <a:spcPct val="0"/>
              </a:spcBef>
              <a:spcAft>
                <a:spcPct val="0"/>
              </a:spcAft>
              <a:buNone/>
            </a:pPr>
            <a:r>
              <a:rPr lang="en-US" sz="1400" b="1" dirty="0">
                <a:solidFill>
                  <a:schemeClr val="tx1"/>
                </a:solidFill>
                <a:cs typeface="+mn-cs"/>
                <a:sym typeface="+mn-lt"/>
              </a:rPr>
              <a:t>Savings</a:t>
            </a:r>
          </a:p>
        </p:txBody>
      </p:sp>
      <p:sp>
        <p:nvSpPr>
          <p:cNvPr id="62" name="Rectangle 61">
            <a:extLst>
              <a:ext uri="{FF2B5EF4-FFF2-40B4-BE49-F238E27FC236}">
                <a16:creationId xmlns:a16="http://schemas.microsoft.com/office/drawing/2014/main" id="{78C5F1BD-3FC9-414D-BCED-0BD052E3BB00}"/>
              </a:ext>
            </a:extLst>
          </p:cNvPr>
          <p:cNvSpPr/>
          <p:nvPr/>
        </p:nvSpPr>
        <p:spPr>
          <a:xfrm>
            <a:off x="2339772" y="4984751"/>
            <a:ext cx="1350546" cy="822325"/>
          </a:xfrm>
          <a:prstGeom prst="rect">
            <a:avLst/>
          </a:prstGeom>
          <a:ln w="6350">
            <a:solidFill>
              <a:schemeClr val="bg1">
                <a:lumMod val="75000"/>
              </a:schemeClr>
            </a:solidFill>
          </a:ln>
        </p:spPr>
        <p:txBody>
          <a:bodyPr wrap="square" lIns="27432" tIns="27432" rIns="27432" bIns="27432">
            <a:noAutofit/>
          </a:bodyPr>
          <a:lstStyle/>
          <a:p>
            <a:pPr algn="ctr">
              <a:spcBef>
                <a:spcPts val="300"/>
              </a:spcBef>
              <a:spcAft>
                <a:spcPts val="600"/>
              </a:spcAft>
            </a:pPr>
            <a:r>
              <a:rPr lang="en-US" sz="1000" dirty="0"/>
              <a:t>Windows 10</a:t>
            </a:r>
            <a:br>
              <a:rPr lang="en-US" sz="1000" dirty="0"/>
            </a:br>
            <a:r>
              <a:rPr lang="en-US" sz="1000" dirty="0"/>
              <a:t>multi-session reduces number of</a:t>
            </a:r>
            <a:br>
              <a:rPr lang="en-US" sz="1000" dirty="0"/>
            </a:br>
            <a:r>
              <a:rPr lang="en-US" sz="1000" dirty="0"/>
              <a:t>VMs required </a:t>
            </a:r>
            <a:br>
              <a:rPr lang="en-US" sz="1000" dirty="0"/>
            </a:br>
            <a:r>
              <a:rPr lang="en-US" sz="1000" dirty="0"/>
              <a:t>(vs. single-session)</a:t>
            </a:r>
          </a:p>
        </p:txBody>
      </p:sp>
      <p:sp>
        <p:nvSpPr>
          <p:cNvPr id="63" name="Rectangle 62">
            <a:extLst>
              <a:ext uri="{FF2B5EF4-FFF2-40B4-BE49-F238E27FC236}">
                <a16:creationId xmlns:a16="http://schemas.microsoft.com/office/drawing/2014/main" id="{E3A31510-A885-4408-8DDD-F4EA6803B7AB}"/>
              </a:ext>
            </a:extLst>
          </p:cNvPr>
          <p:cNvSpPr/>
          <p:nvPr/>
        </p:nvSpPr>
        <p:spPr>
          <a:xfrm>
            <a:off x="3864220" y="4984751"/>
            <a:ext cx="1350546" cy="822325"/>
          </a:xfrm>
          <a:prstGeom prst="rect">
            <a:avLst/>
          </a:prstGeom>
          <a:ln w="6350">
            <a:solidFill>
              <a:schemeClr val="bg1">
                <a:lumMod val="75000"/>
              </a:schemeClr>
            </a:solidFill>
          </a:ln>
        </p:spPr>
        <p:txBody>
          <a:bodyPr wrap="square" lIns="27432" tIns="27432" rIns="27432" bIns="27432">
            <a:noAutofit/>
          </a:bodyPr>
          <a:lstStyle/>
          <a:p>
            <a:pPr algn="ctr">
              <a:spcBef>
                <a:spcPts val="300"/>
              </a:spcBef>
              <a:spcAft>
                <a:spcPts val="600"/>
              </a:spcAft>
            </a:pPr>
            <a:r>
              <a:rPr lang="en-US" sz="1000" dirty="0"/>
              <a:t>Session host VMs charged at Linux compute rate</a:t>
            </a:r>
            <a:br>
              <a:rPr lang="en-US" sz="1000" dirty="0"/>
            </a:br>
            <a:r>
              <a:rPr lang="en-US" sz="1000" dirty="0"/>
              <a:t>(vs. Windows Server compute rate)</a:t>
            </a:r>
          </a:p>
        </p:txBody>
      </p:sp>
      <p:sp>
        <p:nvSpPr>
          <p:cNvPr id="1856" name="Rectangle 1855">
            <a:extLst>
              <a:ext uri="{FF2B5EF4-FFF2-40B4-BE49-F238E27FC236}">
                <a16:creationId xmlns:a16="http://schemas.microsoft.com/office/drawing/2014/main" id="{C1DA21DB-6801-4625-BA4B-94B1DB4A9941}"/>
              </a:ext>
            </a:extLst>
          </p:cNvPr>
          <p:cNvSpPr/>
          <p:nvPr/>
        </p:nvSpPr>
        <p:spPr>
          <a:xfrm>
            <a:off x="5388668" y="4984751"/>
            <a:ext cx="1350546" cy="822325"/>
          </a:xfrm>
          <a:prstGeom prst="rect">
            <a:avLst/>
          </a:prstGeom>
          <a:ln w="6350">
            <a:solidFill>
              <a:schemeClr val="bg1">
                <a:lumMod val="75000"/>
              </a:schemeClr>
            </a:solidFill>
          </a:ln>
        </p:spPr>
        <p:txBody>
          <a:bodyPr wrap="square" lIns="27432" tIns="27432" rIns="27432" bIns="27432">
            <a:noAutofit/>
          </a:bodyPr>
          <a:lstStyle/>
          <a:p>
            <a:pPr algn="ctr">
              <a:spcBef>
                <a:spcPts val="300"/>
              </a:spcBef>
              <a:spcAft>
                <a:spcPts val="600"/>
              </a:spcAft>
            </a:pPr>
            <a:r>
              <a:rPr lang="en-US" sz="1000" dirty="0"/>
              <a:t>Most actual usage charged at PAYG rate</a:t>
            </a:r>
            <a:br>
              <a:rPr lang="en-US" sz="1000" dirty="0"/>
            </a:br>
            <a:r>
              <a:rPr lang="en-US" sz="1000" dirty="0"/>
              <a:t>(vs. fixed on-prem investment)</a:t>
            </a:r>
          </a:p>
        </p:txBody>
      </p:sp>
      <p:sp>
        <p:nvSpPr>
          <p:cNvPr id="1857" name="Rectangle 1856">
            <a:extLst>
              <a:ext uri="{FF2B5EF4-FFF2-40B4-BE49-F238E27FC236}">
                <a16:creationId xmlns:a16="http://schemas.microsoft.com/office/drawing/2014/main" id="{F145A665-44F9-4406-9A1E-1766B727EC0D}"/>
              </a:ext>
            </a:extLst>
          </p:cNvPr>
          <p:cNvSpPr/>
          <p:nvPr/>
        </p:nvSpPr>
        <p:spPr>
          <a:xfrm>
            <a:off x="6913116" y="4984751"/>
            <a:ext cx="1350546" cy="822325"/>
          </a:xfrm>
          <a:prstGeom prst="rect">
            <a:avLst/>
          </a:prstGeom>
          <a:ln w="6350">
            <a:solidFill>
              <a:schemeClr val="bg1">
                <a:lumMod val="75000"/>
              </a:schemeClr>
            </a:solidFill>
          </a:ln>
        </p:spPr>
        <p:txBody>
          <a:bodyPr wrap="square" lIns="27432" tIns="27432" rIns="27432" bIns="27432">
            <a:noAutofit/>
          </a:bodyPr>
          <a:lstStyle/>
          <a:p>
            <a:pPr algn="ctr">
              <a:spcBef>
                <a:spcPts val="300"/>
              </a:spcBef>
              <a:spcAft>
                <a:spcPts val="600"/>
              </a:spcAft>
            </a:pPr>
            <a:r>
              <a:rPr lang="en-US" sz="1000" dirty="0"/>
              <a:t>Free</a:t>
            </a:r>
            <a:r>
              <a:rPr lang="en-US" sz="1000" baseline="30000" dirty="0"/>
              <a:t>**</a:t>
            </a:r>
            <a:r>
              <a:rPr lang="en-US" sz="1000" dirty="0"/>
              <a:t> WVD management service incl. associated infra (vs. mgnt services and infra on-prem)</a:t>
            </a:r>
          </a:p>
        </p:txBody>
      </p:sp>
      <p:sp>
        <p:nvSpPr>
          <p:cNvPr id="1858" name="Rectangle 1857">
            <a:extLst>
              <a:ext uri="{FF2B5EF4-FFF2-40B4-BE49-F238E27FC236}">
                <a16:creationId xmlns:a16="http://schemas.microsoft.com/office/drawing/2014/main" id="{95FF509D-8C60-40F7-8773-B7A1A6021965}"/>
              </a:ext>
            </a:extLst>
          </p:cNvPr>
          <p:cNvSpPr/>
          <p:nvPr/>
        </p:nvSpPr>
        <p:spPr>
          <a:xfrm>
            <a:off x="8437563" y="4984751"/>
            <a:ext cx="1350546" cy="822325"/>
          </a:xfrm>
          <a:prstGeom prst="rect">
            <a:avLst/>
          </a:prstGeom>
          <a:ln w="6350">
            <a:solidFill>
              <a:schemeClr val="bg1">
                <a:lumMod val="75000"/>
              </a:schemeClr>
            </a:solidFill>
          </a:ln>
        </p:spPr>
        <p:txBody>
          <a:bodyPr wrap="square" lIns="27432" tIns="27432" rIns="27432" bIns="27432">
            <a:noAutofit/>
          </a:bodyPr>
          <a:lstStyle/>
          <a:p>
            <a:pPr algn="ctr">
              <a:spcBef>
                <a:spcPts val="300"/>
              </a:spcBef>
              <a:spcAft>
                <a:spcPts val="600"/>
              </a:spcAft>
            </a:pPr>
            <a:r>
              <a:rPr lang="en-US" sz="1000" dirty="0"/>
              <a:t>RDS CAL not required by W10 MS in WVD</a:t>
            </a:r>
            <a:r>
              <a:rPr lang="en-US" sz="1000" baseline="30000" dirty="0"/>
              <a:t>**</a:t>
            </a:r>
          </a:p>
        </p:txBody>
      </p:sp>
      <p:sp>
        <p:nvSpPr>
          <p:cNvPr id="45" name="Oval 44">
            <a:extLst>
              <a:ext uri="{FF2B5EF4-FFF2-40B4-BE49-F238E27FC236}">
                <a16:creationId xmlns:a16="http://schemas.microsoft.com/office/drawing/2014/main" id="{C209F241-166F-40A3-982D-991DF86F482A}"/>
              </a:ext>
            </a:extLst>
          </p:cNvPr>
          <p:cNvSpPr/>
          <p:nvPr/>
        </p:nvSpPr>
        <p:spPr bwMode="auto">
          <a:xfrm>
            <a:off x="10904220" y="3573463"/>
            <a:ext cx="640080" cy="457200"/>
          </a:xfrm>
          <a:prstGeom prst="ellipse">
            <a:avLst/>
          </a:prstGeom>
          <a:solidFill>
            <a:schemeClr val="bg1"/>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64592" rIns="182880" bIns="146304" numCol="1" spcCol="0" rtlCol="0" fromWordArt="0" anchor="ctr" anchorCtr="0" forceAA="0" compatLnSpc="1">
            <a:prstTxWarp prst="textNoShape">
              <a:avLst/>
            </a:prstTxWarp>
            <a:noAutofit/>
          </a:bodyPr>
          <a:lstStyle/>
          <a:p>
            <a:pPr algn="ctr" defTabSz="932472" fontAlgn="base">
              <a:lnSpc>
                <a:spcPct val="80000"/>
              </a:lnSpc>
              <a:spcBef>
                <a:spcPct val="0"/>
              </a:spcBef>
              <a:spcAft>
                <a:spcPct val="0"/>
              </a:spcAft>
            </a:pPr>
            <a:r>
              <a:rPr lang="en-US" sz="1200" b="1" dirty="0">
                <a:solidFill>
                  <a:schemeClr val="tx1"/>
                </a:solidFill>
                <a:ea typeface="Segoe UI" pitchFamily="34" charset="0"/>
                <a:cs typeface="Segoe UI" pitchFamily="34" charset="0"/>
              </a:rPr>
              <a:t>$13.3</a:t>
            </a:r>
            <a:br>
              <a:rPr lang="en-US" sz="1200" b="1" dirty="0">
                <a:solidFill>
                  <a:schemeClr val="tx1"/>
                </a:solidFill>
                <a:ea typeface="Segoe UI" pitchFamily="34" charset="0"/>
                <a:cs typeface="Segoe UI" pitchFamily="34" charset="0"/>
              </a:rPr>
            </a:br>
            <a:r>
              <a:rPr lang="en-US" sz="1200" b="1" dirty="0">
                <a:solidFill>
                  <a:schemeClr val="tx1"/>
                </a:solidFill>
                <a:ea typeface="Segoe UI" pitchFamily="34" charset="0"/>
                <a:cs typeface="Segoe UI" pitchFamily="34" charset="0"/>
              </a:rPr>
              <a:t>pupm</a:t>
            </a:r>
          </a:p>
        </p:txBody>
      </p:sp>
      <p:sp>
        <p:nvSpPr>
          <p:cNvPr id="46" name="Oval 45">
            <a:extLst>
              <a:ext uri="{FF2B5EF4-FFF2-40B4-BE49-F238E27FC236}">
                <a16:creationId xmlns:a16="http://schemas.microsoft.com/office/drawing/2014/main" id="{AF886336-0D3C-4A71-A170-BD6DD82B56BF}"/>
              </a:ext>
            </a:extLst>
          </p:cNvPr>
          <p:cNvSpPr/>
          <p:nvPr/>
        </p:nvSpPr>
        <p:spPr bwMode="auto">
          <a:xfrm>
            <a:off x="633918" y="2605094"/>
            <a:ext cx="640080" cy="457200"/>
          </a:xfrm>
          <a:prstGeom prst="ellipse">
            <a:avLst/>
          </a:prstGeom>
          <a:solidFill>
            <a:schemeClr val="bg1"/>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64592" rIns="182880" bIns="146304" numCol="1" spcCol="0" rtlCol="0" fromWordArt="0" anchor="ctr" anchorCtr="0" forceAA="0" compatLnSpc="1">
            <a:prstTxWarp prst="textNoShape">
              <a:avLst/>
            </a:prstTxWarp>
            <a:noAutofit/>
          </a:bodyPr>
          <a:lstStyle/>
          <a:p>
            <a:pPr algn="ctr" defTabSz="932472" fontAlgn="base">
              <a:lnSpc>
                <a:spcPct val="80000"/>
              </a:lnSpc>
              <a:spcBef>
                <a:spcPct val="0"/>
              </a:spcBef>
              <a:spcAft>
                <a:spcPct val="0"/>
              </a:spcAft>
            </a:pPr>
            <a:r>
              <a:rPr lang="en-US" sz="1200" b="1" dirty="0">
                <a:solidFill>
                  <a:schemeClr val="tx1"/>
                </a:solidFill>
                <a:cs typeface="Segoe UI" pitchFamily="34" charset="0"/>
              </a:rPr>
              <a:t>$38.6</a:t>
            </a:r>
            <a:br>
              <a:rPr lang="en-US" sz="1200" b="1" dirty="0">
                <a:solidFill>
                  <a:schemeClr val="tx1"/>
                </a:solidFill>
                <a:cs typeface="Segoe UI" pitchFamily="34" charset="0"/>
              </a:rPr>
            </a:br>
            <a:r>
              <a:rPr lang="en-US" sz="1200" b="1" dirty="0">
                <a:solidFill>
                  <a:schemeClr val="tx1"/>
                </a:solidFill>
                <a:cs typeface="Segoe UI" pitchFamily="34" charset="0"/>
              </a:rPr>
              <a:t>pupm</a:t>
            </a:r>
          </a:p>
        </p:txBody>
      </p:sp>
      <p:sp>
        <p:nvSpPr>
          <p:cNvPr id="47" name="TextBox 46">
            <a:extLst>
              <a:ext uri="{FF2B5EF4-FFF2-40B4-BE49-F238E27FC236}">
                <a16:creationId xmlns:a16="http://schemas.microsoft.com/office/drawing/2014/main" id="{4602B6A8-FAB7-4312-95B5-F0145FC54874}"/>
              </a:ext>
            </a:extLst>
          </p:cNvPr>
          <p:cNvSpPr txBox="1"/>
          <p:nvPr/>
        </p:nvSpPr>
        <p:spPr>
          <a:xfrm>
            <a:off x="585845" y="5873750"/>
            <a:ext cx="11011413" cy="822325"/>
          </a:xfrm>
          <a:prstGeom prst="rect">
            <a:avLst/>
          </a:prstGeom>
          <a:noFill/>
        </p:spPr>
        <p:txBody>
          <a:bodyPr wrap="square" lIns="0" tIns="0" rIns="0" bIns="0" rtlCol="0" anchor="t">
            <a:noAutofit/>
          </a:bodyPr>
          <a:lstStyle/>
          <a:p>
            <a:pPr>
              <a:lnSpc>
                <a:spcPct val="90000"/>
              </a:lnSpc>
            </a:pPr>
            <a:r>
              <a:rPr lang="en-US" sz="900" dirty="0"/>
              <a:t>Note: Chart shows the overall on-prem and WVD cost and associated cost savings for User Group 1 and 2 combined </a:t>
            </a:r>
          </a:p>
          <a:p>
            <a:pPr>
              <a:lnSpc>
                <a:spcPct val="90000"/>
              </a:lnSpc>
            </a:pPr>
            <a:r>
              <a:rPr lang="en-US" sz="900" dirty="0"/>
              <a:t>Note: Given on-prem costs are highly variable, Azure reserved instance cost is used as the proxy for average on-prem cost; on-prem cost is likely underestimated</a:t>
            </a:r>
          </a:p>
          <a:p>
            <a:pPr>
              <a:lnSpc>
                <a:spcPct val="90000"/>
              </a:lnSpc>
            </a:pPr>
            <a:r>
              <a:rPr lang="en-US" sz="900" dirty="0"/>
              <a:t>Note: Results generated by WVD Solution Configurator, an excel-based tool for sizing WVD opportunities; figures are rounded for simplicity</a:t>
            </a:r>
          </a:p>
          <a:p>
            <a:pPr>
              <a:lnSpc>
                <a:spcPct val="90000"/>
              </a:lnSpc>
            </a:pPr>
            <a:r>
              <a:rPr lang="en-US" sz="900" dirty="0"/>
              <a:t>1 – Savings for User Group 1; 2 – Savings for User Group 2</a:t>
            </a:r>
          </a:p>
          <a:p>
            <a:pPr>
              <a:lnSpc>
                <a:spcPct val="90000"/>
              </a:lnSpc>
            </a:pPr>
            <a:r>
              <a:rPr lang="en-US" sz="900" dirty="0"/>
              <a:t>*~70% Savings on infrastructure cost and ~60% on license cost, respectively; labor cost excluded</a:t>
            </a:r>
          </a:p>
          <a:p>
            <a:pPr>
              <a:lnSpc>
                <a:spcPct val="90000"/>
              </a:lnSpc>
            </a:pPr>
            <a:r>
              <a:rPr lang="en-US" sz="900" dirty="0"/>
              <a:t>**Many customers already own licenses that qualify them for WVD (e.g. Win10 E3/E5, M365 E3/E5, VDA) and incur no additional cost for WVD</a:t>
            </a:r>
          </a:p>
        </p:txBody>
      </p:sp>
      <p:grpSp>
        <p:nvGrpSpPr>
          <p:cNvPr id="54" name="Group 53">
            <a:extLst>
              <a:ext uri="{FF2B5EF4-FFF2-40B4-BE49-F238E27FC236}">
                <a16:creationId xmlns:a16="http://schemas.microsoft.com/office/drawing/2014/main" id="{6E3C5BF8-46C2-44FA-ACFB-7DCA594E09A1}"/>
              </a:ext>
            </a:extLst>
          </p:cNvPr>
          <p:cNvGrpSpPr/>
          <p:nvPr/>
        </p:nvGrpSpPr>
        <p:grpSpPr>
          <a:xfrm>
            <a:off x="10052458" y="146014"/>
            <a:ext cx="2033626" cy="1015650"/>
            <a:chOff x="10052458" y="146014"/>
            <a:chExt cx="2033626" cy="1015650"/>
          </a:xfrm>
        </p:grpSpPr>
        <p:pic>
          <p:nvPicPr>
            <p:cNvPr id="55" name="Picture 54">
              <a:extLst>
                <a:ext uri="{FF2B5EF4-FFF2-40B4-BE49-F238E27FC236}">
                  <a16:creationId xmlns:a16="http://schemas.microsoft.com/office/drawing/2014/main" id="{509E08E9-41C4-4697-8B0E-05E2EDA163E9}"/>
                </a:ext>
              </a:extLst>
            </p:cNvPr>
            <p:cNvPicPr>
              <a:picLocks noChangeAspect="1"/>
            </p:cNvPicPr>
            <p:nvPr/>
          </p:nvPicPr>
          <p:blipFill>
            <a:blip r:embed="rId40"/>
            <a:stretch>
              <a:fillRect/>
            </a:stretch>
          </p:blipFill>
          <p:spPr>
            <a:xfrm>
              <a:off x="10052458" y="146014"/>
              <a:ext cx="2033626" cy="1015650"/>
            </a:xfrm>
            <a:prstGeom prst="rect">
              <a:avLst/>
            </a:prstGeom>
          </p:spPr>
        </p:pic>
        <p:sp>
          <p:nvSpPr>
            <p:cNvPr id="56" name="Rectangle 55">
              <a:extLst>
                <a:ext uri="{FF2B5EF4-FFF2-40B4-BE49-F238E27FC236}">
                  <a16:creationId xmlns:a16="http://schemas.microsoft.com/office/drawing/2014/main" id="{711672CC-7765-4AED-AD20-75B842590C5C}"/>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1801241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4" name="think-cell Slide" r:id="rId8" imgW="425" imgH="424" progId="TCLayout.ActiveDocument.1">
                  <p:embed/>
                </p:oleObj>
              </mc:Choice>
              <mc:Fallback>
                <p:oleObj name="think-cell Slide" r:id="rId8"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508" name="Freeform 199">
            <a:extLst>
              <a:ext uri="{FF2B5EF4-FFF2-40B4-BE49-F238E27FC236}">
                <a16:creationId xmlns:a16="http://schemas.microsoft.com/office/drawing/2014/main" id="{8863B02C-643F-4ECA-AB98-D917CAB5CBC0}"/>
              </a:ext>
            </a:extLst>
          </p:cNvPr>
          <p:cNvSpPr/>
          <p:nvPr/>
        </p:nvSpPr>
        <p:spPr>
          <a:xfrm>
            <a:off x="767286" y="1245870"/>
            <a:ext cx="10657428" cy="10096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1440" tIns="45720" rIns="91440" bIns="73152" rtlCol="0" anchor="b">
            <a:noAutofit/>
          </a:bodyPr>
          <a:lstStyle/>
          <a:p>
            <a:pPr algn="ctr" defTabSz="932472" fontAlgn="base"/>
            <a:r>
              <a:rPr lang="en-IN" sz="2400" kern="0" dirty="0">
                <a:solidFill>
                  <a:schemeClr val="bg1">
                    <a:lumMod val="75000"/>
                  </a:schemeClr>
                </a:solidFill>
                <a:latin typeface="+mj-lt"/>
                <a:cs typeface="JF Flat" panose="02000500000000000000" pitchFamily="2" charset="-78"/>
              </a:rPr>
              <a:t>Windows Virtual Desktop</a:t>
            </a:r>
          </a:p>
        </p:txBody>
      </p:sp>
      <p:sp>
        <p:nvSpPr>
          <p:cNvPr id="509" name="Freeform 200">
            <a:extLst>
              <a:ext uri="{FF2B5EF4-FFF2-40B4-BE49-F238E27FC236}">
                <a16:creationId xmlns:a16="http://schemas.microsoft.com/office/drawing/2014/main" id="{2A158B3C-54A0-4B5F-832A-18FD086E3F15}"/>
              </a:ext>
            </a:extLst>
          </p:cNvPr>
          <p:cNvSpPr>
            <a:spLocks noChangeArrowheads="1"/>
          </p:cNvSpPr>
          <p:nvPr/>
        </p:nvSpPr>
        <p:spPr bwMode="auto">
          <a:xfrm>
            <a:off x="767285" y="6278383"/>
            <a:ext cx="10657430" cy="285930"/>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1440" tIns="45720" rIns="91440" bIns="4572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ctr" defTabSz="1088105" eaLnBrk="1" fontAlgn="auto" latinLnBrk="0" hangingPunct="1">
              <a:buClrTx/>
              <a:buSzTx/>
              <a:buFontTx/>
              <a:buNone/>
              <a:tabLst/>
              <a:defRPr/>
            </a:pPr>
            <a:endParaRPr kumimoji="0" lang="en-US" sz="1600" b="0" i="0" u="none" strike="noStrike" kern="0" cap="none" spc="0" normalizeH="0" baseline="0" noProof="0" dirty="0">
              <a:ln>
                <a:noFill/>
              </a:ln>
              <a:effectLst/>
              <a:uLnTx/>
              <a:uFillTx/>
              <a:latin typeface="+mn-lt"/>
              <a:cs typeface="JF Flat" panose="02000500000000000000" pitchFamily="2" charset="-78"/>
            </a:endParaRPr>
          </a:p>
        </p:txBody>
      </p:sp>
      <p:sp>
        <p:nvSpPr>
          <p:cNvPr id="510" name="Rectangle 509">
            <a:extLst>
              <a:ext uri="{FF2B5EF4-FFF2-40B4-BE49-F238E27FC236}">
                <a16:creationId xmlns:a16="http://schemas.microsoft.com/office/drawing/2014/main" id="{3DE86FB1-F4CE-4355-99E2-103B5CD6691C}"/>
              </a:ext>
            </a:extLst>
          </p:cNvPr>
          <p:cNvSpPr/>
          <p:nvPr/>
        </p:nvSpPr>
        <p:spPr bwMode="auto">
          <a:xfrm>
            <a:off x="4407444"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Enhanced Security</a:t>
            </a:r>
          </a:p>
        </p:txBody>
      </p:sp>
      <p:sp>
        <p:nvSpPr>
          <p:cNvPr id="511" name="Rectangle 510">
            <a:extLst>
              <a:ext uri="{FF2B5EF4-FFF2-40B4-BE49-F238E27FC236}">
                <a16:creationId xmlns:a16="http://schemas.microsoft.com/office/drawing/2014/main" id="{03C18892-44C4-45E9-A3AF-E7E433D7A11B}"/>
              </a:ext>
            </a:extLst>
          </p:cNvPr>
          <p:cNvSpPr/>
          <p:nvPr/>
        </p:nvSpPr>
        <p:spPr bwMode="auto">
          <a:xfrm>
            <a:off x="7839679"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implified Management</a:t>
            </a:r>
          </a:p>
        </p:txBody>
      </p:sp>
      <p:sp>
        <p:nvSpPr>
          <p:cNvPr id="513" name="Rectangle 512">
            <a:extLst>
              <a:ext uri="{FF2B5EF4-FFF2-40B4-BE49-F238E27FC236}">
                <a16:creationId xmlns:a16="http://schemas.microsoft.com/office/drawing/2014/main" id="{9CD8FF62-B0BC-4CD6-8CE6-A99298CD3C88}"/>
              </a:ext>
            </a:extLst>
          </p:cNvPr>
          <p:cNvSpPr/>
          <p:nvPr/>
        </p:nvSpPr>
        <p:spPr bwMode="auto">
          <a:xfrm>
            <a:off x="975207" y="3306886"/>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altLang="zh-CN" sz="1600" dirty="0">
                <a:solidFill>
                  <a:schemeClr val="bg1">
                    <a:lumMod val="75000"/>
                  </a:schemeClr>
                </a:solidFill>
                <a:latin typeface="+mj-lt"/>
                <a:cs typeface="Segoe UI" pitchFamily="34" charset="0"/>
              </a:rPr>
              <a:t>Azure</a:t>
            </a:r>
            <a:endParaRPr lang="en-US" sz="1600" dirty="0">
              <a:solidFill>
                <a:schemeClr val="bg1">
                  <a:lumMod val="75000"/>
                </a:schemeClr>
              </a:solidFill>
              <a:latin typeface="+mj-lt"/>
              <a:cs typeface="Segoe UI" pitchFamily="34" charset="0"/>
            </a:endParaRPr>
          </a:p>
        </p:txBody>
      </p:sp>
      <p:sp>
        <p:nvSpPr>
          <p:cNvPr id="514" name="Rectangle 513">
            <a:extLst>
              <a:ext uri="{FF2B5EF4-FFF2-40B4-BE49-F238E27FC236}">
                <a16:creationId xmlns:a16="http://schemas.microsoft.com/office/drawing/2014/main" id="{C6662EDD-A668-4B46-9837-874631DE6F9A}"/>
              </a:ext>
            </a:extLst>
          </p:cNvPr>
          <p:cNvSpPr/>
          <p:nvPr/>
        </p:nvSpPr>
        <p:spPr bwMode="auto">
          <a:xfrm>
            <a:off x="975208"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Best User Experience</a:t>
            </a:r>
          </a:p>
        </p:txBody>
      </p:sp>
      <p:sp>
        <p:nvSpPr>
          <p:cNvPr id="516" name="TextBox 515">
            <a:extLst>
              <a:ext uri="{FF2B5EF4-FFF2-40B4-BE49-F238E27FC236}">
                <a16:creationId xmlns:a16="http://schemas.microsoft.com/office/drawing/2014/main" id="{373F6DEA-8952-4E1E-A0B8-A33F740EB24D}"/>
              </a:ext>
            </a:extLst>
          </p:cNvPr>
          <p:cNvSpPr txBox="1"/>
          <p:nvPr/>
        </p:nvSpPr>
        <p:spPr>
          <a:xfrm>
            <a:off x="3178753" y="3619713"/>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Standardized, Global, &amp; Secure</a:t>
            </a:r>
          </a:p>
        </p:txBody>
      </p:sp>
      <p:grpSp>
        <p:nvGrpSpPr>
          <p:cNvPr id="519" name="Group 518">
            <a:extLst>
              <a:ext uri="{FF2B5EF4-FFF2-40B4-BE49-F238E27FC236}">
                <a16:creationId xmlns:a16="http://schemas.microsoft.com/office/drawing/2014/main" id="{FF5FAEC1-F499-4668-BDCD-60B88B19FA87}"/>
              </a:ext>
            </a:extLst>
          </p:cNvPr>
          <p:cNvGrpSpPr/>
          <p:nvPr/>
        </p:nvGrpSpPr>
        <p:grpSpPr>
          <a:xfrm>
            <a:off x="1119406" y="3662185"/>
            <a:ext cx="450579" cy="511733"/>
            <a:chOff x="2266365" y="4401648"/>
            <a:chExt cx="1241795" cy="1412971"/>
          </a:xfrm>
          <a:solidFill>
            <a:schemeClr val="bg1">
              <a:lumMod val="75000"/>
            </a:schemeClr>
          </a:solidFill>
        </p:grpSpPr>
        <p:sp>
          <p:nvSpPr>
            <p:cNvPr id="520" name="Oval 519">
              <a:extLst>
                <a:ext uri="{FF2B5EF4-FFF2-40B4-BE49-F238E27FC236}">
                  <a16:creationId xmlns:a16="http://schemas.microsoft.com/office/drawing/2014/main" id="{0ED5426C-BB16-4000-ADC3-8111D1AE4745}"/>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1" name="Oval 520">
              <a:extLst>
                <a:ext uri="{FF2B5EF4-FFF2-40B4-BE49-F238E27FC236}">
                  <a16:creationId xmlns:a16="http://schemas.microsoft.com/office/drawing/2014/main" id="{E3D5DE95-7813-4D30-88FB-2E22D5D71014}"/>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2" name="Freeform 297">
              <a:extLst>
                <a:ext uri="{FF2B5EF4-FFF2-40B4-BE49-F238E27FC236}">
                  <a16:creationId xmlns:a16="http://schemas.microsoft.com/office/drawing/2014/main" id="{0F6256E0-F87B-44A0-B078-F3670D2B1C22}"/>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3" name="Oval 522">
              <a:extLst>
                <a:ext uri="{FF2B5EF4-FFF2-40B4-BE49-F238E27FC236}">
                  <a16:creationId xmlns:a16="http://schemas.microsoft.com/office/drawing/2014/main" id="{6580EABB-4BF5-40F3-B26C-950B944AF05B}"/>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4" name="Oval 523">
              <a:extLst>
                <a:ext uri="{FF2B5EF4-FFF2-40B4-BE49-F238E27FC236}">
                  <a16:creationId xmlns:a16="http://schemas.microsoft.com/office/drawing/2014/main" id="{91486B62-97AF-499C-9108-F1861FF60A28}"/>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5" name="Oval 524">
              <a:extLst>
                <a:ext uri="{FF2B5EF4-FFF2-40B4-BE49-F238E27FC236}">
                  <a16:creationId xmlns:a16="http://schemas.microsoft.com/office/drawing/2014/main" id="{74758C7E-0D7D-423C-A549-012F359A29FB}"/>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526" name="Group 525">
              <a:extLst>
                <a:ext uri="{FF2B5EF4-FFF2-40B4-BE49-F238E27FC236}">
                  <a16:creationId xmlns:a16="http://schemas.microsoft.com/office/drawing/2014/main" id="{65DA6ED0-B683-4F01-A97A-00AFB72CEBB5}"/>
                </a:ext>
              </a:extLst>
            </p:cNvPr>
            <p:cNvGrpSpPr/>
            <p:nvPr/>
          </p:nvGrpSpPr>
          <p:grpSpPr>
            <a:xfrm>
              <a:off x="3014928" y="5033031"/>
              <a:ext cx="459519" cy="459064"/>
              <a:chOff x="3112464" y="5057415"/>
              <a:chExt cx="459519" cy="459064"/>
            </a:xfrm>
            <a:grpFill/>
          </p:grpSpPr>
          <p:sp>
            <p:nvSpPr>
              <p:cNvPr id="544" name="Oval 543">
                <a:extLst>
                  <a:ext uri="{FF2B5EF4-FFF2-40B4-BE49-F238E27FC236}">
                    <a16:creationId xmlns:a16="http://schemas.microsoft.com/office/drawing/2014/main" id="{C077E02E-6C50-497F-B69D-B06416B2AF71}"/>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5" name="Freeform 309">
                <a:extLst>
                  <a:ext uri="{FF2B5EF4-FFF2-40B4-BE49-F238E27FC236}">
                    <a16:creationId xmlns:a16="http://schemas.microsoft.com/office/drawing/2014/main" id="{DAB32301-121A-4740-BE53-AE51291EF22B}"/>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6" name="Freeform 310">
                <a:extLst>
                  <a:ext uri="{FF2B5EF4-FFF2-40B4-BE49-F238E27FC236}">
                    <a16:creationId xmlns:a16="http://schemas.microsoft.com/office/drawing/2014/main" id="{4620A227-9B27-4173-AB95-92D95F703423}"/>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7" name="Freeform 311">
                <a:extLst>
                  <a:ext uri="{FF2B5EF4-FFF2-40B4-BE49-F238E27FC236}">
                    <a16:creationId xmlns:a16="http://schemas.microsoft.com/office/drawing/2014/main" id="{CD4B97EF-1AF9-4217-9E14-FF683E72A618}"/>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8" name="Freeform 312">
                <a:extLst>
                  <a:ext uri="{FF2B5EF4-FFF2-40B4-BE49-F238E27FC236}">
                    <a16:creationId xmlns:a16="http://schemas.microsoft.com/office/drawing/2014/main" id="{F9F4B1C6-D1FD-4397-97D7-22A91B0B07FA}"/>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73" name="Rectangle 572">
                <a:extLst>
                  <a:ext uri="{FF2B5EF4-FFF2-40B4-BE49-F238E27FC236}">
                    <a16:creationId xmlns:a16="http://schemas.microsoft.com/office/drawing/2014/main" id="{C11BB333-795C-41D9-9FF4-BFD8BFA97F76}"/>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74" name="Rectangle 573">
                <a:extLst>
                  <a:ext uri="{FF2B5EF4-FFF2-40B4-BE49-F238E27FC236}">
                    <a16:creationId xmlns:a16="http://schemas.microsoft.com/office/drawing/2014/main" id="{8C40C3A1-DD7B-4479-8771-AC734E0B0C90}"/>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sp>
          <p:nvSpPr>
            <p:cNvPr id="527" name="Freeform 331">
              <a:extLst>
                <a:ext uri="{FF2B5EF4-FFF2-40B4-BE49-F238E27FC236}">
                  <a16:creationId xmlns:a16="http://schemas.microsoft.com/office/drawing/2014/main" id="{B3F1BCE7-C98B-4F30-926B-A1515F3002C5}"/>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8" name="Freeform 332">
              <a:extLst>
                <a:ext uri="{FF2B5EF4-FFF2-40B4-BE49-F238E27FC236}">
                  <a16:creationId xmlns:a16="http://schemas.microsoft.com/office/drawing/2014/main" id="{303C569D-6F13-42E0-A9F9-DCC9C7462F43}"/>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9" name="Rectangle 333">
              <a:extLst>
                <a:ext uri="{FF2B5EF4-FFF2-40B4-BE49-F238E27FC236}">
                  <a16:creationId xmlns:a16="http://schemas.microsoft.com/office/drawing/2014/main" id="{0B112918-2AB2-4A0A-8794-2A72C0BCA9D2}"/>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0" name="Rectangle 334">
              <a:extLst>
                <a:ext uri="{FF2B5EF4-FFF2-40B4-BE49-F238E27FC236}">
                  <a16:creationId xmlns:a16="http://schemas.microsoft.com/office/drawing/2014/main" id="{08173FD5-5161-47CB-8FF2-9A9EC90BBA2A}"/>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1" name="Rectangle 335">
              <a:extLst>
                <a:ext uri="{FF2B5EF4-FFF2-40B4-BE49-F238E27FC236}">
                  <a16:creationId xmlns:a16="http://schemas.microsoft.com/office/drawing/2014/main" id="{611FBB5A-6680-413A-B759-2E8C4FA2B5BA}"/>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2" name="Rectangle 336">
              <a:extLst>
                <a:ext uri="{FF2B5EF4-FFF2-40B4-BE49-F238E27FC236}">
                  <a16:creationId xmlns:a16="http://schemas.microsoft.com/office/drawing/2014/main" id="{5BF898DE-345F-4655-8F26-DA2AB7016CC6}"/>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3" name="Rectangle 337">
              <a:extLst>
                <a:ext uri="{FF2B5EF4-FFF2-40B4-BE49-F238E27FC236}">
                  <a16:creationId xmlns:a16="http://schemas.microsoft.com/office/drawing/2014/main" id="{72BC5702-CFC2-4213-A0CE-47C5A8388BD5}"/>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534" name="Group 533">
              <a:extLst>
                <a:ext uri="{FF2B5EF4-FFF2-40B4-BE49-F238E27FC236}">
                  <a16:creationId xmlns:a16="http://schemas.microsoft.com/office/drawing/2014/main" id="{1FDD6320-0714-45E1-928A-51FF2E7AC16B}"/>
                </a:ext>
              </a:extLst>
            </p:cNvPr>
            <p:cNvGrpSpPr/>
            <p:nvPr/>
          </p:nvGrpSpPr>
          <p:grpSpPr>
            <a:xfrm>
              <a:off x="3120879" y="4597927"/>
              <a:ext cx="384756" cy="384300"/>
              <a:chOff x="3571983" y="4744231"/>
              <a:chExt cx="384756" cy="384300"/>
            </a:xfrm>
            <a:grpFill/>
          </p:grpSpPr>
          <p:sp>
            <p:nvSpPr>
              <p:cNvPr id="541" name="Oval 540">
                <a:extLst>
                  <a:ext uri="{FF2B5EF4-FFF2-40B4-BE49-F238E27FC236}">
                    <a16:creationId xmlns:a16="http://schemas.microsoft.com/office/drawing/2014/main" id="{1985E80C-9FAA-4B66-9DC4-990DE61FA73D}"/>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2" name="Freeform 338">
                <a:extLst>
                  <a:ext uri="{FF2B5EF4-FFF2-40B4-BE49-F238E27FC236}">
                    <a16:creationId xmlns:a16="http://schemas.microsoft.com/office/drawing/2014/main" id="{24C3251F-91DE-47FD-B9DE-5B7B7FBCEBC3}"/>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3" name="Freeform 339">
                <a:extLst>
                  <a:ext uri="{FF2B5EF4-FFF2-40B4-BE49-F238E27FC236}">
                    <a16:creationId xmlns:a16="http://schemas.microsoft.com/office/drawing/2014/main" id="{BF7D65C8-35A4-454F-A9E7-66AB741DB3E5}"/>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535" name="Group 534">
              <a:extLst>
                <a:ext uri="{FF2B5EF4-FFF2-40B4-BE49-F238E27FC236}">
                  <a16:creationId xmlns:a16="http://schemas.microsoft.com/office/drawing/2014/main" id="{F2A7BBA8-3E38-496D-B4E9-515B05974F6C}"/>
                </a:ext>
              </a:extLst>
            </p:cNvPr>
            <p:cNvGrpSpPr/>
            <p:nvPr/>
          </p:nvGrpSpPr>
          <p:grpSpPr>
            <a:xfrm>
              <a:off x="2782979" y="4401648"/>
              <a:ext cx="277626" cy="278082"/>
              <a:chOff x="3843683" y="4426032"/>
              <a:chExt cx="277626" cy="278082"/>
            </a:xfrm>
            <a:grpFill/>
          </p:grpSpPr>
          <p:sp>
            <p:nvSpPr>
              <p:cNvPr id="536" name="Oval 535">
                <a:extLst>
                  <a:ext uri="{FF2B5EF4-FFF2-40B4-BE49-F238E27FC236}">
                    <a16:creationId xmlns:a16="http://schemas.microsoft.com/office/drawing/2014/main" id="{EA0C748F-0FF3-4A51-A623-97DD8E3389B1}"/>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7" name="Freeform 340">
                <a:extLst>
                  <a:ext uri="{FF2B5EF4-FFF2-40B4-BE49-F238E27FC236}">
                    <a16:creationId xmlns:a16="http://schemas.microsoft.com/office/drawing/2014/main" id="{1C9173B7-3BC5-4CF9-B704-ABE2B90B56AB}"/>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8" name="Freeform 341">
                <a:extLst>
                  <a:ext uri="{FF2B5EF4-FFF2-40B4-BE49-F238E27FC236}">
                    <a16:creationId xmlns:a16="http://schemas.microsoft.com/office/drawing/2014/main" id="{5C5E5CDD-D088-4CF5-8535-3E77EB1EEB88}"/>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9" name="Rectangle 342">
                <a:extLst>
                  <a:ext uri="{FF2B5EF4-FFF2-40B4-BE49-F238E27FC236}">
                    <a16:creationId xmlns:a16="http://schemas.microsoft.com/office/drawing/2014/main" id="{A9C95D3D-9945-4F0B-8F5F-013A97F641B4}"/>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0" name="Freeform 343">
                <a:extLst>
                  <a:ext uri="{FF2B5EF4-FFF2-40B4-BE49-F238E27FC236}">
                    <a16:creationId xmlns:a16="http://schemas.microsoft.com/office/drawing/2014/main" id="{90F58C74-BD0D-4E4F-AE85-AE518F6ECEEF}"/>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sp>
        <p:nvSpPr>
          <p:cNvPr id="512" name="Rectangle 511">
            <a:extLst>
              <a:ext uri="{FF2B5EF4-FFF2-40B4-BE49-F238E27FC236}">
                <a16:creationId xmlns:a16="http://schemas.microsoft.com/office/drawing/2014/main" id="{1CE60A56-4D73-43E0-A04A-B469D17A63A7}"/>
              </a:ext>
            </a:extLst>
          </p:cNvPr>
          <p:cNvSpPr/>
          <p:nvPr/>
        </p:nvSpPr>
        <p:spPr bwMode="auto">
          <a:xfrm>
            <a:off x="975207" y="4305498"/>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uperior Economics</a:t>
            </a:r>
          </a:p>
        </p:txBody>
      </p:sp>
      <p:sp>
        <p:nvSpPr>
          <p:cNvPr id="517" name="TextBox 516">
            <a:extLst>
              <a:ext uri="{FF2B5EF4-FFF2-40B4-BE49-F238E27FC236}">
                <a16:creationId xmlns:a16="http://schemas.microsoft.com/office/drawing/2014/main" id="{FE61164A-D8F3-4E10-9C12-B48A6A2CD77A}"/>
              </a:ext>
            </a:extLst>
          </p:cNvPr>
          <p:cNvSpPr txBox="1"/>
          <p:nvPr/>
        </p:nvSpPr>
        <p:spPr>
          <a:xfrm>
            <a:off x="3178753" y="4618325"/>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Cost effective, Flexible, &amp; Opex</a:t>
            </a:r>
          </a:p>
        </p:txBody>
      </p:sp>
      <p:grpSp>
        <p:nvGrpSpPr>
          <p:cNvPr id="576" name="Group 575">
            <a:extLst>
              <a:ext uri="{FF2B5EF4-FFF2-40B4-BE49-F238E27FC236}">
                <a16:creationId xmlns:a16="http://schemas.microsoft.com/office/drawing/2014/main" id="{22C8C7E5-A474-46CB-A64F-E5D6DCF58591}"/>
              </a:ext>
            </a:extLst>
          </p:cNvPr>
          <p:cNvGrpSpPr>
            <a:grpSpLocks noChangeAspect="1"/>
          </p:cNvGrpSpPr>
          <p:nvPr/>
        </p:nvGrpSpPr>
        <p:grpSpPr>
          <a:xfrm>
            <a:off x="1144771" y="4656918"/>
            <a:ext cx="626689" cy="492542"/>
            <a:chOff x="2008187" y="2241223"/>
            <a:chExt cx="1068391" cy="909679"/>
          </a:xfrm>
          <a:solidFill>
            <a:schemeClr val="bg1">
              <a:lumMod val="75000"/>
            </a:schemeClr>
          </a:solidFill>
        </p:grpSpPr>
        <p:grpSp>
          <p:nvGrpSpPr>
            <p:cNvPr id="577" name="Group 576">
              <a:extLst>
                <a:ext uri="{FF2B5EF4-FFF2-40B4-BE49-F238E27FC236}">
                  <a16:creationId xmlns:a16="http://schemas.microsoft.com/office/drawing/2014/main" id="{208BA6F6-5020-465B-938C-68979AADBC3C}"/>
                </a:ext>
              </a:extLst>
            </p:cNvPr>
            <p:cNvGrpSpPr/>
            <p:nvPr/>
          </p:nvGrpSpPr>
          <p:grpSpPr>
            <a:xfrm>
              <a:off x="2064334" y="2241223"/>
              <a:ext cx="1012244" cy="811309"/>
              <a:chOff x="-1341882" y="2279901"/>
              <a:chExt cx="1941919" cy="1556440"/>
            </a:xfrm>
            <a:grpFill/>
          </p:grpSpPr>
          <p:sp>
            <p:nvSpPr>
              <p:cNvPr id="580" name="Rectangle 70">
                <a:extLst>
                  <a:ext uri="{FF2B5EF4-FFF2-40B4-BE49-F238E27FC236}">
                    <a16:creationId xmlns:a16="http://schemas.microsoft.com/office/drawing/2014/main" id="{1F4AEB51-A652-45BD-A4A7-ACFDEBD223EB}"/>
                  </a:ext>
                </a:extLst>
              </p:cNvPr>
              <p:cNvSpPr>
                <a:spLocks noChangeArrowheads="1"/>
              </p:cNvSpPr>
              <p:nvPr/>
            </p:nvSpPr>
            <p:spPr bwMode="auto">
              <a:xfrm>
                <a:off x="-135529" y="2948792"/>
                <a:ext cx="175980" cy="88754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81" name="Rectangle 71">
                <a:extLst>
                  <a:ext uri="{FF2B5EF4-FFF2-40B4-BE49-F238E27FC236}">
                    <a16:creationId xmlns:a16="http://schemas.microsoft.com/office/drawing/2014/main" id="{2B6A2FE2-58C7-41B0-9FD3-303E7CD5F9C0}"/>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0" name="Freeform 72">
                <a:extLst>
                  <a:ext uri="{FF2B5EF4-FFF2-40B4-BE49-F238E27FC236}">
                    <a16:creationId xmlns:a16="http://schemas.microsoft.com/office/drawing/2014/main" id="{ADF75AA8-7C4E-4D8E-80C1-51773F21B0EF}"/>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1" name="Freeform 73">
                <a:extLst>
                  <a:ext uri="{FF2B5EF4-FFF2-40B4-BE49-F238E27FC236}">
                    <a16:creationId xmlns:a16="http://schemas.microsoft.com/office/drawing/2014/main" id="{82AE184C-AF76-44C4-AE99-9251BFFCA7DD}"/>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2" name="Freeform 74">
                <a:extLst>
                  <a:ext uri="{FF2B5EF4-FFF2-40B4-BE49-F238E27FC236}">
                    <a16:creationId xmlns:a16="http://schemas.microsoft.com/office/drawing/2014/main" id="{ECE014E8-6048-4B73-91C5-6F321E1FED70}"/>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3" name="Freeform 75">
                <a:extLst>
                  <a:ext uri="{FF2B5EF4-FFF2-40B4-BE49-F238E27FC236}">
                    <a16:creationId xmlns:a16="http://schemas.microsoft.com/office/drawing/2014/main" id="{993DF409-337A-4C56-A6B4-12EDC66593A3}"/>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4" name="Freeform 76">
                <a:extLst>
                  <a:ext uri="{FF2B5EF4-FFF2-40B4-BE49-F238E27FC236}">
                    <a16:creationId xmlns:a16="http://schemas.microsoft.com/office/drawing/2014/main" id="{C6C18B06-8BB5-457F-963F-2F16AB0B4EBA}"/>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5" name="Freeform 77">
                <a:extLst>
                  <a:ext uri="{FF2B5EF4-FFF2-40B4-BE49-F238E27FC236}">
                    <a16:creationId xmlns:a16="http://schemas.microsoft.com/office/drawing/2014/main" id="{0C9D872A-D46D-4045-A6A8-2BE75B90D442}"/>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6" name="Rectangle 78">
                <a:extLst>
                  <a:ext uri="{FF2B5EF4-FFF2-40B4-BE49-F238E27FC236}">
                    <a16:creationId xmlns:a16="http://schemas.microsoft.com/office/drawing/2014/main" id="{7FE3C688-C0F7-4959-A259-3A78F5EF1E81}"/>
                  </a:ext>
                </a:extLst>
              </p:cNvPr>
              <p:cNvSpPr>
                <a:spLocks noChangeArrowheads="1"/>
              </p:cNvSpPr>
              <p:nvPr/>
            </p:nvSpPr>
            <p:spPr bwMode="auto">
              <a:xfrm>
                <a:off x="-427553" y="3137524"/>
                <a:ext cx="175980" cy="69881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7" name="Rectangle 79">
                <a:extLst>
                  <a:ext uri="{FF2B5EF4-FFF2-40B4-BE49-F238E27FC236}">
                    <a16:creationId xmlns:a16="http://schemas.microsoft.com/office/drawing/2014/main" id="{8E6601D3-216E-430D-B6BA-F95ABD59A303}"/>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8" name="Freeform 80">
                <a:extLst>
                  <a:ext uri="{FF2B5EF4-FFF2-40B4-BE49-F238E27FC236}">
                    <a16:creationId xmlns:a16="http://schemas.microsoft.com/office/drawing/2014/main" id="{C939A713-E331-479F-9C2C-79320B53C643}"/>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9" name="Freeform 81">
                <a:extLst>
                  <a:ext uri="{FF2B5EF4-FFF2-40B4-BE49-F238E27FC236}">
                    <a16:creationId xmlns:a16="http://schemas.microsoft.com/office/drawing/2014/main" id="{2239698C-5B86-49F6-BFB8-9FF951E70C7E}"/>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30" name="Freeform 82">
                <a:extLst>
                  <a:ext uri="{FF2B5EF4-FFF2-40B4-BE49-F238E27FC236}">
                    <a16:creationId xmlns:a16="http://schemas.microsoft.com/office/drawing/2014/main" id="{1C63A1F1-B37B-4FE0-A8DF-A4314A36520F}"/>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31" name="Freeform 83">
                <a:extLst>
                  <a:ext uri="{FF2B5EF4-FFF2-40B4-BE49-F238E27FC236}">
                    <a16:creationId xmlns:a16="http://schemas.microsoft.com/office/drawing/2014/main" id="{8C918AD3-B8D1-44E3-8026-F8B1454F9BFD}"/>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32" name="Freeform 84">
                <a:extLst>
                  <a:ext uri="{FF2B5EF4-FFF2-40B4-BE49-F238E27FC236}">
                    <a16:creationId xmlns:a16="http://schemas.microsoft.com/office/drawing/2014/main" id="{18252E0E-DE65-4E8B-A7BD-CCEB3401AFFC}"/>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3" name="Freeform 85">
                <a:extLst>
                  <a:ext uri="{FF2B5EF4-FFF2-40B4-BE49-F238E27FC236}">
                    <a16:creationId xmlns:a16="http://schemas.microsoft.com/office/drawing/2014/main" id="{BA60C3AF-CB00-46FB-A027-872EEDBCB38D}"/>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4" name="Freeform 86">
                <a:extLst>
                  <a:ext uri="{FF2B5EF4-FFF2-40B4-BE49-F238E27FC236}">
                    <a16:creationId xmlns:a16="http://schemas.microsoft.com/office/drawing/2014/main" id="{1DB5D94F-BC9F-4354-8E86-26D3683C2A3B}"/>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5" name="Freeform 87">
                <a:extLst>
                  <a:ext uri="{FF2B5EF4-FFF2-40B4-BE49-F238E27FC236}">
                    <a16:creationId xmlns:a16="http://schemas.microsoft.com/office/drawing/2014/main" id="{B84E6CF8-C97D-4AD8-934E-DC30EA6933FD}"/>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6" name="Rectangle 88">
                <a:extLst>
                  <a:ext uri="{FF2B5EF4-FFF2-40B4-BE49-F238E27FC236}">
                    <a16:creationId xmlns:a16="http://schemas.microsoft.com/office/drawing/2014/main" id="{CD51D179-1364-40A2-9ECF-9690DA023830}"/>
                  </a:ext>
                </a:extLst>
              </p:cNvPr>
              <p:cNvSpPr>
                <a:spLocks noChangeArrowheads="1"/>
              </p:cNvSpPr>
              <p:nvPr/>
            </p:nvSpPr>
            <p:spPr bwMode="auto">
              <a:xfrm>
                <a:off x="-718302" y="3323704"/>
                <a:ext cx="174705" cy="51263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37" name="Rectangle 89">
                <a:extLst>
                  <a:ext uri="{FF2B5EF4-FFF2-40B4-BE49-F238E27FC236}">
                    <a16:creationId xmlns:a16="http://schemas.microsoft.com/office/drawing/2014/main" id="{EC5A07C8-99AC-4603-8637-379200CCEF72}"/>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8" name="Freeform 90">
                <a:extLst>
                  <a:ext uri="{FF2B5EF4-FFF2-40B4-BE49-F238E27FC236}">
                    <a16:creationId xmlns:a16="http://schemas.microsoft.com/office/drawing/2014/main" id="{29B97A52-2735-474C-9A1A-B53306F123F6}"/>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39" name="Freeform 91">
                <a:extLst>
                  <a:ext uri="{FF2B5EF4-FFF2-40B4-BE49-F238E27FC236}">
                    <a16:creationId xmlns:a16="http://schemas.microsoft.com/office/drawing/2014/main" id="{D6D0D9A7-573F-4E2F-B79C-726FE33654A8}"/>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40" name="Freeform 92">
                <a:extLst>
                  <a:ext uri="{FF2B5EF4-FFF2-40B4-BE49-F238E27FC236}">
                    <a16:creationId xmlns:a16="http://schemas.microsoft.com/office/drawing/2014/main" id="{43CBD007-03C5-445A-8A07-455851688531}"/>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41" name="Freeform 93">
                <a:extLst>
                  <a:ext uri="{FF2B5EF4-FFF2-40B4-BE49-F238E27FC236}">
                    <a16:creationId xmlns:a16="http://schemas.microsoft.com/office/drawing/2014/main" id="{F0EABCB6-12DD-454F-A4FA-1EB329E2806F}"/>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42" name="Freeform 94">
                <a:extLst>
                  <a:ext uri="{FF2B5EF4-FFF2-40B4-BE49-F238E27FC236}">
                    <a16:creationId xmlns:a16="http://schemas.microsoft.com/office/drawing/2014/main" id="{F1BD78D1-1CAD-46E4-A2DF-08446BEB2F1C}"/>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3" name="Freeform 95">
                <a:extLst>
                  <a:ext uri="{FF2B5EF4-FFF2-40B4-BE49-F238E27FC236}">
                    <a16:creationId xmlns:a16="http://schemas.microsoft.com/office/drawing/2014/main" id="{22BB8A0C-59C7-4A74-9668-F2B7B6825111}"/>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4" name="Freeform 96">
                <a:extLst>
                  <a:ext uri="{FF2B5EF4-FFF2-40B4-BE49-F238E27FC236}">
                    <a16:creationId xmlns:a16="http://schemas.microsoft.com/office/drawing/2014/main" id="{F6E9032F-989B-4CDD-8923-7D10EC8CE66F}"/>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5" name="Freeform 97">
                <a:extLst>
                  <a:ext uri="{FF2B5EF4-FFF2-40B4-BE49-F238E27FC236}">
                    <a16:creationId xmlns:a16="http://schemas.microsoft.com/office/drawing/2014/main" id="{D48378B4-5B26-41C5-8B49-32E472205024}"/>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6" name="Rectangle 98">
                <a:extLst>
                  <a:ext uri="{FF2B5EF4-FFF2-40B4-BE49-F238E27FC236}">
                    <a16:creationId xmlns:a16="http://schemas.microsoft.com/office/drawing/2014/main" id="{13C895FC-5C95-416E-908E-AE32772F5617}"/>
                  </a:ext>
                </a:extLst>
              </p:cNvPr>
              <p:cNvSpPr>
                <a:spLocks noChangeArrowheads="1"/>
              </p:cNvSpPr>
              <p:nvPr/>
            </p:nvSpPr>
            <p:spPr bwMode="auto">
              <a:xfrm>
                <a:off x="-1009051" y="3511161"/>
                <a:ext cx="174705" cy="32518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47" name="Rectangle 99">
                <a:extLst>
                  <a:ext uri="{FF2B5EF4-FFF2-40B4-BE49-F238E27FC236}">
                    <a16:creationId xmlns:a16="http://schemas.microsoft.com/office/drawing/2014/main" id="{A18A2DA7-5095-460F-824F-7A40AD0C30FA}"/>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8" name="Freeform 100">
                <a:extLst>
                  <a:ext uri="{FF2B5EF4-FFF2-40B4-BE49-F238E27FC236}">
                    <a16:creationId xmlns:a16="http://schemas.microsoft.com/office/drawing/2014/main" id="{1F336387-C3B9-4C07-98B0-83FB39E440C9}"/>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49" name="Freeform 101">
                <a:extLst>
                  <a:ext uri="{FF2B5EF4-FFF2-40B4-BE49-F238E27FC236}">
                    <a16:creationId xmlns:a16="http://schemas.microsoft.com/office/drawing/2014/main" id="{AA9D7AF9-37CC-4870-8B1D-46EFA7C53AEA}"/>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50" name="Freeform 102">
                <a:extLst>
                  <a:ext uri="{FF2B5EF4-FFF2-40B4-BE49-F238E27FC236}">
                    <a16:creationId xmlns:a16="http://schemas.microsoft.com/office/drawing/2014/main" id="{17930302-0720-49EF-987B-8C2DF210D52A}"/>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51" name="Freeform 103">
                <a:extLst>
                  <a:ext uri="{FF2B5EF4-FFF2-40B4-BE49-F238E27FC236}">
                    <a16:creationId xmlns:a16="http://schemas.microsoft.com/office/drawing/2014/main" id="{E4CBD4FF-5D58-48FD-8894-15DD1AF2650D}"/>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52" name="Freeform 104">
                <a:extLst>
                  <a:ext uri="{FF2B5EF4-FFF2-40B4-BE49-F238E27FC236}">
                    <a16:creationId xmlns:a16="http://schemas.microsoft.com/office/drawing/2014/main" id="{804769CD-9BD1-4CE8-BCE5-EF5ADFC3FDFC}"/>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3" name="Freeform 105">
                <a:extLst>
                  <a:ext uri="{FF2B5EF4-FFF2-40B4-BE49-F238E27FC236}">
                    <a16:creationId xmlns:a16="http://schemas.microsoft.com/office/drawing/2014/main" id="{035DE23F-AA68-4194-B19B-3B49647F7D4F}"/>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4" name="Freeform 106">
                <a:extLst>
                  <a:ext uri="{FF2B5EF4-FFF2-40B4-BE49-F238E27FC236}">
                    <a16:creationId xmlns:a16="http://schemas.microsoft.com/office/drawing/2014/main" id="{DEF4127C-D8C0-46BE-A368-5FA8AD144BE8}"/>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5" name="Freeform 107">
                <a:extLst>
                  <a:ext uri="{FF2B5EF4-FFF2-40B4-BE49-F238E27FC236}">
                    <a16:creationId xmlns:a16="http://schemas.microsoft.com/office/drawing/2014/main" id="{D7194198-CD24-4AE2-95DD-136B1C95C67E}"/>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6" name="Rectangle 108">
                <a:extLst>
                  <a:ext uri="{FF2B5EF4-FFF2-40B4-BE49-F238E27FC236}">
                    <a16:creationId xmlns:a16="http://schemas.microsoft.com/office/drawing/2014/main" id="{CCC967A6-8417-4D59-87DD-A42FB9D1E21E}"/>
                  </a:ext>
                </a:extLst>
              </p:cNvPr>
              <p:cNvSpPr>
                <a:spLocks noChangeArrowheads="1"/>
              </p:cNvSpPr>
              <p:nvPr/>
            </p:nvSpPr>
            <p:spPr bwMode="auto">
              <a:xfrm>
                <a:off x="-1301075" y="3638682"/>
                <a:ext cx="175980" cy="19765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57" name="Rectangle 109">
                <a:extLst>
                  <a:ext uri="{FF2B5EF4-FFF2-40B4-BE49-F238E27FC236}">
                    <a16:creationId xmlns:a16="http://schemas.microsoft.com/office/drawing/2014/main" id="{52FE1E93-6EBD-4E44-82FD-F7BC71052469}"/>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8" name="Freeform 110">
                <a:extLst>
                  <a:ext uri="{FF2B5EF4-FFF2-40B4-BE49-F238E27FC236}">
                    <a16:creationId xmlns:a16="http://schemas.microsoft.com/office/drawing/2014/main" id="{B5EC07B8-44F5-445C-BE7E-5F6277A4FE10}"/>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59" name="Freeform 111">
                <a:extLst>
                  <a:ext uri="{FF2B5EF4-FFF2-40B4-BE49-F238E27FC236}">
                    <a16:creationId xmlns:a16="http://schemas.microsoft.com/office/drawing/2014/main" id="{5235C2E1-58C5-42A8-AE36-A4BD07C1D301}"/>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60" name="Freeform 112">
                <a:extLst>
                  <a:ext uri="{FF2B5EF4-FFF2-40B4-BE49-F238E27FC236}">
                    <a16:creationId xmlns:a16="http://schemas.microsoft.com/office/drawing/2014/main" id="{E203E841-C053-4213-A505-0654104B8313}"/>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61" name="Freeform 113">
                <a:extLst>
                  <a:ext uri="{FF2B5EF4-FFF2-40B4-BE49-F238E27FC236}">
                    <a16:creationId xmlns:a16="http://schemas.microsoft.com/office/drawing/2014/main" id="{AF5E432D-5A03-4791-9251-631D0322AB1F}"/>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62" name="Freeform 114">
                <a:extLst>
                  <a:ext uri="{FF2B5EF4-FFF2-40B4-BE49-F238E27FC236}">
                    <a16:creationId xmlns:a16="http://schemas.microsoft.com/office/drawing/2014/main" id="{CC94F5DA-E97C-427E-B1E5-957C2D48D82D}"/>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63" name="Freeform 115">
                <a:extLst>
                  <a:ext uri="{FF2B5EF4-FFF2-40B4-BE49-F238E27FC236}">
                    <a16:creationId xmlns:a16="http://schemas.microsoft.com/office/drawing/2014/main" id="{B877E9B7-3D31-43E5-AF2E-CACB9DA94CF5}"/>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64" name="Freeform 116">
                <a:extLst>
                  <a:ext uri="{FF2B5EF4-FFF2-40B4-BE49-F238E27FC236}">
                    <a16:creationId xmlns:a16="http://schemas.microsoft.com/office/drawing/2014/main" id="{01C7108D-39C6-4F9A-8A66-11577DAE8805}"/>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65" name="Freeform 117">
                <a:extLst>
                  <a:ext uri="{FF2B5EF4-FFF2-40B4-BE49-F238E27FC236}">
                    <a16:creationId xmlns:a16="http://schemas.microsoft.com/office/drawing/2014/main" id="{AB750061-94F8-4793-93B2-C475975BD5D5}"/>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666" name="Group 665">
                <a:extLst>
                  <a:ext uri="{FF2B5EF4-FFF2-40B4-BE49-F238E27FC236}">
                    <a16:creationId xmlns:a16="http://schemas.microsoft.com/office/drawing/2014/main" id="{8C6CC1A6-1A01-4A7A-8E15-0D596D4E45F2}"/>
                  </a:ext>
                </a:extLst>
              </p:cNvPr>
              <p:cNvGrpSpPr/>
              <p:nvPr/>
            </p:nvGrpSpPr>
            <p:grpSpPr>
              <a:xfrm>
                <a:off x="-54543" y="2279901"/>
                <a:ext cx="654580" cy="588705"/>
                <a:chOff x="-54543" y="2279901"/>
                <a:chExt cx="654580" cy="588705"/>
              </a:xfrm>
              <a:grpFill/>
            </p:grpSpPr>
            <p:sp>
              <p:nvSpPr>
                <p:cNvPr id="675" name="Freeform 68">
                  <a:extLst>
                    <a:ext uri="{FF2B5EF4-FFF2-40B4-BE49-F238E27FC236}">
                      <a16:creationId xmlns:a16="http://schemas.microsoft.com/office/drawing/2014/main" id="{11B3CFF7-472B-433C-B4E8-DA833E82284A}"/>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76" name="Freeform 118">
                  <a:extLst>
                    <a:ext uri="{FF2B5EF4-FFF2-40B4-BE49-F238E27FC236}">
                      <a16:creationId xmlns:a16="http://schemas.microsoft.com/office/drawing/2014/main" id="{3E9DA0DA-B3CC-489D-9235-0BD64A4E5089}"/>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77" name="Freeform 119">
                  <a:extLst>
                    <a:ext uri="{FF2B5EF4-FFF2-40B4-BE49-F238E27FC236}">
                      <a16:creationId xmlns:a16="http://schemas.microsoft.com/office/drawing/2014/main" id="{C5D147C1-CB80-4A80-A90C-D4AD48A6BBC6}"/>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78" name="Freeform 120">
                  <a:extLst>
                    <a:ext uri="{FF2B5EF4-FFF2-40B4-BE49-F238E27FC236}">
                      <a16:creationId xmlns:a16="http://schemas.microsoft.com/office/drawing/2014/main" id="{152FC101-0E78-4BA8-8398-15A6FB5CD5B8}"/>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79" name="Freeform 121">
                  <a:extLst>
                    <a:ext uri="{FF2B5EF4-FFF2-40B4-BE49-F238E27FC236}">
                      <a16:creationId xmlns:a16="http://schemas.microsoft.com/office/drawing/2014/main" id="{4A3958D4-92F9-4731-BD43-21DFBD00663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0" name="Freeform 122">
                  <a:extLst>
                    <a:ext uri="{FF2B5EF4-FFF2-40B4-BE49-F238E27FC236}">
                      <a16:creationId xmlns:a16="http://schemas.microsoft.com/office/drawing/2014/main" id="{9831FDAA-6527-4A9E-B0A9-3587E20AC5B8}"/>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81" name="Freeform 124">
                  <a:extLst>
                    <a:ext uri="{FF2B5EF4-FFF2-40B4-BE49-F238E27FC236}">
                      <a16:creationId xmlns:a16="http://schemas.microsoft.com/office/drawing/2014/main" id="{15713FF8-699C-4824-9B6E-3C0AEC106EDC}"/>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2" name="Freeform 125">
                  <a:extLst>
                    <a:ext uri="{FF2B5EF4-FFF2-40B4-BE49-F238E27FC236}">
                      <a16:creationId xmlns:a16="http://schemas.microsoft.com/office/drawing/2014/main" id="{0383089E-7F52-46F9-97B9-BDB96AD7D299}"/>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3" name="Freeform 126">
                  <a:extLst>
                    <a:ext uri="{FF2B5EF4-FFF2-40B4-BE49-F238E27FC236}">
                      <a16:creationId xmlns:a16="http://schemas.microsoft.com/office/drawing/2014/main" id="{46961D19-5431-4581-B78F-BBB4CB3E4DF9}"/>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4" name="Freeform 127">
                  <a:extLst>
                    <a:ext uri="{FF2B5EF4-FFF2-40B4-BE49-F238E27FC236}">
                      <a16:creationId xmlns:a16="http://schemas.microsoft.com/office/drawing/2014/main" id="{D6D39FBF-BD7F-4021-92BC-81D8F2FBAB3E}"/>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5" name="Freeform 128">
                  <a:extLst>
                    <a:ext uri="{FF2B5EF4-FFF2-40B4-BE49-F238E27FC236}">
                      <a16:creationId xmlns:a16="http://schemas.microsoft.com/office/drawing/2014/main" id="{62F2C198-ABCF-43BD-97D8-2E9291902362}"/>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6" name="Freeform 129">
                  <a:extLst>
                    <a:ext uri="{FF2B5EF4-FFF2-40B4-BE49-F238E27FC236}">
                      <a16:creationId xmlns:a16="http://schemas.microsoft.com/office/drawing/2014/main" id="{F72A728E-8422-4FA9-BF0F-3E0DA03DD67B}"/>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87" name="Freeform 130">
                  <a:extLst>
                    <a:ext uri="{FF2B5EF4-FFF2-40B4-BE49-F238E27FC236}">
                      <a16:creationId xmlns:a16="http://schemas.microsoft.com/office/drawing/2014/main" id="{C454F476-0692-4089-811A-652D53A472C2}"/>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8" name="Freeform 131">
                  <a:extLst>
                    <a:ext uri="{FF2B5EF4-FFF2-40B4-BE49-F238E27FC236}">
                      <a16:creationId xmlns:a16="http://schemas.microsoft.com/office/drawing/2014/main" id="{18D6799A-D1D4-4C9F-8D65-259EC1FE1321}"/>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9" name="Freeform 132">
                  <a:extLst>
                    <a:ext uri="{FF2B5EF4-FFF2-40B4-BE49-F238E27FC236}">
                      <a16:creationId xmlns:a16="http://schemas.microsoft.com/office/drawing/2014/main" id="{D8CBA02D-029C-4953-A6B9-8DA6B0E4EFF9}"/>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0" name="Freeform 133">
                  <a:extLst>
                    <a:ext uri="{FF2B5EF4-FFF2-40B4-BE49-F238E27FC236}">
                      <a16:creationId xmlns:a16="http://schemas.microsoft.com/office/drawing/2014/main" id="{BAC1E612-D699-47F3-B75D-0D800116F743}"/>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667" name="Group 666">
                <a:extLst>
                  <a:ext uri="{FF2B5EF4-FFF2-40B4-BE49-F238E27FC236}">
                    <a16:creationId xmlns:a16="http://schemas.microsoft.com/office/drawing/2014/main" id="{3AD75CAA-58B4-4F76-B1E7-351C21E4FE86}"/>
                  </a:ext>
                </a:extLst>
              </p:cNvPr>
              <p:cNvGrpSpPr/>
              <p:nvPr/>
            </p:nvGrpSpPr>
            <p:grpSpPr>
              <a:xfrm>
                <a:off x="-108104" y="2554074"/>
                <a:ext cx="132971" cy="160137"/>
                <a:chOff x="7094929" y="5488305"/>
                <a:chExt cx="132971" cy="160137"/>
              </a:xfrm>
              <a:grpFill/>
            </p:grpSpPr>
            <p:sp>
              <p:nvSpPr>
                <p:cNvPr id="673" name="Freeform 66">
                  <a:extLst>
                    <a:ext uri="{FF2B5EF4-FFF2-40B4-BE49-F238E27FC236}">
                      <a16:creationId xmlns:a16="http://schemas.microsoft.com/office/drawing/2014/main" id="{DDE0E85B-1A72-4B51-8486-471E76575016}"/>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74" name="Freeform 127">
                  <a:extLst>
                    <a:ext uri="{FF2B5EF4-FFF2-40B4-BE49-F238E27FC236}">
                      <a16:creationId xmlns:a16="http://schemas.microsoft.com/office/drawing/2014/main" id="{410F85E5-57B7-43A8-9535-437654E3CF67}"/>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668" name="Freeform 127">
                <a:extLst>
                  <a:ext uri="{FF2B5EF4-FFF2-40B4-BE49-F238E27FC236}">
                    <a16:creationId xmlns:a16="http://schemas.microsoft.com/office/drawing/2014/main" id="{19293316-5646-4029-8ED3-0386A0C137DB}"/>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669" name="Freeform 127">
                <a:extLst>
                  <a:ext uri="{FF2B5EF4-FFF2-40B4-BE49-F238E27FC236}">
                    <a16:creationId xmlns:a16="http://schemas.microsoft.com/office/drawing/2014/main" id="{61306540-45CD-4C19-9A49-D1B339A684A8}"/>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670" name="Freeform 127">
                <a:extLst>
                  <a:ext uri="{FF2B5EF4-FFF2-40B4-BE49-F238E27FC236}">
                    <a16:creationId xmlns:a16="http://schemas.microsoft.com/office/drawing/2014/main" id="{F78F3E6B-7F35-46DB-82F2-C6731ADC6CF0}"/>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671" name="Freeform 127">
                <a:extLst>
                  <a:ext uri="{FF2B5EF4-FFF2-40B4-BE49-F238E27FC236}">
                    <a16:creationId xmlns:a16="http://schemas.microsoft.com/office/drawing/2014/main" id="{56A5F21B-2690-4A65-A4D6-0C2ECA4E0268}"/>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672" name="Freeform 127">
                <a:extLst>
                  <a:ext uri="{FF2B5EF4-FFF2-40B4-BE49-F238E27FC236}">
                    <a16:creationId xmlns:a16="http://schemas.microsoft.com/office/drawing/2014/main" id="{8B694DD0-6646-4973-8289-1040778E64AC}"/>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578" name="Rectangle 577">
              <a:extLst>
                <a:ext uri="{FF2B5EF4-FFF2-40B4-BE49-F238E27FC236}">
                  <a16:creationId xmlns:a16="http://schemas.microsoft.com/office/drawing/2014/main" id="{463AC613-555F-4605-B7E0-95C2E257DE6B}"/>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691" name="Group 690">
            <a:extLst>
              <a:ext uri="{FF2B5EF4-FFF2-40B4-BE49-F238E27FC236}">
                <a16:creationId xmlns:a16="http://schemas.microsoft.com/office/drawing/2014/main" id="{8FD80E46-7A6A-41C2-ACB0-93AA06B5FA3F}"/>
              </a:ext>
            </a:extLst>
          </p:cNvPr>
          <p:cNvGrpSpPr/>
          <p:nvPr/>
        </p:nvGrpSpPr>
        <p:grpSpPr>
          <a:xfrm>
            <a:off x="3124214" y="2758441"/>
            <a:ext cx="1120333" cy="385043"/>
            <a:chOff x="8598308" y="5131729"/>
            <a:chExt cx="2593567" cy="965651"/>
          </a:xfrm>
          <a:solidFill>
            <a:schemeClr val="bg1">
              <a:lumMod val="75000"/>
            </a:schemeClr>
          </a:solidFill>
        </p:grpSpPr>
        <p:grpSp>
          <p:nvGrpSpPr>
            <p:cNvPr id="692" name="Group 691">
              <a:extLst>
                <a:ext uri="{FF2B5EF4-FFF2-40B4-BE49-F238E27FC236}">
                  <a16:creationId xmlns:a16="http://schemas.microsoft.com/office/drawing/2014/main" id="{595D5C48-F7F7-4683-B517-51549C6FF247}"/>
                </a:ext>
              </a:extLst>
            </p:cNvPr>
            <p:cNvGrpSpPr>
              <a:grpSpLocks noChangeAspect="1"/>
            </p:cNvGrpSpPr>
            <p:nvPr/>
          </p:nvGrpSpPr>
          <p:grpSpPr>
            <a:xfrm>
              <a:off x="8706960" y="5131729"/>
              <a:ext cx="2361059" cy="927114"/>
              <a:chOff x="13708063" y="7653374"/>
              <a:chExt cx="17978438" cy="7059577"/>
            </a:xfrm>
            <a:grpFill/>
          </p:grpSpPr>
          <p:sp>
            <p:nvSpPr>
              <p:cNvPr id="694" name="Freeform 5">
                <a:extLst>
                  <a:ext uri="{FF2B5EF4-FFF2-40B4-BE49-F238E27FC236}">
                    <a16:creationId xmlns:a16="http://schemas.microsoft.com/office/drawing/2014/main" id="{F69FB241-9551-4455-86ED-DBBADD2436B2}"/>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5" name="Freeform 6">
                <a:extLst>
                  <a:ext uri="{FF2B5EF4-FFF2-40B4-BE49-F238E27FC236}">
                    <a16:creationId xmlns:a16="http://schemas.microsoft.com/office/drawing/2014/main" id="{7AC1779F-00AE-4479-A1EC-BE0968797DFB}"/>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6" name="Freeform 7">
                <a:extLst>
                  <a:ext uri="{FF2B5EF4-FFF2-40B4-BE49-F238E27FC236}">
                    <a16:creationId xmlns:a16="http://schemas.microsoft.com/office/drawing/2014/main" id="{D57AEBB5-5D8F-44BE-8ADB-275870498EE9}"/>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7" name="Freeform 8">
                <a:extLst>
                  <a:ext uri="{FF2B5EF4-FFF2-40B4-BE49-F238E27FC236}">
                    <a16:creationId xmlns:a16="http://schemas.microsoft.com/office/drawing/2014/main" id="{7153F4FD-8FDD-40B6-B622-18FE1B9AC525}"/>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8" name="Freeform 9">
                <a:extLst>
                  <a:ext uri="{FF2B5EF4-FFF2-40B4-BE49-F238E27FC236}">
                    <a16:creationId xmlns:a16="http://schemas.microsoft.com/office/drawing/2014/main" id="{D806FEA9-765E-44F2-9465-B816E0308582}"/>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9" name="Freeform 10">
                <a:extLst>
                  <a:ext uri="{FF2B5EF4-FFF2-40B4-BE49-F238E27FC236}">
                    <a16:creationId xmlns:a16="http://schemas.microsoft.com/office/drawing/2014/main" id="{96245EB2-CB42-4C37-A021-630B4580ADB1}"/>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0" name="Freeform 11">
                <a:extLst>
                  <a:ext uri="{FF2B5EF4-FFF2-40B4-BE49-F238E27FC236}">
                    <a16:creationId xmlns:a16="http://schemas.microsoft.com/office/drawing/2014/main" id="{25413BDC-7020-4261-8E73-D134EAB0514F}"/>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1" name="Freeform 12">
                <a:extLst>
                  <a:ext uri="{FF2B5EF4-FFF2-40B4-BE49-F238E27FC236}">
                    <a16:creationId xmlns:a16="http://schemas.microsoft.com/office/drawing/2014/main" id="{7621C748-4ECA-4196-A395-EF4F9803EC89}"/>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2" name="Freeform 13">
                <a:extLst>
                  <a:ext uri="{FF2B5EF4-FFF2-40B4-BE49-F238E27FC236}">
                    <a16:creationId xmlns:a16="http://schemas.microsoft.com/office/drawing/2014/main" id="{0BFF95E6-3DB7-48E3-8B32-63353C2EC284}"/>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3" name="Freeform 14">
                <a:extLst>
                  <a:ext uri="{FF2B5EF4-FFF2-40B4-BE49-F238E27FC236}">
                    <a16:creationId xmlns:a16="http://schemas.microsoft.com/office/drawing/2014/main" id="{AF30FCA8-A17C-47C3-9518-B4CD44CC0F7D}"/>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4" name="Freeform 15">
                <a:extLst>
                  <a:ext uri="{FF2B5EF4-FFF2-40B4-BE49-F238E27FC236}">
                    <a16:creationId xmlns:a16="http://schemas.microsoft.com/office/drawing/2014/main" id="{C9DD6DB8-1A6A-46AC-9C67-12AA5391BBB2}"/>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5" name="Freeform 16">
                <a:extLst>
                  <a:ext uri="{FF2B5EF4-FFF2-40B4-BE49-F238E27FC236}">
                    <a16:creationId xmlns:a16="http://schemas.microsoft.com/office/drawing/2014/main" id="{AAD17901-49AD-4813-B741-EF2CCEB9FCFC}"/>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6" name="Freeform 17">
                <a:extLst>
                  <a:ext uri="{FF2B5EF4-FFF2-40B4-BE49-F238E27FC236}">
                    <a16:creationId xmlns:a16="http://schemas.microsoft.com/office/drawing/2014/main" id="{424DCC40-C498-4B37-B787-31386AD2F3DD}"/>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7" name="Freeform 18">
                <a:extLst>
                  <a:ext uri="{FF2B5EF4-FFF2-40B4-BE49-F238E27FC236}">
                    <a16:creationId xmlns:a16="http://schemas.microsoft.com/office/drawing/2014/main" id="{3652D93A-142F-435C-8509-2B89D6EC8C84}"/>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8" name="Freeform 19">
                <a:extLst>
                  <a:ext uri="{FF2B5EF4-FFF2-40B4-BE49-F238E27FC236}">
                    <a16:creationId xmlns:a16="http://schemas.microsoft.com/office/drawing/2014/main" id="{B4D41D86-3F93-4716-B8C5-422EC4F2CE9F}"/>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9" name="Freeform 20">
                <a:extLst>
                  <a:ext uri="{FF2B5EF4-FFF2-40B4-BE49-F238E27FC236}">
                    <a16:creationId xmlns:a16="http://schemas.microsoft.com/office/drawing/2014/main" id="{79DF1A37-CD49-4110-B3AF-CAA708EF9333}"/>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0" name="Freeform 21">
                <a:extLst>
                  <a:ext uri="{FF2B5EF4-FFF2-40B4-BE49-F238E27FC236}">
                    <a16:creationId xmlns:a16="http://schemas.microsoft.com/office/drawing/2014/main" id="{F54F6EA1-8BFC-4422-B728-44AF64E72868}"/>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1" name="Freeform 22">
                <a:extLst>
                  <a:ext uri="{FF2B5EF4-FFF2-40B4-BE49-F238E27FC236}">
                    <a16:creationId xmlns:a16="http://schemas.microsoft.com/office/drawing/2014/main" id="{4652358E-7A41-46ED-9545-9CDE24CD5F20}"/>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2" name="Freeform 23">
                <a:extLst>
                  <a:ext uri="{FF2B5EF4-FFF2-40B4-BE49-F238E27FC236}">
                    <a16:creationId xmlns:a16="http://schemas.microsoft.com/office/drawing/2014/main" id="{0301EAE7-0D4F-4317-AD12-651F48DB31B5}"/>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3" name="Freeform 24">
                <a:extLst>
                  <a:ext uri="{FF2B5EF4-FFF2-40B4-BE49-F238E27FC236}">
                    <a16:creationId xmlns:a16="http://schemas.microsoft.com/office/drawing/2014/main" id="{DE807A57-6C7F-4BEA-A51B-4917C5E34A9D}"/>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4" name="Freeform 25">
                <a:extLst>
                  <a:ext uri="{FF2B5EF4-FFF2-40B4-BE49-F238E27FC236}">
                    <a16:creationId xmlns:a16="http://schemas.microsoft.com/office/drawing/2014/main" id="{FBEAFA67-DCD3-465B-B15B-FFE2A8EFB859}"/>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5" name="Freeform 26">
                <a:extLst>
                  <a:ext uri="{FF2B5EF4-FFF2-40B4-BE49-F238E27FC236}">
                    <a16:creationId xmlns:a16="http://schemas.microsoft.com/office/drawing/2014/main" id="{2395064D-3226-4C38-9E80-3A9FF580CC7C}"/>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2" name="Freeform 27">
                <a:extLst>
                  <a:ext uri="{FF2B5EF4-FFF2-40B4-BE49-F238E27FC236}">
                    <a16:creationId xmlns:a16="http://schemas.microsoft.com/office/drawing/2014/main" id="{C28DAC86-E013-4F36-9512-5538DC39FCBB}"/>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3" name="Freeform 28">
                <a:extLst>
                  <a:ext uri="{FF2B5EF4-FFF2-40B4-BE49-F238E27FC236}">
                    <a16:creationId xmlns:a16="http://schemas.microsoft.com/office/drawing/2014/main" id="{FDE651FF-E32F-4417-978D-E1B11E866BEA}"/>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4" name="Freeform 30">
                <a:extLst>
                  <a:ext uri="{FF2B5EF4-FFF2-40B4-BE49-F238E27FC236}">
                    <a16:creationId xmlns:a16="http://schemas.microsoft.com/office/drawing/2014/main" id="{A1D489B7-ECAD-40C5-B1A0-93793962AA7B}"/>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5" name="Freeform 31">
                <a:extLst>
                  <a:ext uri="{FF2B5EF4-FFF2-40B4-BE49-F238E27FC236}">
                    <a16:creationId xmlns:a16="http://schemas.microsoft.com/office/drawing/2014/main" id="{FA02EF08-88CD-449B-86C3-B3B097636C55}"/>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6" name="Freeform 32">
                <a:extLst>
                  <a:ext uri="{FF2B5EF4-FFF2-40B4-BE49-F238E27FC236}">
                    <a16:creationId xmlns:a16="http://schemas.microsoft.com/office/drawing/2014/main" id="{17323762-0095-47D1-A32B-B3AB052654A5}"/>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8" name="Freeform 33">
                <a:extLst>
                  <a:ext uri="{FF2B5EF4-FFF2-40B4-BE49-F238E27FC236}">
                    <a16:creationId xmlns:a16="http://schemas.microsoft.com/office/drawing/2014/main" id="{A3819EC1-4461-483A-B1C9-E86B64C982C3}"/>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9" name="Freeform 37">
                <a:extLst>
                  <a:ext uri="{FF2B5EF4-FFF2-40B4-BE49-F238E27FC236}">
                    <a16:creationId xmlns:a16="http://schemas.microsoft.com/office/drawing/2014/main" id="{53860761-F73C-405C-89DC-BAB617C092D2}"/>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0" name="Rectangle 38">
                <a:extLst>
                  <a:ext uri="{FF2B5EF4-FFF2-40B4-BE49-F238E27FC236}">
                    <a16:creationId xmlns:a16="http://schemas.microsoft.com/office/drawing/2014/main" id="{7B817E2C-7CCE-48F8-A429-9A5BFEA12CDF}"/>
                  </a:ext>
                </a:extLst>
              </p:cNvPr>
              <p:cNvSpPr>
                <a:spLocks noChangeArrowheads="1"/>
              </p:cNvSpPr>
              <p:nvPr/>
            </p:nvSpPr>
            <p:spPr bwMode="auto">
              <a:xfrm>
                <a:off x="17970018" y="7900981"/>
                <a:ext cx="4603121" cy="263207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1" name="Freeform 39">
                <a:extLst>
                  <a:ext uri="{FF2B5EF4-FFF2-40B4-BE49-F238E27FC236}">
                    <a16:creationId xmlns:a16="http://schemas.microsoft.com/office/drawing/2014/main" id="{AB9789FE-C562-46D8-A252-B1D3A1877A2E}"/>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2" name="Freeform 40">
                <a:extLst>
                  <a:ext uri="{FF2B5EF4-FFF2-40B4-BE49-F238E27FC236}">
                    <a16:creationId xmlns:a16="http://schemas.microsoft.com/office/drawing/2014/main" id="{B4837796-3198-48D3-A3DF-E547958C1D8A}"/>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3" name="Freeform 41">
                <a:extLst>
                  <a:ext uri="{FF2B5EF4-FFF2-40B4-BE49-F238E27FC236}">
                    <a16:creationId xmlns:a16="http://schemas.microsoft.com/office/drawing/2014/main" id="{8F63748D-6406-4E17-8307-4C11860D99DD}"/>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4" name="Rectangle 42">
                <a:extLst>
                  <a:ext uri="{FF2B5EF4-FFF2-40B4-BE49-F238E27FC236}">
                    <a16:creationId xmlns:a16="http://schemas.microsoft.com/office/drawing/2014/main" id="{500ECD15-5B39-46E3-B855-3CABAD675169}"/>
                  </a:ext>
                </a:extLst>
              </p:cNvPr>
              <p:cNvSpPr>
                <a:spLocks noChangeArrowheads="1"/>
              </p:cNvSpPr>
              <p:nvPr/>
            </p:nvSpPr>
            <p:spPr bwMode="auto">
              <a:xfrm>
                <a:off x="25590501" y="11085513"/>
                <a:ext cx="998538" cy="1984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5" name="Freeform 43">
                <a:extLst>
                  <a:ext uri="{FF2B5EF4-FFF2-40B4-BE49-F238E27FC236}">
                    <a16:creationId xmlns:a16="http://schemas.microsoft.com/office/drawing/2014/main" id="{1116CC0C-3CEB-4DF3-BF18-4723D1A3F6FC}"/>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6" name="Rectangle 44">
                <a:extLst>
                  <a:ext uri="{FF2B5EF4-FFF2-40B4-BE49-F238E27FC236}">
                    <a16:creationId xmlns:a16="http://schemas.microsoft.com/office/drawing/2014/main" id="{94996D76-262E-4D53-98F4-E55C9A13B893}"/>
                  </a:ext>
                </a:extLst>
              </p:cNvPr>
              <p:cNvSpPr>
                <a:spLocks noChangeArrowheads="1"/>
              </p:cNvSpPr>
              <p:nvPr/>
            </p:nvSpPr>
            <p:spPr bwMode="auto">
              <a:xfrm>
                <a:off x="28171776" y="12095163"/>
                <a:ext cx="968375" cy="2000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7" name="Freeform 45">
                <a:extLst>
                  <a:ext uri="{FF2B5EF4-FFF2-40B4-BE49-F238E27FC236}">
                    <a16:creationId xmlns:a16="http://schemas.microsoft.com/office/drawing/2014/main" id="{023A04B2-CA04-4373-AAB2-8D2E31F84258}"/>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8" name="Freeform 46">
                <a:extLst>
                  <a:ext uri="{FF2B5EF4-FFF2-40B4-BE49-F238E27FC236}">
                    <a16:creationId xmlns:a16="http://schemas.microsoft.com/office/drawing/2014/main" id="{1F0ECD15-4857-4916-A728-632C254C5502}"/>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9" name="Freeform 47">
                <a:extLst>
                  <a:ext uri="{FF2B5EF4-FFF2-40B4-BE49-F238E27FC236}">
                    <a16:creationId xmlns:a16="http://schemas.microsoft.com/office/drawing/2014/main" id="{6CA93BDB-B911-493E-A453-079F61F8AD4C}"/>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0" name="Freeform 48">
                <a:extLst>
                  <a:ext uri="{FF2B5EF4-FFF2-40B4-BE49-F238E27FC236}">
                    <a16:creationId xmlns:a16="http://schemas.microsoft.com/office/drawing/2014/main" id="{AE5CC154-7923-4BED-8F08-F96C9F11DB13}"/>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1" name="Freeform 49">
                <a:extLst>
                  <a:ext uri="{FF2B5EF4-FFF2-40B4-BE49-F238E27FC236}">
                    <a16:creationId xmlns:a16="http://schemas.microsoft.com/office/drawing/2014/main" id="{1B163EF8-9F37-4FEF-9D13-26974FECE212}"/>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2" name="Rectangle 50">
                <a:extLst>
                  <a:ext uri="{FF2B5EF4-FFF2-40B4-BE49-F238E27FC236}">
                    <a16:creationId xmlns:a16="http://schemas.microsoft.com/office/drawing/2014/main" id="{764D3639-6FA9-4B83-A0D2-6A469AEDEE00}"/>
                  </a:ext>
                </a:extLst>
              </p:cNvPr>
              <p:cNvSpPr>
                <a:spLocks noChangeArrowheads="1"/>
              </p:cNvSpPr>
              <p:nvPr/>
            </p:nvSpPr>
            <p:spPr bwMode="auto">
              <a:xfrm>
                <a:off x="27790339" y="9455158"/>
                <a:ext cx="2580131" cy="167481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3" name="Freeform 51">
                <a:extLst>
                  <a:ext uri="{FF2B5EF4-FFF2-40B4-BE49-F238E27FC236}">
                    <a16:creationId xmlns:a16="http://schemas.microsoft.com/office/drawing/2014/main" id="{586BE7A1-A165-4967-80D9-F7B9257EBCB6}"/>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4" name="Freeform 52">
                <a:extLst>
                  <a:ext uri="{FF2B5EF4-FFF2-40B4-BE49-F238E27FC236}">
                    <a16:creationId xmlns:a16="http://schemas.microsoft.com/office/drawing/2014/main" id="{9EF3E341-480A-4863-91B8-A03D90F97AA0}"/>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5" name="Freeform 53">
                <a:extLst>
                  <a:ext uri="{FF2B5EF4-FFF2-40B4-BE49-F238E27FC236}">
                    <a16:creationId xmlns:a16="http://schemas.microsoft.com/office/drawing/2014/main" id="{A33F71E9-B706-423E-9BC5-BBC9FC76D8D3}"/>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6" name="Freeform 54">
                <a:extLst>
                  <a:ext uri="{FF2B5EF4-FFF2-40B4-BE49-F238E27FC236}">
                    <a16:creationId xmlns:a16="http://schemas.microsoft.com/office/drawing/2014/main" id="{2D7D3034-62CB-4F70-A0CF-D2D6E08B6719}"/>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7" name="Freeform 55">
                <a:extLst>
                  <a:ext uri="{FF2B5EF4-FFF2-40B4-BE49-F238E27FC236}">
                    <a16:creationId xmlns:a16="http://schemas.microsoft.com/office/drawing/2014/main" id="{E338741B-4994-4A51-8B06-8FBBC02D8337}"/>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8" name="Freeform 56">
                <a:extLst>
                  <a:ext uri="{FF2B5EF4-FFF2-40B4-BE49-F238E27FC236}">
                    <a16:creationId xmlns:a16="http://schemas.microsoft.com/office/drawing/2014/main" id="{4B0F950E-F48D-4AE8-AE1D-2AD26F5D13F3}"/>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9" name="Freeform 57">
                <a:extLst>
                  <a:ext uri="{FF2B5EF4-FFF2-40B4-BE49-F238E27FC236}">
                    <a16:creationId xmlns:a16="http://schemas.microsoft.com/office/drawing/2014/main" id="{436C6564-EB78-4D4E-9A25-AD3B77116C47}"/>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0" name="Freeform 58">
                <a:extLst>
                  <a:ext uri="{FF2B5EF4-FFF2-40B4-BE49-F238E27FC236}">
                    <a16:creationId xmlns:a16="http://schemas.microsoft.com/office/drawing/2014/main" id="{56AF01DB-511B-4E9A-97D5-7426DCD3B068}"/>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1" name="Freeform 59">
                <a:extLst>
                  <a:ext uri="{FF2B5EF4-FFF2-40B4-BE49-F238E27FC236}">
                    <a16:creationId xmlns:a16="http://schemas.microsoft.com/office/drawing/2014/main" id="{8C72999A-55CA-425F-907B-E13FF904BB8A}"/>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2" name="Freeform 60">
                <a:extLst>
                  <a:ext uri="{FF2B5EF4-FFF2-40B4-BE49-F238E27FC236}">
                    <a16:creationId xmlns:a16="http://schemas.microsoft.com/office/drawing/2014/main" id="{DBBA8318-4D94-4A09-B891-0861E2E5CD7A}"/>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3" name="Freeform 61">
                <a:extLst>
                  <a:ext uri="{FF2B5EF4-FFF2-40B4-BE49-F238E27FC236}">
                    <a16:creationId xmlns:a16="http://schemas.microsoft.com/office/drawing/2014/main" id="{327E5003-B78A-43EE-958B-BF59D0173873}"/>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4" name="Freeform 62">
                <a:extLst>
                  <a:ext uri="{FF2B5EF4-FFF2-40B4-BE49-F238E27FC236}">
                    <a16:creationId xmlns:a16="http://schemas.microsoft.com/office/drawing/2014/main" id="{28E0DE73-C33F-4907-B669-4626BACED86F}"/>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5" name="Freeform 63">
                <a:extLst>
                  <a:ext uri="{FF2B5EF4-FFF2-40B4-BE49-F238E27FC236}">
                    <a16:creationId xmlns:a16="http://schemas.microsoft.com/office/drawing/2014/main" id="{7DE598CD-C8C0-47B1-9A5F-D5034A3796E7}"/>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6" name="Freeform 64">
                <a:extLst>
                  <a:ext uri="{FF2B5EF4-FFF2-40B4-BE49-F238E27FC236}">
                    <a16:creationId xmlns:a16="http://schemas.microsoft.com/office/drawing/2014/main" id="{B1B5A3DC-34A2-4FAF-B80C-1FAD4589799F}"/>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7" name="Freeform 65">
                <a:extLst>
                  <a:ext uri="{FF2B5EF4-FFF2-40B4-BE49-F238E27FC236}">
                    <a16:creationId xmlns:a16="http://schemas.microsoft.com/office/drawing/2014/main" id="{E8AC9264-574D-4266-A824-208116DC1052}"/>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8" name="Freeform 66">
                <a:extLst>
                  <a:ext uri="{FF2B5EF4-FFF2-40B4-BE49-F238E27FC236}">
                    <a16:creationId xmlns:a16="http://schemas.microsoft.com/office/drawing/2014/main" id="{9BADE561-7EF0-45E1-9505-21E138398C7F}"/>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9" name="Freeform 67">
                <a:extLst>
                  <a:ext uri="{FF2B5EF4-FFF2-40B4-BE49-F238E27FC236}">
                    <a16:creationId xmlns:a16="http://schemas.microsoft.com/office/drawing/2014/main" id="{7FA0DD96-AD3C-4943-8C35-FBCE27A6D620}"/>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0" name="Freeform 68">
                <a:extLst>
                  <a:ext uri="{FF2B5EF4-FFF2-40B4-BE49-F238E27FC236}">
                    <a16:creationId xmlns:a16="http://schemas.microsoft.com/office/drawing/2014/main" id="{F100E23E-0637-4EB6-92CE-D1C8ADF17878}"/>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1" name="Freeform 69">
                <a:extLst>
                  <a:ext uri="{FF2B5EF4-FFF2-40B4-BE49-F238E27FC236}">
                    <a16:creationId xmlns:a16="http://schemas.microsoft.com/office/drawing/2014/main" id="{709CA156-C671-487D-9F82-69E4820BEF76}"/>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2" name="Freeform 70">
                <a:extLst>
                  <a:ext uri="{FF2B5EF4-FFF2-40B4-BE49-F238E27FC236}">
                    <a16:creationId xmlns:a16="http://schemas.microsoft.com/office/drawing/2014/main" id="{A072A368-49DE-43D4-B848-40E35FE4133C}"/>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3" name="Freeform 71">
                <a:extLst>
                  <a:ext uri="{FF2B5EF4-FFF2-40B4-BE49-F238E27FC236}">
                    <a16:creationId xmlns:a16="http://schemas.microsoft.com/office/drawing/2014/main" id="{4BCF6E09-E5F3-4836-A621-C33A19E190C9}"/>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4" name="Freeform 72">
                <a:extLst>
                  <a:ext uri="{FF2B5EF4-FFF2-40B4-BE49-F238E27FC236}">
                    <a16:creationId xmlns:a16="http://schemas.microsoft.com/office/drawing/2014/main" id="{352C5C58-3C95-48C4-86C6-0485948E6A38}"/>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5" name="Freeform 73">
                <a:extLst>
                  <a:ext uri="{FF2B5EF4-FFF2-40B4-BE49-F238E27FC236}">
                    <a16:creationId xmlns:a16="http://schemas.microsoft.com/office/drawing/2014/main" id="{841FDB0E-09BB-4A93-BC60-394EFE86EEB5}"/>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6" name="Freeform 74">
                <a:extLst>
                  <a:ext uri="{FF2B5EF4-FFF2-40B4-BE49-F238E27FC236}">
                    <a16:creationId xmlns:a16="http://schemas.microsoft.com/office/drawing/2014/main" id="{01ED9E9C-07B5-47E1-81F1-BA5B6FAA9777}"/>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7" name="Freeform 75">
                <a:extLst>
                  <a:ext uri="{FF2B5EF4-FFF2-40B4-BE49-F238E27FC236}">
                    <a16:creationId xmlns:a16="http://schemas.microsoft.com/office/drawing/2014/main" id="{260E1E34-18E7-42B4-9C61-4DE08652AAB6}"/>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8" name="Freeform 76">
                <a:extLst>
                  <a:ext uri="{FF2B5EF4-FFF2-40B4-BE49-F238E27FC236}">
                    <a16:creationId xmlns:a16="http://schemas.microsoft.com/office/drawing/2014/main" id="{E614F11F-3A64-4617-ACDF-BAD9A00E8A74}"/>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9" name="Freeform 77">
                <a:extLst>
                  <a:ext uri="{FF2B5EF4-FFF2-40B4-BE49-F238E27FC236}">
                    <a16:creationId xmlns:a16="http://schemas.microsoft.com/office/drawing/2014/main" id="{6C7F38DF-3133-4FD4-B6EF-BEE1C72C6B38}"/>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0" name="Freeform 78">
                <a:extLst>
                  <a:ext uri="{FF2B5EF4-FFF2-40B4-BE49-F238E27FC236}">
                    <a16:creationId xmlns:a16="http://schemas.microsoft.com/office/drawing/2014/main" id="{130BB873-5A8E-41CA-992A-913450AB3A75}"/>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1" name="Freeform 79">
                <a:extLst>
                  <a:ext uri="{FF2B5EF4-FFF2-40B4-BE49-F238E27FC236}">
                    <a16:creationId xmlns:a16="http://schemas.microsoft.com/office/drawing/2014/main" id="{DE39946E-95E7-4D8A-9C1E-35DA1258EA69}"/>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2" name="Freeform 80">
                <a:extLst>
                  <a:ext uri="{FF2B5EF4-FFF2-40B4-BE49-F238E27FC236}">
                    <a16:creationId xmlns:a16="http://schemas.microsoft.com/office/drawing/2014/main" id="{C02FFB98-2CC2-4BF2-A74C-28FF58D7778A}"/>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3" name="Freeform 81">
                <a:extLst>
                  <a:ext uri="{FF2B5EF4-FFF2-40B4-BE49-F238E27FC236}">
                    <a16:creationId xmlns:a16="http://schemas.microsoft.com/office/drawing/2014/main" id="{81FB8D20-7352-4368-B6D9-97779FC77770}"/>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693" name="Rectangle 692">
              <a:extLst>
                <a:ext uri="{FF2B5EF4-FFF2-40B4-BE49-F238E27FC236}">
                  <a16:creationId xmlns:a16="http://schemas.microsoft.com/office/drawing/2014/main" id="{47E7142E-E3C9-4C89-9D2E-0240F2138E88}"/>
                </a:ext>
              </a:extLst>
            </p:cNvPr>
            <p:cNvSpPr/>
            <p:nvPr/>
          </p:nvSpPr>
          <p:spPr bwMode="auto">
            <a:xfrm>
              <a:off x="8598308" y="6051661"/>
              <a:ext cx="259356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918" name="Group 917">
            <a:extLst>
              <a:ext uri="{FF2B5EF4-FFF2-40B4-BE49-F238E27FC236}">
                <a16:creationId xmlns:a16="http://schemas.microsoft.com/office/drawing/2014/main" id="{51D99313-95F3-4373-8F28-264E67444FA3}"/>
              </a:ext>
            </a:extLst>
          </p:cNvPr>
          <p:cNvGrpSpPr>
            <a:grpSpLocks noChangeAspect="1"/>
          </p:cNvGrpSpPr>
          <p:nvPr/>
        </p:nvGrpSpPr>
        <p:grpSpPr>
          <a:xfrm>
            <a:off x="6697244" y="2633218"/>
            <a:ext cx="943275" cy="575451"/>
            <a:chOff x="880735" y="570156"/>
            <a:chExt cx="9823008" cy="5992590"/>
          </a:xfrm>
        </p:grpSpPr>
        <p:grpSp>
          <p:nvGrpSpPr>
            <p:cNvPr id="919" name="Group 918">
              <a:extLst>
                <a:ext uri="{FF2B5EF4-FFF2-40B4-BE49-F238E27FC236}">
                  <a16:creationId xmlns:a16="http://schemas.microsoft.com/office/drawing/2014/main" id="{5BAB8573-3CB7-44CF-893C-10CB660C2F48}"/>
                </a:ext>
              </a:extLst>
            </p:cNvPr>
            <p:cNvGrpSpPr/>
            <p:nvPr/>
          </p:nvGrpSpPr>
          <p:grpSpPr>
            <a:xfrm>
              <a:off x="880735" y="570156"/>
              <a:ext cx="9823008" cy="5216554"/>
              <a:chOff x="880735" y="570156"/>
              <a:chExt cx="9823008" cy="5216554"/>
            </a:xfrm>
          </p:grpSpPr>
          <p:grpSp>
            <p:nvGrpSpPr>
              <p:cNvPr id="924" name="Group 923">
                <a:extLst>
                  <a:ext uri="{FF2B5EF4-FFF2-40B4-BE49-F238E27FC236}">
                    <a16:creationId xmlns:a16="http://schemas.microsoft.com/office/drawing/2014/main" id="{684CDE0D-A78E-4A63-8CE2-031F05187A91}"/>
                  </a:ext>
                </a:extLst>
              </p:cNvPr>
              <p:cNvGrpSpPr/>
              <p:nvPr/>
            </p:nvGrpSpPr>
            <p:grpSpPr>
              <a:xfrm>
                <a:off x="1860203" y="570156"/>
                <a:ext cx="3248557" cy="3248553"/>
                <a:chOff x="3695059" y="2057989"/>
                <a:chExt cx="825500" cy="825500"/>
              </a:xfrm>
            </p:grpSpPr>
            <p:sp>
              <p:nvSpPr>
                <p:cNvPr id="1005" name="Oval 1004">
                  <a:extLst>
                    <a:ext uri="{FF2B5EF4-FFF2-40B4-BE49-F238E27FC236}">
                      <a16:creationId xmlns:a16="http://schemas.microsoft.com/office/drawing/2014/main" id="{54B889BC-6F08-41D6-935F-57DA70882343}"/>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32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06" name="Freeform 82">
                  <a:extLst>
                    <a:ext uri="{FF2B5EF4-FFF2-40B4-BE49-F238E27FC236}">
                      <a16:creationId xmlns:a16="http://schemas.microsoft.com/office/drawing/2014/main" id="{BE302FD4-311E-402D-BEEF-34F22FB84097}"/>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sp>
            <p:nvSpPr>
              <p:cNvPr id="925" name="Rectangle 924">
                <a:extLst>
                  <a:ext uri="{FF2B5EF4-FFF2-40B4-BE49-F238E27FC236}">
                    <a16:creationId xmlns:a16="http://schemas.microsoft.com/office/drawing/2014/main" id="{BBA06594-933D-44D3-9429-12AEDFDDBAE9}"/>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26" name="Rectangle 925">
                <a:extLst>
                  <a:ext uri="{FF2B5EF4-FFF2-40B4-BE49-F238E27FC236}">
                    <a16:creationId xmlns:a16="http://schemas.microsoft.com/office/drawing/2014/main" id="{47767069-E839-4243-BC9A-3D2815FB6922}"/>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27" name="Freeform 7">
                <a:extLst>
                  <a:ext uri="{FF2B5EF4-FFF2-40B4-BE49-F238E27FC236}">
                    <a16:creationId xmlns:a16="http://schemas.microsoft.com/office/drawing/2014/main" id="{999B1B07-17B2-4C10-9823-D62DE69D5A48}"/>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28" name="Freeform 8">
                <a:extLst>
                  <a:ext uri="{FF2B5EF4-FFF2-40B4-BE49-F238E27FC236}">
                    <a16:creationId xmlns:a16="http://schemas.microsoft.com/office/drawing/2014/main" id="{84363F92-D763-41C5-AF16-F4CA8BF11E47}"/>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29" name="Rectangle 928">
                <a:extLst>
                  <a:ext uri="{FF2B5EF4-FFF2-40B4-BE49-F238E27FC236}">
                    <a16:creationId xmlns:a16="http://schemas.microsoft.com/office/drawing/2014/main" id="{929A8852-E6B4-4E5B-9B4F-1E2E34716615}"/>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0" name="Rectangle 929">
                <a:extLst>
                  <a:ext uri="{FF2B5EF4-FFF2-40B4-BE49-F238E27FC236}">
                    <a16:creationId xmlns:a16="http://schemas.microsoft.com/office/drawing/2014/main" id="{DC623EBD-BEE3-4B61-9851-021A498ECDB9}"/>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1" name="Rectangle 930">
                <a:extLst>
                  <a:ext uri="{FF2B5EF4-FFF2-40B4-BE49-F238E27FC236}">
                    <a16:creationId xmlns:a16="http://schemas.microsoft.com/office/drawing/2014/main" id="{5CF4EB43-DB5F-44A7-A8CC-593F018DB06B}"/>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2" name="Rectangle 931">
                <a:extLst>
                  <a:ext uri="{FF2B5EF4-FFF2-40B4-BE49-F238E27FC236}">
                    <a16:creationId xmlns:a16="http://schemas.microsoft.com/office/drawing/2014/main" id="{392865CE-5B09-4F61-95C6-EDDA1619AB1C}"/>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3" name="Rectangle 932">
                <a:extLst>
                  <a:ext uri="{FF2B5EF4-FFF2-40B4-BE49-F238E27FC236}">
                    <a16:creationId xmlns:a16="http://schemas.microsoft.com/office/drawing/2014/main" id="{BC29783D-1410-43A7-AA6C-DC5A13482379}"/>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4" name="Rectangle 933">
                <a:extLst>
                  <a:ext uri="{FF2B5EF4-FFF2-40B4-BE49-F238E27FC236}">
                    <a16:creationId xmlns:a16="http://schemas.microsoft.com/office/drawing/2014/main" id="{22BBDB14-27B5-4DF4-8ABA-867BDB35E446}"/>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5" name="Rectangle 934">
                <a:extLst>
                  <a:ext uri="{FF2B5EF4-FFF2-40B4-BE49-F238E27FC236}">
                    <a16:creationId xmlns:a16="http://schemas.microsoft.com/office/drawing/2014/main" id="{D902C354-351A-492E-8AC7-EB55401C86FC}"/>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6" name="Rectangle 935">
                <a:extLst>
                  <a:ext uri="{FF2B5EF4-FFF2-40B4-BE49-F238E27FC236}">
                    <a16:creationId xmlns:a16="http://schemas.microsoft.com/office/drawing/2014/main" id="{E46D4793-A514-4381-8EE6-7A12052A8BA4}"/>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7" name="Rectangle 936">
                <a:extLst>
                  <a:ext uri="{FF2B5EF4-FFF2-40B4-BE49-F238E27FC236}">
                    <a16:creationId xmlns:a16="http://schemas.microsoft.com/office/drawing/2014/main" id="{52EB476B-0B37-4AE6-9F38-0C74E68C62E8}"/>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8" name="Rectangle 937">
                <a:extLst>
                  <a:ext uri="{FF2B5EF4-FFF2-40B4-BE49-F238E27FC236}">
                    <a16:creationId xmlns:a16="http://schemas.microsoft.com/office/drawing/2014/main" id="{9AA29B83-80AD-445E-A697-D5AC059F9EB9}"/>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9" name="Freeform 19">
                <a:extLst>
                  <a:ext uri="{FF2B5EF4-FFF2-40B4-BE49-F238E27FC236}">
                    <a16:creationId xmlns:a16="http://schemas.microsoft.com/office/drawing/2014/main" id="{76E92872-A692-4082-9D52-CE6E0F5C4A1A}"/>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0" name="Freeform 20">
                <a:extLst>
                  <a:ext uri="{FF2B5EF4-FFF2-40B4-BE49-F238E27FC236}">
                    <a16:creationId xmlns:a16="http://schemas.microsoft.com/office/drawing/2014/main" id="{BDB9F2C6-B6C2-4C63-B2CC-7E0DEF7381DC}"/>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1" name="Freeform 21">
                <a:extLst>
                  <a:ext uri="{FF2B5EF4-FFF2-40B4-BE49-F238E27FC236}">
                    <a16:creationId xmlns:a16="http://schemas.microsoft.com/office/drawing/2014/main" id="{9D051112-5707-4052-A781-D9D9E4E98F6F}"/>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2" name="Rectangle 941">
                <a:extLst>
                  <a:ext uri="{FF2B5EF4-FFF2-40B4-BE49-F238E27FC236}">
                    <a16:creationId xmlns:a16="http://schemas.microsoft.com/office/drawing/2014/main" id="{BD4DE88D-1312-4B02-8441-14369069FC6F}"/>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3" name="Rectangle 942">
                <a:extLst>
                  <a:ext uri="{FF2B5EF4-FFF2-40B4-BE49-F238E27FC236}">
                    <a16:creationId xmlns:a16="http://schemas.microsoft.com/office/drawing/2014/main" id="{A65AC8EC-BA09-45A9-9967-581C2F7BD6A7}"/>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4" name="Rectangle 943">
                <a:extLst>
                  <a:ext uri="{FF2B5EF4-FFF2-40B4-BE49-F238E27FC236}">
                    <a16:creationId xmlns:a16="http://schemas.microsoft.com/office/drawing/2014/main" id="{3DF6F483-9679-4CC3-A78C-DB107A12932E}"/>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5" name="Rectangle 944">
                <a:extLst>
                  <a:ext uri="{FF2B5EF4-FFF2-40B4-BE49-F238E27FC236}">
                    <a16:creationId xmlns:a16="http://schemas.microsoft.com/office/drawing/2014/main" id="{786179DB-3321-4C6C-BF65-339825429876}"/>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6" name="Rectangle 945">
                <a:extLst>
                  <a:ext uri="{FF2B5EF4-FFF2-40B4-BE49-F238E27FC236}">
                    <a16:creationId xmlns:a16="http://schemas.microsoft.com/office/drawing/2014/main" id="{3F580559-03DE-47E6-A7E7-59F7DEDF3FF7}"/>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7" name="Rectangle 946">
                <a:extLst>
                  <a:ext uri="{FF2B5EF4-FFF2-40B4-BE49-F238E27FC236}">
                    <a16:creationId xmlns:a16="http://schemas.microsoft.com/office/drawing/2014/main" id="{F3FA1A5F-CD75-4032-86F6-66904AEEAF02}"/>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8" name="Rectangle 947">
                <a:extLst>
                  <a:ext uri="{FF2B5EF4-FFF2-40B4-BE49-F238E27FC236}">
                    <a16:creationId xmlns:a16="http://schemas.microsoft.com/office/drawing/2014/main" id="{4C03D738-82DD-42FF-B202-169B802E0543}"/>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9" name="Rectangle 948">
                <a:extLst>
                  <a:ext uri="{FF2B5EF4-FFF2-40B4-BE49-F238E27FC236}">
                    <a16:creationId xmlns:a16="http://schemas.microsoft.com/office/drawing/2014/main" id="{AFB10A9E-A0BC-4E3C-A51A-AD39869FEB02}"/>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0" name="Rectangle 949">
                <a:extLst>
                  <a:ext uri="{FF2B5EF4-FFF2-40B4-BE49-F238E27FC236}">
                    <a16:creationId xmlns:a16="http://schemas.microsoft.com/office/drawing/2014/main" id="{7C9CFC23-5997-4875-BA8F-2F2C3C74F94E}"/>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1" name="Rectangle 950">
                <a:extLst>
                  <a:ext uri="{FF2B5EF4-FFF2-40B4-BE49-F238E27FC236}">
                    <a16:creationId xmlns:a16="http://schemas.microsoft.com/office/drawing/2014/main" id="{30A57C4E-DCCF-4115-ABB5-E014B5096B91}"/>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2" name="Rectangle 951">
                <a:extLst>
                  <a:ext uri="{FF2B5EF4-FFF2-40B4-BE49-F238E27FC236}">
                    <a16:creationId xmlns:a16="http://schemas.microsoft.com/office/drawing/2014/main" id="{79636EA4-DAC7-4C2C-BB3E-CE5ABD44D97D}"/>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3" name="Freeform 33">
                <a:extLst>
                  <a:ext uri="{FF2B5EF4-FFF2-40B4-BE49-F238E27FC236}">
                    <a16:creationId xmlns:a16="http://schemas.microsoft.com/office/drawing/2014/main" id="{99932C8E-043E-4532-8A95-E9C0D7EAD8C6}"/>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4" name="Freeform 34">
                <a:extLst>
                  <a:ext uri="{FF2B5EF4-FFF2-40B4-BE49-F238E27FC236}">
                    <a16:creationId xmlns:a16="http://schemas.microsoft.com/office/drawing/2014/main" id="{0A5B49EE-03F7-486D-A7D5-14814F07A3DC}"/>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5" name="Freeform 36">
                <a:extLst>
                  <a:ext uri="{FF2B5EF4-FFF2-40B4-BE49-F238E27FC236}">
                    <a16:creationId xmlns:a16="http://schemas.microsoft.com/office/drawing/2014/main" id="{5B908FF5-4051-43A1-B21D-0DE8A75F3E57}"/>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6" name="Freeform 37">
                <a:extLst>
                  <a:ext uri="{FF2B5EF4-FFF2-40B4-BE49-F238E27FC236}">
                    <a16:creationId xmlns:a16="http://schemas.microsoft.com/office/drawing/2014/main" id="{725A0B57-DC36-498C-AFC5-63A5BD1EAE64}"/>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7" name="Freeform 38">
                <a:extLst>
                  <a:ext uri="{FF2B5EF4-FFF2-40B4-BE49-F238E27FC236}">
                    <a16:creationId xmlns:a16="http://schemas.microsoft.com/office/drawing/2014/main" id="{605FD6EB-4E4E-463B-A64E-5E93B2EB1829}"/>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8" name="Freeform 39">
                <a:extLst>
                  <a:ext uri="{FF2B5EF4-FFF2-40B4-BE49-F238E27FC236}">
                    <a16:creationId xmlns:a16="http://schemas.microsoft.com/office/drawing/2014/main" id="{865A2FEE-C86D-470E-8EAD-3292BBC47A5B}"/>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9" name="Freeform 40">
                <a:extLst>
                  <a:ext uri="{FF2B5EF4-FFF2-40B4-BE49-F238E27FC236}">
                    <a16:creationId xmlns:a16="http://schemas.microsoft.com/office/drawing/2014/main" id="{2FA87EE2-C88E-46AB-9024-1B2ACF4CCF64}"/>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0" name="Freeform 41">
                <a:extLst>
                  <a:ext uri="{FF2B5EF4-FFF2-40B4-BE49-F238E27FC236}">
                    <a16:creationId xmlns:a16="http://schemas.microsoft.com/office/drawing/2014/main" id="{04FEABDA-0CC8-4495-9C44-F79943EFE698}"/>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1" name="Freeform 42">
                <a:extLst>
                  <a:ext uri="{FF2B5EF4-FFF2-40B4-BE49-F238E27FC236}">
                    <a16:creationId xmlns:a16="http://schemas.microsoft.com/office/drawing/2014/main" id="{2FAE2C26-67E5-4493-ABD1-F5A8273811AF}"/>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2" name="Freeform 43">
                <a:extLst>
                  <a:ext uri="{FF2B5EF4-FFF2-40B4-BE49-F238E27FC236}">
                    <a16:creationId xmlns:a16="http://schemas.microsoft.com/office/drawing/2014/main" id="{CA1BB4E8-1934-43FB-A80D-809E132C2D62}"/>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3" name="Freeform 44">
                <a:extLst>
                  <a:ext uri="{FF2B5EF4-FFF2-40B4-BE49-F238E27FC236}">
                    <a16:creationId xmlns:a16="http://schemas.microsoft.com/office/drawing/2014/main" id="{28449FEC-52B4-4465-9C2A-87615CD3C43C}"/>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4" name="Freeform 45">
                <a:extLst>
                  <a:ext uri="{FF2B5EF4-FFF2-40B4-BE49-F238E27FC236}">
                    <a16:creationId xmlns:a16="http://schemas.microsoft.com/office/drawing/2014/main" id="{D1039102-4514-4DD8-B883-2150799DC2BF}"/>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5" name="Rectangle 46">
                <a:extLst>
                  <a:ext uri="{FF2B5EF4-FFF2-40B4-BE49-F238E27FC236}">
                    <a16:creationId xmlns:a16="http://schemas.microsoft.com/office/drawing/2014/main" id="{0646B7CB-B876-4873-A6E6-F7554C854E9F}"/>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6" name="Rectangle 47">
                <a:extLst>
                  <a:ext uri="{FF2B5EF4-FFF2-40B4-BE49-F238E27FC236}">
                    <a16:creationId xmlns:a16="http://schemas.microsoft.com/office/drawing/2014/main" id="{97E996B1-851A-4DAB-B68E-ED29593C9051}"/>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7" name="Freeform 48">
                <a:extLst>
                  <a:ext uri="{FF2B5EF4-FFF2-40B4-BE49-F238E27FC236}">
                    <a16:creationId xmlns:a16="http://schemas.microsoft.com/office/drawing/2014/main" id="{3D1EE0C9-B83F-4141-AF48-2B0A618836AC}"/>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8" name="Freeform 49">
                <a:extLst>
                  <a:ext uri="{FF2B5EF4-FFF2-40B4-BE49-F238E27FC236}">
                    <a16:creationId xmlns:a16="http://schemas.microsoft.com/office/drawing/2014/main" id="{AF31FD0D-A9FE-4983-BE58-CB8CF425F01A}"/>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9" name="Freeform 157">
                <a:extLst>
                  <a:ext uri="{FF2B5EF4-FFF2-40B4-BE49-F238E27FC236}">
                    <a16:creationId xmlns:a16="http://schemas.microsoft.com/office/drawing/2014/main" id="{5D37884F-95B7-446D-BA26-44360D5DAA2B}"/>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0" name="Freeform 125">
                <a:extLst>
                  <a:ext uri="{FF2B5EF4-FFF2-40B4-BE49-F238E27FC236}">
                    <a16:creationId xmlns:a16="http://schemas.microsoft.com/office/drawing/2014/main" id="{6C8683C9-C8A2-4595-986E-2FDC25F73281}"/>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8C00"/>
                  </a:solidFill>
                  <a:effectLst/>
                  <a:uLnTx/>
                  <a:uFillTx/>
                  <a:latin typeface="Times New Roman" charset="0"/>
                  <a:ea typeface="ＭＳ Ｐゴシック" charset="0"/>
                </a:endParaRPr>
              </a:p>
            </p:txBody>
          </p:sp>
          <p:grpSp>
            <p:nvGrpSpPr>
              <p:cNvPr id="971" name="Group 970">
                <a:extLst>
                  <a:ext uri="{FF2B5EF4-FFF2-40B4-BE49-F238E27FC236}">
                    <a16:creationId xmlns:a16="http://schemas.microsoft.com/office/drawing/2014/main" id="{92CA281F-8B42-4DD7-ABF4-8CAFB7E3E957}"/>
                  </a:ext>
                </a:extLst>
              </p:cNvPr>
              <p:cNvGrpSpPr/>
              <p:nvPr/>
            </p:nvGrpSpPr>
            <p:grpSpPr>
              <a:xfrm>
                <a:off x="880735" y="3233589"/>
                <a:ext cx="4515429" cy="2553121"/>
                <a:chOff x="2267710" y="3645408"/>
                <a:chExt cx="1887955" cy="1067493"/>
              </a:xfrm>
              <a:solidFill>
                <a:schemeClr val="bg1">
                  <a:lumMod val="75000"/>
                </a:schemeClr>
              </a:solidFill>
            </p:grpSpPr>
            <p:sp>
              <p:nvSpPr>
                <p:cNvPr id="972" name="Freeform 151">
                  <a:extLst>
                    <a:ext uri="{FF2B5EF4-FFF2-40B4-BE49-F238E27FC236}">
                      <a16:creationId xmlns:a16="http://schemas.microsoft.com/office/drawing/2014/main" id="{BDCC1C33-DC7D-40D9-B470-8632C07213F6}"/>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3" name="Freeform 152">
                  <a:extLst>
                    <a:ext uri="{FF2B5EF4-FFF2-40B4-BE49-F238E27FC236}">
                      <a16:creationId xmlns:a16="http://schemas.microsoft.com/office/drawing/2014/main" id="{69E13D40-E161-4E76-8920-0531BEE4602C}"/>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4" name="Freeform 158">
                  <a:extLst>
                    <a:ext uri="{FF2B5EF4-FFF2-40B4-BE49-F238E27FC236}">
                      <a16:creationId xmlns:a16="http://schemas.microsoft.com/office/drawing/2014/main" id="{1AA16199-5035-4587-ACFF-9F2F965EED6C}"/>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5" name="Freeform 168">
                  <a:extLst>
                    <a:ext uri="{FF2B5EF4-FFF2-40B4-BE49-F238E27FC236}">
                      <a16:creationId xmlns:a16="http://schemas.microsoft.com/office/drawing/2014/main" id="{EA8A0999-D28B-486A-8F61-95DB56AA6D95}"/>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76" name="Group 975">
                  <a:extLst>
                    <a:ext uri="{FF2B5EF4-FFF2-40B4-BE49-F238E27FC236}">
                      <a16:creationId xmlns:a16="http://schemas.microsoft.com/office/drawing/2014/main" id="{7C9785F5-2A89-4F8E-856E-271045546A60}"/>
                    </a:ext>
                  </a:extLst>
                </p:cNvPr>
                <p:cNvGrpSpPr/>
                <p:nvPr/>
              </p:nvGrpSpPr>
              <p:grpSpPr>
                <a:xfrm>
                  <a:off x="2677694" y="3839497"/>
                  <a:ext cx="1155716" cy="644026"/>
                  <a:chOff x="2726462" y="3839497"/>
                  <a:chExt cx="1155716" cy="644026"/>
                </a:xfrm>
                <a:grpFill/>
              </p:grpSpPr>
              <p:sp>
                <p:nvSpPr>
                  <p:cNvPr id="977" name="Freeform 153">
                    <a:extLst>
                      <a:ext uri="{FF2B5EF4-FFF2-40B4-BE49-F238E27FC236}">
                        <a16:creationId xmlns:a16="http://schemas.microsoft.com/office/drawing/2014/main" id="{CB9552F4-3676-45F4-9EF7-4442E1C06C3F}"/>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8" name="Freeform 154">
                    <a:extLst>
                      <a:ext uri="{FF2B5EF4-FFF2-40B4-BE49-F238E27FC236}">
                        <a16:creationId xmlns:a16="http://schemas.microsoft.com/office/drawing/2014/main" id="{8D964D83-06B6-446E-8B95-8C60BF6DB4C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9" name="Freeform 155">
                    <a:extLst>
                      <a:ext uri="{FF2B5EF4-FFF2-40B4-BE49-F238E27FC236}">
                        <a16:creationId xmlns:a16="http://schemas.microsoft.com/office/drawing/2014/main" id="{E895777F-E3B4-43F9-9D1A-FC1EB5E25E62}"/>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0" name="Freeform 156">
                    <a:extLst>
                      <a:ext uri="{FF2B5EF4-FFF2-40B4-BE49-F238E27FC236}">
                        <a16:creationId xmlns:a16="http://schemas.microsoft.com/office/drawing/2014/main" id="{2A0099A6-B937-4EFC-B64A-B7B0B1DDE82D}"/>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1" name="Freeform 157">
                    <a:extLst>
                      <a:ext uri="{FF2B5EF4-FFF2-40B4-BE49-F238E27FC236}">
                        <a16:creationId xmlns:a16="http://schemas.microsoft.com/office/drawing/2014/main" id="{CBBFB5EB-66A9-4589-94A5-4059A2D910E4}"/>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2" name="Freeform 159">
                    <a:extLst>
                      <a:ext uri="{FF2B5EF4-FFF2-40B4-BE49-F238E27FC236}">
                        <a16:creationId xmlns:a16="http://schemas.microsoft.com/office/drawing/2014/main" id="{FAF78549-6174-4231-8063-E9F9AEFC4B6A}"/>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3" name="Freeform 160">
                    <a:extLst>
                      <a:ext uri="{FF2B5EF4-FFF2-40B4-BE49-F238E27FC236}">
                        <a16:creationId xmlns:a16="http://schemas.microsoft.com/office/drawing/2014/main" id="{E0F5A202-03D8-400F-94D6-A2221D93CA9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4" name="Freeform 161">
                    <a:extLst>
                      <a:ext uri="{FF2B5EF4-FFF2-40B4-BE49-F238E27FC236}">
                        <a16:creationId xmlns:a16="http://schemas.microsoft.com/office/drawing/2014/main" id="{3B4549BA-0D9C-48F0-978C-5D0490BDC7AB}"/>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5" name="Freeform 162">
                    <a:extLst>
                      <a:ext uri="{FF2B5EF4-FFF2-40B4-BE49-F238E27FC236}">
                        <a16:creationId xmlns:a16="http://schemas.microsoft.com/office/drawing/2014/main" id="{3F1254A8-DE71-4630-BA4B-5B5690150C53}"/>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6" name="Freeform 163">
                    <a:extLst>
                      <a:ext uri="{FF2B5EF4-FFF2-40B4-BE49-F238E27FC236}">
                        <a16:creationId xmlns:a16="http://schemas.microsoft.com/office/drawing/2014/main" id="{B2D015DD-DBAB-46CF-B6DE-5E9B0683DD28}"/>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7" name="Freeform 164">
                    <a:extLst>
                      <a:ext uri="{FF2B5EF4-FFF2-40B4-BE49-F238E27FC236}">
                        <a16:creationId xmlns:a16="http://schemas.microsoft.com/office/drawing/2014/main" id="{832C3E8B-4633-41D3-BF53-4AE6EFFE92B6}"/>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8" name="Freeform 165">
                    <a:extLst>
                      <a:ext uri="{FF2B5EF4-FFF2-40B4-BE49-F238E27FC236}">
                        <a16:creationId xmlns:a16="http://schemas.microsoft.com/office/drawing/2014/main" id="{5AB71C33-F3A3-4DF5-B4F6-907494123B0E}"/>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9" name="Freeform 166">
                    <a:extLst>
                      <a:ext uri="{FF2B5EF4-FFF2-40B4-BE49-F238E27FC236}">
                        <a16:creationId xmlns:a16="http://schemas.microsoft.com/office/drawing/2014/main" id="{709260A2-90A8-46B7-B526-25CA4C8EC7F6}"/>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0" name="Freeform 167">
                    <a:extLst>
                      <a:ext uri="{FF2B5EF4-FFF2-40B4-BE49-F238E27FC236}">
                        <a16:creationId xmlns:a16="http://schemas.microsoft.com/office/drawing/2014/main" id="{6DBEDD2A-896D-4CB9-A743-19F24D785BD7}"/>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1" name="Freeform 169">
                    <a:extLst>
                      <a:ext uri="{FF2B5EF4-FFF2-40B4-BE49-F238E27FC236}">
                        <a16:creationId xmlns:a16="http://schemas.microsoft.com/office/drawing/2014/main" id="{8A7ADBA9-6A8A-4736-B9BF-37AD644EFA89}"/>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2" name="Freeform 170">
                    <a:extLst>
                      <a:ext uri="{FF2B5EF4-FFF2-40B4-BE49-F238E27FC236}">
                        <a16:creationId xmlns:a16="http://schemas.microsoft.com/office/drawing/2014/main" id="{A356CF86-FA1F-48B2-816B-099CF1C64403}"/>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3" name="Freeform 171">
                    <a:extLst>
                      <a:ext uri="{FF2B5EF4-FFF2-40B4-BE49-F238E27FC236}">
                        <a16:creationId xmlns:a16="http://schemas.microsoft.com/office/drawing/2014/main" id="{E768C4F8-4BEE-47A6-9D21-761CA7079649}"/>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4" name="Freeform 172">
                    <a:extLst>
                      <a:ext uri="{FF2B5EF4-FFF2-40B4-BE49-F238E27FC236}">
                        <a16:creationId xmlns:a16="http://schemas.microsoft.com/office/drawing/2014/main" id="{569CB8F7-AE00-4B85-B1F3-44B14CB7E152}"/>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5" name="Freeform 173">
                    <a:extLst>
                      <a:ext uri="{FF2B5EF4-FFF2-40B4-BE49-F238E27FC236}">
                        <a16:creationId xmlns:a16="http://schemas.microsoft.com/office/drawing/2014/main" id="{2DD4D4A3-550E-4F4C-BB71-6CD6C490532C}"/>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6" name="Freeform 174">
                    <a:extLst>
                      <a:ext uri="{FF2B5EF4-FFF2-40B4-BE49-F238E27FC236}">
                        <a16:creationId xmlns:a16="http://schemas.microsoft.com/office/drawing/2014/main" id="{45B69A1D-FE27-4EEE-8AC6-F06034727704}"/>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7" name="Freeform 175">
                    <a:extLst>
                      <a:ext uri="{FF2B5EF4-FFF2-40B4-BE49-F238E27FC236}">
                        <a16:creationId xmlns:a16="http://schemas.microsoft.com/office/drawing/2014/main" id="{DF3F7F79-8ED5-4B4C-AF06-5B244B8A4072}"/>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8" name="Freeform 176">
                    <a:extLst>
                      <a:ext uri="{FF2B5EF4-FFF2-40B4-BE49-F238E27FC236}">
                        <a16:creationId xmlns:a16="http://schemas.microsoft.com/office/drawing/2014/main" id="{EE336D1B-67C9-46CA-BDED-4628283663FC}"/>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9" name="Freeform 177">
                    <a:extLst>
                      <a:ext uri="{FF2B5EF4-FFF2-40B4-BE49-F238E27FC236}">
                        <a16:creationId xmlns:a16="http://schemas.microsoft.com/office/drawing/2014/main" id="{E4EBADAB-1CFD-4073-90E5-3759CF59F96A}"/>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0" name="Freeform 186">
                    <a:extLst>
                      <a:ext uri="{FF2B5EF4-FFF2-40B4-BE49-F238E27FC236}">
                        <a16:creationId xmlns:a16="http://schemas.microsoft.com/office/drawing/2014/main" id="{DDBE86C4-AE9B-43D3-AF5D-33757DF9E9A4}"/>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1" name="Freeform 187">
                    <a:extLst>
                      <a:ext uri="{FF2B5EF4-FFF2-40B4-BE49-F238E27FC236}">
                        <a16:creationId xmlns:a16="http://schemas.microsoft.com/office/drawing/2014/main" id="{56D709A4-B2C1-4893-A8EA-835950AD6759}"/>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2" name="Freeform 188">
                    <a:extLst>
                      <a:ext uri="{FF2B5EF4-FFF2-40B4-BE49-F238E27FC236}">
                        <a16:creationId xmlns:a16="http://schemas.microsoft.com/office/drawing/2014/main" id="{6629EB80-D6AA-4D17-96F3-99D5580196C2}"/>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3" name="Freeform 189">
                    <a:extLst>
                      <a:ext uri="{FF2B5EF4-FFF2-40B4-BE49-F238E27FC236}">
                        <a16:creationId xmlns:a16="http://schemas.microsoft.com/office/drawing/2014/main" id="{969596D3-4F77-4FF7-B255-FC0D0B48EC50}"/>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4" name="Freeform 190">
                    <a:extLst>
                      <a:ext uri="{FF2B5EF4-FFF2-40B4-BE49-F238E27FC236}">
                        <a16:creationId xmlns:a16="http://schemas.microsoft.com/office/drawing/2014/main" id="{ED1A125C-E765-4219-B961-9D1E078DC0C4}"/>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920" name="Group 919">
              <a:extLst>
                <a:ext uri="{FF2B5EF4-FFF2-40B4-BE49-F238E27FC236}">
                  <a16:creationId xmlns:a16="http://schemas.microsoft.com/office/drawing/2014/main" id="{67567DDC-1D1E-45DB-926E-8C07356BCCA2}"/>
                </a:ext>
              </a:extLst>
            </p:cNvPr>
            <p:cNvGrpSpPr/>
            <p:nvPr/>
          </p:nvGrpSpPr>
          <p:grpSpPr>
            <a:xfrm>
              <a:off x="3852490" y="3233304"/>
              <a:ext cx="3961965" cy="3329442"/>
              <a:chOff x="3484242" y="3413760"/>
              <a:chExt cx="1656542" cy="1392080"/>
            </a:xfrm>
          </p:grpSpPr>
          <p:sp>
            <p:nvSpPr>
              <p:cNvPr id="921" name="Freeform: Shape 920">
                <a:extLst>
                  <a:ext uri="{FF2B5EF4-FFF2-40B4-BE49-F238E27FC236}">
                    <a16:creationId xmlns:a16="http://schemas.microsoft.com/office/drawing/2014/main" id="{FF89F308-17A3-43C2-9BA7-9D9509261EEE}"/>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22" name="Freeform: Shape 921">
                <a:extLst>
                  <a:ext uri="{FF2B5EF4-FFF2-40B4-BE49-F238E27FC236}">
                    <a16:creationId xmlns:a16="http://schemas.microsoft.com/office/drawing/2014/main" id="{8C063113-84E6-4E11-9BE3-50BAE4B47CC1}"/>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23" name="Freeform 164">
                <a:extLst>
                  <a:ext uri="{FF2B5EF4-FFF2-40B4-BE49-F238E27FC236}">
                    <a16:creationId xmlns:a16="http://schemas.microsoft.com/office/drawing/2014/main" id="{CC97E6FA-8E53-4879-AEB0-C359462AF007}"/>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sp>
        <p:nvSpPr>
          <p:cNvPr id="515" name="Rectangle 514">
            <a:extLst>
              <a:ext uri="{FF2B5EF4-FFF2-40B4-BE49-F238E27FC236}">
                <a16:creationId xmlns:a16="http://schemas.microsoft.com/office/drawing/2014/main" id="{683C78E8-7885-4447-9A22-254184A48162}"/>
              </a:ext>
            </a:extLst>
          </p:cNvPr>
          <p:cNvSpPr/>
          <p:nvPr/>
        </p:nvSpPr>
        <p:spPr bwMode="auto">
          <a:xfrm>
            <a:off x="975207" y="5296757"/>
            <a:ext cx="10241585" cy="933430"/>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tx1"/>
                </a:solidFill>
                <a:latin typeface="+mj-lt"/>
                <a:cs typeface="Segoe UI" pitchFamily="34" charset="0"/>
              </a:rPr>
              <a:t>Strong Partner Ecosystem</a:t>
            </a:r>
          </a:p>
        </p:txBody>
      </p:sp>
      <p:sp>
        <p:nvSpPr>
          <p:cNvPr id="518" name="TextBox 517">
            <a:extLst>
              <a:ext uri="{FF2B5EF4-FFF2-40B4-BE49-F238E27FC236}">
                <a16:creationId xmlns:a16="http://schemas.microsoft.com/office/drawing/2014/main" id="{085D22E5-B256-4939-BA29-0CBEB8FA5FC6}"/>
              </a:ext>
            </a:extLst>
          </p:cNvPr>
          <p:cNvSpPr txBox="1"/>
          <p:nvPr/>
        </p:nvSpPr>
        <p:spPr>
          <a:xfrm>
            <a:off x="3178753" y="5609584"/>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lvl1pPr>
          </a:lstStyle>
          <a:p>
            <a:r>
              <a:rPr lang="en-US" altLang="zh-CN" dirty="0"/>
              <a:t>Extensive</a:t>
            </a:r>
            <a:r>
              <a:rPr lang="en-US" dirty="0"/>
              <a:t>, Integrated, &amp; </a:t>
            </a:r>
            <a:r>
              <a:rPr lang="en-US" altLang="zh-CN" dirty="0"/>
              <a:t>Experienced</a:t>
            </a:r>
            <a:endParaRPr lang="en-US" dirty="0"/>
          </a:p>
        </p:txBody>
      </p:sp>
      <p:grpSp>
        <p:nvGrpSpPr>
          <p:cNvPr id="1007" name="Group 1006">
            <a:extLst>
              <a:ext uri="{FF2B5EF4-FFF2-40B4-BE49-F238E27FC236}">
                <a16:creationId xmlns:a16="http://schemas.microsoft.com/office/drawing/2014/main" id="{A2E75A80-9953-4E01-8E70-6D1B5804F869}"/>
              </a:ext>
            </a:extLst>
          </p:cNvPr>
          <p:cNvGrpSpPr/>
          <p:nvPr/>
        </p:nvGrpSpPr>
        <p:grpSpPr>
          <a:xfrm>
            <a:off x="1133415" y="5619269"/>
            <a:ext cx="651068" cy="609601"/>
            <a:chOff x="5965396" y="2936940"/>
            <a:chExt cx="3001924" cy="2810728"/>
          </a:xfrm>
        </p:grpSpPr>
        <p:sp>
          <p:nvSpPr>
            <p:cNvPr id="1008" name="Arc 1007">
              <a:extLst>
                <a:ext uri="{FF2B5EF4-FFF2-40B4-BE49-F238E27FC236}">
                  <a16:creationId xmlns:a16="http://schemas.microsoft.com/office/drawing/2014/main" id="{D5B89743-5236-4D0C-B76B-D51B63835E30}"/>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1009" name="Group 1008">
              <a:extLst>
                <a:ext uri="{FF2B5EF4-FFF2-40B4-BE49-F238E27FC236}">
                  <a16:creationId xmlns:a16="http://schemas.microsoft.com/office/drawing/2014/main" id="{B613995D-9DF3-410A-8EE3-BED5497F4217}"/>
                </a:ext>
              </a:extLst>
            </p:cNvPr>
            <p:cNvGrpSpPr/>
            <p:nvPr/>
          </p:nvGrpSpPr>
          <p:grpSpPr>
            <a:xfrm>
              <a:off x="6393887" y="4600791"/>
              <a:ext cx="2131513" cy="969039"/>
              <a:chOff x="6037944" y="4939646"/>
              <a:chExt cx="1762503" cy="801278"/>
            </a:xfrm>
          </p:grpSpPr>
          <p:grpSp>
            <p:nvGrpSpPr>
              <p:cNvPr id="1030" name="Group 1029">
                <a:extLst>
                  <a:ext uri="{FF2B5EF4-FFF2-40B4-BE49-F238E27FC236}">
                    <a16:creationId xmlns:a16="http://schemas.microsoft.com/office/drawing/2014/main" id="{4E093B09-08BF-44B0-B2F2-B286D61D52BA}"/>
                  </a:ext>
                </a:extLst>
              </p:cNvPr>
              <p:cNvGrpSpPr/>
              <p:nvPr/>
            </p:nvGrpSpPr>
            <p:grpSpPr>
              <a:xfrm>
                <a:off x="6056747" y="4972281"/>
                <a:ext cx="1718033" cy="610616"/>
                <a:chOff x="2058988" y="3915711"/>
                <a:chExt cx="1927661" cy="685122"/>
              </a:xfrm>
            </p:grpSpPr>
            <p:sp>
              <p:nvSpPr>
                <p:cNvPr id="1042" name="Freeform 6">
                  <a:extLst>
                    <a:ext uri="{FF2B5EF4-FFF2-40B4-BE49-F238E27FC236}">
                      <a16:creationId xmlns:a16="http://schemas.microsoft.com/office/drawing/2014/main" id="{2612E6A6-24F4-4260-801E-7983D9DCDB27}"/>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3" name="Freeform 7">
                  <a:extLst>
                    <a:ext uri="{FF2B5EF4-FFF2-40B4-BE49-F238E27FC236}">
                      <a16:creationId xmlns:a16="http://schemas.microsoft.com/office/drawing/2014/main" id="{8D86C189-FA56-4AA6-AD1F-17E9987E3782}"/>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4" name="Freeform 8">
                  <a:extLst>
                    <a:ext uri="{FF2B5EF4-FFF2-40B4-BE49-F238E27FC236}">
                      <a16:creationId xmlns:a16="http://schemas.microsoft.com/office/drawing/2014/main" id="{BCF76E73-B36C-4DFA-8882-166E6FBB90A3}"/>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5" name="Freeform 9">
                  <a:extLst>
                    <a:ext uri="{FF2B5EF4-FFF2-40B4-BE49-F238E27FC236}">
                      <a16:creationId xmlns:a16="http://schemas.microsoft.com/office/drawing/2014/main" id="{4A34CA5D-44DE-422C-8FDB-ED2950BB1BE9}"/>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6" name="Freeform 10">
                  <a:extLst>
                    <a:ext uri="{FF2B5EF4-FFF2-40B4-BE49-F238E27FC236}">
                      <a16:creationId xmlns:a16="http://schemas.microsoft.com/office/drawing/2014/main" id="{EA8ED50E-8A75-40AB-98AD-DB8DEBC1A01D}"/>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7" name="Freeform 11">
                  <a:extLst>
                    <a:ext uri="{FF2B5EF4-FFF2-40B4-BE49-F238E27FC236}">
                      <a16:creationId xmlns:a16="http://schemas.microsoft.com/office/drawing/2014/main" id="{94B50CED-F96E-4C75-822E-56B3549B5DCA}"/>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8" name="Freeform 12">
                  <a:extLst>
                    <a:ext uri="{FF2B5EF4-FFF2-40B4-BE49-F238E27FC236}">
                      <a16:creationId xmlns:a16="http://schemas.microsoft.com/office/drawing/2014/main" id="{F0E51607-76D8-4DB5-87F4-C935C479B8EB}"/>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9" name="Freeform 13">
                  <a:extLst>
                    <a:ext uri="{FF2B5EF4-FFF2-40B4-BE49-F238E27FC236}">
                      <a16:creationId xmlns:a16="http://schemas.microsoft.com/office/drawing/2014/main" id="{9D6FB9C1-16DF-4664-A21D-BF7F741E0155}"/>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50" name="Freeform 14">
                  <a:extLst>
                    <a:ext uri="{FF2B5EF4-FFF2-40B4-BE49-F238E27FC236}">
                      <a16:creationId xmlns:a16="http://schemas.microsoft.com/office/drawing/2014/main" id="{D4DA5E98-30A0-4E3B-9A71-7F316824899E}"/>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1" name="Freeform 15">
                  <a:extLst>
                    <a:ext uri="{FF2B5EF4-FFF2-40B4-BE49-F238E27FC236}">
                      <a16:creationId xmlns:a16="http://schemas.microsoft.com/office/drawing/2014/main" id="{EAE99808-AF8F-4244-B47A-F3B8F6FBB70F}"/>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52" name="Freeform 16">
                  <a:extLst>
                    <a:ext uri="{FF2B5EF4-FFF2-40B4-BE49-F238E27FC236}">
                      <a16:creationId xmlns:a16="http://schemas.microsoft.com/office/drawing/2014/main" id="{53BA3230-8BC7-49A9-A6AB-EBF4D16DD9F9}"/>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53" name="Freeform 17">
                  <a:extLst>
                    <a:ext uri="{FF2B5EF4-FFF2-40B4-BE49-F238E27FC236}">
                      <a16:creationId xmlns:a16="http://schemas.microsoft.com/office/drawing/2014/main" id="{BDDD61EA-0FC1-460B-A5E4-BAB393A9BA85}"/>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4" name="Freeform: Shape 1053">
                  <a:extLst>
                    <a:ext uri="{FF2B5EF4-FFF2-40B4-BE49-F238E27FC236}">
                      <a16:creationId xmlns:a16="http://schemas.microsoft.com/office/drawing/2014/main" id="{02A1BBDF-6F55-45DF-822D-3F21AE1F10BA}"/>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055" name="Freeform 19">
                  <a:extLst>
                    <a:ext uri="{FF2B5EF4-FFF2-40B4-BE49-F238E27FC236}">
                      <a16:creationId xmlns:a16="http://schemas.microsoft.com/office/drawing/2014/main" id="{97BC63C3-18F0-4D7D-B3B3-5014876F9895}"/>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6" name="Freeform 20">
                  <a:extLst>
                    <a:ext uri="{FF2B5EF4-FFF2-40B4-BE49-F238E27FC236}">
                      <a16:creationId xmlns:a16="http://schemas.microsoft.com/office/drawing/2014/main" id="{72BD2ADA-7ABD-4B2D-AED1-DCBA4D0D3882}"/>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7" name="Freeform 21">
                  <a:extLst>
                    <a:ext uri="{FF2B5EF4-FFF2-40B4-BE49-F238E27FC236}">
                      <a16:creationId xmlns:a16="http://schemas.microsoft.com/office/drawing/2014/main" id="{9356301E-CC29-4AF4-B6F7-00435916E294}"/>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58" name="Freeform 23">
                  <a:extLst>
                    <a:ext uri="{FF2B5EF4-FFF2-40B4-BE49-F238E27FC236}">
                      <a16:creationId xmlns:a16="http://schemas.microsoft.com/office/drawing/2014/main" id="{92EC304F-B7B4-47D1-A2DF-3148070A9B57}"/>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59" name="Freeform 24">
                  <a:extLst>
                    <a:ext uri="{FF2B5EF4-FFF2-40B4-BE49-F238E27FC236}">
                      <a16:creationId xmlns:a16="http://schemas.microsoft.com/office/drawing/2014/main" id="{DCAFB318-BADE-4095-9CB4-B921BBF2BDE2}"/>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0" name="Freeform: Shape 1059">
                  <a:extLst>
                    <a:ext uri="{FF2B5EF4-FFF2-40B4-BE49-F238E27FC236}">
                      <a16:creationId xmlns:a16="http://schemas.microsoft.com/office/drawing/2014/main" id="{83268356-3BF6-4CC4-9727-F47B08B893DF}"/>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061" name="Freeform 26">
                  <a:extLst>
                    <a:ext uri="{FF2B5EF4-FFF2-40B4-BE49-F238E27FC236}">
                      <a16:creationId xmlns:a16="http://schemas.microsoft.com/office/drawing/2014/main" id="{5950FF19-612D-4DF8-8C22-4CF0AC4BCA92}"/>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solidFill>
                  <a:srgbClr val="D7D7D7"/>
                </a:solid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2" name="Freeform 27">
                  <a:extLst>
                    <a:ext uri="{FF2B5EF4-FFF2-40B4-BE49-F238E27FC236}">
                      <a16:creationId xmlns:a16="http://schemas.microsoft.com/office/drawing/2014/main" id="{7A8AB29F-2663-4DF5-8F8B-4ABBD72A2352}"/>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3" name="Freeform 28">
                  <a:extLst>
                    <a:ext uri="{FF2B5EF4-FFF2-40B4-BE49-F238E27FC236}">
                      <a16:creationId xmlns:a16="http://schemas.microsoft.com/office/drawing/2014/main" id="{34D708A6-0B27-4094-A26F-488BEE0F4A44}"/>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64" name="Freeform 29">
                  <a:extLst>
                    <a:ext uri="{FF2B5EF4-FFF2-40B4-BE49-F238E27FC236}">
                      <a16:creationId xmlns:a16="http://schemas.microsoft.com/office/drawing/2014/main" id="{68A6F833-2ED3-468F-A688-F9A490A48FFF}"/>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65" name="Freeform 30">
                  <a:extLst>
                    <a:ext uri="{FF2B5EF4-FFF2-40B4-BE49-F238E27FC236}">
                      <a16:creationId xmlns:a16="http://schemas.microsoft.com/office/drawing/2014/main" id="{E71A3EBA-A6E9-4301-94B3-CC96BC854F81}"/>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66" name="Freeform 31">
                  <a:extLst>
                    <a:ext uri="{FF2B5EF4-FFF2-40B4-BE49-F238E27FC236}">
                      <a16:creationId xmlns:a16="http://schemas.microsoft.com/office/drawing/2014/main" id="{6E470739-2DDE-4F4C-A44F-1444523AB032}"/>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67" name="Freeform 22">
                  <a:extLst>
                    <a:ext uri="{FF2B5EF4-FFF2-40B4-BE49-F238E27FC236}">
                      <a16:creationId xmlns:a16="http://schemas.microsoft.com/office/drawing/2014/main" id="{6381A3D7-B147-42F2-BD80-E46A83837D72}"/>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31" name="Group 1030">
                <a:extLst>
                  <a:ext uri="{FF2B5EF4-FFF2-40B4-BE49-F238E27FC236}">
                    <a16:creationId xmlns:a16="http://schemas.microsoft.com/office/drawing/2014/main" id="{AE36A423-2CF8-4D59-834E-C9B00D1E0B54}"/>
                  </a:ext>
                </a:extLst>
              </p:cNvPr>
              <p:cNvGrpSpPr/>
              <p:nvPr/>
            </p:nvGrpSpPr>
            <p:grpSpPr>
              <a:xfrm>
                <a:off x="6037944" y="4939646"/>
                <a:ext cx="1762503" cy="801278"/>
                <a:chOff x="6066224" y="4894724"/>
                <a:chExt cx="2213813" cy="1006455"/>
              </a:xfrm>
            </p:grpSpPr>
            <p:grpSp>
              <p:nvGrpSpPr>
                <p:cNvPr id="1032" name="Group 1031">
                  <a:extLst>
                    <a:ext uri="{FF2B5EF4-FFF2-40B4-BE49-F238E27FC236}">
                      <a16:creationId xmlns:a16="http://schemas.microsoft.com/office/drawing/2014/main" id="{ED883282-86A2-457E-B0BE-B25AF08E1AAA}"/>
                    </a:ext>
                  </a:extLst>
                </p:cNvPr>
                <p:cNvGrpSpPr/>
                <p:nvPr/>
              </p:nvGrpSpPr>
              <p:grpSpPr>
                <a:xfrm>
                  <a:off x="6066224" y="4894724"/>
                  <a:ext cx="1082597" cy="1006455"/>
                  <a:chOff x="3869780" y="1229273"/>
                  <a:chExt cx="4710340" cy="4379047"/>
                </a:xfrm>
              </p:grpSpPr>
              <p:sp>
                <p:nvSpPr>
                  <p:cNvPr id="1038" name="Freeform: Shape 1037">
                    <a:extLst>
                      <a:ext uri="{FF2B5EF4-FFF2-40B4-BE49-F238E27FC236}">
                        <a16:creationId xmlns:a16="http://schemas.microsoft.com/office/drawing/2014/main" id="{FA77B69A-FE37-4867-A041-E421192B80BC}"/>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9" name="Rectangle 1038">
                    <a:extLst>
                      <a:ext uri="{FF2B5EF4-FFF2-40B4-BE49-F238E27FC236}">
                        <a16:creationId xmlns:a16="http://schemas.microsoft.com/office/drawing/2014/main" id="{D552D35C-C857-4EB4-9E2A-2F741F098D70}"/>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0" name="Freeform: Shape 1039">
                    <a:extLst>
                      <a:ext uri="{FF2B5EF4-FFF2-40B4-BE49-F238E27FC236}">
                        <a16:creationId xmlns:a16="http://schemas.microsoft.com/office/drawing/2014/main" id="{A9E13BAE-B2F4-4F1B-80E1-F383F589E312}"/>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1" name="Freeform: Shape 1040">
                    <a:extLst>
                      <a:ext uri="{FF2B5EF4-FFF2-40B4-BE49-F238E27FC236}">
                        <a16:creationId xmlns:a16="http://schemas.microsoft.com/office/drawing/2014/main" id="{6C93E877-BF98-4D42-920D-C2F0CE03249D}"/>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33" name="Group 1032">
                  <a:extLst>
                    <a:ext uri="{FF2B5EF4-FFF2-40B4-BE49-F238E27FC236}">
                      <a16:creationId xmlns:a16="http://schemas.microsoft.com/office/drawing/2014/main" id="{D2D2FB62-615C-494E-9909-C9F5C4C51E97}"/>
                    </a:ext>
                  </a:extLst>
                </p:cNvPr>
                <p:cNvGrpSpPr/>
                <p:nvPr/>
              </p:nvGrpSpPr>
              <p:grpSpPr>
                <a:xfrm flipH="1">
                  <a:off x="7197440" y="4894724"/>
                  <a:ext cx="1082597" cy="1006455"/>
                  <a:chOff x="3869780" y="1229273"/>
                  <a:chExt cx="4710340" cy="4379047"/>
                </a:xfrm>
              </p:grpSpPr>
              <p:sp>
                <p:nvSpPr>
                  <p:cNvPr id="1034" name="Freeform: Shape 1033">
                    <a:extLst>
                      <a:ext uri="{FF2B5EF4-FFF2-40B4-BE49-F238E27FC236}">
                        <a16:creationId xmlns:a16="http://schemas.microsoft.com/office/drawing/2014/main" id="{04462DCB-D16A-4F4A-A509-898C08609DD6}"/>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5" name="Rectangle 1034">
                    <a:extLst>
                      <a:ext uri="{FF2B5EF4-FFF2-40B4-BE49-F238E27FC236}">
                        <a16:creationId xmlns:a16="http://schemas.microsoft.com/office/drawing/2014/main" id="{ACEB6712-B2E3-4F84-8183-14CD6DDB6E9A}"/>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6" name="Freeform: Shape 1035">
                    <a:extLst>
                      <a:ext uri="{FF2B5EF4-FFF2-40B4-BE49-F238E27FC236}">
                        <a16:creationId xmlns:a16="http://schemas.microsoft.com/office/drawing/2014/main" id="{8F93AC7E-F814-46FC-AD65-BB4A8C864962}"/>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7" name="Freeform: Shape 1036">
                    <a:extLst>
                      <a:ext uri="{FF2B5EF4-FFF2-40B4-BE49-F238E27FC236}">
                        <a16:creationId xmlns:a16="http://schemas.microsoft.com/office/drawing/2014/main" id="{2ABAC87D-9E09-48AA-8BD2-2160ECCCE131}"/>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1010" name="Group 1009">
              <a:extLst>
                <a:ext uri="{FF2B5EF4-FFF2-40B4-BE49-F238E27FC236}">
                  <a16:creationId xmlns:a16="http://schemas.microsoft.com/office/drawing/2014/main" id="{118D2109-99A0-40DA-A7DB-FB19F5EA23B2}"/>
                </a:ext>
              </a:extLst>
            </p:cNvPr>
            <p:cNvGrpSpPr/>
            <p:nvPr/>
          </p:nvGrpSpPr>
          <p:grpSpPr>
            <a:xfrm>
              <a:off x="6546812" y="3467555"/>
              <a:ext cx="1806614" cy="1013352"/>
              <a:chOff x="6391393" y="1624932"/>
              <a:chExt cx="1350970" cy="757777"/>
            </a:xfrm>
          </p:grpSpPr>
          <p:sp>
            <p:nvSpPr>
              <p:cNvPr id="1028" name="Freeform 119">
                <a:extLst>
                  <a:ext uri="{FF2B5EF4-FFF2-40B4-BE49-F238E27FC236}">
                    <a16:creationId xmlns:a16="http://schemas.microsoft.com/office/drawing/2014/main" id="{6ED06E7A-AC78-456C-975C-4E6F1C1420E8}"/>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AB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1029" name="Freeform 120">
                <a:extLst>
                  <a:ext uri="{FF2B5EF4-FFF2-40B4-BE49-F238E27FC236}">
                    <a16:creationId xmlns:a16="http://schemas.microsoft.com/office/drawing/2014/main" id="{7058A24B-07AA-4F86-95CA-81CE423EF36D}"/>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1011" name="Group 1010">
              <a:extLst>
                <a:ext uri="{FF2B5EF4-FFF2-40B4-BE49-F238E27FC236}">
                  <a16:creationId xmlns:a16="http://schemas.microsoft.com/office/drawing/2014/main" id="{0AD2E2A1-2D20-41F8-8FBF-D37FEE5DFD09}"/>
                </a:ext>
              </a:extLst>
            </p:cNvPr>
            <p:cNvGrpSpPr/>
            <p:nvPr/>
          </p:nvGrpSpPr>
          <p:grpSpPr>
            <a:xfrm>
              <a:off x="5965396" y="4132683"/>
              <a:ext cx="389280" cy="389280"/>
              <a:chOff x="5999956" y="4167243"/>
              <a:chExt cx="320160" cy="320160"/>
            </a:xfrm>
          </p:grpSpPr>
          <p:sp>
            <p:nvSpPr>
              <p:cNvPr id="1026" name="Oval 1025">
                <a:extLst>
                  <a:ext uri="{FF2B5EF4-FFF2-40B4-BE49-F238E27FC236}">
                    <a16:creationId xmlns:a16="http://schemas.microsoft.com/office/drawing/2014/main" id="{4477C534-8E31-42A4-8C68-EC760DCC272E}"/>
                  </a:ext>
                </a:extLst>
              </p:cNvPr>
              <p:cNvSpPr/>
              <p:nvPr/>
            </p:nvSpPr>
            <p:spPr bwMode="auto">
              <a:xfrm>
                <a:off x="5999956" y="4167243"/>
                <a:ext cx="320160" cy="320160"/>
              </a:xfrm>
              <a:prstGeom prst="ellipse">
                <a:avLst/>
              </a:prstGeom>
              <a:solidFill>
                <a:srgbClr val="02BBF3"/>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027" name="Freeform 339">
                <a:extLst>
                  <a:ext uri="{FF2B5EF4-FFF2-40B4-BE49-F238E27FC236}">
                    <a16:creationId xmlns:a16="http://schemas.microsoft.com/office/drawing/2014/main" id="{86F7BC2A-9011-4CA6-80C5-D9B36F3AD222}"/>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012" name="Group 1011">
              <a:extLst>
                <a:ext uri="{FF2B5EF4-FFF2-40B4-BE49-F238E27FC236}">
                  <a16:creationId xmlns:a16="http://schemas.microsoft.com/office/drawing/2014/main" id="{C0E71124-AA82-48F7-8ACC-D7873B3B9986}"/>
                </a:ext>
              </a:extLst>
            </p:cNvPr>
            <p:cNvGrpSpPr/>
            <p:nvPr/>
          </p:nvGrpSpPr>
          <p:grpSpPr>
            <a:xfrm>
              <a:off x="8249851" y="3414960"/>
              <a:ext cx="389280" cy="389280"/>
              <a:chOff x="8616644" y="4279108"/>
              <a:chExt cx="320160" cy="320160"/>
            </a:xfrm>
          </p:grpSpPr>
          <p:sp>
            <p:nvSpPr>
              <p:cNvPr id="1023" name="Oval 1022">
                <a:extLst>
                  <a:ext uri="{FF2B5EF4-FFF2-40B4-BE49-F238E27FC236}">
                    <a16:creationId xmlns:a16="http://schemas.microsoft.com/office/drawing/2014/main" id="{48CF4B34-805E-4E80-8E60-2F6B8F56B02E}"/>
                  </a:ext>
                </a:extLst>
              </p:cNvPr>
              <p:cNvSpPr/>
              <p:nvPr/>
            </p:nvSpPr>
            <p:spPr bwMode="auto">
              <a:xfrm>
                <a:off x="8616644" y="4279108"/>
                <a:ext cx="320160" cy="320160"/>
              </a:xfrm>
              <a:prstGeom prst="ellipse">
                <a:avLst/>
              </a:prstGeom>
              <a:solidFill>
                <a:srgbClr val="5C2E91"/>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024" name="Freeform 324">
                <a:extLst>
                  <a:ext uri="{FF2B5EF4-FFF2-40B4-BE49-F238E27FC236}">
                    <a16:creationId xmlns:a16="http://schemas.microsoft.com/office/drawing/2014/main" id="{2062A415-7A89-4184-AAC8-AF831EA31C3C}"/>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25" name="Freeform 324">
                <a:extLst>
                  <a:ext uri="{FF2B5EF4-FFF2-40B4-BE49-F238E27FC236}">
                    <a16:creationId xmlns:a16="http://schemas.microsoft.com/office/drawing/2014/main" id="{28497DA4-99E3-4540-9FCF-7C70DB127BBD}"/>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013" name="Group 1012">
              <a:extLst>
                <a:ext uri="{FF2B5EF4-FFF2-40B4-BE49-F238E27FC236}">
                  <a16:creationId xmlns:a16="http://schemas.microsoft.com/office/drawing/2014/main" id="{01EE3269-5459-4ED5-8E51-B157879AAA98}"/>
                </a:ext>
              </a:extLst>
            </p:cNvPr>
            <p:cNvGrpSpPr/>
            <p:nvPr/>
          </p:nvGrpSpPr>
          <p:grpSpPr>
            <a:xfrm>
              <a:off x="6310201" y="3304407"/>
              <a:ext cx="389280" cy="389280"/>
              <a:chOff x="6344761" y="3338967"/>
              <a:chExt cx="320160" cy="320160"/>
            </a:xfrm>
          </p:grpSpPr>
          <p:sp>
            <p:nvSpPr>
              <p:cNvPr id="1020" name="Oval 1019">
                <a:extLst>
                  <a:ext uri="{FF2B5EF4-FFF2-40B4-BE49-F238E27FC236}">
                    <a16:creationId xmlns:a16="http://schemas.microsoft.com/office/drawing/2014/main" id="{34DADA78-A50E-4F53-9BB8-26D7848DE600}"/>
                  </a:ext>
                </a:extLst>
              </p:cNvPr>
              <p:cNvSpPr/>
              <p:nvPr/>
            </p:nvSpPr>
            <p:spPr bwMode="auto">
              <a:xfrm>
                <a:off x="6344761" y="3338967"/>
                <a:ext cx="320160" cy="320160"/>
              </a:xfrm>
              <a:prstGeom prst="ellipse">
                <a:avLst/>
              </a:prstGeom>
              <a:solidFill>
                <a:srgbClr val="00827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021" name="Freeform 440">
                <a:extLst>
                  <a:ext uri="{FF2B5EF4-FFF2-40B4-BE49-F238E27FC236}">
                    <a16:creationId xmlns:a16="http://schemas.microsoft.com/office/drawing/2014/main" id="{4B9EFE50-7BD4-4322-97EC-DDC97BFD3316}"/>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22" name="Freeform 441">
                <a:extLst>
                  <a:ext uri="{FF2B5EF4-FFF2-40B4-BE49-F238E27FC236}">
                    <a16:creationId xmlns:a16="http://schemas.microsoft.com/office/drawing/2014/main" id="{B04A2C5C-7904-44C4-AF20-4364D1C446BA}"/>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1014" name="Group 1013">
              <a:extLst>
                <a:ext uri="{FF2B5EF4-FFF2-40B4-BE49-F238E27FC236}">
                  <a16:creationId xmlns:a16="http://schemas.microsoft.com/office/drawing/2014/main" id="{28551E5C-B7CB-446E-B78F-DDFCBAA8A828}"/>
                </a:ext>
              </a:extLst>
            </p:cNvPr>
            <p:cNvGrpSpPr/>
            <p:nvPr/>
          </p:nvGrpSpPr>
          <p:grpSpPr>
            <a:xfrm>
              <a:off x="7307066" y="2936940"/>
              <a:ext cx="389134" cy="389134"/>
              <a:chOff x="9322484" y="3467555"/>
              <a:chExt cx="557223" cy="557223"/>
            </a:xfrm>
          </p:grpSpPr>
          <p:sp>
            <p:nvSpPr>
              <p:cNvPr id="1018" name="Oval 1017">
                <a:extLst>
                  <a:ext uri="{FF2B5EF4-FFF2-40B4-BE49-F238E27FC236}">
                    <a16:creationId xmlns:a16="http://schemas.microsoft.com/office/drawing/2014/main" id="{847E1BF7-B6EC-4276-83FA-5615BF79704D}"/>
                  </a:ext>
                </a:extLst>
              </p:cNvPr>
              <p:cNvSpPr/>
              <p:nvPr/>
            </p:nvSpPr>
            <p:spPr bwMode="auto">
              <a:xfrm>
                <a:off x="9322484" y="3467555"/>
                <a:ext cx="557223" cy="55722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9" name="Rectangle 74">
                <a:extLst>
                  <a:ext uri="{FF2B5EF4-FFF2-40B4-BE49-F238E27FC236}">
                    <a16:creationId xmlns:a16="http://schemas.microsoft.com/office/drawing/2014/main" id="{0C4E626F-EF8E-4E82-B5CF-C6E509F68DAF}"/>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FFFF"/>
              </a:solid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15" name="Group 1014">
              <a:extLst>
                <a:ext uri="{FF2B5EF4-FFF2-40B4-BE49-F238E27FC236}">
                  <a16:creationId xmlns:a16="http://schemas.microsoft.com/office/drawing/2014/main" id="{43EEE557-E73A-47D6-B92F-34351B7B9E03}"/>
                </a:ext>
              </a:extLst>
            </p:cNvPr>
            <p:cNvGrpSpPr/>
            <p:nvPr/>
          </p:nvGrpSpPr>
          <p:grpSpPr>
            <a:xfrm>
              <a:off x="8578186" y="4208712"/>
              <a:ext cx="389134" cy="389134"/>
              <a:chOff x="8225290" y="3217894"/>
              <a:chExt cx="621190" cy="621190"/>
            </a:xfrm>
          </p:grpSpPr>
          <p:sp>
            <p:nvSpPr>
              <p:cNvPr id="1016" name="Oval 1015">
                <a:extLst>
                  <a:ext uri="{FF2B5EF4-FFF2-40B4-BE49-F238E27FC236}">
                    <a16:creationId xmlns:a16="http://schemas.microsoft.com/office/drawing/2014/main" id="{623590DF-D2DD-49DB-86D9-DE6B71B380AD}"/>
                  </a:ext>
                </a:extLst>
              </p:cNvPr>
              <p:cNvSpPr/>
              <p:nvPr/>
            </p:nvSpPr>
            <p:spPr bwMode="auto">
              <a:xfrm>
                <a:off x="8225290" y="3217894"/>
                <a:ext cx="621190" cy="621190"/>
              </a:xfrm>
              <a:prstGeom prst="ellipse">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7" name="Rounded Rectangle 4">
                <a:extLst>
                  <a:ext uri="{FF2B5EF4-FFF2-40B4-BE49-F238E27FC236}">
                    <a16:creationId xmlns:a16="http://schemas.microsoft.com/office/drawing/2014/main" id="{CA732870-3912-4A4A-AB2D-FEAB0F167A1F}"/>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rgbClr val="FFFF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068" name="Group 1067">
            <a:extLst>
              <a:ext uri="{FF2B5EF4-FFF2-40B4-BE49-F238E27FC236}">
                <a16:creationId xmlns:a16="http://schemas.microsoft.com/office/drawing/2014/main" id="{BBB8365B-18E2-4792-94B9-4B1FD4964208}"/>
              </a:ext>
            </a:extLst>
          </p:cNvPr>
          <p:cNvGrpSpPr/>
          <p:nvPr/>
        </p:nvGrpSpPr>
        <p:grpSpPr>
          <a:xfrm>
            <a:off x="10504155" y="2496766"/>
            <a:ext cx="616488" cy="651720"/>
            <a:chOff x="13973841" y="3823518"/>
            <a:chExt cx="1577751" cy="1687170"/>
          </a:xfrm>
          <a:solidFill>
            <a:schemeClr val="bg1">
              <a:lumMod val="75000"/>
            </a:schemeClr>
          </a:solidFill>
        </p:grpSpPr>
        <p:sp>
          <p:nvSpPr>
            <p:cNvPr id="1069" name="Oval 240">
              <a:extLst>
                <a:ext uri="{FF2B5EF4-FFF2-40B4-BE49-F238E27FC236}">
                  <a16:creationId xmlns:a16="http://schemas.microsoft.com/office/drawing/2014/main" id="{839518CD-E77A-4F5A-BFED-CFBCF050B85C}"/>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70" name="Oval 242">
              <a:extLst>
                <a:ext uri="{FF2B5EF4-FFF2-40B4-BE49-F238E27FC236}">
                  <a16:creationId xmlns:a16="http://schemas.microsoft.com/office/drawing/2014/main" id="{16DEFEA6-4A29-4CBA-A100-FDB2BCCAE052}"/>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71" name="Freeform 129">
              <a:extLst>
                <a:ext uri="{FF2B5EF4-FFF2-40B4-BE49-F238E27FC236}">
                  <a16:creationId xmlns:a16="http://schemas.microsoft.com/office/drawing/2014/main" id="{BFC3752A-F26C-46FB-8301-570DC4EE71CB}"/>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72" name="Freeform 130">
              <a:extLst>
                <a:ext uri="{FF2B5EF4-FFF2-40B4-BE49-F238E27FC236}">
                  <a16:creationId xmlns:a16="http://schemas.microsoft.com/office/drawing/2014/main" id="{9641F8AA-18C3-4943-B74D-41612261CBD8}"/>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73" name="Freeform 232">
              <a:extLst>
                <a:ext uri="{FF2B5EF4-FFF2-40B4-BE49-F238E27FC236}">
                  <a16:creationId xmlns:a16="http://schemas.microsoft.com/office/drawing/2014/main" id="{26A0F620-F638-4217-9657-0EE4E18A3EAA}"/>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pic>
          <p:nvPicPr>
            <p:cNvPr id="1074" name="Graphic 1073">
              <a:extLst>
                <a:ext uri="{FF2B5EF4-FFF2-40B4-BE49-F238E27FC236}">
                  <a16:creationId xmlns:a16="http://schemas.microsoft.com/office/drawing/2014/main" id="{7D19B8BF-C05C-4AAB-91C7-2B58A80D003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715068" y="3908875"/>
              <a:ext cx="192326" cy="150595"/>
            </a:xfrm>
            <a:prstGeom prst="rect">
              <a:avLst/>
            </a:prstGeom>
          </p:spPr>
        </p:pic>
        <p:sp>
          <p:nvSpPr>
            <p:cNvPr id="1075" name="Oval 240">
              <a:extLst>
                <a:ext uri="{FF2B5EF4-FFF2-40B4-BE49-F238E27FC236}">
                  <a16:creationId xmlns:a16="http://schemas.microsoft.com/office/drawing/2014/main" id="{384AFB25-43C2-4279-BE2F-EEEB11262522}"/>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76" name="Oval 240">
              <a:extLst>
                <a:ext uri="{FF2B5EF4-FFF2-40B4-BE49-F238E27FC236}">
                  <a16:creationId xmlns:a16="http://schemas.microsoft.com/office/drawing/2014/main" id="{3A35BCEC-5525-46E8-AB9D-FC3784DD80AA}"/>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77" name="Circle: Hollow 1076">
              <a:extLst>
                <a:ext uri="{FF2B5EF4-FFF2-40B4-BE49-F238E27FC236}">
                  <a16:creationId xmlns:a16="http://schemas.microsoft.com/office/drawing/2014/main" id="{F9EA9933-F2FA-4BB3-90DD-B78300C4AA11}"/>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sp>
          <p:nvSpPr>
            <p:cNvPr id="1078" name="Freeform 501">
              <a:extLst>
                <a:ext uri="{FF2B5EF4-FFF2-40B4-BE49-F238E27FC236}">
                  <a16:creationId xmlns:a16="http://schemas.microsoft.com/office/drawing/2014/main" id="{CB1F5228-2BEE-4F53-A09A-1C2C4F186273}"/>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79" name="Rounded Rectangle 13">
              <a:extLst>
                <a:ext uri="{FF2B5EF4-FFF2-40B4-BE49-F238E27FC236}">
                  <a16:creationId xmlns:a16="http://schemas.microsoft.com/office/drawing/2014/main" id="{F5B1BB3B-2AAC-4037-94DD-2C14F01E5CBA}"/>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1080" name="Freeform: Shape 1079">
              <a:extLst>
                <a:ext uri="{FF2B5EF4-FFF2-40B4-BE49-F238E27FC236}">
                  <a16:creationId xmlns:a16="http://schemas.microsoft.com/office/drawing/2014/main" id="{270C5674-FF30-4AFE-A356-29240F9C2919}"/>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188998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8"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Extensive Partner Ecosystem</a:t>
            </a:r>
          </a:p>
        </p:txBody>
      </p:sp>
      <p:sp>
        <p:nvSpPr>
          <p:cNvPr id="29" name="TextBox 28">
            <a:extLst>
              <a:ext uri="{FF2B5EF4-FFF2-40B4-BE49-F238E27FC236}">
                <a16:creationId xmlns:a16="http://schemas.microsoft.com/office/drawing/2014/main" id="{0613D0DE-68CC-40E0-B290-DAF8CA344DD2}"/>
              </a:ext>
            </a:extLst>
          </p:cNvPr>
          <p:cNvSpPr txBox="1"/>
          <p:nvPr/>
        </p:nvSpPr>
        <p:spPr>
          <a:xfrm>
            <a:off x="2302135" y="1453738"/>
            <a:ext cx="9307252" cy="163796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32" name="TextBox 31">
            <a:extLst>
              <a:ext uri="{FF2B5EF4-FFF2-40B4-BE49-F238E27FC236}">
                <a16:creationId xmlns:a16="http://schemas.microsoft.com/office/drawing/2014/main" id="{33F0A69D-DBC4-4071-9ADC-808A4FACDDAE}"/>
              </a:ext>
            </a:extLst>
          </p:cNvPr>
          <p:cNvSpPr txBox="1"/>
          <p:nvPr/>
        </p:nvSpPr>
        <p:spPr>
          <a:xfrm>
            <a:off x="593348" y="1453738"/>
            <a:ext cx="1708787" cy="1637962"/>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2000" b="1" dirty="0">
                <a:solidFill>
                  <a:schemeClr val="bg1"/>
                </a:solidFill>
              </a:rPr>
              <a:t>WVD Approved Providers</a:t>
            </a:r>
          </a:p>
        </p:txBody>
      </p:sp>
      <p:sp>
        <p:nvSpPr>
          <p:cNvPr id="37" name="TextBox 36">
            <a:extLst>
              <a:ext uri="{FF2B5EF4-FFF2-40B4-BE49-F238E27FC236}">
                <a16:creationId xmlns:a16="http://schemas.microsoft.com/office/drawing/2014/main" id="{0EC99F30-1FF3-44ED-808D-5C0CB4E84722}"/>
              </a:ext>
            </a:extLst>
          </p:cNvPr>
          <p:cNvSpPr txBox="1"/>
          <p:nvPr/>
        </p:nvSpPr>
        <p:spPr>
          <a:xfrm>
            <a:off x="593348" y="3194348"/>
            <a:ext cx="1708787" cy="1637962"/>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2000" b="1" dirty="0">
                <a:solidFill>
                  <a:schemeClr val="bg1"/>
                </a:solidFill>
              </a:rPr>
              <a:t>WVD Value-Added Partners</a:t>
            </a:r>
          </a:p>
        </p:txBody>
      </p:sp>
      <p:sp>
        <p:nvSpPr>
          <p:cNvPr id="40" name="TextBox 39">
            <a:extLst>
              <a:ext uri="{FF2B5EF4-FFF2-40B4-BE49-F238E27FC236}">
                <a16:creationId xmlns:a16="http://schemas.microsoft.com/office/drawing/2014/main" id="{32615BBE-94AE-4BFE-A24E-5D1AB49CF7B4}"/>
              </a:ext>
            </a:extLst>
          </p:cNvPr>
          <p:cNvSpPr txBox="1"/>
          <p:nvPr/>
        </p:nvSpPr>
        <p:spPr>
          <a:xfrm>
            <a:off x="593348" y="4934960"/>
            <a:ext cx="1708787" cy="1637962"/>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2000" b="1" dirty="0">
                <a:solidFill>
                  <a:schemeClr val="bg1"/>
                </a:solidFill>
              </a:rPr>
              <a:t>WVD Hardware Partners</a:t>
            </a:r>
          </a:p>
        </p:txBody>
      </p:sp>
      <p:sp>
        <p:nvSpPr>
          <p:cNvPr id="36" name="TextBox 35">
            <a:extLst>
              <a:ext uri="{FF2B5EF4-FFF2-40B4-BE49-F238E27FC236}">
                <a16:creationId xmlns:a16="http://schemas.microsoft.com/office/drawing/2014/main" id="{6290C109-7D80-4317-BFCE-9F7675ED0D66}"/>
              </a:ext>
            </a:extLst>
          </p:cNvPr>
          <p:cNvSpPr txBox="1"/>
          <p:nvPr/>
        </p:nvSpPr>
        <p:spPr>
          <a:xfrm>
            <a:off x="2302135" y="3194348"/>
            <a:ext cx="9307252" cy="163796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39" name="TextBox 38">
            <a:extLst>
              <a:ext uri="{FF2B5EF4-FFF2-40B4-BE49-F238E27FC236}">
                <a16:creationId xmlns:a16="http://schemas.microsoft.com/office/drawing/2014/main" id="{CB05AC7B-54A1-4DAD-96C0-75D1BBCD4BD1}"/>
              </a:ext>
            </a:extLst>
          </p:cNvPr>
          <p:cNvSpPr txBox="1"/>
          <p:nvPr/>
        </p:nvSpPr>
        <p:spPr>
          <a:xfrm>
            <a:off x="2302135" y="4934960"/>
            <a:ext cx="9307252" cy="163796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pic>
        <p:nvPicPr>
          <p:cNvPr id="43" name="Picture 4" descr="See the source image">
            <a:extLst>
              <a:ext uri="{FF2B5EF4-FFF2-40B4-BE49-F238E27FC236}">
                <a16:creationId xmlns:a16="http://schemas.microsoft.com/office/drawing/2014/main" id="{3941CCE2-7E34-4BBA-85AA-DDB801A737F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55191" y="1885531"/>
            <a:ext cx="2054049" cy="77437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See the source image">
            <a:extLst>
              <a:ext uri="{FF2B5EF4-FFF2-40B4-BE49-F238E27FC236}">
                <a16:creationId xmlns:a16="http://schemas.microsoft.com/office/drawing/2014/main" id="{6AAF9BFD-B027-4A59-ADA3-6C095D1A840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31062" y="2017068"/>
            <a:ext cx="2972695" cy="48538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DF1C5E4B-D636-4763-B82E-F87F288E9F93}"/>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672331" y="3273107"/>
            <a:ext cx="2467138" cy="648000"/>
          </a:xfrm>
          <a:prstGeom prst="rect">
            <a:avLst/>
          </a:prstGeom>
        </p:spPr>
      </p:pic>
      <p:pic>
        <p:nvPicPr>
          <p:cNvPr id="46" name="Picture 45">
            <a:extLst>
              <a:ext uri="{FF2B5EF4-FFF2-40B4-BE49-F238E27FC236}">
                <a16:creationId xmlns:a16="http://schemas.microsoft.com/office/drawing/2014/main" id="{C4324F4B-B590-4E72-B171-B76C152C4549}"/>
              </a:ext>
            </a:extLst>
          </p:cNvPr>
          <p:cNvPicPr>
            <a:picLocks noChangeAspect="1"/>
          </p:cNvPicPr>
          <p:nvPr/>
        </p:nvPicPr>
        <p:blipFill>
          <a:blip r:embed="rId10" cstate="email">
            <a:extLst>
              <a:ext uri="{BEBA8EAE-BF5A-486C-A8C5-ECC9F3942E4B}">
                <a14:imgProps xmlns:a14="http://schemas.microsoft.com/office/drawing/2010/main">
                  <a14:imgLayer r:embed="rId11">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tretch>
            <a:fillRect/>
          </a:stretch>
        </p:blipFill>
        <p:spPr>
          <a:xfrm>
            <a:off x="7594591" y="4099363"/>
            <a:ext cx="1920000" cy="576000"/>
          </a:xfrm>
          <a:prstGeom prst="rect">
            <a:avLst/>
          </a:prstGeom>
        </p:spPr>
      </p:pic>
      <p:pic>
        <p:nvPicPr>
          <p:cNvPr id="47" name="Picture 46">
            <a:extLst>
              <a:ext uri="{FF2B5EF4-FFF2-40B4-BE49-F238E27FC236}">
                <a16:creationId xmlns:a16="http://schemas.microsoft.com/office/drawing/2014/main" id="{18A552FF-F720-4ACB-931B-A680B6EA0AF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493895" y="3164392"/>
            <a:ext cx="2592003" cy="864000"/>
          </a:xfrm>
          <a:prstGeom prst="rect">
            <a:avLst/>
          </a:prstGeom>
        </p:spPr>
      </p:pic>
      <p:pic>
        <p:nvPicPr>
          <p:cNvPr id="48" name="Picture 8" descr="See the source image">
            <a:extLst>
              <a:ext uri="{FF2B5EF4-FFF2-40B4-BE49-F238E27FC236}">
                <a16:creationId xmlns:a16="http://schemas.microsoft.com/office/drawing/2014/main" id="{100AAAE0-64AB-4879-95F0-F55F8459E02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381720" y="3973205"/>
            <a:ext cx="1699104" cy="78104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0" descr="See the source image">
            <a:extLst>
              <a:ext uri="{FF2B5EF4-FFF2-40B4-BE49-F238E27FC236}">
                <a16:creationId xmlns:a16="http://schemas.microsoft.com/office/drawing/2014/main" id="{842B445A-5A57-49EC-83F9-90EE7D739E8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454839" y="3341994"/>
            <a:ext cx="2448916" cy="80202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a:extLst>
              <a:ext uri="{FF2B5EF4-FFF2-40B4-BE49-F238E27FC236}">
                <a16:creationId xmlns:a16="http://schemas.microsoft.com/office/drawing/2014/main" id="{A15621E0-757D-4940-B5EB-79F4B21937D6}"/>
              </a:ext>
            </a:extLst>
          </p:cNvPr>
          <p:cNvPicPr>
            <a:picLocks noChangeAspect="1"/>
          </p:cNvPicPr>
          <p:nvPr/>
        </p:nvPicPr>
        <p:blipFill>
          <a:blip r:embed="rId15"/>
          <a:stretch>
            <a:fillRect/>
          </a:stretch>
        </p:blipFill>
        <p:spPr>
          <a:xfrm>
            <a:off x="10058316" y="3958966"/>
            <a:ext cx="1508604" cy="794801"/>
          </a:xfrm>
          <a:prstGeom prst="rect">
            <a:avLst/>
          </a:prstGeom>
        </p:spPr>
      </p:pic>
      <p:pic>
        <p:nvPicPr>
          <p:cNvPr id="51" name="Picture 50">
            <a:extLst>
              <a:ext uri="{FF2B5EF4-FFF2-40B4-BE49-F238E27FC236}">
                <a16:creationId xmlns:a16="http://schemas.microsoft.com/office/drawing/2014/main" id="{0685918B-B1F9-4D53-BFE0-504402A87905}"/>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2406441" y="5918580"/>
            <a:ext cx="2436793" cy="648000"/>
          </a:xfrm>
          <a:prstGeom prst="rect">
            <a:avLst/>
          </a:prstGeom>
        </p:spPr>
      </p:pic>
      <p:pic>
        <p:nvPicPr>
          <p:cNvPr id="52" name="Picture 51" descr="A close up of a sign&#10;&#10;Description automatically generated">
            <a:extLst>
              <a:ext uri="{FF2B5EF4-FFF2-40B4-BE49-F238E27FC236}">
                <a16:creationId xmlns:a16="http://schemas.microsoft.com/office/drawing/2014/main" id="{0C487BEC-E49E-4DE5-9E02-B1A4A4ECFC87}"/>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503259" y="5011484"/>
            <a:ext cx="1053760" cy="684000"/>
          </a:xfrm>
          <a:prstGeom prst="rect">
            <a:avLst/>
          </a:prstGeom>
        </p:spPr>
      </p:pic>
      <p:pic>
        <p:nvPicPr>
          <p:cNvPr id="53" name="Picture 52" descr="A close up of a sign&#10;&#10;Description automatically generated">
            <a:extLst>
              <a:ext uri="{FF2B5EF4-FFF2-40B4-BE49-F238E27FC236}">
                <a16:creationId xmlns:a16="http://schemas.microsoft.com/office/drawing/2014/main" id="{C6791261-FBC7-47F2-8325-8E72EE9E786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849751" y="5061200"/>
            <a:ext cx="720000" cy="720000"/>
          </a:xfrm>
          <a:prstGeom prst="rect">
            <a:avLst/>
          </a:prstGeom>
        </p:spPr>
      </p:pic>
      <p:pic>
        <p:nvPicPr>
          <p:cNvPr id="54" name="Picture 53" descr="A close up of a logo&#10;&#10;Description automatically generated">
            <a:extLst>
              <a:ext uri="{FF2B5EF4-FFF2-40B4-BE49-F238E27FC236}">
                <a16:creationId xmlns:a16="http://schemas.microsoft.com/office/drawing/2014/main" id="{02DD51B4-2331-4D38-AB7F-BFE1BB85B7E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584888" y="5061200"/>
            <a:ext cx="720000" cy="720000"/>
          </a:xfrm>
          <a:prstGeom prst="rect">
            <a:avLst/>
          </a:prstGeom>
        </p:spPr>
      </p:pic>
      <p:pic>
        <p:nvPicPr>
          <p:cNvPr id="55" name="Picture 54" descr="A picture containing clipart&#10;&#10;Description automatically generated">
            <a:extLst>
              <a:ext uri="{FF2B5EF4-FFF2-40B4-BE49-F238E27FC236}">
                <a16:creationId xmlns:a16="http://schemas.microsoft.com/office/drawing/2014/main" id="{4A652C10-DED0-40EB-A783-D86009C7E44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642165" y="5904165"/>
            <a:ext cx="1707760" cy="569254"/>
          </a:xfrm>
          <a:prstGeom prst="rect">
            <a:avLst/>
          </a:prstGeom>
        </p:spPr>
      </p:pic>
      <p:pic>
        <p:nvPicPr>
          <p:cNvPr id="56" name="Picture 55">
            <a:extLst>
              <a:ext uri="{FF2B5EF4-FFF2-40B4-BE49-F238E27FC236}">
                <a16:creationId xmlns:a16="http://schemas.microsoft.com/office/drawing/2014/main" id="{B402FBF9-7C61-4DE0-AE0F-FCBF5B1C3F13}"/>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802737" y="5029736"/>
            <a:ext cx="1086791" cy="720000"/>
          </a:xfrm>
          <a:prstGeom prst="rect">
            <a:avLst/>
          </a:prstGeom>
        </p:spPr>
      </p:pic>
      <p:pic>
        <p:nvPicPr>
          <p:cNvPr id="57" name="Picture 56">
            <a:extLst>
              <a:ext uri="{FF2B5EF4-FFF2-40B4-BE49-F238E27FC236}">
                <a16:creationId xmlns:a16="http://schemas.microsoft.com/office/drawing/2014/main" id="{47C3EB5A-A1FB-42BB-BFA0-B07C2A090C0F}"/>
              </a:ext>
            </a:extLst>
          </p:cNvPr>
          <p:cNvPicPr>
            <a:picLocks noChangeAspect="1"/>
          </p:cNvPicPr>
          <p:nvPr/>
        </p:nvPicPr>
        <p:blipFill rotWithShape="1">
          <a:blip r:embed="rId22">
            <a:extLst>
              <a:ext uri="{28A0092B-C50C-407E-A947-70E740481C1C}">
                <a14:useLocalDpi xmlns:a14="http://schemas.microsoft.com/office/drawing/2010/main" val="0"/>
              </a:ext>
            </a:extLst>
          </a:blip>
          <a:srcRect l="6339" t="19546" r="7403" b="19982"/>
          <a:stretch/>
        </p:blipFill>
        <p:spPr>
          <a:xfrm>
            <a:off x="8214739" y="5828792"/>
            <a:ext cx="3311090" cy="720000"/>
          </a:xfrm>
          <a:prstGeom prst="rect">
            <a:avLst/>
          </a:prstGeom>
        </p:spPr>
      </p:pic>
      <p:grpSp>
        <p:nvGrpSpPr>
          <p:cNvPr id="30" name="Group 29">
            <a:extLst>
              <a:ext uri="{FF2B5EF4-FFF2-40B4-BE49-F238E27FC236}">
                <a16:creationId xmlns:a16="http://schemas.microsoft.com/office/drawing/2014/main" id="{888B6225-E286-4DF6-A937-540D4DB95829}"/>
              </a:ext>
            </a:extLst>
          </p:cNvPr>
          <p:cNvGrpSpPr/>
          <p:nvPr/>
        </p:nvGrpSpPr>
        <p:grpSpPr>
          <a:xfrm>
            <a:off x="10052458" y="146014"/>
            <a:ext cx="2033626" cy="1015650"/>
            <a:chOff x="10052458" y="146014"/>
            <a:chExt cx="2033626" cy="1015650"/>
          </a:xfrm>
        </p:grpSpPr>
        <p:pic>
          <p:nvPicPr>
            <p:cNvPr id="31" name="Picture 30">
              <a:extLst>
                <a:ext uri="{FF2B5EF4-FFF2-40B4-BE49-F238E27FC236}">
                  <a16:creationId xmlns:a16="http://schemas.microsoft.com/office/drawing/2014/main" id="{0080A9A4-AA57-42E1-A84D-2F20165B7BF9}"/>
                </a:ext>
              </a:extLst>
            </p:cNvPr>
            <p:cNvPicPr>
              <a:picLocks noChangeAspect="1"/>
            </p:cNvPicPr>
            <p:nvPr/>
          </p:nvPicPr>
          <p:blipFill>
            <a:blip r:embed="rId23"/>
            <a:stretch>
              <a:fillRect/>
            </a:stretch>
          </p:blipFill>
          <p:spPr>
            <a:xfrm>
              <a:off x="10052458" y="146014"/>
              <a:ext cx="2033626" cy="1015650"/>
            </a:xfrm>
            <a:prstGeom prst="rect">
              <a:avLst/>
            </a:prstGeom>
          </p:spPr>
        </p:pic>
        <p:sp>
          <p:nvSpPr>
            <p:cNvPr id="33" name="Rectangle 32">
              <a:extLst>
                <a:ext uri="{FF2B5EF4-FFF2-40B4-BE49-F238E27FC236}">
                  <a16:creationId xmlns:a16="http://schemas.microsoft.com/office/drawing/2014/main" id="{97778E6B-C71D-4C12-BC2F-F4FE3C951500}"/>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trong Partner Ecosystem</a:t>
              </a:r>
            </a:p>
          </p:txBody>
        </p:sp>
      </p:grpSp>
    </p:spTree>
    <p:extLst>
      <p:ext uri="{BB962C8B-B14F-4D97-AF65-F5344CB8AC3E}">
        <p14:creationId xmlns:p14="http://schemas.microsoft.com/office/powerpoint/2010/main" val="2584860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2"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Strong Expertise in Virtual Desktop Deployment and Management</a:t>
            </a:r>
          </a:p>
        </p:txBody>
      </p:sp>
      <p:graphicFrame>
        <p:nvGraphicFramePr>
          <p:cNvPr id="25" name="Table 24">
            <a:extLst>
              <a:ext uri="{FF2B5EF4-FFF2-40B4-BE49-F238E27FC236}">
                <a16:creationId xmlns:a16="http://schemas.microsoft.com/office/drawing/2014/main" id="{E745901B-0B3F-447C-852F-E28C59CBE894}"/>
              </a:ext>
            </a:extLst>
          </p:cNvPr>
          <p:cNvGraphicFramePr>
            <a:graphicFrameLocks noGrp="1"/>
          </p:cNvGraphicFramePr>
          <p:nvPr/>
        </p:nvGraphicFramePr>
        <p:xfrm>
          <a:off x="584200" y="1550309"/>
          <a:ext cx="11027664" cy="4806696"/>
        </p:xfrm>
        <a:graphic>
          <a:graphicData uri="http://schemas.openxmlformats.org/drawingml/2006/table">
            <a:tbl>
              <a:tblPr firstRow="1" bandRow="1" bandCol="1">
                <a:tableStyleId>{69012ECD-51FC-41F1-AA8D-1B2483CD663E}</a:tableStyleId>
              </a:tblPr>
              <a:tblGrid>
                <a:gridCol w="1691640">
                  <a:extLst>
                    <a:ext uri="{9D8B030D-6E8A-4147-A177-3AD203B41FA5}">
                      <a16:colId xmlns:a16="http://schemas.microsoft.com/office/drawing/2014/main" val="3678794857"/>
                    </a:ext>
                  </a:extLst>
                </a:gridCol>
                <a:gridCol w="4151376">
                  <a:extLst>
                    <a:ext uri="{9D8B030D-6E8A-4147-A177-3AD203B41FA5}">
                      <a16:colId xmlns:a16="http://schemas.microsoft.com/office/drawing/2014/main" val="3392629051"/>
                    </a:ext>
                  </a:extLst>
                </a:gridCol>
                <a:gridCol w="1517904">
                  <a:extLst>
                    <a:ext uri="{9D8B030D-6E8A-4147-A177-3AD203B41FA5}">
                      <a16:colId xmlns:a16="http://schemas.microsoft.com/office/drawing/2014/main" val="3236218526"/>
                    </a:ext>
                  </a:extLst>
                </a:gridCol>
                <a:gridCol w="1517904">
                  <a:extLst>
                    <a:ext uri="{9D8B030D-6E8A-4147-A177-3AD203B41FA5}">
                      <a16:colId xmlns:a16="http://schemas.microsoft.com/office/drawing/2014/main" val="1423547721"/>
                    </a:ext>
                  </a:extLst>
                </a:gridCol>
                <a:gridCol w="2148840">
                  <a:extLst>
                    <a:ext uri="{9D8B030D-6E8A-4147-A177-3AD203B41FA5}">
                      <a16:colId xmlns:a16="http://schemas.microsoft.com/office/drawing/2014/main" val="3650012433"/>
                    </a:ext>
                  </a:extLst>
                </a:gridCol>
              </a:tblGrid>
              <a:tr h="0">
                <a:tc>
                  <a:txBody>
                    <a:bodyPr/>
                    <a:lstStyle/>
                    <a:p>
                      <a:pPr algn="ctr"/>
                      <a:r>
                        <a:rPr lang="en-US" sz="1600" b="1" kern="1200" dirty="0">
                          <a:solidFill>
                            <a:schemeClr val="bg1"/>
                          </a:solidFill>
                          <a:latin typeface="+mn-lt"/>
                          <a:ea typeface="+mn-ea"/>
                          <a:cs typeface="+mn-cs"/>
                        </a:rPr>
                        <a:t>Category</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US" sz="1600" dirty="0">
                          <a:solidFill>
                            <a:schemeClr val="bg1"/>
                          </a:solidFill>
                        </a:rPr>
                        <a:t>Description</a:t>
                      </a:r>
                    </a:p>
                  </a:txBody>
                  <a:tcPr marL="73152" marR="73152" marT="54864" marB="5486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gridSpan="2">
                  <a:txBody>
                    <a:bodyPr/>
                    <a:lstStyle/>
                    <a:p>
                      <a:pPr algn="ctr"/>
                      <a:r>
                        <a:rPr lang="en-US" sz="1600" dirty="0">
                          <a:solidFill>
                            <a:schemeClr val="bg1"/>
                          </a:solidFill>
                        </a:rPr>
                        <a:t>Partner Solution Examples</a:t>
                      </a:r>
                    </a:p>
                  </a:txBody>
                  <a:tcPr marL="73152" marR="73152" marT="54864" marB="5486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hMerge="1">
                  <a:txBody>
                    <a:bodyPr/>
                    <a:lstStyle/>
                    <a:p>
                      <a:endParaRPr lang="en-US"/>
                    </a:p>
                  </a:txBody>
                  <a:tcPr/>
                </a:tc>
                <a:tc>
                  <a:txBody>
                    <a:bodyPr/>
                    <a:lstStyle/>
                    <a:p>
                      <a:pPr algn="ctr"/>
                      <a:r>
                        <a:rPr lang="en-US" sz="1600" dirty="0">
                          <a:solidFill>
                            <a:schemeClr val="bg1"/>
                          </a:solidFill>
                        </a:rPr>
                        <a:t>Delivery Mechanism</a:t>
                      </a:r>
                    </a:p>
                  </a:txBody>
                  <a:tcPr marL="73152" marR="73152" marT="54864" marB="54864"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2403657619"/>
                  </a:ext>
                </a:extLst>
              </a:tr>
              <a:tr h="0">
                <a:tc>
                  <a:txBody>
                    <a:bodyPr/>
                    <a:lstStyle/>
                    <a:p>
                      <a:r>
                        <a:rPr lang="en-US" sz="1400" b="1" i="1" dirty="0">
                          <a:solidFill>
                            <a:schemeClr val="tx1"/>
                          </a:solidFill>
                          <a:latin typeface="+mn-lt"/>
                        </a:rPr>
                        <a:t>Customer </a:t>
                      </a:r>
                    </a:p>
                    <a:p>
                      <a:r>
                        <a:rPr lang="en-US" sz="1400" b="1" i="1" dirty="0">
                          <a:solidFill>
                            <a:schemeClr val="tx1"/>
                          </a:solidFill>
                          <a:latin typeface="+mn-lt"/>
                        </a:rPr>
                        <a:t>Environment Assessment</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Assess resource utilization of apps/users/OS, baseline user experiences and recommend sizing for WVD</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gridSpan="2">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akeside</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iquidware</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dirty="0">
                          <a:solidFill>
                            <a:schemeClr val="tx1"/>
                          </a:solidFill>
                          <a:latin typeface="+mn-lt"/>
                          <a:ea typeface="+mn-ea"/>
                          <a:cs typeface="+mn-cs"/>
                        </a:rPr>
                        <a:t>ControlUp</a:t>
                      </a: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174625" indent="-174625" algn="l" defTabSz="932742" rtl="0" eaLnBrk="1" latinLnBrk="0" hangingPunct="1">
                        <a:spcAft>
                          <a:spcPts val="300"/>
                        </a:spcAft>
                        <a:buFont typeface="Arial" panose="020B0604020202020204" pitchFamily="34" charset="0"/>
                        <a:buChar char="•"/>
                      </a:pPr>
                      <a:endParaRPr lang="en-US" sz="1400" kern="1200" dirty="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igrate</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OCP</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414299413"/>
                  </a:ext>
                </a:extLst>
              </a:tr>
              <a:tr h="0">
                <a:tc>
                  <a:txBody>
                    <a:bodyPr/>
                    <a:lstStyle/>
                    <a:p>
                      <a:r>
                        <a:rPr lang="en-US" sz="1400" b="1" i="1" dirty="0">
                          <a:solidFill>
                            <a:schemeClr val="tx1"/>
                          </a:solidFill>
                          <a:latin typeface="+mn-lt"/>
                        </a:rPr>
                        <a:t>Diagnostics &amp; End User Experience Monitoring</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Assess, monitor, and manage end user experiences with GUI enabling reactive troubleshooting as well as predictive troubleshooting leveraging AI/ML</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akeside</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iquidware</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ControlUp</a:t>
                      </a: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RDPSoft</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Sepago</a:t>
                      </a:r>
                    </a:p>
                    <a:p>
                      <a:pPr marL="174625" indent="-174625" algn="l" defTabSz="932742" rtl="0" eaLnBrk="1" latinLnBrk="0" hangingPunct="1">
                        <a:spcAft>
                          <a:spcPts val="300"/>
                        </a:spcAft>
                        <a:buFont typeface="Arial" panose="020B0604020202020204" pitchFamily="34" charset="0"/>
                        <a:buChar char="•"/>
                      </a:pPr>
                      <a:endParaRPr lang="en-US" sz="1400" kern="1200" dirty="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arketplace</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81335895"/>
                  </a:ext>
                </a:extLst>
              </a:tr>
              <a:tr h="0">
                <a:tc>
                  <a:txBody>
                    <a:bodyPr/>
                    <a:lstStyle/>
                    <a:p>
                      <a:r>
                        <a:rPr lang="en-US" sz="1400" b="1" i="1" dirty="0">
                          <a:solidFill>
                            <a:schemeClr val="tx1"/>
                          </a:solidFill>
                          <a:latin typeface="+mn-lt"/>
                        </a:rPr>
                        <a:t>Application Layering</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Enable dynamic provisioning of apps during boot/log on time based on user profile</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gridSpan="2">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iquidware</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dirty="0">
                          <a:solidFill>
                            <a:schemeClr val="tx1"/>
                          </a:solidFill>
                          <a:latin typeface="+mn-lt"/>
                          <a:ea typeface="+mn-ea"/>
                          <a:cs typeface="+mn-cs"/>
                        </a:rPr>
                        <a:t>Citrix’s Unidesk</a:t>
                      </a: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US" sz="1400" kern="1200" dirty="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arketplace</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302632223"/>
                  </a:ext>
                </a:extLst>
              </a:tr>
              <a:tr h="0">
                <a:tc>
                  <a:txBody>
                    <a:bodyPr/>
                    <a:lstStyle/>
                    <a:p>
                      <a:r>
                        <a:rPr lang="en-US" sz="1400" b="1" i="1" dirty="0">
                          <a:solidFill>
                            <a:schemeClr val="tx1"/>
                          </a:solidFill>
                          <a:latin typeface="+mn-lt"/>
                        </a:rPr>
                        <a:t>Management</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Deployment and configuration</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ctive Cypher</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CloudVae</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CloudJumper</a:t>
                      </a: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Nerdio</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PTG </a:t>
                      </a:r>
                      <a:r>
                        <a:rPr lang="en-US" sz="1400" kern="1200" noProof="0" dirty="0">
                          <a:solidFill>
                            <a:schemeClr val="tx1"/>
                          </a:solidFill>
                          <a:latin typeface="+mn-lt"/>
                          <a:ea typeface="+mn-ea"/>
                          <a:cs typeface="+mn-cs"/>
                        </a:rPr>
                        <a:t>Ubikite </a:t>
                      </a:r>
                    </a:p>
                    <a:p>
                      <a:pPr marL="174625" indent="-174625" algn="l" defTabSz="932742" rtl="0" eaLnBrk="1" latinLnBrk="0" hangingPunct="1">
                        <a:spcAft>
                          <a:spcPts val="300"/>
                        </a:spcAft>
                        <a:buFont typeface="Arial" panose="020B0604020202020204" pitchFamily="34" charset="0"/>
                        <a:buChar char="•"/>
                      </a:pPr>
                      <a:endParaRPr lang="en-US" sz="1400" kern="1200" noProof="0" dirty="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arketplace</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24642190"/>
                  </a:ext>
                </a:extLst>
              </a:tr>
              <a:tr h="0">
                <a:tc>
                  <a:txBody>
                    <a:bodyPr/>
                    <a:lstStyle/>
                    <a:p>
                      <a:r>
                        <a:rPr lang="en-US" sz="1400" b="1" i="1" dirty="0">
                          <a:solidFill>
                            <a:schemeClr val="tx1"/>
                          </a:solidFill>
                          <a:latin typeface="+mn-lt"/>
                        </a:rPr>
                        <a:t>Printing</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Remove the need for print server infrastructure</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gridSpan="2">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Uprint</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dirty="0">
                          <a:solidFill>
                            <a:schemeClr val="tx1"/>
                          </a:solidFill>
                          <a:latin typeface="+mn-lt"/>
                          <a:ea typeface="+mn-ea"/>
                          <a:cs typeface="+mn-cs"/>
                        </a:rPr>
                        <a:t>ThinPrint</a:t>
                      </a: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US" sz="1400" kern="1200" dirty="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arketplace</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08866528"/>
                  </a:ext>
                </a:extLst>
              </a:tr>
              <a:tr h="0">
                <a:tc>
                  <a:txBody>
                    <a:bodyPr/>
                    <a:lstStyle/>
                    <a:p>
                      <a:r>
                        <a:rPr lang="en-US" sz="1400" b="1" i="1" dirty="0">
                          <a:solidFill>
                            <a:schemeClr val="tx1"/>
                          </a:solidFill>
                          <a:latin typeface="+mn-lt"/>
                        </a:rPr>
                        <a:t>App Compat Assessment / Remediation</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Assess app compatibility for layering new packaging</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Cloudhouse</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dirty="0">
                          <a:solidFill>
                            <a:schemeClr val="tx1"/>
                          </a:solidFill>
                          <a:latin typeface="+mn-lt"/>
                          <a:ea typeface="+mn-ea"/>
                          <a:cs typeface="+mn-cs"/>
                        </a:rPr>
                        <a:t>Citrix’s Unidesk</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dirty="0" err="1">
                          <a:solidFill>
                            <a:schemeClr val="tx1"/>
                          </a:solidFill>
                          <a:latin typeface="+mn-lt"/>
                          <a:ea typeface="+mn-ea"/>
                          <a:cs typeface="+mn-cs"/>
                        </a:rPr>
                        <a:t>Numecent</a:t>
                      </a:r>
                      <a:endParaRPr lang="en-US" sz="1400" kern="1200" dirty="0">
                        <a:solidFill>
                          <a:schemeClr val="tx1"/>
                        </a:solidFill>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iquidware</a:t>
                      </a:r>
                    </a:p>
                    <a:p>
                      <a:pPr marL="174625" indent="-174625" algn="l" defTabSz="932742" rtl="0" eaLnBrk="1" latinLnBrk="0" hangingPunct="1">
                        <a:spcAft>
                          <a:spcPts val="300"/>
                        </a:spcAft>
                        <a:buFont typeface="Arial" panose="020B0604020202020204" pitchFamily="34" charset="0"/>
                        <a:buChar char="•"/>
                      </a:pPr>
                      <a:endParaRPr lang="en-US" sz="1400" kern="1200" dirty="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arketplace</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649513861"/>
                  </a:ext>
                </a:extLst>
              </a:tr>
            </a:tbl>
          </a:graphicData>
        </a:graphic>
      </p:graphicFrame>
      <p:grpSp>
        <p:nvGrpSpPr>
          <p:cNvPr id="9" name="Group 8">
            <a:extLst>
              <a:ext uri="{FF2B5EF4-FFF2-40B4-BE49-F238E27FC236}">
                <a16:creationId xmlns:a16="http://schemas.microsoft.com/office/drawing/2014/main" id="{F31697C7-7ECC-47E2-A10A-28645352E6F4}"/>
              </a:ext>
            </a:extLst>
          </p:cNvPr>
          <p:cNvGrpSpPr/>
          <p:nvPr/>
        </p:nvGrpSpPr>
        <p:grpSpPr>
          <a:xfrm>
            <a:off x="10052458" y="146014"/>
            <a:ext cx="2033626" cy="1015650"/>
            <a:chOff x="10052458" y="146014"/>
            <a:chExt cx="2033626" cy="1015650"/>
          </a:xfrm>
        </p:grpSpPr>
        <p:pic>
          <p:nvPicPr>
            <p:cNvPr id="10" name="Picture 9">
              <a:extLst>
                <a:ext uri="{FF2B5EF4-FFF2-40B4-BE49-F238E27FC236}">
                  <a16:creationId xmlns:a16="http://schemas.microsoft.com/office/drawing/2014/main" id="{56CD8558-EE5C-4818-BBFD-F30247671180}"/>
                </a:ext>
              </a:extLst>
            </p:cNvPr>
            <p:cNvPicPr>
              <a:picLocks noChangeAspect="1"/>
            </p:cNvPicPr>
            <p:nvPr/>
          </p:nvPicPr>
          <p:blipFill>
            <a:blip r:embed="rId7"/>
            <a:stretch>
              <a:fillRect/>
            </a:stretch>
          </p:blipFill>
          <p:spPr>
            <a:xfrm>
              <a:off x="10052458" y="146014"/>
              <a:ext cx="2033626" cy="1015650"/>
            </a:xfrm>
            <a:prstGeom prst="rect">
              <a:avLst/>
            </a:prstGeom>
          </p:spPr>
        </p:pic>
        <p:sp>
          <p:nvSpPr>
            <p:cNvPr id="11" name="Rectangle 10">
              <a:extLst>
                <a:ext uri="{FF2B5EF4-FFF2-40B4-BE49-F238E27FC236}">
                  <a16:creationId xmlns:a16="http://schemas.microsoft.com/office/drawing/2014/main" id="{45CABAC3-173A-45AB-BD84-71CBEB7D55C1}"/>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trong Partner Ecosystem</a:t>
              </a:r>
            </a:p>
          </p:txBody>
        </p:sp>
      </p:grpSp>
    </p:spTree>
    <p:extLst>
      <p:ext uri="{BB962C8B-B14F-4D97-AF65-F5344CB8AC3E}">
        <p14:creationId xmlns:p14="http://schemas.microsoft.com/office/powerpoint/2010/main" val="3115246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3A61C4-A31B-410F-9D1E-30080BC30C7D}"/>
              </a:ext>
            </a:extLst>
          </p:cNvPr>
          <p:cNvGraphicFramePr>
            <a:graphicFrameLocks noChangeAspect="1"/>
          </p:cNvGraphicFramePr>
          <p:nvPr>
            <p:custDataLst>
              <p:tags r:id="rId2"/>
            </p:custDataLst>
            <p:extLst>
              <p:ext uri="{D42A27DB-BD31-4B8C-83A1-F6EECF244321}">
                <p14:modId xmlns:p14="http://schemas.microsoft.com/office/powerpoint/2010/main" val="193120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6" name="think-cell Slide" r:id="rId5" imgW="377" imgH="377" progId="TCLayout.ActiveDocument.1">
                  <p:embed/>
                </p:oleObj>
              </mc:Choice>
              <mc:Fallback>
                <p:oleObj name="think-cell Slide" r:id="rId5" imgW="377" imgH="377" progId="TCLayout.ActiveDocument.1">
                  <p:embed/>
                  <p:pic>
                    <p:nvPicPr>
                      <p:cNvPr id="5" name="Object 4" hidden="1">
                        <a:extLst>
                          <a:ext uri="{FF2B5EF4-FFF2-40B4-BE49-F238E27FC236}">
                            <a16:creationId xmlns:a16="http://schemas.microsoft.com/office/drawing/2014/main" id="{263A61C4-A31B-410F-9D1E-30080BC30C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A5D1835-83A6-443A-8F4D-CC72DD36985A}"/>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36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 name="Title 3">
            <a:extLst>
              <a:ext uri="{FF2B5EF4-FFF2-40B4-BE49-F238E27FC236}">
                <a16:creationId xmlns:a16="http://schemas.microsoft.com/office/drawing/2014/main" id="{FF1FF9EA-D7B7-49EB-B585-5E8E9B6B0C0D}"/>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3063533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014116-03E1-4727-816D-77AAD9DA7EA8}"/>
              </a:ext>
            </a:extLst>
          </p:cNvPr>
          <p:cNvGraphicFramePr>
            <a:graphicFrameLocks noChangeAspect="1"/>
          </p:cNvGraphicFramePr>
          <p:nvPr>
            <p:custDataLst>
              <p:tags r:id="rId2"/>
            </p:custDataLst>
            <p:extLst>
              <p:ext uri="{D42A27DB-BD31-4B8C-83A1-F6EECF244321}">
                <p14:modId xmlns:p14="http://schemas.microsoft.com/office/powerpoint/2010/main" val="4095068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0" name="think-cell Slide" r:id="rId4" imgW="503" imgH="503" progId="TCLayout.ActiveDocument.1">
                  <p:embed/>
                </p:oleObj>
              </mc:Choice>
              <mc:Fallback>
                <p:oleObj name="think-cell Slide" r:id="rId4" imgW="503" imgH="503" progId="TCLayout.ActiveDocument.1">
                  <p:embed/>
                  <p:pic>
                    <p:nvPicPr>
                      <p:cNvPr id="3" name="Object 2" hidden="1">
                        <a:extLst>
                          <a:ext uri="{FF2B5EF4-FFF2-40B4-BE49-F238E27FC236}">
                            <a16:creationId xmlns:a16="http://schemas.microsoft.com/office/drawing/2014/main" id="{C3014116-03E1-4727-816D-77AAD9DA7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D076FF-4442-4364-9D7F-B2CE1108FF59}"/>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56958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Straight Connector 53">
            <a:extLst>
              <a:ext uri="{FF2B5EF4-FFF2-40B4-BE49-F238E27FC236}">
                <a16:creationId xmlns:a16="http://schemas.microsoft.com/office/drawing/2014/main" id="{D7D39837-E3BC-4031-B70E-F5510683A4CE}"/>
              </a:ext>
            </a:extLst>
          </p:cNvPr>
          <p:cNvCxnSpPr>
            <a:cxnSpLocks/>
            <a:endCxn id="63" idx="0"/>
          </p:cNvCxnSpPr>
          <p:nvPr/>
        </p:nvCxnSpPr>
        <p:spPr>
          <a:xfrm>
            <a:off x="8245907" y="4207487"/>
            <a:ext cx="1" cy="817283"/>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2012385-1049-42F9-9C03-42C423966195}"/>
              </a:ext>
            </a:extLst>
          </p:cNvPr>
          <p:cNvCxnSpPr>
            <a:cxnSpLocks/>
            <a:endCxn id="64" idx="0"/>
          </p:cNvCxnSpPr>
          <p:nvPr/>
        </p:nvCxnSpPr>
        <p:spPr>
          <a:xfrm>
            <a:off x="10770853" y="4207487"/>
            <a:ext cx="0" cy="817283"/>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EA412E61-DAB0-4BEA-B4C5-655AD45742D3}"/>
              </a:ext>
            </a:extLst>
          </p:cNvPr>
          <p:cNvSpPr>
            <a:spLocks noGrp="1"/>
          </p:cNvSpPr>
          <p:nvPr>
            <p:ph type="title"/>
          </p:nvPr>
        </p:nvSpPr>
        <p:spPr>
          <a:xfrm>
            <a:off x="588263" y="1996251"/>
            <a:ext cx="3369195" cy="2862322"/>
          </a:xfrm>
        </p:spPr>
        <p:txBody>
          <a:bodyPr/>
          <a:lstStyle/>
          <a:p>
            <a:r>
              <a:rPr lang="en-US" sz="3400" dirty="0"/>
              <a:t>Windows Virtual Desktop</a:t>
            </a:r>
            <a:br>
              <a:rPr lang="en-US" sz="3400" dirty="0"/>
            </a:br>
            <a:br>
              <a:rPr lang="en-US" sz="3400" dirty="0"/>
            </a:br>
            <a:r>
              <a:rPr lang="en-US" sz="2800" dirty="0">
                <a:latin typeface="Segoe UI Light" panose="020B0502040204020203" pitchFamily="34" charset="0"/>
                <a:cs typeface="Segoe UI Light" panose="020B0502040204020203" pitchFamily="34" charset="0"/>
              </a:rPr>
              <a:t>The best virtual desktop and app experience, delivered on Azure</a:t>
            </a:r>
          </a:p>
        </p:txBody>
      </p:sp>
      <p:cxnSp>
        <p:nvCxnSpPr>
          <p:cNvPr id="56" name="Straight Connector 55">
            <a:extLst>
              <a:ext uri="{FF2B5EF4-FFF2-40B4-BE49-F238E27FC236}">
                <a16:creationId xmlns:a16="http://schemas.microsoft.com/office/drawing/2014/main" id="{BDD3C4D3-984A-4C60-9953-FB3D575F96FA}"/>
              </a:ext>
            </a:extLst>
          </p:cNvPr>
          <p:cNvCxnSpPr>
            <a:cxnSpLocks/>
            <a:endCxn id="62" idx="0"/>
          </p:cNvCxnSpPr>
          <p:nvPr/>
        </p:nvCxnSpPr>
        <p:spPr>
          <a:xfrm>
            <a:off x="5720961" y="4207487"/>
            <a:ext cx="2" cy="817283"/>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9" name="Freeform 6">
            <a:extLst>
              <a:ext uri="{FF2B5EF4-FFF2-40B4-BE49-F238E27FC236}">
                <a16:creationId xmlns:a16="http://schemas.microsoft.com/office/drawing/2014/main" id="{4386C83B-7102-4756-A8A0-735A544DEF44}"/>
              </a:ext>
            </a:extLst>
          </p:cNvPr>
          <p:cNvSpPr>
            <a:spLocks/>
          </p:cNvSpPr>
          <p:nvPr/>
        </p:nvSpPr>
        <p:spPr bwMode="auto">
          <a:xfrm flipH="1">
            <a:off x="4705240" y="531258"/>
            <a:ext cx="7048720" cy="3886200"/>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bg1"/>
          </a:solidFill>
          <a:ln w="28575">
            <a:noFill/>
          </a:ln>
          <a:effectLst>
            <a:outerShdw blurRad="190500" dist="38100" dir="2700000" algn="tl" rotWithShape="0">
              <a:schemeClr val="bg1">
                <a:lumMod val="65000"/>
                <a:alpha val="35000"/>
              </a:schemeClr>
            </a:outerShdw>
          </a:effectLst>
        </p:spPr>
        <p:txBody>
          <a:bodyPr vert="horz" wrap="square" lIns="87834" tIns="43917" rIns="87834" bIns="43917" numCol="1" anchor="t" anchorCtr="0" compatLnSpc="1">
            <a:prstTxWarp prst="textNoShape">
              <a:avLst/>
            </a:prstTxWarp>
          </a:bodyPr>
          <a:lstStyle/>
          <a:p>
            <a:pPr defTabSz="895831">
              <a:defRPr/>
            </a:pPr>
            <a:endParaRPr lang="en-US" sz="1765" dirty="0">
              <a:solidFill>
                <a:srgbClr val="FFFFFF"/>
              </a:solidFill>
              <a:latin typeface="Segoe UI Semilight"/>
            </a:endParaRPr>
          </a:p>
        </p:txBody>
      </p:sp>
      <p:sp>
        <p:nvSpPr>
          <p:cNvPr id="62" name="Oval 61">
            <a:extLst>
              <a:ext uri="{FF2B5EF4-FFF2-40B4-BE49-F238E27FC236}">
                <a16:creationId xmlns:a16="http://schemas.microsoft.com/office/drawing/2014/main" id="{0178E484-23F2-4228-8A7A-F22B310BF62A}"/>
              </a:ext>
            </a:extLst>
          </p:cNvPr>
          <p:cNvSpPr/>
          <p:nvPr/>
        </p:nvSpPr>
        <p:spPr bwMode="auto">
          <a:xfrm>
            <a:off x="5063428" y="5024770"/>
            <a:ext cx="1315070" cy="1315070"/>
          </a:xfrm>
          <a:prstGeom prst="ellipse">
            <a:avLst/>
          </a:prstGeom>
          <a:noFill/>
          <a:ln w="12700">
            <a:solidFill>
              <a:schemeClr val="bg1">
                <a:lumMod val="75000"/>
              </a:schemeClr>
            </a:solidFill>
          </a:ln>
          <a:effectLst/>
        </p:spPr>
        <p:txBody>
          <a:bodyPr vert="horz" wrap="square" lIns="87834" tIns="43917" rIns="87834" bIns="43917" numCol="1" anchor="t" anchorCtr="0" compatLnSpc="1">
            <a:prstTxWarp prst="textNoShape">
              <a:avLst/>
            </a:prstTxWarp>
          </a:bodyPr>
          <a:lstStyle/>
          <a:p>
            <a:pPr defTabSz="895831">
              <a:defRPr/>
            </a:pPr>
            <a:endParaRPr lang="en-US" sz="1765" dirty="0">
              <a:solidFill>
                <a:srgbClr val="FFFFFF"/>
              </a:solidFill>
              <a:latin typeface="Segoe UI Semilight"/>
            </a:endParaRPr>
          </a:p>
        </p:txBody>
      </p:sp>
      <p:sp>
        <p:nvSpPr>
          <p:cNvPr id="63" name="Oval 62">
            <a:extLst>
              <a:ext uri="{FF2B5EF4-FFF2-40B4-BE49-F238E27FC236}">
                <a16:creationId xmlns:a16="http://schemas.microsoft.com/office/drawing/2014/main" id="{A3A0F9F6-0516-4425-9443-65D13C09BBC5}"/>
              </a:ext>
            </a:extLst>
          </p:cNvPr>
          <p:cNvSpPr/>
          <p:nvPr/>
        </p:nvSpPr>
        <p:spPr bwMode="auto">
          <a:xfrm>
            <a:off x="7588373" y="5024770"/>
            <a:ext cx="1315070" cy="1315070"/>
          </a:xfrm>
          <a:prstGeom prst="ellipse">
            <a:avLst/>
          </a:prstGeom>
          <a:noFill/>
          <a:ln w="12700">
            <a:solidFill>
              <a:schemeClr val="bg1">
                <a:lumMod val="75000"/>
              </a:schemeClr>
            </a:solidFill>
          </a:ln>
          <a:effectLst/>
        </p:spPr>
        <p:txBody>
          <a:bodyPr vert="horz" wrap="square" lIns="87834" tIns="43917" rIns="87834" bIns="43917" numCol="1" anchor="t" anchorCtr="0" compatLnSpc="1">
            <a:prstTxWarp prst="textNoShape">
              <a:avLst/>
            </a:prstTxWarp>
          </a:bodyPr>
          <a:lstStyle/>
          <a:p>
            <a:pPr defTabSz="895831">
              <a:defRPr/>
            </a:pPr>
            <a:endParaRPr lang="en-US" sz="1765" dirty="0">
              <a:solidFill>
                <a:srgbClr val="FFFFFF"/>
              </a:solidFill>
              <a:latin typeface="Segoe UI Semilight"/>
            </a:endParaRPr>
          </a:p>
        </p:txBody>
      </p:sp>
      <p:sp>
        <p:nvSpPr>
          <p:cNvPr id="64" name="Oval 63">
            <a:extLst>
              <a:ext uri="{FF2B5EF4-FFF2-40B4-BE49-F238E27FC236}">
                <a16:creationId xmlns:a16="http://schemas.microsoft.com/office/drawing/2014/main" id="{6337C1E6-A705-4FC3-80BD-EA942505FDEC}"/>
              </a:ext>
            </a:extLst>
          </p:cNvPr>
          <p:cNvSpPr/>
          <p:nvPr/>
        </p:nvSpPr>
        <p:spPr bwMode="auto">
          <a:xfrm>
            <a:off x="10113318" y="5024770"/>
            <a:ext cx="1315070" cy="1315070"/>
          </a:xfrm>
          <a:prstGeom prst="ellipse">
            <a:avLst/>
          </a:prstGeom>
          <a:noFill/>
          <a:ln w="12700">
            <a:solidFill>
              <a:schemeClr val="bg1">
                <a:lumMod val="75000"/>
              </a:schemeClr>
            </a:solidFill>
          </a:ln>
          <a:effectLst/>
        </p:spPr>
        <p:txBody>
          <a:bodyPr vert="horz" wrap="square" lIns="87834" tIns="43917" rIns="87834" bIns="43917" numCol="1" anchor="t" anchorCtr="0" compatLnSpc="1">
            <a:prstTxWarp prst="textNoShape">
              <a:avLst/>
            </a:prstTxWarp>
          </a:bodyPr>
          <a:lstStyle/>
          <a:p>
            <a:pPr defTabSz="895831">
              <a:defRPr/>
            </a:pPr>
            <a:endParaRPr lang="en-US" sz="1765" dirty="0">
              <a:solidFill>
                <a:srgbClr val="FFFFFF"/>
              </a:solidFill>
              <a:latin typeface="Segoe UI Semilight"/>
            </a:endParaRPr>
          </a:p>
        </p:txBody>
      </p:sp>
      <p:grpSp>
        <p:nvGrpSpPr>
          <p:cNvPr id="16" name="Group 15">
            <a:extLst>
              <a:ext uri="{FF2B5EF4-FFF2-40B4-BE49-F238E27FC236}">
                <a16:creationId xmlns:a16="http://schemas.microsoft.com/office/drawing/2014/main" id="{716456C0-66A5-4C33-A7E9-186DE3588C5D}"/>
              </a:ext>
            </a:extLst>
          </p:cNvPr>
          <p:cNvGrpSpPr/>
          <p:nvPr/>
        </p:nvGrpSpPr>
        <p:grpSpPr>
          <a:xfrm>
            <a:off x="6601128" y="2354505"/>
            <a:ext cx="1262712" cy="880072"/>
            <a:chOff x="6601128" y="2445945"/>
            <a:chExt cx="1262712" cy="880072"/>
          </a:xfrm>
        </p:grpSpPr>
        <p:pic>
          <p:nvPicPr>
            <p:cNvPr id="71" name="Picture 70">
              <a:extLst>
                <a:ext uri="{FF2B5EF4-FFF2-40B4-BE49-F238E27FC236}">
                  <a16:creationId xmlns:a16="http://schemas.microsoft.com/office/drawing/2014/main" id="{4C917733-AFC2-43E8-B89B-C3A6CF0F4FD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767" t="16112" r="16268" b="19693"/>
            <a:stretch/>
          </p:blipFill>
          <p:spPr>
            <a:xfrm>
              <a:off x="6601128" y="2445945"/>
              <a:ext cx="1262712" cy="880072"/>
            </a:xfrm>
            <a:prstGeom prst="rect">
              <a:avLst/>
            </a:prstGeom>
          </p:spPr>
        </p:pic>
        <p:sp>
          <p:nvSpPr>
            <p:cNvPr id="72" name="TextBox 71">
              <a:extLst>
                <a:ext uri="{FF2B5EF4-FFF2-40B4-BE49-F238E27FC236}">
                  <a16:creationId xmlns:a16="http://schemas.microsoft.com/office/drawing/2014/main" id="{51569AD7-FDC2-48E8-A049-DEF9DD509D2C}"/>
                </a:ext>
              </a:extLst>
            </p:cNvPr>
            <p:cNvSpPr txBox="1"/>
            <p:nvPr/>
          </p:nvSpPr>
          <p:spPr>
            <a:xfrm>
              <a:off x="6774024" y="2664382"/>
              <a:ext cx="916918" cy="443198"/>
            </a:xfrm>
            <a:prstGeom prst="rect">
              <a:avLst/>
            </a:prstGeom>
            <a:noFill/>
          </p:spPr>
          <p:txBody>
            <a:bodyPr wrap="none" lIns="0" tIns="0" rIns="0" bIns="0" rtlCol="0" anchor="ctr">
              <a:spAutoFit/>
            </a:bodyPr>
            <a:lstStyle/>
            <a:p>
              <a:pPr algn="ctr" defTabSz="914049">
                <a:lnSpc>
                  <a:spcPct val="90000"/>
                </a:lnSpc>
                <a:defRPr/>
              </a:pPr>
              <a:r>
                <a:rPr lang="en-US" sz="1600" dirty="0">
                  <a:solidFill>
                    <a:schemeClr val="bg1"/>
                  </a:solidFill>
                  <a:latin typeface="+mj-lt"/>
                </a:rPr>
                <a:t>Windows </a:t>
              </a:r>
              <a:br>
                <a:rPr lang="en-US" sz="1600" dirty="0">
                  <a:solidFill>
                    <a:schemeClr val="bg1"/>
                  </a:solidFill>
                  <a:latin typeface="+mj-lt"/>
                </a:rPr>
              </a:br>
              <a:r>
                <a:rPr lang="en-US" sz="1600" dirty="0">
                  <a:solidFill>
                    <a:schemeClr val="bg1"/>
                  </a:solidFill>
                  <a:latin typeface="+mj-lt"/>
                </a:rPr>
                <a:t>10/7</a:t>
              </a:r>
            </a:p>
          </p:txBody>
        </p:sp>
      </p:grpSp>
      <p:sp>
        <p:nvSpPr>
          <p:cNvPr id="12" name="TextBox 11">
            <a:extLst>
              <a:ext uri="{FF2B5EF4-FFF2-40B4-BE49-F238E27FC236}">
                <a16:creationId xmlns:a16="http://schemas.microsoft.com/office/drawing/2014/main" id="{0D21B3A6-6481-4D73-B819-9B28F197ED68}"/>
              </a:ext>
            </a:extLst>
          </p:cNvPr>
          <p:cNvSpPr txBox="1"/>
          <p:nvPr/>
        </p:nvSpPr>
        <p:spPr>
          <a:xfrm>
            <a:off x="6120384" y="1583560"/>
            <a:ext cx="2146421" cy="553998"/>
          </a:xfrm>
          <a:prstGeom prst="rect">
            <a:avLst/>
          </a:prstGeom>
          <a:noFill/>
        </p:spPr>
        <p:txBody>
          <a:bodyPr wrap="square" lIns="0" tIns="0" rIns="0" bIns="0" rtlCol="0" anchor="ctr">
            <a:noAutofit/>
          </a:bodyPr>
          <a:lstStyle/>
          <a:p>
            <a:r>
              <a:rPr lang="en-IN" sz="3200" dirty="0">
                <a:solidFill>
                  <a:srgbClr val="D83B01"/>
                </a:solidFill>
                <a:latin typeface="+mj-lt"/>
              </a:rPr>
              <a:t>Office 365</a:t>
            </a:r>
            <a:endParaRPr lang="en-US" sz="3200" dirty="0">
              <a:solidFill>
                <a:srgbClr val="D83B01"/>
              </a:solidFill>
              <a:latin typeface="+mj-lt"/>
            </a:endParaRPr>
          </a:p>
        </p:txBody>
      </p:sp>
      <p:sp>
        <p:nvSpPr>
          <p:cNvPr id="55" name="TextBox 54">
            <a:extLst>
              <a:ext uri="{FF2B5EF4-FFF2-40B4-BE49-F238E27FC236}">
                <a16:creationId xmlns:a16="http://schemas.microsoft.com/office/drawing/2014/main" id="{8F773426-43CB-4C2E-846A-4A772A94DE42}"/>
              </a:ext>
            </a:extLst>
          </p:cNvPr>
          <p:cNvSpPr txBox="1"/>
          <p:nvPr/>
        </p:nvSpPr>
        <p:spPr>
          <a:xfrm>
            <a:off x="8730416" y="1840470"/>
            <a:ext cx="1032335" cy="246221"/>
          </a:xfrm>
          <a:prstGeom prst="rect">
            <a:avLst/>
          </a:prstGeom>
          <a:noFill/>
        </p:spPr>
        <p:txBody>
          <a:bodyPr wrap="none" lIns="0" tIns="0" rIns="0" bIns="0" rtlCol="0" anchor="ctr">
            <a:spAutoFit/>
          </a:bodyPr>
          <a:lstStyle/>
          <a:p>
            <a:pPr algn="ctr"/>
            <a:r>
              <a:rPr lang="en-US" sz="1600" dirty="0">
                <a:solidFill>
                  <a:schemeClr val="tx1">
                    <a:lumMod val="65000"/>
                    <a:lumOff val="35000"/>
                  </a:schemeClr>
                </a:solidFill>
                <a:latin typeface="+mj-lt"/>
              </a:rPr>
              <a:t>Other apps</a:t>
            </a:r>
          </a:p>
        </p:txBody>
      </p:sp>
      <p:grpSp>
        <p:nvGrpSpPr>
          <p:cNvPr id="13" name="Group 12">
            <a:extLst>
              <a:ext uri="{FF2B5EF4-FFF2-40B4-BE49-F238E27FC236}">
                <a16:creationId xmlns:a16="http://schemas.microsoft.com/office/drawing/2014/main" id="{3034B762-217D-4BFE-9832-E9179EE499D0}"/>
              </a:ext>
            </a:extLst>
          </p:cNvPr>
          <p:cNvGrpSpPr/>
          <p:nvPr/>
        </p:nvGrpSpPr>
        <p:grpSpPr>
          <a:xfrm>
            <a:off x="8615602" y="1130737"/>
            <a:ext cx="597749" cy="600307"/>
            <a:chOff x="13868641" y="522867"/>
            <a:chExt cx="685620" cy="688554"/>
          </a:xfrm>
        </p:grpSpPr>
        <p:sp>
          <p:nvSpPr>
            <p:cNvPr id="37" name="Browser" title="Icon of a browser window">
              <a:extLst>
                <a:ext uri="{FF2B5EF4-FFF2-40B4-BE49-F238E27FC236}">
                  <a16:creationId xmlns:a16="http://schemas.microsoft.com/office/drawing/2014/main" id="{9B9DC63E-27F4-4B30-95B1-399F4C594B42}"/>
                </a:ext>
              </a:extLst>
            </p:cNvPr>
            <p:cNvSpPr>
              <a:spLocks noChangeAspect="1" noEditPoints="1"/>
            </p:cNvSpPr>
            <p:nvPr/>
          </p:nvSpPr>
          <p:spPr bwMode="auto">
            <a:xfrm>
              <a:off x="14097241" y="522867"/>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36" name="Browser" title="Icon of a browser window">
              <a:extLst>
                <a:ext uri="{FF2B5EF4-FFF2-40B4-BE49-F238E27FC236}">
                  <a16:creationId xmlns:a16="http://schemas.microsoft.com/office/drawing/2014/main" id="{68BB35A3-14E2-46B7-8049-CB2FEC56100C}"/>
                </a:ext>
              </a:extLst>
            </p:cNvPr>
            <p:cNvSpPr>
              <a:spLocks noChangeAspect="1" noEditPoints="1"/>
            </p:cNvSpPr>
            <p:nvPr/>
          </p:nvSpPr>
          <p:spPr bwMode="auto">
            <a:xfrm>
              <a:off x="13982941" y="684264"/>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35" name="Browser" title="Icon of a browser window">
              <a:extLst>
                <a:ext uri="{FF2B5EF4-FFF2-40B4-BE49-F238E27FC236}">
                  <a16:creationId xmlns:a16="http://schemas.microsoft.com/office/drawing/2014/main" id="{3AF99A66-0E9D-443D-A4D2-FFE0C804D053}"/>
                </a:ext>
              </a:extLst>
            </p:cNvPr>
            <p:cNvSpPr>
              <a:spLocks noChangeAspect="1" noEditPoints="1"/>
            </p:cNvSpPr>
            <p:nvPr/>
          </p:nvSpPr>
          <p:spPr bwMode="auto">
            <a:xfrm>
              <a:off x="13868641" y="845661"/>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grpSp>
      <p:grpSp>
        <p:nvGrpSpPr>
          <p:cNvPr id="39" name="Group 38">
            <a:extLst>
              <a:ext uri="{FF2B5EF4-FFF2-40B4-BE49-F238E27FC236}">
                <a16:creationId xmlns:a16="http://schemas.microsoft.com/office/drawing/2014/main" id="{3ACCF738-A40D-4D58-8DCA-19A1B3344432}"/>
              </a:ext>
            </a:extLst>
          </p:cNvPr>
          <p:cNvGrpSpPr/>
          <p:nvPr/>
        </p:nvGrpSpPr>
        <p:grpSpPr>
          <a:xfrm>
            <a:off x="9279812" y="1130737"/>
            <a:ext cx="597749" cy="600307"/>
            <a:chOff x="13868641" y="522867"/>
            <a:chExt cx="685620" cy="688554"/>
          </a:xfrm>
        </p:grpSpPr>
        <p:sp>
          <p:nvSpPr>
            <p:cNvPr id="40" name="Browser" title="Icon of a browser window">
              <a:extLst>
                <a:ext uri="{FF2B5EF4-FFF2-40B4-BE49-F238E27FC236}">
                  <a16:creationId xmlns:a16="http://schemas.microsoft.com/office/drawing/2014/main" id="{466BAC82-BE66-43C6-A6B8-8EE4B4F80B8C}"/>
                </a:ext>
              </a:extLst>
            </p:cNvPr>
            <p:cNvSpPr>
              <a:spLocks noChangeAspect="1" noEditPoints="1"/>
            </p:cNvSpPr>
            <p:nvPr/>
          </p:nvSpPr>
          <p:spPr bwMode="auto">
            <a:xfrm>
              <a:off x="14097241" y="522867"/>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41" name="Browser" title="Icon of a browser window">
              <a:extLst>
                <a:ext uri="{FF2B5EF4-FFF2-40B4-BE49-F238E27FC236}">
                  <a16:creationId xmlns:a16="http://schemas.microsoft.com/office/drawing/2014/main" id="{C7AD8A4B-2B0F-473F-8447-7209BF993D4D}"/>
                </a:ext>
              </a:extLst>
            </p:cNvPr>
            <p:cNvSpPr>
              <a:spLocks noChangeAspect="1" noEditPoints="1"/>
            </p:cNvSpPr>
            <p:nvPr/>
          </p:nvSpPr>
          <p:spPr bwMode="auto">
            <a:xfrm>
              <a:off x="13982941" y="684264"/>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42" name="Browser" title="Icon of a browser window">
              <a:extLst>
                <a:ext uri="{FF2B5EF4-FFF2-40B4-BE49-F238E27FC236}">
                  <a16:creationId xmlns:a16="http://schemas.microsoft.com/office/drawing/2014/main" id="{F1C4D17A-B272-4FFB-B36F-792BCA798FC5}"/>
                </a:ext>
              </a:extLst>
            </p:cNvPr>
            <p:cNvSpPr>
              <a:spLocks noChangeAspect="1" noEditPoints="1"/>
            </p:cNvSpPr>
            <p:nvPr/>
          </p:nvSpPr>
          <p:spPr bwMode="auto">
            <a:xfrm>
              <a:off x="13868641" y="845661"/>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grpSp>
      <p:grpSp>
        <p:nvGrpSpPr>
          <p:cNvPr id="15" name="Group 14">
            <a:extLst>
              <a:ext uri="{FF2B5EF4-FFF2-40B4-BE49-F238E27FC236}">
                <a16:creationId xmlns:a16="http://schemas.microsoft.com/office/drawing/2014/main" id="{9A34187B-112C-4D38-84A7-9BF22C23696C}"/>
              </a:ext>
            </a:extLst>
          </p:cNvPr>
          <p:cNvGrpSpPr/>
          <p:nvPr/>
        </p:nvGrpSpPr>
        <p:grpSpPr>
          <a:xfrm>
            <a:off x="8353728" y="2354505"/>
            <a:ext cx="1262712" cy="880072"/>
            <a:chOff x="8353728" y="2445945"/>
            <a:chExt cx="1262712" cy="880072"/>
          </a:xfrm>
        </p:grpSpPr>
        <p:pic>
          <p:nvPicPr>
            <p:cNvPr id="44" name="Picture 43">
              <a:extLst>
                <a:ext uri="{FF2B5EF4-FFF2-40B4-BE49-F238E27FC236}">
                  <a16:creationId xmlns:a16="http://schemas.microsoft.com/office/drawing/2014/main" id="{C2280B53-36B4-47D2-A1FE-2C46E5F29BB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767" t="16112" r="16268" b="19693"/>
            <a:stretch/>
          </p:blipFill>
          <p:spPr>
            <a:xfrm>
              <a:off x="8353728" y="2445945"/>
              <a:ext cx="1262712" cy="880072"/>
            </a:xfrm>
            <a:prstGeom prst="rect">
              <a:avLst/>
            </a:prstGeom>
          </p:spPr>
        </p:pic>
        <p:sp>
          <p:nvSpPr>
            <p:cNvPr id="45" name="TextBox 44">
              <a:extLst>
                <a:ext uri="{FF2B5EF4-FFF2-40B4-BE49-F238E27FC236}">
                  <a16:creationId xmlns:a16="http://schemas.microsoft.com/office/drawing/2014/main" id="{F2632F45-2C5B-4859-BDF2-4C76E3F4CA65}"/>
                </a:ext>
              </a:extLst>
            </p:cNvPr>
            <p:cNvSpPr txBox="1"/>
            <p:nvPr/>
          </p:nvSpPr>
          <p:spPr>
            <a:xfrm>
              <a:off x="8526625" y="2553583"/>
              <a:ext cx="916918" cy="664797"/>
            </a:xfrm>
            <a:prstGeom prst="rect">
              <a:avLst/>
            </a:prstGeom>
            <a:noFill/>
          </p:spPr>
          <p:txBody>
            <a:bodyPr wrap="none" lIns="0" tIns="0" rIns="0" bIns="0" rtlCol="0" anchor="ctr">
              <a:spAutoFit/>
            </a:bodyPr>
            <a:lstStyle/>
            <a:p>
              <a:pPr algn="ctr" defTabSz="914049">
                <a:lnSpc>
                  <a:spcPct val="90000"/>
                </a:lnSpc>
                <a:defRPr/>
              </a:pPr>
              <a:r>
                <a:rPr lang="en-US" sz="1600" dirty="0">
                  <a:solidFill>
                    <a:schemeClr val="bg1"/>
                  </a:solidFill>
                  <a:latin typeface="+mj-lt"/>
                </a:rPr>
                <a:t>Windows </a:t>
              </a:r>
            </a:p>
            <a:p>
              <a:pPr algn="ctr" defTabSz="914049">
                <a:lnSpc>
                  <a:spcPct val="90000"/>
                </a:lnSpc>
                <a:defRPr/>
              </a:pPr>
              <a:r>
                <a:rPr lang="en-US" sz="1600" dirty="0">
                  <a:solidFill>
                    <a:schemeClr val="bg1"/>
                  </a:solidFill>
                  <a:latin typeface="+mj-lt"/>
                </a:rPr>
                <a:t>Server</a:t>
              </a:r>
              <a:br>
                <a:rPr lang="en-US" sz="1600" dirty="0">
                  <a:solidFill>
                    <a:schemeClr val="bg1"/>
                  </a:solidFill>
                  <a:latin typeface="+mj-lt"/>
                </a:rPr>
              </a:br>
              <a:r>
                <a:rPr lang="en-US" sz="1600" dirty="0">
                  <a:solidFill>
                    <a:schemeClr val="bg1"/>
                  </a:solidFill>
                  <a:latin typeface="+mj-lt"/>
                </a:rPr>
                <a:t>(RDS)</a:t>
              </a:r>
            </a:p>
          </p:txBody>
        </p:sp>
      </p:grpSp>
      <p:pic>
        <p:nvPicPr>
          <p:cNvPr id="20" name="Picture 19">
            <a:extLst>
              <a:ext uri="{FF2B5EF4-FFF2-40B4-BE49-F238E27FC236}">
                <a16:creationId xmlns:a16="http://schemas.microsoft.com/office/drawing/2014/main" id="{28426D6C-85A1-479E-B33B-8FE32417B403}"/>
              </a:ext>
            </a:extLst>
          </p:cNvPr>
          <p:cNvPicPr>
            <a:picLocks noChangeAspect="1"/>
          </p:cNvPicPr>
          <p:nvPr/>
        </p:nvPicPr>
        <p:blipFill>
          <a:blip r:embed="rId4"/>
          <a:stretch>
            <a:fillRect/>
          </a:stretch>
        </p:blipFill>
        <p:spPr>
          <a:xfrm>
            <a:off x="5933440" y="3081659"/>
            <a:ext cx="4592320" cy="1518946"/>
          </a:xfrm>
          <a:prstGeom prst="rect">
            <a:avLst/>
          </a:prstGeom>
        </p:spPr>
      </p:pic>
      <p:sp>
        <p:nvSpPr>
          <p:cNvPr id="74" name="Tablet_E70A" title="Icon of a tablet">
            <a:extLst>
              <a:ext uri="{FF2B5EF4-FFF2-40B4-BE49-F238E27FC236}">
                <a16:creationId xmlns:a16="http://schemas.microsoft.com/office/drawing/2014/main" id="{367D4156-34B5-4576-8DDC-926BE6D2758D}"/>
              </a:ext>
            </a:extLst>
          </p:cNvPr>
          <p:cNvSpPr>
            <a:spLocks noChangeAspect="1" noEditPoints="1"/>
          </p:cNvSpPr>
          <p:nvPr/>
        </p:nvSpPr>
        <p:spPr bwMode="auto">
          <a:xfrm>
            <a:off x="7894551" y="5424378"/>
            <a:ext cx="702714" cy="515856"/>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6" name="CellPhone_E8EA" title="Icon of a cellphone">
            <a:extLst>
              <a:ext uri="{FF2B5EF4-FFF2-40B4-BE49-F238E27FC236}">
                <a16:creationId xmlns:a16="http://schemas.microsoft.com/office/drawing/2014/main" id="{0F94FE6C-0908-4C48-8CC0-44E6F1CF962B}"/>
              </a:ext>
            </a:extLst>
          </p:cNvPr>
          <p:cNvSpPr>
            <a:spLocks noChangeAspect="1" noEditPoints="1"/>
          </p:cNvSpPr>
          <p:nvPr/>
        </p:nvSpPr>
        <p:spPr bwMode="auto">
          <a:xfrm>
            <a:off x="5533542" y="5369988"/>
            <a:ext cx="374842" cy="624634"/>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7" name="Laptop_E770" title="Icon of a laptop">
            <a:extLst>
              <a:ext uri="{FF2B5EF4-FFF2-40B4-BE49-F238E27FC236}">
                <a16:creationId xmlns:a16="http://schemas.microsoft.com/office/drawing/2014/main" id="{B26D4F93-AEF4-4836-BA68-3EFBAD2D1194}"/>
              </a:ext>
            </a:extLst>
          </p:cNvPr>
          <p:cNvSpPr>
            <a:spLocks noChangeAspect="1" noEditPoints="1"/>
          </p:cNvSpPr>
          <p:nvPr/>
        </p:nvSpPr>
        <p:spPr bwMode="auto">
          <a:xfrm>
            <a:off x="10380457" y="5421805"/>
            <a:ext cx="780792" cy="52100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Tree>
    <p:extLst>
      <p:ext uri="{BB962C8B-B14F-4D97-AF65-F5344CB8AC3E}">
        <p14:creationId xmlns:p14="http://schemas.microsoft.com/office/powerpoint/2010/main" val="3204150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84FD0E2-9BAF-42A3-9A83-A5328862E297}"/>
              </a:ext>
            </a:extLst>
          </p:cNvPr>
          <p:cNvGrpSpPr/>
          <p:nvPr/>
        </p:nvGrpSpPr>
        <p:grpSpPr>
          <a:xfrm flipV="1">
            <a:off x="3714772" y="2666151"/>
            <a:ext cx="1278866" cy="841580"/>
            <a:chOff x="3714772" y="4419932"/>
            <a:chExt cx="1278866" cy="841580"/>
          </a:xfrm>
        </p:grpSpPr>
        <p:sp>
          <p:nvSpPr>
            <p:cNvPr id="25" name="Freeform: Shape 24">
              <a:extLst>
                <a:ext uri="{FF2B5EF4-FFF2-40B4-BE49-F238E27FC236}">
                  <a16:creationId xmlns:a16="http://schemas.microsoft.com/office/drawing/2014/main" id="{91AED4EE-0B93-4D03-A30F-1DE152D7D33A}"/>
                </a:ext>
              </a:extLst>
            </p:cNvPr>
            <p:cNvSpPr/>
            <p:nvPr/>
          </p:nvSpPr>
          <p:spPr bwMode="auto">
            <a:xfrm>
              <a:off x="3714772" y="4886960"/>
              <a:ext cx="1278866" cy="374552"/>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2000" dirty="0">
                <a:solidFill>
                  <a:srgbClr val="000000"/>
                </a:solidFill>
              </a:endParaRPr>
            </a:p>
          </p:txBody>
        </p:sp>
        <p:sp>
          <p:nvSpPr>
            <p:cNvPr id="26" name="Freeform: Shape 25">
              <a:extLst>
                <a:ext uri="{FF2B5EF4-FFF2-40B4-BE49-F238E27FC236}">
                  <a16:creationId xmlns:a16="http://schemas.microsoft.com/office/drawing/2014/main" id="{0421B590-CA1D-4628-BA71-8D1AEA06C7AA}"/>
                </a:ext>
              </a:extLst>
            </p:cNvPr>
            <p:cNvSpPr/>
            <p:nvPr/>
          </p:nvSpPr>
          <p:spPr bwMode="auto">
            <a:xfrm>
              <a:off x="3714772" y="4419932"/>
              <a:ext cx="938508" cy="176041"/>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2000" dirty="0">
                <a:solidFill>
                  <a:srgbClr val="000000"/>
                </a:solidFill>
              </a:endParaRPr>
            </a:p>
          </p:txBody>
        </p:sp>
      </p:grpSp>
      <p:grpSp>
        <p:nvGrpSpPr>
          <p:cNvPr id="7" name="Group 6">
            <a:extLst>
              <a:ext uri="{FF2B5EF4-FFF2-40B4-BE49-F238E27FC236}">
                <a16:creationId xmlns:a16="http://schemas.microsoft.com/office/drawing/2014/main" id="{6D6DA27D-28C7-4042-BC9A-F7533B25F273}"/>
              </a:ext>
            </a:extLst>
          </p:cNvPr>
          <p:cNvGrpSpPr/>
          <p:nvPr/>
        </p:nvGrpSpPr>
        <p:grpSpPr>
          <a:xfrm>
            <a:off x="3714772" y="4504957"/>
            <a:ext cx="1278866" cy="818669"/>
            <a:chOff x="3714772" y="4442843"/>
            <a:chExt cx="1278866" cy="818669"/>
          </a:xfrm>
        </p:grpSpPr>
        <p:sp>
          <p:nvSpPr>
            <p:cNvPr id="40" name="Freeform: Shape 39">
              <a:extLst>
                <a:ext uri="{FF2B5EF4-FFF2-40B4-BE49-F238E27FC236}">
                  <a16:creationId xmlns:a16="http://schemas.microsoft.com/office/drawing/2014/main" id="{13A8C5BF-E0DB-4B09-8780-CDDBEEFD34FD}"/>
                </a:ext>
              </a:extLst>
            </p:cNvPr>
            <p:cNvSpPr/>
            <p:nvPr/>
          </p:nvSpPr>
          <p:spPr bwMode="auto">
            <a:xfrm>
              <a:off x="3714772" y="4886960"/>
              <a:ext cx="1278866" cy="374552"/>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2000" dirty="0">
                <a:solidFill>
                  <a:srgbClr val="000000"/>
                </a:solidFill>
              </a:endParaRPr>
            </a:p>
          </p:txBody>
        </p:sp>
        <p:sp>
          <p:nvSpPr>
            <p:cNvPr id="41" name="Freeform: Shape 40">
              <a:extLst>
                <a:ext uri="{FF2B5EF4-FFF2-40B4-BE49-F238E27FC236}">
                  <a16:creationId xmlns:a16="http://schemas.microsoft.com/office/drawing/2014/main" id="{51AEF518-62C9-439F-B7C6-C403535388EA}"/>
                </a:ext>
              </a:extLst>
            </p:cNvPr>
            <p:cNvSpPr/>
            <p:nvPr/>
          </p:nvSpPr>
          <p:spPr bwMode="auto">
            <a:xfrm>
              <a:off x="3714772" y="4442843"/>
              <a:ext cx="938508" cy="176041"/>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2000" dirty="0">
                <a:solidFill>
                  <a:srgbClr val="000000"/>
                </a:solidFill>
              </a:endParaRPr>
            </a:p>
          </p:txBody>
        </p:sp>
      </p:grpSp>
      <p:sp>
        <p:nvSpPr>
          <p:cNvPr id="22" name="Oval 21">
            <a:extLst>
              <a:ext uri="{FF2B5EF4-FFF2-40B4-BE49-F238E27FC236}">
                <a16:creationId xmlns:a16="http://schemas.microsoft.com/office/drawing/2014/main" id="{8DA36D17-7DEE-4BCB-BA00-5BC74BA71123}"/>
              </a:ext>
            </a:extLst>
          </p:cNvPr>
          <p:cNvSpPr/>
          <p:nvPr/>
        </p:nvSpPr>
        <p:spPr bwMode="auto">
          <a:xfrm>
            <a:off x="4612385" y="2941421"/>
            <a:ext cx="2103120" cy="210312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b="1" dirty="0">
              <a:solidFill>
                <a:schemeClr val="bg1"/>
              </a:solidFill>
              <a:ea typeface="Segoe UI" pitchFamily="34" charset="0"/>
              <a:cs typeface="Segoe UI" pitchFamily="34" charset="0"/>
            </a:endParaRPr>
          </a:p>
        </p:txBody>
      </p:sp>
      <p:graphicFrame>
        <p:nvGraphicFramePr>
          <p:cNvPr id="11" name="Object 10" hidden="1">
            <a:extLst>
              <a:ext uri="{FF2B5EF4-FFF2-40B4-BE49-F238E27FC236}">
                <a16:creationId xmlns:a16="http://schemas.microsoft.com/office/drawing/2014/main" id="{AE551A52-A61D-4B01-AC4B-B80EF06C5A91}"/>
              </a:ext>
            </a:extLst>
          </p:cNvPr>
          <p:cNvGraphicFramePr>
            <a:graphicFrameLocks noChangeAspect="1"/>
          </p:cNvGraphicFramePr>
          <p:nvPr>
            <p:custDataLst>
              <p:tags r:id="rId2"/>
            </p:custData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spid="_x0000_s51204" name="think-cell Slide" r:id="rId6" imgW="425" imgH="424" progId="TCLayout.ActiveDocument.1">
                  <p:embed/>
                </p:oleObj>
              </mc:Choice>
              <mc:Fallback>
                <p:oleObj name="think-cell Slide" r:id="rId6" imgW="425" imgH="424" progId="TCLayout.ActiveDocument.1">
                  <p:embed/>
                  <p:pic>
                    <p:nvPicPr>
                      <p:cNvPr id="11" name="Object 10" hidden="1">
                        <a:extLst>
                          <a:ext uri="{FF2B5EF4-FFF2-40B4-BE49-F238E27FC236}">
                            <a16:creationId xmlns:a16="http://schemas.microsoft.com/office/drawing/2014/main" id="{AE551A52-A61D-4B01-AC4B-B80EF06C5A91}"/>
                          </a:ext>
                        </a:extLst>
                      </p:cNvPr>
                      <p:cNvPicPr/>
                      <p:nvPr/>
                    </p:nvPicPr>
                    <p:blipFill>
                      <a:blip r:embed="rId7"/>
                      <a:stretch>
                        <a:fillRect/>
                      </a:stretch>
                    </p:blipFill>
                    <p:spPr>
                      <a:xfrm>
                        <a:off x="2452" y="2074"/>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3B2D4C0-0CDD-4246-A244-44BCA2C04C63}"/>
              </a:ext>
            </a:extLst>
          </p:cNvPr>
          <p:cNvSpPr/>
          <p:nvPr>
            <p:custDataLst>
              <p:tags r:id="rId3"/>
            </p:custDataLst>
          </p:nvPr>
        </p:nvSpPr>
        <p:spPr bwMode="auto">
          <a:xfrm>
            <a:off x="865" y="48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293"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66" name="Oval 65">
            <a:extLst>
              <a:ext uri="{FF2B5EF4-FFF2-40B4-BE49-F238E27FC236}">
                <a16:creationId xmlns:a16="http://schemas.microsoft.com/office/drawing/2014/main" id="{8A6556FE-8915-4F92-8B5E-E4BB54CB6502}"/>
              </a:ext>
            </a:extLst>
          </p:cNvPr>
          <p:cNvSpPr/>
          <p:nvPr/>
        </p:nvSpPr>
        <p:spPr bwMode="auto">
          <a:xfrm>
            <a:off x="4749545" y="3078581"/>
            <a:ext cx="1828800" cy="18288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2400" dirty="0">
                <a:solidFill>
                  <a:schemeClr val="bg1"/>
                </a:solidFill>
                <a:ea typeface="Segoe UI" pitchFamily="34" charset="0"/>
                <a:cs typeface="Segoe UI" pitchFamily="34" charset="0"/>
              </a:rPr>
              <a:t>Hero</a:t>
            </a:r>
            <a:br>
              <a:rPr lang="en-US" sz="2400" dirty="0">
                <a:solidFill>
                  <a:schemeClr val="bg1"/>
                </a:solidFill>
                <a:ea typeface="Segoe UI" pitchFamily="34" charset="0"/>
                <a:cs typeface="Segoe UI" pitchFamily="34" charset="0"/>
              </a:rPr>
            </a:br>
            <a:r>
              <a:rPr lang="en-US" sz="2400" dirty="0">
                <a:solidFill>
                  <a:schemeClr val="bg1"/>
                </a:solidFill>
                <a:ea typeface="Segoe UI" pitchFamily="34" charset="0"/>
                <a:cs typeface="Segoe UI" pitchFamily="34" charset="0"/>
              </a:rPr>
              <a:t>Scenario</a:t>
            </a:r>
          </a:p>
          <a:p>
            <a:pPr algn="ctr" defTabSz="932293" fontAlgn="base">
              <a:spcBef>
                <a:spcPct val="0"/>
              </a:spcBef>
              <a:spcAft>
                <a:spcPct val="0"/>
              </a:spcAft>
            </a:pPr>
            <a:r>
              <a:rPr lang="en-US" sz="2400" dirty="0">
                <a:solidFill>
                  <a:schemeClr val="bg1">
                    <a:lumMod val="95000"/>
                  </a:schemeClr>
                </a:solidFill>
                <a:latin typeface="+mj-lt"/>
                <a:ea typeface="Segoe UI" pitchFamily="34" charset="0"/>
                <a:cs typeface="Segoe UI" pitchFamily="34" charset="0"/>
              </a:rPr>
              <a:t>Win10 MS</a:t>
            </a:r>
          </a:p>
        </p:txBody>
      </p:sp>
      <p:sp>
        <p:nvSpPr>
          <p:cNvPr id="4" name="Title 3">
            <a:extLst>
              <a:ext uri="{FF2B5EF4-FFF2-40B4-BE49-F238E27FC236}">
                <a16:creationId xmlns:a16="http://schemas.microsoft.com/office/drawing/2014/main" id="{8DF22574-3E8E-41A4-9354-8E84E93C5463}"/>
              </a:ext>
            </a:extLst>
          </p:cNvPr>
          <p:cNvSpPr>
            <a:spLocks noGrp="1"/>
          </p:cNvSpPr>
          <p:nvPr>
            <p:ph type="title"/>
          </p:nvPr>
        </p:nvSpPr>
        <p:spPr/>
        <p:txBody>
          <a:bodyPr/>
          <a:lstStyle/>
          <a:p>
            <a:r>
              <a:rPr lang="en-US" spc="0" dirty="0">
                <a:ln>
                  <a:noFill/>
                </a:ln>
                <a:solidFill>
                  <a:srgbClr val="000000"/>
                </a:solidFill>
                <a:cs typeface="Segoe UI Semilight" panose="020B0402040204020203" pitchFamily="34" charset="0"/>
              </a:rPr>
              <a:t>The </a:t>
            </a:r>
            <a:r>
              <a:rPr lang="en-US" b="1" spc="0" dirty="0">
                <a:ln>
                  <a:noFill/>
                </a:ln>
                <a:solidFill>
                  <a:srgbClr val="000000"/>
                </a:solidFill>
                <a:cs typeface="Segoe UI Semilight" panose="020B0402040204020203" pitchFamily="34" charset="0"/>
              </a:rPr>
              <a:t>ONLY</a:t>
            </a:r>
            <a:r>
              <a:rPr lang="en-US" spc="0" dirty="0">
                <a:ln>
                  <a:noFill/>
                </a:ln>
                <a:solidFill>
                  <a:srgbClr val="000000"/>
                </a:solidFill>
                <a:cs typeface="Segoe UI Semilight" panose="020B0402040204020203" pitchFamily="34" charset="0"/>
              </a:rPr>
              <a:t> multi-session Windows 10 experience</a:t>
            </a:r>
            <a:endParaRPr lang="en-US" dirty="0"/>
          </a:p>
        </p:txBody>
      </p:sp>
      <p:graphicFrame>
        <p:nvGraphicFramePr>
          <p:cNvPr id="60" name="Table 59">
            <a:extLst>
              <a:ext uri="{FF2B5EF4-FFF2-40B4-BE49-F238E27FC236}">
                <a16:creationId xmlns:a16="http://schemas.microsoft.com/office/drawing/2014/main" id="{79304A1C-5ABC-4D13-B6B9-0AF4F581F43B}"/>
              </a:ext>
            </a:extLst>
          </p:cNvPr>
          <p:cNvGraphicFramePr>
            <a:graphicFrameLocks noGrp="1"/>
          </p:cNvGraphicFramePr>
          <p:nvPr/>
        </p:nvGraphicFramePr>
        <p:xfrm>
          <a:off x="582168" y="2347061"/>
          <a:ext cx="3128514" cy="3291840"/>
        </p:xfrm>
        <a:graphic>
          <a:graphicData uri="http://schemas.openxmlformats.org/drawingml/2006/table">
            <a:tbl>
              <a:tblPr firstCol="1" bandRow="1">
                <a:tableStyleId>{5C22544A-7EE6-4342-B048-85BDC9FD1C3A}</a:tableStyleId>
              </a:tblPr>
              <a:tblGrid>
                <a:gridCol w="3128514">
                  <a:extLst>
                    <a:ext uri="{9D8B030D-6E8A-4147-A177-3AD203B41FA5}">
                      <a16:colId xmlns:a16="http://schemas.microsoft.com/office/drawing/2014/main" val="3665616572"/>
                    </a:ext>
                  </a:extLst>
                </a:gridCol>
              </a:tblGrid>
              <a:tr h="8229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latin typeface="+mj-lt"/>
                        </a:rPr>
                        <a:t>Windows 7</a:t>
                      </a:r>
                    </a:p>
                  </a:txBody>
                  <a:tcPr marL="91427" marT="91440" marB="91440" anchor="ctr">
                    <a:lnL w="12700" cmpd="sng">
                      <a:noFill/>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34714195"/>
                  </a:ext>
                </a:extLst>
              </a:tr>
              <a:tr h="8229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latin typeface="+mj-lt"/>
                          <a:cs typeface="Arial" panose="020B0604020202020204" pitchFamily="34" charset="0"/>
                        </a:rPr>
                        <a:t>Windows 10</a:t>
                      </a:r>
                      <a:endParaRPr lang="en-US" sz="1600" b="0" dirty="0">
                        <a:solidFill>
                          <a:schemeClr val="bg1"/>
                        </a:solidFill>
                        <a:latin typeface="+mj-lt"/>
                      </a:endParaRPr>
                    </a:p>
                  </a:txBody>
                  <a:tcPr marL="91427" marT="91440" marB="9144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239461059"/>
                  </a:ext>
                </a:extLst>
              </a:tr>
              <a:tr h="8229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bg1"/>
                          </a:solidFill>
                          <a:latin typeface="+mj-lt"/>
                          <a:ea typeface="+mn-ea"/>
                          <a:cs typeface="Arial" panose="020B0604020202020204" pitchFamily="34" charset="0"/>
                        </a:rPr>
                        <a:t>Windows Server 2008 R2</a:t>
                      </a:r>
                    </a:p>
                  </a:txBody>
                  <a:tcPr marL="91427" marT="91440" marB="9144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54238287"/>
                  </a:ext>
                </a:extLst>
              </a:tr>
              <a:tr h="8229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bg1"/>
                          </a:solidFill>
                          <a:latin typeface="+mn-lt"/>
                          <a:ea typeface="+mn-ea"/>
                          <a:cs typeface="Arial" panose="020B0604020202020204" pitchFamily="34" charset="0"/>
                        </a:rPr>
                        <a:t>Windows Server </a:t>
                      </a:r>
                      <a:r>
                        <a:rPr lang="en-US" sz="1600" b="0" kern="1200" dirty="0">
                          <a:solidFill>
                            <a:schemeClr val="bg1"/>
                          </a:solidFill>
                          <a:latin typeface="+mj-lt"/>
                          <a:ea typeface="+mn-ea"/>
                          <a:cs typeface="Arial" panose="020B0604020202020204" pitchFamily="34" charset="0"/>
                        </a:rPr>
                        <a:t>2012 R2+</a:t>
                      </a:r>
                    </a:p>
                  </a:txBody>
                  <a:tcPr marL="91427" marT="91440" marB="9144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905377725"/>
                  </a:ext>
                </a:extLst>
              </a:tr>
            </a:tbl>
          </a:graphicData>
        </a:graphic>
      </p:graphicFrame>
      <p:sp>
        <p:nvSpPr>
          <p:cNvPr id="28" name="Freeform: Shape 27">
            <a:extLst>
              <a:ext uri="{FF2B5EF4-FFF2-40B4-BE49-F238E27FC236}">
                <a16:creationId xmlns:a16="http://schemas.microsoft.com/office/drawing/2014/main" id="{1168914D-4AEA-4D70-BFF1-B41445AB1D21}"/>
              </a:ext>
            </a:extLst>
          </p:cNvPr>
          <p:cNvSpPr/>
          <p:nvPr/>
        </p:nvSpPr>
        <p:spPr>
          <a:xfrm>
            <a:off x="582168" y="1223592"/>
            <a:ext cx="11027664" cy="1005840"/>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192"/>
            <a:r>
              <a:rPr lang="en-US" sz="2400" dirty="0">
                <a:solidFill>
                  <a:schemeClr val="bg1"/>
                </a:solidFill>
                <a:latin typeface="Segoe UI Semibold"/>
              </a:rPr>
              <a:t>Multiple users </a:t>
            </a:r>
            <a:r>
              <a:rPr lang="en-US" sz="2400" u="sng" dirty="0">
                <a:solidFill>
                  <a:schemeClr val="bg1"/>
                </a:solidFill>
                <a:latin typeface="Segoe UI Semibold"/>
              </a:rPr>
              <a:t>active simultaneously</a:t>
            </a:r>
            <a:r>
              <a:rPr lang="en-US" sz="2400" dirty="0">
                <a:solidFill>
                  <a:schemeClr val="bg1"/>
                </a:solidFill>
                <a:latin typeface="Segoe UI Semibold"/>
              </a:rPr>
              <a:t> on the same VM</a:t>
            </a:r>
          </a:p>
          <a:p>
            <a:pPr algn="ctr" defTabSz="914192"/>
            <a:r>
              <a:rPr lang="en-US" sz="2400" dirty="0">
                <a:solidFill>
                  <a:schemeClr val="bg1"/>
                </a:solidFill>
                <a:latin typeface="Segoe UI Semibold"/>
              </a:rPr>
              <a:t>Each user’s data is isolated from every other user</a:t>
            </a:r>
          </a:p>
        </p:txBody>
      </p:sp>
      <p:sp>
        <p:nvSpPr>
          <p:cNvPr id="35" name="Rectangle 34">
            <a:extLst>
              <a:ext uri="{FF2B5EF4-FFF2-40B4-BE49-F238E27FC236}">
                <a16:creationId xmlns:a16="http://schemas.microsoft.com/office/drawing/2014/main" id="{45AD0868-ABE4-434D-9F88-F8FE96A681CE}"/>
              </a:ext>
            </a:extLst>
          </p:cNvPr>
          <p:cNvSpPr/>
          <p:nvPr/>
        </p:nvSpPr>
        <p:spPr>
          <a:xfrm>
            <a:off x="8412480" y="2347060"/>
            <a:ext cx="3197352" cy="1585367"/>
          </a:xfrm>
          <a:prstGeom prst="rect">
            <a:avLst/>
          </a:prstGeom>
          <a:ln w="12700">
            <a:solidFill>
              <a:schemeClr val="tx1"/>
            </a:solidFill>
          </a:ln>
        </p:spPr>
        <p:txBody>
          <a:bodyPr wrap="square" anchor="ctr">
            <a:noAutofit/>
          </a:bodyPr>
          <a:lstStyle/>
          <a:p>
            <a:pPr defTabSz="914192">
              <a:spcBef>
                <a:spcPts val="1200"/>
              </a:spcBef>
            </a:pPr>
            <a:r>
              <a:rPr lang="en-US" dirty="0"/>
              <a:t>Superior price-performance </a:t>
            </a:r>
          </a:p>
          <a:p>
            <a:pPr defTabSz="914192">
              <a:spcBef>
                <a:spcPts val="1200"/>
              </a:spcBef>
            </a:pPr>
            <a:r>
              <a:rPr lang="en-US" dirty="0"/>
              <a:t>Reduced compute costs</a:t>
            </a:r>
          </a:p>
          <a:p>
            <a:pPr defTabSz="914192">
              <a:spcBef>
                <a:spcPts val="1200"/>
              </a:spcBef>
            </a:pPr>
            <a:r>
              <a:rPr lang="en-US" dirty="0"/>
              <a:t>Reduced storage costs</a:t>
            </a:r>
          </a:p>
        </p:txBody>
      </p:sp>
      <p:sp>
        <p:nvSpPr>
          <p:cNvPr id="37" name="Rectangle 36">
            <a:extLst>
              <a:ext uri="{FF2B5EF4-FFF2-40B4-BE49-F238E27FC236}">
                <a16:creationId xmlns:a16="http://schemas.microsoft.com/office/drawing/2014/main" id="{C45A7057-F189-4A5E-AAA3-13E56A8DB41C}"/>
              </a:ext>
            </a:extLst>
          </p:cNvPr>
          <p:cNvSpPr/>
          <p:nvPr/>
        </p:nvSpPr>
        <p:spPr>
          <a:xfrm>
            <a:off x="8412480" y="4053532"/>
            <a:ext cx="3197352" cy="1585367"/>
          </a:xfrm>
          <a:prstGeom prst="rect">
            <a:avLst/>
          </a:prstGeom>
          <a:ln w="12700">
            <a:solidFill>
              <a:schemeClr val="tx1"/>
            </a:solidFill>
          </a:ln>
        </p:spPr>
        <p:txBody>
          <a:bodyPr wrap="square" anchor="ctr">
            <a:noAutofit/>
          </a:bodyPr>
          <a:lstStyle/>
          <a:p>
            <a:pPr defTabSz="914192">
              <a:spcBef>
                <a:spcPts val="1200"/>
              </a:spcBef>
            </a:pPr>
            <a:r>
              <a:rPr lang="en-US" dirty="0"/>
              <a:t>Increase in Client-based deployments</a:t>
            </a:r>
          </a:p>
          <a:p>
            <a:pPr defTabSz="914192">
              <a:spcBef>
                <a:spcPts val="1200"/>
              </a:spcBef>
            </a:pPr>
            <a:r>
              <a:rPr lang="en-US" dirty="0"/>
              <a:t>Mid-market adoption </a:t>
            </a:r>
          </a:p>
        </p:txBody>
      </p:sp>
      <p:sp>
        <p:nvSpPr>
          <p:cNvPr id="6" name="TextBox 5">
            <a:extLst>
              <a:ext uri="{FF2B5EF4-FFF2-40B4-BE49-F238E27FC236}">
                <a16:creationId xmlns:a16="http://schemas.microsoft.com/office/drawing/2014/main" id="{450B1E63-8214-4750-8EFF-36FE07CA1303}"/>
              </a:ext>
            </a:extLst>
          </p:cNvPr>
          <p:cNvSpPr txBox="1"/>
          <p:nvPr/>
        </p:nvSpPr>
        <p:spPr>
          <a:xfrm flipH="1">
            <a:off x="1635759" y="5750561"/>
            <a:ext cx="9971022" cy="764388"/>
          </a:xfrm>
          <a:prstGeom prst="rect">
            <a:avLst/>
          </a:prstGeom>
          <a:noFill/>
          <a:ln w="6350">
            <a:solidFill>
              <a:schemeClr val="bg1">
                <a:lumMod val="75000"/>
              </a:schemeClr>
            </a:solidFill>
            <a:miter lim="800000"/>
          </a:ln>
        </p:spPr>
        <p:txBody>
          <a:bodyPr wrap="square" lIns="137160" tIns="91440" rIns="91440" bIns="91440" rtlCol="0" anchor="ctr">
            <a:noAutofit/>
          </a:bodyPr>
          <a:lstStyle/>
          <a:p>
            <a:r>
              <a:rPr lang="en-US" sz="2000" dirty="0"/>
              <a:t>Application compatibility and user experiences </a:t>
            </a:r>
            <a:r>
              <a:rPr lang="en-US" sz="2000" dirty="0">
                <a:latin typeface="+mj-lt"/>
              </a:rPr>
              <a:t>vary</a:t>
            </a:r>
            <a:r>
              <a:rPr lang="en-US" sz="2000" dirty="0"/>
              <a:t> between </a:t>
            </a:r>
            <a:r>
              <a:rPr lang="en-US" sz="2000" dirty="0">
                <a:latin typeface="+mj-lt"/>
              </a:rPr>
              <a:t>Server</a:t>
            </a:r>
            <a:r>
              <a:rPr lang="en-US" sz="2000" dirty="0"/>
              <a:t> and </a:t>
            </a:r>
            <a:r>
              <a:rPr lang="en-US" sz="2000" dirty="0">
                <a:latin typeface="+mj-lt"/>
              </a:rPr>
              <a:t>Client </a:t>
            </a:r>
            <a:r>
              <a:rPr lang="en-US" sz="2000" dirty="0"/>
              <a:t>OS</a:t>
            </a:r>
          </a:p>
        </p:txBody>
      </p:sp>
      <p:grpSp>
        <p:nvGrpSpPr>
          <p:cNvPr id="17" name="Group 16">
            <a:extLst>
              <a:ext uri="{FF2B5EF4-FFF2-40B4-BE49-F238E27FC236}">
                <a16:creationId xmlns:a16="http://schemas.microsoft.com/office/drawing/2014/main" id="{23DE0D2D-692A-411C-A22A-65F90268E1A1}"/>
              </a:ext>
            </a:extLst>
          </p:cNvPr>
          <p:cNvGrpSpPr/>
          <p:nvPr/>
        </p:nvGrpSpPr>
        <p:grpSpPr>
          <a:xfrm>
            <a:off x="6781800" y="3177395"/>
            <a:ext cx="1334827" cy="484632"/>
            <a:chOff x="6781800" y="3140671"/>
            <a:chExt cx="1334827" cy="484632"/>
          </a:xfrm>
          <a:solidFill>
            <a:schemeClr val="bg1">
              <a:lumMod val="75000"/>
            </a:schemeClr>
          </a:solidFill>
        </p:grpSpPr>
        <p:grpSp>
          <p:nvGrpSpPr>
            <p:cNvPr id="16" name="Group 15">
              <a:extLst>
                <a:ext uri="{FF2B5EF4-FFF2-40B4-BE49-F238E27FC236}">
                  <a16:creationId xmlns:a16="http://schemas.microsoft.com/office/drawing/2014/main" id="{44C9AA6E-1A8D-43C5-B32B-FB74802A32E2}"/>
                </a:ext>
              </a:extLst>
            </p:cNvPr>
            <p:cNvGrpSpPr/>
            <p:nvPr/>
          </p:nvGrpSpPr>
          <p:grpSpPr>
            <a:xfrm>
              <a:off x="6781800" y="3290595"/>
              <a:ext cx="598170" cy="184785"/>
              <a:chOff x="6781800" y="3288030"/>
              <a:chExt cx="598170" cy="184785"/>
            </a:xfrm>
            <a:grpFill/>
          </p:grpSpPr>
          <p:cxnSp>
            <p:nvCxnSpPr>
              <p:cNvPr id="15" name="Straight Connector 14">
                <a:extLst>
                  <a:ext uri="{FF2B5EF4-FFF2-40B4-BE49-F238E27FC236}">
                    <a16:creationId xmlns:a16="http://schemas.microsoft.com/office/drawing/2014/main" id="{CDF0C02D-A2F8-42F7-AE86-BB19264BF06F}"/>
                  </a:ext>
                </a:extLst>
              </p:cNvPr>
              <p:cNvCxnSpPr/>
              <p:nvPr/>
            </p:nvCxnSpPr>
            <p:spPr>
              <a:xfrm>
                <a:off x="6781800" y="3288030"/>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0925218-6E90-4823-9D3E-A6A10CCB6D6B}"/>
                  </a:ext>
                </a:extLst>
              </p:cNvPr>
              <p:cNvCxnSpPr/>
              <p:nvPr/>
            </p:nvCxnSpPr>
            <p:spPr>
              <a:xfrm>
                <a:off x="6856095" y="3380423"/>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827652A-CAE0-488E-BCFB-786B880CE1C3}"/>
                  </a:ext>
                </a:extLst>
              </p:cNvPr>
              <p:cNvCxnSpPr/>
              <p:nvPr/>
            </p:nvCxnSpPr>
            <p:spPr>
              <a:xfrm>
                <a:off x="6781800" y="3472815"/>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Arrow: Right 12">
              <a:extLst>
                <a:ext uri="{FF2B5EF4-FFF2-40B4-BE49-F238E27FC236}">
                  <a16:creationId xmlns:a16="http://schemas.microsoft.com/office/drawing/2014/main" id="{1CAF568A-4661-4675-8961-6FB5539DDF1C}"/>
                </a:ext>
              </a:extLst>
            </p:cNvPr>
            <p:cNvSpPr/>
            <p:nvPr/>
          </p:nvSpPr>
          <p:spPr bwMode="auto">
            <a:xfrm>
              <a:off x="7138219" y="3140671"/>
              <a:ext cx="978408" cy="484632"/>
            </a:xfrm>
            <a:prstGeom prst="rightArrow">
              <a:avLst/>
            </a:prstGeom>
            <a:grp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3" name="Group 42">
            <a:extLst>
              <a:ext uri="{FF2B5EF4-FFF2-40B4-BE49-F238E27FC236}">
                <a16:creationId xmlns:a16="http://schemas.microsoft.com/office/drawing/2014/main" id="{E07FC6C7-A073-4CBA-A158-79A530113717}"/>
              </a:ext>
            </a:extLst>
          </p:cNvPr>
          <p:cNvGrpSpPr/>
          <p:nvPr/>
        </p:nvGrpSpPr>
        <p:grpSpPr>
          <a:xfrm>
            <a:off x="6781800" y="4323935"/>
            <a:ext cx="1334827" cy="484632"/>
            <a:chOff x="6781800" y="3140671"/>
            <a:chExt cx="1334827" cy="484632"/>
          </a:xfrm>
          <a:solidFill>
            <a:schemeClr val="bg1">
              <a:lumMod val="75000"/>
            </a:schemeClr>
          </a:solidFill>
        </p:grpSpPr>
        <p:grpSp>
          <p:nvGrpSpPr>
            <p:cNvPr id="44" name="Group 43">
              <a:extLst>
                <a:ext uri="{FF2B5EF4-FFF2-40B4-BE49-F238E27FC236}">
                  <a16:creationId xmlns:a16="http://schemas.microsoft.com/office/drawing/2014/main" id="{C5C4A538-17E3-469A-B135-57FECD8A00D0}"/>
                </a:ext>
              </a:extLst>
            </p:cNvPr>
            <p:cNvGrpSpPr/>
            <p:nvPr/>
          </p:nvGrpSpPr>
          <p:grpSpPr>
            <a:xfrm>
              <a:off x="6781800" y="3290595"/>
              <a:ext cx="598170" cy="184785"/>
              <a:chOff x="6781800" y="3288030"/>
              <a:chExt cx="598170" cy="184785"/>
            </a:xfrm>
            <a:grpFill/>
          </p:grpSpPr>
          <p:cxnSp>
            <p:nvCxnSpPr>
              <p:cNvPr id="46" name="Straight Connector 45">
                <a:extLst>
                  <a:ext uri="{FF2B5EF4-FFF2-40B4-BE49-F238E27FC236}">
                    <a16:creationId xmlns:a16="http://schemas.microsoft.com/office/drawing/2014/main" id="{7899C0A8-4FB7-43F5-B28D-2915160C64E0}"/>
                  </a:ext>
                </a:extLst>
              </p:cNvPr>
              <p:cNvCxnSpPr/>
              <p:nvPr/>
            </p:nvCxnSpPr>
            <p:spPr>
              <a:xfrm>
                <a:off x="6781800" y="3288030"/>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2203730-2656-4933-8E96-12F7E470D810}"/>
                  </a:ext>
                </a:extLst>
              </p:cNvPr>
              <p:cNvCxnSpPr/>
              <p:nvPr/>
            </p:nvCxnSpPr>
            <p:spPr>
              <a:xfrm>
                <a:off x="6856095" y="3380423"/>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D177E28-A81C-41C0-91CD-4861FA3CD6DF}"/>
                  </a:ext>
                </a:extLst>
              </p:cNvPr>
              <p:cNvCxnSpPr/>
              <p:nvPr/>
            </p:nvCxnSpPr>
            <p:spPr>
              <a:xfrm>
                <a:off x="6781800" y="3472815"/>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5" name="Arrow: Right 44">
              <a:extLst>
                <a:ext uri="{FF2B5EF4-FFF2-40B4-BE49-F238E27FC236}">
                  <a16:creationId xmlns:a16="http://schemas.microsoft.com/office/drawing/2014/main" id="{FCE6943F-FC44-48F6-900E-80C382E254DD}"/>
                </a:ext>
              </a:extLst>
            </p:cNvPr>
            <p:cNvSpPr/>
            <p:nvPr/>
          </p:nvSpPr>
          <p:spPr bwMode="auto">
            <a:xfrm>
              <a:off x="7138219" y="3140671"/>
              <a:ext cx="978408" cy="484632"/>
            </a:xfrm>
            <a:prstGeom prst="rightArrow">
              <a:avLst/>
            </a:prstGeom>
            <a:grp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9" name="TextBox 48">
            <a:extLst>
              <a:ext uri="{FF2B5EF4-FFF2-40B4-BE49-F238E27FC236}">
                <a16:creationId xmlns:a16="http://schemas.microsoft.com/office/drawing/2014/main" id="{23371A37-758B-462F-A7BB-24E5FBD841CF}"/>
              </a:ext>
            </a:extLst>
          </p:cNvPr>
          <p:cNvSpPr txBox="1"/>
          <p:nvPr/>
        </p:nvSpPr>
        <p:spPr>
          <a:xfrm flipH="1">
            <a:off x="582168" y="5750561"/>
            <a:ext cx="1053591" cy="764388"/>
          </a:xfrm>
          <a:prstGeom prst="rect">
            <a:avLst/>
          </a:prstGeom>
          <a:solidFill>
            <a:schemeClr val="bg2"/>
          </a:solidFill>
          <a:ln w="6350">
            <a:solidFill>
              <a:schemeClr val="bg2"/>
            </a:solidFill>
            <a:miter lim="800000"/>
          </a:ln>
        </p:spPr>
        <p:txBody>
          <a:bodyPr wrap="square" lIns="91440" tIns="91440" rIns="91440" bIns="91440" rtlCol="0" anchor="ctr">
            <a:noAutofit/>
          </a:bodyPr>
          <a:lstStyle/>
          <a:p>
            <a:pPr algn="ctr"/>
            <a:endParaRPr lang="en-US" sz="2000" dirty="0">
              <a:latin typeface="+mj-lt"/>
            </a:endParaRPr>
          </a:p>
        </p:txBody>
      </p:sp>
      <p:grpSp>
        <p:nvGrpSpPr>
          <p:cNvPr id="50" name="Group 49">
            <a:extLst>
              <a:ext uri="{FF2B5EF4-FFF2-40B4-BE49-F238E27FC236}">
                <a16:creationId xmlns:a16="http://schemas.microsoft.com/office/drawing/2014/main" id="{0D390C83-5CA7-412E-ADE4-E4C54B0D3F6D}"/>
              </a:ext>
            </a:extLst>
          </p:cNvPr>
          <p:cNvGrpSpPr/>
          <p:nvPr/>
        </p:nvGrpSpPr>
        <p:grpSpPr>
          <a:xfrm>
            <a:off x="785366" y="5884755"/>
            <a:ext cx="647194" cy="496002"/>
            <a:chOff x="13375104" y="4145046"/>
            <a:chExt cx="457200" cy="350395"/>
          </a:xfrm>
        </p:grpSpPr>
        <p:sp>
          <p:nvSpPr>
            <p:cNvPr id="51" name="monitor" title="Icon of a monitor">
              <a:extLst>
                <a:ext uri="{FF2B5EF4-FFF2-40B4-BE49-F238E27FC236}">
                  <a16:creationId xmlns:a16="http://schemas.microsoft.com/office/drawing/2014/main" id="{275EB1B1-E6D0-4E8E-AEE5-0BF69C5B54F1}"/>
                </a:ext>
              </a:extLst>
            </p:cNvPr>
            <p:cNvSpPr>
              <a:spLocks noChangeAspect="1" noEditPoints="1"/>
            </p:cNvSpPr>
            <p:nvPr/>
          </p:nvSpPr>
          <p:spPr bwMode="auto">
            <a:xfrm>
              <a:off x="13375104" y="4145046"/>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sp>
          <p:nvSpPr>
            <p:cNvPr id="52" name="Touch_E815" title="Icon of a closed hand with one finger pressing a button">
              <a:extLst>
                <a:ext uri="{FF2B5EF4-FFF2-40B4-BE49-F238E27FC236}">
                  <a16:creationId xmlns:a16="http://schemas.microsoft.com/office/drawing/2014/main" id="{9C3B7EB0-5E7C-4B13-AEF8-4D0573CB3851}"/>
                </a:ext>
              </a:extLst>
            </p:cNvPr>
            <p:cNvSpPr>
              <a:spLocks noChangeAspect="1" noEditPoints="1"/>
            </p:cNvSpPr>
            <p:nvPr/>
          </p:nvSpPr>
          <p:spPr bwMode="auto">
            <a:xfrm>
              <a:off x="13532035" y="4186926"/>
              <a:ext cx="143338" cy="209486"/>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gradFill>
                  <a:gsLst>
                    <a:gs pos="0">
                      <a:srgbClr val="505050"/>
                    </a:gs>
                    <a:gs pos="100000">
                      <a:srgbClr val="505050"/>
                    </a:gs>
                  </a:gsLst>
                  <a:lin ang="5400000" scaled="1"/>
                </a:gradFill>
              </a:endParaRPr>
            </a:p>
          </p:txBody>
        </p:sp>
      </p:grpSp>
      <p:sp>
        <p:nvSpPr>
          <p:cNvPr id="2" name="Rectangle 1">
            <a:extLst>
              <a:ext uri="{FF2B5EF4-FFF2-40B4-BE49-F238E27FC236}">
                <a16:creationId xmlns:a16="http://schemas.microsoft.com/office/drawing/2014/main" id="{8BBC9435-F851-471A-A80C-A49268DB3D57}"/>
              </a:ext>
            </a:extLst>
          </p:cNvPr>
          <p:cNvSpPr/>
          <p:nvPr/>
        </p:nvSpPr>
        <p:spPr bwMode="auto">
          <a:xfrm>
            <a:off x="3374918" y="2354464"/>
            <a:ext cx="329412" cy="80010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EOS</a:t>
            </a:r>
          </a:p>
        </p:txBody>
      </p:sp>
      <p:sp>
        <p:nvSpPr>
          <p:cNvPr id="38" name="Rectangle 37">
            <a:extLst>
              <a:ext uri="{FF2B5EF4-FFF2-40B4-BE49-F238E27FC236}">
                <a16:creationId xmlns:a16="http://schemas.microsoft.com/office/drawing/2014/main" id="{1C820E8B-B3F8-4B10-A661-F6F3372E4B04}"/>
              </a:ext>
            </a:extLst>
          </p:cNvPr>
          <p:cNvSpPr/>
          <p:nvPr/>
        </p:nvSpPr>
        <p:spPr bwMode="auto">
          <a:xfrm>
            <a:off x="3374918" y="4007052"/>
            <a:ext cx="329412" cy="795604"/>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EOS</a:t>
            </a:r>
          </a:p>
        </p:txBody>
      </p:sp>
    </p:spTree>
    <p:extLst>
      <p:ext uri="{BB962C8B-B14F-4D97-AF65-F5344CB8AC3E}">
        <p14:creationId xmlns:p14="http://schemas.microsoft.com/office/powerpoint/2010/main" val="1119091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Freeform: Shape 257">
            <a:extLst>
              <a:ext uri="{FF2B5EF4-FFF2-40B4-BE49-F238E27FC236}">
                <a16:creationId xmlns:a16="http://schemas.microsoft.com/office/drawing/2014/main" id="{A64496E1-1CA5-4DEC-8D72-625BC9C7C183}"/>
              </a:ext>
            </a:extLst>
          </p:cNvPr>
          <p:cNvSpPr/>
          <p:nvPr/>
        </p:nvSpPr>
        <p:spPr>
          <a:xfrm>
            <a:off x="0" y="1270610"/>
            <a:ext cx="12192000" cy="535278"/>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192"/>
            <a:endParaRPr lang="en-US" sz="2400" dirty="0">
              <a:solidFill>
                <a:schemeClr val="bg1"/>
              </a:solidFill>
              <a:latin typeface="Segoe UI Semibold"/>
            </a:endParaRPr>
          </a:p>
        </p:txBody>
      </p:sp>
      <p:cxnSp>
        <p:nvCxnSpPr>
          <p:cNvPr id="144420" name="Straight Connector 144419">
            <a:extLst>
              <a:ext uri="{FF2B5EF4-FFF2-40B4-BE49-F238E27FC236}">
                <a16:creationId xmlns:a16="http://schemas.microsoft.com/office/drawing/2014/main" id="{30E8F080-22AE-4441-AD6E-F76050D14362}"/>
              </a:ext>
            </a:extLst>
          </p:cNvPr>
          <p:cNvCxnSpPr>
            <a:cxnSpLocks/>
          </p:cNvCxnSpPr>
          <p:nvPr/>
        </p:nvCxnSpPr>
        <p:spPr>
          <a:xfrm flipV="1">
            <a:off x="582168" y="1538249"/>
            <a:ext cx="11027664" cy="0"/>
          </a:xfrm>
          <a:prstGeom prst="line">
            <a:avLst/>
          </a:prstGeom>
          <a:ln w="28575">
            <a:solidFill>
              <a:schemeClr val="bg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CFE1A26-2470-429B-80BE-A0388EECD224}"/>
              </a:ext>
            </a:extLst>
          </p:cNvPr>
          <p:cNvSpPr/>
          <p:nvPr/>
        </p:nvSpPr>
        <p:spPr bwMode="auto">
          <a:xfrm>
            <a:off x="3582759" y="1915799"/>
            <a:ext cx="3840480" cy="3685652"/>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27" rIns="91440" bIns="46630" numCol="1" spcCol="0" rtlCol="0" fromWordArt="0" anchor="t" anchorCtr="0" forceAA="0" compatLnSpc="1">
            <a:prstTxWarp prst="textNoShape">
              <a:avLst/>
            </a:prstTxWarp>
            <a:noAutofit/>
          </a:bodyPr>
          <a:lstStyle/>
          <a:p>
            <a:pPr algn="ctr" defTabSz="860922">
              <a:defRPr/>
            </a:pPr>
            <a:r>
              <a:rPr lang="en-US" sz="1600" dirty="0">
                <a:solidFill>
                  <a:schemeClr val="tx1"/>
                </a:solidFill>
                <a:latin typeface="+mj-lt"/>
                <a:cs typeface="Segoe UI Light"/>
              </a:rPr>
              <a:t>Windows Virtual Desktop</a:t>
            </a:r>
            <a:br>
              <a:rPr lang="en-US" sz="1600" dirty="0">
                <a:solidFill>
                  <a:schemeClr val="tx1"/>
                </a:solidFill>
                <a:latin typeface="+mj-lt"/>
                <a:cs typeface="Segoe UI Light"/>
              </a:rPr>
            </a:br>
            <a:r>
              <a:rPr lang="en-US" sz="1400" i="1" dirty="0">
                <a:solidFill>
                  <a:schemeClr val="tx1"/>
                </a:solidFill>
                <a:cs typeface="Segoe UI" panose="020B0502040204020203" pitchFamily="34" charset="0"/>
              </a:rPr>
              <a:t>Microsoft-managed</a:t>
            </a:r>
          </a:p>
        </p:txBody>
      </p:sp>
      <p:graphicFrame>
        <p:nvGraphicFramePr>
          <p:cNvPr id="97" name="Object 96" hidden="1">
            <a:extLst>
              <a:ext uri="{FF2B5EF4-FFF2-40B4-BE49-F238E27FC236}">
                <a16:creationId xmlns:a16="http://schemas.microsoft.com/office/drawing/2014/main" id="{D8232803-983C-4424-BB57-B185CD6B4129}"/>
              </a:ext>
            </a:extLst>
          </p:cNvPr>
          <p:cNvGraphicFramePr>
            <a:graphicFrameLocks noChangeAspect="1"/>
          </p:cNvGraphicFramePr>
          <p:nvPr>
            <p:custDataLst>
              <p:tags r:id="rId2"/>
            </p:custData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spid="_x0000_s52228" name="think-cell Slide" r:id="rId6" imgW="425" imgH="424" progId="TCLayout.ActiveDocument.1">
                  <p:embed/>
                </p:oleObj>
              </mc:Choice>
              <mc:Fallback>
                <p:oleObj name="think-cell Slide" r:id="rId6" imgW="425" imgH="424" progId="TCLayout.ActiveDocument.1">
                  <p:embed/>
                  <p:pic>
                    <p:nvPicPr>
                      <p:cNvPr id="97" name="Object 96" hidden="1">
                        <a:extLst>
                          <a:ext uri="{FF2B5EF4-FFF2-40B4-BE49-F238E27FC236}">
                            <a16:creationId xmlns:a16="http://schemas.microsoft.com/office/drawing/2014/main" id="{D8232803-983C-4424-BB57-B185CD6B4129}"/>
                          </a:ext>
                        </a:extLst>
                      </p:cNvPr>
                      <p:cNvPicPr/>
                      <p:nvPr/>
                    </p:nvPicPr>
                    <p:blipFill>
                      <a:blip r:embed="rId7"/>
                      <a:stretch>
                        <a:fillRect/>
                      </a:stretch>
                    </p:blipFill>
                    <p:spPr>
                      <a:xfrm>
                        <a:off x="2452" y="2074"/>
                        <a:ext cx="1588" cy="1588"/>
                      </a:xfrm>
                      <a:prstGeom prst="rect">
                        <a:avLst/>
                      </a:prstGeom>
                    </p:spPr>
                  </p:pic>
                </p:oleObj>
              </mc:Fallback>
            </mc:AlternateContent>
          </a:graphicData>
        </a:graphic>
      </p:graphicFrame>
      <p:sp>
        <p:nvSpPr>
          <p:cNvPr id="96" name="Rectangle 95" hidden="1">
            <a:extLst>
              <a:ext uri="{FF2B5EF4-FFF2-40B4-BE49-F238E27FC236}">
                <a16:creationId xmlns:a16="http://schemas.microsoft.com/office/drawing/2014/main" id="{E604E9B6-9FB2-4205-916D-A68ECA5678CF}"/>
              </a:ext>
            </a:extLst>
          </p:cNvPr>
          <p:cNvSpPr/>
          <p:nvPr>
            <p:custDataLst>
              <p:tags r:id="rId3"/>
            </p:custDataLst>
          </p:nvPr>
        </p:nvSpPr>
        <p:spPr bwMode="auto">
          <a:xfrm>
            <a:off x="865" y="48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293"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grpSp>
        <p:nvGrpSpPr>
          <p:cNvPr id="102" name="Group 101">
            <a:extLst>
              <a:ext uri="{FF2B5EF4-FFF2-40B4-BE49-F238E27FC236}">
                <a16:creationId xmlns:a16="http://schemas.microsoft.com/office/drawing/2014/main" id="{6D7A36AE-820C-4C67-9B42-B1548EFBD2E6}"/>
              </a:ext>
            </a:extLst>
          </p:cNvPr>
          <p:cNvGrpSpPr/>
          <p:nvPr/>
        </p:nvGrpSpPr>
        <p:grpSpPr>
          <a:xfrm>
            <a:off x="3301184" y="1915799"/>
            <a:ext cx="215444" cy="3673392"/>
            <a:chOff x="3005640" y="1928059"/>
            <a:chExt cx="215444" cy="3673392"/>
          </a:xfrm>
        </p:grpSpPr>
        <p:cxnSp>
          <p:nvCxnSpPr>
            <p:cNvPr id="9" name="Straight Connector 8">
              <a:extLst>
                <a:ext uri="{FF2B5EF4-FFF2-40B4-BE49-F238E27FC236}">
                  <a16:creationId xmlns:a16="http://schemas.microsoft.com/office/drawing/2014/main" id="{8C657642-DF3C-4AB8-8A1D-C85B479CBCF4}"/>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 name="Rectangle 9">
              <a:extLst>
                <a:ext uri="{FF2B5EF4-FFF2-40B4-BE49-F238E27FC236}">
                  <a16:creationId xmlns:a16="http://schemas.microsoft.com/office/drawing/2014/main" id="{EBE5B112-9F05-413A-AFFB-BF599DDDDA59}"/>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algn="ctr" defTabSz="914192">
                <a:defRPr/>
              </a:pPr>
              <a:r>
                <a:rPr lang="en-US" sz="1400" dirty="0">
                  <a:latin typeface="Segoe Pro Semibold" panose="020B0702040504020203" pitchFamily="34" charset="0"/>
                  <a:cs typeface="Segoe UI Light"/>
                </a:rPr>
                <a:t>FIREWALL</a:t>
              </a:r>
              <a:endParaRPr lang="en-US" sz="1400" dirty="0">
                <a:latin typeface="Segoe UI"/>
              </a:endParaRPr>
            </a:p>
          </p:txBody>
        </p:sp>
      </p:grpSp>
      <p:sp>
        <p:nvSpPr>
          <p:cNvPr id="14" name="Rectangle 13">
            <a:extLst>
              <a:ext uri="{FF2B5EF4-FFF2-40B4-BE49-F238E27FC236}">
                <a16:creationId xmlns:a16="http://schemas.microsoft.com/office/drawing/2014/main" id="{4D7133A4-1876-406E-A6E0-368EB560FA92}"/>
              </a:ext>
            </a:extLst>
          </p:cNvPr>
          <p:cNvSpPr/>
          <p:nvPr/>
        </p:nvSpPr>
        <p:spPr bwMode="auto">
          <a:xfrm>
            <a:off x="7770946" y="1915799"/>
            <a:ext cx="3840480" cy="368565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27" rIns="91440" bIns="46630" numCol="1" rtlCol="0" anchor="t" anchorCtr="0" compatLnSpc="1">
            <a:prstTxWarp prst="textNoShape">
              <a:avLst/>
            </a:prstTxWarp>
          </a:bodyPr>
          <a:lstStyle/>
          <a:p>
            <a:pPr algn="ctr" defTabSz="860922">
              <a:defRPr/>
            </a:pPr>
            <a:r>
              <a:rPr lang="en-US" sz="1600" dirty="0">
                <a:solidFill>
                  <a:schemeClr val="tx1"/>
                </a:solidFill>
                <a:latin typeface="+mj-lt"/>
                <a:cs typeface="Segoe UI Light"/>
              </a:rPr>
              <a:t>Azure VMs &amp; Services</a:t>
            </a:r>
          </a:p>
          <a:p>
            <a:pPr algn="ctr" defTabSz="860922">
              <a:defRPr/>
            </a:pPr>
            <a:r>
              <a:rPr lang="en-US" sz="1400" i="1" dirty="0">
                <a:solidFill>
                  <a:schemeClr val="tx1"/>
                </a:solidFill>
                <a:cs typeface="Segoe UI" panose="020B0502040204020203" pitchFamily="34" charset="0"/>
              </a:rPr>
              <a:t>Customer/Partner-managed</a:t>
            </a:r>
          </a:p>
        </p:txBody>
      </p:sp>
      <p:sp>
        <p:nvSpPr>
          <p:cNvPr id="43" name="Rectangle 42">
            <a:extLst>
              <a:ext uri="{FF2B5EF4-FFF2-40B4-BE49-F238E27FC236}">
                <a16:creationId xmlns:a16="http://schemas.microsoft.com/office/drawing/2014/main" id="{F5571E90-DDDF-4792-8A08-968B8B564E11}"/>
              </a:ext>
            </a:extLst>
          </p:cNvPr>
          <p:cNvSpPr/>
          <p:nvPr/>
        </p:nvSpPr>
        <p:spPr bwMode="auto">
          <a:xfrm>
            <a:off x="583292" y="1915799"/>
            <a:ext cx="2651760" cy="368565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27" rIns="91440" bIns="46630" numCol="1" spcCol="0" rtlCol="0" fromWordArt="0" anchor="t" anchorCtr="0" forceAA="0" compatLnSpc="1">
            <a:prstTxWarp prst="textNoShape">
              <a:avLst/>
            </a:prstTxWarp>
            <a:noAutofit/>
          </a:bodyPr>
          <a:lstStyle/>
          <a:p>
            <a:pPr algn="ctr" defTabSz="860922">
              <a:defRPr/>
            </a:pPr>
            <a:r>
              <a:rPr lang="en-US" sz="1600" dirty="0">
                <a:solidFill>
                  <a:schemeClr val="tx1"/>
                </a:solidFill>
                <a:latin typeface="+mj-lt"/>
                <a:cs typeface="Segoe UI Light"/>
              </a:rPr>
              <a:t> Clients</a:t>
            </a:r>
          </a:p>
          <a:p>
            <a:pPr algn="ctr" defTabSz="860922">
              <a:defRPr/>
            </a:pPr>
            <a:r>
              <a:rPr lang="en-US" sz="1400" i="1" dirty="0">
                <a:solidFill>
                  <a:schemeClr val="tx1"/>
                </a:solidFill>
                <a:cs typeface="Segoe UI" panose="020B0502040204020203" pitchFamily="34" charset="0"/>
              </a:rPr>
              <a:t>Customer/Partner-managed</a:t>
            </a:r>
          </a:p>
        </p:txBody>
      </p:sp>
      <p:sp>
        <p:nvSpPr>
          <p:cNvPr id="95" name="Title 94">
            <a:extLst>
              <a:ext uri="{FF2B5EF4-FFF2-40B4-BE49-F238E27FC236}">
                <a16:creationId xmlns:a16="http://schemas.microsoft.com/office/drawing/2014/main" id="{CA91CBCE-FCD9-4E17-8C68-8BC9BFA14132}"/>
              </a:ext>
            </a:extLst>
          </p:cNvPr>
          <p:cNvSpPr>
            <a:spLocks noGrp="1"/>
          </p:cNvSpPr>
          <p:nvPr>
            <p:ph type="title"/>
          </p:nvPr>
        </p:nvSpPr>
        <p:spPr/>
        <p:txBody>
          <a:bodyPr/>
          <a:lstStyle/>
          <a:p>
            <a:r>
              <a:rPr lang="en-US" dirty="0"/>
              <a:t>WVD Architectural Overview</a:t>
            </a:r>
          </a:p>
        </p:txBody>
      </p:sp>
      <p:grpSp>
        <p:nvGrpSpPr>
          <p:cNvPr id="103" name="Group 102">
            <a:extLst>
              <a:ext uri="{FF2B5EF4-FFF2-40B4-BE49-F238E27FC236}">
                <a16:creationId xmlns:a16="http://schemas.microsoft.com/office/drawing/2014/main" id="{E743FCB2-D28E-4B64-898E-D74CB8AA4A6D}"/>
              </a:ext>
            </a:extLst>
          </p:cNvPr>
          <p:cNvGrpSpPr/>
          <p:nvPr/>
        </p:nvGrpSpPr>
        <p:grpSpPr>
          <a:xfrm>
            <a:off x="7489371" y="1915799"/>
            <a:ext cx="215444" cy="3673392"/>
            <a:chOff x="3005640" y="1928059"/>
            <a:chExt cx="215444" cy="3673392"/>
          </a:xfrm>
        </p:grpSpPr>
        <p:cxnSp>
          <p:nvCxnSpPr>
            <p:cNvPr id="104" name="Straight Connector 103">
              <a:extLst>
                <a:ext uri="{FF2B5EF4-FFF2-40B4-BE49-F238E27FC236}">
                  <a16:creationId xmlns:a16="http://schemas.microsoft.com/office/drawing/2014/main" id="{46B0CC44-25F4-4854-AE06-CA770E80258F}"/>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5" name="Rectangle 104">
              <a:extLst>
                <a:ext uri="{FF2B5EF4-FFF2-40B4-BE49-F238E27FC236}">
                  <a16:creationId xmlns:a16="http://schemas.microsoft.com/office/drawing/2014/main" id="{BE5D5830-46C4-4956-BFE2-59A478C2A278}"/>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algn="ctr" defTabSz="914192">
                <a:defRPr/>
              </a:pPr>
              <a:r>
                <a:rPr lang="en-US" sz="1400" dirty="0">
                  <a:latin typeface="Segoe Pro Semibold" panose="020B0702040504020203" pitchFamily="34" charset="0"/>
                  <a:cs typeface="Segoe UI Light"/>
                </a:rPr>
                <a:t>FIREWALL</a:t>
              </a:r>
              <a:endParaRPr lang="en-US" sz="1400" dirty="0">
                <a:latin typeface="Segoe UI"/>
              </a:endParaRPr>
            </a:p>
          </p:txBody>
        </p:sp>
      </p:grpSp>
      <p:grpSp>
        <p:nvGrpSpPr>
          <p:cNvPr id="124" name="Group 123">
            <a:extLst>
              <a:ext uri="{FF2B5EF4-FFF2-40B4-BE49-F238E27FC236}">
                <a16:creationId xmlns:a16="http://schemas.microsoft.com/office/drawing/2014/main" id="{1844D0C8-C2A8-4E7A-A917-02BDC4912F17}"/>
              </a:ext>
            </a:extLst>
          </p:cNvPr>
          <p:cNvGrpSpPr/>
          <p:nvPr/>
        </p:nvGrpSpPr>
        <p:grpSpPr>
          <a:xfrm>
            <a:off x="894289" y="2606144"/>
            <a:ext cx="822960" cy="822960"/>
            <a:chOff x="894289" y="2606144"/>
            <a:chExt cx="822960" cy="822960"/>
          </a:xfrm>
        </p:grpSpPr>
        <p:sp>
          <p:nvSpPr>
            <p:cNvPr id="106" name="Oval 105">
              <a:extLst>
                <a:ext uri="{FF2B5EF4-FFF2-40B4-BE49-F238E27FC236}">
                  <a16:creationId xmlns:a16="http://schemas.microsoft.com/office/drawing/2014/main" id="{68079264-D914-4413-9AC3-B1B0E787ADBF}"/>
                </a:ext>
              </a:extLst>
            </p:cNvPr>
            <p:cNvSpPr/>
            <p:nvPr/>
          </p:nvSpPr>
          <p:spPr bwMode="auto">
            <a:xfrm>
              <a:off x="894289" y="2606144"/>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400" dirty="0">
                <a:solidFill>
                  <a:srgbClr val="505050"/>
                </a:solidFill>
                <a:latin typeface="Segoe Pro Semibold" panose="020B0702040504020203" pitchFamily="34" charset="0"/>
                <a:cs typeface="Segoe UI Light"/>
              </a:endParaRPr>
            </a:p>
          </p:txBody>
        </p:sp>
        <p:sp>
          <p:nvSpPr>
            <p:cNvPr id="120" name="CellPhone_E8EA" title="Icon of a cellphone">
              <a:extLst>
                <a:ext uri="{FF2B5EF4-FFF2-40B4-BE49-F238E27FC236}">
                  <a16:creationId xmlns:a16="http://schemas.microsoft.com/office/drawing/2014/main" id="{476FB6D9-CFBE-4038-9A38-4FC4194AF96C}"/>
                </a:ext>
              </a:extLst>
            </p:cNvPr>
            <p:cNvSpPr>
              <a:spLocks noChangeAspect="1" noEditPoints="1"/>
            </p:cNvSpPr>
            <p:nvPr/>
          </p:nvSpPr>
          <p:spPr bwMode="auto">
            <a:xfrm>
              <a:off x="1183766" y="2814320"/>
              <a:ext cx="244006" cy="40661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dirty="0">
                <a:gradFill>
                  <a:gsLst>
                    <a:gs pos="0">
                      <a:srgbClr val="505050"/>
                    </a:gs>
                    <a:gs pos="100000">
                      <a:srgbClr val="505050"/>
                    </a:gs>
                  </a:gsLst>
                </a:gradFill>
                <a:latin typeface="Segoe UI"/>
              </a:endParaRPr>
            </a:p>
          </p:txBody>
        </p:sp>
      </p:grpSp>
      <p:grpSp>
        <p:nvGrpSpPr>
          <p:cNvPr id="126" name="Group 125">
            <a:extLst>
              <a:ext uri="{FF2B5EF4-FFF2-40B4-BE49-F238E27FC236}">
                <a16:creationId xmlns:a16="http://schemas.microsoft.com/office/drawing/2014/main" id="{EF3894D2-DB59-4D52-A883-022B193B208D}"/>
              </a:ext>
            </a:extLst>
          </p:cNvPr>
          <p:cNvGrpSpPr/>
          <p:nvPr/>
        </p:nvGrpSpPr>
        <p:grpSpPr>
          <a:xfrm>
            <a:off x="894289" y="4561626"/>
            <a:ext cx="822960" cy="822960"/>
            <a:chOff x="894289" y="4561626"/>
            <a:chExt cx="822960" cy="822960"/>
          </a:xfrm>
        </p:grpSpPr>
        <p:sp>
          <p:nvSpPr>
            <p:cNvPr id="108" name="Oval 107">
              <a:extLst>
                <a:ext uri="{FF2B5EF4-FFF2-40B4-BE49-F238E27FC236}">
                  <a16:creationId xmlns:a16="http://schemas.microsoft.com/office/drawing/2014/main" id="{2D60000E-E43E-452A-949C-909AF305DD63}"/>
                </a:ext>
              </a:extLst>
            </p:cNvPr>
            <p:cNvSpPr/>
            <p:nvPr/>
          </p:nvSpPr>
          <p:spPr bwMode="auto">
            <a:xfrm>
              <a:off x="894289" y="4561626"/>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400" dirty="0">
                <a:solidFill>
                  <a:srgbClr val="505050"/>
                </a:solidFill>
                <a:latin typeface="Segoe Pro Semibold" panose="020B0702040504020203" pitchFamily="34" charset="0"/>
                <a:cs typeface="Segoe UI Light"/>
              </a:endParaRPr>
            </a:p>
          </p:txBody>
        </p:sp>
        <p:sp>
          <p:nvSpPr>
            <p:cNvPr id="121" name="Laptop_E770" title="Icon of a laptop">
              <a:extLst>
                <a:ext uri="{FF2B5EF4-FFF2-40B4-BE49-F238E27FC236}">
                  <a16:creationId xmlns:a16="http://schemas.microsoft.com/office/drawing/2014/main" id="{E942E040-0950-4BE5-9B23-73D3943AE50F}"/>
                </a:ext>
              </a:extLst>
            </p:cNvPr>
            <p:cNvSpPr>
              <a:spLocks noChangeAspect="1" noEditPoints="1"/>
            </p:cNvSpPr>
            <p:nvPr/>
          </p:nvSpPr>
          <p:spPr bwMode="auto">
            <a:xfrm>
              <a:off x="1025904" y="4786358"/>
              <a:ext cx="559731" cy="37349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dirty="0">
                <a:gradFill>
                  <a:gsLst>
                    <a:gs pos="0">
                      <a:srgbClr val="505050"/>
                    </a:gs>
                    <a:gs pos="100000">
                      <a:srgbClr val="505050"/>
                    </a:gs>
                  </a:gsLst>
                </a:gradFill>
                <a:latin typeface="Segoe UI"/>
              </a:endParaRPr>
            </a:p>
          </p:txBody>
        </p:sp>
      </p:grpSp>
      <p:grpSp>
        <p:nvGrpSpPr>
          <p:cNvPr id="125" name="Group 124">
            <a:extLst>
              <a:ext uri="{FF2B5EF4-FFF2-40B4-BE49-F238E27FC236}">
                <a16:creationId xmlns:a16="http://schemas.microsoft.com/office/drawing/2014/main" id="{6C603FE7-3339-4F8A-99F0-54FB6B5EC07C}"/>
              </a:ext>
            </a:extLst>
          </p:cNvPr>
          <p:cNvGrpSpPr/>
          <p:nvPr/>
        </p:nvGrpSpPr>
        <p:grpSpPr>
          <a:xfrm>
            <a:off x="894289" y="3583885"/>
            <a:ext cx="822960" cy="822960"/>
            <a:chOff x="894289" y="3583885"/>
            <a:chExt cx="822960" cy="822960"/>
          </a:xfrm>
        </p:grpSpPr>
        <p:sp>
          <p:nvSpPr>
            <p:cNvPr id="107" name="Oval 106">
              <a:extLst>
                <a:ext uri="{FF2B5EF4-FFF2-40B4-BE49-F238E27FC236}">
                  <a16:creationId xmlns:a16="http://schemas.microsoft.com/office/drawing/2014/main" id="{AE044949-0946-4ACD-9EEB-5422BDD53D83}"/>
                </a:ext>
              </a:extLst>
            </p:cNvPr>
            <p:cNvSpPr/>
            <p:nvPr/>
          </p:nvSpPr>
          <p:spPr bwMode="auto">
            <a:xfrm>
              <a:off x="894289" y="3583885"/>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400" dirty="0">
                <a:solidFill>
                  <a:srgbClr val="505050"/>
                </a:solidFill>
                <a:latin typeface="Segoe Pro Semibold" panose="020B0702040504020203" pitchFamily="34" charset="0"/>
                <a:cs typeface="Segoe UI Light"/>
              </a:endParaRPr>
            </a:p>
          </p:txBody>
        </p:sp>
        <p:sp>
          <p:nvSpPr>
            <p:cNvPr id="122" name="Tablet_E70A" title="Icon of a tablet">
              <a:extLst>
                <a:ext uri="{FF2B5EF4-FFF2-40B4-BE49-F238E27FC236}">
                  <a16:creationId xmlns:a16="http://schemas.microsoft.com/office/drawing/2014/main" id="{30D6031D-03B3-4F6D-B303-E776687CF520}"/>
                </a:ext>
              </a:extLst>
            </p:cNvPr>
            <p:cNvSpPr>
              <a:spLocks noChangeAspect="1" noEditPoints="1"/>
            </p:cNvSpPr>
            <p:nvPr/>
          </p:nvSpPr>
          <p:spPr bwMode="auto">
            <a:xfrm>
              <a:off x="1068103" y="3820895"/>
              <a:ext cx="475333" cy="34894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dirty="0">
                <a:gradFill>
                  <a:gsLst>
                    <a:gs pos="0">
                      <a:srgbClr val="505050"/>
                    </a:gs>
                    <a:gs pos="100000">
                      <a:srgbClr val="505050"/>
                    </a:gs>
                  </a:gsLst>
                </a:gradFill>
                <a:latin typeface="Segoe UI"/>
              </a:endParaRPr>
            </a:p>
          </p:txBody>
        </p:sp>
      </p:grpSp>
      <p:sp>
        <p:nvSpPr>
          <p:cNvPr id="123" name="Right Bracket 122">
            <a:extLst>
              <a:ext uri="{FF2B5EF4-FFF2-40B4-BE49-F238E27FC236}">
                <a16:creationId xmlns:a16="http://schemas.microsoft.com/office/drawing/2014/main" id="{E1B7646C-880A-4CBD-A09C-35FCB6442A32}"/>
              </a:ext>
            </a:extLst>
          </p:cNvPr>
          <p:cNvSpPr/>
          <p:nvPr/>
        </p:nvSpPr>
        <p:spPr>
          <a:xfrm>
            <a:off x="2515973" y="2791666"/>
            <a:ext cx="126489" cy="2407398"/>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914016">
              <a:defRPr/>
            </a:pPr>
            <a:endParaRPr lang="en-US" sz="13522" dirty="0">
              <a:solidFill>
                <a:srgbClr val="505050"/>
              </a:solidFill>
              <a:latin typeface="Segoe UI"/>
            </a:endParaRPr>
          </a:p>
        </p:txBody>
      </p:sp>
      <p:sp>
        <p:nvSpPr>
          <p:cNvPr id="137" name="Freeform: Shape 136">
            <a:extLst>
              <a:ext uri="{FF2B5EF4-FFF2-40B4-BE49-F238E27FC236}">
                <a16:creationId xmlns:a16="http://schemas.microsoft.com/office/drawing/2014/main" id="{018FB3D7-0019-4424-95EE-89E790801D2C}"/>
              </a:ext>
            </a:extLst>
          </p:cNvPr>
          <p:cNvSpPr>
            <a:spLocks/>
          </p:cNvSpPr>
          <p:nvPr/>
        </p:nvSpPr>
        <p:spPr bwMode="auto">
          <a:xfrm>
            <a:off x="2128529" y="4173236"/>
            <a:ext cx="317685" cy="365760"/>
          </a:xfrm>
          <a:custGeom>
            <a:avLst/>
            <a:gdLst>
              <a:gd name="connsiteX0" fmla="*/ 241252 w 317685"/>
              <a:gd name="connsiteY0" fmla="*/ 99018 h 409664"/>
              <a:gd name="connsiteX1" fmla="*/ 288132 w 317685"/>
              <a:gd name="connsiteY1" fmla="*/ 118208 h 409664"/>
              <a:gd name="connsiteX2" fmla="*/ 307834 w 317685"/>
              <a:gd name="connsiteY2" fmla="*/ 138232 h 409664"/>
              <a:gd name="connsiteX3" fmla="*/ 264912 w 317685"/>
              <a:gd name="connsiteY3" fmla="*/ 222779 h 409664"/>
              <a:gd name="connsiteX4" fmla="*/ 317685 w 317685"/>
              <a:gd name="connsiteY4" fmla="*/ 301392 h 409664"/>
              <a:gd name="connsiteX5" fmla="*/ 297983 w 317685"/>
              <a:gd name="connsiteY5" fmla="*/ 344407 h 409664"/>
              <a:gd name="connsiteX6" fmla="*/ 261394 w 317685"/>
              <a:gd name="connsiteY6" fmla="*/ 394839 h 409664"/>
              <a:gd name="connsiteX7" fmla="*/ 214250 w 317685"/>
              <a:gd name="connsiteY7" fmla="*/ 405963 h 409664"/>
              <a:gd name="connsiteX8" fmla="*/ 198770 w 317685"/>
              <a:gd name="connsiteY8" fmla="*/ 400030 h 409664"/>
              <a:gd name="connsiteX9" fmla="*/ 134035 w 317685"/>
              <a:gd name="connsiteY9" fmla="*/ 400030 h 409664"/>
              <a:gd name="connsiteX10" fmla="*/ 117851 w 317685"/>
              <a:gd name="connsiteY10" fmla="*/ 405963 h 409664"/>
              <a:gd name="connsiteX11" fmla="*/ 69300 w 317685"/>
              <a:gd name="connsiteY11" fmla="*/ 394097 h 409664"/>
              <a:gd name="connsiteX12" fmla="*/ 20749 w 317685"/>
              <a:gd name="connsiteY12" fmla="*/ 319192 h 409664"/>
              <a:gd name="connsiteX13" fmla="*/ 343 w 317685"/>
              <a:gd name="connsiteY13" fmla="*/ 207946 h 409664"/>
              <a:gd name="connsiteX14" fmla="*/ 65782 w 317685"/>
              <a:gd name="connsiteY14" fmla="*/ 105600 h 409664"/>
              <a:gd name="connsiteX15" fmla="*/ 129813 w 317685"/>
              <a:gd name="connsiteY15" fmla="*/ 107084 h 409664"/>
              <a:gd name="connsiteX16" fmla="*/ 191733 w 317685"/>
              <a:gd name="connsiteY16" fmla="*/ 107084 h 409664"/>
              <a:gd name="connsiteX17" fmla="*/ 241252 w 317685"/>
              <a:gd name="connsiteY17" fmla="*/ 99018 h 409664"/>
              <a:gd name="connsiteX18" fmla="*/ 236159 w 317685"/>
              <a:gd name="connsiteY18" fmla="*/ 0 h 409664"/>
              <a:gd name="connsiteX19" fmla="*/ 157949 w 317685"/>
              <a:gd name="connsiteY19" fmla="*/ 93472 h 409664"/>
              <a:gd name="connsiteX20" fmla="*/ 181905 w 317685"/>
              <a:gd name="connsiteY20" fmla="*/ 26706 h 409664"/>
              <a:gd name="connsiteX21" fmla="*/ 236159 w 317685"/>
              <a:gd name="connsiteY21" fmla="*/ 0 h 4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7685" h="409664">
                <a:moveTo>
                  <a:pt x="241252" y="99018"/>
                </a:moveTo>
                <a:cubicBezTo>
                  <a:pt x="257348" y="100594"/>
                  <a:pt x="273004" y="106713"/>
                  <a:pt x="288132" y="118208"/>
                </a:cubicBezTo>
                <a:cubicBezTo>
                  <a:pt x="295169" y="123400"/>
                  <a:pt x="300798" y="131558"/>
                  <a:pt x="307834" y="138232"/>
                </a:cubicBezTo>
                <a:cubicBezTo>
                  <a:pt x="277578" y="158998"/>
                  <a:pt x="262098" y="186439"/>
                  <a:pt x="264912" y="222779"/>
                </a:cubicBezTo>
                <a:cubicBezTo>
                  <a:pt x="267023" y="259119"/>
                  <a:pt x="286021" y="284335"/>
                  <a:pt x="317685" y="301392"/>
                </a:cubicBezTo>
                <a:cubicBezTo>
                  <a:pt x="311352" y="315484"/>
                  <a:pt x="305723" y="330316"/>
                  <a:pt x="297983" y="344407"/>
                </a:cubicBezTo>
                <a:cubicBezTo>
                  <a:pt x="288132" y="362948"/>
                  <a:pt x="276874" y="380748"/>
                  <a:pt x="261394" y="394839"/>
                </a:cubicBezTo>
                <a:cubicBezTo>
                  <a:pt x="248025" y="408188"/>
                  <a:pt x="231841" y="411155"/>
                  <a:pt x="214250" y="405963"/>
                </a:cubicBezTo>
                <a:cubicBezTo>
                  <a:pt x="209324" y="404480"/>
                  <a:pt x="203695" y="402997"/>
                  <a:pt x="198770" y="400030"/>
                </a:cubicBezTo>
                <a:cubicBezTo>
                  <a:pt x="176957" y="390389"/>
                  <a:pt x="155848" y="390389"/>
                  <a:pt x="134035" y="400030"/>
                </a:cubicBezTo>
                <a:cubicBezTo>
                  <a:pt x="129109" y="402255"/>
                  <a:pt x="123480" y="403738"/>
                  <a:pt x="117851" y="405963"/>
                </a:cubicBezTo>
                <a:cubicBezTo>
                  <a:pt x="98853" y="414121"/>
                  <a:pt x="83373" y="408188"/>
                  <a:pt x="69300" y="394097"/>
                </a:cubicBezTo>
                <a:cubicBezTo>
                  <a:pt x="48191" y="372590"/>
                  <a:pt x="32711" y="347374"/>
                  <a:pt x="20749" y="319192"/>
                </a:cubicBezTo>
                <a:cubicBezTo>
                  <a:pt x="5972" y="283593"/>
                  <a:pt x="-1768" y="247253"/>
                  <a:pt x="343" y="207946"/>
                </a:cubicBezTo>
                <a:cubicBezTo>
                  <a:pt x="3158" y="164931"/>
                  <a:pt x="23563" y="122658"/>
                  <a:pt x="65782" y="105600"/>
                </a:cubicBezTo>
                <a:cubicBezTo>
                  <a:pt x="86891" y="96701"/>
                  <a:pt x="108000" y="98184"/>
                  <a:pt x="129813" y="107084"/>
                </a:cubicBezTo>
                <a:cubicBezTo>
                  <a:pt x="166402" y="121175"/>
                  <a:pt x="155848" y="120433"/>
                  <a:pt x="191733" y="107084"/>
                </a:cubicBezTo>
                <a:cubicBezTo>
                  <a:pt x="208621" y="100409"/>
                  <a:pt x="225156" y="97442"/>
                  <a:pt x="241252" y="99018"/>
                </a:cubicBezTo>
                <a:close/>
                <a:moveTo>
                  <a:pt x="236159" y="0"/>
                </a:moveTo>
                <a:cubicBezTo>
                  <a:pt x="239682" y="50445"/>
                  <a:pt x="200225" y="97181"/>
                  <a:pt x="157949" y="93472"/>
                </a:cubicBezTo>
                <a:cubicBezTo>
                  <a:pt x="155130" y="66765"/>
                  <a:pt x="164995" y="45252"/>
                  <a:pt x="181905" y="26706"/>
                </a:cubicBezTo>
                <a:cubicBezTo>
                  <a:pt x="196702" y="11127"/>
                  <a:pt x="214317" y="1484"/>
                  <a:pt x="236159"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noAutofit/>
          </a:bodyPr>
          <a:lstStyle/>
          <a:p>
            <a:pPr defTabSz="914016">
              <a:defRPr/>
            </a:pPr>
            <a:endParaRPr lang="en-US" sz="4703" dirty="0">
              <a:solidFill>
                <a:srgbClr val="505050"/>
              </a:solidFill>
              <a:latin typeface="Segoe UI"/>
            </a:endParaRPr>
          </a:p>
        </p:txBody>
      </p:sp>
      <p:pic>
        <p:nvPicPr>
          <p:cNvPr id="134" name="Picture 62" descr="Image result for html 5 logo png">
            <a:extLst>
              <a:ext uri="{FF2B5EF4-FFF2-40B4-BE49-F238E27FC236}">
                <a16:creationId xmlns:a16="http://schemas.microsoft.com/office/drawing/2014/main" id="{BC728FC2-623A-455F-A658-5FE3B394451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5925" t="5899" r="15925" b="5899"/>
          <a:stretch/>
        </p:blipFill>
        <p:spPr bwMode="auto">
          <a:xfrm>
            <a:off x="2131580" y="3512888"/>
            <a:ext cx="311584" cy="403262"/>
          </a:xfrm>
          <a:prstGeom prst="rect">
            <a:avLst/>
          </a:prstGeom>
          <a:extLst>
            <a:ext uri="{909E8E84-426E-40DD-AFC4-6F175D3DCCD1}">
              <a14:hiddenFill xmlns:a14="http://schemas.microsoft.com/office/drawing/2010/main">
                <a:solidFill>
                  <a:srgbClr val="FFFFFF"/>
                </a:solidFill>
              </a14:hiddenFill>
            </a:ext>
          </a:extLst>
        </p:spPr>
      </p:pic>
      <p:grpSp>
        <p:nvGrpSpPr>
          <p:cNvPr id="144417" name="Group 144416">
            <a:extLst>
              <a:ext uri="{FF2B5EF4-FFF2-40B4-BE49-F238E27FC236}">
                <a16:creationId xmlns:a16="http://schemas.microsoft.com/office/drawing/2014/main" id="{850DAECF-1CE8-4784-B937-2EB77A516514}"/>
              </a:ext>
            </a:extLst>
          </p:cNvPr>
          <p:cNvGrpSpPr/>
          <p:nvPr/>
        </p:nvGrpSpPr>
        <p:grpSpPr>
          <a:xfrm>
            <a:off x="3730365" y="2608211"/>
            <a:ext cx="3545268" cy="2873208"/>
            <a:chOff x="3410140" y="2608211"/>
            <a:chExt cx="3545268" cy="2873208"/>
          </a:xfrm>
        </p:grpSpPr>
        <p:sp>
          <p:nvSpPr>
            <p:cNvPr id="141" name="Rectangle 140">
              <a:extLst>
                <a:ext uri="{FF2B5EF4-FFF2-40B4-BE49-F238E27FC236}">
                  <a16:creationId xmlns:a16="http://schemas.microsoft.com/office/drawing/2014/main" id="{4508C27D-8EF1-4219-A8F5-E8BFC71A5921}"/>
                </a:ext>
              </a:extLst>
            </p:cNvPr>
            <p:cNvSpPr/>
            <p:nvPr/>
          </p:nvSpPr>
          <p:spPr bwMode="auto">
            <a:xfrm>
              <a:off x="3410140" y="2608211"/>
              <a:ext cx="3545268" cy="2873208"/>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400" dirty="0">
                <a:solidFill>
                  <a:srgbClr val="505050"/>
                </a:solidFill>
                <a:latin typeface="Segoe Pro Semibold" panose="020B0702040504020203" pitchFamily="34" charset="0"/>
                <a:cs typeface="Segoe UI Light"/>
              </a:endParaRPr>
            </a:p>
          </p:txBody>
        </p:sp>
        <p:grpSp>
          <p:nvGrpSpPr>
            <p:cNvPr id="144416" name="Group 144415">
              <a:extLst>
                <a:ext uri="{FF2B5EF4-FFF2-40B4-BE49-F238E27FC236}">
                  <a16:creationId xmlns:a16="http://schemas.microsoft.com/office/drawing/2014/main" id="{D3171777-BADE-4D8E-B745-8FB81117C917}"/>
                </a:ext>
              </a:extLst>
            </p:cNvPr>
            <p:cNvGrpSpPr/>
            <p:nvPr/>
          </p:nvGrpSpPr>
          <p:grpSpPr>
            <a:xfrm>
              <a:off x="3531261" y="3055534"/>
              <a:ext cx="3303026" cy="1310716"/>
              <a:chOff x="3532748" y="3055534"/>
              <a:chExt cx="3303026" cy="1310716"/>
            </a:xfrm>
          </p:grpSpPr>
          <p:sp>
            <p:nvSpPr>
              <p:cNvPr id="166" name="Rectangle 165">
                <a:extLst>
                  <a:ext uri="{FF2B5EF4-FFF2-40B4-BE49-F238E27FC236}">
                    <a16:creationId xmlns:a16="http://schemas.microsoft.com/office/drawing/2014/main" id="{C990F4FD-6536-4597-957F-ED75A6700BA5}"/>
                  </a:ext>
                </a:extLst>
              </p:cNvPr>
              <p:cNvSpPr/>
              <p:nvPr/>
            </p:nvSpPr>
            <p:spPr bwMode="auto">
              <a:xfrm>
                <a:off x="5235574"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bg1"/>
                    </a:solidFill>
                    <a:latin typeface="Segoe UI Semibold"/>
                  </a:rPr>
                  <a:t>Diagnostics</a:t>
                </a:r>
              </a:p>
            </p:txBody>
          </p:sp>
          <p:sp>
            <p:nvSpPr>
              <p:cNvPr id="167" name="Rectangle 166">
                <a:extLst>
                  <a:ext uri="{FF2B5EF4-FFF2-40B4-BE49-F238E27FC236}">
                    <a16:creationId xmlns:a16="http://schemas.microsoft.com/office/drawing/2014/main" id="{9AE0E8CD-3FCD-4D44-9BD1-23CD9D26E8AF}"/>
                  </a:ext>
                </a:extLst>
              </p:cNvPr>
              <p:cNvSpPr/>
              <p:nvPr/>
            </p:nvSpPr>
            <p:spPr bwMode="auto">
              <a:xfrm>
                <a:off x="5235574" y="3867553"/>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bg1"/>
                    </a:solidFill>
                    <a:latin typeface="Segoe UI Semibold"/>
                  </a:rPr>
                  <a:t>Broker</a:t>
                </a:r>
              </a:p>
            </p:txBody>
          </p:sp>
          <p:sp>
            <p:nvSpPr>
              <p:cNvPr id="168" name="Rectangle 167">
                <a:extLst>
                  <a:ext uri="{FF2B5EF4-FFF2-40B4-BE49-F238E27FC236}">
                    <a16:creationId xmlns:a16="http://schemas.microsoft.com/office/drawing/2014/main" id="{19E6FF75-9A02-4335-8334-8D05B71F7DD5}"/>
                  </a:ext>
                </a:extLst>
              </p:cNvPr>
              <p:cNvSpPr/>
              <p:nvPr/>
            </p:nvSpPr>
            <p:spPr bwMode="auto">
              <a:xfrm>
                <a:off x="3532748" y="3867553"/>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bg1"/>
                    </a:solidFill>
                    <a:latin typeface="Segoe UI Semibold"/>
                  </a:rPr>
                  <a:t>Gateway</a:t>
                </a:r>
              </a:p>
            </p:txBody>
          </p:sp>
          <p:sp>
            <p:nvSpPr>
              <p:cNvPr id="169" name="Rectangle 168">
                <a:extLst>
                  <a:ext uri="{FF2B5EF4-FFF2-40B4-BE49-F238E27FC236}">
                    <a16:creationId xmlns:a16="http://schemas.microsoft.com/office/drawing/2014/main" id="{AE620571-945D-4C14-BDC3-D9564756B664}"/>
                  </a:ext>
                </a:extLst>
              </p:cNvPr>
              <p:cNvSpPr/>
              <p:nvPr/>
            </p:nvSpPr>
            <p:spPr bwMode="auto">
              <a:xfrm>
                <a:off x="3532748"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bg1"/>
                    </a:solidFill>
                    <a:latin typeface="Segoe UI Semibold"/>
                  </a:rPr>
                  <a:t>Web Access</a:t>
                </a:r>
              </a:p>
            </p:txBody>
          </p:sp>
          <p:sp>
            <p:nvSpPr>
              <p:cNvPr id="146" name="algorithm" title="Icon of a heartbeat">
                <a:extLst>
                  <a:ext uri="{FF2B5EF4-FFF2-40B4-BE49-F238E27FC236}">
                    <a16:creationId xmlns:a16="http://schemas.microsoft.com/office/drawing/2014/main" id="{FE728B79-E583-4496-8A14-3A04738DD3B0}"/>
                  </a:ext>
                </a:extLst>
              </p:cNvPr>
              <p:cNvSpPr>
                <a:spLocks noChangeAspect="1" noEditPoints="1"/>
              </p:cNvSpPr>
              <p:nvPr/>
            </p:nvSpPr>
            <p:spPr bwMode="auto">
              <a:xfrm>
                <a:off x="6410857" y="3168044"/>
                <a:ext cx="316134" cy="273676"/>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050" dirty="0">
                  <a:solidFill>
                    <a:srgbClr val="FFFFFF"/>
                  </a:solidFill>
                </a:endParaRPr>
              </a:p>
            </p:txBody>
          </p:sp>
          <p:grpSp>
            <p:nvGrpSpPr>
              <p:cNvPr id="140" name="Group 139">
                <a:extLst>
                  <a:ext uri="{FF2B5EF4-FFF2-40B4-BE49-F238E27FC236}">
                    <a16:creationId xmlns:a16="http://schemas.microsoft.com/office/drawing/2014/main" id="{9F3AA6DC-FA03-4C82-ABE2-06D664A27FE9}"/>
                  </a:ext>
                </a:extLst>
              </p:cNvPr>
              <p:cNvGrpSpPr/>
              <p:nvPr/>
            </p:nvGrpSpPr>
            <p:grpSpPr>
              <a:xfrm>
                <a:off x="6427142" y="3965551"/>
                <a:ext cx="283564" cy="302701"/>
                <a:chOff x="6427142" y="3949294"/>
                <a:chExt cx="283564" cy="302701"/>
              </a:xfrm>
            </p:grpSpPr>
            <p:cxnSp>
              <p:nvCxnSpPr>
                <p:cNvPr id="151" name="Straight Connector 150">
                  <a:extLst>
                    <a:ext uri="{FF2B5EF4-FFF2-40B4-BE49-F238E27FC236}">
                      <a16:creationId xmlns:a16="http://schemas.microsoft.com/office/drawing/2014/main" id="{3A4FD677-23D9-4748-8144-832A99E75D81}"/>
                    </a:ext>
                  </a:extLst>
                </p:cNvPr>
                <p:cNvCxnSpPr>
                  <a:cxnSpLocks/>
                </p:cNvCxnSpPr>
                <p:nvPr/>
              </p:nvCxnSpPr>
              <p:spPr>
                <a:xfrm>
                  <a:off x="6427142" y="4100644"/>
                  <a:ext cx="283564" cy="0"/>
                </a:xfrm>
                <a:prstGeom prst="line">
                  <a:avLst/>
                </a:prstGeom>
                <a:ln w="9525">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27C63356-A849-4951-9F08-641BD3B47448}"/>
                    </a:ext>
                  </a:extLst>
                </p:cNvPr>
                <p:cNvCxnSpPr>
                  <a:cxnSpLocks/>
                </p:cNvCxnSpPr>
                <p:nvPr/>
              </p:nvCxnSpPr>
              <p:spPr>
                <a:xfrm flipV="1">
                  <a:off x="6493259" y="3949294"/>
                  <a:ext cx="113426" cy="147797"/>
                </a:xfrm>
                <a:prstGeom prst="line">
                  <a:avLst/>
                </a:prstGeom>
                <a:ln w="9525">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F7385E5-C8C5-4A59-AA0C-0D8C1732153F}"/>
                    </a:ext>
                  </a:extLst>
                </p:cNvPr>
                <p:cNvCxnSpPr>
                  <a:cxnSpLocks/>
                </p:cNvCxnSpPr>
                <p:nvPr/>
              </p:nvCxnSpPr>
              <p:spPr>
                <a:xfrm>
                  <a:off x="6494611" y="4104198"/>
                  <a:ext cx="113426" cy="147797"/>
                </a:xfrm>
                <a:prstGeom prst="line">
                  <a:avLst/>
                </a:prstGeom>
                <a:ln w="9525">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59" name="Move_E7C2" title="Icon of four arrows pointing away from eachother">
                <a:extLst>
                  <a:ext uri="{FF2B5EF4-FFF2-40B4-BE49-F238E27FC236}">
                    <a16:creationId xmlns:a16="http://schemas.microsoft.com/office/drawing/2014/main" id="{EBC69278-CCD5-4C92-89BD-A8999C3F96B3}"/>
                  </a:ext>
                </a:extLst>
              </p:cNvPr>
              <p:cNvSpPr>
                <a:spLocks noChangeAspect="1" noEditPoints="1"/>
              </p:cNvSpPr>
              <p:nvPr/>
            </p:nvSpPr>
            <p:spPr bwMode="auto">
              <a:xfrm>
                <a:off x="4737194" y="3965780"/>
                <a:ext cx="302166" cy="302242"/>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9525"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algn="ctr" defTabSz="896030" fontAlgn="base">
                  <a:defRPr/>
                </a:pPr>
                <a:endParaRPr lang="en-US" sz="1050" dirty="0">
                  <a:solidFill>
                    <a:srgbClr val="FFFFFF"/>
                  </a:solidFill>
                </a:endParaRPr>
              </a:p>
            </p:txBody>
          </p:sp>
          <p:sp>
            <p:nvSpPr>
              <p:cNvPr id="164" name="globe_2" title="Icon of a sphere made of lines">
                <a:extLst>
                  <a:ext uri="{FF2B5EF4-FFF2-40B4-BE49-F238E27FC236}">
                    <a16:creationId xmlns:a16="http://schemas.microsoft.com/office/drawing/2014/main" id="{99F63F33-9886-486B-BDAC-289C99DA80EB}"/>
                  </a:ext>
                </a:extLst>
              </p:cNvPr>
              <p:cNvSpPr>
                <a:spLocks noChangeAspect="1" noEditPoints="1"/>
              </p:cNvSpPr>
              <p:nvPr/>
            </p:nvSpPr>
            <p:spPr bwMode="auto">
              <a:xfrm>
                <a:off x="4737194" y="3153801"/>
                <a:ext cx="302166" cy="30216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050" dirty="0">
                  <a:solidFill>
                    <a:srgbClr val="FFFFFF"/>
                  </a:solidFill>
                </a:endParaRPr>
              </a:p>
            </p:txBody>
          </p:sp>
        </p:grpSp>
        <p:sp>
          <p:nvSpPr>
            <p:cNvPr id="172" name="Rectangle 171">
              <a:extLst>
                <a:ext uri="{FF2B5EF4-FFF2-40B4-BE49-F238E27FC236}">
                  <a16:creationId xmlns:a16="http://schemas.microsoft.com/office/drawing/2014/main" id="{6478F216-237C-4B13-9188-9C4F52213EC5}"/>
                </a:ext>
              </a:extLst>
            </p:cNvPr>
            <p:cNvSpPr/>
            <p:nvPr/>
          </p:nvSpPr>
          <p:spPr bwMode="auto">
            <a:xfrm>
              <a:off x="5059133" y="4830924"/>
              <a:ext cx="1128514" cy="215444"/>
            </a:xfrm>
            <a:prstGeom prst="rect">
              <a:avLst/>
            </a:prstGeom>
            <a:noFill/>
            <a:ln w="1079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accent1">
                      <a:lumMod val="75000"/>
                    </a:schemeClr>
                  </a:solidFill>
                  <a:latin typeface="Segoe UI Semibold"/>
                </a:rPr>
                <a:t>Azure SQL DB</a:t>
              </a:r>
            </a:p>
          </p:txBody>
        </p:sp>
        <p:sp>
          <p:nvSpPr>
            <p:cNvPr id="173" name="Freeform 52">
              <a:extLst>
                <a:ext uri="{FF2B5EF4-FFF2-40B4-BE49-F238E27FC236}">
                  <a16:creationId xmlns:a16="http://schemas.microsoft.com/office/drawing/2014/main" id="{063BD553-B8EC-468A-8155-A680D22D6D95}"/>
                </a:ext>
              </a:extLst>
            </p:cNvPr>
            <p:cNvSpPr>
              <a:spLocks/>
            </p:cNvSpPr>
            <p:nvPr/>
          </p:nvSpPr>
          <p:spPr bwMode="auto">
            <a:xfrm>
              <a:off x="6329741" y="4695692"/>
              <a:ext cx="363320" cy="485908"/>
            </a:xfrm>
            <a:custGeom>
              <a:avLst/>
              <a:gdLst>
                <a:gd name="connsiteX0" fmla="*/ 2357708 w 4634134"/>
                <a:gd name="connsiteY0" fmla="*/ 2986464 h 6197751"/>
                <a:gd name="connsiteX1" fmla="*/ 2533172 w 4634134"/>
                <a:gd name="connsiteY1" fmla="*/ 3119963 h 6197751"/>
                <a:gd name="connsiteX2" fmla="*/ 2539222 w 4634134"/>
                <a:gd name="connsiteY2" fmla="*/ 3487083 h 6197751"/>
                <a:gd name="connsiteX3" fmla="*/ 2336531 w 4634134"/>
                <a:gd name="connsiteY3" fmla="*/ 3632718 h 6197751"/>
                <a:gd name="connsiteX4" fmla="*/ 2136865 w 4634134"/>
                <a:gd name="connsiteY4" fmla="*/ 3484049 h 6197751"/>
                <a:gd name="connsiteX5" fmla="*/ 2109638 w 4634134"/>
                <a:gd name="connsiteY5" fmla="*/ 3305040 h 6197751"/>
                <a:gd name="connsiteX6" fmla="*/ 2151992 w 4634134"/>
                <a:gd name="connsiteY6" fmla="*/ 3107826 h 6197751"/>
                <a:gd name="connsiteX7" fmla="*/ 2357708 w 4634134"/>
                <a:gd name="connsiteY7" fmla="*/ 2986464 h 6197751"/>
                <a:gd name="connsiteX8" fmla="*/ 3208068 w 4634134"/>
                <a:gd name="connsiteY8" fmla="*/ 2686428 h 6197751"/>
                <a:gd name="connsiteX9" fmla="*/ 3138488 w 4634134"/>
                <a:gd name="connsiteY9" fmla="*/ 2756263 h 6197751"/>
                <a:gd name="connsiteX10" fmla="*/ 3141513 w 4634134"/>
                <a:gd name="connsiteY10" fmla="*/ 3308867 h 6197751"/>
                <a:gd name="connsiteX11" fmla="*/ 3138488 w 4634134"/>
                <a:gd name="connsiteY11" fmla="*/ 3873616 h 6197751"/>
                <a:gd name="connsiteX12" fmla="*/ 3198993 w 4634134"/>
                <a:gd name="connsiteY12" fmla="*/ 3934342 h 6197751"/>
                <a:gd name="connsiteX13" fmla="*/ 3879671 w 4634134"/>
                <a:gd name="connsiteY13" fmla="*/ 3934342 h 6197751"/>
                <a:gd name="connsiteX14" fmla="*/ 3937151 w 4634134"/>
                <a:gd name="connsiteY14" fmla="*/ 3876653 h 6197751"/>
                <a:gd name="connsiteX15" fmla="*/ 3937151 w 4634134"/>
                <a:gd name="connsiteY15" fmla="*/ 3718766 h 6197751"/>
                <a:gd name="connsiteX16" fmla="*/ 3864545 w 4634134"/>
                <a:gd name="connsiteY16" fmla="*/ 3642859 h 6197751"/>
                <a:gd name="connsiteX17" fmla="*/ 3592274 w 4634134"/>
                <a:gd name="connsiteY17" fmla="*/ 3642859 h 6197751"/>
                <a:gd name="connsiteX18" fmla="*/ 3510592 w 4634134"/>
                <a:gd name="connsiteY18" fmla="*/ 3560879 h 6197751"/>
                <a:gd name="connsiteX19" fmla="*/ 3513617 w 4634134"/>
                <a:gd name="connsiteY19" fmla="*/ 2756263 h 6197751"/>
                <a:gd name="connsiteX20" fmla="*/ 3444037 w 4634134"/>
                <a:gd name="connsiteY20" fmla="*/ 2686428 h 6197751"/>
                <a:gd name="connsiteX21" fmla="*/ 3208068 w 4634134"/>
                <a:gd name="connsiteY21" fmla="*/ 2686428 h 6197751"/>
                <a:gd name="connsiteX22" fmla="*/ 1262101 w 4634134"/>
                <a:gd name="connsiteY22" fmla="*/ 2670553 h 6197751"/>
                <a:gd name="connsiteX23" fmla="*/ 871308 w 4634134"/>
                <a:gd name="connsiteY23" fmla="*/ 2764659 h 6197751"/>
                <a:gd name="connsiteX24" fmla="*/ 847073 w 4634134"/>
                <a:gd name="connsiteY24" fmla="*/ 3335367 h 6197751"/>
                <a:gd name="connsiteX25" fmla="*/ 1119719 w 4634134"/>
                <a:gd name="connsiteY25" fmla="*/ 3475008 h 6197751"/>
                <a:gd name="connsiteX26" fmla="*/ 1210601 w 4634134"/>
                <a:gd name="connsiteY26" fmla="*/ 3608578 h 6197751"/>
                <a:gd name="connsiteX27" fmla="*/ 1059131 w 4634134"/>
                <a:gd name="connsiteY27" fmla="*/ 3675363 h 6197751"/>
                <a:gd name="connsiteX28" fmla="*/ 1047013 w 4634134"/>
                <a:gd name="connsiteY28" fmla="*/ 3672328 h 6197751"/>
                <a:gd name="connsiteX29" fmla="*/ 786485 w 4634134"/>
                <a:gd name="connsiteY29" fmla="*/ 3581257 h 6197751"/>
                <a:gd name="connsiteX30" fmla="*/ 741044 w 4634134"/>
                <a:gd name="connsiteY30" fmla="*/ 3605543 h 6197751"/>
                <a:gd name="connsiteX31" fmla="*/ 741044 w 4634134"/>
                <a:gd name="connsiteY31" fmla="*/ 3848397 h 6197751"/>
                <a:gd name="connsiteX32" fmla="*/ 783455 w 4634134"/>
                <a:gd name="connsiteY32" fmla="*/ 3900004 h 6197751"/>
                <a:gd name="connsiteX33" fmla="*/ 1437806 w 4634134"/>
                <a:gd name="connsiteY33" fmla="*/ 3875718 h 6197751"/>
                <a:gd name="connsiteX34" fmla="*/ 1492335 w 4634134"/>
                <a:gd name="connsiteY34" fmla="*/ 3283760 h 6197751"/>
                <a:gd name="connsiteX35" fmla="*/ 1186366 w 4634134"/>
                <a:gd name="connsiteY35" fmla="*/ 3122869 h 6197751"/>
                <a:gd name="connsiteX36" fmla="*/ 1119719 w 4634134"/>
                <a:gd name="connsiteY36" fmla="*/ 3019656 h 6197751"/>
                <a:gd name="connsiteX37" fmla="*/ 1213630 w 4634134"/>
                <a:gd name="connsiteY37" fmla="*/ 2949836 h 6197751"/>
                <a:gd name="connsiteX38" fmla="*/ 1513541 w 4634134"/>
                <a:gd name="connsiteY38" fmla="*/ 3004478 h 6197751"/>
                <a:gd name="connsiteX39" fmla="*/ 1562012 w 4634134"/>
                <a:gd name="connsiteY39" fmla="*/ 2971085 h 6197751"/>
                <a:gd name="connsiteX40" fmla="*/ 1562012 w 4634134"/>
                <a:gd name="connsiteY40" fmla="*/ 2770731 h 6197751"/>
                <a:gd name="connsiteX41" fmla="*/ 1504453 w 4634134"/>
                <a:gd name="connsiteY41" fmla="*/ 2700910 h 6197751"/>
                <a:gd name="connsiteX42" fmla="*/ 1262101 w 4634134"/>
                <a:gd name="connsiteY42" fmla="*/ 2670553 h 6197751"/>
                <a:gd name="connsiteX43" fmla="*/ 2365917 w 4634134"/>
                <a:gd name="connsiteY43" fmla="*/ 2669970 h 6197751"/>
                <a:gd name="connsiteX44" fmla="*/ 2200676 w 4634134"/>
                <a:gd name="connsiteY44" fmla="*/ 2685757 h 6197751"/>
                <a:gd name="connsiteX45" fmla="*/ 1719371 w 4634134"/>
                <a:gd name="connsiteY45" fmla="*/ 3268975 h 6197751"/>
                <a:gd name="connsiteX46" fmla="*/ 2243055 w 4634134"/>
                <a:gd name="connsiteY46" fmla="*/ 3943321 h 6197751"/>
                <a:gd name="connsiteX47" fmla="*/ 2330840 w 4634134"/>
                <a:gd name="connsiteY47" fmla="*/ 3991922 h 6197751"/>
                <a:gd name="connsiteX48" fmla="*/ 2530627 w 4634134"/>
                <a:gd name="connsiteY48" fmla="*/ 4210629 h 6197751"/>
                <a:gd name="connsiteX49" fmla="*/ 2582087 w 4634134"/>
                <a:gd name="connsiteY49" fmla="*/ 4247080 h 6197751"/>
                <a:gd name="connsiteX50" fmla="*/ 3011932 w 4634134"/>
                <a:gd name="connsiteY50" fmla="*/ 4247080 h 6197751"/>
                <a:gd name="connsiteX51" fmla="*/ 3021013 w 4634134"/>
                <a:gd name="connsiteY51" fmla="*/ 4228855 h 6197751"/>
                <a:gd name="connsiteX52" fmla="*/ 2993769 w 4634134"/>
                <a:gd name="connsiteY52" fmla="*/ 4213667 h 6197751"/>
                <a:gd name="connsiteX53" fmla="*/ 2657764 w 4634134"/>
                <a:gd name="connsiteY53" fmla="*/ 3928133 h 6197751"/>
                <a:gd name="connsiteX54" fmla="*/ 2663818 w 4634134"/>
                <a:gd name="connsiteY54" fmla="*/ 3864343 h 6197751"/>
                <a:gd name="connsiteX55" fmla="*/ 2818199 w 4634134"/>
                <a:gd name="connsiteY55" fmla="*/ 3733727 h 6197751"/>
                <a:gd name="connsiteX56" fmla="*/ 2957444 w 4634134"/>
                <a:gd name="connsiteY56" fmla="*/ 3278088 h 6197751"/>
                <a:gd name="connsiteX57" fmla="*/ 2365917 w 4634134"/>
                <a:gd name="connsiteY57" fmla="*/ 2669970 h 6197751"/>
                <a:gd name="connsiteX58" fmla="*/ 2302839 w 4634134"/>
                <a:gd name="connsiteY58" fmla="*/ 343135 h 6197751"/>
                <a:gd name="connsiteX59" fmla="*/ 1186001 w 4634134"/>
                <a:gd name="connsiteY59" fmla="*/ 476617 h 6197751"/>
                <a:gd name="connsiteX60" fmla="*/ 756215 w 4634134"/>
                <a:gd name="connsiteY60" fmla="*/ 679874 h 6197751"/>
                <a:gd name="connsiteX61" fmla="*/ 747135 w 4634134"/>
                <a:gd name="connsiteY61" fmla="*/ 998410 h 6197751"/>
                <a:gd name="connsiteX62" fmla="*/ 1074014 w 4634134"/>
                <a:gd name="connsiteY62" fmla="*/ 1174364 h 6197751"/>
                <a:gd name="connsiteX63" fmla="*/ 2139400 w 4634134"/>
                <a:gd name="connsiteY63" fmla="*/ 1344250 h 6197751"/>
                <a:gd name="connsiteX64" fmla="*/ 3334931 w 4634134"/>
                <a:gd name="connsiteY64" fmla="*/ 1238071 h 6197751"/>
                <a:gd name="connsiteX65" fmla="*/ 3828277 w 4634134"/>
                <a:gd name="connsiteY65" fmla="*/ 1040882 h 6197751"/>
                <a:gd name="connsiteX66" fmla="*/ 3819197 w 4634134"/>
                <a:gd name="connsiteY66" fmla="*/ 640436 h 6197751"/>
                <a:gd name="connsiteX67" fmla="*/ 3443891 w 4634134"/>
                <a:gd name="connsiteY67" fmla="*/ 476617 h 6197751"/>
                <a:gd name="connsiteX68" fmla="*/ 2302839 w 4634134"/>
                <a:gd name="connsiteY68" fmla="*/ 343135 h 6197751"/>
                <a:gd name="connsiteX69" fmla="*/ 2420226 w 4634134"/>
                <a:gd name="connsiteY69" fmla="*/ 921 h 6197751"/>
                <a:gd name="connsiteX70" fmla="*/ 3595862 w 4634134"/>
                <a:gd name="connsiteY70" fmla="*/ 169562 h 6197751"/>
                <a:gd name="connsiteX71" fmla="*/ 4400996 w 4634134"/>
                <a:gd name="connsiteY71" fmla="*/ 549064 h 6197751"/>
                <a:gd name="connsiteX72" fmla="*/ 4552337 w 4634134"/>
                <a:gd name="connsiteY72" fmla="*/ 709973 h 6197751"/>
                <a:gd name="connsiteX73" fmla="*/ 4631034 w 4634134"/>
                <a:gd name="connsiteY73" fmla="*/ 955890 h 6197751"/>
                <a:gd name="connsiteX74" fmla="*/ 4631034 w 4634134"/>
                <a:gd name="connsiteY74" fmla="*/ 3117534 h 6197751"/>
                <a:gd name="connsiteX75" fmla="*/ 4634061 w 4634134"/>
                <a:gd name="connsiteY75" fmla="*/ 5197206 h 6197751"/>
                <a:gd name="connsiteX76" fmla="*/ 4388889 w 4634134"/>
                <a:gd name="connsiteY76" fmla="*/ 5682968 h 6197751"/>
                <a:gd name="connsiteX77" fmla="*/ 3744176 w 4634134"/>
                <a:gd name="connsiteY77" fmla="*/ 5995678 h 6197751"/>
                <a:gd name="connsiteX78" fmla="*/ 2657548 w 4634134"/>
                <a:gd name="connsiteY78" fmla="*/ 6186947 h 6197751"/>
                <a:gd name="connsiteX79" fmla="*/ 1056360 w 4634134"/>
                <a:gd name="connsiteY79" fmla="*/ 6038182 h 6197751"/>
                <a:gd name="connsiteX80" fmla="*/ 308736 w 4634134"/>
                <a:gd name="connsiteY80" fmla="*/ 5716365 h 6197751"/>
                <a:gd name="connsiteX81" fmla="*/ 93831 w 4634134"/>
                <a:gd name="connsiteY81" fmla="*/ 5515987 h 6197751"/>
                <a:gd name="connsiteX82" fmla="*/ 0 w 4634134"/>
                <a:gd name="connsiteY82" fmla="*/ 5251854 h 6197751"/>
                <a:gd name="connsiteX83" fmla="*/ 0 w 4634134"/>
                <a:gd name="connsiteY83" fmla="*/ 934638 h 6197751"/>
                <a:gd name="connsiteX84" fmla="*/ 181609 w 4634134"/>
                <a:gd name="connsiteY84" fmla="*/ 573352 h 6197751"/>
                <a:gd name="connsiteX85" fmla="*/ 953448 w 4634134"/>
                <a:gd name="connsiteY85" fmla="*/ 184742 h 6197751"/>
                <a:gd name="connsiteX86" fmla="*/ 2021916 w 4634134"/>
                <a:gd name="connsiteY86" fmla="*/ 8653 h 6197751"/>
                <a:gd name="connsiteX87" fmla="*/ 2420226 w 4634134"/>
                <a:gd name="connsiteY87" fmla="*/ 921 h 619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634134" h="6197751">
                  <a:moveTo>
                    <a:pt x="2357708" y="2986464"/>
                  </a:moveTo>
                  <a:cubicBezTo>
                    <a:pt x="2448465" y="2989498"/>
                    <a:pt x="2499894" y="3041077"/>
                    <a:pt x="2533172" y="3119963"/>
                  </a:cubicBezTo>
                  <a:cubicBezTo>
                    <a:pt x="2581576" y="3241325"/>
                    <a:pt x="2587626" y="3362687"/>
                    <a:pt x="2539222" y="3487083"/>
                  </a:cubicBezTo>
                  <a:cubicBezTo>
                    <a:pt x="2499894" y="3584173"/>
                    <a:pt x="2430314" y="3632718"/>
                    <a:pt x="2336531" y="3632718"/>
                  </a:cubicBezTo>
                  <a:cubicBezTo>
                    <a:pt x="2242749" y="3632718"/>
                    <a:pt x="2176194" y="3584173"/>
                    <a:pt x="2136865" y="3484049"/>
                  </a:cubicBezTo>
                  <a:cubicBezTo>
                    <a:pt x="2115689" y="3426402"/>
                    <a:pt x="2106613" y="3368755"/>
                    <a:pt x="2109638" y="3305040"/>
                  </a:cubicBezTo>
                  <a:cubicBezTo>
                    <a:pt x="2109638" y="3238291"/>
                    <a:pt x="2118714" y="3168508"/>
                    <a:pt x="2151992" y="3107826"/>
                  </a:cubicBezTo>
                  <a:cubicBezTo>
                    <a:pt x="2194345" y="3022873"/>
                    <a:pt x="2260900" y="2983430"/>
                    <a:pt x="2357708" y="2986464"/>
                  </a:cubicBezTo>
                  <a:close/>
                  <a:moveTo>
                    <a:pt x="3208068" y="2686428"/>
                  </a:moveTo>
                  <a:cubicBezTo>
                    <a:pt x="3153614" y="2683392"/>
                    <a:pt x="3138488" y="2704646"/>
                    <a:pt x="3138488" y="2756263"/>
                  </a:cubicBezTo>
                  <a:cubicBezTo>
                    <a:pt x="3141513" y="2941476"/>
                    <a:pt x="3141513" y="3123654"/>
                    <a:pt x="3141513" y="3308867"/>
                  </a:cubicBezTo>
                  <a:cubicBezTo>
                    <a:pt x="3141513" y="3497117"/>
                    <a:pt x="3141513" y="3685367"/>
                    <a:pt x="3138488" y="3873616"/>
                  </a:cubicBezTo>
                  <a:cubicBezTo>
                    <a:pt x="3138488" y="3916124"/>
                    <a:pt x="3153614" y="3934342"/>
                    <a:pt x="3198993" y="3934342"/>
                  </a:cubicBezTo>
                  <a:cubicBezTo>
                    <a:pt x="3425886" y="3931306"/>
                    <a:pt x="3652778" y="3934342"/>
                    <a:pt x="3879671" y="3934342"/>
                  </a:cubicBezTo>
                  <a:cubicBezTo>
                    <a:pt x="3922025" y="3934342"/>
                    <a:pt x="3937151" y="3916124"/>
                    <a:pt x="3937151" y="3876653"/>
                  </a:cubicBezTo>
                  <a:cubicBezTo>
                    <a:pt x="3934126" y="3822000"/>
                    <a:pt x="3934126" y="3770383"/>
                    <a:pt x="3937151" y="3718766"/>
                  </a:cubicBezTo>
                  <a:cubicBezTo>
                    <a:pt x="3940176" y="3664113"/>
                    <a:pt x="3922025" y="3639822"/>
                    <a:pt x="3864545" y="3642859"/>
                  </a:cubicBezTo>
                  <a:cubicBezTo>
                    <a:pt x="3773788" y="3645895"/>
                    <a:pt x="3683031" y="3645895"/>
                    <a:pt x="3592274" y="3642859"/>
                  </a:cubicBezTo>
                  <a:cubicBezTo>
                    <a:pt x="3513617" y="3642859"/>
                    <a:pt x="3510592" y="3642859"/>
                    <a:pt x="3510592" y="3560879"/>
                  </a:cubicBezTo>
                  <a:cubicBezTo>
                    <a:pt x="3510592" y="3293686"/>
                    <a:pt x="3510592" y="3023456"/>
                    <a:pt x="3513617" y="2756263"/>
                  </a:cubicBezTo>
                  <a:cubicBezTo>
                    <a:pt x="3513617" y="2704646"/>
                    <a:pt x="3495466" y="2683392"/>
                    <a:pt x="3444037" y="2686428"/>
                  </a:cubicBezTo>
                  <a:cubicBezTo>
                    <a:pt x="3365381" y="2689465"/>
                    <a:pt x="3286725" y="2689465"/>
                    <a:pt x="3208068" y="2686428"/>
                  </a:cubicBezTo>
                  <a:close/>
                  <a:moveTo>
                    <a:pt x="1262101" y="2670553"/>
                  </a:moveTo>
                  <a:cubicBezTo>
                    <a:pt x="1074278" y="2670553"/>
                    <a:pt x="971278" y="2697874"/>
                    <a:pt x="871308" y="2764659"/>
                  </a:cubicBezTo>
                  <a:cubicBezTo>
                    <a:pt x="677426" y="2895193"/>
                    <a:pt x="668338" y="3186619"/>
                    <a:pt x="847073" y="3335367"/>
                  </a:cubicBezTo>
                  <a:cubicBezTo>
                    <a:pt x="928867" y="3402152"/>
                    <a:pt x="1025807" y="3432509"/>
                    <a:pt x="1119719" y="3475008"/>
                  </a:cubicBezTo>
                  <a:cubicBezTo>
                    <a:pt x="1192425" y="3511437"/>
                    <a:pt x="1225748" y="3563043"/>
                    <a:pt x="1210601" y="3608578"/>
                  </a:cubicBezTo>
                  <a:cubicBezTo>
                    <a:pt x="1192425" y="3654114"/>
                    <a:pt x="1131837" y="3681435"/>
                    <a:pt x="1059131" y="3675363"/>
                  </a:cubicBezTo>
                  <a:cubicBezTo>
                    <a:pt x="1056102" y="3675363"/>
                    <a:pt x="1053072" y="3672328"/>
                    <a:pt x="1047013" y="3672328"/>
                  </a:cubicBezTo>
                  <a:cubicBezTo>
                    <a:pt x="953102" y="3663221"/>
                    <a:pt x="868279" y="3629828"/>
                    <a:pt x="786485" y="3581257"/>
                  </a:cubicBezTo>
                  <a:cubicBezTo>
                    <a:pt x="759220" y="3566079"/>
                    <a:pt x="741044" y="3566079"/>
                    <a:pt x="741044" y="3605543"/>
                  </a:cubicBezTo>
                  <a:cubicBezTo>
                    <a:pt x="741044" y="3687506"/>
                    <a:pt x="741044" y="3766434"/>
                    <a:pt x="741044" y="3848397"/>
                  </a:cubicBezTo>
                  <a:cubicBezTo>
                    <a:pt x="741044" y="3875718"/>
                    <a:pt x="756191" y="3893932"/>
                    <a:pt x="783455" y="3900004"/>
                  </a:cubicBezTo>
                  <a:cubicBezTo>
                    <a:pt x="1004602" y="3963753"/>
                    <a:pt x="1225748" y="3981967"/>
                    <a:pt x="1437806" y="3875718"/>
                  </a:cubicBezTo>
                  <a:cubicBezTo>
                    <a:pt x="1668041" y="3760362"/>
                    <a:pt x="1692276" y="3441616"/>
                    <a:pt x="1492335" y="3283760"/>
                  </a:cubicBezTo>
                  <a:cubicBezTo>
                    <a:pt x="1398424" y="3207868"/>
                    <a:pt x="1286336" y="3177512"/>
                    <a:pt x="1186366" y="3122869"/>
                  </a:cubicBezTo>
                  <a:cubicBezTo>
                    <a:pt x="1146984" y="3098584"/>
                    <a:pt x="1107601" y="3071263"/>
                    <a:pt x="1119719" y="3019656"/>
                  </a:cubicBezTo>
                  <a:cubicBezTo>
                    <a:pt x="1128807" y="2971085"/>
                    <a:pt x="1171219" y="2955907"/>
                    <a:pt x="1213630" y="2949836"/>
                  </a:cubicBezTo>
                  <a:cubicBezTo>
                    <a:pt x="1319660" y="2928586"/>
                    <a:pt x="1416600" y="2961978"/>
                    <a:pt x="1513541" y="3004478"/>
                  </a:cubicBezTo>
                  <a:cubicBezTo>
                    <a:pt x="1549894" y="3019656"/>
                    <a:pt x="1565041" y="3010549"/>
                    <a:pt x="1562012" y="2971085"/>
                  </a:cubicBezTo>
                  <a:cubicBezTo>
                    <a:pt x="1562012" y="2904300"/>
                    <a:pt x="1562012" y="2837516"/>
                    <a:pt x="1562012" y="2770731"/>
                  </a:cubicBezTo>
                  <a:cubicBezTo>
                    <a:pt x="1565041" y="2728231"/>
                    <a:pt x="1543835" y="2710017"/>
                    <a:pt x="1504453" y="2700910"/>
                  </a:cubicBezTo>
                  <a:cubicBezTo>
                    <a:pt x="1419630" y="2679660"/>
                    <a:pt x="1334806" y="2667517"/>
                    <a:pt x="1262101" y="2670553"/>
                  </a:cubicBezTo>
                  <a:close/>
                  <a:moveTo>
                    <a:pt x="2365917" y="2669970"/>
                  </a:moveTo>
                  <a:cubicBezTo>
                    <a:pt x="2313718" y="2669668"/>
                    <a:pt x="2258569" y="2674746"/>
                    <a:pt x="2200676" y="2685757"/>
                  </a:cubicBezTo>
                  <a:cubicBezTo>
                    <a:pt x="1913104" y="2740434"/>
                    <a:pt x="1749642" y="2953066"/>
                    <a:pt x="1719371" y="3268975"/>
                  </a:cubicBezTo>
                  <a:cubicBezTo>
                    <a:pt x="1689100" y="3627411"/>
                    <a:pt x="1907049" y="3897757"/>
                    <a:pt x="2243055" y="3943321"/>
                  </a:cubicBezTo>
                  <a:cubicBezTo>
                    <a:pt x="2279380" y="3949396"/>
                    <a:pt x="2306623" y="3964584"/>
                    <a:pt x="2330840" y="3991922"/>
                  </a:cubicBezTo>
                  <a:cubicBezTo>
                    <a:pt x="2394408" y="4064825"/>
                    <a:pt x="2464031" y="4137727"/>
                    <a:pt x="2530627" y="4210629"/>
                  </a:cubicBezTo>
                  <a:cubicBezTo>
                    <a:pt x="2545762" y="4228855"/>
                    <a:pt x="2557870" y="4247080"/>
                    <a:pt x="2582087" y="4247080"/>
                  </a:cubicBezTo>
                  <a:cubicBezTo>
                    <a:pt x="2724360" y="4247080"/>
                    <a:pt x="2866632" y="4247080"/>
                    <a:pt x="3011932" y="4247080"/>
                  </a:cubicBezTo>
                  <a:cubicBezTo>
                    <a:pt x="3014959" y="4241005"/>
                    <a:pt x="3017986" y="4234930"/>
                    <a:pt x="3021013" y="4228855"/>
                  </a:cubicBezTo>
                  <a:cubicBezTo>
                    <a:pt x="3011932" y="4222779"/>
                    <a:pt x="3002850" y="4219742"/>
                    <a:pt x="2993769" y="4213667"/>
                  </a:cubicBezTo>
                  <a:cubicBezTo>
                    <a:pt x="2881768" y="4119501"/>
                    <a:pt x="2769766" y="4022298"/>
                    <a:pt x="2657764" y="3928133"/>
                  </a:cubicBezTo>
                  <a:cubicBezTo>
                    <a:pt x="2624466" y="3900795"/>
                    <a:pt x="2621439" y="3885607"/>
                    <a:pt x="2663818" y="3864343"/>
                  </a:cubicBezTo>
                  <a:cubicBezTo>
                    <a:pt x="2724360" y="3830930"/>
                    <a:pt x="2775820" y="3788404"/>
                    <a:pt x="2818199" y="3733727"/>
                  </a:cubicBezTo>
                  <a:cubicBezTo>
                    <a:pt x="2924147" y="3597035"/>
                    <a:pt x="2960472" y="3445156"/>
                    <a:pt x="2957444" y="3278088"/>
                  </a:cubicBezTo>
                  <a:cubicBezTo>
                    <a:pt x="2952147" y="2937878"/>
                    <a:pt x="2731312" y="2672088"/>
                    <a:pt x="2365917" y="2669970"/>
                  </a:cubicBezTo>
                  <a:close/>
                  <a:moveTo>
                    <a:pt x="2302839" y="343135"/>
                  </a:moveTo>
                  <a:cubicBezTo>
                    <a:pt x="1933586" y="337068"/>
                    <a:pt x="1555254" y="373472"/>
                    <a:pt x="1186001" y="476617"/>
                  </a:cubicBezTo>
                  <a:cubicBezTo>
                    <a:pt x="1031641" y="519089"/>
                    <a:pt x="880308" y="573695"/>
                    <a:pt x="756215" y="679874"/>
                  </a:cubicBezTo>
                  <a:cubicBezTo>
                    <a:pt x="644228" y="776952"/>
                    <a:pt x="638175" y="892232"/>
                    <a:pt x="747135" y="998410"/>
                  </a:cubicBezTo>
                  <a:cubicBezTo>
                    <a:pt x="840961" y="1086387"/>
                    <a:pt x="955975" y="1134926"/>
                    <a:pt x="1074014" y="1174364"/>
                  </a:cubicBezTo>
                  <a:cubicBezTo>
                    <a:pt x="1419054" y="1292677"/>
                    <a:pt x="1779227" y="1332115"/>
                    <a:pt x="2139400" y="1344250"/>
                  </a:cubicBezTo>
                  <a:cubicBezTo>
                    <a:pt x="2541946" y="1359418"/>
                    <a:pt x="2941465" y="1332115"/>
                    <a:pt x="3334931" y="1238071"/>
                  </a:cubicBezTo>
                  <a:cubicBezTo>
                    <a:pt x="3507451" y="1195599"/>
                    <a:pt x="3679970" y="1147061"/>
                    <a:pt x="3828277" y="1040882"/>
                  </a:cubicBezTo>
                  <a:cubicBezTo>
                    <a:pt x="4006850" y="910434"/>
                    <a:pt x="4003823" y="764817"/>
                    <a:pt x="3819197" y="640436"/>
                  </a:cubicBezTo>
                  <a:cubicBezTo>
                    <a:pt x="3704184" y="561560"/>
                    <a:pt x="3574037" y="513022"/>
                    <a:pt x="3443891" y="476617"/>
                  </a:cubicBezTo>
                  <a:cubicBezTo>
                    <a:pt x="3074638" y="376506"/>
                    <a:pt x="2699332" y="340102"/>
                    <a:pt x="2302839" y="343135"/>
                  </a:cubicBezTo>
                  <a:close/>
                  <a:moveTo>
                    <a:pt x="2420226" y="921"/>
                  </a:moveTo>
                  <a:cubicBezTo>
                    <a:pt x="2817212" y="8464"/>
                    <a:pt x="3209942" y="62543"/>
                    <a:pt x="3595862" y="169562"/>
                  </a:cubicBezTo>
                  <a:cubicBezTo>
                    <a:pt x="3886437" y="248499"/>
                    <a:pt x="4161877" y="357795"/>
                    <a:pt x="4400996" y="549064"/>
                  </a:cubicBezTo>
                  <a:cubicBezTo>
                    <a:pt x="4458506" y="594604"/>
                    <a:pt x="4509962" y="649253"/>
                    <a:pt x="4552337" y="709973"/>
                  </a:cubicBezTo>
                  <a:cubicBezTo>
                    <a:pt x="4603793" y="782838"/>
                    <a:pt x="4631034" y="864810"/>
                    <a:pt x="4631034" y="955890"/>
                  </a:cubicBezTo>
                  <a:cubicBezTo>
                    <a:pt x="4631034" y="1675426"/>
                    <a:pt x="4631034" y="2394963"/>
                    <a:pt x="4631034" y="3117534"/>
                  </a:cubicBezTo>
                  <a:cubicBezTo>
                    <a:pt x="4631034" y="3809746"/>
                    <a:pt x="4624980" y="4504994"/>
                    <a:pt x="4634061" y="5197206"/>
                  </a:cubicBezTo>
                  <a:cubicBezTo>
                    <a:pt x="4637088" y="5412763"/>
                    <a:pt x="4546284" y="5561528"/>
                    <a:pt x="4388889" y="5682968"/>
                  </a:cubicBezTo>
                  <a:cubicBezTo>
                    <a:pt x="4195172" y="5831733"/>
                    <a:pt x="3974214" y="5925850"/>
                    <a:pt x="3744176" y="5995678"/>
                  </a:cubicBezTo>
                  <a:cubicBezTo>
                    <a:pt x="3390038" y="6108011"/>
                    <a:pt x="3026820" y="6162659"/>
                    <a:pt x="2657548" y="6186947"/>
                  </a:cubicBezTo>
                  <a:cubicBezTo>
                    <a:pt x="2115747" y="6220343"/>
                    <a:pt x="1580000" y="6177839"/>
                    <a:pt x="1056360" y="6038182"/>
                  </a:cubicBezTo>
                  <a:cubicBezTo>
                    <a:pt x="790000" y="5968354"/>
                    <a:pt x="538774" y="5871201"/>
                    <a:pt x="308736" y="5716365"/>
                  </a:cubicBezTo>
                  <a:cubicBezTo>
                    <a:pt x="227011" y="5658680"/>
                    <a:pt x="154368" y="5594924"/>
                    <a:pt x="93831" y="5515987"/>
                  </a:cubicBezTo>
                  <a:cubicBezTo>
                    <a:pt x="33295" y="5437051"/>
                    <a:pt x="0" y="5352043"/>
                    <a:pt x="0" y="5251854"/>
                  </a:cubicBezTo>
                  <a:cubicBezTo>
                    <a:pt x="0" y="3812782"/>
                    <a:pt x="0" y="2373710"/>
                    <a:pt x="0" y="934638"/>
                  </a:cubicBezTo>
                  <a:cubicBezTo>
                    <a:pt x="0" y="782838"/>
                    <a:pt x="75670" y="670505"/>
                    <a:pt x="181609" y="573352"/>
                  </a:cubicBezTo>
                  <a:cubicBezTo>
                    <a:pt x="405594" y="372975"/>
                    <a:pt x="674981" y="269751"/>
                    <a:pt x="953448" y="184742"/>
                  </a:cubicBezTo>
                  <a:cubicBezTo>
                    <a:pt x="1301532" y="81518"/>
                    <a:pt x="1658697" y="29905"/>
                    <a:pt x="2021916" y="8653"/>
                  </a:cubicBezTo>
                  <a:cubicBezTo>
                    <a:pt x="2155096" y="1063"/>
                    <a:pt x="2287898" y="-1593"/>
                    <a:pt x="2420226" y="921"/>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grpSp>
      <p:sp>
        <p:nvSpPr>
          <p:cNvPr id="190" name="Rectangle 189">
            <a:extLst>
              <a:ext uri="{FF2B5EF4-FFF2-40B4-BE49-F238E27FC236}">
                <a16:creationId xmlns:a16="http://schemas.microsoft.com/office/drawing/2014/main" id="{0A4A0DA3-8BD4-426C-9D7D-3E530C09AB59}"/>
              </a:ext>
            </a:extLst>
          </p:cNvPr>
          <p:cNvSpPr/>
          <p:nvPr/>
        </p:nvSpPr>
        <p:spPr bwMode="auto">
          <a:xfrm>
            <a:off x="7918552" y="2608211"/>
            <a:ext cx="3545268" cy="2873208"/>
          </a:xfrm>
          <a:prstGeom prst="rect">
            <a:avLst/>
          </a:prstGeom>
          <a:solidFill>
            <a:schemeClr val="bg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400" dirty="0">
              <a:solidFill>
                <a:srgbClr val="505050"/>
              </a:solidFill>
              <a:latin typeface="Segoe Pro Semibold" panose="020B0702040504020203" pitchFamily="34" charset="0"/>
              <a:cs typeface="Segoe UI Light"/>
            </a:endParaRPr>
          </a:p>
        </p:txBody>
      </p:sp>
      <p:sp>
        <p:nvSpPr>
          <p:cNvPr id="194" name="Rectangle 193">
            <a:extLst>
              <a:ext uri="{FF2B5EF4-FFF2-40B4-BE49-F238E27FC236}">
                <a16:creationId xmlns:a16="http://schemas.microsoft.com/office/drawing/2014/main" id="{D7F858CE-2E7D-45DA-B93A-83B80126C95F}"/>
              </a:ext>
            </a:extLst>
          </p:cNvPr>
          <p:cNvSpPr/>
          <p:nvPr/>
        </p:nvSpPr>
        <p:spPr bwMode="auto">
          <a:xfrm>
            <a:off x="9742499"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bg1"/>
                </a:solidFill>
                <a:latin typeface="Segoe UI Semibold"/>
              </a:rPr>
              <a:t>Apps</a:t>
            </a:r>
          </a:p>
        </p:txBody>
      </p:sp>
      <p:sp>
        <p:nvSpPr>
          <p:cNvPr id="195" name="Rectangle 194">
            <a:extLst>
              <a:ext uri="{FF2B5EF4-FFF2-40B4-BE49-F238E27FC236}">
                <a16:creationId xmlns:a16="http://schemas.microsoft.com/office/drawing/2014/main" id="{3AFA288A-C464-4DAE-8634-893FF89B62CE}"/>
              </a:ext>
            </a:extLst>
          </p:cNvPr>
          <p:cNvSpPr/>
          <p:nvPr/>
        </p:nvSpPr>
        <p:spPr bwMode="auto">
          <a:xfrm>
            <a:off x="8039673" y="4622029"/>
            <a:ext cx="3303026"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bg1"/>
                </a:solidFill>
                <a:latin typeface="Segoe UI Semibold"/>
              </a:rPr>
              <a:t>FSLogix User Profile File Server</a:t>
            </a:r>
          </a:p>
        </p:txBody>
      </p:sp>
      <p:sp>
        <p:nvSpPr>
          <p:cNvPr id="196" name="Rectangle 195">
            <a:extLst>
              <a:ext uri="{FF2B5EF4-FFF2-40B4-BE49-F238E27FC236}">
                <a16:creationId xmlns:a16="http://schemas.microsoft.com/office/drawing/2014/main" id="{1DF16EB5-A56D-4826-91D0-4D9FA71C9236}"/>
              </a:ext>
            </a:extLst>
          </p:cNvPr>
          <p:cNvSpPr/>
          <p:nvPr/>
        </p:nvSpPr>
        <p:spPr bwMode="auto">
          <a:xfrm>
            <a:off x="8039673" y="3867553"/>
            <a:ext cx="3277518"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bg1"/>
                </a:solidFill>
                <a:latin typeface="Segoe UI Semibold"/>
              </a:rPr>
              <a:t>Active Directory</a:t>
            </a:r>
          </a:p>
        </p:txBody>
      </p:sp>
      <p:sp>
        <p:nvSpPr>
          <p:cNvPr id="197" name="Rectangle 196">
            <a:extLst>
              <a:ext uri="{FF2B5EF4-FFF2-40B4-BE49-F238E27FC236}">
                <a16:creationId xmlns:a16="http://schemas.microsoft.com/office/drawing/2014/main" id="{D91B58A7-6913-4E91-83B4-588E7A12ED72}"/>
              </a:ext>
            </a:extLst>
          </p:cNvPr>
          <p:cNvSpPr/>
          <p:nvPr/>
        </p:nvSpPr>
        <p:spPr bwMode="auto">
          <a:xfrm>
            <a:off x="8039673"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bg1"/>
                </a:solidFill>
                <a:latin typeface="Segoe UI Semibold"/>
              </a:rPr>
              <a:t>Desktops</a:t>
            </a:r>
          </a:p>
        </p:txBody>
      </p:sp>
      <p:sp>
        <p:nvSpPr>
          <p:cNvPr id="216" name="GenericApp_EB3B" title="Icon of an app window">
            <a:extLst>
              <a:ext uri="{FF2B5EF4-FFF2-40B4-BE49-F238E27FC236}">
                <a16:creationId xmlns:a16="http://schemas.microsoft.com/office/drawing/2014/main" id="{AAB46816-79A3-4DE2-9494-D42A6DCC8724}"/>
              </a:ext>
            </a:extLst>
          </p:cNvPr>
          <p:cNvSpPr>
            <a:spLocks noChangeAspect="1" noEditPoints="1"/>
          </p:cNvSpPr>
          <p:nvPr/>
        </p:nvSpPr>
        <p:spPr bwMode="auto">
          <a:xfrm>
            <a:off x="10900619" y="3164691"/>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endParaRPr lang="en-US" sz="1050" dirty="0">
              <a:solidFill>
                <a:srgbClr val="FFFFFF"/>
              </a:solidFill>
            </a:endParaRPr>
          </a:p>
        </p:txBody>
      </p:sp>
      <p:sp>
        <p:nvSpPr>
          <p:cNvPr id="217" name="Rectangle 216">
            <a:extLst>
              <a:ext uri="{FF2B5EF4-FFF2-40B4-BE49-F238E27FC236}">
                <a16:creationId xmlns:a16="http://schemas.microsoft.com/office/drawing/2014/main" id="{F5801432-0C21-4DE1-8DF0-6DC87201144E}"/>
              </a:ext>
            </a:extLst>
          </p:cNvPr>
          <p:cNvSpPr/>
          <p:nvPr/>
        </p:nvSpPr>
        <p:spPr>
          <a:xfrm>
            <a:off x="10910028" y="2698464"/>
            <a:ext cx="407163" cy="215444"/>
          </a:xfrm>
          <a:prstGeom prst="rect">
            <a:avLst/>
          </a:prstGeom>
        </p:spPr>
        <p:txBody>
          <a:bodyPr wrap="none" lIns="0" tIns="0" rIns="0" bIns="0" anchor="ctr">
            <a:spAutoFit/>
          </a:bodyPr>
          <a:lstStyle/>
          <a:p>
            <a:pPr algn="r" defTabSz="860922">
              <a:defRPr/>
            </a:pPr>
            <a:r>
              <a:rPr lang="en-US" sz="1400" cap="all" dirty="0">
                <a:latin typeface="Segoe Pro Semibold" panose="020B0702040504020203" pitchFamily="34" charset="0"/>
                <a:cs typeface="Segoe UI Light"/>
              </a:rPr>
              <a:t> </a:t>
            </a:r>
            <a:r>
              <a:rPr lang="en-US" sz="1400" dirty="0">
                <a:latin typeface="Segoe Pro Semibold" panose="020B0702040504020203" pitchFamily="34" charset="0"/>
                <a:cs typeface="Segoe UI Light"/>
              </a:rPr>
              <a:t>VMs</a:t>
            </a:r>
          </a:p>
        </p:txBody>
      </p:sp>
      <p:sp>
        <p:nvSpPr>
          <p:cNvPr id="246" name="desktop" title="a desktop PC">
            <a:extLst>
              <a:ext uri="{FF2B5EF4-FFF2-40B4-BE49-F238E27FC236}">
                <a16:creationId xmlns:a16="http://schemas.microsoft.com/office/drawing/2014/main" id="{C42F8AAD-E894-47EF-8F56-5DCFF725878B}"/>
              </a:ext>
            </a:extLst>
          </p:cNvPr>
          <p:cNvSpPr>
            <a:spLocks noChangeAspect="1" noEditPoints="1"/>
          </p:cNvSpPr>
          <p:nvPr/>
        </p:nvSpPr>
        <p:spPr bwMode="auto">
          <a:xfrm>
            <a:off x="9249231" y="3161294"/>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endParaRPr lang="en-US" sz="1050" dirty="0">
              <a:solidFill>
                <a:srgbClr val="FFFFFF"/>
              </a:solidFill>
            </a:endParaRPr>
          </a:p>
        </p:txBody>
      </p:sp>
      <p:grpSp>
        <p:nvGrpSpPr>
          <p:cNvPr id="247" name="Group 246">
            <a:extLst>
              <a:ext uri="{FF2B5EF4-FFF2-40B4-BE49-F238E27FC236}">
                <a16:creationId xmlns:a16="http://schemas.microsoft.com/office/drawing/2014/main" id="{AAFEFEB4-B664-4DF5-B313-DD605EBA1F54}"/>
              </a:ext>
            </a:extLst>
          </p:cNvPr>
          <p:cNvGrpSpPr/>
          <p:nvPr/>
        </p:nvGrpSpPr>
        <p:grpSpPr>
          <a:xfrm>
            <a:off x="10886059" y="3932314"/>
            <a:ext cx="364900" cy="369176"/>
            <a:chOff x="2948413" y="2499265"/>
            <a:chExt cx="752884" cy="761707"/>
          </a:xfrm>
          <a:solidFill>
            <a:schemeClr val="bg1"/>
          </a:solidFill>
        </p:grpSpPr>
        <p:sp>
          <p:nvSpPr>
            <p:cNvPr id="248" name="Freeform 5">
              <a:extLst>
                <a:ext uri="{FF2B5EF4-FFF2-40B4-BE49-F238E27FC236}">
                  <a16:creationId xmlns:a16="http://schemas.microsoft.com/office/drawing/2014/main" id="{BE6C7AB3-D322-4FF5-B924-62D77210E55F}"/>
                </a:ext>
              </a:extLst>
            </p:cNvPr>
            <p:cNvSpPr>
              <a:spLocks noEditPoints="1"/>
            </p:cNvSpPr>
            <p:nvPr/>
          </p:nvSpPr>
          <p:spPr bwMode="auto">
            <a:xfrm>
              <a:off x="2948413" y="2499265"/>
              <a:ext cx="752884" cy="761707"/>
            </a:xfrm>
            <a:custGeom>
              <a:avLst/>
              <a:gdLst>
                <a:gd name="T0" fmla="*/ 2004 w 2014"/>
                <a:gd name="T1" fmla="*/ 1195 h 2032"/>
                <a:gd name="T2" fmla="*/ 1348 w 2014"/>
                <a:gd name="T3" fmla="*/ 412 h 2032"/>
                <a:gd name="T4" fmla="*/ 1025 w 2014"/>
                <a:gd name="T5" fmla="*/ 26 h 2032"/>
                <a:gd name="T6" fmla="*/ 998 w 2014"/>
                <a:gd name="T7" fmla="*/ 0 h 2032"/>
                <a:gd name="T8" fmla="*/ 986 w 2014"/>
                <a:gd name="T9" fmla="*/ 34 h 2032"/>
                <a:gd name="T10" fmla="*/ 839 w 2014"/>
                <a:gd name="T11" fmla="*/ 208 h 2032"/>
                <a:gd name="T12" fmla="*/ 11 w 2014"/>
                <a:gd name="T13" fmla="*/ 1191 h 2032"/>
                <a:gd name="T14" fmla="*/ 12 w 2014"/>
                <a:gd name="T15" fmla="*/ 1217 h 2032"/>
                <a:gd name="T16" fmla="*/ 473 w 2014"/>
                <a:gd name="T17" fmla="*/ 1592 h 2032"/>
                <a:gd name="T18" fmla="*/ 992 w 2014"/>
                <a:gd name="T19" fmla="*/ 2017 h 2032"/>
                <a:gd name="T20" fmla="*/ 1028 w 2014"/>
                <a:gd name="T21" fmla="*/ 2015 h 2032"/>
                <a:gd name="T22" fmla="*/ 1407 w 2014"/>
                <a:gd name="T23" fmla="*/ 1705 h 2032"/>
                <a:gd name="T24" fmla="*/ 2001 w 2014"/>
                <a:gd name="T25" fmla="*/ 1222 h 2032"/>
                <a:gd name="T26" fmla="*/ 2004 w 2014"/>
                <a:gd name="T27" fmla="*/ 1195 h 2032"/>
                <a:gd name="T28" fmla="*/ 1694 w 2014"/>
                <a:gd name="T29" fmla="*/ 1217 h 2032"/>
                <a:gd name="T30" fmla="*/ 1542 w 2014"/>
                <a:gd name="T31" fmla="*/ 1326 h 2032"/>
                <a:gd name="T32" fmla="*/ 1435 w 2014"/>
                <a:gd name="T33" fmla="*/ 1286 h 2032"/>
                <a:gd name="T34" fmla="*/ 1413 w 2014"/>
                <a:gd name="T35" fmla="*/ 1285 h 2032"/>
                <a:gd name="T36" fmla="*/ 1157 w 2014"/>
                <a:gd name="T37" fmla="*/ 1467 h 2032"/>
                <a:gd name="T38" fmla="*/ 1153 w 2014"/>
                <a:gd name="T39" fmla="*/ 1486 h 2032"/>
                <a:gd name="T40" fmla="*/ 1107 w 2014"/>
                <a:gd name="T41" fmla="*/ 1692 h 2032"/>
                <a:gd name="T42" fmla="*/ 899 w 2014"/>
                <a:gd name="T43" fmla="*/ 1678 h 2032"/>
                <a:gd name="T44" fmla="*/ 878 w 2014"/>
                <a:gd name="T45" fmla="*/ 1474 h 2032"/>
                <a:gd name="T46" fmla="*/ 872 w 2014"/>
                <a:gd name="T47" fmla="*/ 1448 h 2032"/>
                <a:gd name="T48" fmla="*/ 584 w 2014"/>
                <a:gd name="T49" fmla="*/ 1293 h 2032"/>
                <a:gd name="T50" fmla="*/ 557 w 2014"/>
                <a:gd name="T51" fmla="*/ 1295 h 2032"/>
                <a:gd name="T52" fmla="*/ 368 w 2014"/>
                <a:gd name="T53" fmla="*/ 1300 h 2032"/>
                <a:gd name="T54" fmla="*/ 307 w 2014"/>
                <a:gd name="T55" fmla="*/ 1115 h 2032"/>
                <a:gd name="T56" fmla="*/ 470 w 2014"/>
                <a:gd name="T57" fmla="*/ 1006 h 2032"/>
                <a:gd name="T58" fmla="*/ 522 w 2014"/>
                <a:gd name="T59" fmla="*/ 1019 h 2032"/>
                <a:gd name="T60" fmla="*/ 548 w 2014"/>
                <a:gd name="T61" fmla="*/ 1015 h 2032"/>
                <a:gd name="T62" fmla="*/ 857 w 2014"/>
                <a:gd name="T63" fmla="*/ 729 h 2032"/>
                <a:gd name="T64" fmla="*/ 863 w 2014"/>
                <a:gd name="T65" fmla="*/ 701 h 2032"/>
                <a:gd name="T66" fmla="*/ 857 w 2014"/>
                <a:gd name="T67" fmla="*/ 524 h 2032"/>
                <a:gd name="T68" fmla="*/ 1013 w 2014"/>
                <a:gd name="T69" fmla="*/ 433 h 2032"/>
                <a:gd name="T70" fmla="*/ 1169 w 2014"/>
                <a:gd name="T71" fmla="*/ 691 h 2032"/>
                <a:gd name="T72" fmla="*/ 1171 w 2014"/>
                <a:gd name="T73" fmla="*/ 713 h 2032"/>
                <a:gd name="T74" fmla="*/ 1434 w 2014"/>
                <a:gd name="T75" fmla="*/ 1023 h 2032"/>
                <a:gd name="T76" fmla="*/ 1459 w 2014"/>
                <a:gd name="T77" fmla="*/ 1027 h 2032"/>
                <a:gd name="T78" fmla="*/ 1641 w 2014"/>
                <a:gd name="T79" fmla="*/ 1038 h 2032"/>
                <a:gd name="T80" fmla="*/ 1694 w 2014"/>
                <a:gd name="T81" fmla="*/ 1217 h 2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14" h="2032">
                  <a:moveTo>
                    <a:pt x="2004" y="1195"/>
                  </a:moveTo>
                  <a:cubicBezTo>
                    <a:pt x="1785" y="934"/>
                    <a:pt x="1567" y="673"/>
                    <a:pt x="1348" y="412"/>
                  </a:cubicBezTo>
                  <a:cubicBezTo>
                    <a:pt x="1240" y="283"/>
                    <a:pt x="1133" y="154"/>
                    <a:pt x="1025" y="26"/>
                  </a:cubicBezTo>
                  <a:cubicBezTo>
                    <a:pt x="1017" y="17"/>
                    <a:pt x="1017" y="1"/>
                    <a:pt x="998" y="0"/>
                  </a:cubicBezTo>
                  <a:cubicBezTo>
                    <a:pt x="1001" y="14"/>
                    <a:pt x="995" y="24"/>
                    <a:pt x="986" y="34"/>
                  </a:cubicBezTo>
                  <a:cubicBezTo>
                    <a:pt x="937" y="92"/>
                    <a:pt x="888" y="150"/>
                    <a:pt x="839" y="208"/>
                  </a:cubicBezTo>
                  <a:cubicBezTo>
                    <a:pt x="563" y="536"/>
                    <a:pt x="287" y="864"/>
                    <a:pt x="11" y="1191"/>
                  </a:cubicBezTo>
                  <a:cubicBezTo>
                    <a:pt x="1" y="1202"/>
                    <a:pt x="0" y="1207"/>
                    <a:pt x="12" y="1217"/>
                  </a:cubicBezTo>
                  <a:cubicBezTo>
                    <a:pt x="166" y="1341"/>
                    <a:pt x="319" y="1467"/>
                    <a:pt x="473" y="1592"/>
                  </a:cubicBezTo>
                  <a:cubicBezTo>
                    <a:pt x="646" y="1733"/>
                    <a:pt x="820" y="1874"/>
                    <a:pt x="992" y="2017"/>
                  </a:cubicBezTo>
                  <a:cubicBezTo>
                    <a:pt x="1011" y="2032"/>
                    <a:pt x="1017" y="2024"/>
                    <a:pt x="1028" y="2015"/>
                  </a:cubicBezTo>
                  <a:cubicBezTo>
                    <a:pt x="1154" y="1912"/>
                    <a:pt x="1281" y="1808"/>
                    <a:pt x="1407" y="1705"/>
                  </a:cubicBezTo>
                  <a:cubicBezTo>
                    <a:pt x="1605" y="1544"/>
                    <a:pt x="1803" y="1383"/>
                    <a:pt x="2001" y="1222"/>
                  </a:cubicBezTo>
                  <a:cubicBezTo>
                    <a:pt x="2012" y="1213"/>
                    <a:pt x="2014" y="1207"/>
                    <a:pt x="2004" y="1195"/>
                  </a:cubicBezTo>
                  <a:close/>
                  <a:moveTo>
                    <a:pt x="1694" y="1217"/>
                  </a:moveTo>
                  <a:cubicBezTo>
                    <a:pt x="1672" y="1282"/>
                    <a:pt x="1610" y="1325"/>
                    <a:pt x="1542" y="1326"/>
                  </a:cubicBezTo>
                  <a:cubicBezTo>
                    <a:pt x="1501" y="1327"/>
                    <a:pt x="1465" y="1314"/>
                    <a:pt x="1435" y="1286"/>
                  </a:cubicBezTo>
                  <a:cubicBezTo>
                    <a:pt x="1427" y="1279"/>
                    <a:pt x="1421" y="1279"/>
                    <a:pt x="1413" y="1285"/>
                  </a:cubicBezTo>
                  <a:cubicBezTo>
                    <a:pt x="1328" y="1346"/>
                    <a:pt x="1243" y="1407"/>
                    <a:pt x="1157" y="1467"/>
                  </a:cubicBezTo>
                  <a:cubicBezTo>
                    <a:pt x="1148" y="1473"/>
                    <a:pt x="1149" y="1477"/>
                    <a:pt x="1153" y="1486"/>
                  </a:cubicBezTo>
                  <a:cubicBezTo>
                    <a:pt x="1192" y="1561"/>
                    <a:pt x="1174" y="1642"/>
                    <a:pt x="1107" y="1692"/>
                  </a:cubicBezTo>
                  <a:cubicBezTo>
                    <a:pt x="1045" y="1740"/>
                    <a:pt x="959" y="1734"/>
                    <a:pt x="899" y="1678"/>
                  </a:cubicBezTo>
                  <a:cubicBezTo>
                    <a:pt x="844" y="1627"/>
                    <a:pt x="834" y="1536"/>
                    <a:pt x="878" y="1474"/>
                  </a:cubicBezTo>
                  <a:cubicBezTo>
                    <a:pt x="888" y="1460"/>
                    <a:pt x="886" y="1455"/>
                    <a:pt x="872" y="1448"/>
                  </a:cubicBezTo>
                  <a:cubicBezTo>
                    <a:pt x="776" y="1397"/>
                    <a:pt x="679" y="1345"/>
                    <a:pt x="584" y="1293"/>
                  </a:cubicBezTo>
                  <a:cubicBezTo>
                    <a:pt x="574" y="1288"/>
                    <a:pt x="567" y="1288"/>
                    <a:pt x="557" y="1295"/>
                  </a:cubicBezTo>
                  <a:cubicBezTo>
                    <a:pt x="500" y="1339"/>
                    <a:pt x="424" y="1341"/>
                    <a:pt x="368" y="1300"/>
                  </a:cubicBezTo>
                  <a:cubicBezTo>
                    <a:pt x="308" y="1256"/>
                    <a:pt x="283" y="1182"/>
                    <a:pt x="307" y="1115"/>
                  </a:cubicBezTo>
                  <a:cubicBezTo>
                    <a:pt x="332" y="1047"/>
                    <a:pt x="398" y="1002"/>
                    <a:pt x="470" y="1006"/>
                  </a:cubicBezTo>
                  <a:cubicBezTo>
                    <a:pt x="488" y="1007"/>
                    <a:pt x="506" y="1011"/>
                    <a:pt x="522" y="1019"/>
                  </a:cubicBezTo>
                  <a:cubicBezTo>
                    <a:pt x="532" y="1024"/>
                    <a:pt x="539" y="1024"/>
                    <a:pt x="548" y="1015"/>
                  </a:cubicBezTo>
                  <a:cubicBezTo>
                    <a:pt x="650" y="919"/>
                    <a:pt x="754" y="824"/>
                    <a:pt x="857" y="729"/>
                  </a:cubicBezTo>
                  <a:cubicBezTo>
                    <a:pt x="866" y="721"/>
                    <a:pt x="871" y="715"/>
                    <a:pt x="863" y="701"/>
                  </a:cubicBezTo>
                  <a:cubicBezTo>
                    <a:pt x="826" y="644"/>
                    <a:pt x="824" y="583"/>
                    <a:pt x="857" y="524"/>
                  </a:cubicBezTo>
                  <a:cubicBezTo>
                    <a:pt x="891" y="464"/>
                    <a:pt x="944" y="433"/>
                    <a:pt x="1013" y="433"/>
                  </a:cubicBezTo>
                  <a:cubicBezTo>
                    <a:pt x="1147" y="433"/>
                    <a:pt x="1231" y="572"/>
                    <a:pt x="1169" y="691"/>
                  </a:cubicBezTo>
                  <a:cubicBezTo>
                    <a:pt x="1164" y="700"/>
                    <a:pt x="1165" y="705"/>
                    <a:pt x="1171" y="713"/>
                  </a:cubicBezTo>
                  <a:cubicBezTo>
                    <a:pt x="1259" y="816"/>
                    <a:pt x="1346" y="919"/>
                    <a:pt x="1434" y="1023"/>
                  </a:cubicBezTo>
                  <a:cubicBezTo>
                    <a:pt x="1442" y="1033"/>
                    <a:pt x="1448" y="1034"/>
                    <a:pt x="1459" y="1027"/>
                  </a:cubicBezTo>
                  <a:cubicBezTo>
                    <a:pt x="1516" y="992"/>
                    <a:pt x="1591" y="997"/>
                    <a:pt x="1641" y="1038"/>
                  </a:cubicBezTo>
                  <a:cubicBezTo>
                    <a:pt x="1697" y="1084"/>
                    <a:pt x="1717" y="1152"/>
                    <a:pt x="1694" y="1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249" name="Freeform 6">
              <a:extLst>
                <a:ext uri="{FF2B5EF4-FFF2-40B4-BE49-F238E27FC236}">
                  <a16:creationId xmlns:a16="http://schemas.microsoft.com/office/drawing/2014/main" id="{CE74F9E6-5CA5-4FCA-865A-581FBE5BE5BC}"/>
                </a:ext>
              </a:extLst>
            </p:cNvPr>
            <p:cNvSpPr>
              <a:spLocks/>
            </p:cNvSpPr>
            <p:nvPr/>
          </p:nvSpPr>
          <p:spPr bwMode="auto">
            <a:xfrm>
              <a:off x="3172710" y="2791008"/>
              <a:ext cx="136068" cy="240570"/>
            </a:xfrm>
            <a:custGeom>
              <a:avLst/>
              <a:gdLst>
                <a:gd name="T0" fmla="*/ 362 w 364"/>
                <a:gd name="T1" fmla="*/ 338 h 642"/>
                <a:gd name="T2" fmla="*/ 363 w 364"/>
                <a:gd name="T3" fmla="*/ 622 h 642"/>
                <a:gd name="T4" fmla="*/ 345 w 364"/>
                <a:gd name="T5" fmla="*/ 633 h 642"/>
                <a:gd name="T6" fmla="*/ 29 w 364"/>
                <a:gd name="T7" fmla="*/ 442 h 642"/>
                <a:gd name="T8" fmla="*/ 18 w 364"/>
                <a:gd name="T9" fmla="*/ 418 h 642"/>
                <a:gd name="T10" fmla="*/ 4 w 364"/>
                <a:gd name="T11" fmla="*/ 320 h 642"/>
                <a:gd name="T12" fmla="*/ 8 w 364"/>
                <a:gd name="T13" fmla="*/ 299 h 642"/>
                <a:gd name="T14" fmla="*/ 325 w 364"/>
                <a:gd name="T15" fmla="*/ 7 h 642"/>
                <a:gd name="T16" fmla="*/ 342 w 364"/>
                <a:gd name="T17" fmla="*/ 9 h 642"/>
                <a:gd name="T18" fmla="*/ 363 w 364"/>
                <a:gd name="T19" fmla="*/ 73 h 642"/>
                <a:gd name="T20" fmla="*/ 362 w 364"/>
                <a:gd name="T21" fmla="*/ 338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642">
                  <a:moveTo>
                    <a:pt x="362" y="338"/>
                  </a:moveTo>
                  <a:cubicBezTo>
                    <a:pt x="362" y="433"/>
                    <a:pt x="362" y="528"/>
                    <a:pt x="363" y="622"/>
                  </a:cubicBezTo>
                  <a:cubicBezTo>
                    <a:pt x="363" y="639"/>
                    <a:pt x="360" y="642"/>
                    <a:pt x="345" y="633"/>
                  </a:cubicBezTo>
                  <a:cubicBezTo>
                    <a:pt x="240" y="568"/>
                    <a:pt x="134" y="505"/>
                    <a:pt x="29" y="442"/>
                  </a:cubicBezTo>
                  <a:cubicBezTo>
                    <a:pt x="19" y="436"/>
                    <a:pt x="15" y="431"/>
                    <a:pt x="18" y="418"/>
                  </a:cubicBezTo>
                  <a:cubicBezTo>
                    <a:pt x="26" y="384"/>
                    <a:pt x="20" y="351"/>
                    <a:pt x="4" y="320"/>
                  </a:cubicBezTo>
                  <a:cubicBezTo>
                    <a:pt x="0" y="311"/>
                    <a:pt x="0" y="306"/>
                    <a:pt x="8" y="299"/>
                  </a:cubicBezTo>
                  <a:cubicBezTo>
                    <a:pt x="114" y="202"/>
                    <a:pt x="220" y="105"/>
                    <a:pt x="325" y="7"/>
                  </a:cubicBezTo>
                  <a:cubicBezTo>
                    <a:pt x="333" y="0"/>
                    <a:pt x="336" y="1"/>
                    <a:pt x="342" y="9"/>
                  </a:cubicBezTo>
                  <a:cubicBezTo>
                    <a:pt x="355" y="28"/>
                    <a:pt x="364" y="47"/>
                    <a:pt x="363" y="73"/>
                  </a:cubicBezTo>
                  <a:cubicBezTo>
                    <a:pt x="361" y="161"/>
                    <a:pt x="362" y="250"/>
                    <a:pt x="362" y="3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250" name="Freeform 7">
              <a:extLst>
                <a:ext uri="{FF2B5EF4-FFF2-40B4-BE49-F238E27FC236}">
                  <a16:creationId xmlns:a16="http://schemas.microsoft.com/office/drawing/2014/main" id="{A69B47EC-ACFD-4EEA-898E-7BEF44950958}"/>
                </a:ext>
              </a:extLst>
            </p:cNvPr>
            <p:cNvSpPr>
              <a:spLocks/>
            </p:cNvSpPr>
            <p:nvPr/>
          </p:nvSpPr>
          <p:spPr bwMode="auto">
            <a:xfrm>
              <a:off x="3336031" y="2788655"/>
              <a:ext cx="131559" cy="241746"/>
            </a:xfrm>
            <a:custGeom>
              <a:avLst/>
              <a:gdLst>
                <a:gd name="T0" fmla="*/ 0 w 352"/>
                <a:gd name="T1" fmla="*/ 645 h 645"/>
                <a:gd name="T2" fmla="*/ 0 w 352"/>
                <a:gd name="T3" fmla="*/ 624 h 645"/>
                <a:gd name="T4" fmla="*/ 0 w 352"/>
                <a:gd name="T5" fmla="*/ 68 h 645"/>
                <a:gd name="T6" fmla="*/ 18 w 352"/>
                <a:gd name="T7" fmla="*/ 34 h 645"/>
                <a:gd name="T8" fmla="*/ 67 w 352"/>
                <a:gd name="T9" fmla="*/ 4 h 645"/>
                <a:gd name="T10" fmla="*/ 106 w 352"/>
                <a:gd name="T11" fmla="*/ 44 h 645"/>
                <a:gd name="T12" fmla="*/ 342 w 352"/>
                <a:gd name="T13" fmla="*/ 324 h 645"/>
                <a:gd name="T14" fmla="*/ 348 w 352"/>
                <a:gd name="T15" fmla="*/ 351 h 645"/>
                <a:gd name="T16" fmla="*/ 343 w 352"/>
                <a:gd name="T17" fmla="*/ 416 h 645"/>
                <a:gd name="T18" fmla="*/ 336 w 352"/>
                <a:gd name="T19" fmla="*/ 434 h 645"/>
                <a:gd name="T20" fmla="*/ 8 w 352"/>
                <a:gd name="T21" fmla="*/ 644 h 645"/>
                <a:gd name="T22" fmla="*/ 0 w 352"/>
                <a:gd name="T23"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645">
                  <a:moveTo>
                    <a:pt x="0" y="645"/>
                  </a:moveTo>
                  <a:cubicBezTo>
                    <a:pt x="0" y="637"/>
                    <a:pt x="0" y="631"/>
                    <a:pt x="0" y="624"/>
                  </a:cubicBezTo>
                  <a:cubicBezTo>
                    <a:pt x="0" y="439"/>
                    <a:pt x="1" y="254"/>
                    <a:pt x="0" y="68"/>
                  </a:cubicBezTo>
                  <a:cubicBezTo>
                    <a:pt x="0" y="52"/>
                    <a:pt x="5" y="42"/>
                    <a:pt x="18" y="34"/>
                  </a:cubicBezTo>
                  <a:cubicBezTo>
                    <a:pt x="35" y="24"/>
                    <a:pt x="50" y="0"/>
                    <a:pt x="67" y="4"/>
                  </a:cubicBezTo>
                  <a:cubicBezTo>
                    <a:pt x="82" y="7"/>
                    <a:pt x="94" y="30"/>
                    <a:pt x="106" y="44"/>
                  </a:cubicBezTo>
                  <a:cubicBezTo>
                    <a:pt x="185" y="137"/>
                    <a:pt x="263" y="231"/>
                    <a:pt x="342" y="324"/>
                  </a:cubicBezTo>
                  <a:cubicBezTo>
                    <a:pt x="350" y="332"/>
                    <a:pt x="352" y="340"/>
                    <a:pt x="348" y="351"/>
                  </a:cubicBezTo>
                  <a:cubicBezTo>
                    <a:pt x="341" y="372"/>
                    <a:pt x="340" y="394"/>
                    <a:pt x="343" y="416"/>
                  </a:cubicBezTo>
                  <a:cubicBezTo>
                    <a:pt x="345" y="425"/>
                    <a:pt x="343" y="429"/>
                    <a:pt x="336" y="434"/>
                  </a:cubicBezTo>
                  <a:cubicBezTo>
                    <a:pt x="226" y="504"/>
                    <a:pt x="117" y="574"/>
                    <a:pt x="8" y="644"/>
                  </a:cubicBezTo>
                  <a:cubicBezTo>
                    <a:pt x="7" y="645"/>
                    <a:pt x="5" y="644"/>
                    <a:pt x="0" y="6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grpSp>
      <p:sp>
        <p:nvSpPr>
          <p:cNvPr id="253" name="ContactCard_EEBD" title="Icon of a contact card">
            <a:extLst>
              <a:ext uri="{FF2B5EF4-FFF2-40B4-BE49-F238E27FC236}">
                <a16:creationId xmlns:a16="http://schemas.microsoft.com/office/drawing/2014/main" id="{CFB1DE9C-6DF0-4AFB-B9E7-E0CA2C9AB289}"/>
              </a:ext>
            </a:extLst>
          </p:cNvPr>
          <p:cNvSpPr>
            <a:spLocks noChangeAspect="1" noEditPoints="1"/>
          </p:cNvSpPr>
          <p:nvPr/>
        </p:nvSpPr>
        <p:spPr bwMode="auto">
          <a:xfrm>
            <a:off x="10761039" y="4703626"/>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endParaRPr lang="en-US" sz="1050" dirty="0">
              <a:solidFill>
                <a:srgbClr val="FFFFFF"/>
              </a:solidFill>
            </a:endParaRPr>
          </a:p>
        </p:txBody>
      </p:sp>
      <p:sp>
        <p:nvSpPr>
          <p:cNvPr id="13" name="Rectangle 12">
            <a:extLst>
              <a:ext uri="{FF2B5EF4-FFF2-40B4-BE49-F238E27FC236}">
                <a16:creationId xmlns:a16="http://schemas.microsoft.com/office/drawing/2014/main" id="{8DE7846A-5237-4BFB-8B66-F0DDBC634C01}"/>
              </a:ext>
            </a:extLst>
          </p:cNvPr>
          <p:cNvSpPr/>
          <p:nvPr/>
        </p:nvSpPr>
        <p:spPr>
          <a:xfrm>
            <a:off x="4821452" y="1230473"/>
            <a:ext cx="2549095" cy="615553"/>
          </a:xfrm>
          <a:prstGeom prst="rect">
            <a:avLst/>
          </a:prstGeom>
          <a:solidFill>
            <a:schemeClr val="bg1"/>
          </a:solidFill>
        </p:spPr>
        <p:txBody>
          <a:bodyPr wrap="square" tIns="91440" bIns="91440" anchor="ctr">
            <a:spAutoFit/>
          </a:bodyPr>
          <a:lstStyle/>
          <a:p>
            <a:pPr lvl="0" algn="ctr" defTabSz="932742">
              <a:spcBef>
                <a:spcPct val="0"/>
              </a:spcBef>
            </a:pPr>
            <a:r>
              <a:rPr lang="en-US" sz="2800" dirty="0">
                <a:ln w="3175">
                  <a:noFill/>
                </a:ln>
                <a:gradFill>
                  <a:gsLst>
                    <a:gs pos="1250">
                      <a:schemeClr val="tx1"/>
                    </a:gs>
                    <a:gs pos="100000">
                      <a:schemeClr val="tx1"/>
                    </a:gs>
                  </a:gsLst>
                  <a:lin ang="5400000" scaled="0"/>
                </a:gradFill>
                <a:latin typeface="+mj-lt"/>
                <a:cs typeface="Segoe UI" pitchFamily="34" charset="0"/>
              </a:rPr>
              <a:t>3 BIG PIECES</a:t>
            </a:r>
          </a:p>
        </p:txBody>
      </p:sp>
      <p:pic>
        <p:nvPicPr>
          <p:cNvPr id="66" name="Picture 65" descr="A picture containing object&#10;&#10;Description automatically generated">
            <a:extLst>
              <a:ext uri="{FF2B5EF4-FFF2-40B4-BE49-F238E27FC236}">
                <a16:creationId xmlns:a16="http://schemas.microsoft.com/office/drawing/2014/main" id="{CD87ED3E-2C9A-48FE-93A7-62FCD0BA24B3}"/>
              </a:ext>
            </a:extLst>
          </p:cNvPr>
          <p:cNvPicPr>
            <a:picLocks noChangeAspect="1"/>
          </p:cNvPicPr>
          <p:nvPr/>
        </p:nvPicPr>
        <p:blipFill rotWithShape="1">
          <a:blip r:embed="rId9"/>
          <a:srcRect r="77935"/>
          <a:stretch/>
        </p:blipFill>
        <p:spPr>
          <a:xfrm>
            <a:off x="2104705" y="2890042"/>
            <a:ext cx="365332" cy="365760"/>
          </a:xfrm>
          <a:prstGeom prst="rect">
            <a:avLst/>
          </a:prstGeom>
        </p:spPr>
      </p:pic>
      <p:pic>
        <p:nvPicPr>
          <p:cNvPr id="68" name="Picture 4" descr="See the source image">
            <a:extLst>
              <a:ext uri="{FF2B5EF4-FFF2-40B4-BE49-F238E27FC236}">
                <a16:creationId xmlns:a16="http://schemas.microsoft.com/office/drawing/2014/main" id="{E6A3A86A-1C33-4F66-AC08-DF1E0190DA4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31500" y="4796081"/>
            <a:ext cx="311743" cy="365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5114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F63135AD-49CC-4B6D-BC84-82F59355AF28}"/>
              </a:ext>
            </a:extLst>
          </p:cNvPr>
          <p:cNvSpPr/>
          <p:nvPr/>
        </p:nvSpPr>
        <p:spPr bwMode="auto">
          <a:xfrm>
            <a:off x="3582759" y="1321439"/>
            <a:ext cx="3840480" cy="3685652"/>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27" rIns="91440" bIns="46630" numCol="1" spcCol="0" rtlCol="0" fromWordArt="0" anchor="t" anchorCtr="0" forceAA="0" compatLnSpc="1">
            <a:prstTxWarp prst="textNoShape">
              <a:avLst/>
            </a:prstTxWarp>
            <a:noAutofit/>
          </a:bodyPr>
          <a:lstStyle/>
          <a:p>
            <a:pPr algn="ctr" defTabSz="860922">
              <a:defRPr/>
            </a:pPr>
            <a:r>
              <a:rPr lang="en-US" dirty="0">
                <a:solidFill>
                  <a:schemeClr val="tx1"/>
                </a:solidFill>
                <a:latin typeface="+mj-lt"/>
                <a:cs typeface="Segoe UI Light"/>
              </a:rPr>
              <a:t>Windows Virtual Desktop</a:t>
            </a:r>
            <a:endParaRPr lang="en-US" sz="1600" i="1" dirty="0">
              <a:solidFill>
                <a:schemeClr val="tx1"/>
              </a:solidFill>
              <a:cs typeface="Segoe UI" panose="020B0502040204020203" pitchFamily="34" charset="0"/>
            </a:endParaRPr>
          </a:p>
        </p:txBody>
      </p:sp>
      <p:graphicFrame>
        <p:nvGraphicFramePr>
          <p:cNvPr id="97" name="Object 96" hidden="1">
            <a:extLst>
              <a:ext uri="{FF2B5EF4-FFF2-40B4-BE49-F238E27FC236}">
                <a16:creationId xmlns:a16="http://schemas.microsoft.com/office/drawing/2014/main" id="{D8232803-983C-4424-BB57-B185CD6B4129}"/>
              </a:ext>
            </a:extLst>
          </p:cNvPr>
          <p:cNvGraphicFramePr>
            <a:graphicFrameLocks noChangeAspect="1"/>
          </p:cNvGraphicFramePr>
          <p:nvPr>
            <p:custDataLst>
              <p:tags r:id="rId2"/>
            </p:custData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spid="_x0000_s53252" name="think-cell Slide" r:id="rId6" imgW="425" imgH="424" progId="TCLayout.ActiveDocument.1">
                  <p:embed/>
                </p:oleObj>
              </mc:Choice>
              <mc:Fallback>
                <p:oleObj name="think-cell Slide" r:id="rId6" imgW="425" imgH="424" progId="TCLayout.ActiveDocument.1">
                  <p:embed/>
                  <p:pic>
                    <p:nvPicPr>
                      <p:cNvPr id="97" name="Object 96" hidden="1">
                        <a:extLst>
                          <a:ext uri="{FF2B5EF4-FFF2-40B4-BE49-F238E27FC236}">
                            <a16:creationId xmlns:a16="http://schemas.microsoft.com/office/drawing/2014/main" id="{D8232803-983C-4424-BB57-B185CD6B4129}"/>
                          </a:ext>
                        </a:extLst>
                      </p:cNvPr>
                      <p:cNvPicPr/>
                      <p:nvPr/>
                    </p:nvPicPr>
                    <p:blipFill>
                      <a:blip r:embed="rId7"/>
                      <a:stretch>
                        <a:fillRect/>
                      </a:stretch>
                    </p:blipFill>
                    <p:spPr>
                      <a:xfrm>
                        <a:off x="2452" y="2074"/>
                        <a:ext cx="1588" cy="1588"/>
                      </a:xfrm>
                      <a:prstGeom prst="rect">
                        <a:avLst/>
                      </a:prstGeom>
                    </p:spPr>
                  </p:pic>
                </p:oleObj>
              </mc:Fallback>
            </mc:AlternateContent>
          </a:graphicData>
        </a:graphic>
      </p:graphicFrame>
      <p:sp>
        <p:nvSpPr>
          <p:cNvPr id="96" name="Rectangle 95" hidden="1">
            <a:extLst>
              <a:ext uri="{FF2B5EF4-FFF2-40B4-BE49-F238E27FC236}">
                <a16:creationId xmlns:a16="http://schemas.microsoft.com/office/drawing/2014/main" id="{E604E9B6-9FB2-4205-916D-A68ECA5678CF}"/>
              </a:ext>
            </a:extLst>
          </p:cNvPr>
          <p:cNvSpPr/>
          <p:nvPr>
            <p:custDataLst>
              <p:tags r:id="rId3"/>
            </p:custDataLst>
          </p:nvPr>
        </p:nvSpPr>
        <p:spPr bwMode="auto">
          <a:xfrm>
            <a:off x="865" y="48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293"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 name="Title 2">
            <a:extLst>
              <a:ext uri="{FF2B5EF4-FFF2-40B4-BE49-F238E27FC236}">
                <a16:creationId xmlns:a16="http://schemas.microsoft.com/office/drawing/2014/main" id="{1F1C4F79-85F8-4053-BDD4-AA0CF45AF72A}"/>
              </a:ext>
            </a:extLst>
          </p:cNvPr>
          <p:cNvSpPr>
            <a:spLocks noGrp="1"/>
          </p:cNvSpPr>
          <p:nvPr>
            <p:ph type="title"/>
          </p:nvPr>
        </p:nvSpPr>
        <p:spPr/>
        <p:txBody>
          <a:bodyPr/>
          <a:lstStyle/>
          <a:p>
            <a:r>
              <a:rPr lang="en-US" dirty="0"/>
              <a:t>Citrix &amp; VMware integration</a:t>
            </a:r>
          </a:p>
        </p:txBody>
      </p:sp>
      <p:grpSp>
        <p:nvGrpSpPr>
          <p:cNvPr id="73" name="Group 72">
            <a:extLst>
              <a:ext uri="{FF2B5EF4-FFF2-40B4-BE49-F238E27FC236}">
                <a16:creationId xmlns:a16="http://schemas.microsoft.com/office/drawing/2014/main" id="{1AF73EF8-334B-4703-A1EE-26E71DC6C552}"/>
              </a:ext>
            </a:extLst>
          </p:cNvPr>
          <p:cNvGrpSpPr/>
          <p:nvPr/>
        </p:nvGrpSpPr>
        <p:grpSpPr>
          <a:xfrm>
            <a:off x="3301184" y="1321439"/>
            <a:ext cx="215444" cy="3673392"/>
            <a:chOff x="3005640" y="1928059"/>
            <a:chExt cx="215444" cy="3673392"/>
          </a:xfrm>
        </p:grpSpPr>
        <p:cxnSp>
          <p:nvCxnSpPr>
            <p:cNvPr id="74" name="Straight Connector 73">
              <a:extLst>
                <a:ext uri="{FF2B5EF4-FFF2-40B4-BE49-F238E27FC236}">
                  <a16:creationId xmlns:a16="http://schemas.microsoft.com/office/drawing/2014/main" id="{3625EE92-E52F-40D4-B744-78F89BB60B0B}"/>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75" name="Rectangle 74">
              <a:extLst>
                <a:ext uri="{FF2B5EF4-FFF2-40B4-BE49-F238E27FC236}">
                  <a16:creationId xmlns:a16="http://schemas.microsoft.com/office/drawing/2014/main" id="{826EBC5F-0108-49F1-8BA2-1D291A3683B6}"/>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algn="ctr" defTabSz="914192">
                <a:defRPr/>
              </a:pPr>
              <a:r>
                <a:rPr lang="en-US" sz="1400" dirty="0">
                  <a:latin typeface="Segoe Pro Semibold" panose="020B0702040504020203" pitchFamily="34" charset="0"/>
                  <a:cs typeface="Segoe UI Light"/>
                </a:rPr>
                <a:t>FIREWALL</a:t>
              </a:r>
              <a:endParaRPr lang="en-US" sz="1400" dirty="0">
                <a:latin typeface="Segoe UI"/>
              </a:endParaRPr>
            </a:p>
          </p:txBody>
        </p:sp>
      </p:grpSp>
      <p:sp>
        <p:nvSpPr>
          <p:cNvPr id="76" name="Rectangle 75">
            <a:extLst>
              <a:ext uri="{FF2B5EF4-FFF2-40B4-BE49-F238E27FC236}">
                <a16:creationId xmlns:a16="http://schemas.microsoft.com/office/drawing/2014/main" id="{28A9AF58-8905-4DF5-9AFC-3CE065C71735}"/>
              </a:ext>
            </a:extLst>
          </p:cNvPr>
          <p:cNvSpPr/>
          <p:nvPr/>
        </p:nvSpPr>
        <p:spPr bwMode="auto">
          <a:xfrm>
            <a:off x="7770946" y="1321439"/>
            <a:ext cx="3840480" cy="368565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27" rIns="91440" bIns="46630" numCol="1" rtlCol="0" anchor="t" anchorCtr="0" compatLnSpc="1">
            <a:prstTxWarp prst="textNoShape">
              <a:avLst/>
            </a:prstTxWarp>
          </a:bodyPr>
          <a:lstStyle/>
          <a:p>
            <a:pPr algn="ctr" defTabSz="860922">
              <a:defRPr/>
            </a:pPr>
            <a:r>
              <a:rPr lang="en-US" dirty="0">
                <a:solidFill>
                  <a:schemeClr val="tx1"/>
                </a:solidFill>
                <a:latin typeface="+mj-lt"/>
                <a:cs typeface="Segoe UI Light"/>
              </a:rPr>
              <a:t>Azure VMs &amp; Services</a:t>
            </a:r>
          </a:p>
          <a:p>
            <a:pPr algn="ctr" defTabSz="860922">
              <a:defRPr/>
            </a:pPr>
            <a:r>
              <a:rPr lang="en-US" sz="1600" i="1" dirty="0">
                <a:solidFill>
                  <a:schemeClr val="tx1"/>
                </a:solidFill>
                <a:cs typeface="Segoe UI" panose="020B0502040204020203" pitchFamily="34" charset="0"/>
              </a:rPr>
              <a:t>Customer/Partner-managed</a:t>
            </a:r>
          </a:p>
        </p:txBody>
      </p:sp>
      <p:sp>
        <p:nvSpPr>
          <p:cNvPr id="77" name="Rectangle 76">
            <a:extLst>
              <a:ext uri="{FF2B5EF4-FFF2-40B4-BE49-F238E27FC236}">
                <a16:creationId xmlns:a16="http://schemas.microsoft.com/office/drawing/2014/main" id="{263ED719-0FCA-4541-BB67-BB24FED1A84D}"/>
              </a:ext>
            </a:extLst>
          </p:cNvPr>
          <p:cNvSpPr/>
          <p:nvPr/>
        </p:nvSpPr>
        <p:spPr bwMode="auto">
          <a:xfrm>
            <a:off x="583292" y="1321439"/>
            <a:ext cx="2651760" cy="368565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27" rIns="91440" bIns="46630" numCol="1" spcCol="0" rtlCol="0" fromWordArt="0" anchor="ctr" anchorCtr="0" forceAA="0" compatLnSpc="1">
            <a:prstTxWarp prst="textNoShape">
              <a:avLst/>
            </a:prstTxWarp>
            <a:noAutofit/>
          </a:bodyPr>
          <a:lstStyle/>
          <a:p>
            <a:pPr algn="ctr" defTabSz="860922">
              <a:defRPr/>
            </a:pPr>
            <a:r>
              <a:rPr lang="en-US" dirty="0">
                <a:solidFill>
                  <a:schemeClr val="tx1"/>
                </a:solidFill>
                <a:latin typeface="+mj-lt"/>
                <a:cs typeface="Segoe UI Light"/>
              </a:rPr>
              <a:t>Clients</a:t>
            </a:r>
          </a:p>
        </p:txBody>
      </p:sp>
      <p:grpSp>
        <p:nvGrpSpPr>
          <p:cNvPr id="78" name="Group 77">
            <a:extLst>
              <a:ext uri="{FF2B5EF4-FFF2-40B4-BE49-F238E27FC236}">
                <a16:creationId xmlns:a16="http://schemas.microsoft.com/office/drawing/2014/main" id="{0611E2E7-7CE3-4690-B7EC-E8A25A2539E7}"/>
              </a:ext>
            </a:extLst>
          </p:cNvPr>
          <p:cNvGrpSpPr/>
          <p:nvPr/>
        </p:nvGrpSpPr>
        <p:grpSpPr>
          <a:xfrm>
            <a:off x="7489371" y="1321439"/>
            <a:ext cx="215444" cy="3673392"/>
            <a:chOff x="3005640" y="1928059"/>
            <a:chExt cx="215444" cy="3673392"/>
          </a:xfrm>
        </p:grpSpPr>
        <p:cxnSp>
          <p:nvCxnSpPr>
            <p:cNvPr id="79" name="Straight Connector 78">
              <a:extLst>
                <a:ext uri="{FF2B5EF4-FFF2-40B4-BE49-F238E27FC236}">
                  <a16:creationId xmlns:a16="http://schemas.microsoft.com/office/drawing/2014/main" id="{DAC0DBDF-B0AA-4CAB-9284-E435320926E3}"/>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80" name="Rectangle 79">
              <a:extLst>
                <a:ext uri="{FF2B5EF4-FFF2-40B4-BE49-F238E27FC236}">
                  <a16:creationId xmlns:a16="http://schemas.microsoft.com/office/drawing/2014/main" id="{349F6E55-E09E-4B5F-828F-D219412DCBCE}"/>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algn="ctr" defTabSz="914192">
                <a:defRPr/>
              </a:pPr>
              <a:r>
                <a:rPr lang="en-US" sz="1400" dirty="0">
                  <a:latin typeface="Segoe Pro Semibold" panose="020B0702040504020203" pitchFamily="34" charset="0"/>
                  <a:cs typeface="Segoe UI Light"/>
                </a:rPr>
                <a:t>FIREWALL</a:t>
              </a:r>
              <a:endParaRPr lang="en-US" sz="1400" dirty="0">
                <a:latin typeface="Segoe UI"/>
              </a:endParaRPr>
            </a:p>
          </p:txBody>
        </p:sp>
      </p:grpSp>
      <p:sp>
        <p:nvSpPr>
          <p:cNvPr id="103" name="Rectangle 102">
            <a:extLst>
              <a:ext uri="{FF2B5EF4-FFF2-40B4-BE49-F238E27FC236}">
                <a16:creationId xmlns:a16="http://schemas.microsoft.com/office/drawing/2014/main" id="{D85C4A31-67CF-43F1-8B4A-EB42E93A80ED}"/>
              </a:ext>
            </a:extLst>
          </p:cNvPr>
          <p:cNvSpPr/>
          <p:nvPr/>
        </p:nvSpPr>
        <p:spPr bwMode="auto">
          <a:xfrm>
            <a:off x="7918552" y="2027767"/>
            <a:ext cx="3545268" cy="2880742"/>
          </a:xfrm>
          <a:prstGeom prst="rect">
            <a:avLst/>
          </a:prstGeom>
          <a:solidFill>
            <a:schemeClr val="bg1"/>
          </a:solidFill>
          <a:ln w="10795" cap="flat" cmpd="sng" algn="ctr">
            <a:no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US" sz="2000" dirty="0">
                <a:latin typeface="Segoe UI Light" panose="020B0502040204020203" pitchFamily="34" charset="0"/>
                <a:cs typeface="Segoe UI Light" panose="020B0502040204020203" pitchFamily="34" charset="0"/>
              </a:rPr>
              <a:t>Microsoft Sellers are</a:t>
            </a:r>
            <a:r>
              <a:rPr lang="en-US" sz="2000" dirty="0">
                <a:latin typeface="Segoe Pro Semibold" panose="020B0702040504020203" pitchFamily="34" charset="0"/>
                <a:cs typeface="Segoe UI Light"/>
              </a:rPr>
              <a:t> compensated </a:t>
            </a:r>
            <a:br>
              <a:rPr lang="en-US" sz="2000" dirty="0">
                <a:latin typeface="Segoe Pro Semibold" panose="020B0702040504020203" pitchFamily="34" charset="0"/>
                <a:cs typeface="Segoe UI Light"/>
              </a:rPr>
            </a:br>
            <a:r>
              <a:rPr lang="en-US" sz="2000" dirty="0">
                <a:latin typeface="Segoe UI Light" panose="020B0502040204020203" pitchFamily="34" charset="0"/>
                <a:cs typeface="Segoe UI Light" panose="020B0502040204020203" pitchFamily="34" charset="0"/>
              </a:rPr>
              <a:t>on Azure consumption </a:t>
            </a:r>
          </a:p>
          <a:p>
            <a:pPr algn="ctr" defTabSz="932114" fontAlgn="base">
              <a:spcBef>
                <a:spcPct val="0"/>
              </a:spcBef>
              <a:spcAft>
                <a:spcPct val="0"/>
              </a:spcAft>
              <a:defRPr/>
            </a:pPr>
            <a:r>
              <a:rPr lang="en-US" sz="2000" dirty="0">
                <a:latin typeface="Segoe Pro Semibold" panose="020B0702040504020203" pitchFamily="34" charset="0"/>
                <a:cs typeface="Segoe UI Light"/>
              </a:rPr>
              <a:t>agnostic </a:t>
            </a:r>
            <a:br>
              <a:rPr lang="en-US" sz="2000" dirty="0">
                <a:latin typeface="Segoe Pro Semibold" panose="020B0702040504020203" pitchFamily="34" charset="0"/>
                <a:cs typeface="Segoe UI Light"/>
              </a:rPr>
            </a:br>
            <a:r>
              <a:rPr lang="en-US" sz="2000" dirty="0">
                <a:latin typeface="Segoe UI Light" panose="020B0502040204020203" pitchFamily="34" charset="0"/>
                <a:cs typeface="Segoe UI Light" panose="020B0502040204020203" pitchFamily="34" charset="0"/>
              </a:rPr>
              <a:t>of management plane</a:t>
            </a:r>
          </a:p>
        </p:txBody>
      </p:sp>
      <p:grpSp>
        <p:nvGrpSpPr>
          <p:cNvPr id="4" name="Group 3">
            <a:extLst>
              <a:ext uri="{FF2B5EF4-FFF2-40B4-BE49-F238E27FC236}">
                <a16:creationId xmlns:a16="http://schemas.microsoft.com/office/drawing/2014/main" id="{2D3C192C-4E22-4506-AF7C-009CAF26073F}"/>
              </a:ext>
            </a:extLst>
          </p:cNvPr>
          <p:cNvGrpSpPr/>
          <p:nvPr/>
        </p:nvGrpSpPr>
        <p:grpSpPr>
          <a:xfrm>
            <a:off x="3730365" y="2944961"/>
            <a:ext cx="3545268" cy="905256"/>
            <a:chOff x="3730365" y="2796917"/>
            <a:chExt cx="3545268" cy="905256"/>
          </a:xfrm>
        </p:grpSpPr>
        <p:sp>
          <p:nvSpPr>
            <p:cNvPr id="33" name="Rectangle 32">
              <a:extLst>
                <a:ext uri="{FF2B5EF4-FFF2-40B4-BE49-F238E27FC236}">
                  <a16:creationId xmlns:a16="http://schemas.microsoft.com/office/drawing/2014/main" id="{B68C39AA-8FC5-47D7-8F89-AC926D8F9EEB}"/>
                </a:ext>
              </a:extLst>
            </p:cNvPr>
            <p:cNvSpPr/>
            <p:nvPr/>
          </p:nvSpPr>
          <p:spPr bwMode="auto">
            <a:xfrm>
              <a:off x="3730365" y="2796917"/>
              <a:ext cx="3545268" cy="90525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400" dirty="0">
                <a:solidFill>
                  <a:srgbClr val="505050"/>
                </a:solidFill>
                <a:latin typeface="Segoe Pro Semibold" panose="020B0702040504020203" pitchFamily="34" charset="0"/>
                <a:cs typeface="Segoe UI Light"/>
              </a:endParaRPr>
            </a:p>
          </p:txBody>
        </p:sp>
        <p:sp>
          <p:nvSpPr>
            <p:cNvPr id="104" name="Rectangle 103">
              <a:extLst>
                <a:ext uri="{FF2B5EF4-FFF2-40B4-BE49-F238E27FC236}">
                  <a16:creationId xmlns:a16="http://schemas.microsoft.com/office/drawing/2014/main" id="{17DC0BDA-4F46-4845-9B6A-75559D6FCC1E}"/>
                </a:ext>
              </a:extLst>
            </p:cNvPr>
            <p:cNvSpPr/>
            <p:nvPr/>
          </p:nvSpPr>
          <p:spPr bwMode="auto">
            <a:xfrm>
              <a:off x="3851486" y="3139619"/>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US" sz="1600" kern="0" dirty="0">
                  <a:solidFill>
                    <a:schemeClr val="bg1"/>
                  </a:solidFill>
                  <a:latin typeface="Segoe UI Semibold"/>
                </a:rPr>
                <a:t>Management Plane</a:t>
              </a:r>
            </a:p>
          </p:txBody>
        </p:sp>
        <p:pic>
          <p:nvPicPr>
            <p:cNvPr id="148542" name="Picture 62" descr="Image result for Citrix logo png">
              <a:extLst>
                <a:ext uri="{FF2B5EF4-FFF2-40B4-BE49-F238E27FC236}">
                  <a16:creationId xmlns:a16="http://schemas.microsoft.com/office/drawing/2014/main" id="{FAB64C73-9DB7-4415-BCE3-BEC5EADD785F}"/>
                </a:ext>
              </a:extLst>
            </p:cNvP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5153838" y="2842414"/>
              <a:ext cx="698322" cy="263268"/>
            </a:xfrm>
            <a:prstGeom prst="rect">
              <a:avLst/>
            </a:prstGeom>
            <a:extLst>
              <a:ext uri="{909E8E84-426E-40DD-AFC4-6F175D3DCCD1}">
                <a14:hiddenFill xmlns:a14="http://schemas.microsoft.com/office/drawing/2010/main">
                  <a:solidFill>
                    <a:srgbClr val="FFFFFF"/>
                  </a:solidFill>
                </a14:hiddenFill>
              </a:ext>
            </a:extLst>
          </p:spPr>
        </p:pic>
      </p:grpSp>
      <p:grpSp>
        <p:nvGrpSpPr>
          <p:cNvPr id="2" name="Group 1">
            <a:extLst>
              <a:ext uri="{FF2B5EF4-FFF2-40B4-BE49-F238E27FC236}">
                <a16:creationId xmlns:a16="http://schemas.microsoft.com/office/drawing/2014/main" id="{1592A486-CB66-4E4A-B2E7-92C50E1BA03D}"/>
              </a:ext>
            </a:extLst>
          </p:cNvPr>
          <p:cNvGrpSpPr/>
          <p:nvPr/>
        </p:nvGrpSpPr>
        <p:grpSpPr>
          <a:xfrm>
            <a:off x="3730365" y="4003253"/>
            <a:ext cx="3545268" cy="905256"/>
            <a:chOff x="3730365" y="4003253"/>
            <a:chExt cx="3545268" cy="905256"/>
          </a:xfrm>
        </p:grpSpPr>
        <p:sp>
          <p:nvSpPr>
            <p:cNvPr id="34" name="Rectangle 33">
              <a:extLst>
                <a:ext uri="{FF2B5EF4-FFF2-40B4-BE49-F238E27FC236}">
                  <a16:creationId xmlns:a16="http://schemas.microsoft.com/office/drawing/2014/main" id="{0F2A3986-EBC8-4AF9-B0BC-E6A0B0BEE78F}"/>
                </a:ext>
              </a:extLst>
            </p:cNvPr>
            <p:cNvSpPr/>
            <p:nvPr/>
          </p:nvSpPr>
          <p:spPr bwMode="auto">
            <a:xfrm>
              <a:off x="3730365" y="4003253"/>
              <a:ext cx="3545268" cy="90525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400" dirty="0">
                <a:solidFill>
                  <a:srgbClr val="505050"/>
                </a:solidFill>
                <a:latin typeface="Segoe Pro Semibold" panose="020B0702040504020203" pitchFamily="34" charset="0"/>
                <a:cs typeface="Segoe UI Light"/>
              </a:endParaRPr>
            </a:p>
          </p:txBody>
        </p:sp>
        <p:sp>
          <p:nvSpPr>
            <p:cNvPr id="107" name="Rectangle 106">
              <a:extLst>
                <a:ext uri="{FF2B5EF4-FFF2-40B4-BE49-F238E27FC236}">
                  <a16:creationId xmlns:a16="http://schemas.microsoft.com/office/drawing/2014/main" id="{9E30A7FC-F171-4E5E-B209-B4CB1BF35070}"/>
                </a:ext>
              </a:extLst>
            </p:cNvPr>
            <p:cNvSpPr/>
            <p:nvPr/>
          </p:nvSpPr>
          <p:spPr bwMode="auto">
            <a:xfrm>
              <a:off x="3851486" y="4345239"/>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US" sz="1600" kern="0" dirty="0">
                  <a:solidFill>
                    <a:schemeClr val="bg1"/>
                  </a:solidFill>
                  <a:latin typeface="Segoe UI Semibold"/>
                </a:rPr>
                <a:t>Management Plane</a:t>
              </a:r>
            </a:p>
          </p:txBody>
        </p:sp>
        <p:pic>
          <p:nvPicPr>
            <p:cNvPr id="109" name="Picture 108">
              <a:extLst>
                <a:ext uri="{FF2B5EF4-FFF2-40B4-BE49-F238E27FC236}">
                  <a16:creationId xmlns:a16="http://schemas.microsoft.com/office/drawing/2014/main" id="{5DA110CF-DE32-424C-833F-BC32F54F3175}"/>
                </a:ext>
              </a:extLst>
            </p:cNvPr>
            <p:cNvPicPr>
              <a:picLocks noChangeAspect="1"/>
            </p:cNvPicPr>
            <p:nvPr/>
          </p:nvPicPr>
          <p:blipFill>
            <a:blip r:embed="rId9"/>
            <a:stretch>
              <a:fillRect/>
            </a:stretch>
          </p:blipFill>
          <p:spPr>
            <a:xfrm>
              <a:off x="4941565" y="4094092"/>
              <a:ext cx="1122869" cy="171104"/>
            </a:xfrm>
            <a:prstGeom prst="rect">
              <a:avLst/>
            </a:prstGeom>
          </p:spPr>
        </p:pic>
      </p:grpSp>
      <p:sp>
        <p:nvSpPr>
          <p:cNvPr id="110" name="TextBox 109">
            <a:extLst>
              <a:ext uri="{FF2B5EF4-FFF2-40B4-BE49-F238E27FC236}">
                <a16:creationId xmlns:a16="http://schemas.microsoft.com/office/drawing/2014/main" id="{76941DCF-65D0-43D1-AE5F-438641C0191C}"/>
              </a:ext>
            </a:extLst>
          </p:cNvPr>
          <p:cNvSpPr txBox="1"/>
          <p:nvPr/>
        </p:nvSpPr>
        <p:spPr>
          <a:xfrm>
            <a:off x="583290" y="5147867"/>
            <a:ext cx="11018520" cy="1554480"/>
          </a:xfrm>
          <a:prstGeom prst="rect">
            <a:avLst/>
          </a:prstGeom>
          <a:noFill/>
          <a:ln w="12700">
            <a:noFill/>
          </a:ln>
        </p:spPr>
        <p:txBody>
          <a:bodyPr wrap="square" lIns="91440" tIns="91440" rIns="91440" bIns="91440" rtlCol="0">
            <a:noAutofit/>
          </a:bodyPr>
          <a:lstStyle/>
          <a:p>
            <a:pPr marL="228600" indent="-228600" algn="l">
              <a:spcBef>
                <a:spcPts val="600"/>
              </a:spcBef>
              <a:buFont typeface="Arial" panose="020B0604020202020204" pitchFamily="34" charset="0"/>
              <a:buChar char="•"/>
            </a:pPr>
            <a:r>
              <a:rPr lang="en-US" dirty="0"/>
              <a:t>Citrix and VMware provide value add to WVD (e.g. hybrid deployment management)</a:t>
            </a:r>
          </a:p>
          <a:p>
            <a:pPr marL="228600" indent="-228600" algn="l">
              <a:spcBef>
                <a:spcPts val="600"/>
              </a:spcBef>
              <a:buFont typeface="Arial" panose="020B0604020202020204" pitchFamily="34" charset="0"/>
              <a:buChar char="•"/>
            </a:pPr>
            <a:r>
              <a:rPr lang="en-US" dirty="0"/>
              <a:t>Windows 10 multi-session is also available with Citrix &amp; VMware management planes</a:t>
            </a:r>
          </a:p>
          <a:p>
            <a:pPr marL="228600" indent="-228600" algn="l">
              <a:spcBef>
                <a:spcPts val="600"/>
              </a:spcBef>
              <a:buFont typeface="Arial" panose="020B0604020202020204" pitchFamily="34" charset="0"/>
              <a:buChar char="•"/>
            </a:pPr>
            <a:r>
              <a:rPr lang="en-US" dirty="0"/>
              <a:t>Customer ultimately decides the management plane(s) of choice</a:t>
            </a:r>
          </a:p>
        </p:txBody>
      </p:sp>
      <p:grpSp>
        <p:nvGrpSpPr>
          <p:cNvPr id="5" name="Group 4">
            <a:extLst>
              <a:ext uri="{FF2B5EF4-FFF2-40B4-BE49-F238E27FC236}">
                <a16:creationId xmlns:a16="http://schemas.microsoft.com/office/drawing/2014/main" id="{C2B59AFA-9E82-47A4-82EB-81F77AF4D110}"/>
              </a:ext>
            </a:extLst>
          </p:cNvPr>
          <p:cNvGrpSpPr/>
          <p:nvPr/>
        </p:nvGrpSpPr>
        <p:grpSpPr>
          <a:xfrm>
            <a:off x="3730365" y="1886128"/>
            <a:ext cx="3545268" cy="905797"/>
            <a:chOff x="3730365" y="1799303"/>
            <a:chExt cx="3545268" cy="905797"/>
          </a:xfrm>
        </p:grpSpPr>
        <p:sp>
          <p:nvSpPr>
            <p:cNvPr id="82" name="Rectangle 81">
              <a:extLst>
                <a:ext uri="{FF2B5EF4-FFF2-40B4-BE49-F238E27FC236}">
                  <a16:creationId xmlns:a16="http://schemas.microsoft.com/office/drawing/2014/main" id="{0D5BFFDE-7FC7-42C8-BDD0-821E4B74F98F}"/>
                </a:ext>
              </a:extLst>
            </p:cNvPr>
            <p:cNvSpPr/>
            <p:nvPr/>
          </p:nvSpPr>
          <p:spPr bwMode="auto">
            <a:xfrm>
              <a:off x="3730365" y="1799303"/>
              <a:ext cx="3545268" cy="905797"/>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400" dirty="0">
                <a:solidFill>
                  <a:srgbClr val="505050"/>
                </a:solidFill>
                <a:latin typeface="Segoe Pro Semibold" panose="020B0702040504020203" pitchFamily="34" charset="0"/>
                <a:cs typeface="Segoe UI Light"/>
              </a:endParaRPr>
            </a:p>
          </p:txBody>
        </p:sp>
        <p:sp>
          <p:nvSpPr>
            <p:cNvPr id="35" name="Rectangle 34">
              <a:extLst>
                <a:ext uri="{FF2B5EF4-FFF2-40B4-BE49-F238E27FC236}">
                  <a16:creationId xmlns:a16="http://schemas.microsoft.com/office/drawing/2014/main" id="{283866BE-8D23-4EE8-8D5B-6B015C54E89A}"/>
                </a:ext>
              </a:extLst>
            </p:cNvPr>
            <p:cNvSpPr/>
            <p:nvPr/>
          </p:nvSpPr>
          <p:spPr bwMode="auto">
            <a:xfrm>
              <a:off x="3851486" y="2137327"/>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US" sz="1600" kern="0" dirty="0">
                  <a:solidFill>
                    <a:schemeClr val="bg1"/>
                  </a:solidFill>
                  <a:latin typeface="Segoe UI Semibold"/>
                </a:rPr>
                <a:t>Management Plane</a:t>
              </a:r>
            </a:p>
          </p:txBody>
        </p:sp>
        <p:pic>
          <p:nvPicPr>
            <p:cNvPr id="38" name="Picture 37">
              <a:extLst>
                <a:ext uri="{FF2B5EF4-FFF2-40B4-BE49-F238E27FC236}">
                  <a16:creationId xmlns:a16="http://schemas.microsoft.com/office/drawing/2014/main" id="{35516DB6-C3E6-4C72-99E9-22D4E3A8290E}"/>
                </a:ext>
              </a:extLst>
            </p:cNvPr>
            <p:cNvPicPr>
              <a:picLocks noChangeAspect="1"/>
            </p:cNvPicPr>
            <p:nvPr/>
          </p:nvPicPr>
          <p:blipFill rotWithShape="1">
            <a:blip r:embed="rId10"/>
            <a:srcRect r="32499"/>
            <a:stretch/>
          </p:blipFill>
          <p:spPr>
            <a:xfrm>
              <a:off x="4847970" y="1844656"/>
              <a:ext cx="1310058" cy="250373"/>
            </a:xfrm>
            <a:prstGeom prst="rect">
              <a:avLst/>
            </a:prstGeom>
          </p:spPr>
        </p:pic>
      </p:grpSp>
    </p:spTree>
    <p:extLst>
      <p:ext uri="{BB962C8B-B14F-4D97-AF65-F5344CB8AC3E}">
        <p14:creationId xmlns:p14="http://schemas.microsoft.com/office/powerpoint/2010/main" val="87602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5BADBA-3B87-46F8-9357-4DB0A1FA0F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6" imgW="377" imgH="377" progId="TCLayout.ActiveDocument.1">
                  <p:embed/>
                </p:oleObj>
              </mc:Choice>
              <mc:Fallback>
                <p:oleObj name="think-cell Slide" r:id="rId6" imgW="377" imgH="377" progId="TCLayout.ActiveDocument.1">
                  <p:embed/>
                  <p:pic>
                    <p:nvPicPr>
                      <p:cNvPr id="4" name="Object 3" hidden="1">
                        <a:extLst>
                          <a:ext uri="{FF2B5EF4-FFF2-40B4-BE49-F238E27FC236}">
                            <a16:creationId xmlns:a16="http://schemas.microsoft.com/office/drawing/2014/main" id="{785BADBA-3B87-46F8-9357-4DB0A1FA0F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BBFE4E-3749-4ACE-B133-7C640F9B061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defRPr/>
            </a:pPr>
            <a:endParaRPr kumimoji="0" lang="en-US" sz="2800" u="none" strike="noStrike" kern="1200" cap="none" spc="0" normalizeH="0" noProof="0">
              <a:ln>
                <a:noFill/>
              </a:ln>
              <a:gradFill>
                <a:gsLst>
                  <a:gs pos="0">
                    <a:srgbClr val="FFFFFF"/>
                  </a:gs>
                  <a:gs pos="100000">
                    <a:srgbClr val="FFFFFF"/>
                  </a:gs>
                </a:gsLst>
                <a:lin ang="5400000" scaled="0"/>
              </a:gradFill>
              <a:effectLst/>
              <a:uLnTx/>
              <a:uFillTx/>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61" name="TextBox 160">
            <a:extLst>
              <a:ext uri="{FF2B5EF4-FFF2-40B4-BE49-F238E27FC236}">
                <a16:creationId xmlns:a16="http://schemas.microsoft.com/office/drawing/2014/main" id="{0EF80C09-3033-4604-A5FC-42CD201ED5CA}"/>
              </a:ext>
            </a:extLst>
          </p:cNvPr>
          <p:cNvSpPr txBox="1"/>
          <p:nvPr/>
        </p:nvSpPr>
        <p:spPr>
          <a:xfrm>
            <a:off x="586501" y="4173967"/>
            <a:ext cx="3578008" cy="1016159"/>
          </a:xfrm>
          <a:prstGeom prst="rect">
            <a:avLst/>
          </a:prstGeom>
          <a:noFill/>
          <a:ln w="6350">
            <a:solidFill>
              <a:schemeClr val="bg1">
                <a:lumMod val="75000"/>
              </a:schemeClr>
            </a:solidFill>
          </a:ln>
        </p:spPr>
        <p:txBody>
          <a:bodyPr wrap="square" lIns="91440" tIns="91440" rIns="91440" bIns="91440" rtlCol="0" anchor="ctr">
            <a:noAutofit/>
          </a:bodyPr>
          <a:lstStyle/>
          <a:p>
            <a:pPr marL="0" lvl="1" algn="ctr" defTabSz="914367">
              <a:spcBef>
                <a:spcPts val="200"/>
              </a:spcBef>
              <a:spcAft>
                <a:spcPts val="400"/>
              </a:spcAft>
              <a:buSzPct val="100000"/>
            </a:pPr>
            <a:endParaRPr lang="en-US" sz="1600"/>
          </a:p>
        </p:txBody>
      </p:sp>
      <p:sp>
        <p:nvSpPr>
          <p:cNvPr id="165" name="TextBox 164">
            <a:extLst>
              <a:ext uri="{FF2B5EF4-FFF2-40B4-BE49-F238E27FC236}">
                <a16:creationId xmlns:a16="http://schemas.microsoft.com/office/drawing/2014/main" id="{A25AC22A-A4CF-4EBC-AFBC-70385F257223}"/>
              </a:ext>
            </a:extLst>
          </p:cNvPr>
          <p:cNvSpPr txBox="1"/>
          <p:nvPr/>
        </p:nvSpPr>
        <p:spPr>
          <a:xfrm>
            <a:off x="4307789" y="4173967"/>
            <a:ext cx="3578008" cy="1016159"/>
          </a:xfrm>
          <a:prstGeom prst="rect">
            <a:avLst/>
          </a:prstGeom>
          <a:noFill/>
          <a:ln w="6350">
            <a:solidFill>
              <a:schemeClr val="bg1">
                <a:lumMod val="75000"/>
              </a:schemeClr>
            </a:solidFill>
          </a:ln>
        </p:spPr>
        <p:txBody>
          <a:bodyPr wrap="square" lIns="91440" tIns="91440" rIns="91440" bIns="91440" rtlCol="0" anchor="ctr">
            <a:noAutofit/>
          </a:bodyPr>
          <a:lstStyle/>
          <a:p>
            <a:pPr marL="0" lvl="1" algn="ctr" defTabSz="914367">
              <a:spcBef>
                <a:spcPts val="200"/>
              </a:spcBef>
              <a:spcAft>
                <a:spcPts val="400"/>
              </a:spcAft>
              <a:buSzPct val="100000"/>
            </a:pPr>
            <a:endParaRPr lang="en-US" sz="1600"/>
          </a:p>
        </p:txBody>
      </p:sp>
      <p:sp>
        <p:nvSpPr>
          <p:cNvPr id="168" name="TextBox 167">
            <a:extLst>
              <a:ext uri="{FF2B5EF4-FFF2-40B4-BE49-F238E27FC236}">
                <a16:creationId xmlns:a16="http://schemas.microsoft.com/office/drawing/2014/main" id="{2E8DDC75-B781-4433-A8AC-665CD93E7370}"/>
              </a:ext>
            </a:extLst>
          </p:cNvPr>
          <p:cNvSpPr txBox="1"/>
          <p:nvPr/>
        </p:nvSpPr>
        <p:spPr>
          <a:xfrm>
            <a:off x="8031380" y="4173967"/>
            <a:ext cx="3578008" cy="1016159"/>
          </a:xfrm>
          <a:prstGeom prst="rect">
            <a:avLst/>
          </a:prstGeom>
          <a:noFill/>
          <a:ln w="6350">
            <a:solidFill>
              <a:schemeClr val="bg1">
                <a:lumMod val="75000"/>
              </a:schemeClr>
            </a:solidFill>
          </a:ln>
        </p:spPr>
        <p:txBody>
          <a:bodyPr wrap="square" lIns="91440" tIns="91440" rIns="91440" bIns="91440" rtlCol="0" anchor="ctr">
            <a:noAutofit/>
          </a:bodyPr>
          <a:lstStyle/>
          <a:p>
            <a:pPr marL="0" lvl="1" algn="ctr" defTabSz="914367">
              <a:spcBef>
                <a:spcPts val="200"/>
              </a:spcBef>
              <a:spcAft>
                <a:spcPts val="400"/>
              </a:spcAft>
              <a:buSzPct val="100000"/>
            </a:pPr>
            <a:endParaRPr lang="en-US" sz="1600"/>
          </a:p>
        </p:txBody>
      </p:sp>
      <p:sp>
        <p:nvSpPr>
          <p:cNvPr id="2" name="Title 1">
            <a:extLst>
              <a:ext uri="{FF2B5EF4-FFF2-40B4-BE49-F238E27FC236}">
                <a16:creationId xmlns:a16="http://schemas.microsoft.com/office/drawing/2014/main" id="{DAD4E971-A90F-45A0-9728-2BBE420801B3}"/>
              </a:ext>
            </a:extLst>
          </p:cNvPr>
          <p:cNvSpPr>
            <a:spLocks noGrp="1"/>
          </p:cNvSpPr>
          <p:nvPr>
            <p:ph type="title"/>
          </p:nvPr>
        </p:nvSpPr>
        <p:spPr>
          <a:xfrm>
            <a:off x="556493" y="456328"/>
            <a:ext cx="11018520" cy="430887"/>
          </a:xfrm>
        </p:spPr>
        <p:txBody>
          <a:bodyPr/>
          <a:lstStyle/>
          <a:p>
            <a:r>
              <a:rPr lang="en-US" altLang="zh-CN"/>
              <a:t>Best Virtualized End-user Experience</a:t>
            </a:r>
            <a:endParaRPr lang="en-US"/>
          </a:p>
        </p:txBody>
      </p:sp>
      <p:sp>
        <p:nvSpPr>
          <p:cNvPr id="141" name="TextBox 140">
            <a:extLst>
              <a:ext uri="{FF2B5EF4-FFF2-40B4-BE49-F238E27FC236}">
                <a16:creationId xmlns:a16="http://schemas.microsoft.com/office/drawing/2014/main" id="{70C7E71E-71B7-471E-94DB-59AFE0B0D417}"/>
              </a:ext>
            </a:extLst>
          </p:cNvPr>
          <p:cNvSpPr txBox="1"/>
          <p:nvPr/>
        </p:nvSpPr>
        <p:spPr>
          <a:xfrm>
            <a:off x="584200" y="6041586"/>
            <a:ext cx="11017778" cy="529834"/>
          </a:xfrm>
          <a:prstGeom prst="rect">
            <a:avLst/>
          </a:prstGeom>
          <a:solidFill>
            <a:schemeClr val="bg1"/>
          </a:solidFill>
          <a:ln w="6350">
            <a:solidFill>
              <a:schemeClr val="bg1">
                <a:lumMod val="75000"/>
              </a:schemeClr>
            </a:solidFill>
          </a:ln>
        </p:spPr>
        <p:txBody>
          <a:bodyPr wrap="square" lIns="91440" tIns="91440" rIns="91440" bIns="91440" rtlCol="0" anchor="ctr">
            <a:noAutofit/>
          </a:bodyPr>
          <a:lstStyle/>
          <a:p>
            <a:pPr marL="0" lvl="1" algn="ctr" defTabSz="914367">
              <a:spcBef>
                <a:spcPts val="200"/>
              </a:spcBef>
              <a:spcAft>
                <a:spcPts val="400"/>
              </a:spcAft>
              <a:buSzPct val="100000"/>
            </a:pPr>
            <a:r>
              <a:rPr lang="en-US" sz="1400"/>
              <a:t>Office 365 ProPlus also supported on Windows Server 2019 (with OneDrive Files-on-Demand capabilities)</a:t>
            </a:r>
          </a:p>
        </p:txBody>
      </p:sp>
      <p:grpSp>
        <p:nvGrpSpPr>
          <p:cNvPr id="142" name="Group 141">
            <a:extLst>
              <a:ext uri="{FF2B5EF4-FFF2-40B4-BE49-F238E27FC236}">
                <a16:creationId xmlns:a16="http://schemas.microsoft.com/office/drawing/2014/main" id="{5240E436-7153-456E-9FE5-D7CABBFE6611}"/>
              </a:ext>
            </a:extLst>
          </p:cNvPr>
          <p:cNvGrpSpPr/>
          <p:nvPr/>
        </p:nvGrpSpPr>
        <p:grpSpPr>
          <a:xfrm>
            <a:off x="726510" y="6123623"/>
            <a:ext cx="365760" cy="365760"/>
            <a:chOff x="2823875" y="5501483"/>
            <a:chExt cx="883997" cy="884125"/>
          </a:xfrm>
        </p:grpSpPr>
        <p:sp>
          <p:nvSpPr>
            <p:cNvPr id="143" name="Oval 142">
              <a:extLst>
                <a:ext uri="{FF2B5EF4-FFF2-40B4-BE49-F238E27FC236}">
                  <a16:creationId xmlns:a16="http://schemas.microsoft.com/office/drawing/2014/main" id="{DEE6C4F4-E4A7-452E-BBBC-338E824AE96D}"/>
                </a:ext>
              </a:extLst>
            </p:cNvPr>
            <p:cNvSpPr/>
            <p:nvPr/>
          </p:nvSpPr>
          <p:spPr bwMode="auto">
            <a:xfrm>
              <a:off x="2823875" y="5501483"/>
              <a:ext cx="883997" cy="884125"/>
            </a:xfrm>
            <a:prstGeom prst="ellipse">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036">
              <a:extLst>
                <a:ext uri="{FF2B5EF4-FFF2-40B4-BE49-F238E27FC236}">
                  <a16:creationId xmlns:a16="http://schemas.microsoft.com/office/drawing/2014/main" id="{BB52E606-33AD-459E-93A3-BAAF6F729B22}"/>
                </a:ext>
              </a:extLst>
            </p:cNvPr>
            <p:cNvSpPr/>
            <p:nvPr/>
          </p:nvSpPr>
          <p:spPr>
            <a:xfrm>
              <a:off x="3065478" y="5603330"/>
              <a:ext cx="400795" cy="642115"/>
            </a:xfrm>
            <a:custGeom>
              <a:avLst/>
              <a:gdLst/>
              <a:ahLst/>
              <a:cxnLst/>
              <a:rect l="l" t="t" r="r" b="b"/>
              <a:pathLst>
                <a:path w="873694" h="1399546">
                  <a:moveTo>
                    <a:pt x="368268" y="1353826"/>
                  </a:moveTo>
                  <a:lnTo>
                    <a:pt x="505428" y="1353826"/>
                  </a:lnTo>
                  <a:lnTo>
                    <a:pt x="505428" y="1399546"/>
                  </a:lnTo>
                  <a:lnTo>
                    <a:pt x="368268" y="1399546"/>
                  </a:lnTo>
                  <a:close/>
                  <a:moveTo>
                    <a:pt x="298452" y="1288836"/>
                  </a:moveTo>
                  <a:lnTo>
                    <a:pt x="575244" y="1288836"/>
                  </a:lnTo>
                  <a:lnTo>
                    <a:pt x="575244" y="1352844"/>
                  </a:lnTo>
                  <a:lnTo>
                    <a:pt x="298452" y="1352844"/>
                  </a:lnTo>
                  <a:close/>
                  <a:moveTo>
                    <a:pt x="273051" y="1181375"/>
                  </a:moveTo>
                  <a:lnTo>
                    <a:pt x="600645" y="1181375"/>
                  </a:lnTo>
                  <a:lnTo>
                    <a:pt x="600645" y="1245383"/>
                  </a:lnTo>
                  <a:lnTo>
                    <a:pt x="273051" y="1245383"/>
                  </a:lnTo>
                  <a:close/>
                  <a:moveTo>
                    <a:pt x="244760" y="1073915"/>
                  </a:moveTo>
                  <a:lnTo>
                    <a:pt x="628935" y="1073915"/>
                  </a:lnTo>
                  <a:lnTo>
                    <a:pt x="628935" y="1137923"/>
                  </a:lnTo>
                  <a:lnTo>
                    <a:pt x="244760" y="1137923"/>
                  </a:lnTo>
                  <a:close/>
                  <a:moveTo>
                    <a:pt x="436847" y="0"/>
                  </a:moveTo>
                  <a:cubicBezTo>
                    <a:pt x="678111" y="0"/>
                    <a:pt x="873694" y="181797"/>
                    <a:pt x="873694" y="406056"/>
                  </a:cubicBezTo>
                  <a:lnTo>
                    <a:pt x="865469" y="481894"/>
                  </a:lnTo>
                  <a:lnTo>
                    <a:pt x="866615" y="481894"/>
                  </a:lnTo>
                  <a:lnTo>
                    <a:pt x="865050" y="485764"/>
                  </a:lnTo>
                  <a:cubicBezTo>
                    <a:pt x="856692" y="525850"/>
                    <a:pt x="841779" y="563767"/>
                    <a:pt x="819803" y="597610"/>
                  </a:cubicBezTo>
                  <a:cubicBezTo>
                    <a:pt x="757417" y="736579"/>
                    <a:pt x="674367" y="866868"/>
                    <a:pt x="650095" y="1030463"/>
                  </a:cubicBezTo>
                  <a:lnTo>
                    <a:pt x="223599" y="1030463"/>
                  </a:lnTo>
                  <a:cubicBezTo>
                    <a:pt x="196160" y="878092"/>
                    <a:pt x="109005" y="733956"/>
                    <a:pt x="48016" y="587548"/>
                  </a:cubicBezTo>
                  <a:cubicBezTo>
                    <a:pt x="29124" y="556473"/>
                    <a:pt x="16227" y="522121"/>
                    <a:pt x="8670" y="486001"/>
                  </a:cubicBezTo>
                  <a:cubicBezTo>
                    <a:pt x="7945" y="484692"/>
                    <a:pt x="7510" y="483293"/>
                    <a:pt x="7079" y="481894"/>
                  </a:cubicBezTo>
                  <a:lnTo>
                    <a:pt x="8225" y="481894"/>
                  </a:lnTo>
                  <a:cubicBezTo>
                    <a:pt x="2621" y="457409"/>
                    <a:pt x="0" y="432017"/>
                    <a:pt x="0" y="406056"/>
                  </a:cubicBezTo>
                  <a:cubicBezTo>
                    <a:pt x="0" y="181797"/>
                    <a:pt x="195583" y="0"/>
                    <a:pt x="436847" y="0"/>
                  </a:cubicBezTo>
                  <a:close/>
                </a:path>
              </a:pathLst>
            </a:custGeom>
            <a:solidFill>
              <a:srgbClr val="FFFFFF"/>
            </a:solidFill>
            <a:ln w="10795" cap="flat" cmpd="sng" algn="ctr">
              <a:no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45" name="Group 144">
            <a:extLst>
              <a:ext uri="{FF2B5EF4-FFF2-40B4-BE49-F238E27FC236}">
                <a16:creationId xmlns:a16="http://schemas.microsoft.com/office/drawing/2014/main" id="{9C661902-9D33-491D-B49A-8D995E05E916}"/>
              </a:ext>
            </a:extLst>
          </p:cNvPr>
          <p:cNvGrpSpPr/>
          <p:nvPr/>
        </p:nvGrpSpPr>
        <p:grpSpPr>
          <a:xfrm>
            <a:off x="11054079" y="6123623"/>
            <a:ext cx="365760" cy="365760"/>
            <a:chOff x="8547637" y="4022069"/>
            <a:chExt cx="710736" cy="710837"/>
          </a:xfrm>
        </p:grpSpPr>
        <p:sp>
          <p:nvSpPr>
            <p:cNvPr id="146" name="Oval 145">
              <a:extLst>
                <a:ext uri="{FF2B5EF4-FFF2-40B4-BE49-F238E27FC236}">
                  <a16:creationId xmlns:a16="http://schemas.microsoft.com/office/drawing/2014/main" id="{7057B767-E754-48D9-97A2-E992774CBF51}"/>
                </a:ext>
              </a:extLst>
            </p:cNvPr>
            <p:cNvSpPr/>
            <p:nvPr/>
          </p:nvSpPr>
          <p:spPr bwMode="auto">
            <a:xfrm>
              <a:off x="8547637" y="4022069"/>
              <a:ext cx="710736" cy="710837"/>
            </a:xfrm>
            <a:prstGeom prst="ellipse">
              <a:avLst/>
            </a:prstGeom>
            <a:solidFill>
              <a:srgbClr val="00BCF2"/>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Freeform 314">
              <a:extLst>
                <a:ext uri="{FF2B5EF4-FFF2-40B4-BE49-F238E27FC236}">
                  <a16:creationId xmlns:a16="http://schemas.microsoft.com/office/drawing/2014/main" id="{357107ED-B839-4B4F-AC38-6A9DD53E9B5A}"/>
                </a:ext>
              </a:extLst>
            </p:cNvPr>
            <p:cNvSpPr/>
            <p:nvPr/>
          </p:nvSpPr>
          <p:spPr>
            <a:xfrm rot="19324792">
              <a:off x="8656647" y="4152814"/>
              <a:ext cx="490764" cy="511256"/>
            </a:xfrm>
            <a:custGeom>
              <a:avLst/>
              <a:gdLst>
                <a:gd name="connsiteX0" fmla="*/ 818317 w 1900290"/>
                <a:gd name="connsiteY0" fmla="*/ 263524 h 2183187"/>
                <a:gd name="connsiteX1" fmla="*/ 1346954 w 1900290"/>
                <a:gd name="connsiteY1" fmla="*/ 358774 h 2183187"/>
                <a:gd name="connsiteX2" fmla="*/ 1489829 w 1900290"/>
                <a:gd name="connsiteY2" fmla="*/ 484980 h 2183187"/>
                <a:gd name="connsiteX3" fmla="*/ 1413629 w 1900290"/>
                <a:gd name="connsiteY3" fmla="*/ 882649 h 2183187"/>
                <a:gd name="connsiteX4" fmla="*/ 1830348 w 1900290"/>
                <a:gd name="connsiteY4" fmla="*/ 977899 h 2183187"/>
                <a:gd name="connsiteX5" fmla="*/ 1813679 w 1900290"/>
                <a:gd name="connsiteY5" fmla="*/ 1163636 h 2183187"/>
                <a:gd name="connsiteX6" fmla="*/ 1201698 w 1900290"/>
                <a:gd name="connsiteY6" fmla="*/ 987424 h 2183187"/>
                <a:gd name="connsiteX7" fmla="*/ 1177885 w 1900290"/>
                <a:gd name="connsiteY7" fmla="*/ 887411 h 2183187"/>
                <a:gd name="connsiteX8" fmla="*/ 1123117 w 1900290"/>
                <a:gd name="connsiteY8" fmla="*/ 851692 h 2183187"/>
                <a:gd name="connsiteX9" fmla="*/ 968335 w 1900290"/>
                <a:gd name="connsiteY9" fmla="*/ 1025524 h 2183187"/>
                <a:gd name="connsiteX10" fmla="*/ 1215985 w 1900290"/>
                <a:gd name="connsiteY10" fmla="*/ 1239836 h 2183187"/>
                <a:gd name="connsiteX11" fmla="*/ 1239798 w 1900290"/>
                <a:gd name="connsiteY11" fmla="*/ 1339849 h 2183187"/>
                <a:gd name="connsiteX12" fmla="*/ 1223792 w 1900290"/>
                <a:gd name="connsiteY12" fmla="*/ 2180832 h 2183187"/>
                <a:gd name="connsiteX13" fmla="*/ 675442 w 1900290"/>
                <a:gd name="connsiteY13" fmla="*/ 1625599 h 2183187"/>
                <a:gd name="connsiteX14" fmla="*/ 1004054 w 1900290"/>
                <a:gd name="connsiteY14" fmla="*/ 1273174 h 2183187"/>
                <a:gd name="connsiteX15" fmla="*/ 780217 w 1900290"/>
                <a:gd name="connsiteY15" fmla="*/ 1070767 h 2183187"/>
                <a:gd name="connsiteX16" fmla="*/ 532567 w 1900290"/>
                <a:gd name="connsiteY16" fmla="*/ 1254124 h 2183187"/>
                <a:gd name="connsiteX17" fmla="*/ 399217 w 1900290"/>
                <a:gd name="connsiteY17" fmla="*/ 1211261 h 2183187"/>
                <a:gd name="connsiteX18" fmla="*/ 3929 w 1900290"/>
                <a:gd name="connsiteY18" fmla="*/ 832642 h 2183187"/>
                <a:gd name="connsiteX19" fmla="*/ 127754 w 1900290"/>
                <a:gd name="connsiteY19" fmla="*/ 746917 h 2183187"/>
                <a:gd name="connsiteX20" fmla="*/ 470654 w 1900290"/>
                <a:gd name="connsiteY20" fmla="*/ 1061242 h 2183187"/>
                <a:gd name="connsiteX21" fmla="*/ 620673 w 1900290"/>
                <a:gd name="connsiteY21" fmla="*/ 977899 h 2183187"/>
                <a:gd name="connsiteX22" fmla="*/ 668298 w 1900290"/>
                <a:gd name="connsiteY22" fmla="*/ 913605 h 2183187"/>
                <a:gd name="connsiteX23" fmla="*/ 663535 w 1900290"/>
                <a:gd name="connsiteY23" fmla="*/ 815974 h 2183187"/>
                <a:gd name="connsiteX24" fmla="*/ 1023104 w 1900290"/>
                <a:gd name="connsiteY24" fmla="*/ 496886 h 2183187"/>
                <a:gd name="connsiteX25" fmla="*/ 980242 w 1900290"/>
                <a:gd name="connsiteY25" fmla="*/ 442117 h 2183187"/>
                <a:gd name="connsiteX26" fmla="*/ 865942 w 1900290"/>
                <a:gd name="connsiteY26" fmla="*/ 427830 h 2183187"/>
                <a:gd name="connsiteX27" fmla="*/ 458748 w 1900290"/>
                <a:gd name="connsiteY27" fmla="*/ 651667 h 2183187"/>
                <a:gd name="connsiteX28" fmla="*/ 361117 w 1900290"/>
                <a:gd name="connsiteY28" fmla="*/ 513555 h 2183187"/>
                <a:gd name="connsiteX29" fmla="*/ 818317 w 1900290"/>
                <a:gd name="connsiteY29" fmla="*/ 263524 h 2183187"/>
                <a:gd name="connsiteX30" fmla="*/ 1586666 w 1900290"/>
                <a:gd name="connsiteY30" fmla="*/ 0 h 2183187"/>
                <a:gd name="connsiteX31" fmla="*/ 1786691 w 1900290"/>
                <a:gd name="connsiteY31" fmla="*/ 200025 h 2183187"/>
                <a:gd name="connsiteX32" fmla="*/ 1586666 w 1900290"/>
                <a:gd name="connsiteY32" fmla="*/ 400050 h 2183187"/>
                <a:gd name="connsiteX33" fmla="*/ 1386641 w 1900290"/>
                <a:gd name="connsiteY33" fmla="*/ 200025 h 2183187"/>
                <a:gd name="connsiteX34" fmla="*/ 1586666 w 1900290"/>
                <a:gd name="connsiteY34" fmla="*/ 0 h 2183187"/>
                <a:gd name="connsiteX0" fmla="*/ 818317 w 1900290"/>
                <a:gd name="connsiteY0" fmla="*/ 263524 h 2222539"/>
                <a:gd name="connsiteX1" fmla="*/ 1346954 w 1900290"/>
                <a:gd name="connsiteY1" fmla="*/ 358774 h 2222539"/>
                <a:gd name="connsiteX2" fmla="*/ 1489829 w 1900290"/>
                <a:gd name="connsiteY2" fmla="*/ 484980 h 2222539"/>
                <a:gd name="connsiteX3" fmla="*/ 1413629 w 1900290"/>
                <a:gd name="connsiteY3" fmla="*/ 882649 h 2222539"/>
                <a:gd name="connsiteX4" fmla="*/ 1830348 w 1900290"/>
                <a:gd name="connsiteY4" fmla="*/ 977899 h 2222539"/>
                <a:gd name="connsiteX5" fmla="*/ 1813679 w 1900290"/>
                <a:gd name="connsiteY5" fmla="*/ 1163636 h 2222539"/>
                <a:gd name="connsiteX6" fmla="*/ 1201698 w 1900290"/>
                <a:gd name="connsiteY6" fmla="*/ 987424 h 2222539"/>
                <a:gd name="connsiteX7" fmla="*/ 1177885 w 1900290"/>
                <a:gd name="connsiteY7" fmla="*/ 887411 h 2222539"/>
                <a:gd name="connsiteX8" fmla="*/ 1123117 w 1900290"/>
                <a:gd name="connsiteY8" fmla="*/ 851692 h 2222539"/>
                <a:gd name="connsiteX9" fmla="*/ 968335 w 1900290"/>
                <a:gd name="connsiteY9" fmla="*/ 1025524 h 2222539"/>
                <a:gd name="connsiteX10" fmla="*/ 1215985 w 1900290"/>
                <a:gd name="connsiteY10" fmla="*/ 1239836 h 2222539"/>
                <a:gd name="connsiteX11" fmla="*/ 1239798 w 1900290"/>
                <a:gd name="connsiteY11" fmla="*/ 1339849 h 2222539"/>
                <a:gd name="connsiteX12" fmla="*/ 1223792 w 1900290"/>
                <a:gd name="connsiteY12" fmla="*/ 2180832 h 2222539"/>
                <a:gd name="connsiteX13" fmla="*/ 1072533 w 1900290"/>
                <a:gd name="connsiteY13" fmla="*/ 2154178 h 2222539"/>
                <a:gd name="connsiteX14" fmla="*/ 675442 w 1900290"/>
                <a:gd name="connsiteY14" fmla="*/ 1625599 h 2222539"/>
                <a:gd name="connsiteX15" fmla="*/ 1004054 w 1900290"/>
                <a:gd name="connsiteY15" fmla="*/ 1273174 h 2222539"/>
                <a:gd name="connsiteX16" fmla="*/ 780217 w 1900290"/>
                <a:gd name="connsiteY16" fmla="*/ 1070767 h 2222539"/>
                <a:gd name="connsiteX17" fmla="*/ 532567 w 1900290"/>
                <a:gd name="connsiteY17" fmla="*/ 1254124 h 2222539"/>
                <a:gd name="connsiteX18" fmla="*/ 399217 w 1900290"/>
                <a:gd name="connsiteY18" fmla="*/ 1211261 h 2222539"/>
                <a:gd name="connsiteX19" fmla="*/ 3929 w 1900290"/>
                <a:gd name="connsiteY19" fmla="*/ 832642 h 2222539"/>
                <a:gd name="connsiteX20" fmla="*/ 127754 w 1900290"/>
                <a:gd name="connsiteY20" fmla="*/ 746917 h 2222539"/>
                <a:gd name="connsiteX21" fmla="*/ 470654 w 1900290"/>
                <a:gd name="connsiteY21" fmla="*/ 1061242 h 2222539"/>
                <a:gd name="connsiteX22" fmla="*/ 620673 w 1900290"/>
                <a:gd name="connsiteY22" fmla="*/ 977899 h 2222539"/>
                <a:gd name="connsiteX23" fmla="*/ 668298 w 1900290"/>
                <a:gd name="connsiteY23" fmla="*/ 913605 h 2222539"/>
                <a:gd name="connsiteX24" fmla="*/ 663535 w 1900290"/>
                <a:gd name="connsiteY24" fmla="*/ 815974 h 2222539"/>
                <a:gd name="connsiteX25" fmla="*/ 1023104 w 1900290"/>
                <a:gd name="connsiteY25" fmla="*/ 496886 h 2222539"/>
                <a:gd name="connsiteX26" fmla="*/ 980242 w 1900290"/>
                <a:gd name="connsiteY26" fmla="*/ 442117 h 2222539"/>
                <a:gd name="connsiteX27" fmla="*/ 865942 w 1900290"/>
                <a:gd name="connsiteY27" fmla="*/ 427830 h 2222539"/>
                <a:gd name="connsiteX28" fmla="*/ 458748 w 1900290"/>
                <a:gd name="connsiteY28" fmla="*/ 651667 h 2222539"/>
                <a:gd name="connsiteX29" fmla="*/ 361117 w 1900290"/>
                <a:gd name="connsiteY29" fmla="*/ 513555 h 2222539"/>
                <a:gd name="connsiteX30" fmla="*/ 818317 w 1900290"/>
                <a:gd name="connsiteY30" fmla="*/ 263524 h 2222539"/>
                <a:gd name="connsiteX31" fmla="*/ 1586666 w 1900290"/>
                <a:gd name="connsiteY31" fmla="*/ 0 h 2222539"/>
                <a:gd name="connsiteX32" fmla="*/ 1786691 w 1900290"/>
                <a:gd name="connsiteY32" fmla="*/ 200025 h 2222539"/>
                <a:gd name="connsiteX33" fmla="*/ 1586666 w 1900290"/>
                <a:gd name="connsiteY33" fmla="*/ 400050 h 2222539"/>
                <a:gd name="connsiteX34" fmla="*/ 1386641 w 1900290"/>
                <a:gd name="connsiteY34" fmla="*/ 200025 h 2222539"/>
                <a:gd name="connsiteX35" fmla="*/ 1586666 w 1900290"/>
                <a:gd name="connsiteY35" fmla="*/ 0 h 2222539"/>
                <a:gd name="connsiteX0" fmla="*/ 818317 w 1900290"/>
                <a:gd name="connsiteY0" fmla="*/ 263524 h 2245282"/>
                <a:gd name="connsiteX1" fmla="*/ 1346954 w 1900290"/>
                <a:gd name="connsiteY1" fmla="*/ 358774 h 2245282"/>
                <a:gd name="connsiteX2" fmla="*/ 1489829 w 1900290"/>
                <a:gd name="connsiteY2" fmla="*/ 484980 h 2245282"/>
                <a:gd name="connsiteX3" fmla="*/ 1413629 w 1900290"/>
                <a:gd name="connsiteY3" fmla="*/ 882649 h 2245282"/>
                <a:gd name="connsiteX4" fmla="*/ 1830348 w 1900290"/>
                <a:gd name="connsiteY4" fmla="*/ 977899 h 2245282"/>
                <a:gd name="connsiteX5" fmla="*/ 1813679 w 1900290"/>
                <a:gd name="connsiteY5" fmla="*/ 1163636 h 2245282"/>
                <a:gd name="connsiteX6" fmla="*/ 1201698 w 1900290"/>
                <a:gd name="connsiteY6" fmla="*/ 987424 h 2245282"/>
                <a:gd name="connsiteX7" fmla="*/ 1177885 w 1900290"/>
                <a:gd name="connsiteY7" fmla="*/ 887411 h 2245282"/>
                <a:gd name="connsiteX8" fmla="*/ 1123117 w 1900290"/>
                <a:gd name="connsiteY8" fmla="*/ 851692 h 2245282"/>
                <a:gd name="connsiteX9" fmla="*/ 968335 w 1900290"/>
                <a:gd name="connsiteY9" fmla="*/ 1025524 h 2245282"/>
                <a:gd name="connsiteX10" fmla="*/ 1215985 w 1900290"/>
                <a:gd name="connsiteY10" fmla="*/ 1239836 h 2245282"/>
                <a:gd name="connsiteX11" fmla="*/ 1239798 w 1900290"/>
                <a:gd name="connsiteY11" fmla="*/ 1339849 h 2245282"/>
                <a:gd name="connsiteX12" fmla="*/ 1223792 w 1900290"/>
                <a:gd name="connsiteY12" fmla="*/ 2180832 h 2245282"/>
                <a:gd name="connsiteX13" fmla="*/ 1072533 w 1900290"/>
                <a:gd name="connsiteY13" fmla="*/ 2154178 h 2245282"/>
                <a:gd name="connsiteX14" fmla="*/ 1004054 w 1900290"/>
                <a:gd name="connsiteY14" fmla="*/ 1273174 h 2245282"/>
                <a:gd name="connsiteX15" fmla="*/ 780217 w 1900290"/>
                <a:gd name="connsiteY15" fmla="*/ 1070767 h 2245282"/>
                <a:gd name="connsiteX16" fmla="*/ 532567 w 1900290"/>
                <a:gd name="connsiteY16" fmla="*/ 1254124 h 2245282"/>
                <a:gd name="connsiteX17" fmla="*/ 399217 w 1900290"/>
                <a:gd name="connsiteY17" fmla="*/ 1211261 h 2245282"/>
                <a:gd name="connsiteX18" fmla="*/ 3929 w 1900290"/>
                <a:gd name="connsiteY18" fmla="*/ 832642 h 2245282"/>
                <a:gd name="connsiteX19" fmla="*/ 127754 w 1900290"/>
                <a:gd name="connsiteY19" fmla="*/ 746917 h 2245282"/>
                <a:gd name="connsiteX20" fmla="*/ 470654 w 1900290"/>
                <a:gd name="connsiteY20" fmla="*/ 1061242 h 2245282"/>
                <a:gd name="connsiteX21" fmla="*/ 620673 w 1900290"/>
                <a:gd name="connsiteY21" fmla="*/ 977899 h 2245282"/>
                <a:gd name="connsiteX22" fmla="*/ 668298 w 1900290"/>
                <a:gd name="connsiteY22" fmla="*/ 913605 h 2245282"/>
                <a:gd name="connsiteX23" fmla="*/ 663535 w 1900290"/>
                <a:gd name="connsiteY23" fmla="*/ 815974 h 2245282"/>
                <a:gd name="connsiteX24" fmla="*/ 1023104 w 1900290"/>
                <a:gd name="connsiteY24" fmla="*/ 496886 h 2245282"/>
                <a:gd name="connsiteX25" fmla="*/ 980242 w 1900290"/>
                <a:gd name="connsiteY25" fmla="*/ 442117 h 2245282"/>
                <a:gd name="connsiteX26" fmla="*/ 865942 w 1900290"/>
                <a:gd name="connsiteY26" fmla="*/ 427830 h 2245282"/>
                <a:gd name="connsiteX27" fmla="*/ 458748 w 1900290"/>
                <a:gd name="connsiteY27" fmla="*/ 651667 h 2245282"/>
                <a:gd name="connsiteX28" fmla="*/ 361117 w 1900290"/>
                <a:gd name="connsiteY28" fmla="*/ 513555 h 2245282"/>
                <a:gd name="connsiteX29" fmla="*/ 818317 w 1900290"/>
                <a:gd name="connsiteY29" fmla="*/ 263524 h 2245282"/>
                <a:gd name="connsiteX30" fmla="*/ 1586666 w 1900290"/>
                <a:gd name="connsiteY30" fmla="*/ 0 h 2245282"/>
                <a:gd name="connsiteX31" fmla="*/ 1786691 w 1900290"/>
                <a:gd name="connsiteY31" fmla="*/ 200025 h 2245282"/>
                <a:gd name="connsiteX32" fmla="*/ 1586666 w 1900290"/>
                <a:gd name="connsiteY32" fmla="*/ 400050 h 2245282"/>
                <a:gd name="connsiteX33" fmla="*/ 1386641 w 1900290"/>
                <a:gd name="connsiteY33" fmla="*/ 200025 h 2245282"/>
                <a:gd name="connsiteX34" fmla="*/ 1586666 w 1900290"/>
                <a:gd name="connsiteY34" fmla="*/ 0 h 2245282"/>
                <a:gd name="connsiteX0" fmla="*/ 818317 w 1900290"/>
                <a:gd name="connsiteY0" fmla="*/ 263524 h 2238405"/>
                <a:gd name="connsiteX1" fmla="*/ 1346954 w 1900290"/>
                <a:gd name="connsiteY1" fmla="*/ 358774 h 2238405"/>
                <a:gd name="connsiteX2" fmla="*/ 1489829 w 1900290"/>
                <a:gd name="connsiteY2" fmla="*/ 484980 h 2238405"/>
                <a:gd name="connsiteX3" fmla="*/ 1413629 w 1900290"/>
                <a:gd name="connsiteY3" fmla="*/ 882649 h 2238405"/>
                <a:gd name="connsiteX4" fmla="*/ 1830348 w 1900290"/>
                <a:gd name="connsiteY4" fmla="*/ 977899 h 2238405"/>
                <a:gd name="connsiteX5" fmla="*/ 1813679 w 1900290"/>
                <a:gd name="connsiteY5" fmla="*/ 1163636 h 2238405"/>
                <a:gd name="connsiteX6" fmla="*/ 1201698 w 1900290"/>
                <a:gd name="connsiteY6" fmla="*/ 987424 h 2238405"/>
                <a:gd name="connsiteX7" fmla="*/ 1177885 w 1900290"/>
                <a:gd name="connsiteY7" fmla="*/ 887411 h 2238405"/>
                <a:gd name="connsiteX8" fmla="*/ 1123117 w 1900290"/>
                <a:gd name="connsiteY8" fmla="*/ 851692 h 2238405"/>
                <a:gd name="connsiteX9" fmla="*/ 968335 w 1900290"/>
                <a:gd name="connsiteY9" fmla="*/ 1025524 h 2238405"/>
                <a:gd name="connsiteX10" fmla="*/ 1215985 w 1900290"/>
                <a:gd name="connsiteY10" fmla="*/ 1239836 h 2238405"/>
                <a:gd name="connsiteX11" fmla="*/ 1239798 w 1900290"/>
                <a:gd name="connsiteY11" fmla="*/ 1339849 h 2238405"/>
                <a:gd name="connsiteX12" fmla="*/ 1215321 w 1900290"/>
                <a:gd name="connsiteY12" fmla="*/ 2163534 h 2238405"/>
                <a:gd name="connsiteX13" fmla="*/ 1072533 w 1900290"/>
                <a:gd name="connsiteY13" fmla="*/ 2154178 h 2238405"/>
                <a:gd name="connsiteX14" fmla="*/ 1004054 w 1900290"/>
                <a:gd name="connsiteY14" fmla="*/ 1273174 h 2238405"/>
                <a:gd name="connsiteX15" fmla="*/ 780217 w 1900290"/>
                <a:gd name="connsiteY15" fmla="*/ 1070767 h 2238405"/>
                <a:gd name="connsiteX16" fmla="*/ 532567 w 1900290"/>
                <a:gd name="connsiteY16" fmla="*/ 1254124 h 2238405"/>
                <a:gd name="connsiteX17" fmla="*/ 399217 w 1900290"/>
                <a:gd name="connsiteY17" fmla="*/ 1211261 h 2238405"/>
                <a:gd name="connsiteX18" fmla="*/ 3929 w 1900290"/>
                <a:gd name="connsiteY18" fmla="*/ 832642 h 2238405"/>
                <a:gd name="connsiteX19" fmla="*/ 127754 w 1900290"/>
                <a:gd name="connsiteY19" fmla="*/ 746917 h 2238405"/>
                <a:gd name="connsiteX20" fmla="*/ 470654 w 1900290"/>
                <a:gd name="connsiteY20" fmla="*/ 1061242 h 2238405"/>
                <a:gd name="connsiteX21" fmla="*/ 620673 w 1900290"/>
                <a:gd name="connsiteY21" fmla="*/ 977899 h 2238405"/>
                <a:gd name="connsiteX22" fmla="*/ 668298 w 1900290"/>
                <a:gd name="connsiteY22" fmla="*/ 913605 h 2238405"/>
                <a:gd name="connsiteX23" fmla="*/ 663535 w 1900290"/>
                <a:gd name="connsiteY23" fmla="*/ 815974 h 2238405"/>
                <a:gd name="connsiteX24" fmla="*/ 1023104 w 1900290"/>
                <a:gd name="connsiteY24" fmla="*/ 496886 h 2238405"/>
                <a:gd name="connsiteX25" fmla="*/ 980242 w 1900290"/>
                <a:gd name="connsiteY25" fmla="*/ 442117 h 2238405"/>
                <a:gd name="connsiteX26" fmla="*/ 865942 w 1900290"/>
                <a:gd name="connsiteY26" fmla="*/ 427830 h 2238405"/>
                <a:gd name="connsiteX27" fmla="*/ 458748 w 1900290"/>
                <a:gd name="connsiteY27" fmla="*/ 651667 h 2238405"/>
                <a:gd name="connsiteX28" fmla="*/ 361117 w 1900290"/>
                <a:gd name="connsiteY28" fmla="*/ 513555 h 2238405"/>
                <a:gd name="connsiteX29" fmla="*/ 818317 w 1900290"/>
                <a:gd name="connsiteY29" fmla="*/ 263524 h 2238405"/>
                <a:gd name="connsiteX30" fmla="*/ 1586666 w 1900290"/>
                <a:gd name="connsiteY30" fmla="*/ 0 h 2238405"/>
                <a:gd name="connsiteX31" fmla="*/ 1786691 w 1900290"/>
                <a:gd name="connsiteY31" fmla="*/ 200025 h 2238405"/>
                <a:gd name="connsiteX32" fmla="*/ 1586666 w 1900290"/>
                <a:gd name="connsiteY32" fmla="*/ 400050 h 2238405"/>
                <a:gd name="connsiteX33" fmla="*/ 1386641 w 1900290"/>
                <a:gd name="connsiteY33" fmla="*/ 200025 h 2238405"/>
                <a:gd name="connsiteX34" fmla="*/ 1586666 w 1900290"/>
                <a:gd name="connsiteY34" fmla="*/ 0 h 2238405"/>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27786"/>
                <a:gd name="connsiteX1" fmla="*/ 1346954 w 1900290"/>
                <a:gd name="connsiteY1" fmla="*/ 358774 h 2227786"/>
                <a:gd name="connsiteX2" fmla="*/ 1489829 w 1900290"/>
                <a:gd name="connsiteY2" fmla="*/ 484980 h 2227786"/>
                <a:gd name="connsiteX3" fmla="*/ 1413629 w 1900290"/>
                <a:gd name="connsiteY3" fmla="*/ 882649 h 2227786"/>
                <a:gd name="connsiteX4" fmla="*/ 1830348 w 1900290"/>
                <a:gd name="connsiteY4" fmla="*/ 977899 h 2227786"/>
                <a:gd name="connsiteX5" fmla="*/ 1813679 w 1900290"/>
                <a:gd name="connsiteY5" fmla="*/ 1163636 h 2227786"/>
                <a:gd name="connsiteX6" fmla="*/ 1201698 w 1900290"/>
                <a:gd name="connsiteY6" fmla="*/ 987424 h 2227786"/>
                <a:gd name="connsiteX7" fmla="*/ 1177885 w 1900290"/>
                <a:gd name="connsiteY7" fmla="*/ 887411 h 2227786"/>
                <a:gd name="connsiteX8" fmla="*/ 1123117 w 1900290"/>
                <a:gd name="connsiteY8" fmla="*/ 851692 h 2227786"/>
                <a:gd name="connsiteX9" fmla="*/ 968335 w 1900290"/>
                <a:gd name="connsiteY9" fmla="*/ 1025524 h 2227786"/>
                <a:gd name="connsiteX10" fmla="*/ 1215985 w 1900290"/>
                <a:gd name="connsiteY10" fmla="*/ 1239836 h 2227786"/>
                <a:gd name="connsiteX11" fmla="*/ 1239798 w 1900290"/>
                <a:gd name="connsiteY11" fmla="*/ 1339849 h 2227786"/>
                <a:gd name="connsiteX12" fmla="*/ 1215321 w 1900290"/>
                <a:gd name="connsiteY12" fmla="*/ 2163534 h 2227786"/>
                <a:gd name="connsiteX13" fmla="*/ 1072533 w 1900290"/>
                <a:gd name="connsiteY13" fmla="*/ 2154178 h 2227786"/>
                <a:gd name="connsiteX14" fmla="*/ 1004054 w 1900290"/>
                <a:gd name="connsiteY14" fmla="*/ 1273174 h 2227786"/>
                <a:gd name="connsiteX15" fmla="*/ 780217 w 1900290"/>
                <a:gd name="connsiteY15" fmla="*/ 1070767 h 2227786"/>
                <a:gd name="connsiteX16" fmla="*/ 532567 w 1900290"/>
                <a:gd name="connsiteY16" fmla="*/ 1254124 h 2227786"/>
                <a:gd name="connsiteX17" fmla="*/ 399217 w 1900290"/>
                <a:gd name="connsiteY17" fmla="*/ 1211261 h 2227786"/>
                <a:gd name="connsiteX18" fmla="*/ 3929 w 1900290"/>
                <a:gd name="connsiteY18" fmla="*/ 832642 h 2227786"/>
                <a:gd name="connsiteX19" fmla="*/ 127754 w 1900290"/>
                <a:gd name="connsiteY19" fmla="*/ 746917 h 2227786"/>
                <a:gd name="connsiteX20" fmla="*/ 470654 w 1900290"/>
                <a:gd name="connsiteY20" fmla="*/ 1061242 h 2227786"/>
                <a:gd name="connsiteX21" fmla="*/ 620673 w 1900290"/>
                <a:gd name="connsiteY21" fmla="*/ 977899 h 2227786"/>
                <a:gd name="connsiteX22" fmla="*/ 668298 w 1900290"/>
                <a:gd name="connsiteY22" fmla="*/ 913605 h 2227786"/>
                <a:gd name="connsiteX23" fmla="*/ 663535 w 1900290"/>
                <a:gd name="connsiteY23" fmla="*/ 815974 h 2227786"/>
                <a:gd name="connsiteX24" fmla="*/ 1023104 w 1900290"/>
                <a:gd name="connsiteY24" fmla="*/ 496886 h 2227786"/>
                <a:gd name="connsiteX25" fmla="*/ 980242 w 1900290"/>
                <a:gd name="connsiteY25" fmla="*/ 442117 h 2227786"/>
                <a:gd name="connsiteX26" fmla="*/ 865942 w 1900290"/>
                <a:gd name="connsiteY26" fmla="*/ 427830 h 2227786"/>
                <a:gd name="connsiteX27" fmla="*/ 458748 w 1900290"/>
                <a:gd name="connsiteY27" fmla="*/ 651667 h 2227786"/>
                <a:gd name="connsiteX28" fmla="*/ 361117 w 1900290"/>
                <a:gd name="connsiteY28" fmla="*/ 513555 h 2227786"/>
                <a:gd name="connsiteX29" fmla="*/ 818317 w 1900290"/>
                <a:gd name="connsiteY29" fmla="*/ 263524 h 2227786"/>
                <a:gd name="connsiteX30" fmla="*/ 1586666 w 1900290"/>
                <a:gd name="connsiteY30" fmla="*/ 0 h 2227786"/>
                <a:gd name="connsiteX31" fmla="*/ 1786691 w 1900290"/>
                <a:gd name="connsiteY31" fmla="*/ 200025 h 2227786"/>
                <a:gd name="connsiteX32" fmla="*/ 1586666 w 1900290"/>
                <a:gd name="connsiteY32" fmla="*/ 400050 h 2227786"/>
                <a:gd name="connsiteX33" fmla="*/ 1386641 w 1900290"/>
                <a:gd name="connsiteY33" fmla="*/ 200025 h 2227786"/>
                <a:gd name="connsiteX34" fmla="*/ 1586666 w 1900290"/>
                <a:gd name="connsiteY34" fmla="*/ 0 h 2227786"/>
                <a:gd name="connsiteX0" fmla="*/ 818317 w 1900290"/>
                <a:gd name="connsiteY0" fmla="*/ 263524 h 2219442"/>
                <a:gd name="connsiteX1" fmla="*/ 1346954 w 1900290"/>
                <a:gd name="connsiteY1" fmla="*/ 358774 h 2219442"/>
                <a:gd name="connsiteX2" fmla="*/ 1489829 w 1900290"/>
                <a:gd name="connsiteY2" fmla="*/ 484980 h 2219442"/>
                <a:gd name="connsiteX3" fmla="*/ 1413629 w 1900290"/>
                <a:gd name="connsiteY3" fmla="*/ 882649 h 2219442"/>
                <a:gd name="connsiteX4" fmla="*/ 1830348 w 1900290"/>
                <a:gd name="connsiteY4" fmla="*/ 977899 h 2219442"/>
                <a:gd name="connsiteX5" fmla="*/ 1813679 w 1900290"/>
                <a:gd name="connsiteY5" fmla="*/ 1163636 h 2219442"/>
                <a:gd name="connsiteX6" fmla="*/ 1201698 w 1900290"/>
                <a:gd name="connsiteY6" fmla="*/ 987424 h 2219442"/>
                <a:gd name="connsiteX7" fmla="*/ 1177885 w 1900290"/>
                <a:gd name="connsiteY7" fmla="*/ 887411 h 2219442"/>
                <a:gd name="connsiteX8" fmla="*/ 1123117 w 1900290"/>
                <a:gd name="connsiteY8" fmla="*/ 851692 h 2219442"/>
                <a:gd name="connsiteX9" fmla="*/ 968335 w 1900290"/>
                <a:gd name="connsiteY9" fmla="*/ 1025524 h 2219442"/>
                <a:gd name="connsiteX10" fmla="*/ 1215985 w 1900290"/>
                <a:gd name="connsiteY10" fmla="*/ 1239836 h 2219442"/>
                <a:gd name="connsiteX11" fmla="*/ 1239798 w 1900290"/>
                <a:gd name="connsiteY11" fmla="*/ 1339849 h 2219442"/>
                <a:gd name="connsiteX12" fmla="*/ 1215321 w 1900290"/>
                <a:gd name="connsiteY12" fmla="*/ 2163534 h 2219442"/>
                <a:gd name="connsiteX13" fmla="*/ 1072533 w 1900290"/>
                <a:gd name="connsiteY13" fmla="*/ 2154178 h 2219442"/>
                <a:gd name="connsiteX14" fmla="*/ 1004054 w 1900290"/>
                <a:gd name="connsiteY14" fmla="*/ 1273174 h 2219442"/>
                <a:gd name="connsiteX15" fmla="*/ 780217 w 1900290"/>
                <a:gd name="connsiteY15" fmla="*/ 1070767 h 2219442"/>
                <a:gd name="connsiteX16" fmla="*/ 532567 w 1900290"/>
                <a:gd name="connsiteY16" fmla="*/ 1254124 h 2219442"/>
                <a:gd name="connsiteX17" fmla="*/ 399217 w 1900290"/>
                <a:gd name="connsiteY17" fmla="*/ 1211261 h 2219442"/>
                <a:gd name="connsiteX18" fmla="*/ 3929 w 1900290"/>
                <a:gd name="connsiteY18" fmla="*/ 832642 h 2219442"/>
                <a:gd name="connsiteX19" fmla="*/ 127754 w 1900290"/>
                <a:gd name="connsiteY19" fmla="*/ 746917 h 2219442"/>
                <a:gd name="connsiteX20" fmla="*/ 470654 w 1900290"/>
                <a:gd name="connsiteY20" fmla="*/ 1061242 h 2219442"/>
                <a:gd name="connsiteX21" fmla="*/ 620673 w 1900290"/>
                <a:gd name="connsiteY21" fmla="*/ 977899 h 2219442"/>
                <a:gd name="connsiteX22" fmla="*/ 668298 w 1900290"/>
                <a:gd name="connsiteY22" fmla="*/ 913605 h 2219442"/>
                <a:gd name="connsiteX23" fmla="*/ 663535 w 1900290"/>
                <a:gd name="connsiteY23" fmla="*/ 815974 h 2219442"/>
                <a:gd name="connsiteX24" fmla="*/ 1023104 w 1900290"/>
                <a:gd name="connsiteY24" fmla="*/ 496886 h 2219442"/>
                <a:gd name="connsiteX25" fmla="*/ 980242 w 1900290"/>
                <a:gd name="connsiteY25" fmla="*/ 442117 h 2219442"/>
                <a:gd name="connsiteX26" fmla="*/ 865942 w 1900290"/>
                <a:gd name="connsiteY26" fmla="*/ 427830 h 2219442"/>
                <a:gd name="connsiteX27" fmla="*/ 458748 w 1900290"/>
                <a:gd name="connsiteY27" fmla="*/ 651667 h 2219442"/>
                <a:gd name="connsiteX28" fmla="*/ 361117 w 1900290"/>
                <a:gd name="connsiteY28" fmla="*/ 513555 h 2219442"/>
                <a:gd name="connsiteX29" fmla="*/ 818317 w 1900290"/>
                <a:gd name="connsiteY29" fmla="*/ 263524 h 2219442"/>
                <a:gd name="connsiteX30" fmla="*/ 1586666 w 1900290"/>
                <a:gd name="connsiteY30" fmla="*/ 0 h 2219442"/>
                <a:gd name="connsiteX31" fmla="*/ 1786691 w 1900290"/>
                <a:gd name="connsiteY31" fmla="*/ 200025 h 2219442"/>
                <a:gd name="connsiteX32" fmla="*/ 1586666 w 1900290"/>
                <a:gd name="connsiteY32" fmla="*/ 400050 h 2219442"/>
                <a:gd name="connsiteX33" fmla="*/ 1386641 w 1900290"/>
                <a:gd name="connsiteY33" fmla="*/ 200025 h 2219442"/>
                <a:gd name="connsiteX34" fmla="*/ 1586666 w 1900290"/>
                <a:gd name="connsiteY34" fmla="*/ 0 h 2219442"/>
                <a:gd name="connsiteX0" fmla="*/ 818317 w 1900290"/>
                <a:gd name="connsiteY0" fmla="*/ 263524 h 2181484"/>
                <a:gd name="connsiteX1" fmla="*/ 1346954 w 1900290"/>
                <a:gd name="connsiteY1" fmla="*/ 358774 h 2181484"/>
                <a:gd name="connsiteX2" fmla="*/ 1489829 w 1900290"/>
                <a:gd name="connsiteY2" fmla="*/ 484980 h 2181484"/>
                <a:gd name="connsiteX3" fmla="*/ 1413629 w 1900290"/>
                <a:gd name="connsiteY3" fmla="*/ 882649 h 2181484"/>
                <a:gd name="connsiteX4" fmla="*/ 1830348 w 1900290"/>
                <a:gd name="connsiteY4" fmla="*/ 977899 h 2181484"/>
                <a:gd name="connsiteX5" fmla="*/ 1813679 w 1900290"/>
                <a:gd name="connsiteY5" fmla="*/ 1163636 h 2181484"/>
                <a:gd name="connsiteX6" fmla="*/ 1201698 w 1900290"/>
                <a:gd name="connsiteY6" fmla="*/ 987424 h 2181484"/>
                <a:gd name="connsiteX7" fmla="*/ 1177885 w 1900290"/>
                <a:gd name="connsiteY7" fmla="*/ 887411 h 2181484"/>
                <a:gd name="connsiteX8" fmla="*/ 1123117 w 1900290"/>
                <a:gd name="connsiteY8" fmla="*/ 851692 h 2181484"/>
                <a:gd name="connsiteX9" fmla="*/ 968335 w 1900290"/>
                <a:gd name="connsiteY9" fmla="*/ 1025524 h 2181484"/>
                <a:gd name="connsiteX10" fmla="*/ 1215985 w 1900290"/>
                <a:gd name="connsiteY10" fmla="*/ 1239836 h 2181484"/>
                <a:gd name="connsiteX11" fmla="*/ 1239798 w 1900290"/>
                <a:gd name="connsiteY11" fmla="*/ 1339849 h 2181484"/>
                <a:gd name="connsiteX12" fmla="*/ 1215321 w 1900290"/>
                <a:gd name="connsiteY12" fmla="*/ 2163534 h 2181484"/>
                <a:gd name="connsiteX13" fmla="*/ 1062993 w 1900290"/>
                <a:gd name="connsiteY13" fmla="*/ 1915802 h 2181484"/>
                <a:gd name="connsiteX14" fmla="*/ 1004054 w 1900290"/>
                <a:gd name="connsiteY14" fmla="*/ 1273174 h 2181484"/>
                <a:gd name="connsiteX15" fmla="*/ 780217 w 1900290"/>
                <a:gd name="connsiteY15" fmla="*/ 1070767 h 2181484"/>
                <a:gd name="connsiteX16" fmla="*/ 532567 w 1900290"/>
                <a:gd name="connsiteY16" fmla="*/ 1254124 h 2181484"/>
                <a:gd name="connsiteX17" fmla="*/ 399217 w 1900290"/>
                <a:gd name="connsiteY17" fmla="*/ 1211261 h 2181484"/>
                <a:gd name="connsiteX18" fmla="*/ 3929 w 1900290"/>
                <a:gd name="connsiteY18" fmla="*/ 832642 h 2181484"/>
                <a:gd name="connsiteX19" fmla="*/ 127754 w 1900290"/>
                <a:gd name="connsiteY19" fmla="*/ 746917 h 2181484"/>
                <a:gd name="connsiteX20" fmla="*/ 470654 w 1900290"/>
                <a:gd name="connsiteY20" fmla="*/ 1061242 h 2181484"/>
                <a:gd name="connsiteX21" fmla="*/ 620673 w 1900290"/>
                <a:gd name="connsiteY21" fmla="*/ 977899 h 2181484"/>
                <a:gd name="connsiteX22" fmla="*/ 668298 w 1900290"/>
                <a:gd name="connsiteY22" fmla="*/ 913605 h 2181484"/>
                <a:gd name="connsiteX23" fmla="*/ 663535 w 1900290"/>
                <a:gd name="connsiteY23" fmla="*/ 815974 h 2181484"/>
                <a:gd name="connsiteX24" fmla="*/ 1023104 w 1900290"/>
                <a:gd name="connsiteY24" fmla="*/ 496886 h 2181484"/>
                <a:gd name="connsiteX25" fmla="*/ 980242 w 1900290"/>
                <a:gd name="connsiteY25" fmla="*/ 442117 h 2181484"/>
                <a:gd name="connsiteX26" fmla="*/ 865942 w 1900290"/>
                <a:gd name="connsiteY26" fmla="*/ 427830 h 2181484"/>
                <a:gd name="connsiteX27" fmla="*/ 458748 w 1900290"/>
                <a:gd name="connsiteY27" fmla="*/ 651667 h 2181484"/>
                <a:gd name="connsiteX28" fmla="*/ 361117 w 1900290"/>
                <a:gd name="connsiteY28" fmla="*/ 513555 h 2181484"/>
                <a:gd name="connsiteX29" fmla="*/ 818317 w 1900290"/>
                <a:gd name="connsiteY29" fmla="*/ 263524 h 2181484"/>
                <a:gd name="connsiteX30" fmla="*/ 1586666 w 1900290"/>
                <a:gd name="connsiteY30" fmla="*/ 0 h 2181484"/>
                <a:gd name="connsiteX31" fmla="*/ 1786691 w 1900290"/>
                <a:gd name="connsiteY31" fmla="*/ 200025 h 2181484"/>
                <a:gd name="connsiteX32" fmla="*/ 1586666 w 1900290"/>
                <a:gd name="connsiteY32" fmla="*/ 400050 h 2181484"/>
                <a:gd name="connsiteX33" fmla="*/ 1386641 w 1900290"/>
                <a:gd name="connsiteY33" fmla="*/ 200025 h 2181484"/>
                <a:gd name="connsiteX34" fmla="*/ 1586666 w 1900290"/>
                <a:gd name="connsiteY34" fmla="*/ 0 h 2181484"/>
                <a:gd name="connsiteX0" fmla="*/ 818317 w 1900290"/>
                <a:gd name="connsiteY0" fmla="*/ 263524 h 1967526"/>
                <a:gd name="connsiteX1" fmla="*/ 1346954 w 1900290"/>
                <a:gd name="connsiteY1" fmla="*/ 358774 h 1967526"/>
                <a:gd name="connsiteX2" fmla="*/ 1489829 w 1900290"/>
                <a:gd name="connsiteY2" fmla="*/ 484980 h 1967526"/>
                <a:gd name="connsiteX3" fmla="*/ 1413629 w 1900290"/>
                <a:gd name="connsiteY3" fmla="*/ 882649 h 1967526"/>
                <a:gd name="connsiteX4" fmla="*/ 1830348 w 1900290"/>
                <a:gd name="connsiteY4" fmla="*/ 977899 h 1967526"/>
                <a:gd name="connsiteX5" fmla="*/ 1813679 w 1900290"/>
                <a:gd name="connsiteY5" fmla="*/ 1163636 h 1967526"/>
                <a:gd name="connsiteX6" fmla="*/ 1201698 w 1900290"/>
                <a:gd name="connsiteY6" fmla="*/ 987424 h 1967526"/>
                <a:gd name="connsiteX7" fmla="*/ 1177885 w 1900290"/>
                <a:gd name="connsiteY7" fmla="*/ 887411 h 1967526"/>
                <a:gd name="connsiteX8" fmla="*/ 1123117 w 1900290"/>
                <a:gd name="connsiteY8" fmla="*/ 851692 h 1967526"/>
                <a:gd name="connsiteX9" fmla="*/ 968335 w 1900290"/>
                <a:gd name="connsiteY9" fmla="*/ 1025524 h 1967526"/>
                <a:gd name="connsiteX10" fmla="*/ 1215985 w 1900290"/>
                <a:gd name="connsiteY10" fmla="*/ 1239836 h 1967526"/>
                <a:gd name="connsiteX11" fmla="*/ 1239798 w 1900290"/>
                <a:gd name="connsiteY11" fmla="*/ 1339849 h 1967526"/>
                <a:gd name="connsiteX12" fmla="*/ 1214609 w 1900290"/>
                <a:gd name="connsiteY12" fmla="*/ 1899389 h 1967526"/>
                <a:gd name="connsiteX13" fmla="*/ 1062993 w 1900290"/>
                <a:gd name="connsiteY13" fmla="*/ 1915802 h 1967526"/>
                <a:gd name="connsiteX14" fmla="*/ 1004054 w 1900290"/>
                <a:gd name="connsiteY14" fmla="*/ 1273174 h 1967526"/>
                <a:gd name="connsiteX15" fmla="*/ 780217 w 1900290"/>
                <a:gd name="connsiteY15" fmla="*/ 1070767 h 1967526"/>
                <a:gd name="connsiteX16" fmla="*/ 532567 w 1900290"/>
                <a:gd name="connsiteY16" fmla="*/ 1254124 h 1967526"/>
                <a:gd name="connsiteX17" fmla="*/ 399217 w 1900290"/>
                <a:gd name="connsiteY17" fmla="*/ 1211261 h 1967526"/>
                <a:gd name="connsiteX18" fmla="*/ 3929 w 1900290"/>
                <a:gd name="connsiteY18" fmla="*/ 832642 h 1967526"/>
                <a:gd name="connsiteX19" fmla="*/ 127754 w 1900290"/>
                <a:gd name="connsiteY19" fmla="*/ 746917 h 1967526"/>
                <a:gd name="connsiteX20" fmla="*/ 470654 w 1900290"/>
                <a:gd name="connsiteY20" fmla="*/ 1061242 h 1967526"/>
                <a:gd name="connsiteX21" fmla="*/ 620673 w 1900290"/>
                <a:gd name="connsiteY21" fmla="*/ 977899 h 1967526"/>
                <a:gd name="connsiteX22" fmla="*/ 668298 w 1900290"/>
                <a:gd name="connsiteY22" fmla="*/ 913605 h 1967526"/>
                <a:gd name="connsiteX23" fmla="*/ 663535 w 1900290"/>
                <a:gd name="connsiteY23" fmla="*/ 815974 h 1967526"/>
                <a:gd name="connsiteX24" fmla="*/ 1023104 w 1900290"/>
                <a:gd name="connsiteY24" fmla="*/ 496886 h 1967526"/>
                <a:gd name="connsiteX25" fmla="*/ 980242 w 1900290"/>
                <a:gd name="connsiteY25" fmla="*/ 442117 h 1967526"/>
                <a:gd name="connsiteX26" fmla="*/ 865942 w 1900290"/>
                <a:gd name="connsiteY26" fmla="*/ 427830 h 1967526"/>
                <a:gd name="connsiteX27" fmla="*/ 458748 w 1900290"/>
                <a:gd name="connsiteY27" fmla="*/ 651667 h 1967526"/>
                <a:gd name="connsiteX28" fmla="*/ 361117 w 1900290"/>
                <a:gd name="connsiteY28" fmla="*/ 513555 h 1967526"/>
                <a:gd name="connsiteX29" fmla="*/ 818317 w 1900290"/>
                <a:gd name="connsiteY29" fmla="*/ 263524 h 1967526"/>
                <a:gd name="connsiteX30" fmla="*/ 1586666 w 1900290"/>
                <a:gd name="connsiteY30" fmla="*/ 0 h 1967526"/>
                <a:gd name="connsiteX31" fmla="*/ 1786691 w 1900290"/>
                <a:gd name="connsiteY31" fmla="*/ 200025 h 1967526"/>
                <a:gd name="connsiteX32" fmla="*/ 1586666 w 1900290"/>
                <a:gd name="connsiteY32" fmla="*/ 400050 h 1967526"/>
                <a:gd name="connsiteX33" fmla="*/ 1386641 w 1900290"/>
                <a:gd name="connsiteY33" fmla="*/ 200025 h 1967526"/>
                <a:gd name="connsiteX34" fmla="*/ 1586666 w 1900290"/>
                <a:gd name="connsiteY34" fmla="*/ 0 h 1967526"/>
                <a:gd name="connsiteX0" fmla="*/ 818317 w 1900290"/>
                <a:gd name="connsiteY0" fmla="*/ 263524 h 1967526"/>
                <a:gd name="connsiteX1" fmla="*/ 1346954 w 1900290"/>
                <a:gd name="connsiteY1" fmla="*/ 358774 h 1967526"/>
                <a:gd name="connsiteX2" fmla="*/ 1489829 w 1900290"/>
                <a:gd name="connsiteY2" fmla="*/ 484980 h 1967526"/>
                <a:gd name="connsiteX3" fmla="*/ 1413629 w 1900290"/>
                <a:gd name="connsiteY3" fmla="*/ 882649 h 1967526"/>
                <a:gd name="connsiteX4" fmla="*/ 1830348 w 1900290"/>
                <a:gd name="connsiteY4" fmla="*/ 977899 h 1967526"/>
                <a:gd name="connsiteX5" fmla="*/ 1813679 w 1900290"/>
                <a:gd name="connsiteY5" fmla="*/ 1163636 h 1967526"/>
                <a:gd name="connsiteX6" fmla="*/ 1201698 w 1900290"/>
                <a:gd name="connsiteY6" fmla="*/ 987424 h 1967526"/>
                <a:gd name="connsiteX7" fmla="*/ 1177885 w 1900290"/>
                <a:gd name="connsiteY7" fmla="*/ 887411 h 1967526"/>
                <a:gd name="connsiteX8" fmla="*/ 1123117 w 1900290"/>
                <a:gd name="connsiteY8" fmla="*/ 851692 h 1967526"/>
                <a:gd name="connsiteX9" fmla="*/ 968335 w 1900290"/>
                <a:gd name="connsiteY9" fmla="*/ 1025524 h 1967526"/>
                <a:gd name="connsiteX10" fmla="*/ 1215985 w 1900290"/>
                <a:gd name="connsiteY10" fmla="*/ 1239836 h 1967526"/>
                <a:gd name="connsiteX11" fmla="*/ 1239798 w 1900290"/>
                <a:gd name="connsiteY11" fmla="*/ 1339849 h 1967526"/>
                <a:gd name="connsiteX12" fmla="*/ 1214609 w 1900290"/>
                <a:gd name="connsiteY12" fmla="*/ 1899389 h 1967526"/>
                <a:gd name="connsiteX13" fmla="*/ 1062993 w 1900290"/>
                <a:gd name="connsiteY13" fmla="*/ 1915802 h 1967526"/>
                <a:gd name="connsiteX14" fmla="*/ 1004054 w 1900290"/>
                <a:gd name="connsiteY14" fmla="*/ 1273174 h 1967526"/>
                <a:gd name="connsiteX15" fmla="*/ 780217 w 1900290"/>
                <a:gd name="connsiteY15" fmla="*/ 1070767 h 1967526"/>
                <a:gd name="connsiteX16" fmla="*/ 532567 w 1900290"/>
                <a:gd name="connsiteY16" fmla="*/ 1254124 h 1967526"/>
                <a:gd name="connsiteX17" fmla="*/ 399217 w 1900290"/>
                <a:gd name="connsiteY17" fmla="*/ 1211261 h 1967526"/>
                <a:gd name="connsiteX18" fmla="*/ 3929 w 1900290"/>
                <a:gd name="connsiteY18" fmla="*/ 832642 h 1967526"/>
                <a:gd name="connsiteX19" fmla="*/ 127754 w 1900290"/>
                <a:gd name="connsiteY19" fmla="*/ 746917 h 1967526"/>
                <a:gd name="connsiteX20" fmla="*/ 470654 w 1900290"/>
                <a:gd name="connsiteY20" fmla="*/ 1061242 h 1967526"/>
                <a:gd name="connsiteX21" fmla="*/ 620673 w 1900290"/>
                <a:gd name="connsiteY21" fmla="*/ 977899 h 1967526"/>
                <a:gd name="connsiteX22" fmla="*/ 668298 w 1900290"/>
                <a:gd name="connsiteY22" fmla="*/ 913605 h 1967526"/>
                <a:gd name="connsiteX23" fmla="*/ 663535 w 1900290"/>
                <a:gd name="connsiteY23" fmla="*/ 815974 h 1967526"/>
                <a:gd name="connsiteX24" fmla="*/ 1023104 w 1900290"/>
                <a:gd name="connsiteY24" fmla="*/ 496886 h 1967526"/>
                <a:gd name="connsiteX25" fmla="*/ 980242 w 1900290"/>
                <a:gd name="connsiteY25" fmla="*/ 442117 h 1967526"/>
                <a:gd name="connsiteX26" fmla="*/ 865942 w 1900290"/>
                <a:gd name="connsiteY26" fmla="*/ 427830 h 1967526"/>
                <a:gd name="connsiteX27" fmla="*/ 458748 w 1900290"/>
                <a:gd name="connsiteY27" fmla="*/ 651667 h 1967526"/>
                <a:gd name="connsiteX28" fmla="*/ 361117 w 1900290"/>
                <a:gd name="connsiteY28" fmla="*/ 513555 h 1967526"/>
                <a:gd name="connsiteX29" fmla="*/ 818317 w 1900290"/>
                <a:gd name="connsiteY29" fmla="*/ 263524 h 1967526"/>
                <a:gd name="connsiteX30" fmla="*/ 1586666 w 1900290"/>
                <a:gd name="connsiteY30" fmla="*/ 0 h 1967526"/>
                <a:gd name="connsiteX31" fmla="*/ 1786691 w 1900290"/>
                <a:gd name="connsiteY31" fmla="*/ 200025 h 1967526"/>
                <a:gd name="connsiteX32" fmla="*/ 1586666 w 1900290"/>
                <a:gd name="connsiteY32" fmla="*/ 400050 h 1967526"/>
                <a:gd name="connsiteX33" fmla="*/ 1386641 w 1900290"/>
                <a:gd name="connsiteY33" fmla="*/ 200025 h 1967526"/>
                <a:gd name="connsiteX34" fmla="*/ 1586666 w 1900290"/>
                <a:gd name="connsiteY34" fmla="*/ 0 h 1967526"/>
                <a:gd name="connsiteX0" fmla="*/ 818317 w 1900290"/>
                <a:gd name="connsiteY0" fmla="*/ 263524 h 1979358"/>
                <a:gd name="connsiteX1" fmla="*/ 1346954 w 1900290"/>
                <a:gd name="connsiteY1" fmla="*/ 358774 h 1979358"/>
                <a:gd name="connsiteX2" fmla="*/ 1489829 w 1900290"/>
                <a:gd name="connsiteY2" fmla="*/ 484980 h 1979358"/>
                <a:gd name="connsiteX3" fmla="*/ 1413629 w 1900290"/>
                <a:gd name="connsiteY3" fmla="*/ 882649 h 1979358"/>
                <a:gd name="connsiteX4" fmla="*/ 1830348 w 1900290"/>
                <a:gd name="connsiteY4" fmla="*/ 977899 h 1979358"/>
                <a:gd name="connsiteX5" fmla="*/ 1813679 w 1900290"/>
                <a:gd name="connsiteY5" fmla="*/ 1163636 h 1979358"/>
                <a:gd name="connsiteX6" fmla="*/ 1201698 w 1900290"/>
                <a:gd name="connsiteY6" fmla="*/ 987424 h 1979358"/>
                <a:gd name="connsiteX7" fmla="*/ 1177885 w 1900290"/>
                <a:gd name="connsiteY7" fmla="*/ 887411 h 1979358"/>
                <a:gd name="connsiteX8" fmla="*/ 1123117 w 1900290"/>
                <a:gd name="connsiteY8" fmla="*/ 851692 h 1979358"/>
                <a:gd name="connsiteX9" fmla="*/ 968335 w 1900290"/>
                <a:gd name="connsiteY9" fmla="*/ 1025524 h 1979358"/>
                <a:gd name="connsiteX10" fmla="*/ 1215985 w 1900290"/>
                <a:gd name="connsiteY10" fmla="*/ 1239836 h 1979358"/>
                <a:gd name="connsiteX11" fmla="*/ 1239798 w 1900290"/>
                <a:gd name="connsiteY11" fmla="*/ 1339849 h 1979358"/>
                <a:gd name="connsiteX12" fmla="*/ 1214609 w 1900290"/>
                <a:gd name="connsiteY12" fmla="*/ 1899389 h 1979358"/>
                <a:gd name="connsiteX13" fmla="*/ 1062993 w 1900290"/>
                <a:gd name="connsiteY13" fmla="*/ 1915802 h 1979358"/>
                <a:gd name="connsiteX14" fmla="*/ 1004054 w 1900290"/>
                <a:gd name="connsiteY14" fmla="*/ 1273174 h 1979358"/>
                <a:gd name="connsiteX15" fmla="*/ 780217 w 1900290"/>
                <a:gd name="connsiteY15" fmla="*/ 1070767 h 1979358"/>
                <a:gd name="connsiteX16" fmla="*/ 532567 w 1900290"/>
                <a:gd name="connsiteY16" fmla="*/ 1254124 h 1979358"/>
                <a:gd name="connsiteX17" fmla="*/ 399217 w 1900290"/>
                <a:gd name="connsiteY17" fmla="*/ 1211261 h 1979358"/>
                <a:gd name="connsiteX18" fmla="*/ 3929 w 1900290"/>
                <a:gd name="connsiteY18" fmla="*/ 832642 h 1979358"/>
                <a:gd name="connsiteX19" fmla="*/ 127754 w 1900290"/>
                <a:gd name="connsiteY19" fmla="*/ 746917 h 1979358"/>
                <a:gd name="connsiteX20" fmla="*/ 470654 w 1900290"/>
                <a:gd name="connsiteY20" fmla="*/ 1061242 h 1979358"/>
                <a:gd name="connsiteX21" fmla="*/ 620673 w 1900290"/>
                <a:gd name="connsiteY21" fmla="*/ 977899 h 1979358"/>
                <a:gd name="connsiteX22" fmla="*/ 668298 w 1900290"/>
                <a:gd name="connsiteY22" fmla="*/ 913605 h 1979358"/>
                <a:gd name="connsiteX23" fmla="*/ 663535 w 1900290"/>
                <a:gd name="connsiteY23" fmla="*/ 815974 h 1979358"/>
                <a:gd name="connsiteX24" fmla="*/ 1023104 w 1900290"/>
                <a:gd name="connsiteY24" fmla="*/ 496886 h 1979358"/>
                <a:gd name="connsiteX25" fmla="*/ 980242 w 1900290"/>
                <a:gd name="connsiteY25" fmla="*/ 442117 h 1979358"/>
                <a:gd name="connsiteX26" fmla="*/ 865942 w 1900290"/>
                <a:gd name="connsiteY26" fmla="*/ 427830 h 1979358"/>
                <a:gd name="connsiteX27" fmla="*/ 458748 w 1900290"/>
                <a:gd name="connsiteY27" fmla="*/ 651667 h 1979358"/>
                <a:gd name="connsiteX28" fmla="*/ 361117 w 1900290"/>
                <a:gd name="connsiteY28" fmla="*/ 513555 h 1979358"/>
                <a:gd name="connsiteX29" fmla="*/ 818317 w 1900290"/>
                <a:gd name="connsiteY29" fmla="*/ 263524 h 1979358"/>
                <a:gd name="connsiteX30" fmla="*/ 1586666 w 1900290"/>
                <a:gd name="connsiteY30" fmla="*/ 0 h 1979358"/>
                <a:gd name="connsiteX31" fmla="*/ 1786691 w 1900290"/>
                <a:gd name="connsiteY31" fmla="*/ 200025 h 1979358"/>
                <a:gd name="connsiteX32" fmla="*/ 1586666 w 1900290"/>
                <a:gd name="connsiteY32" fmla="*/ 400050 h 1979358"/>
                <a:gd name="connsiteX33" fmla="*/ 1386641 w 1900290"/>
                <a:gd name="connsiteY33" fmla="*/ 200025 h 1979358"/>
                <a:gd name="connsiteX34" fmla="*/ 1586666 w 1900290"/>
                <a:gd name="connsiteY34" fmla="*/ 0 h 1979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00290" h="1979358">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cubicBezTo>
                    <a:pt x="1178334" y="1461814"/>
                    <a:pt x="1255836" y="1794491"/>
                    <a:pt x="1214609" y="1899389"/>
                  </a:cubicBezTo>
                  <a:cubicBezTo>
                    <a:pt x="1176812" y="2019714"/>
                    <a:pt x="1074435" y="1986481"/>
                    <a:pt x="1062993" y="1915802"/>
                  </a:cubicBezTo>
                  <a:cubicBezTo>
                    <a:pt x="1026370" y="1764526"/>
                    <a:pt x="1052773" y="1453742"/>
                    <a:pt x="1004054" y="1273174"/>
                  </a:cubicBez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lnTo>
                    <a:pt x="818317" y="263524"/>
                  </a:ln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rgbClr val="FFFFFF"/>
            </a:solidFill>
            <a:ln w="10795" cap="flat" cmpd="sng" algn="ctr">
              <a:no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sp>
        <p:nvSpPr>
          <p:cNvPr id="135" name="TextBox 134">
            <a:extLst>
              <a:ext uri="{FF2B5EF4-FFF2-40B4-BE49-F238E27FC236}">
                <a16:creationId xmlns:a16="http://schemas.microsoft.com/office/drawing/2014/main" id="{031A29CB-4B38-4E5A-A7A1-82A375E855C7}"/>
              </a:ext>
            </a:extLst>
          </p:cNvPr>
          <p:cNvSpPr txBox="1"/>
          <p:nvPr/>
        </p:nvSpPr>
        <p:spPr>
          <a:xfrm>
            <a:off x="586501" y="1630222"/>
            <a:ext cx="3578008" cy="1016159"/>
          </a:xfrm>
          <a:prstGeom prst="rect">
            <a:avLst/>
          </a:prstGeom>
          <a:noFill/>
          <a:ln w="6350">
            <a:solidFill>
              <a:schemeClr val="bg1">
                <a:lumMod val="75000"/>
              </a:schemeClr>
            </a:solidFill>
          </a:ln>
        </p:spPr>
        <p:txBody>
          <a:bodyPr wrap="square" lIns="91440" tIns="91440" rIns="91440" bIns="91440" rtlCol="0" anchor="ctr">
            <a:noAutofit/>
          </a:bodyPr>
          <a:lstStyle/>
          <a:p>
            <a:pPr marL="0" lvl="1" algn="ctr" defTabSz="914367">
              <a:spcBef>
                <a:spcPts val="200"/>
              </a:spcBef>
              <a:spcAft>
                <a:spcPts val="400"/>
              </a:spcAft>
              <a:buSzPct val="100000"/>
            </a:pPr>
            <a:endParaRPr lang="en-US" sz="1600"/>
          </a:p>
        </p:txBody>
      </p:sp>
      <p:sp>
        <p:nvSpPr>
          <p:cNvPr id="149" name="TextBox 148">
            <a:extLst>
              <a:ext uri="{FF2B5EF4-FFF2-40B4-BE49-F238E27FC236}">
                <a16:creationId xmlns:a16="http://schemas.microsoft.com/office/drawing/2014/main" id="{796E9E8C-0273-4A10-8F05-8E8977349D75}"/>
              </a:ext>
            </a:extLst>
          </p:cNvPr>
          <p:cNvSpPr txBox="1"/>
          <p:nvPr/>
        </p:nvSpPr>
        <p:spPr>
          <a:xfrm>
            <a:off x="586501" y="1297823"/>
            <a:ext cx="3578008" cy="332399"/>
          </a:xfrm>
          <a:prstGeom prst="rect">
            <a:avLst/>
          </a:prstGeom>
          <a:solidFill>
            <a:schemeClr val="tx2"/>
          </a:solidFill>
          <a:ln w="6350">
            <a:solidFill>
              <a:schemeClr val="tx2"/>
            </a:solidFill>
          </a:ln>
        </p:spPr>
        <p:txBody>
          <a:bodyPr wrap="square" lIns="0" tIns="27432" rIns="0" bIns="27432" rtlCol="0" anchor="ctr">
            <a:noAutofit/>
          </a:bodyPr>
          <a:lstStyle/>
          <a:p>
            <a:pPr algn="ctr"/>
            <a:r>
              <a:rPr lang="en-US" sz="1400">
                <a:solidFill>
                  <a:schemeClr val="bg1"/>
                </a:solidFill>
                <a:latin typeface="+mj-lt"/>
              </a:rPr>
              <a:t>Platform of your choice</a:t>
            </a:r>
          </a:p>
        </p:txBody>
      </p:sp>
      <p:sp>
        <p:nvSpPr>
          <p:cNvPr id="153" name="TextBox 152">
            <a:extLst>
              <a:ext uri="{FF2B5EF4-FFF2-40B4-BE49-F238E27FC236}">
                <a16:creationId xmlns:a16="http://schemas.microsoft.com/office/drawing/2014/main" id="{5EA52139-48B8-4BBE-B181-FCADE3830FC1}"/>
              </a:ext>
            </a:extLst>
          </p:cNvPr>
          <p:cNvSpPr txBox="1"/>
          <p:nvPr/>
        </p:nvSpPr>
        <p:spPr>
          <a:xfrm>
            <a:off x="4307789" y="1630222"/>
            <a:ext cx="3578008" cy="1016159"/>
          </a:xfrm>
          <a:prstGeom prst="rect">
            <a:avLst/>
          </a:prstGeom>
          <a:noFill/>
          <a:ln w="6350">
            <a:solidFill>
              <a:schemeClr val="bg1">
                <a:lumMod val="75000"/>
              </a:schemeClr>
            </a:solidFill>
          </a:ln>
        </p:spPr>
        <p:txBody>
          <a:bodyPr wrap="square" lIns="91440" tIns="91440" rIns="91440" bIns="91440" rtlCol="0" anchor="ctr">
            <a:noAutofit/>
          </a:bodyPr>
          <a:lstStyle/>
          <a:p>
            <a:pPr marL="0" lvl="1" algn="ctr" defTabSz="914367">
              <a:spcBef>
                <a:spcPts val="200"/>
              </a:spcBef>
              <a:spcAft>
                <a:spcPts val="400"/>
              </a:spcAft>
              <a:buSzPct val="100000"/>
            </a:pPr>
            <a:endParaRPr lang="en-US" sz="1600"/>
          </a:p>
        </p:txBody>
      </p:sp>
      <p:sp>
        <p:nvSpPr>
          <p:cNvPr id="154" name="TextBox 153">
            <a:extLst>
              <a:ext uri="{FF2B5EF4-FFF2-40B4-BE49-F238E27FC236}">
                <a16:creationId xmlns:a16="http://schemas.microsoft.com/office/drawing/2014/main" id="{B1F49CEB-6A4A-4BE7-AD92-F1FC0D4A58B6}"/>
              </a:ext>
            </a:extLst>
          </p:cNvPr>
          <p:cNvSpPr txBox="1"/>
          <p:nvPr/>
        </p:nvSpPr>
        <p:spPr>
          <a:xfrm>
            <a:off x="4307789" y="1297823"/>
            <a:ext cx="3578008" cy="332399"/>
          </a:xfrm>
          <a:prstGeom prst="rect">
            <a:avLst/>
          </a:prstGeom>
          <a:solidFill>
            <a:schemeClr val="accent4"/>
          </a:solidFill>
          <a:ln w="6350">
            <a:solidFill>
              <a:schemeClr val="accent4"/>
            </a:solidFill>
          </a:ln>
        </p:spPr>
        <p:txBody>
          <a:bodyPr wrap="square" lIns="0" tIns="27432" rIns="0" bIns="27432" rtlCol="0" anchor="ctr">
            <a:noAutofit/>
          </a:bodyPr>
          <a:lstStyle/>
          <a:p>
            <a:pPr algn="ctr"/>
            <a:r>
              <a:rPr lang="en-US" sz="1400">
                <a:solidFill>
                  <a:schemeClr val="bg1"/>
                </a:solidFill>
                <a:latin typeface="+mj-lt"/>
              </a:rPr>
              <a:t>Windows differentiation</a:t>
            </a:r>
          </a:p>
        </p:txBody>
      </p:sp>
      <p:sp>
        <p:nvSpPr>
          <p:cNvPr id="157" name="TextBox 156">
            <a:extLst>
              <a:ext uri="{FF2B5EF4-FFF2-40B4-BE49-F238E27FC236}">
                <a16:creationId xmlns:a16="http://schemas.microsoft.com/office/drawing/2014/main" id="{26A1EF5C-4AF9-47AF-98B5-B398EA9181F7}"/>
              </a:ext>
            </a:extLst>
          </p:cNvPr>
          <p:cNvSpPr txBox="1"/>
          <p:nvPr/>
        </p:nvSpPr>
        <p:spPr>
          <a:xfrm>
            <a:off x="8031380" y="1624973"/>
            <a:ext cx="3578008" cy="1016159"/>
          </a:xfrm>
          <a:prstGeom prst="rect">
            <a:avLst/>
          </a:prstGeom>
          <a:noFill/>
          <a:ln w="6350">
            <a:solidFill>
              <a:schemeClr val="bg1">
                <a:lumMod val="75000"/>
              </a:schemeClr>
            </a:solidFill>
          </a:ln>
        </p:spPr>
        <p:txBody>
          <a:bodyPr wrap="square" lIns="91440" tIns="91440" rIns="91440" bIns="91440" rtlCol="0" anchor="ctr">
            <a:noAutofit/>
          </a:bodyPr>
          <a:lstStyle/>
          <a:p>
            <a:pPr marL="0" lvl="1" algn="ctr" defTabSz="914367">
              <a:spcBef>
                <a:spcPts val="200"/>
              </a:spcBef>
              <a:spcAft>
                <a:spcPts val="400"/>
              </a:spcAft>
              <a:buSzPct val="100000"/>
            </a:pPr>
            <a:endParaRPr lang="en-US" sz="1600"/>
          </a:p>
        </p:txBody>
      </p:sp>
      <p:sp>
        <p:nvSpPr>
          <p:cNvPr id="158" name="TextBox 157">
            <a:extLst>
              <a:ext uri="{FF2B5EF4-FFF2-40B4-BE49-F238E27FC236}">
                <a16:creationId xmlns:a16="http://schemas.microsoft.com/office/drawing/2014/main" id="{8E8C2EBC-0E3C-4CFC-BE44-E17374ECD3E2}"/>
              </a:ext>
            </a:extLst>
          </p:cNvPr>
          <p:cNvSpPr txBox="1"/>
          <p:nvPr/>
        </p:nvSpPr>
        <p:spPr>
          <a:xfrm>
            <a:off x="8031380" y="1297823"/>
            <a:ext cx="3578008" cy="332399"/>
          </a:xfrm>
          <a:prstGeom prst="rect">
            <a:avLst/>
          </a:prstGeom>
          <a:solidFill>
            <a:schemeClr val="accent1"/>
          </a:solidFill>
          <a:ln w="6350">
            <a:solidFill>
              <a:schemeClr val="accent1"/>
            </a:solidFill>
          </a:ln>
        </p:spPr>
        <p:txBody>
          <a:bodyPr wrap="square" lIns="0" tIns="27432" rIns="0" bIns="27432" rtlCol="0" anchor="ctr">
            <a:noAutofit/>
          </a:bodyPr>
          <a:lstStyle/>
          <a:p>
            <a:pPr algn="ctr"/>
            <a:r>
              <a:rPr lang="en-US" sz="1400">
                <a:solidFill>
                  <a:schemeClr val="bg1"/>
                </a:solidFill>
                <a:latin typeface="+mj-lt"/>
              </a:rPr>
              <a:t>Enhanced protocol</a:t>
            </a:r>
          </a:p>
        </p:txBody>
      </p:sp>
      <p:sp>
        <p:nvSpPr>
          <p:cNvPr id="162" name="TextBox 161">
            <a:extLst>
              <a:ext uri="{FF2B5EF4-FFF2-40B4-BE49-F238E27FC236}">
                <a16:creationId xmlns:a16="http://schemas.microsoft.com/office/drawing/2014/main" id="{8F4F457B-5D07-4B97-9545-6B41297F9B5C}"/>
              </a:ext>
            </a:extLst>
          </p:cNvPr>
          <p:cNvSpPr txBox="1"/>
          <p:nvPr/>
        </p:nvSpPr>
        <p:spPr>
          <a:xfrm>
            <a:off x="586501" y="3669704"/>
            <a:ext cx="3578008" cy="504263"/>
          </a:xfrm>
          <a:prstGeom prst="rect">
            <a:avLst/>
          </a:prstGeom>
          <a:solidFill>
            <a:schemeClr val="tx2"/>
          </a:solidFill>
          <a:ln w="6350">
            <a:solidFill>
              <a:schemeClr val="tx2"/>
            </a:solidFill>
          </a:ln>
        </p:spPr>
        <p:txBody>
          <a:bodyPr wrap="square" lIns="0" tIns="27432" rIns="0" bIns="27432" rtlCol="0" anchor="ctr">
            <a:noAutofit/>
          </a:bodyPr>
          <a:lstStyle/>
          <a:p>
            <a:pPr algn="ctr"/>
            <a:r>
              <a:rPr lang="en-US" sz="1400">
                <a:solidFill>
                  <a:schemeClr val="bg1"/>
                </a:solidFill>
                <a:latin typeface="+mj-lt"/>
              </a:rPr>
              <a:t>Containerized User Profiles</a:t>
            </a:r>
          </a:p>
        </p:txBody>
      </p:sp>
      <p:sp>
        <p:nvSpPr>
          <p:cNvPr id="166" name="TextBox 165">
            <a:extLst>
              <a:ext uri="{FF2B5EF4-FFF2-40B4-BE49-F238E27FC236}">
                <a16:creationId xmlns:a16="http://schemas.microsoft.com/office/drawing/2014/main" id="{267133E1-999D-4116-B5AC-7852205A4380}"/>
              </a:ext>
            </a:extLst>
          </p:cNvPr>
          <p:cNvSpPr txBox="1"/>
          <p:nvPr/>
        </p:nvSpPr>
        <p:spPr>
          <a:xfrm>
            <a:off x="4307789" y="3669704"/>
            <a:ext cx="3578008" cy="504263"/>
          </a:xfrm>
          <a:prstGeom prst="rect">
            <a:avLst/>
          </a:prstGeom>
          <a:solidFill>
            <a:schemeClr val="accent4"/>
          </a:solidFill>
          <a:ln w="6350">
            <a:solidFill>
              <a:schemeClr val="accent4"/>
            </a:solidFill>
          </a:ln>
        </p:spPr>
        <p:txBody>
          <a:bodyPr wrap="square" lIns="0" tIns="27432" rIns="0" bIns="27432" rtlCol="0" anchor="ctr">
            <a:noAutofit/>
          </a:bodyPr>
          <a:lstStyle/>
          <a:p>
            <a:pPr algn="ctr"/>
            <a:r>
              <a:rPr lang="en-US" sz="1400">
                <a:solidFill>
                  <a:schemeClr val="bg1"/>
                </a:solidFill>
                <a:latin typeface="+mj-lt"/>
              </a:rPr>
              <a:t>Native 0365 performance </a:t>
            </a:r>
          </a:p>
        </p:txBody>
      </p:sp>
      <p:sp>
        <p:nvSpPr>
          <p:cNvPr id="169" name="TextBox 168">
            <a:extLst>
              <a:ext uri="{FF2B5EF4-FFF2-40B4-BE49-F238E27FC236}">
                <a16:creationId xmlns:a16="http://schemas.microsoft.com/office/drawing/2014/main" id="{6100635D-2761-46EB-A774-3AE311F94CD7}"/>
              </a:ext>
            </a:extLst>
          </p:cNvPr>
          <p:cNvSpPr txBox="1"/>
          <p:nvPr/>
        </p:nvSpPr>
        <p:spPr>
          <a:xfrm>
            <a:off x="8031380" y="3669704"/>
            <a:ext cx="3578008" cy="504263"/>
          </a:xfrm>
          <a:prstGeom prst="rect">
            <a:avLst/>
          </a:prstGeom>
          <a:solidFill>
            <a:schemeClr val="accent1"/>
          </a:solidFill>
          <a:ln w="6350">
            <a:solidFill>
              <a:schemeClr val="accent1"/>
            </a:solidFill>
          </a:ln>
        </p:spPr>
        <p:txBody>
          <a:bodyPr wrap="square" lIns="0" tIns="27432" rIns="0" bIns="27432" rtlCol="0" anchor="ctr">
            <a:noAutofit/>
          </a:bodyPr>
          <a:lstStyle/>
          <a:p>
            <a:pPr algn="ctr"/>
            <a:r>
              <a:rPr lang="en-US" sz="1400">
                <a:solidFill>
                  <a:schemeClr val="bg1"/>
                </a:solidFill>
                <a:latin typeface="+mj-lt"/>
              </a:rPr>
              <a:t>Teams Enhancements</a:t>
            </a:r>
          </a:p>
        </p:txBody>
      </p:sp>
      <p:grpSp>
        <p:nvGrpSpPr>
          <p:cNvPr id="171" name="Group 170">
            <a:extLst>
              <a:ext uri="{FF2B5EF4-FFF2-40B4-BE49-F238E27FC236}">
                <a16:creationId xmlns:a16="http://schemas.microsoft.com/office/drawing/2014/main" id="{15D5DC8F-F22C-4755-8617-830A63D9A395}"/>
              </a:ext>
            </a:extLst>
          </p:cNvPr>
          <p:cNvGrpSpPr/>
          <p:nvPr/>
        </p:nvGrpSpPr>
        <p:grpSpPr>
          <a:xfrm>
            <a:off x="1529776" y="1719511"/>
            <a:ext cx="1691458" cy="837581"/>
            <a:chOff x="902559" y="2756273"/>
            <a:chExt cx="2850290" cy="1411415"/>
          </a:xfrm>
        </p:grpSpPr>
        <p:pic>
          <p:nvPicPr>
            <p:cNvPr id="172" name="Picture 171">
              <a:extLst>
                <a:ext uri="{FF2B5EF4-FFF2-40B4-BE49-F238E27FC236}">
                  <a16:creationId xmlns:a16="http://schemas.microsoft.com/office/drawing/2014/main" id="{76016B08-6DD2-4EB4-B5AC-81E60187E033}"/>
                </a:ext>
              </a:extLst>
            </p:cNvPr>
            <p:cNvPicPr>
              <a:picLocks noChangeAspect="1"/>
            </p:cNvPicPr>
            <p:nvPr/>
          </p:nvPicPr>
          <p:blipFill>
            <a:blip r:embed="rId8"/>
            <a:stretch>
              <a:fillRect/>
            </a:stretch>
          </p:blipFill>
          <p:spPr>
            <a:xfrm>
              <a:off x="1989627" y="2756273"/>
              <a:ext cx="633410" cy="633410"/>
            </a:xfrm>
            <a:prstGeom prst="rect">
              <a:avLst/>
            </a:prstGeom>
          </p:spPr>
        </p:pic>
        <p:pic>
          <p:nvPicPr>
            <p:cNvPr id="173" name="Graphic 172">
              <a:extLst>
                <a:ext uri="{FF2B5EF4-FFF2-40B4-BE49-F238E27FC236}">
                  <a16:creationId xmlns:a16="http://schemas.microsoft.com/office/drawing/2014/main" id="{2FA2D5F8-C6A8-4409-9DF7-BFEAF01294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116604" y="2756273"/>
              <a:ext cx="636245" cy="636245"/>
            </a:xfrm>
            <a:prstGeom prst="rect">
              <a:avLst/>
            </a:prstGeom>
          </p:spPr>
        </p:pic>
        <p:pic>
          <p:nvPicPr>
            <p:cNvPr id="174" name="Picture 4" descr="Related image">
              <a:extLst>
                <a:ext uri="{FF2B5EF4-FFF2-40B4-BE49-F238E27FC236}">
                  <a16:creationId xmlns:a16="http://schemas.microsoft.com/office/drawing/2014/main" id="{23FDB5B9-1D50-46D8-9763-697FDF16AD2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2559" y="2756273"/>
              <a:ext cx="640080" cy="640080"/>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74">
              <a:extLst>
                <a:ext uri="{FF2B5EF4-FFF2-40B4-BE49-F238E27FC236}">
                  <a16:creationId xmlns:a16="http://schemas.microsoft.com/office/drawing/2014/main" id="{9BFE2776-3083-40CC-AB88-0F16A1741EF1}"/>
                </a:ext>
              </a:extLst>
            </p:cNvPr>
            <p:cNvPicPr>
              <a:picLocks noChangeAspect="1"/>
            </p:cNvPicPr>
            <p:nvPr/>
          </p:nvPicPr>
          <p:blipFill>
            <a:blip r:embed="rId12"/>
            <a:stretch>
              <a:fillRect/>
            </a:stretch>
          </p:blipFill>
          <p:spPr>
            <a:xfrm>
              <a:off x="1368784" y="3519983"/>
              <a:ext cx="516374" cy="633410"/>
            </a:xfrm>
            <a:prstGeom prst="rect">
              <a:avLst/>
            </a:prstGeom>
          </p:spPr>
        </p:pic>
        <p:pic>
          <p:nvPicPr>
            <p:cNvPr id="176" name="Picture 6" descr="Image result for linux logo">
              <a:extLst>
                <a:ext uri="{FF2B5EF4-FFF2-40B4-BE49-F238E27FC236}">
                  <a16:creationId xmlns:a16="http://schemas.microsoft.com/office/drawing/2014/main" id="{A8F27593-B953-4AD1-924D-06AF5653182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50850" y="3505688"/>
              <a:ext cx="558010" cy="66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7" name="Group 176">
            <a:extLst>
              <a:ext uri="{FF2B5EF4-FFF2-40B4-BE49-F238E27FC236}">
                <a16:creationId xmlns:a16="http://schemas.microsoft.com/office/drawing/2014/main" id="{7E217BA6-0815-4073-B963-1AAF20E4BBC0}"/>
              </a:ext>
            </a:extLst>
          </p:cNvPr>
          <p:cNvGrpSpPr/>
          <p:nvPr/>
        </p:nvGrpSpPr>
        <p:grpSpPr>
          <a:xfrm>
            <a:off x="5175248" y="1715656"/>
            <a:ext cx="1843091" cy="845290"/>
            <a:chOff x="4577163" y="2880989"/>
            <a:chExt cx="2774381" cy="1272404"/>
          </a:xfrm>
        </p:grpSpPr>
        <p:grpSp>
          <p:nvGrpSpPr>
            <p:cNvPr id="178" name="Group 177">
              <a:extLst>
                <a:ext uri="{FF2B5EF4-FFF2-40B4-BE49-F238E27FC236}">
                  <a16:creationId xmlns:a16="http://schemas.microsoft.com/office/drawing/2014/main" id="{28808D2D-451E-4C98-836C-FFB3665FD1CC}"/>
                </a:ext>
              </a:extLst>
            </p:cNvPr>
            <p:cNvGrpSpPr/>
            <p:nvPr/>
          </p:nvGrpSpPr>
          <p:grpSpPr>
            <a:xfrm>
              <a:off x="5972803" y="2880989"/>
              <a:ext cx="205423" cy="371435"/>
              <a:chOff x="-1114107" y="3820296"/>
              <a:chExt cx="940692" cy="1700902"/>
            </a:xfrm>
          </p:grpSpPr>
          <p:sp>
            <p:nvSpPr>
              <p:cNvPr id="212" name="Freeform 317">
                <a:extLst>
                  <a:ext uri="{FF2B5EF4-FFF2-40B4-BE49-F238E27FC236}">
                    <a16:creationId xmlns:a16="http://schemas.microsoft.com/office/drawing/2014/main" id="{0A1285FC-AFF4-475F-AE6C-98A801F0870E}"/>
                  </a:ext>
                </a:extLst>
              </p:cNvPr>
              <p:cNvSpPr>
                <a:spLocks/>
              </p:cNvSpPr>
              <p:nvPr/>
            </p:nvSpPr>
            <p:spPr bwMode="auto">
              <a:xfrm>
                <a:off x="-1114107" y="3820296"/>
                <a:ext cx="940692" cy="1700902"/>
              </a:xfrm>
              <a:custGeom>
                <a:avLst/>
                <a:gdLst>
                  <a:gd name="T0" fmla="*/ 951 w 1039"/>
                  <a:gd name="T1" fmla="*/ 0 h 1971"/>
                  <a:gd name="T2" fmla="*/ 89 w 1039"/>
                  <a:gd name="T3" fmla="*/ 0 h 1971"/>
                  <a:gd name="T4" fmla="*/ 0 w 1039"/>
                  <a:gd name="T5" fmla="*/ 88 h 1971"/>
                  <a:gd name="T6" fmla="*/ 0 w 1039"/>
                  <a:gd name="T7" fmla="*/ 1883 h 1971"/>
                  <a:gd name="T8" fmla="*/ 89 w 1039"/>
                  <a:gd name="T9" fmla="*/ 1971 h 1971"/>
                  <a:gd name="T10" fmla="*/ 951 w 1039"/>
                  <a:gd name="T11" fmla="*/ 1971 h 1971"/>
                  <a:gd name="T12" fmla="*/ 1039 w 1039"/>
                  <a:gd name="T13" fmla="*/ 1883 h 1971"/>
                  <a:gd name="T14" fmla="*/ 1039 w 1039"/>
                  <a:gd name="T15" fmla="*/ 88 h 1971"/>
                  <a:gd name="T16" fmla="*/ 951 w 1039"/>
                  <a:gd name="T17" fmla="*/ 0 h 1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9" h="1971">
                    <a:moveTo>
                      <a:pt x="951" y="0"/>
                    </a:moveTo>
                    <a:cubicBezTo>
                      <a:pt x="89" y="0"/>
                      <a:pt x="89" y="0"/>
                      <a:pt x="89" y="0"/>
                    </a:cubicBezTo>
                    <a:cubicBezTo>
                      <a:pt x="40" y="0"/>
                      <a:pt x="0" y="39"/>
                      <a:pt x="0" y="88"/>
                    </a:cubicBezTo>
                    <a:cubicBezTo>
                      <a:pt x="0" y="1883"/>
                      <a:pt x="0" y="1883"/>
                      <a:pt x="0" y="1883"/>
                    </a:cubicBezTo>
                    <a:cubicBezTo>
                      <a:pt x="0" y="1931"/>
                      <a:pt x="40" y="1971"/>
                      <a:pt x="89" y="1971"/>
                    </a:cubicBezTo>
                    <a:cubicBezTo>
                      <a:pt x="951" y="1971"/>
                      <a:pt x="951" y="1971"/>
                      <a:pt x="951" y="1971"/>
                    </a:cubicBezTo>
                    <a:cubicBezTo>
                      <a:pt x="999" y="1971"/>
                      <a:pt x="1039" y="1931"/>
                      <a:pt x="1039" y="1883"/>
                    </a:cubicBezTo>
                    <a:cubicBezTo>
                      <a:pt x="1039" y="88"/>
                      <a:pt x="1039" y="88"/>
                      <a:pt x="1039" y="88"/>
                    </a:cubicBezTo>
                    <a:cubicBezTo>
                      <a:pt x="1039" y="39"/>
                      <a:pt x="999" y="0"/>
                      <a:pt x="951" y="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13" name="Freeform 318">
                <a:extLst>
                  <a:ext uri="{FF2B5EF4-FFF2-40B4-BE49-F238E27FC236}">
                    <a16:creationId xmlns:a16="http://schemas.microsoft.com/office/drawing/2014/main" id="{1577DA52-358D-4C91-913C-D9D0F6E75E6B}"/>
                  </a:ext>
                </a:extLst>
              </p:cNvPr>
              <p:cNvSpPr>
                <a:spLocks/>
              </p:cNvSpPr>
              <p:nvPr/>
            </p:nvSpPr>
            <p:spPr bwMode="auto">
              <a:xfrm>
                <a:off x="-1036380" y="4089403"/>
                <a:ext cx="785245" cy="1215124"/>
              </a:xfrm>
              <a:custGeom>
                <a:avLst/>
                <a:gdLst>
                  <a:gd name="T0" fmla="*/ 0 w 1138"/>
                  <a:gd name="T1" fmla="*/ 1761 h 1761"/>
                  <a:gd name="T2" fmla="*/ 1138 w 1138"/>
                  <a:gd name="T3" fmla="*/ 1761 h 1761"/>
                  <a:gd name="T4" fmla="*/ 1138 w 1138"/>
                  <a:gd name="T5" fmla="*/ 71 h 1761"/>
                  <a:gd name="T6" fmla="*/ 570 w 1138"/>
                  <a:gd name="T7" fmla="*/ 0 h 1761"/>
                  <a:gd name="T8" fmla="*/ 0 w 1138"/>
                  <a:gd name="T9" fmla="*/ 71 h 1761"/>
                  <a:gd name="T10" fmla="*/ 0 w 1138"/>
                  <a:gd name="T11" fmla="*/ 1761 h 1761"/>
                </a:gdLst>
                <a:ahLst/>
                <a:cxnLst>
                  <a:cxn ang="0">
                    <a:pos x="T0" y="T1"/>
                  </a:cxn>
                  <a:cxn ang="0">
                    <a:pos x="T2" y="T3"/>
                  </a:cxn>
                  <a:cxn ang="0">
                    <a:pos x="T4" y="T5"/>
                  </a:cxn>
                  <a:cxn ang="0">
                    <a:pos x="T6" y="T7"/>
                  </a:cxn>
                  <a:cxn ang="0">
                    <a:pos x="T8" y="T9"/>
                  </a:cxn>
                  <a:cxn ang="0">
                    <a:pos x="T10" y="T11"/>
                  </a:cxn>
                </a:cxnLst>
                <a:rect l="0" t="0" r="r" b="b"/>
                <a:pathLst>
                  <a:path w="1138" h="1761">
                    <a:moveTo>
                      <a:pt x="0" y="1761"/>
                    </a:moveTo>
                    <a:lnTo>
                      <a:pt x="1138" y="1761"/>
                    </a:lnTo>
                    <a:lnTo>
                      <a:pt x="1138" y="71"/>
                    </a:lnTo>
                    <a:lnTo>
                      <a:pt x="570" y="0"/>
                    </a:lnTo>
                    <a:lnTo>
                      <a:pt x="0" y="71"/>
                    </a:lnTo>
                    <a:lnTo>
                      <a:pt x="0" y="1761"/>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14" name="Rectangle 319">
                <a:extLst>
                  <a:ext uri="{FF2B5EF4-FFF2-40B4-BE49-F238E27FC236}">
                    <a16:creationId xmlns:a16="http://schemas.microsoft.com/office/drawing/2014/main" id="{9284C4BA-F8A4-48B3-9B46-8546853D8D4C}"/>
                  </a:ext>
                </a:extLst>
              </p:cNvPr>
              <p:cNvSpPr>
                <a:spLocks noChangeArrowheads="1"/>
              </p:cNvSpPr>
              <p:nvPr/>
            </p:nvSpPr>
            <p:spPr bwMode="auto">
              <a:xfrm>
                <a:off x="-1036380" y="3962439"/>
                <a:ext cx="785245" cy="175953"/>
              </a:xfrm>
              <a:prstGeom prst="rect">
                <a:avLst/>
              </a:prstGeom>
              <a:solidFill>
                <a:srgbClr val="2770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15" name="Rectangle 334">
                <a:extLst>
                  <a:ext uri="{FF2B5EF4-FFF2-40B4-BE49-F238E27FC236}">
                    <a16:creationId xmlns:a16="http://schemas.microsoft.com/office/drawing/2014/main" id="{E51D21F1-4135-4F77-A407-6AB9B146C5D0}"/>
                  </a:ext>
                </a:extLst>
              </p:cNvPr>
              <p:cNvSpPr>
                <a:spLocks noChangeArrowheads="1"/>
              </p:cNvSpPr>
              <p:nvPr/>
            </p:nvSpPr>
            <p:spPr bwMode="auto">
              <a:xfrm>
                <a:off x="-393035" y="4021782"/>
                <a:ext cx="76593" cy="62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16" name="Rectangle 335">
                <a:extLst>
                  <a:ext uri="{FF2B5EF4-FFF2-40B4-BE49-F238E27FC236}">
                    <a16:creationId xmlns:a16="http://schemas.microsoft.com/office/drawing/2014/main" id="{563F8C27-F325-47D7-A827-BF76F294DD6D}"/>
                  </a:ext>
                </a:extLst>
              </p:cNvPr>
              <p:cNvSpPr>
                <a:spLocks noChangeArrowheads="1"/>
              </p:cNvSpPr>
              <p:nvPr/>
            </p:nvSpPr>
            <p:spPr bwMode="auto">
              <a:xfrm>
                <a:off x="-393035" y="4043862"/>
                <a:ext cx="76593" cy="55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17" name="Rectangle 336">
                <a:extLst>
                  <a:ext uri="{FF2B5EF4-FFF2-40B4-BE49-F238E27FC236}">
                    <a16:creationId xmlns:a16="http://schemas.microsoft.com/office/drawing/2014/main" id="{5EF3F7AC-1B67-4ED5-8E59-B0DBEE31426F}"/>
                  </a:ext>
                </a:extLst>
              </p:cNvPr>
              <p:cNvSpPr>
                <a:spLocks noChangeArrowheads="1"/>
              </p:cNvSpPr>
              <p:nvPr/>
            </p:nvSpPr>
            <p:spPr bwMode="auto">
              <a:xfrm>
                <a:off x="-393035" y="4065253"/>
                <a:ext cx="76593" cy="6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18" name="Rectangle 338">
                <a:extLst>
                  <a:ext uri="{FF2B5EF4-FFF2-40B4-BE49-F238E27FC236}">
                    <a16:creationId xmlns:a16="http://schemas.microsoft.com/office/drawing/2014/main" id="{E50C765C-B0FE-40A3-84E9-5F622B678A82}"/>
                  </a:ext>
                </a:extLst>
              </p:cNvPr>
              <p:cNvSpPr>
                <a:spLocks noChangeArrowheads="1"/>
              </p:cNvSpPr>
              <p:nvPr/>
            </p:nvSpPr>
            <p:spPr bwMode="auto">
              <a:xfrm>
                <a:off x="-702855" y="5375603"/>
                <a:ext cx="72452" cy="72452"/>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19" name="Freeform 380">
                <a:extLst>
                  <a:ext uri="{FF2B5EF4-FFF2-40B4-BE49-F238E27FC236}">
                    <a16:creationId xmlns:a16="http://schemas.microsoft.com/office/drawing/2014/main" id="{33195CD2-B226-468A-B4D5-B60E5F244671}"/>
                  </a:ext>
                </a:extLst>
              </p:cNvPr>
              <p:cNvSpPr>
                <a:spLocks/>
              </p:cNvSpPr>
              <p:nvPr/>
            </p:nvSpPr>
            <p:spPr bwMode="auto">
              <a:xfrm>
                <a:off x="-824988" y="3878947"/>
                <a:ext cx="316030" cy="18631"/>
              </a:xfrm>
              <a:custGeom>
                <a:avLst/>
                <a:gdLst>
                  <a:gd name="T0" fmla="*/ 356 w 367"/>
                  <a:gd name="T1" fmla="*/ 22 h 22"/>
                  <a:gd name="T2" fmla="*/ 11 w 367"/>
                  <a:gd name="T3" fmla="*/ 22 h 22"/>
                  <a:gd name="T4" fmla="*/ 0 w 367"/>
                  <a:gd name="T5" fmla="*/ 11 h 22"/>
                  <a:gd name="T6" fmla="*/ 11 w 367"/>
                  <a:gd name="T7" fmla="*/ 0 h 22"/>
                  <a:gd name="T8" fmla="*/ 356 w 367"/>
                  <a:gd name="T9" fmla="*/ 0 h 22"/>
                  <a:gd name="T10" fmla="*/ 367 w 367"/>
                  <a:gd name="T11" fmla="*/ 11 h 22"/>
                  <a:gd name="T12" fmla="*/ 356 w 367"/>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67" h="22">
                    <a:moveTo>
                      <a:pt x="356" y="22"/>
                    </a:moveTo>
                    <a:cubicBezTo>
                      <a:pt x="11" y="22"/>
                      <a:pt x="11" y="22"/>
                      <a:pt x="11" y="22"/>
                    </a:cubicBezTo>
                    <a:cubicBezTo>
                      <a:pt x="5" y="22"/>
                      <a:pt x="0" y="17"/>
                      <a:pt x="0" y="11"/>
                    </a:cubicBezTo>
                    <a:cubicBezTo>
                      <a:pt x="0" y="5"/>
                      <a:pt x="5" y="0"/>
                      <a:pt x="11" y="0"/>
                    </a:cubicBezTo>
                    <a:cubicBezTo>
                      <a:pt x="356" y="0"/>
                      <a:pt x="356" y="0"/>
                      <a:pt x="356" y="0"/>
                    </a:cubicBezTo>
                    <a:cubicBezTo>
                      <a:pt x="362" y="0"/>
                      <a:pt x="367" y="5"/>
                      <a:pt x="367" y="11"/>
                    </a:cubicBezTo>
                    <a:cubicBezTo>
                      <a:pt x="367" y="17"/>
                      <a:pt x="362" y="22"/>
                      <a:pt x="356" y="22"/>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grpSp>
        <p:grpSp>
          <p:nvGrpSpPr>
            <p:cNvPr id="179" name="Group 178">
              <a:extLst>
                <a:ext uri="{FF2B5EF4-FFF2-40B4-BE49-F238E27FC236}">
                  <a16:creationId xmlns:a16="http://schemas.microsoft.com/office/drawing/2014/main" id="{9B61EE35-2A19-4E4A-955C-CD0006592836}"/>
                </a:ext>
              </a:extLst>
            </p:cNvPr>
            <p:cNvGrpSpPr/>
            <p:nvPr/>
          </p:nvGrpSpPr>
          <p:grpSpPr>
            <a:xfrm>
              <a:off x="6711734" y="3696463"/>
              <a:ext cx="639810" cy="430331"/>
              <a:chOff x="-2580194" y="3426964"/>
              <a:chExt cx="2010599" cy="1352312"/>
            </a:xfrm>
          </p:grpSpPr>
          <p:sp>
            <p:nvSpPr>
              <p:cNvPr id="207" name="Freeform 7">
                <a:extLst>
                  <a:ext uri="{FF2B5EF4-FFF2-40B4-BE49-F238E27FC236}">
                    <a16:creationId xmlns:a16="http://schemas.microsoft.com/office/drawing/2014/main" id="{00EC9F1A-CC1E-42E3-9B4A-A1A12AEA5A3E}"/>
                  </a:ext>
                </a:extLst>
              </p:cNvPr>
              <p:cNvSpPr>
                <a:spLocks/>
              </p:cNvSpPr>
              <p:nvPr/>
            </p:nvSpPr>
            <p:spPr bwMode="auto">
              <a:xfrm>
                <a:off x="-2580194" y="3426964"/>
                <a:ext cx="2010599" cy="1352312"/>
              </a:xfrm>
              <a:custGeom>
                <a:avLst/>
                <a:gdLst>
                  <a:gd name="T0" fmla="*/ 772 w 789"/>
                  <a:gd name="T1" fmla="*/ 528 h 528"/>
                  <a:gd name="T2" fmla="*/ 17 w 789"/>
                  <a:gd name="T3" fmla="*/ 528 h 528"/>
                  <a:gd name="T4" fmla="*/ 0 w 789"/>
                  <a:gd name="T5" fmla="*/ 511 h 528"/>
                  <a:gd name="T6" fmla="*/ 0 w 789"/>
                  <a:gd name="T7" fmla="*/ 17 h 528"/>
                  <a:gd name="T8" fmla="*/ 17 w 789"/>
                  <a:gd name="T9" fmla="*/ 0 h 528"/>
                  <a:gd name="T10" fmla="*/ 772 w 789"/>
                  <a:gd name="T11" fmla="*/ 0 h 528"/>
                  <a:gd name="T12" fmla="*/ 789 w 789"/>
                  <a:gd name="T13" fmla="*/ 17 h 528"/>
                  <a:gd name="T14" fmla="*/ 789 w 789"/>
                  <a:gd name="T15" fmla="*/ 511 h 528"/>
                  <a:gd name="T16" fmla="*/ 772 w 789"/>
                  <a:gd name="T17" fmla="*/ 528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528">
                    <a:moveTo>
                      <a:pt x="772" y="528"/>
                    </a:moveTo>
                    <a:cubicBezTo>
                      <a:pt x="17" y="528"/>
                      <a:pt x="17" y="528"/>
                      <a:pt x="17" y="528"/>
                    </a:cubicBezTo>
                    <a:cubicBezTo>
                      <a:pt x="7" y="528"/>
                      <a:pt x="0" y="521"/>
                      <a:pt x="0" y="511"/>
                    </a:cubicBezTo>
                    <a:cubicBezTo>
                      <a:pt x="0" y="17"/>
                      <a:pt x="0" y="17"/>
                      <a:pt x="0" y="17"/>
                    </a:cubicBezTo>
                    <a:cubicBezTo>
                      <a:pt x="0" y="8"/>
                      <a:pt x="7" y="0"/>
                      <a:pt x="17" y="0"/>
                    </a:cubicBezTo>
                    <a:cubicBezTo>
                      <a:pt x="772" y="0"/>
                      <a:pt x="772" y="0"/>
                      <a:pt x="772" y="0"/>
                    </a:cubicBezTo>
                    <a:cubicBezTo>
                      <a:pt x="782" y="0"/>
                      <a:pt x="789" y="8"/>
                      <a:pt x="789" y="17"/>
                    </a:cubicBezTo>
                    <a:cubicBezTo>
                      <a:pt x="789" y="511"/>
                      <a:pt x="789" y="511"/>
                      <a:pt x="789" y="511"/>
                    </a:cubicBezTo>
                    <a:cubicBezTo>
                      <a:pt x="789" y="521"/>
                      <a:pt x="782" y="528"/>
                      <a:pt x="772" y="52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N"/>
              </a:p>
            </p:txBody>
          </p:sp>
          <p:sp>
            <p:nvSpPr>
              <p:cNvPr id="208" name="Freeform 8">
                <a:extLst>
                  <a:ext uri="{FF2B5EF4-FFF2-40B4-BE49-F238E27FC236}">
                    <a16:creationId xmlns:a16="http://schemas.microsoft.com/office/drawing/2014/main" id="{3BC91A93-180E-459F-8EF4-14ECBAEB3204}"/>
                  </a:ext>
                </a:extLst>
              </p:cNvPr>
              <p:cNvSpPr>
                <a:spLocks/>
              </p:cNvSpPr>
              <p:nvPr/>
            </p:nvSpPr>
            <p:spPr bwMode="auto">
              <a:xfrm>
                <a:off x="-2580194" y="3426964"/>
                <a:ext cx="806873" cy="814397"/>
              </a:xfrm>
              <a:custGeom>
                <a:avLst/>
                <a:gdLst>
                  <a:gd name="T0" fmla="*/ 0 w 317"/>
                  <a:gd name="T1" fmla="*/ 318 h 318"/>
                  <a:gd name="T2" fmla="*/ 317 w 317"/>
                  <a:gd name="T3" fmla="*/ 0 h 318"/>
                  <a:gd name="T4" fmla="*/ 18 w 317"/>
                  <a:gd name="T5" fmla="*/ 0 h 318"/>
                  <a:gd name="T6" fmla="*/ 0 w 317"/>
                  <a:gd name="T7" fmla="*/ 19 h 318"/>
                  <a:gd name="T8" fmla="*/ 0 w 317"/>
                  <a:gd name="T9" fmla="*/ 318 h 318"/>
                </a:gdLst>
                <a:ahLst/>
                <a:cxnLst>
                  <a:cxn ang="0">
                    <a:pos x="T0" y="T1"/>
                  </a:cxn>
                  <a:cxn ang="0">
                    <a:pos x="T2" y="T3"/>
                  </a:cxn>
                  <a:cxn ang="0">
                    <a:pos x="T4" y="T5"/>
                  </a:cxn>
                  <a:cxn ang="0">
                    <a:pos x="T6" y="T7"/>
                  </a:cxn>
                  <a:cxn ang="0">
                    <a:pos x="T8" y="T9"/>
                  </a:cxn>
                </a:cxnLst>
                <a:rect l="0" t="0" r="r" b="b"/>
                <a:pathLst>
                  <a:path w="317" h="318">
                    <a:moveTo>
                      <a:pt x="0" y="318"/>
                    </a:moveTo>
                    <a:cubicBezTo>
                      <a:pt x="317" y="0"/>
                      <a:pt x="317" y="0"/>
                      <a:pt x="317" y="0"/>
                    </a:cubicBezTo>
                    <a:cubicBezTo>
                      <a:pt x="18" y="0"/>
                      <a:pt x="18" y="0"/>
                      <a:pt x="18" y="0"/>
                    </a:cubicBezTo>
                    <a:cubicBezTo>
                      <a:pt x="8" y="0"/>
                      <a:pt x="0" y="8"/>
                      <a:pt x="0" y="19"/>
                    </a:cubicBezTo>
                    <a:lnTo>
                      <a:pt x="0" y="318"/>
                    </a:lnTo>
                    <a:close/>
                  </a:path>
                </a:pathLst>
              </a:custGeom>
              <a:solidFill>
                <a:srgbClr val="F14001"/>
              </a:solidFill>
              <a:ln>
                <a:noFill/>
              </a:ln>
            </p:spPr>
            <p:txBody>
              <a:bodyPr vert="horz" wrap="square" lIns="91440" tIns="45720" rIns="91440" bIns="45720" numCol="1" anchor="t" anchorCtr="0" compatLnSpc="1">
                <a:prstTxWarp prst="textNoShape">
                  <a:avLst/>
                </a:prstTxWarp>
              </a:bodyPr>
              <a:lstStyle/>
              <a:p>
                <a:endParaRPr lang="en-IN"/>
              </a:p>
            </p:txBody>
          </p:sp>
          <p:sp>
            <p:nvSpPr>
              <p:cNvPr id="209" name="Rectangle 9">
                <a:extLst>
                  <a:ext uri="{FF2B5EF4-FFF2-40B4-BE49-F238E27FC236}">
                    <a16:creationId xmlns:a16="http://schemas.microsoft.com/office/drawing/2014/main" id="{2675F654-1D7C-49CC-A36D-63D55970368E}"/>
                  </a:ext>
                </a:extLst>
              </p:cNvPr>
              <p:cNvSpPr>
                <a:spLocks noChangeArrowheads="1"/>
              </p:cNvSpPr>
              <p:nvPr/>
            </p:nvSpPr>
            <p:spPr bwMode="auto">
              <a:xfrm>
                <a:off x="-2469225" y="3539814"/>
                <a:ext cx="1788662" cy="112661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0" name="Freeform 10">
                <a:extLst>
                  <a:ext uri="{FF2B5EF4-FFF2-40B4-BE49-F238E27FC236}">
                    <a16:creationId xmlns:a16="http://schemas.microsoft.com/office/drawing/2014/main" id="{1596E6D0-EE5F-404C-AD37-74E041E29655}"/>
                  </a:ext>
                </a:extLst>
              </p:cNvPr>
              <p:cNvSpPr>
                <a:spLocks/>
              </p:cNvSpPr>
              <p:nvPr/>
            </p:nvSpPr>
            <p:spPr bwMode="auto">
              <a:xfrm>
                <a:off x="-2469226" y="3539813"/>
                <a:ext cx="584937" cy="588699"/>
              </a:xfrm>
              <a:custGeom>
                <a:avLst/>
                <a:gdLst>
                  <a:gd name="T0" fmla="*/ 311 w 311"/>
                  <a:gd name="T1" fmla="*/ 0 h 313"/>
                  <a:gd name="T2" fmla="*/ 0 w 311"/>
                  <a:gd name="T3" fmla="*/ 0 h 313"/>
                  <a:gd name="T4" fmla="*/ 0 w 311"/>
                  <a:gd name="T5" fmla="*/ 313 h 313"/>
                  <a:gd name="T6" fmla="*/ 311 w 311"/>
                  <a:gd name="T7" fmla="*/ 0 h 313"/>
                </a:gdLst>
                <a:ahLst/>
                <a:cxnLst>
                  <a:cxn ang="0">
                    <a:pos x="T0" y="T1"/>
                  </a:cxn>
                  <a:cxn ang="0">
                    <a:pos x="T2" y="T3"/>
                  </a:cxn>
                  <a:cxn ang="0">
                    <a:pos x="T4" y="T5"/>
                  </a:cxn>
                  <a:cxn ang="0">
                    <a:pos x="T6" y="T7"/>
                  </a:cxn>
                </a:cxnLst>
                <a:rect l="0" t="0" r="r" b="b"/>
                <a:pathLst>
                  <a:path w="311" h="313">
                    <a:moveTo>
                      <a:pt x="311" y="0"/>
                    </a:moveTo>
                    <a:lnTo>
                      <a:pt x="0" y="0"/>
                    </a:lnTo>
                    <a:lnTo>
                      <a:pt x="0" y="313"/>
                    </a:lnTo>
                    <a:lnTo>
                      <a:pt x="311" y="0"/>
                    </a:lnTo>
                    <a:close/>
                  </a:path>
                </a:pathLst>
              </a:custGeom>
              <a:solidFill>
                <a:srgbClr val="2B4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1" name="Oval 11">
                <a:extLst>
                  <a:ext uri="{FF2B5EF4-FFF2-40B4-BE49-F238E27FC236}">
                    <a16:creationId xmlns:a16="http://schemas.microsoft.com/office/drawing/2014/main" id="{6249490E-C969-45C1-B172-7184E06A068A}"/>
                  </a:ext>
                </a:extLst>
              </p:cNvPr>
              <p:cNvSpPr>
                <a:spLocks noChangeArrowheads="1"/>
              </p:cNvSpPr>
              <p:nvPr/>
            </p:nvSpPr>
            <p:spPr bwMode="auto">
              <a:xfrm>
                <a:off x="-1581477" y="3464581"/>
                <a:ext cx="43260" cy="47021"/>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180" name="Group 179">
              <a:extLst>
                <a:ext uri="{FF2B5EF4-FFF2-40B4-BE49-F238E27FC236}">
                  <a16:creationId xmlns:a16="http://schemas.microsoft.com/office/drawing/2014/main" id="{843F1D14-EBFA-4756-90C0-CDE0D54DE56D}"/>
                </a:ext>
              </a:extLst>
            </p:cNvPr>
            <p:cNvGrpSpPr/>
            <p:nvPr/>
          </p:nvGrpSpPr>
          <p:grpSpPr>
            <a:xfrm>
              <a:off x="5564343" y="3321552"/>
              <a:ext cx="1058035" cy="831841"/>
              <a:chOff x="-3425091" y="3259965"/>
              <a:chExt cx="1998654" cy="1571369"/>
            </a:xfrm>
          </p:grpSpPr>
          <p:sp>
            <p:nvSpPr>
              <p:cNvPr id="199" name="Rectangle 184">
                <a:extLst>
                  <a:ext uri="{FF2B5EF4-FFF2-40B4-BE49-F238E27FC236}">
                    <a16:creationId xmlns:a16="http://schemas.microsoft.com/office/drawing/2014/main" id="{C4A77C25-CC9B-4139-91B5-10E89C792EBC}"/>
                  </a:ext>
                </a:extLst>
              </p:cNvPr>
              <p:cNvSpPr>
                <a:spLocks noChangeArrowheads="1"/>
              </p:cNvSpPr>
              <p:nvPr/>
            </p:nvSpPr>
            <p:spPr bwMode="auto">
              <a:xfrm>
                <a:off x="-2807900" y="4715902"/>
                <a:ext cx="764273" cy="71680"/>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0" name="Freeform 185">
                <a:extLst>
                  <a:ext uri="{FF2B5EF4-FFF2-40B4-BE49-F238E27FC236}">
                    <a16:creationId xmlns:a16="http://schemas.microsoft.com/office/drawing/2014/main" id="{AB0CB0ED-216F-486A-BBE9-4834D4E22DB9}"/>
                  </a:ext>
                </a:extLst>
              </p:cNvPr>
              <p:cNvSpPr>
                <a:spLocks/>
              </p:cNvSpPr>
              <p:nvPr/>
            </p:nvSpPr>
            <p:spPr bwMode="auto">
              <a:xfrm>
                <a:off x="-3425091" y="3259965"/>
                <a:ext cx="1998654" cy="1544372"/>
              </a:xfrm>
              <a:custGeom>
                <a:avLst/>
                <a:gdLst>
                  <a:gd name="T0" fmla="*/ 366 w 366"/>
                  <a:gd name="T1" fmla="*/ 209 h 282"/>
                  <a:gd name="T2" fmla="*/ 366 w 366"/>
                  <a:gd name="T3" fmla="*/ 9 h 282"/>
                  <a:gd name="T4" fmla="*/ 357 w 366"/>
                  <a:gd name="T5" fmla="*/ 0 h 282"/>
                  <a:gd name="T6" fmla="*/ 9 w 366"/>
                  <a:gd name="T7" fmla="*/ 0 h 282"/>
                  <a:gd name="T8" fmla="*/ 0 w 366"/>
                  <a:gd name="T9" fmla="*/ 9 h 282"/>
                  <a:gd name="T10" fmla="*/ 0 w 366"/>
                  <a:gd name="T11" fmla="*/ 209 h 282"/>
                  <a:gd name="T12" fmla="*/ 9 w 366"/>
                  <a:gd name="T13" fmla="*/ 219 h 282"/>
                  <a:gd name="T14" fmla="*/ 175 w 366"/>
                  <a:gd name="T15" fmla="*/ 219 h 282"/>
                  <a:gd name="T16" fmla="*/ 175 w 366"/>
                  <a:gd name="T17" fmla="*/ 274 h 282"/>
                  <a:gd name="T18" fmla="*/ 113 w 366"/>
                  <a:gd name="T19" fmla="*/ 274 h 282"/>
                  <a:gd name="T20" fmla="*/ 113 w 366"/>
                  <a:gd name="T21" fmla="*/ 282 h 282"/>
                  <a:gd name="T22" fmla="*/ 253 w 366"/>
                  <a:gd name="T23" fmla="*/ 282 h 282"/>
                  <a:gd name="T24" fmla="*/ 253 w 366"/>
                  <a:gd name="T25" fmla="*/ 274 h 282"/>
                  <a:gd name="T26" fmla="*/ 191 w 366"/>
                  <a:gd name="T27" fmla="*/ 274 h 282"/>
                  <a:gd name="T28" fmla="*/ 191 w 366"/>
                  <a:gd name="T29" fmla="*/ 219 h 282"/>
                  <a:gd name="T30" fmla="*/ 357 w 366"/>
                  <a:gd name="T31" fmla="*/ 219 h 282"/>
                  <a:gd name="T32" fmla="*/ 366 w 366"/>
                  <a:gd name="T33" fmla="*/ 209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6" h="282">
                    <a:moveTo>
                      <a:pt x="366" y="209"/>
                    </a:moveTo>
                    <a:cubicBezTo>
                      <a:pt x="366" y="9"/>
                      <a:pt x="366" y="9"/>
                      <a:pt x="366" y="9"/>
                    </a:cubicBezTo>
                    <a:cubicBezTo>
                      <a:pt x="366" y="4"/>
                      <a:pt x="362" y="0"/>
                      <a:pt x="357" y="0"/>
                    </a:cubicBezTo>
                    <a:cubicBezTo>
                      <a:pt x="9" y="0"/>
                      <a:pt x="9" y="0"/>
                      <a:pt x="9" y="0"/>
                    </a:cubicBezTo>
                    <a:cubicBezTo>
                      <a:pt x="4" y="0"/>
                      <a:pt x="0" y="4"/>
                      <a:pt x="0" y="9"/>
                    </a:cubicBezTo>
                    <a:cubicBezTo>
                      <a:pt x="0" y="209"/>
                      <a:pt x="0" y="209"/>
                      <a:pt x="0" y="209"/>
                    </a:cubicBezTo>
                    <a:cubicBezTo>
                      <a:pt x="0" y="215"/>
                      <a:pt x="4" y="219"/>
                      <a:pt x="9" y="219"/>
                    </a:cubicBezTo>
                    <a:cubicBezTo>
                      <a:pt x="175" y="219"/>
                      <a:pt x="175" y="219"/>
                      <a:pt x="175" y="219"/>
                    </a:cubicBezTo>
                    <a:cubicBezTo>
                      <a:pt x="175" y="274"/>
                      <a:pt x="175" y="274"/>
                      <a:pt x="175" y="274"/>
                    </a:cubicBezTo>
                    <a:cubicBezTo>
                      <a:pt x="113" y="274"/>
                      <a:pt x="113" y="274"/>
                      <a:pt x="113" y="274"/>
                    </a:cubicBezTo>
                    <a:cubicBezTo>
                      <a:pt x="113" y="282"/>
                      <a:pt x="113" y="282"/>
                      <a:pt x="113" y="282"/>
                    </a:cubicBezTo>
                    <a:cubicBezTo>
                      <a:pt x="253" y="282"/>
                      <a:pt x="253" y="282"/>
                      <a:pt x="253" y="282"/>
                    </a:cubicBezTo>
                    <a:cubicBezTo>
                      <a:pt x="253" y="274"/>
                      <a:pt x="253" y="274"/>
                      <a:pt x="253" y="274"/>
                    </a:cubicBezTo>
                    <a:cubicBezTo>
                      <a:pt x="191" y="274"/>
                      <a:pt x="191" y="274"/>
                      <a:pt x="191" y="274"/>
                    </a:cubicBezTo>
                    <a:cubicBezTo>
                      <a:pt x="191" y="219"/>
                      <a:pt x="191" y="219"/>
                      <a:pt x="191" y="219"/>
                    </a:cubicBezTo>
                    <a:cubicBezTo>
                      <a:pt x="357" y="219"/>
                      <a:pt x="357" y="219"/>
                      <a:pt x="357" y="219"/>
                    </a:cubicBezTo>
                    <a:cubicBezTo>
                      <a:pt x="362" y="219"/>
                      <a:pt x="366" y="215"/>
                      <a:pt x="366" y="209"/>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1" name="Freeform 186">
                <a:extLst>
                  <a:ext uri="{FF2B5EF4-FFF2-40B4-BE49-F238E27FC236}">
                    <a16:creationId xmlns:a16="http://schemas.microsoft.com/office/drawing/2014/main" id="{CF8D4754-4707-427D-BBC7-B9C63DB34586}"/>
                  </a:ext>
                </a:extLst>
              </p:cNvPr>
              <p:cNvSpPr>
                <a:spLocks/>
              </p:cNvSpPr>
              <p:nvPr/>
            </p:nvSpPr>
            <p:spPr bwMode="auto">
              <a:xfrm>
                <a:off x="-2807900" y="4787581"/>
                <a:ext cx="764273" cy="43753"/>
              </a:xfrm>
              <a:custGeom>
                <a:avLst/>
                <a:gdLst>
                  <a:gd name="T0" fmla="*/ 458 w 821"/>
                  <a:gd name="T1" fmla="*/ 0 h 47"/>
                  <a:gd name="T2" fmla="*/ 364 w 821"/>
                  <a:gd name="T3" fmla="*/ 0 h 47"/>
                  <a:gd name="T4" fmla="*/ 305 w 821"/>
                  <a:gd name="T5" fmla="*/ 0 h 47"/>
                  <a:gd name="T6" fmla="*/ 0 w 821"/>
                  <a:gd name="T7" fmla="*/ 0 h 47"/>
                  <a:gd name="T8" fmla="*/ 0 w 821"/>
                  <a:gd name="T9" fmla="*/ 47 h 47"/>
                  <a:gd name="T10" fmla="*/ 821 w 821"/>
                  <a:gd name="T11" fmla="*/ 47 h 47"/>
                  <a:gd name="T12" fmla="*/ 821 w 821"/>
                  <a:gd name="T13" fmla="*/ 0 h 47"/>
                  <a:gd name="T14" fmla="*/ 511 w 821"/>
                  <a:gd name="T15" fmla="*/ 0 h 47"/>
                  <a:gd name="T16" fmla="*/ 458 w 821"/>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1" h="47">
                    <a:moveTo>
                      <a:pt x="458" y="0"/>
                    </a:moveTo>
                    <a:lnTo>
                      <a:pt x="364" y="0"/>
                    </a:lnTo>
                    <a:lnTo>
                      <a:pt x="305" y="0"/>
                    </a:lnTo>
                    <a:lnTo>
                      <a:pt x="0" y="0"/>
                    </a:lnTo>
                    <a:lnTo>
                      <a:pt x="0" y="47"/>
                    </a:lnTo>
                    <a:lnTo>
                      <a:pt x="821" y="47"/>
                    </a:lnTo>
                    <a:lnTo>
                      <a:pt x="821" y="0"/>
                    </a:lnTo>
                    <a:lnTo>
                      <a:pt x="511" y="0"/>
                    </a:lnTo>
                    <a:lnTo>
                      <a:pt x="458"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2" name="Freeform 187">
                <a:extLst>
                  <a:ext uri="{FF2B5EF4-FFF2-40B4-BE49-F238E27FC236}">
                    <a16:creationId xmlns:a16="http://schemas.microsoft.com/office/drawing/2014/main" id="{70145D66-B631-4E34-859F-B60312A033AA}"/>
                  </a:ext>
                </a:extLst>
              </p:cNvPr>
              <p:cNvSpPr>
                <a:spLocks/>
              </p:cNvSpPr>
              <p:nvPr/>
            </p:nvSpPr>
            <p:spPr bwMode="auto">
              <a:xfrm>
                <a:off x="-3425091" y="3286961"/>
                <a:ext cx="1998654" cy="1462452"/>
              </a:xfrm>
              <a:custGeom>
                <a:avLst/>
                <a:gdLst>
                  <a:gd name="T0" fmla="*/ 357 w 366"/>
                  <a:gd name="T1" fmla="*/ 0 h 267"/>
                  <a:gd name="T2" fmla="*/ 9 w 366"/>
                  <a:gd name="T3" fmla="*/ 0 h 267"/>
                  <a:gd name="T4" fmla="*/ 0 w 366"/>
                  <a:gd name="T5" fmla="*/ 9 h 267"/>
                  <a:gd name="T6" fmla="*/ 0 w 366"/>
                  <a:gd name="T7" fmla="*/ 209 h 267"/>
                  <a:gd name="T8" fmla="*/ 9 w 366"/>
                  <a:gd name="T9" fmla="*/ 218 h 267"/>
                  <a:gd name="T10" fmla="*/ 175 w 366"/>
                  <a:gd name="T11" fmla="*/ 218 h 267"/>
                  <a:gd name="T12" fmla="*/ 175 w 366"/>
                  <a:gd name="T13" fmla="*/ 267 h 267"/>
                  <a:gd name="T14" fmla="*/ 191 w 366"/>
                  <a:gd name="T15" fmla="*/ 267 h 267"/>
                  <a:gd name="T16" fmla="*/ 191 w 366"/>
                  <a:gd name="T17" fmla="*/ 218 h 267"/>
                  <a:gd name="T18" fmla="*/ 357 w 366"/>
                  <a:gd name="T19" fmla="*/ 218 h 267"/>
                  <a:gd name="T20" fmla="*/ 366 w 366"/>
                  <a:gd name="T21" fmla="*/ 209 h 267"/>
                  <a:gd name="T22" fmla="*/ 366 w 366"/>
                  <a:gd name="T23" fmla="*/ 9 h 267"/>
                  <a:gd name="T24" fmla="*/ 357 w 366"/>
                  <a:gd name="T25"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6" h="267">
                    <a:moveTo>
                      <a:pt x="357" y="0"/>
                    </a:moveTo>
                    <a:cubicBezTo>
                      <a:pt x="9" y="0"/>
                      <a:pt x="9" y="0"/>
                      <a:pt x="9" y="0"/>
                    </a:cubicBezTo>
                    <a:cubicBezTo>
                      <a:pt x="4" y="0"/>
                      <a:pt x="0" y="4"/>
                      <a:pt x="0" y="9"/>
                    </a:cubicBezTo>
                    <a:cubicBezTo>
                      <a:pt x="0" y="209"/>
                      <a:pt x="0" y="209"/>
                      <a:pt x="0" y="209"/>
                    </a:cubicBezTo>
                    <a:cubicBezTo>
                      <a:pt x="0" y="214"/>
                      <a:pt x="4" y="218"/>
                      <a:pt x="9" y="218"/>
                    </a:cubicBezTo>
                    <a:cubicBezTo>
                      <a:pt x="175" y="218"/>
                      <a:pt x="175" y="218"/>
                      <a:pt x="175" y="218"/>
                    </a:cubicBezTo>
                    <a:cubicBezTo>
                      <a:pt x="175" y="267"/>
                      <a:pt x="175" y="267"/>
                      <a:pt x="175" y="267"/>
                    </a:cubicBezTo>
                    <a:cubicBezTo>
                      <a:pt x="191" y="267"/>
                      <a:pt x="191" y="267"/>
                      <a:pt x="191" y="267"/>
                    </a:cubicBezTo>
                    <a:cubicBezTo>
                      <a:pt x="191" y="218"/>
                      <a:pt x="191" y="218"/>
                      <a:pt x="191" y="218"/>
                    </a:cubicBezTo>
                    <a:cubicBezTo>
                      <a:pt x="357" y="218"/>
                      <a:pt x="357" y="218"/>
                      <a:pt x="357" y="218"/>
                    </a:cubicBezTo>
                    <a:cubicBezTo>
                      <a:pt x="362" y="218"/>
                      <a:pt x="366" y="214"/>
                      <a:pt x="366" y="209"/>
                    </a:cubicBezTo>
                    <a:cubicBezTo>
                      <a:pt x="366" y="9"/>
                      <a:pt x="366" y="9"/>
                      <a:pt x="366" y="9"/>
                    </a:cubicBezTo>
                    <a:cubicBezTo>
                      <a:pt x="366" y="4"/>
                      <a:pt x="362" y="0"/>
                      <a:pt x="357" y="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3" name="Freeform 188">
                <a:extLst>
                  <a:ext uri="{FF2B5EF4-FFF2-40B4-BE49-F238E27FC236}">
                    <a16:creationId xmlns:a16="http://schemas.microsoft.com/office/drawing/2014/main" id="{FF602245-6E90-4F13-A673-F8CF2D4BBF46}"/>
                  </a:ext>
                </a:extLst>
              </p:cNvPr>
              <p:cNvSpPr>
                <a:spLocks/>
              </p:cNvSpPr>
              <p:nvPr/>
            </p:nvSpPr>
            <p:spPr bwMode="auto">
              <a:xfrm>
                <a:off x="-3425091" y="3286962"/>
                <a:ext cx="601365" cy="602296"/>
              </a:xfrm>
              <a:custGeom>
                <a:avLst/>
                <a:gdLst>
                  <a:gd name="T0" fmla="*/ 0 w 110"/>
                  <a:gd name="T1" fmla="*/ 9 h 110"/>
                  <a:gd name="T2" fmla="*/ 0 w 110"/>
                  <a:gd name="T3" fmla="*/ 110 h 110"/>
                  <a:gd name="T4" fmla="*/ 110 w 110"/>
                  <a:gd name="T5" fmla="*/ 0 h 110"/>
                  <a:gd name="T6" fmla="*/ 9 w 110"/>
                  <a:gd name="T7" fmla="*/ 0 h 110"/>
                  <a:gd name="T8" fmla="*/ 0 w 110"/>
                  <a:gd name="T9" fmla="*/ 9 h 110"/>
                </a:gdLst>
                <a:ahLst/>
                <a:cxnLst>
                  <a:cxn ang="0">
                    <a:pos x="T0" y="T1"/>
                  </a:cxn>
                  <a:cxn ang="0">
                    <a:pos x="T2" y="T3"/>
                  </a:cxn>
                  <a:cxn ang="0">
                    <a:pos x="T4" y="T5"/>
                  </a:cxn>
                  <a:cxn ang="0">
                    <a:pos x="T6" y="T7"/>
                  </a:cxn>
                  <a:cxn ang="0">
                    <a:pos x="T8" y="T9"/>
                  </a:cxn>
                </a:cxnLst>
                <a:rect l="0" t="0" r="r" b="b"/>
                <a:pathLst>
                  <a:path w="110" h="110">
                    <a:moveTo>
                      <a:pt x="0" y="9"/>
                    </a:moveTo>
                    <a:cubicBezTo>
                      <a:pt x="0" y="110"/>
                      <a:pt x="0" y="110"/>
                      <a:pt x="0" y="110"/>
                    </a:cubicBezTo>
                    <a:cubicBezTo>
                      <a:pt x="110" y="0"/>
                      <a:pt x="110" y="0"/>
                      <a:pt x="110" y="0"/>
                    </a:cubicBezTo>
                    <a:cubicBezTo>
                      <a:pt x="9" y="0"/>
                      <a:pt x="9" y="0"/>
                      <a:pt x="9" y="0"/>
                    </a:cubicBezTo>
                    <a:cubicBezTo>
                      <a:pt x="4" y="0"/>
                      <a:pt x="0" y="4"/>
                      <a:pt x="0" y="9"/>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4" name="Rectangle 189">
                <a:extLst>
                  <a:ext uri="{FF2B5EF4-FFF2-40B4-BE49-F238E27FC236}">
                    <a16:creationId xmlns:a16="http://schemas.microsoft.com/office/drawing/2014/main" id="{5EB6A1AF-1F6C-4A96-A13C-62D35F2623F6}"/>
                  </a:ext>
                </a:extLst>
              </p:cNvPr>
              <p:cNvSpPr>
                <a:spLocks noChangeArrowheads="1"/>
              </p:cNvSpPr>
              <p:nvPr/>
            </p:nvSpPr>
            <p:spPr bwMode="auto">
              <a:xfrm>
                <a:off x="-3343171" y="3369812"/>
                <a:ext cx="1829229" cy="1012825"/>
              </a:xfrm>
              <a:prstGeom prst="rect">
                <a:avLst/>
              </a:prstGeom>
              <a:solidFill>
                <a:srgbClr val="01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5" name="Freeform 210">
                <a:extLst>
                  <a:ext uri="{FF2B5EF4-FFF2-40B4-BE49-F238E27FC236}">
                    <a16:creationId xmlns:a16="http://schemas.microsoft.com/office/drawing/2014/main" id="{1DBA3244-DD5E-4D29-A242-8442C5558F76}"/>
                  </a:ext>
                </a:extLst>
              </p:cNvPr>
              <p:cNvSpPr>
                <a:spLocks/>
              </p:cNvSpPr>
              <p:nvPr/>
            </p:nvSpPr>
            <p:spPr bwMode="auto">
              <a:xfrm>
                <a:off x="-3343171" y="3369813"/>
                <a:ext cx="437525" cy="437525"/>
              </a:xfrm>
              <a:custGeom>
                <a:avLst/>
                <a:gdLst>
                  <a:gd name="T0" fmla="*/ 470 w 470"/>
                  <a:gd name="T1" fmla="*/ 0 h 470"/>
                  <a:gd name="T2" fmla="*/ 0 w 470"/>
                  <a:gd name="T3" fmla="*/ 0 h 470"/>
                  <a:gd name="T4" fmla="*/ 0 w 470"/>
                  <a:gd name="T5" fmla="*/ 470 h 470"/>
                  <a:gd name="T6" fmla="*/ 470 w 470"/>
                  <a:gd name="T7" fmla="*/ 0 h 470"/>
                </a:gdLst>
                <a:ahLst/>
                <a:cxnLst>
                  <a:cxn ang="0">
                    <a:pos x="T0" y="T1"/>
                  </a:cxn>
                  <a:cxn ang="0">
                    <a:pos x="T2" y="T3"/>
                  </a:cxn>
                  <a:cxn ang="0">
                    <a:pos x="T4" y="T5"/>
                  </a:cxn>
                  <a:cxn ang="0">
                    <a:pos x="T6" y="T7"/>
                  </a:cxn>
                </a:cxnLst>
                <a:rect l="0" t="0" r="r" b="b"/>
                <a:pathLst>
                  <a:path w="470" h="470">
                    <a:moveTo>
                      <a:pt x="470" y="0"/>
                    </a:moveTo>
                    <a:lnTo>
                      <a:pt x="0" y="0"/>
                    </a:lnTo>
                    <a:lnTo>
                      <a:pt x="0" y="470"/>
                    </a:lnTo>
                    <a:lnTo>
                      <a:pt x="470" y="0"/>
                    </a:lnTo>
                    <a:close/>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6" name="Freeform 225">
                <a:extLst>
                  <a:ext uri="{FF2B5EF4-FFF2-40B4-BE49-F238E27FC236}">
                    <a16:creationId xmlns:a16="http://schemas.microsoft.com/office/drawing/2014/main" id="{6A5BC67E-7E24-4082-8DB7-7223947AFC65}"/>
                  </a:ext>
                </a:extLst>
              </p:cNvPr>
              <p:cNvSpPr>
                <a:spLocks/>
              </p:cNvSpPr>
              <p:nvPr/>
            </p:nvSpPr>
            <p:spPr bwMode="auto">
              <a:xfrm>
                <a:off x="-2469050" y="4481314"/>
                <a:ext cx="87505" cy="87505"/>
              </a:xfrm>
              <a:custGeom>
                <a:avLst/>
                <a:gdLst>
                  <a:gd name="T0" fmla="*/ 0 w 94"/>
                  <a:gd name="T1" fmla="*/ 0 h 94"/>
                  <a:gd name="T2" fmla="*/ 94 w 94"/>
                  <a:gd name="T3" fmla="*/ 0 h 94"/>
                  <a:gd name="T4" fmla="*/ 94 w 94"/>
                  <a:gd name="T5" fmla="*/ 94 h 94"/>
                  <a:gd name="T6" fmla="*/ 0 w 94"/>
                  <a:gd name="T7" fmla="*/ 0 h 94"/>
                </a:gdLst>
                <a:ahLst/>
                <a:cxnLst>
                  <a:cxn ang="0">
                    <a:pos x="T0" y="T1"/>
                  </a:cxn>
                  <a:cxn ang="0">
                    <a:pos x="T2" y="T3"/>
                  </a:cxn>
                  <a:cxn ang="0">
                    <a:pos x="T4" y="T5"/>
                  </a:cxn>
                  <a:cxn ang="0">
                    <a:pos x="T6" y="T7"/>
                  </a:cxn>
                </a:cxnLst>
                <a:rect l="0" t="0" r="r" b="b"/>
                <a:pathLst>
                  <a:path w="94" h="94">
                    <a:moveTo>
                      <a:pt x="0" y="0"/>
                    </a:moveTo>
                    <a:lnTo>
                      <a:pt x="94" y="0"/>
                    </a:lnTo>
                    <a:lnTo>
                      <a:pt x="94" y="94"/>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88" name="Group 187">
              <a:extLst>
                <a:ext uri="{FF2B5EF4-FFF2-40B4-BE49-F238E27FC236}">
                  <a16:creationId xmlns:a16="http://schemas.microsoft.com/office/drawing/2014/main" id="{88574633-F9B0-4204-9EC7-DF42793ED330}"/>
                </a:ext>
              </a:extLst>
            </p:cNvPr>
            <p:cNvGrpSpPr/>
            <p:nvPr/>
          </p:nvGrpSpPr>
          <p:grpSpPr>
            <a:xfrm>
              <a:off x="4577163" y="3620129"/>
              <a:ext cx="922904" cy="518973"/>
              <a:chOff x="-3266519" y="4049596"/>
              <a:chExt cx="1751966" cy="985177"/>
            </a:xfrm>
          </p:grpSpPr>
          <p:sp>
            <p:nvSpPr>
              <p:cNvPr id="189" name="Freeform 255">
                <a:extLst>
                  <a:ext uri="{FF2B5EF4-FFF2-40B4-BE49-F238E27FC236}">
                    <a16:creationId xmlns:a16="http://schemas.microsoft.com/office/drawing/2014/main" id="{00657446-6813-4706-AB87-79B2C17629D1}"/>
                  </a:ext>
                </a:extLst>
              </p:cNvPr>
              <p:cNvSpPr>
                <a:spLocks/>
              </p:cNvSpPr>
              <p:nvPr/>
            </p:nvSpPr>
            <p:spPr bwMode="auto">
              <a:xfrm>
                <a:off x="-3080484" y="4049596"/>
                <a:ext cx="1378277" cy="910764"/>
              </a:xfrm>
              <a:custGeom>
                <a:avLst/>
                <a:gdLst>
                  <a:gd name="T0" fmla="*/ 612 w 628"/>
                  <a:gd name="T1" fmla="*/ 414 h 414"/>
                  <a:gd name="T2" fmla="*/ 16 w 628"/>
                  <a:gd name="T3" fmla="*/ 414 h 414"/>
                  <a:gd name="T4" fmla="*/ 0 w 628"/>
                  <a:gd name="T5" fmla="*/ 398 h 414"/>
                  <a:gd name="T6" fmla="*/ 0 w 628"/>
                  <a:gd name="T7" fmla="*/ 16 h 414"/>
                  <a:gd name="T8" fmla="*/ 16 w 628"/>
                  <a:gd name="T9" fmla="*/ 0 h 414"/>
                  <a:gd name="T10" fmla="*/ 612 w 628"/>
                  <a:gd name="T11" fmla="*/ 0 h 414"/>
                  <a:gd name="T12" fmla="*/ 628 w 628"/>
                  <a:gd name="T13" fmla="*/ 16 h 414"/>
                  <a:gd name="T14" fmla="*/ 628 w 628"/>
                  <a:gd name="T15" fmla="*/ 398 h 414"/>
                  <a:gd name="T16" fmla="*/ 612 w 628"/>
                  <a:gd name="T17"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8" h="414">
                    <a:moveTo>
                      <a:pt x="612" y="414"/>
                    </a:moveTo>
                    <a:cubicBezTo>
                      <a:pt x="16" y="414"/>
                      <a:pt x="16" y="414"/>
                      <a:pt x="16" y="414"/>
                    </a:cubicBezTo>
                    <a:cubicBezTo>
                      <a:pt x="7" y="414"/>
                      <a:pt x="0" y="407"/>
                      <a:pt x="0" y="398"/>
                    </a:cubicBezTo>
                    <a:cubicBezTo>
                      <a:pt x="0" y="16"/>
                      <a:pt x="0" y="16"/>
                      <a:pt x="0" y="16"/>
                    </a:cubicBezTo>
                    <a:cubicBezTo>
                      <a:pt x="0" y="7"/>
                      <a:pt x="7" y="0"/>
                      <a:pt x="16" y="0"/>
                    </a:cubicBezTo>
                    <a:cubicBezTo>
                      <a:pt x="612" y="0"/>
                      <a:pt x="612" y="0"/>
                      <a:pt x="612" y="0"/>
                    </a:cubicBezTo>
                    <a:cubicBezTo>
                      <a:pt x="621" y="0"/>
                      <a:pt x="628" y="7"/>
                      <a:pt x="628" y="16"/>
                    </a:cubicBezTo>
                    <a:cubicBezTo>
                      <a:pt x="628" y="398"/>
                      <a:pt x="628" y="398"/>
                      <a:pt x="628" y="398"/>
                    </a:cubicBezTo>
                    <a:cubicBezTo>
                      <a:pt x="628" y="407"/>
                      <a:pt x="621" y="414"/>
                      <a:pt x="612" y="41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256">
                <a:extLst>
                  <a:ext uri="{FF2B5EF4-FFF2-40B4-BE49-F238E27FC236}">
                    <a16:creationId xmlns:a16="http://schemas.microsoft.com/office/drawing/2014/main" id="{192D5C68-AD6D-4B70-AD7F-87C544DED258}"/>
                  </a:ext>
                </a:extLst>
              </p:cNvPr>
              <p:cNvSpPr>
                <a:spLocks/>
              </p:cNvSpPr>
              <p:nvPr/>
            </p:nvSpPr>
            <p:spPr bwMode="auto">
              <a:xfrm>
                <a:off x="-3080484" y="4049596"/>
                <a:ext cx="583989" cy="582371"/>
              </a:xfrm>
              <a:custGeom>
                <a:avLst/>
                <a:gdLst>
                  <a:gd name="T0" fmla="*/ 0 w 266"/>
                  <a:gd name="T1" fmla="*/ 265 h 265"/>
                  <a:gd name="T2" fmla="*/ 0 w 266"/>
                  <a:gd name="T3" fmla="*/ 13 h 265"/>
                  <a:gd name="T4" fmla="*/ 14 w 266"/>
                  <a:gd name="T5" fmla="*/ 0 h 265"/>
                  <a:gd name="T6" fmla="*/ 266 w 266"/>
                  <a:gd name="T7" fmla="*/ 0 h 265"/>
                  <a:gd name="T8" fmla="*/ 0 w 266"/>
                  <a:gd name="T9" fmla="*/ 265 h 265"/>
                </a:gdLst>
                <a:ahLst/>
                <a:cxnLst>
                  <a:cxn ang="0">
                    <a:pos x="T0" y="T1"/>
                  </a:cxn>
                  <a:cxn ang="0">
                    <a:pos x="T2" y="T3"/>
                  </a:cxn>
                  <a:cxn ang="0">
                    <a:pos x="T4" y="T5"/>
                  </a:cxn>
                  <a:cxn ang="0">
                    <a:pos x="T6" y="T7"/>
                  </a:cxn>
                  <a:cxn ang="0">
                    <a:pos x="T8" y="T9"/>
                  </a:cxn>
                </a:cxnLst>
                <a:rect l="0" t="0" r="r" b="b"/>
                <a:pathLst>
                  <a:path w="266" h="265">
                    <a:moveTo>
                      <a:pt x="0" y="265"/>
                    </a:moveTo>
                    <a:cubicBezTo>
                      <a:pt x="0" y="13"/>
                      <a:pt x="0" y="13"/>
                      <a:pt x="0" y="13"/>
                    </a:cubicBezTo>
                    <a:cubicBezTo>
                      <a:pt x="0" y="6"/>
                      <a:pt x="6" y="0"/>
                      <a:pt x="14" y="0"/>
                    </a:cubicBezTo>
                    <a:cubicBezTo>
                      <a:pt x="266" y="0"/>
                      <a:pt x="266" y="0"/>
                      <a:pt x="266" y="0"/>
                    </a:cubicBezTo>
                    <a:lnTo>
                      <a:pt x="0" y="265"/>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1" name="Freeform 257">
                <a:extLst>
                  <a:ext uri="{FF2B5EF4-FFF2-40B4-BE49-F238E27FC236}">
                    <a16:creationId xmlns:a16="http://schemas.microsoft.com/office/drawing/2014/main" id="{C83DFEE0-9AA9-4638-AC49-86018C7CE318}"/>
                  </a:ext>
                </a:extLst>
              </p:cNvPr>
              <p:cNvSpPr>
                <a:spLocks/>
              </p:cNvSpPr>
              <p:nvPr/>
            </p:nvSpPr>
            <p:spPr bwMode="auto">
              <a:xfrm>
                <a:off x="-3266519" y="4960359"/>
                <a:ext cx="1751966" cy="74414"/>
              </a:xfrm>
              <a:custGeom>
                <a:avLst/>
                <a:gdLst>
                  <a:gd name="T0" fmla="*/ 764 w 798"/>
                  <a:gd name="T1" fmla="*/ 34 h 34"/>
                  <a:gd name="T2" fmla="*/ 34 w 798"/>
                  <a:gd name="T3" fmla="*/ 34 h 34"/>
                  <a:gd name="T4" fmla="*/ 0 w 798"/>
                  <a:gd name="T5" fmla="*/ 0 h 34"/>
                  <a:gd name="T6" fmla="*/ 798 w 798"/>
                  <a:gd name="T7" fmla="*/ 0 h 34"/>
                  <a:gd name="T8" fmla="*/ 764 w 798"/>
                  <a:gd name="T9" fmla="*/ 34 h 34"/>
                </a:gdLst>
                <a:ahLst/>
                <a:cxnLst>
                  <a:cxn ang="0">
                    <a:pos x="T0" y="T1"/>
                  </a:cxn>
                  <a:cxn ang="0">
                    <a:pos x="T2" y="T3"/>
                  </a:cxn>
                  <a:cxn ang="0">
                    <a:pos x="T4" y="T5"/>
                  </a:cxn>
                  <a:cxn ang="0">
                    <a:pos x="T6" y="T7"/>
                  </a:cxn>
                  <a:cxn ang="0">
                    <a:pos x="T8" y="T9"/>
                  </a:cxn>
                </a:cxnLst>
                <a:rect l="0" t="0" r="r" b="b"/>
                <a:pathLst>
                  <a:path w="798" h="34">
                    <a:moveTo>
                      <a:pt x="764" y="34"/>
                    </a:moveTo>
                    <a:cubicBezTo>
                      <a:pt x="34" y="34"/>
                      <a:pt x="34" y="34"/>
                      <a:pt x="34" y="34"/>
                    </a:cubicBezTo>
                    <a:cubicBezTo>
                      <a:pt x="15" y="34"/>
                      <a:pt x="0" y="19"/>
                      <a:pt x="0" y="0"/>
                    </a:cubicBezTo>
                    <a:cubicBezTo>
                      <a:pt x="798" y="0"/>
                      <a:pt x="798" y="0"/>
                      <a:pt x="798" y="0"/>
                    </a:cubicBezTo>
                    <a:cubicBezTo>
                      <a:pt x="798" y="19"/>
                      <a:pt x="783" y="34"/>
                      <a:pt x="764" y="34"/>
                    </a:cubicBezTo>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92" name="Rectangle 258">
                <a:extLst>
                  <a:ext uri="{FF2B5EF4-FFF2-40B4-BE49-F238E27FC236}">
                    <a16:creationId xmlns:a16="http://schemas.microsoft.com/office/drawing/2014/main" id="{55B9C719-5C53-41C6-96F0-0CB9ADD52FB0}"/>
                  </a:ext>
                </a:extLst>
              </p:cNvPr>
              <p:cNvSpPr>
                <a:spLocks noChangeArrowheads="1"/>
              </p:cNvSpPr>
              <p:nvPr/>
            </p:nvSpPr>
            <p:spPr bwMode="auto">
              <a:xfrm>
                <a:off x="-3006070" y="4124010"/>
                <a:ext cx="1229449" cy="761935"/>
              </a:xfrm>
              <a:prstGeom prst="rect">
                <a:avLst/>
              </a:prstGeom>
              <a:solidFill>
                <a:srgbClr val="2770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nvGrpSpPr>
              <p:cNvPr id="193" name="Group 192">
                <a:extLst>
                  <a:ext uri="{FF2B5EF4-FFF2-40B4-BE49-F238E27FC236}">
                    <a16:creationId xmlns:a16="http://schemas.microsoft.com/office/drawing/2014/main" id="{CC97D67C-EE9A-400B-885E-4D50B01CF935}"/>
                  </a:ext>
                </a:extLst>
              </p:cNvPr>
              <p:cNvGrpSpPr/>
              <p:nvPr/>
            </p:nvGrpSpPr>
            <p:grpSpPr>
              <a:xfrm>
                <a:off x="-2741106" y="4481513"/>
                <a:ext cx="702756" cy="286340"/>
                <a:chOff x="-2600029" y="4124010"/>
                <a:chExt cx="420602" cy="643843"/>
              </a:xfrm>
              <a:solidFill>
                <a:schemeClr val="accent1">
                  <a:lumMod val="60000"/>
                  <a:lumOff val="40000"/>
                </a:schemeClr>
              </a:solidFill>
            </p:grpSpPr>
            <p:sp>
              <p:nvSpPr>
                <p:cNvPr id="195" name="Rectangle 259">
                  <a:extLst>
                    <a:ext uri="{FF2B5EF4-FFF2-40B4-BE49-F238E27FC236}">
                      <a16:creationId xmlns:a16="http://schemas.microsoft.com/office/drawing/2014/main" id="{B918482D-4004-48CB-9F3D-9876D1F7DD4C}"/>
                    </a:ext>
                  </a:extLst>
                </p:cNvPr>
                <p:cNvSpPr>
                  <a:spLocks noChangeArrowheads="1"/>
                </p:cNvSpPr>
                <p:nvPr/>
              </p:nvSpPr>
              <p:spPr bwMode="auto">
                <a:xfrm>
                  <a:off x="-2600029" y="4397078"/>
                  <a:ext cx="103533" cy="370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6" name="Rectangle 260">
                  <a:extLst>
                    <a:ext uri="{FF2B5EF4-FFF2-40B4-BE49-F238E27FC236}">
                      <a16:creationId xmlns:a16="http://schemas.microsoft.com/office/drawing/2014/main" id="{A6EE3796-0D23-4CE6-8374-B9B75FDDAF78}"/>
                    </a:ext>
                  </a:extLst>
                </p:cNvPr>
                <p:cNvSpPr>
                  <a:spLocks noChangeArrowheads="1"/>
                </p:cNvSpPr>
                <p:nvPr/>
              </p:nvSpPr>
              <p:spPr bwMode="auto">
                <a:xfrm>
                  <a:off x="-2441494" y="4297103"/>
                  <a:ext cx="103533" cy="470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8" name="Rectangle 261">
                  <a:extLst>
                    <a:ext uri="{FF2B5EF4-FFF2-40B4-BE49-F238E27FC236}">
                      <a16:creationId xmlns:a16="http://schemas.microsoft.com/office/drawing/2014/main" id="{B3396E5A-8A1C-4F12-A980-1252EB63D9E2}"/>
                    </a:ext>
                  </a:extLst>
                </p:cNvPr>
                <p:cNvSpPr>
                  <a:spLocks noChangeArrowheads="1"/>
                </p:cNvSpPr>
                <p:nvPr/>
              </p:nvSpPr>
              <p:spPr bwMode="auto">
                <a:xfrm>
                  <a:off x="-2282960" y="4124010"/>
                  <a:ext cx="103533" cy="6438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4" name="Freeform 271">
                <a:extLst>
                  <a:ext uri="{FF2B5EF4-FFF2-40B4-BE49-F238E27FC236}">
                    <a16:creationId xmlns:a16="http://schemas.microsoft.com/office/drawing/2014/main" id="{203F4F20-C18B-4420-A0DE-6313BCDD9BB1}"/>
                  </a:ext>
                </a:extLst>
              </p:cNvPr>
              <p:cNvSpPr>
                <a:spLocks/>
              </p:cNvSpPr>
              <p:nvPr/>
            </p:nvSpPr>
            <p:spPr bwMode="auto">
              <a:xfrm>
                <a:off x="-3006070" y="4124010"/>
                <a:ext cx="435161" cy="435161"/>
              </a:xfrm>
              <a:custGeom>
                <a:avLst/>
                <a:gdLst>
                  <a:gd name="T0" fmla="*/ 0 w 269"/>
                  <a:gd name="T1" fmla="*/ 0 h 269"/>
                  <a:gd name="T2" fmla="*/ 0 w 269"/>
                  <a:gd name="T3" fmla="*/ 269 h 269"/>
                  <a:gd name="T4" fmla="*/ 269 w 269"/>
                  <a:gd name="T5" fmla="*/ 0 h 269"/>
                  <a:gd name="T6" fmla="*/ 0 w 269"/>
                  <a:gd name="T7" fmla="*/ 0 h 269"/>
                </a:gdLst>
                <a:ahLst/>
                <a:cxnLst>
                  <a:cxn ang="0">
                    <a:pos x="T0" y="T1"/>
                  </a:cxn>
                  <a:cxn ang="0">
                    <a:pos x="T2" y="T3"/>
                  </a:cxn>
                  <a:cxn ang="0">
                    <a:pos x="T4" y="T5"/>
                  </a:cxn>
                  <a:cxn ang="0">
                    <a:pos x="T6" y="T7"/>
                  </a:cxn>
                </a:cxnLst>
                <a:rect l="0" t="0" r="r" b="b"/>
                <a:pathLst>
                  <a:path w="269" h="269">
                    <a:moveTo>
                      <a:pt x="0" y="0"/>
                    </a:moveTo>
                    <a:lnTo>
                      <a:pt x="0" y="269"/>
                    </a:lnTo>
                    <a:lnTo>
                      <a:pt x="269" y="0"/>
                    </a:lnTo>
                    <a:lnTo>
                      <a:pt x="0" y="0"/>
                    </a:lnTo>
                    <a:close/>
                  </a:path>
                </a:pathLst>
              </a:custGeom>
              <a:solidFill>
                <a:srgbClr val="4C9A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pic>
        <p:nvPicPr>
          <p:cNvPr id="220" name="Picture 219">
            <a:extLst>
              <a:ext uri="{FF2B5EF4-FFF2-40B4-BE49-F238E27FC236}">
                <a16:creationId xmlns:a16="http://schemas.microsoft.com/office/drawing/2014/main" id="{00553477-14C9-4D28-8141-82FAC3A9DF3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274782" y="1587450"/>
            <a:ext cx="1091204" cy="1091204"/>
          </a:xfrm>
          <a:prstGeom prst="rect">
            <a:avLst/>
          </a:prstGeom>
          <a:ln>
            <a:noFill/>
          </a:ln>
        </p:spPr>
      </p:pic>
      <p:grpSp>
        <p:nvGrpSpPr>
          <p:cNvPr id="221" name="Group 220">
            <a:extLst>
              <a:ext uri="{FF2B5EF4-FFF2-40B4-BE49-F238E27FC236}">
                <a16:creationId xmlns:a16="http://schemas.microsoft.com/office/drawing/2014/main" id="{51AF5834-0B1A-484F-A4F3-04E9684EF463}"/>
              </a:ext>
            </a:extLst>
          </p:cNvPr>
          <p:cNvGrpSpPr/>
          <p:nvPr/>
        </p:nvGrpSpPr>
        <p:grpSpPr>
          <a:xfrm>
            <a:off x="5676623" y="4219774"/>
            <a:ext cx="840341" cy="924545"/>
            <a:chOff x="4774438" y="3026202"/>
            <a:chExt cx="1774127" cy="1951900"/>
          </a:xfrm>
        </p:grpSpPr>
        <p:grpSp>
          <p:nvGrpSpPr>
            <p:cNvPr id="222" name="Group 221">
              <a:extLst>
                <a:ext uri="{FF2B5EF4-FFF2-40B4-BE49-F238E27FC236}">
                  <a16:creationId xmlns:a16="http://schemas.microsoft.com/office/drawing/2014/main" id="{23B43B53-E7CE-4268-A57F-B28DEC61C11B}"/>
                </a:ext>
              </a:extLst>
            </p:cNvPr>
            <p:cNvGrpSpPr/>
            <p:nvPr/>
          </p:nvGrpSpPr>
          <p:grpSpPr>
            <a:xfrm>
              <a:off x="4950909" y="3384960"/>
              <a:ext cx="1597656" cy="1593142"/>
              <a:chOff x="2816788" y="3090365"/>
              <a:chExt cx="1597656" cy="1593142"/>
            </a:xfrm>
          </p:grpSpPr>
          <p:sp>
            <p:nvSpPr>
              <p:cNvPr id="228" name="Freeform 102">
                <a:extLst>
                  <a:ext uri="{FF2B5EF4-FFF2-40B4-BE49-F238E27FC236}">
                    <a16:creationId xmlns:a16="http://schemas.microsoft.com/office/drawing/2014/main" id="{6CDDA658-54CA-4254-8123-82B2BEF26331}"/>
                  </a:ext>
                </a:extLst>
              </p:cNvPr>
              <p:cNvSpPr>
                <a:spLocks/>
              </p:cNvSpPr>
              <p:nvPr/>
            </p:nvSpPr>
            <p:spPr bwMode="auto">
              <a:xfrm>
                <a:off x="3467645" y="3724294"/>
                <a:ext cx="946799" cy="957834"/>
              </a:xfrm>
              <a:custGeom>
                <a:avLst/>
                <a:gdLst>
                  <a:gd name="T0" fmla="*/ 1085 w 1118"/>
                  <a:gd name="T1" fmla="*/ 684 h 1127"/>
                  <a:gd name="T2" fmla="*/ 1097 w 1118"/>
                  <a:gd name="T3" fmla="*/ 573 h 1127"/>
                  <a:gd name="T4" fmla="*/ 565 w 1118"/>
                  <a:gd name="T5" fmla="*/ 41 h 1127"/>
                  <a:gd name="T6" fmla="*/ 472 w 1118"/>
                  <a:gd name="T7" fmla="*/ 49 h 1127"/>
                  <a:gd name="T8" fmla="*/ 305 w 1118"/>
                  <a:gd name="T9" fmla="*/ 0 h 1127"/>
                  <a:gd name="T10" fmla="*/ 0 w 1118"/>
                  <a:gd name="T11" fmla="*/ 305 h 1127"/>
                  <a:gd name="T12" fmla="*/ 44 w 1118"/>
                  <a:gd name="T13" fmla="*/ 462 h 1127"/>
                  <a:gd name="T14" fmla="*/ 32 w 1118"/>
                  <a:gd name="T15" fmla="*/ 573 h 1127"/>
                  <a:gd name="T16" fmla="*/ 565 w 1118"/>
                  <a:gd name="T17" fmla="*/ 1106 h 1127"/>
                  <a:gd name="T18" fmla="*/ 675 w 1118"/>
                  <a:gd name="T19" fmla="*/ 1094 h 1127"/>
                  <a:gd name="T20" fmla="*/ 813 w 1118"/>
                  <a:gd name="T21" fmla="*/ 1127 h 1127"/>
                  <a:gd name="T22" fmla="*/ 1118 w 1118"/>
                  <a:gd name="T23" fmla="*/ 822 h 1127"/>
                  <a:gd name="T24" fmla="*/ 1085 w 1118"/>
                  <a:gd name="T25" fmla="*/ 684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8" h="1127">
                    <a:moveTo>
                      <a:pt x="1085" y="684"/>
                    </a:moveTo>
                    <a:cubicBezTo>
                      <a:pt x="1093" y="648"/>
                      <a:pt x="1097" y="611"/>
                      <a:pt x="1097" y="573"/>
                    </a:cubicBezTo>
                    <a:cubicBezTo>
                      <a:pt x="1097" y="280"/>
                      <a:pt x="859" y="41"/>
                      <a:pt x="565" y="41"/>
                    </a:cubicBezTo>
                    <a:cubicBezTo>
                      <a:pt x="533" y="41"/>
                      <a:pt x="502" y="44"/>
                      <a:pt x="472" y="49"/>
                    </a:cubicBezTo>
                    <a:cubicBezTo>
                      <a:pt x="424" y="18"/>
                      <a:pt x="367" y="0"/>
                      <a:pt x="305" y="0"/>
                    </a:cubicBezTo>
                    <a:cubicBezTo>
                      <a:pt x="137" y="0"/>
                      <a:pt x="0" y="136"/>
                      <a:pt x="0" y="305"/>
                    </a:cubicBezTo>
                    <a:cubicBezTo>
                      <a:pt x="0" y="362"/>
                      <a:pt x="16" y="416"/>
                      <a:pt x="44" y="462"/>
                    </a:cubicBezTo>
                    <a:cubicBezTo>
                      <a:pt x="36" y="498"/>
                      <a:pt x="32" y="535"/>
                      <a:pt x="32" y="573"/>
                    </a:cubicBezTo>
                    <a:cubicBezTo>
                      <a:pt x="32" y="867"/>
                      <a:pt x="271" y="1106"/>
                      <a:pt x="565" y="1106"/>
                    </a:cubicBezTo>
                    <a:cubicBezTo>
                      <a:pt x="603" y="1106"/>
                      <a:pt x="640" y="1102"/>
                      <a:pt x="675" y="1094"/>
                    </a:cubicBezTo>
                    <a:cubicBezTo>
                      <a:pt x="717" y="1115"/>
                      <a:pt x="764" y="1127"/>
                      <a:pt x="813" y="1127"/>
                    </a:cubicBezTo>
                    <a:cubicBezTo>
                      <a:pt x="982" y="1127"/>
                      <a:pt x="1118" y="991"/>
                      <a:pt x="1118" y="822"/>
                    </a:cubicBezTo>
                    <a:cubicBezTo>
                      <a:pt x="1118" y="772"/>
                      <a:pt x="1106" y="726"/>
                      <a:pt x="1085" y="6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29" name="Freeform 103">
                <a:extLst>
                  <a:ext uri="{FF2B5EF4-FFF2-40B4-BE49-F238E27FC236}">
                    <a16:creationId xmlns:a16="http://schemas.microsoft.com/office/drawing/2014/main" id="{4BF888D9-30D8-4347-A077-801FFF247ECC}"/>
                  </a:ext>
                </a:extLst>
              </p:cNvPr>
              <p:cNvSpPr>
                <a:spLocks/>
              </p:cNvSpPr>
              <p:nvPr/>
            </p:nvSpPr>
            <p:spPr bwMode="auto">
              <a:xfrm>
                <a:off x="4092408" y="4426292"/>
                <a:ext cx="138606" cy="257215"/>
              </a:xfrm>
              <a:custGeom>
                <a:avLst/>
                <a:gdLst>
                  <a:gd name="T0" fmla="*/ 146 w 164"/>
                  <a:gd name="T1" fmla="*/ 148 h 303"/>
                  <a:gd name="T2" fmla="*/ 146 w 164"/>
                  <a:gd name="T3" fmla="*/ 136 h 303"/>
                  <a:gd name="T4" fmla="*/ 101 w 164"/>
                  <a:gd name="T5" fmla="*/ 91 h 303"/>
                  <a:gd name="T6" fmla="*/ 64 w 164"/>
                  <a:gd name="T7" fmla="*/ 91 h 303"/>
                  <a:gd name="T8" fmla="*/ 64 w 164"/>
                  <a:gd name="T9" fmla="*/ 0 h 303"/>
                  <a:gd name="T10" fmla="*/ 18 w 164"/>
                  <a:gd name="T11" fmla="*/ 0 h 303"/>
                  <a:gd name="T12" fmla="*/ 18 w 164"/>
                  <a:gd name="T13" fmla="*/ 170 h 303"/>
                  <a:gd name="T14" fmla="*/ 12 w 164"/>
                  <a:gd name="T15" fmla="*/ 170 h 303"/>
                  <a:gd name="T16" fmla="*/ 12 w 164"/>
                  <a:gd name="T17" fmla="*/ 196 h 303"/>
                  <a:gd name="T18" fmla="*/ 4 w 164"/>
                  <a:gd name="T19" fmla="*/ 196 h 303"/>
                  <a:gd name="T20" fmla="*/ 0 w 164"/>
                  <a:gd name="T21" fmla="*/ 292 h 303"/>
                  <a:gd name="T22" fmla="*/ 82 w 164"/>
                  <a:gd name="T23" fmla="*/ 301 h 303"/>
                  <a:gd name="T24" fmla="*/ 78 w 164"/>
                  <a:gd name="T25" fmla="*/ 196 h 303"/>
                  <a:gd name="T26" fmla="*/ 70 w 164"/>
                  <a:gd name="T27" fmla="*/ 196 h 303"/>
                  <a:gd name="T28" fmla="*/ 70 w 164"/>
                  <a:gd name="T29" fmla="*/ 170 h 303"/>
                  <a:gd name="T30" fmla="*/ 64 w 164"/>
                  <a:gd name="T31" fmla="*/ 170 h 303"/>
                  <a:gd name="T32" fmla="*/ 64 w 164"/>
                  <a:gd name="T33" fmla="*/ 106 h 303"/>
                  <a:gd name="T34" fmla="*/ 101 w 164"/>
                  <a:gd name="T35" fmla="*/ 106 h 303"/>
                  <a:gd name="T36" fmla="*/ 132 w 164"/>
                  <a:gd name="T37" fmla="*/ 136 h 303"/>
                  <a:gd name="T38" fmla="*/ 132 w 164"/>
                  <a:gd name="T39" fmla="*/ 148 h 303"/>
                  <a:gd name="T40" fmla="*/ 115 w 164"/>
                  <a:gd name="T41" fmla="*/ 194 h 303"/>
                  <a:gd name="T42" fmla="*/ 119 w 164"/>
                  <a:gd name="T43" fmla="*/ 199 h 303"/>
                  <a:gd name="T44" fmla="*/ 159 w 164"/>
                  <a:gd name="T45" fmla="*/ 199 h 303"/>
                  <a:gd name="T46" fmla="*/ 164 w 164"/>
                  <a:gd name="T47" fmla="*/ 194 h 303"/>
                  <a:gd name="T48" fmla="*/ 146 w 164"/>
                  <a:gd name="T49" fmla="*/ 148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 h="303">
                    <a:moveTo>
                      <a:pt x="146" y="148"/>
                    </a:moveTo>
                    <a:cubicBezTo>
                      <a:pt x="146" y="136"/>
                      <a:pt x="146" y="136"/>
                      <a:pt x="146" y="136"/>
                    </a:cubicBezTo>
                    <a:cubicBezTo>
                      <a:pt x="146" y="111"/>
                      <a:pt x="126" y="91"/>
                      <a:pt x="101" y="91"/>
                    </a:cubicBezTo>
                    <a:cubicBezTo>
                      <a:pt x="64" y="91"/>
                      <a:pt x="64" y="91"/>
                      <a:pt x="64" y="91"/>
                    </a:cubicBezTo>
                    <a:cubicBezTo>
                      <a:pt x="64" y="0"/>
                      <a:pt x="64" y="0"/>
                      <a:pt x="64" y="0"/>
                    </a:cubicBezTo>
                    <a:cubicBezTo>
                      <a:pt x="18" y="0"/>
                      <a:pt x="18" y="0"/>
                      <a:pt x="18" y="0"/>
                    </a:cubicBezTo>
                    <a:cubicBezTo>
                      <a:pt x="18" y="170"/>
                      <a:pt x="18" y="170"/>
                      <a:pt x="18" y="170"/>
                    </a:cubicBezTo>
                    <a:cubicBezTo>
                      <a:pt x="12" y="170"/>
                      <a:pt x="12" y="170"/>
                      <a:pt x="12" y="170"/>
                    </a:cubicBezTo>
                    <a:cubicBezTo>
                      <a:pt x="12" y="196"/>
                      <a:pt x="12" y="196"/>
                      <a:pt x="12" y="196"/>
                    </a:cubicBezTo>
                    <a:cubicBezTo>
                      <a:pt x="4" y="196"/>
                      <a:pt x="4" y="196"/>
                      <a:pt x="4" y="196"/>
                    </a:cubicBezTo>
                    <a:cubicBezTo>
                      <a:pt x="0" y="292"/>
                      <a:pt x="0" y="292"/>
                      <a:pt x="0" y="292"/>
                    </a:cubicBezTo>
                    <a:cubicBezTo>
                      <a:pt x="12" y="295"/>
                      <a:pt x="43" y="303"/>
                      <a:pt x="82" y="301"/>
                    </a:cubicBezTo>
                    <a:cubicBezTo>
                      <a:pt x="78" y="196"/>
                      <a:pt x="78" y="196"/>
                      <a:pt x="78" y="196"/>
                    </a:cubicBezTo>
                    <a:cubicBezTo>
                      <a:pt x="70" y="196"/>
                      <a:pt x="70" y="196"/>
                      <a:pt x="70" y="196"/>
                    </a:cubicBezTo>
                    <a:cubicBezTo>
                      <a:pt x="70" y="170"/>
                      <a:pt x="70" y="170"/>
                      <a:pt x="70" y="170"/>
                    </a:cubicBezTo>
                    <a:cubicBezTo>
                      <a:pt x="64" y="170"/>
                      <a:pt x="64" y="170"/>
                      <a:pt x="64" y="170"/>
                    </a:cubicBezTo>
                    <a:cubicBezTo>
                      <a:pt x="64" y="106"/>
                      <a:pt x="64" y="106"/>
                      <a:pt x="64" y="106"/>
                    </a:cubicBezTo>
                    <a:cubicBezTo>
                      <a:pt x="101" y="106"/>
                      <a:pt x="101" y="106"/>
                      <a:pt x="101" y="106"/>
                    </a:cubicBezTo>
                    <a:cubicBezTo>
                      <a:pt x="118" y="106"/>
                      <a:pt x="132" y="119"/>
                      <a:pt x="132" y="136"/>
                    </a:cubicBezTo>
                    <a:cubicBezTo>
                      <a:pt x="132" y="148"/>
                      <a:pt x="132" y="148"/>
                      <a:pt x="132" y="148"/>
                    </a:cubicBezTo>
                    <a:cubicBezTo>
                      <a:pt x="123" y="162"/>
                      <a:pt x="116" y="177"/>
                      <a:pt x="115" y="194"/>
                    </a:cubicBezTo>
                    <a:cubicBezTo>
                      <a:pt x="114" y="196"/>
                      <a:pt x="117" y="199"/>
                      <a:pt x="119" y="199"/>
                    </a:cubicBezTo>
                    <a:cubicBezTo>
                      <a:pt x="159" y="199"/>
                      <a:pt x="159" y="199"/>
                      <a:pt x="159" y="199"/>
                    </a:cubicBezTo>
                    <a:cubicBezTo>
                      <a:pt x="162" y="199"/>
                      <a:pt x="164" y="196"/>
                      <a:pt x="164" y="194"/>
                    </a:cubicBezTo>
                    <a:cubicBezTo>
                      <a:pt x="163" y="177"/>
                      <a:pt x="155" y="162"/>
                      <a:pt x="146" y="148"/>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30" name="Freeform 104">
                <a:extLst>
                  <a:ext uri="{FF2B5EF4-FFF2-40B4-BE49-F238E27FC236}">
                    <a16:creationId xmlns:a16="http://schemas.microsoft.com/office/drawing/2014/main" id="{35006FE3-E56A-4862-84C9-9AB33284E314}"/>
                  </a:ext>
                </a:extLst>
              </p:cNvPr>
              <p:cNvSpPr>
                <a:spLocks/>
              </p:cNvSpPr>
              <p:nvPr/>
            </p:nvSpPr>
            <p:spPr bwMode="auto">
              <a:xfrm>
                <a:off x="3813816" y="4021505"/>
                <a:ext cx="164121" cy="291005"/>
              </a:xfrm>
              <a:custGeom>
                <a:avLst/>
                <a:gdLst>
                  <a:gd name="T0" fmla="*/ 211 w 238"/>
                  <a:gd name="T1" fmla="*/ 0 h 422"/>
                  <a:gd name="T2" fmla="*/ 142 w 238"/>
                  <a:gd name="T3" fmla="*/ 267 h 422"/>
                  <a:gd name="T4" fmla="*/ 0 w 238"/>
                  <a:gd name="T5" fmla="*/ 364 h 422"/>
                  <a:gd name="T6" fmla="*/ 26 w 238"/>
                  <a:gd name="T7" fmla="*/ 422 h 422"/>
                  <a:gd name="T8" fmla="*/ 231 w 238"/>
                  <a:gd name="T9" fmla="*/ 338 h 422"/>
                  <a:gd name="T10" fmla="*/ 238 w 238"/>
                  <a:gd name="T11" fmla="*/ 29 h 422"/>
                  <a:gd name="T12" fmla="*/ 211 w 238"/>
                  <a:gd name="T13" fmla="*/ 0 h 422"/>
                </a:gdLst>
                <a:ahLst/>
                <a:cxnLst>
                  <a:cxn ang="0">
                    <a:pos x="T0" y="T1"/>
                  </a:cxn>
                  <a:cxn ang="0">
                    <a:pos x="T2" y="T3"/>
                  </a:cxn>
                  <a:cxn ang="0">
                    <a:pos x="T4" y="T5"/>
                  </a:cxn>
                  <a:cxn ang="0">
                    <a:pos x="T6" y="T7"/>
                  </a:cxn>
                  <a:cxn ang="0">
                    <a:pos x="T8" y="T9"/>
                  </a:cxn>
                  <a:cxn ang="0">
                    <a:pos x="T10" y="T11"/>
                  </a:cxn>
                  <a:cxn ang="0">
                    <a:pos x="T12" y="T13"/>
                  </a:cxn>
                </a:cxnLst>
                <a:rect l="0" t="0" r="r" b="b"/>
                <a:pathLst>
                  <a:path w="238" h="422">
                    <a:moveTo>
                      <a:pt x="211" y="0"/>
                    </a:moveTo>
                    <a:lnTo>
                      <a:pt x="142" y="267"/>
                    </a:lnTo>
                    <a:lnTo>
                      <a:pt x="0" y="364"/>
                    </a:lnTo>
                    <a:lnTo>
                      <a:pt x="26" y="422"/>
                    </a:lnTo>
                    <a:lnTo>
                      <a:pt x="231" y="338"/>
                    </a:lnTo>
                    <a:lnTo>
                      <a:pt x="238" y="29"/>
                    </a:lnTo>
                    <a:lnTo>
                      <a:pt x="211" y="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31" name="Freeform 105">
                <a:extLst>
                  <a:ext uri="{FF2B5EF4-FFF2-40B4-BE49-F238E27FC236}">
                    <a16:creationId xmlns:a16="http://schemas.microsoft.com/office/drawing/2014/main" id="{41CD16D0-84B3-4A5B-95F0-1FFBA008EAB4}"/>
                  </a:ext>
                </a:extLst>
              </p:cNvPr>
              <p:cNvSpPr>
                <a:spLocks/>
              </p:cNvSpPr>
              <p:nvPr/>
            </p:nvSpPr>
            <p:spPr bwMode="auto">
              <a:xfrm>
                <a:off x="3931735" y="3906345"/>
                <a:ext cx="434438" cy="549599"/>
              </a:xfrm>
              <a:custGeom>
                <a:avLst/>
                <a:gdLst>
                  <a:gd name="T0" fmla="*/ 447 w 513"/>
                  <a:gd name="T1" fmla="*/ 488 h 647"/>
                  <a:gd name="T2" fmla="*/ 491 w 513"/>
                  <a:gd name="T3" fmla="*/ 66 h 647"/>
                  <a:gd name="T4" fmla="*/ 477 w 513"/>
                  <a:gd name="T5" fmla="*/ 3 h 647"/>
                  <a:gd name="T6" fmla="*/ 360 w 513"/>
                  <a:gd name="T7" fmla="*/ 9 h 647"/>
                  <a:gd name="T8" fmla="*/ 255 w 513"/>
                  <a:gd name="T9" fmla="*/ 8 h 647"/>
                  <a:gd name="T10" fmla="*/ 153 w 513"/>
                  <a:gd name="T11" fmla="*/ 0 h 647"/>
                  <a:gd name="T12" fmla="*/ 96 w 513"/>
                  <a:gd name="T13" fmla="*/ 49 h 647"/>
                  <a:gd name="T14" fmla="*/ 0 w 513"/>
                  <a:gd name="T15" fmla="*/ 647 h 647"/>
                  <a:gd name="T16" fmla="*/ 419 w 513"/>
                  <a:gd name="T17" fmla="*/ 647 h 647"/>
                  <a:gd name="T18" fmla="*/ 478 w 513"/>
                  <a:gd name="T19" fmla="*/ 555 h 647"/>
                  <a:gd name="T20" fmla="*/ 447 w 513"/>
                  <a:gd name="T21" fmla="*/ 488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3" h="647">
                    <a:moveTo>
                      <a:pt x="447" y="488"/>
                    </a:moveTo>
                    <a:cubicBezTo>
                      <a:pt x="491" y="66"/>
                      <a:pt x="491" y="66"/>
                      <a:pt x="491" y="66"/>
                    </a:cubicBezTo>
                    <a:cubicBezTo>
                      <a:pt x="492" y="59"/>
                      <a:pt x="513" y="0"/>
                      <a:pt x="477" y="3"/>
                    </a:cubicBezTo>
                    <a:cubicBezTo>
                      <a:pt x="360" y="9"/>
                      <a:pt x="360" y="9"/>
                      <a:pt x="360" y="9"/>
                    </a:cubicBezTo>
                    <a:cubicBezTo>
                      <a:pt x="325" y="11"/>
                      <a:pt x="290" y="11"/>
                      <a:pt x="255" y="8"/>
                    </a:cubicBezTo>
                    <a:cubicBezTo>
                      <a:pt x="153" y="0"/>
                      <a:pt x="153" y="0"/>
                      <a:pt x="153" y="0"/>
                    </a:cubicBezTo>
                    <a:cubicBezTo>
                      <a:pt x="125" y="0"/>
                      <a:pt x="100" y="20"/>
                      <a:pt x="96" y="49"/>
                    </a:cubicBezTo>
                    <a:cubicBezTo>
                      <a:pt x="0" y="647"/>
                      <a:pt x="0" y="647"/>
                      <a:pt x="0" y="647"/>
                    </a:cubicBezTo>
                    <a:cubicBezTo>
                      <a:pt x="419" y="647"/>
                      <a:pt x="419" y="647"/>
                      <a:pt x="419" y="647"/>
                    </a:cubicBezTo>
                    <a:cubicBezTo>
                      <a:pt x="466" y="647"/>
                      <a:pt x="497" y="598"/>
                      <a:pt x="478" y="555"/>
                    </a:cubicBezTo>
                    <a:lnTo>
                      <a:pt x="447" y="488"/>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32" name="Freeform 106">
                <a:extLst>
                  <a:ext uri="{FF2B5EF4-FFF2-40B4-BE49-F238E27FC236}">
                    <a16:creationId xmlns:a16="http://schemas.microsoft.com/office/drawing/2014/main" id="{BF0CFE4B-7C56-451B-99BA-576ECCD16DE4}"/>
                  </a:ext>
                </a:extLst>
              </p:cNvPr>
              <p:cNvSpPr>
                <a:spLocks/>
              </p:cNvSpPr>
              <p:nvPr/>
            </p:nvSpPr>
            <p:spPr bwMode="auto">
              <a:xfrm>
                <a:off x="4006900" y="3966339"/>
                <a:ext cx="321346" cy="19308"/>
              </a:xfrm>
              <a:custGeom>
                <a:avLst/>
                <a:gdLst>
                  <a:gd name="T0" fmla="*/ 166 w 379"/>
                  <a:gd name="T1" fmla="*/ 22 h 22"/>
                  <a:gd name="T2" fmla="*/ 0 w 379"/>
                  <a:gd name="T3" fmla="*/ 12 h 22"/>
                  <a:gd name="T4" fmla="*/ 2 w 379"/>
                  <a:gd name="T5" fmla="*/ 0 h 22"/>
                  <a:gd name="T6" fmla="*/ 378 w 379"/>
                  <a:gd name="T7" fmla="*/ 0 h 22"/>
                  <a:gd name="T8" fmla="*/ 379 w 379"/>
                  <a:gd name="T9" fmla="*/ 12 h 22"/>
                  <a:gd name="T10" fmla="*/ 166 w 379"/>
                  <a:gd name="T11" fmla="*/ 22 h 22"/>
                </a:gdLst>
                <a:ahLst/>
                <a:cxnLst>
                  <a:cxn ang="0">
                    <a:pos x="T0" y="T1"/>
                  </a:cxn>
                  <a:cxn ang="0">
                    <a:pos x="T2" y="T3"/>
                  </a:cxn>
                  <a:cxn ang="0">
                    <a:pos x="T4" y="T5"/>
                  </a:cxn>
                  <a:cxn ang="0">
                    <a:pos x="T6" y="T7"/>
                  </a:cxn>
                  <a:cxn ang="0">
                    <a:pos x="T8" y="T9"/>
                  </a:cxn>
                  <a:cxn ang="0">
                    <a:pos x="T10" y="T11"/>
                  </a:cxn>
                </a:cxnLst>
                <a:rect l="0" t="0" r="r" b="b"/>
                <a:pathLst>
                  <a:path w="379" h="22">
                    <a:moveTo>
                      <a:pt x="166" y="22"/>
                    </a:moveTo>
                    <a:cubicBezTo>
                      <a:pt x="110" y="22"/>
                      <a:pt x="51" y="19"/>
                      <a:pt x="0" y="12"/>
                    </a:cubicBezTo>
                    <a:cubicBezTo>
                      <a:pt x="2" y="0"/>
                      <a:pt x="2" y="0"/>
                      <a:pt x="2" y="0"/>
                    </a:cubicBezTo>
                    <a:cubicBezTo>
                      <a:pt x="151" y="22"/>
                      <a:pt x="376" y="0"/>
                      <a:pt x="378" y="0"/>
                    </a:cubicBezTo>
                    <a:cubicBezTo>
                      <a:pt x="379" y="12"/>
                      <a:pt x="379" y="12"/>
                      <a:pt x="379" y="12"/>
                    </a:cubicBezTo>
                    <a:cubicBezTo>
                      <a:pt x="378" y="12"/>
                      <a:pt x="278" y="22"/>
                      <a:pt x="166" y="22"/>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33" name="Freeform 107">
                <a:extLst>
                  <a:ext uri="{FF2B5EF4-FFF2-40B4-BE49-F238E27FC236}">
                    <a16:creationId xmlns:a16="http://schemas.microsoft.com/office/drawing/2014/main" id="{DB63E66A-89C1-4E9E-B006-CE29938CFCC3}"/>
                  </a:ext>
                </a:extLst>
              </p:cNvPr>
              <p:cNvSpPr>
                <a:spLocks/>
              </p:cNvSpPr>
              <p:nvPr/>
            </p:nvSpPr>
            <p:spPr bwMode="auto">
              <a:xfrm>
                <a:off x="3984833" y="4044262"/>
                <a:ext cx="331000" cy="18619"/>
              </a:xfrm>
              <a:custGeom>
                <a:avLst/>
                <a:gdLst>
                  <a:gd name="T0" fmla="*/ 169 w 391"/>
                  <a:gd name="T1" fmla="*/ 21 h 22"/>
                  <a:gd name="T2" fmla="*/ 0 w 391"/>
                  <a:gd name="T3" fmla="*/ 11 h 22"/>
                  <a:gd name="T4" fmla="*/ 2 w 391"/>
                  <a:gd name="T5" fmla="*/ 0 h 22"/>
                  <a:gd name="T6" fmla="*/ 390 w 391"/>
                  <a:gd name="T7" fmla="*/ 0 h 22"/>
                  <a:gd name="T8" fmla="*/ 391 w 391"/>
                  <a:gd name="T9" fmla="*/ 11 h 22"/>
                  <a:gd name="T10" fmla="*/ 169 w 391"/>
                  <a:gd name="T11" fmla="*/ 21 h 22"/>
                </a:gdLst>
                <a:ahLst/>
                <a:cxnLst>
                  <a:cxn ang="0">
                    <a:pos x="T0" y="T1"/>
                  </a:cxn>
                  <a:cxn ang="0">
                    <a:pos x="T2" y="T3"/>
                  </a:cxn>
                  <a:cxn ang="0">
                    <a:pos x="T4" y="T5"/>
                  </a:cxn>
                  <a:cxn ang="0">
                    <a:pos x="T6" y="T7"/>
                  </a:cxn>
                  <a:cxn ang="0">
                    <a:pos x="T8" y="T9"/>
                  </a:cxn>
                  <a:cxn ang="0">
                    <a:pos x="T10" y="T11"/>
                  </a:cxn>
                </a:cxnLst>
                <a:rect l="0" t="0" r="r" b="b"/>
                <a:pathLst>
                  <a:path w="391" h="22">
                    <a:moveTo>
                      <a:pt x="169" y="21"/>
                    </a:moveTo>
                    <a:cubicBezTo>
                      <a:pt x="111" y="21"/>
                      <a:pt x="51" y="19"/>
                      <a:pt x="0" y="11"/>
                    </a:cubicBezTo>
                    <a:cubicBezTo>
                      <a:pt x="2" y="0"/>
                      <a:pt x="2" y="0"/>
                      <a:pt x="2" y="0"/>
                    </a:cubicBezTo>
                    <a:cubicBezTo>
                      <a:pt x="151" y="22"/>
                      <a:pt x="387" y="0"/>
                      <a:pt x="390" y="0"/>
                    </a:cubicBezTo>
                    <a:cubicBezTo>
                      <a:pt x="391" y="11"/>
                      <a:pt x="391" y="11"/>
                      <a:pt x="391" y="11"/>
                    </a:cubicBezTo>
                    <a:cubicBezTo>
                      <a:pt x="389" y="12"/>
                      <a:pt x="284" y="21"/>
                      <a:pt x="169" y="21"/>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34" name="Freeform 108">
                <a:extLst>
                  <a:ext uri="{FF2B5EF4-FFF2-40B4-BE49-F238E27FC236}">
                    <a16:creationId xmlns:a16="http://schemas.microsoft.com/office/drawing/2014/main" id="{9D75A6CE-6BCC-4FF3-96E6-91AE1DB500F8}"/>
                  </a:ext>
                </a:extLst>
              </p:cNvPr>
              <p:cNvSpPr>
                <a:spLocks/>
              </p:cNvSpPr>
              <p:nvPr/>
            </p:nvSpPr>
            <p:spPr bwMode="auto">
              <a:xfrm>
                <a:off x="3977247" y="4122875"/>
                <a:ext cx="333759" cy="18619"/>
              </a:xfrm>
              <a:custGeom>
                <a:avLst/>
                <a:gdLst>
                  <a:gd name="T0" fmla="*/ 170 w 394"/>
                  <a:gd name="T1" fmla="*/ 22 h 22"/>
                  <a:gd name="T2" fmla="*/ 0 w 394"/>
                  <a:gd name="T3" fmla="*/ 12 h 22"/>
                  <a:gd name="T4" fmla="*/ 2 w 394"/>
                  <a:gd name="T5" fmla="*/ 0 h 22"/>
                  <a:gd name="T6" fmla="*/ 393 w 394"/>
                  <a:gd name="T7" fmla="*/ 0 h 22"/>
                  <a:gd name="T8" fmla="*/ 394 w 394"/>
                  <a:gd name="T9" fmla="*/ 12 h 22"/>
                  <a:gd name="T10" fmla="*/ 170 w 394"/>
                  <a:gd name="T11" fmla="*/ 22 h 22"/>
                </a:gdLst>
                <a:ahLst/>
                <a:cxnLst>
                  <a:cxn ang="0">
                    <a:pos x="T0" y="T1"/>
                  </a:cxn>
                  <a:cxn ang="0">
                    <a:pos x="T2" y="T3"/>
                  </a:cxn>
                  <a:cxn ang="0">
                    <a:pos x="T4" y="T5"/>
                  </a:cxn>
                  <a:cxn ang="0">
                    <a:pos x="T6" y="T7"/>
                  </a:cxn>
                  <a:cxn ang="0">
                    <a:pos x="T8" y="T9"/>
                  </a:cxn>
                  <a:cxn ang="0">
                    <a:pos x="T10" y="T11"/>
                  </a:cxn>
                </a:cxnLst>
                <a:rect l="0" t="0" r="r" b="b"/>
                <a:pathLst>
                  <a:path w="394" h="22">
                    <a:moveTo>
                      <a:pt x="170" y="22"/>
                    </a:moveTo>
                    <a:cubicBezTo>
                      <a:pt x="111" y="22"/>
                      <a:pt x="51" y="19"/>
                      <a:pt x="0" y="12"/>
                    </a:cubicBezTo>
                    <a:cubicBezTo>
                      <a:pt x="2" y="0"/>
                      <a:pt x="2" y="0"/>
                      <a:pt x="2" y="0"/>
                    </a:cubicBezTo>
                    <a:cubicBezTo>
                      <a:pt x="151" y="22"/>
                      <a:pt x="390" y="1"/>
                      <a:pt x="393" y="0"/>
                    </a:cubicBezTo>
                    <a:cubicBezTo>
                      <a:pt x="394" y="12"/>
                      <a:pt x="394" y="12"/>
                      <a:pt x="394" y="12"/>
                    </a:cubicBezTo>
                    <a:cubicBezTo>
                      <a:pt x="392" y="12"/>
                      <a:pt x="286" y="22"/>
                      <a:pt x="170" y="22"/>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35" name="Freeform 109">
                <a:extLst>
                  <a:ext uri="{FF2B5EF4-FFF2-40B4-BE49-F238E27FC236}">
                    <a16:creationId xmlns:a16="http://schemas.microsoft.com/office/drawing/2014/main" id="{514565D9-F56E-4D56-BDE6-7F699432F4EE}"/>
                  </a:ext>
                </a:extLst>
              </p:cNvPr>
              <p:cNvSpPr>
                <a:spLocks/>
              </p:cNvSpPr>
              <p:nvPr/>
            </p:nvSpPr>
            <p:spPr bwMode="auto">
              <a:xfrm>
                <a:off x="3973110" y="4210452"/>
                <a:ext cx="333069" cy="11723"/>
              </a:xfrm>
              <a:custGeom>
                <a:avLst/>
                <a:gdLst>
                  <a:gd name="T0" fmla="*/ 183 w 393"/>
                  <a:gd name="T1" fmla="*/ 14 h 14"/>
                  <a:gd name="T2" fmla="*/ 0 w 393"/>
                  <a:gd name="T3" fmla="*/ 11 h 14"/>
                  <a:gd name="T4" fmla="*/ 0 w 393"/>
                  <a:gd name="T5" fmla="*/ 0 h 14"/>
                  <a:gd name="T6" fmla="*/ 392 w 393"/>
                  <a:gd name="T7" fmla="*/ 0 h 14"/>
                  <a:gd name="T8" fmla="*/ 393 w 393"/>
                  <a:gd name="T9" fmla="*/ 11 h 14"/>
                  <a:gd name="T10" fmla="*/ 183 w 393"/>
                  <a:gd name="T11" fmla="*/ 14 h 14"/>
                </a:gdLst>
                <a:ahLst/>
                <a:cxnLst>
                  <a:cxn ang="0">
                    <a:pos x="T0" y="T1"/>
                  </a:cxn>
                  <a:cxn ang="0">
                    <a:pos x="T2" y="T3"/>
                  </a:cxn>
                  <a:cxn ang="0">
                    <a:pos x="T4" y="T5"/>
                  </a:cxn>
                  <a:cxn ang="0">
                    <a:pos x="T6" y="T7"/>
                  </a:cxn>
                  <a:cxn ang="0">
                    <a:pos x="T8" y="T9"/>
                  </a:cxn>
                  <a:cxn ang="0">
                    <a:pos x="T10" y="T11"/>
                  </a:cxn>
                </a:cxnLst>
                <a:rect l="0" t="0" r="r" b="b"/>
                <a:pathLst>
                  <a:path w="393" h="14">
                    <a:moveTo>
                      <a:pt x="183" y="14"/>
                    </a:moveTo>
                    <a:cubicBezTo>
                      <a:pt x="124" y="14"/>
                      <a:pt x="61" y="13"/>
                      <a:pt x="0" y="11"/>
                    </a:cubicBezTo>
                    <a:cubicBezTo>
                      <a:pt x="0" y="0"/>
                      <a:pt x="0" y="0"/>
                      <a:pt x="0" y="0"/>
                    </a:cubicBezTo>
                    <a:cubicBezTo>
                      <a:pt x="181" y="5"/>
                      <a:pt x="390" y="0"/>
                      <a:pt x="392" y="0"/>
                    </a:cubicBezTo>
                    <a:cubicBezTo>
                      <a:pt x="393" y="11"/>
                      <a:pt x="393" y="11"/>
                      <a:pt x="393" y="11"/>
                    </a:cubicBezTo>
                    <a:cubicBezTo>
                      <a:pt x="391" y="11"/>
                      <a:pt x="298" y="14"/>
                      <a:pt x="183" y="14"/>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36" name="Rectangle 110">
                <a:extLst>
                  <a:ext uri="{FF2B5EF4-FFF2-40B4-BE49-F238E27FC236}">
                    <a16:creationId xmlns:a16="http://schemas.microsoft.com/office/drawing/2014/main" id="{87790950-EAB1-4984-82EA-A046DC0B89F6}"/>
                  </a:ext>
                </a:extLst>
              </p:cNvPr>
              <p:cNvSpPr>
                <a:spLocks noChangeArrowheads="1"/>
              </p:cNvSpPr>
              <p:nvPr/>
            </p:nvSpPr>
            <p:spPr bwMode="auto">
              <a:xfrm>
                <a:off x="3963456" y="4299408"/>
                <a:ext cx="332379" cy="10344"/>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37" name="Rectangle 111">
                <a:extLst>
                  <a:ext uri="{FF2B5EF4-FFF2-40B4-BE49-F238E27FC236}">
                    <a16:creationId xmlns:a16="http://schemas.microsoft.com/office/drawing/2014/main" id="{B19A2764-187A-40ED-AF2F-1436F5FA2452}"/>
                  </a:ext>
                </a:extLst>
              </p:cNvPr>
              <p:cNvSpPr>
                <a:spLocks noChangeArrowheads="1"/>
              </p:cNvSpPr>
              <p:nvPr/>
            </p:nvSpPr>
            <p:spPr bwMode="auto">
              <a:xfrm>
                <a:off x="3977937" y="4383538"/>
                <a:ext cx="332379" cy="10344"/>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38" name="Freeform 112">
                <a:extLst>
                  <a:ext uri="{FF2B5EF4-FFF2-40B4-BE49-F238E27FC236}">
                    <a16:creationId xmlns:a16="http://schemas.microsoft.com/office/drawing/2014/main" id="{D9F4EF97-FE99-476C-9B2C-8F41BB6EFF93}"/>
                  </a:ext>
                </a:extLst>
              </p:cNvPr>
              <p:cNvSpPr>
                <a:spLocks/>
              </p:cNvSpPr>
              <p:nvPr/>
            </p:nvSpPr>
            <p:spPr bwMode="auto">
              <a:xfrm>
                <a:off x="4022760" y="3907724"/>
                <a:ext cx="335138" cy="584079"/>
              </a:xfrm>
              <a:custGeom>
                <a:avLst/>
                <a:gdLst>
                  <a:gd name="T0" fmla="*/ 373 w 395"/>
                  <a:gd name="T1" fmla="*/ 535 h 687"/>
                  <a:gd name="T2" fmla="*/ 363 w 395"/>
                  <a:gd name="T3" fmla="*/ 385 h 687"/>
                  <a:gd name="T4" fmla="*/ 395 w 395"/>
                  <a:gd name="T5" fmla="*/ 22 h 687"/>
                  <a:gd name="T6" fmla="*/ 379 w 395"/>
                  <a:gd name="T7" fmla="*/ 2 h 687"/>
                  <a:gd name="T8" fmla="*/ 357 w 395"/>
                  <a:gd name="T9" fmla="*/ 19 h 687"/>
                  <a:gd name="T10" fmla="*/ 319 w 395"/>
                  <a:gd name="T11" fmla="*/ 359 h 687"/>
                  <a:gd name="T12" fmla="*/ 332 w 395"/>
                  <a:gd name="T13" fmla="*/ 565 h 687"/>
                  <a:gd name="T14" fmla="*/ 338 w 395"/>
                  <a:gd name="T15" fmla="*/ 595 h 687"/>
                  <a:gd name="T16" fmla="*/ 315 w 395"/>
                  <a:gd name="T17" fmla="*/ 624 h 687"/>
                  <a:gd name="T18" fmla="*/ 124 w 395"/>
                  <a:gd name="T19" fmla="*/ 622 h 687"/>
                  <a:gd name="T20" fmla="*/ 124 w 395"/>
                  <a:gd name="T21" fmla="*/ 623 h 687"/>
                  <a:gd name="T22" fmla="*/ 112 w 395"/>
                  <a:gd name="T23" fmla="*/ 623 h 687"/>
                  <a:gd name="T24" fmla="*/ 11 w 395"/>
                  <a:gd name="T25" fmla="*/ 653 h 687"/>
                  <a:gd name="T26" fmla="*/ 7 w 395"/>
                  <a:gd name="T27" fmla="*/ 680 h 687"/>
                  <a:gd name="T28" fmla="*/ 7 w 395"/>
                  <a:gd name="T29" fmla="*/ 680 h 687"/>
                  <a:gd name="T30" fmla="*/ 30 w 395"/>
                  <a:gd name="T31" fmla="*/ 684 h 687"/>
                  <a:gd name="T32" fmla="*/ 40 w 395"/>
                  <a:gd name="T33" fmla="*/ 679 h 687"/>
                  <a:gd name="T34" fmla="*/ 106 w 395"/>
                  <a:gd name="T35" fmla="*/ 663 h 687"/>
                  <a:gd name="T36" fmla="*/ 124 w 395"/>
                  <a:gd name="T37" fmla="*/ 663 h 687"/>
                  <a:gd name="T38" fmla="*/ 223 w 395"/>
                  <a:gd name="T39" fmla="*/ 663 h 687"/>
                  <a:gd name="T40" fmla="*/ 326 w 395"/>
                  <a:gd name="T41" fmla="*/ 663 h 687"/>
                  <a:gd name="T42" fmla="*/ 385 w 395"/>
                  <a:gd name="T43" fmla="*/ 589 h 687"/>
                  <a:gd name="T44" fmla="*/ 373 w 395"/>
                  <a:gd name="T45" fmla="*/ 535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5" h="687">
                    <a:moveTo>
                      <a:pt x="373" y="535"/>
                    </a:moveTo>
                    <a:cubicBezTo>
                      <a:pt x="362" y="486"/>
                      <a:pt x="358" y="435"/>
                      <a:pt x="363" y="385"/>
                    </a:cubicBezTo>
                    <a:cubicBezTo>
                      <a:pt x="395" y="22"/>
                      <a:pt x="395" y="22"/>
                      <a:pt x="395" y="22"/>
                    </a:cubicBezTo>
                    <a:cubicBezTo>
                      <a:pt x="395" y="13"/>
                      <a:pt x="389" y="4"/>
                      <a:pt x="379" y="2"/>
                    </a:cubicBezTo>
                    <a:cubicBezTo>
                      <a:pt x="368" y="0"/>
                      <a:pt x="358" y="8"/>
                      <a:pt x="357" y="19"/>
                    </a:cubicBezTo>
                    <a:cubicBezTo>
                      <a:pt x="319" y="359"/>
                      <a:pt x="319" y="359"/>
                      <a:pt x="319" y="359"/>
                    </a:cubicBezTo>
                    <a:cubicBezTo>
                      <a:pt x="312" y="428"/>
                      <a:pt x="316" y="498"/>
                      <a:pt x="332" y="565"/>
                    </a:cubicBezTo>
                    <a:cubicBezTo>
                      <a:pt x="338" y="595"/>
                      <a:pt x="338" y="595"/>
                      <a:pt x="338" y="595"/>
                    </a:cubicBezTo>
                    <a:cubicBezTo>
                      <a:pt x="342" y="610"/>
                      <a:pt x="330" y="624"/>
                      <a:pt x="315" y="624"/>
                    </a:cubicBezTo>
                    <a:cubicBezTo>
                      <a:pt x="124" y="622"/>
                      <a:pt x="124" y="622"/>
                      <a:pt x="124" y="622"/>
                    </a:cubicBezTo>
                    <a:cubicBezTo>
                      <a:pt x="124" y="623"/>
                      <a:pt x="124" y="623"/>
                      <a:pt x="124" y="623"/>
                    </a:cubicBezTo>
                    <a:cubicBezTo>
                      <a:pt x="112" y="623"/>
                      <a:pt x="112" y="623"/>
                      <a:pt x="112" y="623"/>
                    </a:cubicBezTo>
                    <a:cubicBezTo>
                      <a:pt x="76" y="623"/>
                      <a:pt x="41" y="634"/>
                      <a:pt x="11" y="653"/>
                    </a:cubicBezTo>
                    <a:cubicBezTo>
                      <a:pt x="1" y="659"/>
                      <a:pt x="0" y="672"/>
                      <a:pt x="7" y="680"/>
                    </a:cubicBezTo>
                    <a:cubicBezTo>
                      <a:pt x="7" y="680"/>
                      <a:pt x="7" y="680"/>
                      <a:pt x="7" y="680"/>
                    </a:cubicBezTo>
                    <a:cubicBezTo>
                      <a:pt x="13" y="686"/>
                      <a:pt x="22" y="687"/>
                      <a:pt x="30" y="684"/>
                    </a:cubicBezTo>
                    <a:cubicBezTo>
                      <a:pt x="40" y="679"/>
                      <a:pt x="40" y="679"/>
                      <a:pt x="40" y="679"/>
                    </a:cubicBezTo>
                    <a:cubicBezTo>
                      <a:pt x="60" y="668"/>
                      <a:pt x="83" y="663"/>
                      <a:pt x="106" y="663"/>
                    </a:cubicBezTo>
                    <a:cubicBezTo>
                      <a:pt x="124" y="663"/>
                      <a:pt x="124" y="663"/>
                      <a:pt x="124" y="663"/>
                    </a:cubicBezTo>
                    <a:cubicBezTo>
                      <a:pt x="223" y="663"/>
                      <a:pt x="223" y="663"/>
                      <a:pt x="223" y="663"/>
                    </a:cubicBezTo>
                    <a:cubicBezTo>
                      <a:pt x="326" y="663"/>
                      <a:pt x="326" y="663"/>
                      <a:pt x="326" y="663"/>
                    </a:cubicBezTo>
                    <a:cubicBezTo>
                      <a:pt x="364" y="663"/>
                      <a:pt x="393" y="627"/>
                      <a:pt x="385" y="589"/>
                    </a:cubicBezTo>
                    <a:lnTo>
                      <a:pt x="373" y="535"/>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39" name="Freeform 113">
                <a:extLst>
                  <a:ext uri="{FF2B5EF4-FFF2-40B4-BE49-F238E27FC236}">
                    <a16:creationId xmlns:a16="http://schemas.microsoft.com/office/drawing/2014/main" id="{DE825D0D-1ABF-4B38-A739-F3D7E86500BD}"/>
                  </a:ext>
                </a:extLst>
              </p:cNvPr>
              <p:cNvSpPr>
                <a:spLocks/>
              </p:cNvSpPr>
              <p:nvPr/>
            </p:nvSpPr>
            <p:spPr bwMode="auto">
              <a:xfrm>
                <a:off x="3642110" y="4262860"/>
                <a:ext cx="450988" cy="350309"/>
              </a:xfrm>
              <a:custGeom>
                <a:avLst/>
                <a:gdLst>
                  <a:gd name="T0" fmla="*/ 115 w 533"/>
                  <a:gd name="T1" fmla="*/ 412 h 412"/>
                  <a:gd name="T2" fmla="*/ 135 w 533"/>
                  <a:gd name="T3" fmla="*/ 268 h 412"/>
                  <a:gd name="T4" fmla="*/ 359 w 533"/>
                  <a:gd name="T5" fmla="*/ 226 h 412"/>
                  <a:gd name="T6" fmla="*/ 469 w 533"/>
                  <a:gd name="T7" fmla="*/ 140 h 412"/>
                  <a:gd name="T8" fmla="*/ 533 w 533"/>
                  <a:gd name="T9" fmla="*/ 0 h 412"/>
                  <a:gd name="T10" fmla="*/ 326 w 533"/>
                  <a:gd name="T11" fmla="*/ 2 h 412"/>
                  <a:gd name="T12" fmla="*/ 300 w 533"/>
                  <a:gd name="T13" fmla="*/ 65 h 412"/>
                  <a:gd name="T14" fmla="*/ 58 w 533"/>
                  <a:gd name="T15" fmla="*/ 134 h 412"/>
                  <a:gd name="T16" fmla="*/ 6 w 533"/>
                  <a:gd name="T17" fmla="*/ 199 h 412"/>
                  <a:gd name="T18" fmla="*/ 0 w 533"/>
                  <a:gd name="T19" fmla="*/ 333 h 412"/>
                  <a:gd name="T20" fmla="*/ 115 w 533"/>
                  <a:gd name="T21"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3" h="412">
                    <a:moveTo>
                      <a:pt x="115" y="412"/>
                    </a:moveTo>
                    <a:cubicBezTo>
                      <a:pt x="135" y="268"/>
                      <a:pt x="135" y="268"/>
                      <a:pt x="135" y="268"/>
                    </a:cubicBezTo>
                    <a:cubicBezTo>
                      <a:pt x="359" y="226"/>
                      <a:pt x="359" y="226"/>
                      <a:pt x="359" y="226"/>
                    </a:cubicBezTo>
                    <a:cubicBezTo>
                      <a:pt x="408" y="217"/>
                      <a:pt x="449" y="185"/>
                      <a:pt x="469" y="140"/>
                    </a:cubicBezTo>
                    <a:cubicBezTo>
                      <a:pt x="533" y="0"/>
                      <a:pt x="533" y="0"/>
                      <a:pt x="533" y="0"/>
                    </a:cubicBezTo>
                    <a:cubicBezTo>
                      <a:pt x="326" y="2"/>
                      <a:pt x="326" y="2"/>
                      <a:pt x="326" y="2"/>
                    </a:cubicBezTo>
                    <a:cubicBezTo>
                      <a:pt x="300" y="65"/>
                      <a:pt x="300" y="65"/>
                      <a:pt x="300" y="65"/>
                    </a:cubicBezTo>
                    <a:cubicBezTo>
                      <a:pt x="58" y="134"/>
                      <a:pt x="58" y="134"/>
                      <a:pt x="58" y="134"/>
                    </a:cubicBezTo>
                    <a:cubicBezTo>
                      <a:pt x="29" y="143"/>
                      <a:pt x="8" y="168"/>
                      <a:pt x="6" y="199"/>
                    </a:cubicBezTo>
                    <a:cubicBezTo>
                      <a:pt x="0" y="333"/>
                      <a:pt x="0" y="333"/>
                      <a:pt x="0" y="333"/>
                    </a:cubicBezTo>
                    <a:cubicBezTo>
                      <a:pt x="0" y="333"/>
                      <a:pt x="47" y="379"/>
                      <a:pt x="115" y="412"/>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40" name="Freeform 114">
                <a:extLst>
                  <a:ext uri="{FF2B5EF4-FFF2-40B4-BE49-F238E27FC236}">
                    <a16:creationId xmlns:a16="http://schemas.microsoft.com/office/drawing/2014/main" id="{49053A30-F170-442E-BFCC-BA938828B98A}"/>
                  </a:ext>
                </a:extLst>
              </p:cNvPr>
              <p:cNvSpPr>
                <a:spLocks/>
              </p:cNvSpPr>
              <p:nvPr/>
            </p:nvSpPr>
            <p:spPr bwMode="auto">
              <a:xfrm>
                <a:off x="3888981" y="4202177"/>
                <a:ext cx="293763" cy="462712"/>
              </a:xfrm>
              <a:custGeom>
                <a:avLst/>
                <a:gdLst>
                  <a:gd name="T0" fmla="*/ 238 w 347"/>
                  <a:gd name="T1" fmla="*/ 0 h 545"/>
                  <a:gd name="T2" fmla="*/ 141 w 347"/>
                  <a:gd name="T3" fmla="*/ 171 h 545"/>
                  <a:gd name="T4" fmla="*/ 61 w 347"/>
                  <a:gd name="T5" fmla="*/ 208 h 545"/>
                  <a:gd name="T6" fmla="*/ 12 w 347"/>
                  <a:gd name="T7" fmla="*/ 312 h 545"/>
                  <a:gd name="T8" fmla="*/ 79 w 347"/>
                  <a:gd name="T9" fmla="*/ 544 h 545"/>
                  <a:gd name="T10" fmla="*/ 177 w 347"/>
                  <a:gd name="T11" fmla="*/ 532 h 545"/>
                  <a:gd name="T12" fmla="*/ 207 w 347"/>
                  <a:gd name="T13" fmla="*/ 545 h 545"/>
                  <a:gd name="T14" fmla="*/ 177 w 347"/>
                  <a:gd name="T15" fmla="*/ 326 h 545"/>
                  <a:gd name="T16" fmla="*/ 204 w 347"/>
                  <a:gd name="T17" fmla="*/ 292 h 545"/>
                  <a:gd name="T18" fmla="*/ 279 w 347"/>
                  <a:gd name="T19" fmla="*/ 284 h 545"/>
                  <a:gd name="T20" fmla="*/ 345 w 347"/>
                  <a:gd name="T21" fmla="*/ 214 h 545"/>
                  <a:gd name="T22" fmla="*/ 347 w 347"/>
                  <a:gd name="T23" fmla="*/ 181 h 545"/>
                  <a:gd name="T24" fmla="*/ 238 w 347"/>
                  <a:gd name="T25" fmla="*/ 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545">
                    <a:moveTo>
                      <a:pt x="238" y="0"/>
                    </a:moveTo>
                    <a:cubicBezTo>
                      <a:pt x="141" y="171"/>
                      <a:pt x="141" y="171"/>
                      <a:pt x="141" y="171"/>
                    </a:cubicBezTo>
                    <a:cubicBezTo>
                      <a:pt x="61" y="208"/>
                      <a:pt x="61" y="208"/>
                      <a:pt x="61" y="208"/>
                    </a:cubicBezTo>
                    <a:cubicBezTo>
                      <a:pt x="21" y="226"/>
                      <a:pt x="0" y="270"/>
                      <a:pt x="12" y="312"/>
                    </a:cubicBezTo>
                    <a:cubicBezTo>
                      <a:pt x="79" y="544"/>
                      <a:pt x="79" y="544"/>
                      <a:pt x="79" y="544"/>
                    </a:cubicBezTo>
                    <a:cubicBezTo>
                      <a:pt x="95" y="543"/>
                      <a:pt x="131" y="542"/>
                      <a:pt x="177" y="532"/>
                    </a:cubicBezTo>
                    <a:cubicBezTo>
                      <a:pt x="187" y="537"/>
                      <a:pt x="198" y="541"/>
                      <a:pt x="207" y="545"/>
                    </a:cubicBezTo>
                    <a:cubicBezTo>
                      <a:pt x="177" y="326"/>
                      <a:pt x="177" y="326"/>
                      <a:pt x="177" y="326"/>
                    </a:cubicBezTo>
                    <a:cubicBezTo>
                      <a:pt x="175" y="309"/>
                      <a:pt x="187" y="293"/>
                      <a:pt x="204" y="292"/>
                    </a:cubicBezTo>
                    <a:cubicBezTo>
                      <a:pt x="279" y="284"/>
                      <a:pt x="279" y="284"/>
                      <a:pt x="279" y="284"/>
                    </a:cubicBezTo>
                    <a:cubicBezTo>
                      <a:pt x="315" y="280"/>
                      <a:pt x="343" y="251"/>
                      <a:pt x="345" y="214"/>
                    </a:cubicBezTo>
                    <a:cubicBezTo>
                      <a:pt x="347" y="181"/>
                      <a:pt x="347" y="181"/>
                      <a:pt x="347" y="181"/>
                    </a:cubicBezTo>
                    <a:lnTo>
                      <a:pt x="238" y="0"/>
                    </a:lnTo>
                    <a:close/>
                  </a:path>
                </a:pathLst>
              </a:custGeom>
              <a:solidFill>
                <a:srgbClr val="20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41" name="Freeform 115">
                <a:extLst>
                  <a:ext uri="{FF2B5EF4-FFF2-40B4-BE49-F238E27FC236}">
                    <a16:creationId xmlns:a16="http://schemas.microsoft.com/office/drawing/2014/main" id="{12270275-0A22-41CD-BF94-1B20EBEEE048}"/>
                  </a:ext>
                </a:extLst>
              </p:cNvPr>
              <p:cNvSpPr>
                <a:spLocks/>
              </p:cNvSpPr>
              <p:nvPr/>
            </p:nvSpPr>
            <p:spPr bwMode="auto">
              <a:xfrm>
                <a:off x="3875879" y="3907034"/>
                <a:ext cx="366169" cy="494433"/>
              </a:xfrm>
              <a:custGeom>
                <a:avLst/>
                <a:gdLst>
                  <a:gd name="T0" fmla="*/ 138 w 433"/>
                  <a:gd name="T1" fmla="*/ 27 h 582"/>
                  <a:gd name="T2" fmla="*/ 228 w 433"/>
                  <a:gd name="T3" fmla="*/ 11 h 582"/>
                  <a:gd name="T4" fmla="*/ 277 w 433"/>
                  <a:gd name="T5" fmla="*/ 2 h 582"/>
                  <a:gd name="T6" fmla="*/ 421 w 433"/>
                  <a:gd name="T7" fmla="*/ 180 h 582"/>
                  <a:gd name="T8" fmla="*/ 363 w 433"/>
                  <a:gd name="T9" fmla="*/ 582 h 582"/>
                  <a:gd name="T10" fmla="*/ 356 w 433"/>
                  <a:gd name="T11" fmla="*/ 576 h 582"/>
                  <a:gd name="T12" fmla="*/ 46 w 433"/>
                  <a:gd name="T13" fmla="*/ 473 h 582"/>
                  <a:gd name="T14" fmla="*/ 0 w 433"/>
                  <a:gd name="T15" fmla="*/ 475 h 582"/>
                  <a:gd name="T16" fmla="*/ 72 w 433"/>
                  <a:gd name="T17" fmla="*/ 333 h 582"/>
                  <a:gd name="T18" fmla="*/ 138 w 433"/>
                  <a:gd name="T19" fmla="*/ 27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3" h="582">
                    <a:moveTo>
                      <a:pt x="138" y="27"/>
                    </a:moveTo>
                    <a:cubicBezTo>
                      <a:pt x="178" y="0"/>
                      <a:pt x="228" y="11"/>
                      <a:pt x="228" y="11"/>
                    </a:cubicBezTo>
                    <a:cubicBezTo>
                      <a:pt x="277" y="2"/>
                      <a:pt x="277" y="2"/>
                      <a:pt x="277" y="2"/>
                    </a:cubicBezTo>
                    <a:cubicBezTo>
                      <a:pt x="370" y="11"/>
                      <a:pt x="433" y="98"/>
                      <a:pt x="421" y="180"/>
                    </a:cubicBezTo>
                    <a:cubicBezTo>
                      <a:pt x="363" y="582"/>
                      <a:pt x="363" y="582"/>
                      <a:pt x="363" y="582"/>
                    </a:cubicBezTo>
                    <a:cubicBezTo>
                      <a:pt x="356" y="576"/>
                      <a:pt x="356" y="576"/>
                      <a:pt x="356" y="576"/>
                    </a:cubicBezTo>
                    <a:cubicBezTo>
                      <a:pt x="268" y="506"/>
                      <a:pt x="158" y="470"/>
                      <a:pt x="46" y="473"/>
                    </a:cubicBezTo>
                    <a:cubicBezTo>
                      <a:pt x="0" y="475"/>
                      <a:pt x="0" y="475"/>
                      <a:pt x="0" y="475"/>
                    </a:cubicBezTo>
                    <a:cubicBezTo>
                      <a:pt x="72" y="333"/>
                      <a:pt x="72" y="333"/>
                      <a:pt x="72" y="333"/>
                    </a:cubicBezTo>
                    <a:cubicBezTo>
                      <a:pt x="99" y="260"/>
                      <a:pt x="50" y="87"/>
                      <a:pt x="138" y="27"/>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42" name="Freeform 116">
                <a:extLst>
                  <a:ext uri="{FF2B5EF4-FFF2-40B4-BE49-F238E27FC236}">
                    <a16:creationId xmlns:a16="http://schemas.microsoft.com/office/drawing/2014/main" id="{A985CCE2-07CC-4748-A2FF-ED7AC888DFCD}"/>
                  </a:ext>
                </a:extLst>
              </p:cNvPr>
              <p:cNvSpPr>
                <a:spLocks/>
              </p:cNvSpPr>
              <p:nvPr/>
            </p:nvSpPr>
            <p:spPr bwMode="auto">
              <a:xfrm>
                <a:off x="3903462" y="4063570"/>
                <a:ext cx="329621" cy="300659"/>
              </a:xfrm>
              <a:custGeom>
                <a:avLst/>
                <a:gdLst>
                  <a:gd name="T0" fmla="*/ 375 w 389"/>
                  <a:gd name="T1" fmla="*/ 0 h 354"/>
                  <a:gd name="T2" fmla="*/ 253 w 389"/>
                  <a:gd name="T3" fmla="*/ 0 h 354"/>
                  <a:gd name="T4" fmla="*/ 290 w 389"/>
                  <a:gd name="T5" fmla="*/ 210 h 354"/>
                  <a:gd name="T6" fmla="*/ 118 w 389"/>
                  <a:gd name="T7" fmla="*/ 287 h 354"/>
                  <a:gd name="T8" fmla="*/ 51 w 389"/>
                  <a:gd name="T9" fmla="*/ 269 h 354"/>
                  <a:gd name="T10" fmla="*/ 14 w 389"/>
                  <a:gd name="T11" fmla="*/ 284 h 354"/>
                  <a:gd name="T12" fmla="*/ 0 w 389"/>
                  <a:gd name="T13" fmla="*/ 308 h 354"/>
                  <a:gd name="T14" fmla="*/ 33 w 389"/>
                  <a:gd name="T15" fmla="*/ 354 h 354"/>
                  <a:gd name="T16" fmla="*/ 144 w 389"/>
                  <a:gd name="T17" fmla="*/ 344 h 354"/>
                  <a:gd name="T18" fmla="*/ 145 w 389"/>
                  <a:gd name="T19" fmla="*/ 337 h 354"/>
                  <a:gd name="T20" fmla="*/ 365 w 389"/>
                  <a:gd name="T21" fmla="*/ 282 h 354"/>
                  <a:gd name="T22" fmla="*/ 388 w 389"/>
                  <a:gd name="T23" fmla="*/ 250 h 354"/>
                  <a:gd name="T24" fmla="*/ 375 w 389"/>
                  <a:gd name="T25"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9" h="354">
                    <a:moveTo>
                      <a:pt x="375" y="0"/>
                    </a:moveTo>
                    <a:cubicBezTo>
                      <a:pt x="340" y="21"/>
                      <a:pt x="253" y="0"/>
                      <a:pt x="253" y="0"/>
                    </a:cubicBezTo>
                    <a:cubicBezTo>
                      <a:pt x="290" y="210"/>
                      <a:pt x="290" y="210"/>
                      <a:pt x="290" y="210"/>
                    </a:cubicBezTo>
                    <a:cubicBezTo>
                      <a:pt x="118" y="287"/>
                      <a:pt x="118" y="287"/>
                      <a:pt x="118" y="287"/>
                    </a:cubicBezTo>
                    <a:cubicBezTo>
                      <a:pt x="51" y="269"/>
                      <a:pt x="51" y="269"/>
                      <a:pt x="51" y="269"/>
                    </a:cubicBezTo>
                    <a:cubicBezTo>
                      <a:pt x="37" y="265"/>
                      <a:pt x="21" y="271"/>
                      <a:pt x="14" y="284"/>
                    </a:cubicBezTo>
                    <a:cubicBezTo>
                      <a:pt x="0" y="308"/>
                      <a:pt x="0" y="308"/>
                      <a:pt x="0" y="308"/>
                    </a:cubicBezTo>
                    <a:cubicBezTo>
                      <a:pt x="33" y="354"/>
                      <a:pt x="33" y="354"/>
                      <a:pt x="33" y="354"/>
                    </a:cubicBezTo>
                    <a:cubicBezTo>
                      <a:pt x="144" y="344"/>
                      <a:pt x="144" y="344"/>
                      <a:pt x="144" y="344"/>
                    </a:cubicBezTo>
                    <a:cubicBezTo>
                      <a:pt x="145" y="337"/>
                      <a:pt x="145" y="337"/>
                      <a:pt x="145" y="337"/>
                    </a:cubicBezTo>
                    <a:cubicBezTo>
                      <a:pt x="365" y="282"/>
                      <a:pt x="365" y="282"/>
                      <a:pt x="365" y="282"/>
                    </a:cubicBezTo>
                    <a:cubicBezTo>
                      <a:pt x="379" y="278"/>
                      <a:pt x="389" y="265"/>
                      <a:pt x="388" y="250"/>
                    </a:cubicBezTo>
                    <a:cubicBezTo>
                      <a:pt x="385" y="192"/>
                      <a:pt x="377" y="51"/>
                      <a:pt x="375" y="0"/>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43" name="Freeform 117">
                <a:extLst>
                  <a:ext uri="{FF2B5EF4-FFF2-40B4-BE49-F238E27FC236}">
                    <a16:creationId xmlns:a16="http://schemas.microsoft.com/office/drawing/2014/main" id="{AC363616-6A97-4B76-9A9A-2F44063C9F96}"/>
                  </a:ext>
                </a:extLst>
              </p:cNvPr>
              <p:cNvSpPr>
                <a:spLocks/>
              </p:cNvSpPr>
              <p:nvPr/>
            </p:nvSpPr>
            <p:spPr bwMode="auto">
              <a:xfrm>
                <a:off x="3957250" y="3620857"/>
                <a:ext cx="245492" cy="343414"/>
              </a:xfrm>
              <a:custGeom>
                <a:avLst/>
                <a:gdLst>
                  <a:gd name="T0" fmla="*/ 271 w 290"/>
                  <a:gd name="T1" fmla="*/ 186 h 404"/>
                  <a:gd name="T2" fmla="*/ 271 w 290"/>
                  <a:gd name="T3" fmla="*/ 186 h 404"/>
                  <a:gd name="T4" fmla="*/ 260 w 290"/>
                  <a:gd name="T5" fmla="*/ 186 h 404"/>
                  <a:gd name="T6" fmla="*/ 267 w 290"/>
                  <a:gd name="T7" fmla="*/ 161 h 404"/>
                  <a:gd name="T8" fmla="*/ 189 w 290"/>
                  <a:gd name="T9" fmla="*/ 18 h 404"/>
                  <a:gd name="T10" fmla="*/ 46 w 290"/>
                  <a:gd name="T11" fmla="*/ 96 h 404"/>
                  <a:gd name="T12" fmla="*/ 13 w 290"/>
                  <a:gd name="T13" fmla="*/ 207 h 404"/>
                  <a:gd name="T14" fmla="*/ 69 w 290"/>
                  <a:gd name="T15" fmla="*/ 316 h 404"/>
                  <a:gd name="T16" fmla="*/ 78 w 290"/>
                  <a:gd name="T17" fmla="*/ 339 h 404"/>
                  <a:gd name="T18" fmla="*/ 83 w 290"/>
                  <a:gd name="T19" fmla="*/ 377 h 404"/>
                  <a:gd name="T20" fmla="*/ 118 w 290"/>
                  <a:gd name="T21" fmla="*/ 402 h 404"/>
                  <a:gd name="T22" fmla="*/ 172 w 290"/>
                  <a:gd name="T23" fmla="*/ 384 h 404"/>
                  <a:gd name="T24" fmla="*/ 189 w 290"/>
                  <a:gd name="T25" fmla="*/ 331 h 404"/>
                  <a:gd name="T26" fmla="*/ 187 w 290"/>
                  <a:gd name="T27" fmla="*/ 315 h 404"/>
                  <a:gd name="T28" fmla="*/ 238 w 290"/>
                  <a:gd name="T29" fmla="*/ 258 h 404"/>
                  <a:gd name="T30" fmla="*/ 276 w 290"/>
                  <a:gd name="T31" fmla="*/ 238 h 404"/>
                  <a:gd name="T32" fmla="*/ 285 w 290"/>
                  <a:gd name="T33" fmla="*/ 215 h 404"/>
                  <a:gd name="T34" fmla="*/ 271 w 290"/>
                  <a:gd name="T35" fmla="*/ 186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0" h="404">
                    <a:moveTo>
                      <a:pt x="271" y="186"/>
                    </a:moveTo>
                    <a:cubicBezTo>
                      <a:pt x="271" y="186"/>
                      <a:pt x="271" y="186"/>
                      <a:pt x="271" y="186"/>
                    </a:cubicBezTo>
                    <a:cubicBezTo>
                      <a:pt x="267" y="185"/>
                      <a:pt x="263" y="185"/>
                      <a:pt x="260" y="186"/>
                    </a:cubicBezTo>
                    <a:cubicBezTo>
                      <a:pt x="267" y="161"/>
                      <a:pt x="267" y="161"/>
                      <a:pt x="267" y="161"/>
                    </a:cubicBezTo>
                    <a:cubicBezTo>
                      <a:pt x="285" y="100"/>
                      <a:pt x="250" y="36"/>
                      <a:pt x="189" y="18"/>
                    </a:cubicBezTo>
                    <a:cubicBezTo>
                      <a:pt x="128" y="0"/>
                      <a:pt x="64" y="35"/>
                      <a:pt x="46" y="96"/>
                    </a:cubicBezTo>
                    <a:cubicBezTo>
                      <a:pt x="13" y="207"/>
                      <a:pt x="13" y="207"/>
                      <a:pt x="13" y="207"/>
                    </a:cubicBezTo>
                    <a:cubicBezTo>
                      <a:pt x="0" y="253"/>
                      <a:pt x="25" y="301"/>
                      <a:pt x="69" y="316"/>
                    </a:cubicBezTo>
                    <a:cubicBezTo>
                      <a:pt x="73" y="323"/>
                      <a:pt x="77" y="331"/>
                      <a:pt x="78" y="339"/>
                    </a:cubicBezTo>
                    <a:cubicBezTo>
                      <a:pt x="83" y="377"/>
                      <a:pt x="83" y="377"/>
                      <a:pt x="83" y="377"/>
                    </a:cubicBezTo>
                    <a:cubicBezTo>
                      <a:pt x="84" y="388"/>
                      <a:pt x="96" y="399"/>
                      <a:pt x="118" y="402"/>
                    </a:cubicBezTo>
                    <a:cubicBezTo>
                      <a:pt x="139" y="404"/>
                      <a:pt x="158" y="398"/>
                      <a:pt x="172" y="384"/>
                    </a:cubicBezTo>
                    <a:cubicBezTo>
                      <a:pt x="186" y="370"/>
                      <a:pt x="192" y="350"/>
                      <a:pt x="189" y="331"/>
                    </a:cubicBezTo>
                    <a:cubicBezTo>
                      <a:pt x="187" y="315"/>
                      <a:pt x="187" y="315"/>
                      <a:pt x="187" y="315"/>
                    </a:cubicBezTo>
                    <a:cubicBezTo>
                      <a:pt x="209" y="303"/>
                      <a:pt x="227" y="283"/>
                      <a:pt x="238" y="258"/>
                    </a:cubicBezTo>
                    <a:cubicBezTo>
                      <a:pt x="254" y="262"/>
                      <a:pt x="270" y="254"/>
                      <a:pt x="276" y="238"/>
                    </a:cubicBezTo>
                    <a:cubicBezTo>
                      <a:pt x="285" y="215"/>
                      <a:pt x="285" y="215"/>
                      <a:pt x="285" y="215"/>
                    </a:cubicBezTo>
                    <a:cubicBezTo>
                      <a:pt x="290" y="203"/>
                      <a:pt x="283" y="190"/>
                      <a:pt x="271" y="186"/>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44" name="Freeform 118">
                <a:extLst>
                  <a:ext uri="{FF2B5EF4-FFF2-40B4-BE49-F238E27FC236}">
                    <a16:creationId xmlns:a16="http://schemas.microsoft.com/office/drawing/2014/main" id="{913CA466-4A05-407E-8CA1-425B20B64B54}"/>
                  </a:ext>
                </a:extLst>
              </p:cNvPr>
              <p:cNvSpPr>
                <a:spLocks/>
              </p:cNvSpPr>
              <p:nvPr/>
            </p:nvSpPr>
            <p:spPr bwMode="auto">
              <a:xfrm>
                <a:off x="4040000" y="3888416"/>
                <a:ext cx="79302" cy="61373"/>
              </a:xfrm>
              <a:custGeom>
                <a:avLst/>
                <a:gdLst>
                  <a:gd name="T0" fmla="*/ 89 w 94"/>
                  <a:gd name="T1" fmla="*/ 0 h 72"/>
                  <a:gd name="T2" fmla="*/ 0 w 94"/>
                  <a:gd name="T3" fmla="*/ 10 h 72"/>
                  <a:gd name="T4" fmla="*/ 79 w 94"/>
                  <a:gd name="T5" fmla="*/ 63 h 72"/>
                  <a:gd name="T6" fmla="*/ 91 w 94"/>
                  <a:gd name="T7" fmla="*/ 16 h 72"/>
                  <a:gd name="T8" fmla="*/ 89 w 94"/>
                  <a:gd name="T9" fmla="*/ 0 h 72"/>
                </a:gdLst>
                <a:ahLst/>
                <a:cxnLst>
                  <a:cxn ang="0">
                    <a:pos x="T0" y="T1"/>
                  </a:cxn>
                  <a:cxn ang="0">
                    <a:pos x="T2" y="T3"/>
                  </a:cxn>
                  <a:cxn ang="0">
                    <a:pos x="T4" y="T5"/>
                  </a:cxn>
                  <a:cxn ang="0">
                    <a:pos x="T6" y="T7"/>
                  </a:cxn>
                  <a:cxn ang="0">
                    <a:pos x="T8" y="T9"/>
                  </a:cxn>
                </a:cxnLst>
                <a:rect l="0" t="0" r="r" b="b"/>
                <a:pathLst>
                  <a:path w="94" h="72">
                    <a:moveTo>
                      <a:pt x="89" y="0"/>
                    </a:moveTo>
                    <a:cubicBezTo>
                      <a:pt x="63" y="15"/>
                      <a:pt x="31" y="19"/>
                      <a:pt x="0" y="10"/>
                    </a:cubicBezTo>
                    <a:cubicBezTo>
                      <a:pt x="0" y="10"/>
                      <a:pt x="16" y="72"/>
                      <a:pt x="79" y="63"/>
                    </a:cubicBezTo>
                    <a:cubicBezTo>
                      <a:pt x="89" y="50"/>
                      <a:pt x="94" y="33"/>
                      <a:pt x="91" y="16"/>
                    </a:cubicBezTo>
                    <a:lnTo>
                      <a:pt x="89" y="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45" name="Freeform 119">
                <a:extLst>
                  <a:ext uri="{FF2B5EF4-FFF2-40B4-BE49-F238E27FC236}">
                    <a16:creationId xmlns:a16="http://schemas.microsoft.com/office/drawing/2014/main" id="{74504B67-B636-42CF-BDCE-7416157A277E}"/>
                  </a:ext>
                </a:extLst>
              </p:cNvPr>
              <p:cNvSpPr>
                <a:spLocks/>
              </p:cNvSpPr>
              <p:nvPr/>
            </p:nvSpPr>
            <p:spPr bwMode="auto">
              <a:xfrm>
                <a:off x="3955871" y="3656715"/>
                <a:ext cx="85508" cy="234459"/>
              </a:xfrm>
              <a:custGeom>
                <a:avLst/>
                <a:gdLst>
                  <a:gd name="T0" fmla="*/ 101 w 101"/>
                  <a:gd name="T1" fmla="*/ 28 h 276"/>
                  <a:gd name="T2" fmla="*/ 81 w 101"/>
                  <a:gd name="T3" fmla="*/ 0 h 276"/>
                  <a:gd name="T4" fmla="*/ 41 w 101"/>
                  <a:gd name="T5" fmla="*/ 75 h 276"/>
                  <a:gd name="T6" fmla="*/ 14 w 101"/>
                  <a:gd name="T7" fmla="*/ 165 h 276"/>
                  <a:gd name="T8" fmla="*/ 74 w 101"/>
                  <a:gd name="T9" fmla="*/ 276 h 276"/>
                  <a:gd name="T10" fmla="*/ 94 w 101"/>
                  <a:gd name="T11" fmla="*/ 187 h 276"/>
                  <a:gd name="T12" fmla="*/ 71 w 101"/>
                  <a:gd name="T13" fmla="*/ 181 h 276"/>
                  <a:gd name="T14" fmla="*/ 64 w 101"/>
                  <a:gd name="T15" fmla="*/ 164 h 276"/>
                  <a:gd name="T16" fmla="*/ 82 w 101"/>
                  <a:gd name="T17" fmla="*/ 122 h 276"/>
                  <a:gd name="T18" fmla="*/ 75 w 101"/>
                  <a:gd name="T19" fmla="*/ 85 h 276"/>
                  <a:gd name="T20" fmla="*/ 75 w 101"/>
                  <a:gd name="T21" fmla="*/ 85 h 276"/>
                  <a:gd name="T22" fmla="*/ 101 w 101"/>
                  <a:gd name="T23" fmla="*/ 28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76">
                    <a:moveTo>
                      <a:pt x="101" y="28"/>
                    </a:moveTo>
                    <a:cubicBezTo>
                      <a:pt x="99" y="15"/>
                      <a:pt x="81" y="0"/>
                      <a:pt x="81" y="0"/>
                    </a:cubicBezTo>
                    <a:cubicBezTo>
                      <a:pt x="81" y="0"/>
                      <a:pt x="51" y="17"/>
                      <a:pt x="41" y="75"/>
                    </a:cubicBezTo>
                    <a:cubicBezTo>
                      <a:pt x="14" y="165"/>
                      <a:pt x="14" y="165"/>
                      <a:pt x="14" y="165"/>
                    </a:cubicBezTo>
                    <a:cubicBezTo>
                      <a:pt x="0" y="212"/>
                      <a:pt x="27" y="262"/>
                      <a:pt x="74" y="276"/>
                    </a:cubicBezTo>
                    <a:cubicBezTo>
                      <a:pt x="57" y="231"/>
                      <a:pt x="94" y="187"/>
                      <a:pt x="94" y="187"/>
                    </a:cubicBezTo>
                    <a:cubicBezTo>
                      <a:pt x="71" y="181"/>
                      <a:pt x="71" y="181"/>
                      <a:pt x="71" y="181"/>
                    </a:cubicBezTo>
                    <a:cubicBezTo>
                      <a:pt x="64" y="179"/>
                      <a:pt x="61" y="171"/>
                      <a:pt x="64" y="164"/>
                    </a:cubicBezTo>
                    <a:cubicBezTo>
                      <a:pt x="82" y="122"/>
                      <a:pt x="82" y="122"/>
                      <a:pt x="82" y="122"/>
                    </a:cubicBezTo>
                    <a:cubicBezTo>
                      <a:pt x="88" y="109"/>
                      <a:pt x="84" y="94"/>
                      <a:pt x="75" y="85"/>
                    </a:cubicBezTo>
                    <a:cubicBezTo>
                      <a:pt x="75" y="85"/>
                      <a:pt x="75" y="85"/>
                      <a:pt x="75" y="85"/>
                    </a:cubicBezTo>
                    <a:cubicBezTo>
                      <a:pt x="75" y="85"/>
                      <a:pt x="85" y="40"/>
                      <a:pt x="101" y="28"/>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46" name="Freeform 120">
                <a:extLst>
                  <a:ext uri="{FF2B5EF4-FFF2-40B4-BE49-F238E27FC236}">
                    <a16:creationId xmlns:a16="http://schemas.microsoft.com/office/drawing/2014/main" id="{D3A58240-3EBF-4415-ACEC-DFC811CB0B56}"/>
                  </a:ext>
                </a:extLst>
              </p:cNvPr>
              <p:cNvSpPr>
                <a:spLocks/>
              </p:cNvSpPr>
              <p:nvPr/>
            </p:nvSpPr>
            <p:spPr bwMode="auto">
              <a:xfrm>
                <a:off x="4083444" y="3762911"/>
                <a:ext cx="23446" cy="23446"/>
              </a:xfrm>
              <a:custGeom>
                <a:avLst/>
                <a:gdLst>
                  <a:gd name="T0" fmla="*/ 2 w 28"/>
                  <a:gd name="T1" fmla="*/ 10 h 28"/>
                  <a:gd name="T2" fmla="*/ 10 w 28"/>
                  <a:gd name="T3" fmla="*/ 26 h 28"/>
                  <a:gd name="T4" fmla="*/ 26 w 28"/>
                  <a:gd name="T5" fmla="*/ 17 h 28"/>
                  <a:gd name="T6" fmla="*/ 17 w 28"/>
                  <a:gd name="T7" fmla="*/ 2 h 28"/>
                  <a:gd name="T8" fmla="*/ 2 w 28"/>
                  <a:gd name="T9" fmla="*/ 10 h 28"/>
                </a:gdLst>
                <a:ahLst/>
                <a:cxnLst>
                  <a:cxn ang="0">
                    <a:pos x="T0" y="T1"/>
                  </a:cxn>
                  <a:cxn ang="0">
                    <a:pos x="T2" y="T3"/>
                  </a:cxn>
                  <a:cxn ang="0">
                    <a:pos x="T4" y="T5"/>
                  </a:cxn>
                  <a:cxn ang="0">
                    <a:pos x="T6" y="T7"/>
                  </a:cxn>
                  <a:cxn ang="0">
                    <a:pos x="T8" y="T9"/>
                  </a:cxn>
                </a:cxnLst>
                <a:rect l="0" t="0" r="r" b="b"/>
                <a:pathLst>
                  <a:path w="28" h="28">
                    <a:moveTo>
                      <a:pt x="2" y="10"/>
                    </a:moveTo>
                    <a:cubicBezTo>
                      <a:pt x="0" y="17"/>
                      <a:pt x="4" y="24"/>
                      <a:pt x="10" y="26"/>
                    </a:cubicBezTo>
                    <a:cubicBezTo>
                      <a:pt x="17" y="28"/>
                      <a:pt x="24" y="24"/>
                      <a:pt x="26" y="17"/>
                    </a:cubicBezTo>
                    <a:cubicBezTo>
                      <a:pt x="28" y="11"/>
                      <a:pt x="24" y="4"/>
                      <a:pt x="17" y="2"/>
                    </a:cubicBezTo>
                    <a:cubicBezTo>
                      <a:pt x="11" y="0"/>
                      <a:pt x="4" y="4"/>
                      <a:pt x="2" y="1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47" name="Freeform 121">
                <a:extLst>
                  <a:ext uri="{FF2B5EF4-FFF2-40B4-BE49-F238E27FC236}">
                    <a16:creationId xmlns:a16="http://schemas.microsoft.com/office/drawing/2014/main" id="{80CD3C2D-FC29-4CC3-AC4C-71B820191047}"/>
                  </a:ext>
                </a:extLst>
              </p:cNvPr>
              <p:cNvSpPr>
                <a:spLocks/>
              </p:cNvSpPr>
              <p:nvPr/>
            </p:nvSpPr>
            <p:spPr bwMode="auto">
              <a:xfrm>
                <a:off x="3993108" y="3737396"/>
                <a:ext cx="23446" cy="23446"/>
              </a:xfrm>
              <a:custGeom>
                <a:avLst/>
                <a:gdLst>
                  <a:gd name="T0" fmla="*/ 2 w 27"/>
                  <a:gd name="T1" fmla="*/ 10 h 28"/>
                  <a:gd name="T2" fmla="*/ 10 w 27"/>
                  <a:gd name="T3" fmla="*/ 26 h 28"/>
                  <a:gd name="T4" fmla="*/ 25 w 27"/>
                  <a:gd name="T5" fmla="*/ 17 h 28"/>
                  <a:gd name="T6" fmla="*/ 17 w 27"/>
                  <a:gd name="T7" fmla="*/ 2 h 28"/>
                  <a:gd name="T8" fmla="*/ 2 w 27"/>
                  <a:gd name="T9" fmla="*/ 10 h 28"/>
                </a:gdLst>
                <a:ahLst/>
                <a:cxnLst>
                  <a:cxn ang="0">
                    <a:pos x="T0" y="T1"/>
                  </a:cxn>
                  <a:cxn ang="0">
                    <a:pos x="T2" y="T3"/>
                  </a:cxn>
                  <a:cxn ang="0">
                    <a:pos x="T4" y="T5"/>
                  </a:cxn>
                  <a:cxn ang="0">
                    <a:pos x="T6" y="T7"/>
                  </a:cxn>
                  <a:cxn ang="0">
                    <a:pos x="T8" y="T9"/>
                  </a:cxn>
                </a:cxnLst>
                <a:rect l="0" t="0" r="r" b="b"/>
                <a:pathLst>
                  <a:path w="27" h="28">
                    <a:moveTo>
                      <a:pt x="2" y="10"/>
                    </a:moveTo>
                    <a:cubicBezTo>
                      <a:pt x="0" y="17"/>
                      <a:pt x="3" y="24"/>
                      <a:pt x="10" y="26"/>
                    </a:cubicBezTo>
                    <a:cubicBezTo>
                      <a:pt x="17" y="28"/>
                      <a:pt x="23" y="24"/>
                      <a:pt x="25" y="17"/>
                    </a:cubicBezTo>
                    <a:cubicBezTo>
                      <a:pt x="27" y="11"/>
                      <a:pt x="24" y="4"/>
                      <a:pt x="17" y="2"/>
                    </a:cubicBezTo>
                    <a:cubicBezTo>
                      <a:pt x="11" y="0"/>
                      <a:pt x="4" y="4"/>
                      <a:pt x="2" y="1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48" name="Freeform 122">
                <a:extLst>
                  <a:ext uri="{FF2B5EF4-FFF2-40B4-BE49-F238E27FC236}">
                    <a16:creationId xmlns:a16="http://schemas.microsoft.com/office/drawing/2014/main" id="{B2813EDC-757F-4ED2-BFF9-3C87C9FDC485}"/>
                  </a:ext>
                </a:extLst>
              </p:cNvPr>
              <p:cNvSpPr>
                <a:spLocks/>
              </p:cNvSpPr>
              <p:nvPr/>
            </p:nvSpPr>
            <p:spPr bwMode="auto">
              <a:xfrm>
                <a:off x="3999314" y="3829801"/>
                <a:ext cx="62752" cy="24136"/>
              </a:xfrm>
              <a:custGeom>
                <a:avLst/>
                <a:gdLst>
                  <a:gd name="T0" fmla="*/ 74 w 74"/>
                  <a:gd name="T1" fmla="*/ 21 h 28"/>
                  <a:gd name="T2" fmla="*/ 0 w 74"/>
                  <a:gd name="T3" fmla="*/ 0 h 28"/>
                  <a:gd name="T4" fmla="*/ 12 w 74"/>
                  <a:gd name="T5" fmla="*/ 12 h 28"/>
                  <a:gd name="T6" fmla="*/ 55 w 74"/>
                  <a:gd name="T7" fmla="*/ 25 h 28"/>
                  <a:gd name="T8" fmla="*/ 74 w 74"/>
                  <a:gd name="T9" fmla="*/ 21 h 28"/>
                </a:gdLst>
                <a:ahLst/>
                <a:cxnLst>
                  <a:cxn ang="0">
                    <a:pos x="T0" y="T1"/>
                  </a:cxn>
                  <a:cxn ang="0">
                    <a:pos x="T2" y="T3"/>
                  </a:cxn>
                  <a:cxn ang="0">
                    <a:pos x="T4" y="T5"/>
                  </a:cxn>
                  <a:cxn ang="0">
                    <a:pos x="T6" y="T7"/>
                  </a:cxn>
                  <a:cxn ang="0">
                    <a:pos x="T8" y="T9"/>
                  </a:cxn>
                </a:cxnLst>
                <a:rect l="0" t="0" r="r" b="b"/>
                <a:pathLst>
                  <a:path w="74" h="28">
                    <a:moveTo>
                      <a:pt x="74" y="21"/>
                    </a:moveTo>
                    <a:cubicBezTo>
                      <a:pt x="0" y="0"/>
                      <a:pt x="0" y="0"/>
                      <a:pt x="0" y="0"/>
                    </a:cubicBezTo>
                    <a:cubicBezTo>
                      <a:pt x="12" y="12"/>
                      <a:pt x="12" y="12"/>
                      <a:pt x="12" y="12"/>
                    </a:cubicBezTo>
                    <a:cubicBezTo>
                      <a:pt x="23" y="23"/>
                      <a:pt x="39" y="28"/>
                      <a:pt x="55" y="25"/>
                    </a:cubicBezTo>
                    <a:lnTo>
                      <a:pt x="74"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49" name="Freeform 123">
                <a:extLst>
                  <a:ext uri="{FF2B5EF4-FFF2-40B4-BE49-F238E27FC236}">
                    <a16:creationId xmlns:a16="http://schemas.microsoft.com/office/drawing/2014/main" id="{BDF6EA87-AFFF-48B4-A834-E64B613D5E64}"/>
                  </a:ext>
                </a:extLst>
              </p:cNvPr>
              <p:cNvSpPr>
                <a:spLocks/>
              </p:cNvSpPr>
              <p:nvPr/>
            </p:nvSpPr>
            <p:spPr bwMode="auto">
              <a:xfrm>
                <a:off x="4014485" y="3617409"/>
                <a:ext cx="197911" cy="194463"/>
              </a:xfrm>
              <a:custGeom>
                <a:avLst/>
                <a:gdLst>
                  <a:gd name="T0" fmla="*/ 151 w 234"/>
                  <a:gd name="T1" fmla="*/ 224 h 229"/>
                  <a:gd name="T2" fmla="*/ 169 w 234"/>
                  <a:gd name="T3" fmla="*/ 229 h 229"/>
                  <a:gd name="T4" fmla="*/ 176 w 234"/>
                  <a:gd name="T5" fmla="*/ 205 h 229"/>
                  <a:gd name="T6" fmla="*/ 200 w 234"/>
                  <a:gd name="T7" fmla="*/ 189 h 229"/>
                  <a:gd name="T8" fmla="*/ 211 w 234"/>
                  <a:gd name="T9" fmla="*/ 153 h 229"/>
                  <a:gd name="T10" fmla="*/ 139 w 234"/>
                  <a:gd name="T11" fmla="*/ 23 h 229"/>
                  <a:gd name="T12" fmla="*/ 96 w 234"/>
                  <a:gd name="T13" fmla="*/ 16 h 229"/>
                  <a:gd name="T14" fmla="*/ 57 w 234"/>
                  <a:gd name="T15" fmla="*/ 9 h 229"/>
                  <a:gd name="T16" fmla="*/ 36 w 234"/>
                  <a:gd name="T17" fmla="*/ 0 h 229"/>
                  <a:gd name="T18" fmla="*/ 36 w 234"/>
                  <a:gd name="T19" fmla="*/ 23 h 229"/>
                  <a:gd name="T20" fmla="*/ 33 w 234"/>
                  <a:gd name="T21" fmla="*/ 23 h 229"/>
                  <a:gd name="T22" fmla="*/ 0 w 234"/>
                  <a:gd name="T23" fmla="*/ 15 h 229"/>
                  <a:gd name="T24" fmla="*/ 14 w 234"/>
                  <a:gd name="T25" fmla="*/ 54 h 229"/>
                  <a:gd name="T26" fmla="*/ 56 w 234"/>
                  <a:gd name="T27" fmla="*/ 92 h 229"/>
                  <a:gd name="T28" fmla="*/ 71 w 234"/>
                  <a:gd name="T29" fmla="*/ 97 h 229"/>
                  <a:gd name="T30" fmla="*/ 84 w 234"/>
                  <a:gd name="T31" fmla="*/ 98 h 229"/>
                  <a:gd name="T32" fmla="*/ 117 w 234"/>
                  <a:gd name="T33" fmla="*/ 93 h 229"/>
                  <a:gd name="T34" fmla="*/ 168 w 234"/>
                  <a:gd name="T35" fmla="*/ 118 h 229"/>
                  <a:gd name="T36" fmla="*/ 177 w 234"/>
                  <a:gd name="T37" fmla="*/ 135 h 229"/>
                  <a:gd name="T38" fmla="*/ 178 w 234"/>
                  <a:gd name="T39" fmla="*/ 159 h 229"/>
                  <a:gd name="T40" fmla="*/ 151 w 234"/>
                  <a:gd name="T41" fmla="*/ 22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4" h="229">
                    <a:moveTo>
                      <a:pt x="151" y="224"/>
                    </a:moveTo>
                    <a:cubicBezTo>
                      <a:pt x="169" y="229"/>
                      <a:pt x="169" y="229"/>
                      <a:pt x="169" y="229"/>
                    </a:cubicBezTo>
                    <a:cubicBezTo>
                      <a:pt x="176" y="205"/>
                      <a:pt x="176" y="205"/>
                      <a:pt x="176" y="205"/>
                    </a:cubicBezTo>
                    <a:cubicBezTo>
                      <a:pt x="179" y="194"/>
                      <a:pt x="190" y="188"/>
                      <a:pt x="200" y="189"/>
                    </a:cubicBezTo>
                    <a:cubicBezTo>
                      <a:pt x="205" y="175"/>
                      <a:pt x="209" y="161"/>
                      <a:pt x="211" y="153"/>
                    </a:cubicBezTo>
                    <a:cubicBezTo>
                      <a:pt x="234" y="77"/>
                      <a:pt x="179" y="35"/>
                      <a:pt x="139" y="23"/>
                    </a:cubicBezTo>
                    <a:cubicBezTo>
                      <a:pt x="119" y="17"/>
                      <a:pt x="105" y="16"/>
                      <a:pt x="96" y="16"/>
                    </a:cubicBezTo>
                    <a:cubicBezTo>
                      <a:pt x="82" y="16"/>
                      <a:pt x="69" y="13"/>
                      <a:pt x="57" y="9"/>
                    </a:cubicBezTo>
                    <a:cubicBezTo>
                      <a:pt x="36" y="0"/>
                      <a:pt x="36" y="0"/>
                      <a:pt x="36" y="0"/>
                    </a:cubicBezTo>
                    <a:cubicBezTo>
                      <a:pt x="36" y="23"/>
                      <a:pt x="36" y="23"/>
                      <a:pt x="36" y="23"/>
                    </a:cubicBezTo>
                    <a:cubicBezTo>
                      <a:pt x="33" y="23"/>
                      <a:pt x="33" y="23"/>
                      <a:pt x="33" y="23"/>
                    </a:cubicBezTo>
                    <a:cubicBezTo>
                      <a:pt x="22" y="24"/>
                      <a:pt x="10" y="21"/>
                      <a:pt x="0" y="15"/>
                    </a:cubicBezTo>
                    <a:cubicBezTo>
                      <a:pt x="14" y="54"/>
                      <a:pt x="14" y="54"/>
                      <a:pt x="14" y="54"/>
                    </a:cubicBezTo>
                    <a:cubicBezTo>
                      <a:pt x="21" y="72"/>
                      <a:pt x="36" y="87"/>
                      <a:pt x="56" y="92"/>
                    </a:cubicBezTo>
                    <a:cubicBezTo>
                      <a:pt x="71" y="97"/>
                      <a:pt x="71" y="97"/>
                      <a:pt x="71" y="97"/>
                    </a:cubicBezTo>
                    <a:cubicBezTo>
                      <a:pt x="75" y="98"/>
                      <a:pt x="80" y="98"/>
                      <a:pt x="84" y="98"/>
                    </a:cubicBezTo>
                    <a:cubicBezTo>
                      <a:pt x="117" y="93"/>
                      <a:pt x="117" y="93"/>
                      <a:pt x="117" y="93"/>
                    </a:cubicBezTo>
                    <a:cubicBezTo>
                      <a:pt x="138" y="90"/>
                      <a:pt x="158" y="100"/>
                      <a:pt x="168" y="118"/>
                    </a:cubicBezTo>
                    <a:cubicBezTo>
                      <a:pt x="177" y="135"/>
                      <a:pt x="177" y="135"/>
                      <a:pt x="177" y="135"/>
                    </a:cubicBezTo>
                    <a:cubicBezTo>
                      <a:pt x="181" y="142"/>
                      <a:pt x="182" y="151"/>
                      <a:pt x="178" y="159"/>
                    </a:cubicBezTo>
                    <a:lnTo>
                      <a:pt x="151" y="224"/>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50" name="Freeform 124">
                <a:extLst>
                  <a:ext uri="{FF2B5EF4-FFF2-40B4-BE49-F238E27FC236}">
                    <a16:creationId xmlns:a16="http://schemas.microsoft.com/office/drawing/2014/main" id="{A0E64FB2-038F-4253-8474-1CEC9270487F}"/>
                  </a:ext>
                </a:extLst>
              </p:cNvPr>
              <p:cNvSpPr>
                <a:spLocks/>
              </p:cNvSpPr>
              <p:nvPr/>
            </p:nvSpPr>
            <p:spPr bwMode="auto">
              <a:xfrm>
                <a:off x="4086202" y="3742224"/>
                <a:ext cx="38617" cy="25515"/>
              </a:xfrm>
              <a:custGeom>
                <a:avLst/>
                <a:gdLst>
                  <a:gd name="T0" fmla="*/ 40 w 45"/>
                  <a:gd name="T1" fmla="*/ 30 h 30"/>
                  <a:gd name="T2" fmla="*/ 36 w 45"/>
                  <a:gd name="T3" fmla="*/ 28 h 30"/>
                  <a:gd name="T4" fmla="*/ 5 w 45"/>
                  <a:gd name="T5" fmla="*/ 9 h 30"/>
                  <a:gd name="T6" fmla="*/ 5 w 45"/>
                  <a:gd name="T7" fmla="*/ 9 h 30"/>
                  <a:gd name="T8" fmla="*/ 5 w 45"/>
                  <a:gd name="T9" fmla="*/ 9 h 30"/>
                  <a:gd name="T10" fmla="*/ 0 w 45"/>
                  <a:gd name="T11" fmla="*/ 4 h 30"/>
                  <a:gd name="T12" fmla="*/ 4 w 45"/>
                  <a:gd name="T13" fmla="*/ 0 h 30"/>
                  <a:gd name="T14" fmla="*/ 5 w 45"/>
                  <a:gd name="T15" fmla="*/ 0 h 30"/>
                  <a:gd name="T16" fmla="*/ 43 w 45"/>
                  <a:gd name="T17" fmla="*/ 23 h 30"/>
                  <a:gd name="T18" fmla="*/ 42 w 45"/>
                  <a:gd name="T19" fmla="*/ 29 h 30"/>
                  <a:gd name="T20" fmla="*/ 40 w 45"/>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0">
                    <a:moveTo>
                      <a:pt x="40" y="30"/>
                    </a:moveTo>
                    <a:cubicBezTo>
                      <a:pt x="38" y="30"/>
                      <a:pt x="37" y="29"/>
                      <a:pt x="36" y="28"/>
                    </a:cubicBezTo>
                    <a:cubicBezTo>
                      <a:pt x="36" y="27"/>
                      <a:pt x="25" y="9"/>
                      <a:pt x="5" y="9"/>
                    </a:cubicBezTo>
                    <a:cubicBezTo>
                      <a:pt x="5" y="9"/>
                      <a:pt x="5" y="9"/>
                      <a:pt x="5" y="9"/>
                    </a:cubicBezTo>
                    <a:cubicBezTo>
                      <a:pt x="5" y="9"/>
                      <a:pt x="5" y="9"/>
                      <a:pt x="5" y="9"/>
                    </a:cubicBezTo>
                    <a:cubicBezTo>
                      <a:pt x="2" y="9"/>
                      <a:pt x="0" y="7"/>
                      <a:pt x="0" y="4"/>
                    </a:cubicBezTo>
                    <a:cubicBezTo>
                      <a:pt x="0" y="2"/>
                      <a:pt x="2" y="0"/>
                      <a:pt x="4" y="0"/>
                    </a:cubicBezTo>
                    <a:cubicBezTo>
                      <a:pt x="5" y="0"/>
                      <a:pt x="5" y="0"/>
                      <a:pt x="5" y="0"/>
                    </a:cubicBezTo>
                    <a:cubicBezTo>
                      <a:pt x="30" y="0"/>
                      <a:pt x="43" y="22"/>
                      <a:pt x="43" y="23"/>
                    </a:cubicBezTo>
                    <a:cubicBezTo>
                      <a:pt x="45" y="25"/>
                      <a:pt x="44" y="28"/>
                      <a:pt x="42" y="29"/>
                    </a:cubicBezTo>
                    <a:cubicBezTo>
                      <a:pt x="41" y="30"/>
                      <a:pt x="40" y="30"/>
                      <a:pt x="40" y="3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51" name="Freeform 125">
                <a:extLst>
                  <a:ext uri="{FF2B5EF4-FFF2-40B4-BE49-F238E27FC236}">
                    <a16:creationId xmlns:a16="http://schemas.microsoft.com/office/drawing/2014/main" id="{2FC1D3DE-FF85-47B2-B3F7-FBAF76525A66}"/>
                  </a:ext>
                </a:extLst>
              </p:cNvPr>
              <p:cNvSpPr>
                <a:spLocks/>
              </p:cNvSpPr>
              <p:nvPr/>
            </p:nvSpPr>
            <p:spPr bwMode="auto">
              <a:xfrm>
                <a:off x="3986902" y="3712571"/>
                <a:ext cx="42065" cy="21377"/>
              </a:xfrm>
              <a:custGeom>
                <a:avLst/>
                <a:gdLst>
                  <a:gd name="T0" fmla="*/ 45 w 50"/>
                  <a:gd name="T1" fmla="*/ 25 h 25"/>
                  <a:gd name="T2" fmla="*/ 42 w 50"/>
                  <a:gd name="T3" fmla="*/ 24 h 25"/>
                  <a:gd name="T4" fmla="*/ 6 w 50"/>
                  <a:gd name="T5" fmla="*/ 16 h 25"/>
                  <a:gd name="T6" fmla="*/ 1 w 50"/>
                  <a:gd name="T7" fmla="*/ 13 h 25"/>
                  <a:gd name="T8" fmla="*/ 4 w 50"/>
                  <a:gd name="T9" fmla="*/ 8 h 25"/>
                  <a:gd name="T10" fmla="*/ 48 w 50"/>
                  <a:gd name="T11" fmla="*/ 18 h 25"/>
                  <a:gd name="T12" fmla="*/ 48 w 50"/>
                  <a:gd name="T13" fmla="*/ 24 h 25"/>
                  <a:gd name="T14" fmla="*/ 45 w 50"/>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5">
                    <a:moveTo>
                      <a:pt x="45" y="25"/>
                    </a:moveTo>
                    <a:cubicBezTo>
                      <a:pt x="44" y="25"/>
                      <a:pt x="43" y="25"/>
                      <a:pt x="42" y="24"/>
                    </a:cubicBezTo>
                    <a:cubicBezTo>
                      <a:pt x="27" y="10"/>
                      <a:pt x="6" y="16"/>
                      <a:pt x="6" y="16"/>
                    </a:cubicBezTo>
                    <a:cubicBezTo>
                      <a:pt x="4" y="17"/>
                      <a:pt x="1" y="15"/>
                      <a:pt x="1" y="13"/>
                    </a:cubicBezTo>
                    <a:cubicBezTo>
                      <a:pt x="0" y="11"/>
                      <a:pt x="1" y="8"/>
                      <a:pt x="4" y="8"/>
                    </a:cubicBezTo>
                    <a:cubicBezTo>
                      <a:pt x="5" y="7"/>
                      <a:pt x="30" y="0"/>
                      <a:pt x="48" y="18"/>
                    </a:cubicBezTo>
                    <a:cubicBezTo>
                      <a:pt x="50" y="19"/>
                      <a:pt x="50" y="22"/>
                      <a:pt x="48" y="24"/>
                    </a:cubicBezTo>
                    <a:cubicBezTo>
                      <a:pt x="47" y="25"/>
                      <a:pt x="46" y="25"/>
                      <a:pt x="45" y="2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52" name="Freeform 126">
                <a:extLst>
                  <a:ext uri="{FF2B5EF4-FFF2-40B4-BE49-F238E27FC236}">
                    <a16:creationId xmlns:a16="http://schemas.microsoft.com/office/drawing/2014/main" id="{687EC259-9A30-48A0-A07E-9C4858886EB9}"/>
                  </a:ext>
                </a:extLst>
              </p:cNvPr>
              <p:cNvSpPr>
                <a:spLocks/>
              </p:cNvSpPr>
              <p:nvPr/>
            </p:nvSpPr>
            <p:spPr bwMode="auto">
              <a:xfrm>
                <a:off x="3929666" y="4063570"/>
                <a:ext cx="258594" cy="259284"/>
              </a:xfrm>
              <a:custGeom>
                <a:avLst/>
                <a:gdLst>
                  <a:gd name="T0" fmla="*/ 296 w 305"/>
                  <a:gd name="T1" fmla="*/ 171 h 305"/>
                  <a:gd name="T2" fmla="*/ 253 w 305"/>
                  <a:gd name="T3" fmla="*/ 6 h 305"/>
                  <a:gd name="T4" fmla="*/ 222 w 305"/>
                  <a:gd name="T5" fmla="*/ 0 h 305"/>
                  <a:gd name="T6" fmla="*/ 259 w 305"/>
                  <a:gd name="T7" fmla="*/ 210 h 305"/>
                  <a:gd name="T8" fmla="*/ 83 w 305"/>
                  <a:gd name="T9" fmla="*/ 286 h 305"/>
                  <a:gd name="T10" fmla="*/ 19 w 305"/>
                  <a:gd name="T11" fmla="*/ 266 h 305"/>
                  <a:gd name="T12" fmla="*/ 0 w 305"/>
                  <a:gd name="T13" fmla="*/ 266 h 305"/>
                  <a:gd name="T14" fmla="*/ 7 w 305"/>
                  <a:gd name="T15" fmla="*/ 293 h 305"/>
                  <a:gd name="T16" fmla="*/ 95 w 305"/>
                  <a:gd name="T17" fmla="*/ 305 h 305"/>
                  <a:gd name="T18" fmla="*/ 254 w 305"/>
                  <a:gd name="T19" fmla="*/ 249 h 305"/>
                  <a:gd name="T20" fmla="*/ 296 w 305"/>
                  <a:gd name="T21" fmla="*/ 17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5" h="305">
                    <a:moveTo>
                      <a:pt x="296" y="171"/>
                    </a:moveTo>
                    <a:cubicBezTo>
                      <a:pt x="253" y="6"/>
                      <a:pt x="253" y="6"/>
                      <a:pt x="253" y="6"/>
                    </a:cubicBezTo>
                    <a:cubicBezTo>
                      <a:pt x="222" y="0"/>
                      <a:pt x="222" y="0"/>
                      <a:pt x="222" y="0"/>
                    </a:cubicBezTo>
                    <a:cubicBezTo>
                      <a:pt x="259" y="210"/>
                      <a:pt x="259" y="210"/>
                      <a:pt x="259" y="210"/>
                    </a:cubicBezTo>
                    <a:cubicBezTo>
                      <a:pt x="83" y="286"/>
                      <a:pt x="83" y="286"/>
                      <a:pt x="83" y="286"/>
                    </a:cubicBezTo>
                    <a:cubicBezTo>
                      <a:pt x="19" y="266"/>
                      <a:pt x="19" y="266"/>
                      <a:pt x="19" y="266"/>
                    </a:cubicBezTo>
                    <a:cubicBezTo>
                      <a:pt x="13" y="263"/>
                      <a:pt x="6" y="264"/>
                      <a:pt x="0" y="266"/>
                    </a:cubicBezTo>
                    <a:cubicBezTo>
                      <a:pt x="7" y="293"/>
                      <a:pt x="7" y="293"/>
                      <a:pt x="7" y="293"/>
                    </a:cubicBezTo>
                    <a:cubicBezTo>
                      <a:pt x="95" y="305"/>
                      <a:pt x="95" y="305"/>
                      <a:pt x="95" y="305"/>
                    </a:cubicBezTo>
                    <a:cubicBezTo>
                      <a:pt x="254" y="249"/>
                      <a:pt x="254" y="249"/>
                      <a:pt x="254" y="249"/>
                    </a:cubicBezTo>
                    <a:cubicBezTo>
                      <a:pt x="287" y="238"/>
                      <a:pt x="305" y="204"/>
                      <a:pt x="296" y="171"/>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53" name="Freeform 127">
                <a:extLst>
                  <a:ext uri="{FF2B5EF4-FFF2-40B4-BE49-F238E27FC236}">
                    <a16:creationId xmlns:a16="http://schemas.microsoft.com/office/drawing/2014/main" id="{1E119D26-4464-41A6-83CA-399E72F2F041}"/>
                  </a:ext>
                </a:extLst>
              </p:cNvPr>
              <p:cNvSpPr>
                <a:spLocks/>
              </p:cNvSpPr>
              <p:nvPr/>
            </p:nvSpPr>
            <p:spPr bwMode="auto">
              <a:xfrm>
                <a:off x="3607631" y="4203556"/>
                <a:ext cx="515120" cy="189636"/>
              </a:xfrm>
              <a:custGeom>
                <a:avLst/>
                <a:gdLst>
                  <a:gd name="T0" fmla="*/ 4 w 608"/>
                  <a:gd name="T1" fmla="*/ 31 h 223"/>
                  <a:gd name="T2" fmla="*/ 20 w 608"/>
                  <a:gd name="T3" fmla="*/ 25 h 223"/>
                  <a:gd name="T4" fmla="*/ 318 w 608"/>
                  <a:gd name="T5" fmla="*/ 1 h 223"/>
                  <a:gd name="T6" fmla="*/ 347 w 608"/>
                  <a:gd name="T7" fmla="*/ 17 h 223"/>
                  <a:gd name="T8" fmla="*/ 424 w 608"/>
                  <a:gd name="T9" fmla="*/ 173 h 223"/>
                  <a:gd name="T10" fmla="*/ 434 w 608"/>
                  <a:gd name="T11" fmla="*/ 179 h 223"/>
                  <a:gd name="T12" fmla="*/ 607 w 608"/>
                  <a:gd name="T13" fmla="*/ 165 h 223"/>
                  <a:gd name="T14" fmla="*/ 608 w 608"/>
                  <a:gd name="T15" fmla="*/ 182 h 223"/>
                  <a:gd name="T16" fmla="*/ 416 w 608"/>
                  <a:gd name="T17" fmla="*/ 198 h 223"/>
                  <a:gd name="T18" fmla="*/ 102 w 608"/>
                  <a:gd name="T19" fmla="*/ 223 h 223"/>
                  <a:gd name="T20" fmla="*/ 0 w 608"/>
                  <a:gd name="T21" fmla="*/ 34 h 223"/>
                  <a:gd name="T22" fmla="*/ 4 w 608"/>
                  <a:gd name="T23" fmla="*/ 31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8" h="223">
                    <a:moveTo>
                      <a:pt x="4" y="31"/>
                    </a:moveTo>
                    <a:cubicBezTo>
                      <a:pt x="8" y="27"/>
                      <a:pt x="14" y="25"/>
                      <a:pt x="20" y="25"/>
                    </a:cubicBezTo>
                    <a:cubicBezTo>
                      <a:pt x="318" y="1"/>
                      <a:pt x="318" y="1"/>
                      <a:pt x="318" y="1"/>
                    </a:cubicBezTo>
                    <a:cubicBezTo>
                      <a:pt x="330" y="0"/>
                      <a:pt x="342" y="6"/>
                      <a:pt x="347" y="17"/>
                    </a:cubicBezTo>
                    <a:cubicBezTo>
                      <a:pt x="424" y="173"/>
                      <a:pt x="424" y="173"/>
                      <a:pt x="424" y="173"/>
                    </a:cubicBezTo>
                    <a:cubicBezTo>
                      <a:pt x="425" y="177"/>
                      <a:pt x="429" y="179"/>
                      <a:pt x="434" y="179"/>
                    </a:cubicBezTo>
                    <a:cubicBezTo>
                      <a:pt x="607" y="165"/>
                      <a:pt x="607" y="165"/>
                      <a:pt x="607" y="165"/>
                    </a:cubicBezTo>
                    <a:cubicBezTo>
                      <a:pt x="608" y="182"/>
                      <a:pt x="608" y="182"/>
                      <a:pt x="608" y="182"/>
                    </a:cubicBezTo>
                    <a:cubicBezTo>
                      <a:pt x="416" y="198"/>
                      <a:pt x="416" y="198"/>
                      <a:pt x="416" y="198"/>
                    </a:cubicBezTo>
                    <a:cubicBezTo>
                      <a:pt x="102" y="223"/>
                      <a:pt x="102" y="223"/>
                      <a:pt x="102" y="223"/>
                    </a:cubicBezTo>
                    <a:cubicBezTo>
                      <a:pt x="0" y="34"/>
                      <a:pt x="0" y="34"/>
                      <a:pt x="0" y="34"/>
                    </a:cubicBezTo>
                    <a:lnTo>
                      <a:pt x="4" y="31"/>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54" name="Freeform 128">
                <a:extLst>
                  <a:ext uri="{FF2B5EF4-FFF2-40B4-BE49-F238E27FC236}">
                    <a16:creationId xmlns:a16="http://schemas.microsoft.com/office/drawing/2014/main" id="{B10D7D24-A007-4FB1-A3F3-0B5FEFB53FC2}"/>
                  </a:ext>
                </a:extLst>
              </p:cNvPr>
              <p:cNvSpPr>
                <a:spLocks/>
              </p:cNvSpPr>
              <p:nvPr/>
            </p:nvSpPr>
            <p:spPr bwMode="auto">
              <a:xfrm>
                <a:off x="3602113" y="4210452"/>
                <a:ext cx="390305" cy="184119"/>
              </a:xfrm>
              <a:custGeom>
                <a:avLst/>
                <a:gdLst>
                  <a:gd name="T0" fmla="*/ 11 w 461"/>
                  <a:gd name="T1" fmla="*/ 25 h 217"/>
                  <a:gd name="T2" fmla="*/ 314 w 461"/>
                  <a:gd name="T3" fmla="*/ 0 h 217"/>
                  <a:gd name="T4" fmla="*/ 337 w 461"/>
                  <a:gd name="T5" fmla="*/ 14 h 217"/>
                  <a:gd name="T6" fmla="*/ 415 w 461"/>
                  <a:gd name="T7" fmla="*/ 175 h 217"/>
                  <a:gd name="T8" fmla="*/ 439 w 461"/>
                  <a:gd name="T9" fmla="*/ 189 h 217"/>
                  <a:gd name="T10" fmla="*/ 461 w 461"/>
                  <a:gd name="T11" fmla="*/ 187 h 217"/>
                  <a:gd name="T12" fmla="*/ 90 w 461"/>
                  <a:gd name="T13" fmla="*/ 217 h 217"/>
                  <a:gd name="T14" fmla="*/ 3 w 461"/>
                  <a:gd name="T15" fmla="*/ 38 h 217"/>
                  <a:gd name="T16" fmla="*/ 11 w 461"/>
                  <a:gd name="T17" fmla="*/ 2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 h="217">
                    <a:moveTo>
                      <a:pt x="11" y="25"/>
                    </a:moveTo>
                    <a:cubicBezTo>
                      <a:pt x="314" y="0"/>
                      <a:pt x="314" y="0"/>
                      <a:pt x="314" y="0"/>
                    </a:cubicBezTo>
                    <a:cubicBezTo>
                      <a:pt x="324" y="0"/>
                      <a:pt x="333" y="5"/>
                      <a:pt x="337" y="14"/>
                    </a:cubicBezTo>
                    <a:cubicBezTo>
                      <a:pt x="415" y="175"/>
                      <a:pt x="415" y="175"/>
                      <a:pt x="415" y="175"/>
                    </a:cubicBezTo>
                    <a:cubicBezTo>
                      <a:pt x="420" y="184"/>
                      <a:pt x="429" y="189"/>
                      <a:pt x="439" y="189"/>
                    </a:cubicBezTo>
                    <a:cubicBezTo>
                      <a:pt x="461" y="187"/>
                      <a:pt x="461" y="187"/>
                      <a:pt x="461" y="187"/>
                    </a:cubicBezTo>
                    <a:cubicBezTo>
                      <a:pt x="90" y="217"/>
                      <a:pt x="90" y="217"/>
                      <a:pt x="90" y="217"/>
                    </a:cubicBezTo>
                    <a:cubicBezTo>
                      <a:pt x="3" y="38"/>
                      <a:pt x="3" y="38"/>
                      <a:pt x="3" y="38"/>
                    </a:cubicBezTo>
                    <a:cubicBezTo>
                      <a:pt x="0" y="32"/>
                      <a:pt x="4" y="25"/>
                      <a:pt x="11" y="25"/>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55" name="Freeform 129">
                <a:extLst>
                  <a:ext uri="{FF2B5EF4-FFF2-40B4-BE49-F238E27FC236}">
                    <a16:creationId xmlns:a16="http://schemas.microsoft.com/office/drawing/2014/main" id="{3D9B088F-3D95-42E2-A19F-E9848A2268A2}"/>
                  </a:ext>
                </a:extLst>
              </p:cNvPr>
              <p:cNvSpPr>
                <a:spLocks/>
              </p:cNvSpPr>
              <p:nvPr/>
            </p:nvSpPr>
            <p:spPr bwMode="auto">
              <a:xfrm>
                <a:off x="3666935" y="4349059"/>
                <a:ext cx="284798" cy="28962"/>
              </a:xfrm>
              <a:custGeom>
                <a:avLst/>
                <a:gdLst>
                  <a:gd name="T0" fmla="*/ 0 w 413"/>
                  <a:gd name="T1" fmla="*/ 33 h 42"/>
                  <a:gd name="T2" fmla="*/ 409 w 413"/>
                  <a:gd name="T3" fmla="*/ 0 h 42"/>
                  <a:gd name="T4" fmla="*/ 413 w 413"/>
                  <a:gd name="T5" fmla="*/ 8 h 42"/>
                  <a:gd name="T6" fmla="*/ 4 w 413"/>
                  <a:gd name="T7" fmla="*/ 42 h 42"/>
                  <a:gd name="T8" fmla="*/ 0 w 413"/>
                  <a:gd name="T9" fmla="*/ 33 h 42"/>
                </a:gdLst>
                <a:ahLst/>
                <a:cxnLst>
                  <a:cxn ang="0">
                    <a:pos x="T0" y="T1"/>
                  </a:cxn>
                  <a:cxn ang="0">
                    <a:pos x="T2" y="T3"/>
                  </a:cxn>
                  <a:cxn ang="0">
                    <a:pos x="T4" y="T5"/>
                  </a:cxn>
                  <a:cxn ang="0">
                    <a:pos x="T6" y="T7"/>
                  </a:cxn>
                  <a:cxn ang="0">
                    <a:pos x="T8" y="T9"/>
                  </a:cxn>
                </a:cxnLst>
                <a:rect l="0" t="0" r="r" b="b"/>
                <a:pathLst>
                  <a:path w="413" h="42">
                    <a:moveTo>
                      <a:pt x="0" y="33"/>
                    </a:moveTo>
                    <a:lnTo>
                      <a:pt x="409" y="0"/>
                    </a:lnTo>
                    <a:lnTo>
                      <a:pt x="413" y="8"/>
                    </a:lnTo>
                    <a:lnTo>
                      <a:pt x="4" y="42"/>
                    </a:lnTo>
                    <a:lnTo>
                      <a:pt x="0" y="33"/>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56" name="Freeform 130">
                <a:extLst>
                  <a:ext uri="{FF2B5EF4-FFF2-40B4-BE49-F238E27FC236}">
                    <a16:creationId xmlns:a16="http://schemas.microsoft.com/office/drawing/2014/main" id="{4BADC04E-4299-462A-8630-2D4B5F991643}"/>
                  </a:ext>
                </a:extLst>
              </p:cNvPr>
              <p:cNvSpPr>
                <a:spLocks/>
              </p:cNvSpPr>
              <p:nvPr/>
            </p:nvSpPr>
            <p:spPr bwMode="auto">
              <a:xfrm>
                <a:off x="3764856" y="4284238"/>
                <a:ext cx="22067" cy="11723"/>
              </a:xfrm>
              <a:custGeom>
                <a:avLst/>
                <a:gdLst>
                  <a:gd name="T0" fmla="*/ 8 w 32"/>
                  <a:gd name="T1" fmla="*/ 17 h 17"/>
                  <a:gd name="T2" fmla="*/ 0 w 32"/>
                  <a:gd name="T3" fmla="*/ 3 h 17"/>
                  <a:gd name="T4" fmla="*/ 24 w 32"/>
                  <a:gd name="T5" fmla="*/ 0 h 17"/>
                  <a:gd name="T6" fmla="*/ 32 w 32"/>
                  <a:gd name="T7" fmla="*/ 16 h 17"/>
                  <a:gd name="T8" fmla="*/ 8 w 32"/>
                  <a:gd name="T9" fmla="*/ 17 h 17"/>
                </a:gdLst>
                <a:ahLst/>
                <a:cxnLst>
                  <a:cxn ang="0">
                    <a:pos x="T0" y="T1"/>
                  </a:cxn>
                  <a:cxn ang="0">
                    <a:pos x="T2" y="T3"/>
                  </a:cxn>
                  <a:cxn ang="0">
                    <a:pos x="T4" y="T5"/>
                  </a:cxn>
                  <a:cxn ang="0">
                    <a:pos x="T6" y="T7"/>
                  </a:cxn>
                  <a:cxn ang="0">
                    <a:pos x="T8" y="T9"/>
                  </a:cxn>
                </a:cxnLst>
                <a:rect l="0" t="0" r="r" b="b"/>
                <a:pathLst>
                  <a:path w="32" h="17">
                    <a:moveTo>
                      <a:pt x="8" y="17"/>
                    </a:moveTo>
                    <a:lnTo>
                      <a:pt x="0" y="3"/>
                    </a:lnTo>
                    <a:lnTo>
                      <a:pt x="24" y="0"/>
                    </a:lnTo>
                    <a:lnTo>
                      <a:pt x="32" y="16"/>
                    </a:lnTo>
                    <a:lnTo>
                      <a:pt x="8"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57" name="Freeform 131">
                <a:extLst>
                  <a:ext uri="{FF2B5EF4-FFF2-40B4-BE49-F238E27FC236}">
                    <a16:creationId xmlns:a16="http://schemas.microsoft.com/office/drawing/2014/main" id="{632B3367-5A69-4E76-BEEE-3965656C1A5F}"/>
                  </a:ext>
                </a:extLst>
              </p:cNvPr>
              <p:cNvSpPr>
                <a:spLocks/>
              </p:cNvSpPr>
              <p:nvPr/>
            </p:nvSpPr>
            <p:spPr bwMode="auto">
              <a:xfrm>
                <a:off x="3746237" y="4286307"/>
                <a:ext cx="19998" cy="11723"/>
              </a:xfrm>
              <a:custGeom>
                <a:avLst/>
                <a:gdLst>
                  <a:gd name="T0" fmla="*/ 29 w 29"/>
                  <a:gd name="T1" fmla="*/ 16 h 17"/>
                  <a:gd name="T2" fmla="*/ 7 w 29"/>
                  <a:gd name="T3" fmla="*/ 17 h 17"/>
                  <a:gd name="T4" fmla="*/ 0 w 29"/>
                  <a:gd name="T5" fmla="*/ 2 h 17"/>
                  <a:gd name="T6" fmla="*/ 22 w 29"/>
                  <a:gd name="T7" fmla="*/ 0 h 17"/>
                  <a:gd name="T8" fmla="*/ 29 w 29"/>
                  <a:gd name="T9" fmla="*/ 16 h 17"/>
                </a:gdLst>
                <a:ahLst/>
                <a:cxnLst>
                  <a:cxn ang="0">
                    <a:pos x="T0" y="T1"/>
                  </a:cxn>
                  <a:cxn ang="0">
                    <a:pos x="T2" y="T3"/>
                  </a:cxn>
                  <a:cxn ang="0">
                    <a:pos x="T4" y="T5"/>
                  </a:cxn>
                  <a:cxn ang="0">
                    <a:pos x="T6" y="T7"/>
                  </a:cxn>
                  <a:cxn ang="0">
                    <a:pos x="T8" y="T9"/>
                  </a:cxn>
                </a:cxnLst>
                <a:rect l="0" t="0" r="r" b="b"/>
                <a:pathLst>
                  <a:path w="29" h="17">
                    <a:moveTo>
                      <a:pt x="29" y="16"/>
                    </a:moveTo>
                    <a:lnTo>
                      <a:pt x="7" y="17"/>
                    </a:lnTo>
                    <a:lnTo>
                      <a:pt x="0" y="2"/>
                    </a:lnTo>
                    <a:lnTo>
                      <a:pt x="22" y="0"/>
                    </a:lnTo>
                    <a:lnTo>
                      <a:pt x="29"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58" name="Freeform 132">
                <a:extLst>
                  <a:ext uri="{FF2B5EF4-FFF2-40B4-BE49-F238E27FC236}">
                    <a16:creationId xmlns:a16="http://schemas.microsoft.com/office/drawing/2014/main" id="{1189FD72-0B36-4F06-9449-C6B70C177E2D}"/>
                  </a:ext>
                </a:extLst>
              </p:cNvPr>
              <p:cNvSpPr>
                <a:spLocks/>
              </p:cNvSpPr>
              <p:nvPr/>
            </p:nvSpPr>
            <p:spPr bwMode="auto">
              <a:xfrm>
                <a:off x="3772441" y="4298719"/>
                <a:ext cx="20687" cy="11723"/>
              </a:xfrm>
              <a:custGeom>
                <a:avLst/>
                <a:gdLst>
                  <a:gd name="T0" fmla="*/ 0 w 30"/>
                  <a:gd name="T1" fmla="*/ 2 h 17"/>
                  <a:gd name="T2" fmla="*/ 23 w 30"/>
                  <a:gd name="T3" fmla="*/ 0 h 17"/>
                  <a:gd name="T4" fmla="*/ 30 w 30"/>
                  <a:gd name="T5" fmla="*/ 16 h 17"/>
                  <a:gd name="T6" fmla="*/ 7 w 30"/>
                  <a:gd name="T7" fmla="*/ 17 h 17"/>
                  <a:gd name="T8" fmla="*/ 0 w 30"/>
                  <a:gd name="T9" fmla="*/ 2 h 17"/>
                </a:gdLst>
                <a:ahLst/>
                <a:cxnLst>
                  <a:cxn ang="0">
                    <a:pos x="T0" y="T1"/>
                  </a:cxn>
                  <a:cxn ang="0">
                    <a:pos x="T2" y="T3"/>
                  </a:cxn>
                  <a:cxn ang="0">
                    <a:pos x="T4" y="T5"/>
                  </a:cxn>
                  <a:cxn ang="0">
                    <a:pos x="T6" y="T7"/>
                  </a:cxn>
                  <a:cxn ang="0">
                    <a:pos x="T8" y="T9"/>
                  </a:cxn>
                </a:cxnLst>
                <a:rect l="0" t="0" r="r" b="b"/>
                <a:pathLst>
                  <a:path w="30" h="17">
                    <a:moveTo>
                      <a:pt x="0" y="2"/>
                    </a:moveTo>
                    <a:lnTo>
                      <a:pt x="23" y="0"/>
                    </a:lnTo>
                    <a:lnTo>
                      <a:pt x="30" y="16"/>
                    </a:lnTo>
                    <a:lnTo>
                      <a:pt x="7" y="17"/>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59" name="Freeform 133">
                <a:extLst>
                  <a:ext uri="{FF2B5EF4-FFF2-40B4-BE49-F238E27FC236}">
                    <a16:creationId xmlns:a16="http://schemas.microsoft.com/office/drawing/2014/main" id="{422FB827-088A-4987-B8C3-E42A7B341AD9}"/>
                  </a:ext>
                </a:extLst>
              </p:cNvPr>
              <p:cNvSpPr>
                <a:spLocks/>
              </p:cNvSpPr>
              <p:nvPr/>
            </p:nvSpPr>
            <p:spPr bwMode="auto">
              <a:xfrm>
                <a:off x="3753822" y="4300098"/>
                <a:ext cx="19308" cy="12412"/>
              </a:xfrm>
              <a:custGeom>
                <a:avLst/>
                <a:gdLst>
                  <a:gd name="T0" fmla="*/ 21 w 28"/>
                  <a:gd name="T1" fmla="*/ 0 h 18"/>
                  <a:gd name="T2" fmla="*/ 28 w 28"/>
                  <a:gd name="T3" fmla="*/ 17 h 18"/>
                  <a:gd name="T4" fmla="*/ 7 w 28"/>
                  <a:gd name="T5" fmla="*/ 18 h 18"/>
                  <a:gd name="T6" fmla="*/ 0 w 28"/>
                  <a:gd name="T7" fmla="*/ 3 h 18"/>
                  <a:gd name="T8" fmla="*/ 21 w 28"/>
                  <a:gd name="T9" fmla="*/ 0 h 18"/>
                </a:gdLst>
                <a:ahLst/>
                <a:cxnLst>
                  <a:cxn ang="0">
                    <a:pos x="T0" y="T1"/>
                  </a:cxn>
                  <a:cxn ang="0">
                    <a:pos x="T2" y="T3"/>
                  </a:cxn>
                  <a:cxn ang="0">
                    <a:pos x="T4" y="T5"/>
                  </a:cxn>
                  <a:cxn ang="0">
                    <a:pos x="T6" y="T7"/>
                  </a:cxn>
                  <a:cxn ang="0">
                    <a:pos x="T8" y="T9"/>
                  </a:cxn>
                </a:cxnLst>
                <a:rect l="0" t="0" r="r" b="b"/>
                <a:pathLst>
                  <a:path w="28" h="18">
                    <a:moveTo>
                      <a:pt x="21" y="0"/>
                    </a:moveTo>
                    <a:lnTo>
                      <a:pt x="28" y="17"/>
                    </a:lnTo>
                    <a:lnTo>
                      <a:pt x="7" y="18"/>
                    </a:lnTo>
                    <a:lnTo>
                      <a:pt x="0" y="3"/>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Segoe UI Semilight" panose="020B0402040204020203" pitchFamily="34" charset="0"/>
                  <a:cs typeface="Segoe UI Semilight" panose="020B0402040204020203" pitchFamily="34" charset="0"/>
                </a:endParaRPr>
              </a:p>
            </p:txBody>
          </p:sp>
          <p:sp>
            <p:nvSpPr>
              <p:cNvPr id="260" name="Arrow: Bent 259">
                <a:extLst>
                  <a:ext uri="{FF2B5EF4-FFF2-40B4-BE49-F238E27FC236}">
                    <a16:creationId xmlns:a16="http://schemas.microsoft.com/office/drawing/2014/main" id="{644AA9DA-7055-4408-830B-358C07197A67}"/>
                  </a:ext>
                </a:extLst>
              </p:cNvPr>
              <p:cNvSpPr/>
              <p:nvPr/>
            </p:nvSpPr>
            <p:spPr bwMode="auto">
              <a:xfrm rot="16200000">
                <a:off x="3434506" y="4124125"/>
                <a:ext cx="165055" cy="344932"/>
              </a:xfrm>
              <a:prstGeom prst="bentArrow">
                <a:avLst>
                  <a:gd name="adj1" fmla="val 25000"/>
                  <a:gd name="adj2" fmla="val 0"/>
                  <a:gd name="adj3" fmla="val 25000"/>
                  <a:gd name="adj4" fmla="val 10568"/>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nvGrpSpPr>
              <p:cNvPr id="261" name="Group 260">
                <a:extLst>
                  <a:ext uri="{FF2B5EF4-FFF2-40B4-BE49-F238E27FC236}">
                    <a16:creationId xmlns:a16="http://schemas.microsoft.com/office/drawing/2014/main" id="{F2433970-DB1B-4914-B141-C976DAD695A9}"/>
                  </a:ext>
                </a:extLst>
              </p:cNvPr>
              <p:cNvGrpSpPr/>
              <p:nvPr/>
            </p:nvGrpSpPr>
            <p:grpSpPr>
              <a:xfrm>
                <a:off x="2816788" y="3090365"/>
                <a:ext cx="1035644" cy="1080268"/>
                <a:chOff x="2850110" y="3174206"/>
                <a:chExt cx="1035644" cy="1080268"/>
              </a:xfrm>
            </p:grpSpPr>
            <p:grpSp>
              <p:nvGrpSpPr>
                <p:cNvPr id="262" name="Group 261">
                  <a:extLst>
                    <a:ext uri="{FF2B5EF4-FFF2-40B4-BE49-F238E27FC236}">
                      <a16:creationId xmlns:a16="http://schemas.microsoft.com/office/drawing/2014/main" id="{5CAE6A0C-78CB-49D4-9647-B72B51A1EAB9}"/>
                    </a:ext>
                  </a:extLst>
                </p:cNvPr>
                <p:cNvGrpSpPr/>
                <p:nvPr/>
              </p:nvGrpSpPr>
              <p:grpSpPr>
                <a:xfrm rot="2622316" flipH="1">
                  <a:off x="2850110" y="3218830"/>
                  <a:ext cx="1035644" cy="1035644"/>
                  <a:chOff x="3874166" y="1685559"/>
                  <a:chExt cx="353986" cy="353987"/>
                </a:xfrm>
              </p:grpSpPr>
              <p:sp>
                <p:nvSpPr>
                  <p:cNvPr id="270" name="Freeform 69">
                    <a:extLst>
                      <a:ext uri="{FF2B5EF4-FFF2-40B4-BE49-F238E27FC236}">
                        <a16:creationId xmlns:a16="http://schemas.microsoft.com/office/drawing/2014/main" id="{D044F45D-2045-4F0B-8666-86F08D057920}"/>
                      </a:ext>
                    </a:extLst>
                  </p:cNvPr>
                  <p:cNvSpPr>
                    <a:spLocks/>
                  </p:cNvSpPr>
                  <p:nvPr/>
                </p:nvSpPr>
                <p:spPr bwMode="auto">
                  <a:xfrm>
                    <a:off x="3985732" y="1706647"/>
                    <a:ext cx="221331" cy="219533"/>
                  </a:xfrm>
                  <a:custGeom>
                    <a:avLst/>
                    <a:gdLst>
                      <a:gd name="T0" fmla="*/ 74 w 90"/>
                      <a:gd name="T1" fmla="*/ 74 h 90"/>
                      <a:gd name="T2" fmla="*/ 16 w 90"/>
                      <a:gd name="T3" fmla="*/ 74 h 90"/>
                      <a:gd name="T4" fmla="*/ 16 w 90"/>
                      <a:gd name="T5" fmla="*/ 16 h 90"/>
                      <a:gd name="T6" fmla="*/ 74 w 90"/>
                      <a:gd name="T7" fmla="*/ 16 h 90"/>
                      <a:gd name="T8" fmla="*/ 74 w 90"/>
                      <a:gd name="T9" fmla="*/ 74 h 90"/>
                    </a:gdLst>
                    <a:ahLst/>
                    <a:cxnLst>
                      <a:cxn ang="0">
                        <a:pos x="T0" y="T1"/>
                      </a:cxn>
                      <a:cxn ang="0">
                        <a:pos x="T2" y="T3"/>
                      </a:cxn>
                      <a:cxn ang="0">
                        <a:pos x="T4" y="T5"/>
                      </a:cxn>
                      <a:cxn ang="0">
                        <a:pos x="T6" y="T7"/>
                      </a:cxn>
                      <a:cxn ang="0">
                        <a:pos x="T8" y="T9"/>
                      </a:cxn>
                    </a:cxnLst>
                    <a:rect l="0" t="0" r="r" b="b"/>
                    <a:pathLst>
                      <a:path w="90" h="90">
                        <a:moveTo>
                          <a:pt x="74" y="74"/>
                        </a:moveTo>
                        <a:cubicBezTo>
                          <a:pt x="58" y="90"/>
                          <a:pt x="32" y="90"/>
                          <a:pt x="16" y="74"/>
                        </a:cubicBezTo>
                        <a:cubicBezTo>
                          <a:pt x="0" y="58"/>
                          <a:pt x="0" y="32"/>
                          <a:pt x="16" y="16"/>
                        </a:cubicBezTo>
                        <a:cubicBezTo>
                          <a:pt x="32" y="0"/>
                          <a:pt x="58" y="0"/>
                          <a:pt x="74" y="16"/>
                        </a:cubicBezTo>
                        <a:cubicBezTo>
                          <a:pt x="90" y="32"/>
                          <a:pt x="90" y="58"/>
                          <a:pt x="74" y="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1" name="Freeform 70">
                    <a:extLst>
                      <a:ext uri="{FF2B5EF4-FFF2-40B4-BE49-F238E27FC236}">
                        <a16:creationId xmlns:a16="http://schemas.microsoft.com/office/drawing/2014/main" id="{C5AACB5A-A38D-4B86-A881-7DFCCD3E6060}"/>
                      </a:ext>
                    </a:extLst>
                  </p:cNvPr>
                  <p:cNvSpPr>
                    <a:spLocks noEditPoints="1"/>
                  </p:cNvSpPr>
                  <p:nvPr/>
                </p:nvSpPr>
                <p:spPr bwMode="auto">
                  <a:xfrm>
                    <a:off x="3962846" y="1685559"/>
                    <a:ext cx="265306" cy="265306"/>
                  </a:xfrm>
                  <a:custGeom>
                    <a:avLst/>
                    <a:gdLst>
                      <a:gd name="T0" fmla="*/ 85 w 103"/>
                      <a:gd name="T1" fmla="*/ 18 h 103"/>
                      <a:gd name="T2" fmla="*/ 19 w 103"/>
                      <a:gd name="T3" fmla="*/ 18 h 103"/>
                      <a:gd name="T4" fmla="*/ 16 w 103"/>
                      <a:gd name="T5" fmla="*/ 80 h 103"/>
                      <a:gd name="T6" fmla="*/ 0 w 103"/>
                      <a:gd name="T7" fmla="*/ 96 h 103"/>
                      <a:gd name="T8" fmla="*/ 8 w 103"/>
                      <a:gd name="T9" fmla="*/ 103 h 103"/>
                      <a:gd name="T10" fmla="*/ 23 w 103"/>
                      <a:gd name="T11" fmla="*/ 88 h 103"/>
                      <a:gd name="T12" fmla="*/ 85 w 103"/>
                      <a:gd name="T13" fmla="*/ 84 h 103"/>
                      <a:gd name="T14" fmla="*/ 85 w 103"/>
                      <a:gd name="T15" fmla="*/ 18 h 103"/>
                      <a:gd name="T16" fmla="*/ 78 w 103"/>
                      <a:gd name="T17" fmla="*/ 77 h 103"/>
                      <a:gd name="T18" fmla="*/ 26 w 103"/>
                      <a:gd name="T19" fmla="*/ 77 h 103"/>
                      <a:gd name="T20" fmla="*/ 26 w 103"/>
                      <a:gd name="T21" fmla="*/ 25 h 103"/>
                      <a:gd name="T22" fmla="*/ 78 w 103"/>
                      <a:gd name="T23" fmla="*/ 25 h 103"/>
                      <a:gd name="T24" fmla="*/ 78 w 103"/>
                      <a:gd name="T25" fmla="*/ 7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03">
                        <a:moveTo>
                          <a:pt x="85" y="18"/>
                        </a:moveTo>
                        <a:cubicBezTo>
                          <a:pt x="67" y="0"/>
                          <a:pt x="38" y="0"/>
                          <a:pt x="19" y="18"/>
                        </a:cubicBezTo>
                        <a:cubicBezTo>
                          <a:pt x="3" y="35"/>
                          <a:pt x="1" y="62"/>
                          <a:pt x="16" y="80"/>
                        </a:cubicBezTo>
                        <a:cubicBezTo>
                          <a:pt x="0" y="96"/>
                          <a:pt x="0" y="96"/>
                          <a:pt x="0" y="96"/>
                        </a:cubicBezTo>
                        <a:cubicBezTo>
                          <a:pt x="8" y="103"/>
                          <a:pt x="8" y="103"/>
                          <a:pt x="8" y="103"/>
                        </a:cubicBezTo>
                        <a:cubicBezTo>
                          <a:pt x="23" y="88"/>
                          <a:pt x="23" y="88"/>
                          <a:pt x="23" y="88"/>
                        </a:cubicBezTo>
                        <a:cubicBezTo>
                          <a:pt x="42" y="102"/>
                          <a:pt x="68" y="101"/>
                          <a:pt x="85" y="84"/>
                        </a:cubicBezTo>
                        <a:cubicBezTo>
                          <a:pt x="103" y="66"/>
                          <a:pt x="103" y="37"/>
                          <a:pt x="85" y="18"/>
                        </a:cubicBezTo>
                        <a:moveTo>
                          <a:pt x="78" y="77"/>
                        </a:moveTo>
                        <a:cubicBezTo>
                          <a:pt x="64" y="92"/>
                          <a:pt x="41" y="92"/>
                          <a:pt x="26" y="77"/>
                        </a:cubicBezTo>
                        <a:cubicBezTo>
                          <a:pt x="12" y="63"/>
                          <a:pt x="12" y="40"/>
                          <a:pt x="26" y="25"/>
                        </a:cubicBezTo>
                        <a:cubicBezTo>
                          <a:pt x="41" y="11"/>
                          <a:pt x="64" y="11"/>
                          <a:pt x="78" y="25"/>
                        </a:cubicBezTo>
                        <a:cubicBezTo>
                          <a:pt x="93" y="40"/>
                          <a:pt x="93" y="63"/>
                          <a:pt x="78" y="77"/>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2" name="Freeform 71">
                    <a:extLst>
                      <a:ext uri="{FF2B5EF4-FFF2-40B4-BE49-F238E27FC236}">
                        <a16:creationId xmlns:a16="http://schemas.microsoft.com/office/drawing/2014/main" id="{FAF72C6A-A662-4F1D-BCBB-8B50D12B5583}"/>
                      </a:ext>
                    </a:extLst>
                  </p:cNvPr>
                  <p:cNvSpPr>
                    <a:spLocks/>
                  </p:cNvSpPr>
                  <p:nvPr/>
                </p:nvSpPr>
                <p:spPr bwMode="auto">
                  <a:xfrm>
                    <a:off x="3874166" y="1904586"/>
                    <a:ext cx="136758" cy="134959"/>
                  </a:xfrm>
                  <a:custGeom>
                    <a:avLst/>
                    <a:gdLst>
                      <a:gd name="T0" fmla="*/ 12 w 56"/>
                      <a:gd name="T1" fmla="*/ 54 h 55"/>
                      <a:gd name="T2" fmla="*/ 1 w 56"/>
                      <a:gd name="T3" fmla="*/ 43 h 55"/>
                      <a:gd name="T4" fmla="*/ 1 w 56"/>
                      <a:gd name="T5" fmla="*/ 40 h 55"/>
                      <a:gd name="T6" fmla="*/ 40 w 56"/>
                      <a:gd name="T7" fmla="*/ 1 h 55"/>
                      <a:gd name="T8" fmla="*/ 44 w 56"/>
                      <a:gd name="T9" fmla="*/ 1 h 55"/>
                      <a:gd name="T10" fmla="*/ 55 w 56"/>
                      <a:gd name="T11" fmla="*/ 12 h 55"/>
                      <a:gd name="T12" fmla="*/ 55 w 56"/>
                      <a:gd name="T13" fmla="*/ 15 h 55"/>
                      <a:gd name="T14" fmla="*/ 16 w 56"/>
                      <a:gd name="T15" fmla="*/ 54 h 55"/>
                      <a:gd name="T16" fmla="*/ 12 w 56"/>
                      <a:gd name="T17" fmla="*/ 5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5">
                        <a:moveTo>
                          <a:pt x="12" y="54"/>
                        </a:moveTo>
                        <a:cubicBezTo>
                          <a:pt x="1" y="43"/>
                          <a:pt x="1" y="43"/>
                          <a:pt x="1" y="43"/>
                        </a:cubicBezTo>
                        <a:cubicBezTo>
                          <a:pt x="0" y="42"/>
                          <a:pt x="0" y="41"/>
                          <a:pt x="1" y="40"/>
                        </a:cubicBezTo>
                        <a:cubicBezTo>
                          <a:pt x="40" y="1"/>
                          <a:pt x="40" y="1"/>
                          <a:pt x="40" y="1"/>
                        </a:cubicBezTo>
                        <a:cubicBezTo>
                          <a:pt x="41" y="0"/>
                          <a:pt x="43" y="0"/>
                          <a:pt x="44" y="1"/>
                        </a:cubicBezTo>
                        <a:cubicBezTo>
                          <a:pt x="55" y="12"/>
                          <a:pt x="55" y="12"/>
                          <a:pt x="55" y="12"/>
                        </a:cubicBezTo>
                        <a:cubicBezTo>
                          <a:pt x="56" y="13"/>
                          <a:pt x="56" y="14"/>
                          <a:pt x="55" y="15"/>
                        </a:cubicBezTo>
                        <a:cubicBezTo>
                          <a:pt x="16" y="54"/>
                          <a:pt x="16" y="54"/>
                          <a:pt x="16" y="54"/>
                        </a:cubicBezTo>
                        <a:cubicBezTo>
                          <a:pt x="15" y="55"/>
                          <a:pt x="13" y="55"/>
                          <a:pt x="12" y="54"/>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3" name="Freeform 73">
                    <a:extLst>
                      <a:ext uri="{FF2B5EF4-FFF2-40B4-BE49-F238E27FC236}">
                        <a16:creationId xmlns:a16="http://schemas.microsoft.com/office/drawing/2014/main" id="{1F665417-0656-4E8A-A02D-ED883C58C946}"/>
                      </a:ext>
                    </a:extLst>
                  </p:cNvPr>
                  <p:cNvSpPr>
                    <a:spLocks/>
                  </p:cNvSpPr>
                  <p:nvPr/>
                </p:nvSpPr>
                <p:spPr bwMode="auto">
                  <a:xfrm>
                    <a:off x="3874166" y="1918982"/>
                    <a:ext cx="136758" cy="120564"/>
                  </a:xfrm>
                  <a:custGeom>
                    <a:avLst/>
                    <a:gdLst>
                      <a:gd name="T0" fmla="*/ 55 w 56"/>
                      <a:gd name="T1" fmla="*/ 6 h 49"/>
                      <a:gd name="T2" fmla="*/ 49 w 56"/>
                      <a:gd name="T3" fmla="*/ 0 h 49"/>
                      <a:gd name="T4" fmla="*/ 11 w 56"/>
                      <a:gd name="T5" fmla="*/ 39 h 49"/>
                      <a:gd name="T6" fmla="*/ 10 w 56"/>
                      <a:gd name="T7" fmla="*/ 39 h 49"/>
                      <a:gd name="T8" fmla="*/ 3 w 56"/>
                      <a:gd name="T9" fmla="*/ 32 h 49"/>
                      <a:gd name="T10" fmla="*/ 1 w 56"/>
                      <a:gd name="T11" fmla="*/ 34 h 49"/>
                      <a:gd name="T12" fmla="*/ 1 w 56"/>
                      <a:gd name="T13" fmla="*/ 37 h 49"/>
                      <a:gd name="T14" fmla="*/ 12 w 56"/>
                      <a:gd name="T15" fmla="*/ 49 h 49"/>
                      <a:gd name="T16" fmla="*/ 16 w 56"/>
                      <a:gd name="T17" fmla="*/ 49 h 49"/>
                      <a:gd name="T18" fmla="*/ 55 w 56"/>
                      <a:gd name="T19" fmla="*/ 9 h 49"/>
                      <a:gd name="T20" fmla="*/ 55 w 56"/>
                      <a:gd name="T21"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49">
                        <a:moveTo>
                          <a:pt x="55" y="6"/>
                        </a:moveTo>
                        <a:cubicBezTo>
                          <a:pt x="49" y="0"/>
                          <a:pt x="49" y="0"/>
                          <a:pt x="49" y="0"/>
                        </a:cubicBezTo>
                        <a:cubicBezTo>
                          <a:pt x="11" y="39"/>
                          <a:pt x="11" y="39"/>
                          <a:pt x="11" y="39"/>
                        </a:cubicBezTo>
                        <a:cubicBezTo>
                          <a:pt x="11" y="39"/>
                          <a:pt x="10" y="39"/>
                          <a:pt x="10" y="39"/>
                        </a:cubicBezTo>
                        <a:cubicBezTo>
                          <a:pt x="3" y="32"/>
                          <a:pt x="3" y="32"/>
                          <a:pt x="3" y="32"/>
                        </a:cubicBezTo>
                        <a:cubicBezTo>
                          <a:pt x="1" y="34"/>
                          <a:pt x="1" y="34"/>
                          <a:pt x="1" y="34"/>
                        </a:cubicBezTo>
                        <a:cubicBezTo>
                          <a:pt x="0" y="35"/>
                          <a:pt x="0" y="36"/>
                          <a:pt x="1" y="37"/>
                        </a:cubicBezTo>
                        <a:cubicBezTo>
                          <a:pt x="12" y="49"/>
                          <a:pt x="12" y="49"/>
                          <a:pt x="12" y="49"/>
                        </a:cubicBezTo>
                        <a:cubicBezTo>
                          <a:pt x="13" y="49"/>
                          <a:pt x="15" y="49"/>
                          <a:pt x="16" y="49"/>
                        </a:cubicBezTo>
                        <a:cubicBezTo>
                          <a:pt x="55" y="9"/>
                          <a:pt x="55" y="9"/>
                          <a:pt x="55" y="9"/>
                        </a:cubicBezTo>
                        <a:cubicBezTo>
                          <a:pt x="56" y="8"/>
                          <a:pt x="56" y="7"/>
                          <a:pt x="55" y="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263" name="Group 262">
                  <a:extLst>
                    <a:ext uri="{FF2B5EF4-FFF2-40B4-BE49-F238E27FC236}">
                      <a16:creationId xmlns:a16="http://schemas.microsoft.com/office/drawing/2014/main" id="{650DD8B6-A16C-4109-A1E7-FC3A142BEEA4}"/>
                    </a:ext>
                  </a:extLst>
                </p:cNvPr>
                <p:cNvGrpSpPr/>
                <p:nvPr/>
              </p:nvGrpSpPr>
              <p:grpSpPr>
                <a:xfrm>
                  <a:off x="3138534" y="3174206"/>
                  <a:ext cx="473823" cy="655027"/>
                  <a:chOff x="3138534" y="3174206"/>
                  <a:chExt cx="473823" cy="655027"/>
                </a:xfrm>
              </p:grpSpPr>
              <p:sp>
                <p:nvSpPr>
                  <p:cNvPr id="264" name="Freeform: Shape 263">
                    <a:extLst>
                      <a:ext uri="{FF2B5EF4-FFF2-40B4-BE49-F238E27FC236}">
                        <a16:creationId xmlns:a16="http://schemas.microsoft.com/office/drawing/2014/main" id="{7FDCC7B1-D767-45B5-9C91-EBE1658EBFF4}"/>
                      </a:ext>
                    </a:extLst>
                  </p:cNvPr>
                  <p:cNvSpPr>
                    <a:spLocks noChangeArrowheads="1"/>
                  </p:cNvSpPr>
                  <p:nvPr/>
                </p:nvSpPr>
                <p:spPr bwMode="auto">
                  <a:xfrm>
                    <a:off x="3371526" y="3357493"/>
                    <a:ext cx="112852" cy="471740"/>
                  </a:xfrm>
                  <a:custGeom>
                    <a:avLst/>
                    <a:gdLst>
                      <a:gd name="connsiteX0" fmla="*/ 0 w 112852"/>
                      <a:gd name="connsiteY0" fmla="*/ 0 h 471740"/>
                      <a:gd name="connsiteX1" fmla="*/ 112852 w 112852"/>
                      <a:gd name="connsiteY1" fmla="*/ 0 h 471740"/>
                      <a:gd name="connsiteX2" fmla="*/ 112852 w 112852"/>
                      <a:gd name="connsiteY2" fmla="*/ 444126 h 471740"/>
                      <a:gd name="connsiteX3" fmla="*/ 101005 w 112852"/>
                      <a:gd name="connsiteY3" fmla="*/ 450556 h 471740"/>
                      <a:gd name="connsiteX4" fmla="*/ 48516 w 112852"/>
                      <a:gd name="connsiteY4" fmla="*/ 466849 h 471740"/>
                      <a:gd name="connsiteX5" fmla="*/ 0 w 112852"/>
                      <a:gd name="connsiteY5" fmla="*/ 471740 h 471740"/>
                      <a:gd name="connsiteX6" fmla="*/ 0 w 112852"/>
                      <a:gd name="connsiteY6" fmla="*/ 0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852" h="471740">
                        <a:moveTo>
                          <a:pt x="0" y="0"/>
                        </a:moveTo>
                        <a:lnTo>
                          <a:pt x="112852" y="0"/>
                        </a:lnTo>
                        <a:lnTo>
                          <a:pt x="112852" y="444126"/>
                        </a:lnTo>
                        <a:lnTo>
                          <a:pt x="101005" y="450556"/>
                        </a:lnTo>
                        <a:cubicBezTo>
                          <a:pt x="84278" y="457631"/>
                          <a:pt x="66719" y="463124"/>
                          <a:pt x="48516" y="466849"/>
                        </a:cubicBezTo>
                        <a:lnTo>
                          <a:pt x="0" y="47174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IN">
                      <a:latin typeface="Segoe UI Semilight" panose="020B0402040204020203" pitchFamily="34" charset="0"/>
                      <a:cs typeface="Segoe UI Semilight" panose="020B0402040204020203" pitchFamily="34" charset="0"/>
                    </a:endParaRPr>
                  </a:p>
                </p:txBody>
              </p:sp>
              <p:sp>
                <p:nvSpPr>
                  <p:cNvPr id="265" name="Freeform: Shape 264">
                    <a:extLst>
                      <a:ext uri="{FF2B5EF4-FFF2-40B4-BE49-F238E27FC236}">
                        <a16:creationId xmlns:a16="http://schemas.microsoft.com/office/drawing/2014/main" id="{B728F2B2-D634-4D6F-AA10-ACA88A2E42A0}"/>
                      </a:ext>
                    </a:extLst>
                  </p:cNvPr>
                  <p:cNvSpPr>
                    <a:spLocks noChangeArrowheads="1"/>
                  </p:cNvSpPr>
                  <p:nvPr/>
                </p:nvSpPr>
                <p:spPr bwMode="auto">
                  <a:xfrm>
                    <a:off x="3242534" y="3588744"/>
                    <a:ext cx="111834" cy="240341"/>
                  </a:xfrm>
                  <a:custGeom>
                    <a:avLst/>
                    <a:gdLst>
                      <a:gd name="connsiteX0" fmla="*/ 0 w 111834"/>
                      <a:gd name="connsiteY0" fmla="*/ 0 h 240341"/>
                      <a:gd name="connsiteX1" fmla="*/ 111834 w 111834"/>
                      <a:gd name="connsiteY1" fmla="*/ 0 h 240341"/>
                      <a:gd name="connsiteX2" fmla="*/ 111834 w 111834"/>
                      <a:gd name="connsiteY2" fmla="*/ 240341 h 240341"/>
                      <a:gd name="connsiteX3" fmla="*/ 64800 w 111834"/>
                      <a:gd name="connsiteY3" fmla="*/ 235599 h 240341"/>
                      <a:gd name="connsiteX4" fmla="*/ 12311 w 111834"/>
                      <a:gd name="connsiteY4" fmla="*/ 219306 h 240341"/>
                      <a:gd name="connsiteX5" fmla="*/ 0 w 111834"/>
                      <a:gd name="connsiteY5" fmla="*/ 212624 h 240341"/>
                      <a:gd name="connsiteX6" fmla="*/ 0 w 111834"/>
                      <a:gd name="connsiteY6" fmla="*/ 0 h 24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34" h="240341">
                        <a:moveTo>
                          <a:pt x="0" y="0"/>
                        </a:moveTo>
                        <a:lnTo>
                          <a:pt x="111834" y="0"/>
                        </a:lnTo>
                        <a:lnTo>
                          <a:pt x="111834" y="240341"/>
                        </a:lnTo>
                        <a:lnTo>
                          <a:pt x="64800" y="235599"/>
                        </a:lnTo>
                        <a:cubicBezTo>
                          <a:pt x="46597" y="231874"/>
                          <a:pt x="29038" y="226381"/>
                          <a:pt x="12311" y="219306"/>
                        </a:cubicBezTo>
                        <a:lnTo>
                          <a:pt x="0" y="212624"/>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IN">
                      <a:latin typeface="Segoe UI Semilight" panose="020B0402040204020203" pitchFamily="34" charset="0"/>
                      <a:cs typeface="Segoe UI Semilight" panose="020B0402040204020203" pitchFamily="34" charset="0"/>
                    </a:endParaRPr>
                  </a:p>
                </p:txBody>
              </p:sp>
              <p:sp>
                <p:nvSpPr>
                  <p:cNvPr id="266" name="Freeform: Shape 265">
                    <a:extLst>
                      <a:ext uri="{FF2B5EF4-FFF2-40B4-BE49-F238E27FC236}">
                        <a16:creationId xmlns:a16="http://schemas.microsoft.com/office/drawing/2014/main" id="{F83BE219-8D0F-44CA-AE4E-B12AB8F4AB88}"/>
                      </a:ext>
                    </a:extLst>
                  </p:cNvPr>
                  <p:cNvSpPr>
                    <a:spLocks noChangeArrowheads="1"/>
                  </p:cNvSpPr>
                  <p:nvPr/>
                </p:nvSpPr>
                <p:spPr bwMode="auto">
                  <a:xfrm>
                    <a:off x="3138534" y="3714880"/>
                    <a:ext cx="86842" cy="77175"/>
                  </a:xfrm>
                  <a:custGeom>
                    <a:avLst/>
                    <a:gdLst>
                      <a:gd name="connsiteX0" fmla="*/ 0 w 86842"/>
                      <a:gd name="connsiteY0" fmla="*/ 0 h 77175"/>
                      <a:gd name="connsiteX1" fmla="*/ 86842 w 86842"/>
                      <a:gd name="connsiteY1" fmla="*/ 0 h 77175"/>
                      <a:gd name="connsiteX2" fmla="*/ 86842 w 86842"/>
                      <a:gd name="connsiteY2" fmla="*/ 77175 h 77175"/>
                      <a:gd name="connsiteX3" fmla="*/ 68813 w 86842"/>
                      <a:gd name="connsiteY3" fmla="*/ 67389 h 77175"/>
                      <a:gd name="connsiteX4" fmla="*/ 27429 w 86842"/>
                      <a:gd name="connsiteY4" fmla="*/ 33244 h 77175"/>
                      <a:gd name="connsiteX5" fmla="*/ 0 w 86842"/>
                      <a:gd name="connsiteY5" fmla="*/ 0 h 7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2" h="77175">
                        <a:moveTo>
                          <a:pt x="0" y="0"/>
                        </a:moveTo>
                        <a:lnTo>
                          <a:pt x="86842" y="0"/>
                        </a:lnTo>
                        <a:lnTo>
                          <a:pt x="86842" y="77175"/>
                        </a:lnTo>
                        <a:lnTo>
                          <a:pt x="68813" y="67389"/>
                        </a:lnTo>
                        <a:cubicBezTo>
                          <a:pt x="53937" y="57339"/>
                          <a:pt x="40080" y="45895"/>
                          <a:pt x="27429" y="33244"/>
                        </a:cubicBezTo>
                        <a:lnTo>
                          <a:pt x="0" y="0"/>
                        </a:lnTo>
                        <a:close/>
                      </a:path>
                    </a:pathLst>
                  </a:custGeom>
                  <a:solidFill>
                    <a:srgbClr val="FFC000"/>
                  </a:solidFill>
                  <a:ln>
                    <a:noFill/>
                  </a:ln>
                </p:spPr>
                <p:txBody>
                  <a:bodyPr vert="horz" wrap="square" lIns="91440" tIns="45720" rIns="91440" bIns="45720" numCol="1" anchor="t" anchorCtr="0" compatLnSpc="1">
                    <a:prstTxWarp prst="textNoShape">
                      <a:avLst/>
                    </a:prstTxWarp>
                    <a:noAutofit/>
                  </a:bodyPr>
                  <a:lstStyle/>
                  <a:p>
                    <a:endParaRPr lang="en-IN">
                      <a:latin typeface="Segoe UI Semilight" panose="020B0402040204020203" pitchFamily="34" charset="0"/>
                      <a:cs typeface="Segoe UI Semilight" panose="020B0402040204020203" pitchFamily="34" charset="0"/>
                    </a:endParaRPr>
                  </a:p>
                </p:txBody>
              </p:sp>
              <p:grpSp>
                <p:nvGrpSpPr>
                  <p:cNvPr id="267" name="Group 266">
                    <a:extLst>
                      <a:ext uri="{FF2B5EF4-FFF2-40B4-BE49-F238E27FC236}">
                        <a16:creationId xmlns:a16="http://schemas.microsoft.com/office/drawing/2014/main" id="{1363B872-433A-4686-B9ED-474A54F39893}"/>
                      </a:ext>
                    </a:extLst>
                  </p:cNvPr>
                  <p:cNvGrpSpPr/>
                  <p:nvPr/>
                </p:nvGrpSpPr>
                <p:grpSpPr>
                  <a:xfrm>
                    <a:off x="3501537" y="3174206"/>
                    <a:ext cx="110820" cy="618099"/>
                    <a:chOff x="3501537" y="3174206"/>
                    <a:chExt cx="110820" cy="618099"/>
                  </a:xfrm>
                  <a:solidFill>
                    <a:srgbClr val="50C0AC"/>
                  </a:solidFill>
                </p:grpSpPr>
                <p:sp>
                  <p:nvSpPr>
                    <p:cNvPr id="268" name="Freeform: Shape 267">
                      <a:extLst>
                        <a:ext uri="{FF2B5EF4-FFF2-40B4-BE49-F238E27FC236}">
                          <a16:creationId xmlns:a16="http://schemas.microsoft.com/office/drawing/2014/main" id="{21C87667-DC79-4764-ADFB-8B2A78693954}"/>
                        </a:ext>
                      </a:extLst>
                    </p:cNvPr>
                    <p:cNvSpPr>
                      <a:spLocks noChangeArrowheads="1"/>
                    </p:cNvSpPr>
                    <p:nvPr/>
                  </p:nvSpPr>
                  <p:spPr bwMode="auto">
                    <a:xfrm>
                      <a:off x="3501537" y="3308493"/>
                      <a:ext cx="110820" cy="483812"/>
                    </a:xfrm>
                    <a:custGeom>
                      <a:avLst/>
                      <a:gdLst>
                        <a:gd name="connsiteX0" fmla="*/ 0 w 110820"/>
                        <a:gd name="connsiteY0" fmla="*/ 0 h 483812"/>
                        <a:gd name="connsiteX1" fmla="*/ 18492 w 110820"/>
                        <a:gd name="connsiteY1" fmla="*/ 10037 h 483812"/>
                        <a:gd name="connsiteX2" fmla="*/ 94021 w 110820"/>
                        <a:gd name="connsiteY2" fmla="*/ 85566 h 483812"/>
                        <a:gd name="connsiteX3" fmla="*/ 110820 w 110820"/>
                        <a:gd name="connsiteY3" fmla="*/ 116516 h 483812"/>
                        <a:gd name="connsiteX4" fmla="*/ 110820 w 110820"/>
                        <a:gd name="connsiteY4" fmla="*/ 367296 h 483812"/>
                        <a:gd name="connsiteX5" fmla="*/ 94021 w 110820"/>
                        <a:gd name="connsiteY5" fmla="*/ 398246 h 483812"/>
                        <a:gd name="connsiteX6" fmla="*/ 18492 w 110820"/>
                        <a:gd name="connsiteY6" fmla="*/ 473775 h 483812"/>
                        <a:gd name="connsiteX7" fmla="*/ 0 w 110820"/>
                        <a:gd name="connsiteY7" fmla="*/ 483812 h 483812"/>
                        <a:gd name="connsiteX8" fmla="*/ 0 w 110820"/>
                        <a:gd name="connsiteY8" fmla="*/ 0 h 48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820" h="483812">
                          <a:moveTo>
                            <a:pt x="0" y="0"/>
                          </a:moveTo>
                          <a:lnTo>
                            <a:pt x="18492" y="10037"/>
                          </a:lnTo>
                          <a:cubicBezTo>
                            <a:pt x="48245" y="30138"/>
                            <a:pt x="73920" y="55814"/>
                            <a:pt x="94021" y="85566"/>
                          </a:cubicBezTo>
                          <a:lnTo>
                            <a:pt x="110820" y="116516"/>
                          </a:lnTo>
                          <a:lnTo>
                            <a:pt x="110820" y="367296"/>
                          </a:lnTo>
                          <a:lnTo>
                            <a:pt x="94021" y="398246"/>
                          </a:lnTo>
                          <a:cubicBezTo>
                            <a:pt x="73920" y="427999"/>
                            <a:pt x="48245" y="453675"/>
                            <a:pt x="18492" y="473775"/>
                          </a:cubicBezTo>
                          <a:lnTo>
                            <a:pt x="0" y="483812"/>
                          </a:lnTo>
                          <a:lnTo>
                            <a:pt x="0" y="0"/>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IN">
                        <a:solidFill>
                          <a:srgbClr val="50C0AC"/>
                        </a:solidFill>
                        <a:latin typeface="Segoe UI Semilight" panose="020B0402040204020203" pitchFamily="34" charset="0"/>
                        <a:cs typeface="Segoe UI Semilight" panose="020B0402040204020203" pitchFamily="34" charset="0"/>
                      </a:endParaRPr>
                    </a:p>
                  </p:txBody>
                </p:sp>
                <p:sp>
                  <p:nvSpPr>
                    <p:cNvPr id="269" name="Rectangle 268">
                      <a:extLst>
                        <a:ext uri="{FF2B5EF4-FFF2-40B4-BE49-F238E27FC236}">
                          <a16:creationId xmlns:a16="http://schemas.microsoft.com/office/drawing/2014/main" id="{F7759A0E-6CE4-4E9D-96E8-05F04CFDCF79}"/>
                        </a:ext>
                      </a:extLst>
                    </p:cNvPr>
                    <p:cNvSpPr>
                      <a:spLocks noChangeArrowheads="1"/>
                    </p:cNvSpPr>
                    <p:nvPr/>
                  </p:nvSpPr>
                  <p:spPr bwMode="auto">
                    <a:xfrm>
                      <a:off x="3501537" y="3174206"/>
                      <a:ext cx="110820" cy="444268"/>
                    </a:xfrm>
                    <a:prstGeom prst="rect">
                      <a:avLst/>
                    </a:prstGeom>
                    <a:grpFill/>
                    <a:ln>
                      <a:noFill/>
                    </a:ln>
                  </p:spPr>
                  <p:txBody>
                    <a:bodyPr vert="horz" wrap="square" lIns="91440" tIns="45720" rIns="91440" bIns="45720" numCol="1" anchor="t" anchorCtr="0" compatLnSpc="1">
                      <a:prstTxWarp prst="textNoShape">
                        <a:avLst/>
                      </a:prstTxWarp>
                      <a:noAutofit/>
                    </a:bodyPr>
                    <a:lstStyle/>
                    <a:p>
                      <a:endParaRPr lang="en-IN">
                        <a:solidFill>
                          <a:srgbClr val="50C0AC"/>
                        </a:solidFill>
                        <a:latin typeface="Segoe UI Semilight" panose="020B0402040204020203" pitchFamily="34" charset="0"/>
                        <a:cs typeface="Segoe UI Semilight" panose="020B0402040204020203" pitchFamily="34" charset="0"/>
                      </a:endParaRPr>
                    </a:p>
                  </p:txBody>
                </p:sp>
              </p:grpSp>
            </p:grpSp>
          </p:grpSp>
        </p:grpSp>
        <p:sp>
          <p:nvSpPr>
            <p:cNvPr id="223" name="Freeform 44">
              <a:extLst>
                <a:ext uri="{FF2B5EF4-FFF2-40B4-BE49-F238E27FC236}">
                  <a16:creationId xmlns:a16="http://schemas.microsoft.com/office/drawing/2014/main" id="{F785CB6E-E532-4B8D-A2AF-2A565FAF2F22}"/>
                </a:ext>
              </a:extLst>
            </p:cNvPr>
            <p:cNvSpPr>
              <a:spLocks/>
            </p:cNvSpPr>
            <p:nvPr/>
          </p:nvSpPr>
          <p:spPr bwMode="auto">
            <a:xfrm rot="14297385">
              <a:off x="4819579" y="3477811"/>
              <a:ext cx="206129" cy="267318"/>
            </a:xfrm>
            <a:custGeom>
              <a:avLst/>
              <a:gdLst>
                <a:gd name="connsiteX0" fmla="*/ 572466 w 4759498"/>
                <a:gd name="connsiteY0" fmla="*/ 2523281 h 6172353"/>
                <a:gd name="connsiteX1" fmla="*/ 1144906 w 4759498"/>
                <a:gd name="connsiteY1" fmla="*/ 3106481 h 6172353"/>
                <a:gd name="connsiteX2" fmla="*/ 572466 w 4759498"/>
                <a:gd name="connsiteY2" fmla="*/ 3680569 h 6172353"/>
                <a:gd name="connsiteX3" fmla="*/ 26 w 4759498"/>
                <a:gd name="connsiteY3" fmla="*/ 3091294 h 6172353"/>
                <a:gd name="connsiteX4" fmla="*/ 572466 w 4759498"/>
                <a:gd name="connsiteY4" fmla="*/ 2523281 h 6172353"/>
                <a:gd name="connsiteX5" fmla="*/ 1766470 w 4759498"/>
                <a:gd name="connsiteY5" fmla="*/ 1705993 h 6172353"/>
                <a:gd name="connsiteX6" fmla="*/ 1807349 w 4759498"/>
                <a:gd name="connsiteY6" fmla="*/ 1731042 h 6172353"/>
                <a:gd name="connsiteX7" fmla="*/ 2343323 w 4759498"/>
                <a:gd name="connsiteY7" fmla="*/ 3088293 h 6172353"/>
                <a:gd name="connsiteX8" fmla="*/ 1804321 w 4759498"/>
                <a:gd name="connsiteY8" fmla="*/ 4433397 h 6172353"/>
                <a:gd name="connsiteX9" fmla="*/ 1704394 w 4759498"/>
                <a:gd name="connsiteY9" fmla="*/ 4433397 h 6172353"/>
                <a:gd name="connsiteX10" fmla="*/ 1362219 w 4759498"/>
                <a:gd name="connsiteY10" fmla="*/ 4090289 h 6172353"/>
                <a:gd name="connsiteX11" fmla="*/ 1359191 w 4759498"/>
                <a:gd name="connsiteY11" fmla="*/ 4008308 h 6172353"/>
                <a:gd name="connsiteX12" fmla="*/ 1434893 w 4759498"/>
                <a:gd name="connsiteY12" fmla="*/ 2238113 h 6172353"/>
                <a:gd name="connsiteX13" fmla="*/ 1398556 w 4759498"/>
                <a:gd name="connsiteY13" fmla="*/ 2195605 h 6172353"/>
                <a:gd name="connsiteX14" fmla="*/ 1401584 w 4759498"/>
                <a:gd name="connsiteY14" fmla="*/ 2049860 h 6172353"/>
                <a:gd name="connsiteX15" fmla="*/ 1725591 w 4759498"/>
                <a:gd name="connsiteY15" fmla="*/ 1731042 h 6172353"/>
                <a:gd name="connsiteX16" fmla="*/ 1766470 w 4759498"/>
                <a:gd name="connsiteY16" fmla="*/ 1705993 h 6172353"/>
                <a:gd name="connsiteX17" fmla="*/ 2620062 w 4759498"/>
                <a:gd name="connsiteY17" fmla="*/ 860229 h 6172353"/>
                <a:gd name="connsiteX18" fmla="*/ 2670021 w 4759498"/>
                <a:gd name="connsiteY18" fmla="*/ 890958 h 6172353"/>
                <a:gd name="connsiteX19" fmla="*/ 3493587 w 4759498"/>
                <a:gd name="connsiteY19" fmla="*/ 2526818 h 6172353"/>
                <a:gd name="connsiteX20" fmla="*/ 3545060 w 4759498"/>
                <a:gd name="connsiteY20" fmla="*/ 3088291 h 6172353"/>
                <a:gd name="connsiteX21" fmla="*/ 2654882 w 4759498"/>
                <a:gd name="connsiteY21" fmla="*/ 5282588 h 6172353"/>
                <a:gd name="connsiteX22" fmla="*/ 2561020 w 4759498"/>
                <a:gd name="connsiteY22" fmla="*/ 5282588 h 6172353"/>
                <a:gd name="connsiteX23" fmla="*/ 2230988 w 4759498"/>
                <a:gd name="connsiteY23" fmla="*/ 4951774 h 6172353"/>
                <a:gd name="connsiteX24" fmla="*/ 2227960 w 4759498"/>
                <a:gd name="connsiteY24" fmla="*/ 4836445 h 6172353"/>
                <a:gd name="connsiteX25" fmla="*/ 2894080 w 4759498"/>
                <a:gd name="connsiteY25" fmla="*/ 3479804 h 6172353"/>
                <a:gd name="connsiteX26" fmla="*/ 2476241 w 4759498"/>
                <a:gd name="connsiteY26" fmla="*/ 1628461 h 6172353"/>
                <a:gd name="connsiteX27" fmla="*/ 2224933 w 4759498"/>
                <a:gd name="connsiteY27" fmla="*/ 1318892 h 6172353"/>
                <a:gd name="connsiteX28" fmla="*/ 2224933 w 4759498"/>
                <a:gd name="connsiteY28" fmla="*/ 1233912 h 6172353"/>
                <a:gd name="connsiteX29" fmla="*/ 2570103 w 4759498"/>
                <a:gd name="connsiteY29" fmla="*/ 890958 h 6172353"/>
                <a:gd name="connsiteX30" fmla="*/ 2620062 w 4759498"/>
                <a:gd name="connsiteY30" fmla="*/ 860229 h 6172353"/>
                <a:gd name="connsiteX31" fmla="*/ 3486430 w 4759498"/>
                <a:gd name="connsiteY31" fmla="*/ 189 h 6172353"/>
                <a:gd name="connsiteX32" fmla="*/ 3530694 w 4759498"/>
                <a:gd name="connsiteY32" fmla="*/ 30554 h 6172353"/>
                <a:gd name="connsiteX33" fmla="*/ 4462890 w 4759498"/>
                <a:gd name="connsiteY33" fmla="*/ 1494139 h 6172353"/>
                <a:gd name="connsiteX34" fmla="*/ 4753445 w 4759498"/>
                <a:gd name="connsiteY34" fmla="*/ 2978979 h 6172353"/>
                <a:gd name="connsiteX35" fmla="*/ 4759498 w 4759498"/>
                <a:gd name="connsiteY35" fmla="*/ 3060964 h 6172353"/>
                <a:gd name="connsiteX36" fmla="*/ 3675972 w 4759498"/>
                <a:gd name="connsiteY36" fmla="*/ 5969914 h 6172353"/>
                <a:gd name="connsiteX37" fmla="*/ 3512535 w 4759498"/>
                <a:gd name="connsiteY37" fmla="*/ 6149067 h 6172353"/>
                <a:gd name="connsiteX38" fmla="*/ 3436870 w 4759498"/>
                <a:gd name="connsiteY38" fmla="*/ 6152103 h 6172353"/>
                <a:gd name="connsiteX39" fmla="*/ 3076703 w 4759498"/>
                <a:gd name="connsiteY39" fmla="*/ 5793798 h 6172353"/>
                <a:gd name="connsiteX40" fmla="*/ 3076703 w 4759498"/>
                <a:gd name="connsiteY40" fmla="*/ 5714850 h 6172353"/>
                <a:gd name="connsiteX41" fmla="*/ 3760717 w 4759498"/>
                <a:gd name="connsiteY41" fmla="*/ 4743175 h 6172353"/>
                <a:gd name="connsiteX42" fmla="*/ 4105750 w 4759498"/>
                <a:gd name="connsiteY42" fmla="*/ 3610567 h 6172353"/>
                <a:gd name="connsiteX43" fmla="*/ 4142070 w 4759498"/>
                <a:gd name="connsiteY43" fmla="*/ 2963796 h 6172353"/>
                <a:gd name="connsiteX44" fmla="*/ 3830329 w 4759498"/>
                <a:gd name="connsiteY44" fmla="*/ 1570051 h 6172353"/>
                <a:gd name="connsiteX45" fmla="*/ 3088809 w 4759498"/>
                <a:gd name="connsiteY45" fmla="*/ 455662 h 6172353"/>
                <a:gd name="connsiteX46" fmla="*/ 3088809 w 4759498"/>
                <a:gd name="connsiteY46" fmla="*/ 376713 h 6172353"/>
                <a:gd name="connsiteX47" fmla="*/ 3439896 w 4759498"/>
                <a:gd name="connsiteY47" fmla="*/ 24481 h 6172353"/>
                <a:gd name="connsiteX48" fmla="*/ 3486430 w 4759498"/>
                <a:gd name="connsiteY48" fmla="*/ 189 h 617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759498" h="6172353">
                  <a:moveTo>
                    <a:pt x="572466" y="2523281"/>
                  </a:moveTo>
                  <a:cubicBezTo>
                    <a:pt x="890488" y="2523281"/>
                    <a:pt x="1147935" y="2784506"/>
                    <a:pt x="1144906" y="3106481"/>
                  </a:cubicBezTo>
                  <a:cubicBezTo>
                    <a:pt x="1144906" y="3419344"/>
                    <a:pt x="884431" y="3680569"/>
                    <a:pt x="572466" y="3680569"/>
                  </a:cubicBezTo>
                  <a:cubicBezTo>
                    <a:pt x="254444" y="3680569"/>
                    <a:pt x="-3003" y="3416307"/>
                    <a:pt x="26" y="3091294"/>
                  </a:cubicBezTo>
                  <a:cubicBezTo>
                    <a:pt x="26" y="2781469"/>
                    <a:pt x="260501" y="2523281"/>
                    <a:pt x="572466" y="2523281"/>
                  </a:cubicBezTo>
                  <a:close/>
                  <a:moveTo>
                    <a:pt x="1766470" y="1705993"/>
                  </a:moveTo>
                  <a:cubicBezTo>
                    <a:pt x="1779339" y="1705233"/>
                    <a:pt x="1792209" y="1712824"/>
                    <a:pt x="1807349" y="1731042"/>
                  </a:cubicBezTo>
                  <a:cubicBezTo>
                    <a:pt x="2155581" y="2113623"/>
                    <a:pt x="2334238" y="2563004"/>
                    <a:pt x="2343323" y="3088293"/>
                  </a:cubicBezTo>
                  <a:cubicBezTo>
                    <a:pt x="2334238" y="3598400"/>
                    <a:pt x="2155581" y="4050817"/>
                    <a:pt x="1804321" y="4433397"/>
                  </a:cubicBezTo>
                  <a:cubicBezTo>
                    <a:pt x="1764956" y="4475906"/>
                    <a:pt x="1743759" y="4472870"/>
                    <a:pt x="1704394" y="4433397"/>
                  </a:cubicBezTo>
                  <a:cubicBezTo>
                    <a:pt x="1592354" y="4318016"/>
                    <a:pt x="1477287" y="4202634"/>
                    <a:pt x="1362219" y="4090289"/>
                  </a:cubicBezTo>
                  <a:cubicBezTo>
                    <a:pt x="1328910" y="4059926"/>
                    <a:pt x="1328910" y="4041708"/>
                    <a:pt x="1359191" y="4008308"/>
                  </a:cubicBezTo>
                  <a:cubicBezTo>
                    <a:pt x="1819462" y="3501237"/>
                    <a:pt x="1849743" y="2781621"/>
                    <a:pt x="1434893" y="2238113"/>
                  </a:cubicBezTo>
                  <a:cubicBezTo>
                    <a:pt x="1422781" y="2222932"/>
                    <a:pt x="1410668" y="2210786"/>
                    <a:pt x="1398556" y="2195605"/>
                  </a:cubicBezTo>
                  <a:cubicBezTo>
                    <a:pt x="1328910" y="2119696"/>
                    <a:pt x="1331938" y="2119696"/>
                    <a:pt x="1401584" y="2049860"/>
                  </a:cubicBezTo>
                  <a:cubicBezTo>
                    <a:pt x="1510596" y="1946623"/>
                    <a:pt x="1619607" y="1840351"/>
                    <a:pt x="1725591" y="1731042"/>
                  </a:cubicBezTo>
                  <a:cubicBezTo>
                    <a:pt x="1740731" y="1715861"/>
                    <a:pt x="1753601" y="1706752"/>
                    <a:pt x="1766470" y="1705993"/>
                  </a:cubicBezTo>
                  <a:close/>
                  <a:moveTo>
                    <a:pt x="2620062" y="860229"/>
                  </a:moveTo>
                  <a:cubicBezTo>
                    <a:pt x="2635202" y="860608"/>
                    <a:pt x="2650341" y="871231"/>
                    <a:pt x="2670021" y="890958"/>
                  </a:cubicBezTo>
                  <a:cubicBezTo>
                    <a:pt x="3102999" y="1355312"/>
                    <a:pt x="3381558" y="1898575"/>
                    <a:pt x="3493587" y="2526818"/>
                  </a:cubicBezTo>
                  <a:cubicBezTo>
                    <a:pt x="3526893" y="2711952"/>
                    <a:pt x="3545060" y="2897086"/>
                    <a:pt x="3545060" y="3088291"/>
                  </a:cubicBezTo>
                  <a:cubicBezTo>
                    <a:pt x="3526893" y="3932018"/>
                    <a:pt x="3239251" y="4666485"/>
                    <a:pt x="2654882" y="5282588"/>
                  </a:cubicBezTo>
                  <a:cubicBezTo>
                    <a:pt x="2618549" y="5322043"/>
                    <a:pt x="2597354" y="5319008"/>
                    <a:pt x="2561020" y="5282588"/>
                  </a:cubicBezTo>
                  <a:cubicBezTo>
                    <a:pt x="2452019" y="5170294"/>
                    <a:pt x="2339990" y="5061034"/>
                    <a:pt x="2230988" y="4951774"/>
                  </a:cubicBezTo>
                  <a:cubicBezTo>
                    <a:pt x="2173460" y="4894110"/>
                    <a:pt x="2173460" y="4894110"/>
                    <a:pt x="2227960" y="4836445"/>
                  </a:cubicBezTo>
                  <a:cubicBezTo>
                    <a:pt x="2591298" y="4454036"/>
                    <a:pt x="2815356" y="4001823"/>
                    <a:pt x="2894080" y="3479804"/>
                  </a:cubicBezTo>
                  <a:cubicBezTo>
                    <a:pt x="2997025" y="2809072"/>
                    <a:pt x="2854718" y="2192969"/>
                    <a:pt x="2476241" y="1628461"/>
                  </a:cubicBezTo>
                  <a:cubicBezTo>
                    <a:pt x="2400546" y="1516166"/>
                    <a:pt x="2315767" y="1416012"/>
                    <a:pt x="2224933" y="1318892"/>
                  </a:cubicBezTo>
                  <a:cubicBezTo>
                    <a:pt x="2194654" y="1285507"/>
                    <a:pt x="2194654" y="1264262"/>
                    <a:pt x="2224933" y="1233912"/>
                  </a:cubicBezTo>
                  <a:cubicBezTo>
                    <a:pt x="2343017" y="1121617"/>
                    <a:pt x="2458074" y="1006288"/>
                    <a:pt x="2570103" y="890958"/>
                  </a:cubicBezTo>
                  <a:cubicBezTo>
                    <a:pt x="2589784" y="869713"/>
                    <a:pt x="2604923" y="859850"/>
                    <a:pt x="2620062" y="860229"/>
                  </a:cubicBezTo>
                  <a:close/>
                  <a:moveTo>
                    <a:pt x="3486430" y="189"/>
                  </a:moveTo>
                  <a:cubicBezTo>
                    <a:pt x="3500428" y="1707"/>
                    <a:pt x="3514048" y="12335"/>
                    <a:pt x="3530694" y="30554"/>
                  </a:cubicBezTo>
                  <a:cubicBezTo>
                    <a:pt x="3939287" y="455662"/>
                    <a:pt x="4251028" y="941499"/>
                    <a:pt x="4462890" y="1494139"/>
                  </a:cubicBezTo>
                  <a:cubicBezTo>
                    <a:pt x="4647513" y="1970866"/>
                    <a:pt x="4747391" y="2465814"/>
                    <a:pt x="4753445" y="2978979"/>
                  </a:cubicBezTo>
                  <a:cubicBezTo>
                    <a:pt x="4756471" y="3012380"/>
                    <a:pt x="4759498" y="3042745"/>
                    <a:pt x="4759498" y="3060964"/>
                  </a:cubicBezTo>
                  <a:cubicBezTo>
                    <a:pt x="4747391" y="4172316"/>
                    <a:pt x="4393278" y="5140955"/>
                    <a:pt x="3675972" y="5969914"/>
                  </a:cubicBezTo>
                  <a:cubicBezTo>
                    <a:pt x="3621493" y="6030644"/>
                    <a:pt x="3563987" y="6088337"/>
                    <a:pt x="3512535" y="6149067"/>
                  </a:cubicBezTo>
                  <a:cubicBezTo>
                    <a:pt x="3485295" y="6176395"/>
                    <a:pt x="3467136" y="6182468"/>
                    <a:pt x="3436870" y="6152103"/>
                  </a:cubicBezTo>
                  <a:cubicBezTo>
                    <a:pt x="3318832" y="6030644"/>
                    <a:pt x="3197767" y="5912221"/>
                    <a:pt x="3076703" y="5793798"/>
                  </a:cubicBezTo>
                  <a:cubicBezTo>
                    <a:pt x="3043410" y="5766470"/>
                    <a:pt x="3046437" y="5745215"/>
                    <a:pt x="3076703" y="5714850"/>
                  </a:cubicBezTo>
                  <a:cubicBezTo>
                    <a:pt x="3358178" y="5429421"/>
                    <a:pt x="3585173" y="5104517"/>
                    <a:pt x="3760717" y="4743175"/>
                  </a:cubicBezTo>
                  <a:cubicBezTo>
                    <a:pt x="3936260" y="4384870"/>
                    <a:pt x="4051271" y="4008346"/>
                    <a:pt x="4105750" y="3610567"/>
                  </a:cubicBezTo>
                  <a:cubicBezTo>
                    <a:pt x="4136016" y="3394977"/>
                    <a:pt x="4148123" y="3179387"/>
                    <a:pt x="4142070" y="2963796"/>
                  </a:cubicBezTo>
                  <a:cubicBezTo>
                    <a:pt x="4126937" y="2477959"/>
                    <a:pt x="4024032" y="2013377"/>
                    <a:pt x="3830329" y="1570051"/>
                  </a:cubicBezTo>
                  <a:cubicBezTo>
                    <a:pt x="3648732" y="1154053"/>
                    <a:pt x="3400550" y="783602"/>
                    <a:pt x="3088809" y="455662"/>
                  </a:cubicBezTo>
                  <a:cubicBezTo>
                    <a:pt x="3058543" y="425297"/>
                    <a:pt x="3058543" y="407078"/>
                    <a:pt x="3088809" y="376713"/>
                  </a:cubicBezTo>
                  <a:cubicBezTo>
                    <a:pt x="3206847" y="261327"/>
                    <a:pt x="3324885" y="145940"/>
                    <a:pt x="3439896" y="24481"/>
                  </a:cubicBezTo>
                  <a:cubicBezTo>
                    <a:pt x="3458056" y="6262"/>
                    <a:pt x="3472432" y="-1329"/>
                    <a:pt x="3486430" y="189"/>
                  </a:cubicBezTo>
                  <a:close/>
                </a:path>
              </a:pathLst>
            </a:custGeom>
            <a:solidFill>
              <a:srgbClr val="FF8C00"/>
            </a:solidFill>
            <a:ln>
              <a:noFill/>
            </a:ln>
          </p:spPr>
          <p:txBody>
            <a:bodyPr vert="horz" wrap="square" lIns="89642" tIns="44821" rIns="89642" bIns="44821" numCol="1" anchor="t" anchorCtr="0" compatLnSpc="1">
              <a:prstTxWarp prst="textNoShape">
                <a:avLst/>
              </a:prstTxWarp>
              <a:noAutofit/>
            </a:bodyPr>
            <a:lstStyle/>
            <a:p>
              <a:pPr marL="0" marR="0" lvl="0" indent="0" defTabSz="896386"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Times New Roman" charset="0"/>
                <a:ea typeface="ＭＳ Ｐゴシック" charset="0"/>
              </a:endParaRPr>
            </a:p>
          </p:txBody>
        </p:sp>
        <p:sp>
          <p:nvSpPr>
            <p:cNvPr id="224" name="Rounded Rectangle 3">
              <a:extLst>
                <a:ext uri="{FF2B5EF4-FFF2-40B4-BE49-F238E27FC236}">
                  <a16:creationId xmlns:a16="http://schemas.microsoft.com/office/drawing/2014/main" id="{BA4EF787-A47A-47D3-95BB-6925F1E95261}"/>
                </a:ext>
              </a:extLst>
            </p:cNvPr>
            <p:cNvSpPr/>
            <p:nvPr/>
          </p:nvSpPr>
          <p:spPr>
            <a:xfrm rot="1306545">
              <a:off x="5863269" y="3442484"/>
              <a:ext cx="264542" cy="207714"/>
            </a:xfrm>
            <a:custGeom>
              <a:avLst/>
              <a:gdLst/>
              <a:ahLst/>
              <a:cxnLst/>
              <a:rect l="l" t="t" r="r" b="b"/>
              <a:pathLst>
                <a:path w="2505161" h="1967009">
                  <a:moveTo>
                    <a:pt x="1276043" y="639858"/>
                  </a:moveTo>
                  <a:lnTo>
                    <a:pt x="2323451" y="639858"/>
                  </a:lnTo>
                  <a:cubicBezTo>
                    <a:pt x="2423807" y="639858"/>
                    <a:pt x="2505161" y="721212"/>
                    <a:pt x="2505161" y="821568"/>
                  </a:cubicBezTo>
                  <a:lnTo>
                    <a:pt x="2505161" y="1548387"/>
                  </a:lnTo>
                  <a:cubicBezTo>
                    <a:pt x="2505161" y="1648743"/>
                    <a:pt x="2423807" y="1730097"/>
                    <a:pt x="2323451" y="1730097"/>
                  </a:cubicBezTo>
                  <a:lnTo>
                    <a:pt x="2284990" y="1730097"/>
                  </a:lnTo>
                  <a:lnTo>
                    <a:pt x="2438854" y="1967009"/>
                  </a:lnTo>
                  <a:lnTo>
                    <a:pt x="1899847" y="1730097"/>
                  </a:lnTo>
                  <a:lnTo>
                    <a:pt x="1276043" y="1730097"/>
                  </a:lnTo>
                  <a:cubicBezTo>
                    <a:pt x="1175687" y="1730097"/>
                    <a:pt x="1094333" y="1648743"/>
                    <a:pt x="1094333" y="1548387"/>
                  </a:cubicBezTo>
                  <a:lnTo>
                    <a:pt x="1094333" y="821568"/>
                  </a:lnTo>
                  <a:cubicBezTo>
                    <a:pt x="1094333" y="721212"/>
                    <a:pt x="1175687" y="639858"/>
                    <a:pt x="1276043" y="639858"/>
                  </a:cubicBezTo>
                  <a:close/>
                  <a:moveTo>
                    <a:pt x="240173" y="0"/>
                  </a:moveTo>
                  <a:lnTo>
                    <a:pt x="1691573" y="0"/>
                  </a:lnTo>
                  <a:cubicBezTo>
                    <a:pt x="1824217" y="0"/>
                    <a:pt x="1931746" y="107529"/>
                    <a:pt x="1931746" y="240173"/>
                  </a:cubicBezTo>
                  <a:lnTo>
                    <a:pt x="1931746" y="567526"/>
                  </a:lnTo>
                  <a:lnTo>
                    <a:pt x="1209997" y="567526"/>
                  </a:lnTo>
                  <a:cubicBezTo>
                    <a:pt x="1104795" y="567526"/>
                    <a:pt x="1019512" y="652809"/>
                    <a:pt x="1019512" y="758011"/>
                  </a:cubicBezTo>
                  <a:lnTo>
                    <a:pt x="1019512" y="1441008"/>
                  </a:lnTo>
                  <a:lnTo>
                    <a:pt x="797711" y="1441008"/>
                  </a:lnTo>
                  <a:lnTo>
                    <a:pt x="128307" y="1735234"/>
                  </a:lnTo>
                  <a:lnTo>
                    <a:pt x="318013" y="1443134"/>
                  </a:lnTo>
                  <a:lnTo>
                    <a:pt x="318823" y="1441008"/>
                  </a:lnTo>
                  <a:lnTo>
                    <a:pt x="240173" y="1441008"/>
                  </a:lnTo>
                  <a:cubicBezTo>
                    <a:pt x="107529" y="1441008"/>
                    <a:pt x="0" y="1333479"/>
                    <a:pt x="0" y="1200835"/>
                  </a:cubicBezTo>
                  <a:lnTo>
                    <a:pt x="0" y="240173"/>
                  </a:lnTo>
                  <a:cubicBezTo>
                    <a:pt x="0" y="107529"/>
                    <a:pt x="107529" y="0"/>
                    <a:pt x="240173" y="0"/>
                  </a:cubicBezTo>
                  <a:close/>
                </a:path>
              </a:pathLst>
            </a:custGeom>
            <a:solidFill>
              <a:srgbClr val="FFB900"/>
            </a:solidFill>
            <a:ln w="10795"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light"/>
                <a:ea typeface="+mn-ea"/>
                <a:cs typeface="+mn-cs"/>
              </a:endParaRPr>
            </a:p>
          </p:txBody>
        </p:sp>
        <p:pic>
          <p:nvPicPr>
            <p:cNvPr id="225" name="Graphic 224">
              <a:extLst>
                <a:ext uri="{FF2B5EF4-FFF2-40B4-BE49-F238E27FC236}">
                  <a16:creationId xmlns:a16="http://schemas.microsoft.com/office/drawing/2014/main" id="{C9925B29-1D90-4916-90CF-D16DD6F7E8E7}"/>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22481" t="25688" r="17793" b="25688"/>
            <a:stretch/>
          </p:blipFill>
          <p:spPr>
            <a:xfrm>
              <a:off x="5516677" y="3026202"/>
              <a:ext cx="307861" cy="250634"/>
            </a:xfrm>
            <a:prstGeom prst="rect">
              <a:avLst/>
            </a:prstGeom>
          </p:spPr>
        </p:pic>
        <p:pic>
          <p:nvPicPr>
            <p:cNvPr id="226" name="Graphic 225">
              <a:extLst>
                <a:ext uri="{FF2B5EF4-FFF2-40B4-BE49-F238E27FC236}">
                  <a16:creationId xmlns:a16="http://schemas.microsoft.com/office/drawing/2014/main" id="{7967496B-9D2F-4CE8-A3CF-4D9A6B499C58}"/>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15944" t="20934" r="15944" b="20934"/>
            <a:stretch/>
          </p:blipFill>
          <p:spPr>
            <a:xfrm rot="20706518">
              <a:off x="4774438" y="3899217"/>
              <a:ext cx="342359" cy="292194"/>
            </a:xfrm>
            <a:prstGeom prst="rect">
              <a:avLst/>
            </a:prstGeom>
          </p:spPr>
        </p:pic>
        <p:pic>
          <p:nvPicPr>
            <p:cNvPr id="227" name="Graphic 226">
              <a:extLst>
                <a:ext uri="{FF2B5EF4-FFF2-40B4-BE49-F238E27FC236}">
                  <a16:creationId xmlns:a16="http://schemas.microsoft.com/office/drawing/2014/main" id="{FD3ECC31-46E9-4B75-9BC7-67797658D997}"/>
                </a:ext>
              </a:extLst>
            </p:cNvPr>
            <p:cNvPicPr>
              <a:picLocks noChangeAspect="1"/>
            </p:cNvPicPr>
            <p:nvPr/>
          </p:nvPicPr>
          <p:blipFill rotWithShape="1">
            <a:blip r:embed="rId19">
              <a:extLst>
                <a:ext uri="{96DAC541-7B7A-43D3-8B79-37D633B846F1}">
                  <asvg:svgBlip xmlns:asvg="http://schemas.microsoft.com/office/drawing/2016/SVG/main" r:embed="rId20"/>
                </a:ext>
              </a:extLst>
            </a:blip>
            <a:srcRect l="17691" t="18798" r="17691" b="15674"/>
            <a:stretch/>
          </p:blipFill>
          <p:spPr>
            <a:xfrm rot="20505369">
              <a:off x="5013711" y="3064639"/>
              <a:ext cx="301516" cy="305767"/>
            </a:xfrm>
            <a:prstGeom prst="rect">
              <a:avLst/>
            </a:prstGeom>
          </p:spPr>
        </p:pic>
      </p:grpSp>
      <p:grpSp>
        <p:nvGrpSpPr>
          <p:cNvPr id="582" name="Group 581">
            <a:extLst>
              <a:ext uri="{FF2B5EF4-FFF2-40B4-BE49-F238E27FC236}">
                <a16:creationId xmlns:a16="http://schemas.microsoft.com/office/drawing/2014/main" id="{AC485181-FA75-4836-ABDD-3698DFEFC99F}"/>
              </a:ext>
            </a:extLst>
          </p:cNvPr>
          <p:cNvGrpSpPr/>
          <p:nvPr/>
        </p:nvGrpSpPr>
        <p:grpSpPr>
          <a:xfrm>
            <a:off x="9438834" y="4224021"/>
            <a:ext cx="763102" cy="939852"/>
            <a:chOff x="9227589" y="2609064"/>
            <a:chExt cx="1605264" cy="1983243"/>
          </a:xfrm>
        </p:grpSpPr>
        <p:sp>
          <p:nvSpPr>
            <p:cNvPr id="583" name="Freeform 124">
              <a:extLst>
                <a:ext uri="{FF2B5EF4-FFF2-40B4-BE49-F238E27FC236}">
                  <a16:creationId xmlns:a16="http://schemas.microsoft.com/office/drawing/2014/main" id="{718E4EEB-6677-4194-94FB-EEC308329022}"/>
                </a:ext>
              </a:extLst>
            </p:cNvPr>
            <p:cNvSpPr>
              <a:spLocks/>
            </p:cNvSpPr>
            <p:nvPr/>
          </p:nvSpPr>
          <p:spPr bwMode="auto">
            <a:xfrm>
              <a:off x="9786396" y="2609064"/>
              <a:ext cx="659340" cy="441954"/>
            </a:xfrm>
            <a:custGeom>
              <a:avLst/>
              <a:gdLst>
                <a:gd name="T0" fmla="*/ 729 w 745"/>
                <a:gd name="T1" fmla="*/ 498 h 498"/>
                <a:gd name="T2" fmla="*/ 16 w 745"/>
                <a:gd name="T3" fmla="*/ 498 h 498"/>
                <a:gd name="T4" fmla="*/ 0 w 745"/>
                <a:gd name="T5" fmla="*/ 482 h 498"/>
                <a:gd name="T6" fmla="*/ 0 w 745"/>
                <a:gd name="T7" fmla="*/ 16 h 498"/>
                <a:gd name="T8" fmla="*/ 16 w 745"/>
                <a:gd name="T9" fmla="*/ 0 h 498"/>
                <a:gd name="T10" fmla="*/ 729 w 745"/>
                <a:gd name="T11" fmla="*/ 0 h 498"/>
                <a:gd name="T12" fmla="*/ 745 w 745"/>
                <a:gd name="T13" fmla="*/ 16 h 498"/>
                <a:gd name="T14" fmla="*/ 745 w 745"/>
                <a:gd name="T15" fmla="*/ 482 h 498"/>
                <a:gd name="T16" fmla="*/ 729 w 745"/>
                <a:gd name="T17" fmla="*/ 49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5" h="498">
                  <a:moveTo>
                    <a:pt x="729" y="498"/>
                  </a:moveTo>
                  <a:cubicBezTo>
                    <a:pt x="16" y="498"/>
                    <a:pt x="16" y="498"/>
                    <a:pt x="16" y="498"/>
                  </a:cubicBezTo>
                  <a:cubicBezTo>
                    <a:pt x="7" y="498"/>
                    <a:pt x="0" y="491"/>
                    <a:pt x="0" y="482"/>
                  </a:cubicBezTo>
                  <a:cubicBezTo>
                    <a:pt x="0" y="16"/>
                    <a:pt x="0" y="16"/>
                    <a:pt x="0" y="16"/>
                  </a:cubicBezTo>
                  <a:cubicBezTo>
                    <a:pt x="0" y="7"/>
                    <a:pt x="7" y="0"/>
                    <a:pt x="16" y="0"/>
                  </a:cubicBezTo>
                  <a:cubicBezTo>
                    <a:pt x="729" y="0"/>
                    <a:pt x="729" y="0"/>
                    <a:pt x="729" y="0"/>
                  </a:cubicBezTo>
                  <a:cubicBezTo>
                    <a:pt x="738" y="0"/>
                    <a:pt x="745" y="7"/>
                    <a:pt x="745" y="16"/>
                  </a:cubicBezTo>
                  <a:cubicBezTo>
                    <a:pt x="745" y="482"/>
                    <a:pt x="745" y="482"/>
                    <a:pt x="745" y="482"/>
                  </a:cubicBezTo>
                  <a:cubicBezTo>
                    <a:pt x="745" y="491"/>
                    <a:pt x="738" y="498"/>
                    <a:pt x="729" y="498"/>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4" name="Freeform 125">
              <a:extLst>
                <a:ext uri="{FF2B5EF4-FFF2-40B4-BE49-F238E27FC236}">
                  <a16:creationId xmlns:a16="http://schemas.microsoft.com/office/drawing/2014/main" id="{B60EEEB2-25B5-42C9-A754-D240EF1A947A}"/>
                </a:ext>
              </a:extLst>
            </p:cNvPr>
            <p:cNvSpPr>
              <a:spLocks/>
            </p:cNvSpPr>
            <p:nvPr/>
          </p:nvSpPr>
          <p:spPr bwMode="auto">
            <a:xfrm>
              <a:off x="9786396" y="2609064"/>
              <a:ext cx="265042" cy="265694"/>
            </a:xfrm>
            <a:custGeom>
              <a:avLst/>
              <a:gdLst>
                <a:gd name="T0" fmla="*/ 0 w 300"/>
                <a:gd name="T1" fmla="*/ 299 h 299"/>
                <a:gd name="T2" fmla="*/ 300 w 300"/>
                <a:gd name="T3" fmla="*/ 0 h 299"/>
                <a:gd name="T4" fmla="*/ 18 w 300"/>
                <a:gd name="T5" fmla="*/ 0 h 299"/>
                <a:gd name="T6" fmla="*/ 0 w 300"/>
                <a:gd name="T7" fmla="*/ 17 h 299"/>
                <a:gd name="T8" fmla="*/ 0 w 300"/>
                <a:gd name="T9" fmla="*/ 299 h 299"/>
              </a:gdLst>
              <a:ahLst/>
              <a:cxnLst>
                <a:cxn ang="0">
                  <a:pos x="T0" y="T1"/>
                </a:cxn>
                <a:cxn ang="0">
                  <a:pos x="T2" y="T3"/>
                </a:cxn>
                <a:cxn ang="0">
                  <a:pos x="T4" y="T5"/>
                </a:cxn>
                <a:cxn ang="0">
                  <a:pos x="T6" y="T7"/>
                </a:cxn>
                <a:cxn ang="0">
                  <a:pos x="T8" y="T9"/>
                </a:cxn>
              </a:cxnLst>
              <a:rect l="0" t="0" r="r" b="b"/>
              <a:pathLst>
                <a:path w="300" h="299">
                  <a:moveTo>
                    <a:pt x="0" y="299"/>
                  </a:moveTo>
                  <a:cubicBezTo>
                    <a:pt x="300" y="0"/>
                    <a:pt x="300" y="0"/>
                    <a:pt x="300" y="0"/>
                  </a:cubicBezTo>
                  <a:cubicBezTo>
                    <a:pt x="18" y="0"/>
                    <a:pt x="18" y="0"/>
                    <a:pt x="18" y="0"/>
                  </a:cubicBezTo>
                  <a:cubicBezTo>
                    <a:pt x="8" y="0"/>
                    <a:pt x="0" y="7"/>
                    <a:pt x="0" y="17"/>
                  </a:cubicBezTo>
                  <a:lnTo>
                    <a:pt x="0" y="299"/>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5" name="Rectangle 126">
              <a:extLst>
                <a:ext uri="{FF2B5EF4-FFF2-40B4-BE49-F238E27FC236}">
                  <a16:creationId xmlns:a16="http://schemas.microsoft.com/office/drawing/2014/main" id="{679F6DE0-E9E0-4EEA-9694-DC85595D9FAB}"/>
                </a:ext>
              </a:extLst>
            </p:cNvPr>
            <p:cNvSpPr>
              <a:spLocks noChangeArrowheads="1"/>
            </p:cNvSpPr>
            <p:nvPr/>
          </p:nvSpPr>
          <p:spPr bwMode="auto">
            <a:xfrm>
              <a:off x="9822953" y="2645622"/>
              <a:ext cx="586225" cy="368839"/>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6" name="Freeform 127">
              <a:extLst>
                <a:ext uri="{FF2B5EF4-FFF2-40B4-BE49-F238E27FC236}">
                  <a16:creationId xmlns:a16="http://schemas.microsoft.com/office/drawing/2014/main" id="{25367791-4596-4D55-9576-C94C457EE549}"/>
                </a:ext>
              </a:extLst>
            </p:cNvPr>
            <p:cNvSpPr>
              <a:spLocks/>
            </p:cNvSpPr>
            <p:nvPr/>
          </p:nvSpPr>
          <p:spPr bwMode="auto">
            <a:xfrm>
              <a:off x="9822953" y="2645622"/>
              <a:ext cx="191274" cy="192579"/>
            </a:xfrm>
            <a:custGeom>
              <a:avLst/>
              <a:gdLst>
                <a:gd name="T0" fmla="*/ 293 w 293"/>
                <a:gd name="T1" fmla="*/ 0 h 295"/>
                <a:gd name="T2" fmla="*/ 0 w 293"/>
                <a:gd name="T3" fmla="*/ 0 h 295"/>
                <a:gd name="T4" fmla="*/ 0 w 293"/>
                <a:gd name="T5" fmla="*/ 295 h 295"/>
                <a:gd name="T6" fmla="*/ 293 w 293"/>
                <a:gd name="T7" fmla="*/ 0 h 295"/>
              </a:gdLst>
              <a:ahLst/>
              <a:cxnLst>
                <a:cxn ang="0">
                  <a:pos x="T0" y="T1"/>
                </a:cxn>
                <a:cxn ang="0">
                  <a:pos x="T2" y="T3"/>
                </a:cxn>
                <a:cxn ang="0">
                  <a:pos x="T4" y="T5"/>
                </a:cxn>
                <a:cxn ang="0">
                  <a:pos x="T6" y="T7"/>
                </a:cxn>
              </a:cxnLst>
              <a:rect l="0" t="0" r="r" b="b"/>
              <a:pathLst>
                <a:path w="293" h="295">
                  <a:moveTo>
                    <a:pt x="293" y="0"/>
                  </a:moveTo>
                  <a:lnTo>
                    <a:pt x="0" y="0"/>
                  </a:lnTo>
                  <a:lnTo>
                    <a:pt x="0" y="295"/>
                  </a:lnTo>
                  <a:lnTo>
                    <a:pt x="293" y="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7" name="Oval 128">
              <a:extLst>
                <a:ext uri="{FF2B5EF4-FFF2-40B4-BE49-F238E27FC236}">
                  <a16:creationId xmlns:a16="http://schemas.microsoft.com/office/drawing/2014/main" id="{A03E0B8D-9384-4316-BFD4-A2A89152E8E4}"/>
                </a:ext>
              </a:extLst>
            </p:cNvPr>
            <p:cNvSpPr>
              <a:spLocks noChangeArrowheads="1"/>
            </p:cNvSpPr>
            <p:nvPr/>
          </p:nvSpPr>
          <p:spPr bwMode="auto">
            <a:xfrm>
              <a:off x="10113455" y="2621468"/>
              <a:ext cx="14362" cy="1436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8" name="Freeform 129">
              <a:extLst>
                <a:ext uri="{FF2B5EF4-FFF2-40B4-BE49-F238E27FC236}">
                  <a16:creationId xmlns:a16="http://schemas.microsoft.com/office/drawing/2014/main" id="{518DC9CE-9869-4D94-B124-1BDD4355E1EC}"/>
                </a:ext>
              </a:extLst>
            </p:cNvPr>
            <p:cNvSpPr>
              <a:spLocks/>
            </p:cNvSpPr>
            <p:nvPr/>
          </p:nvSpPr>
          <p:spPr bwMode="auto">
            <a:xfrm>
              <a:off x="9937195" y="3180275"/>
              <a:ext cx="788597" cy="522250"/>
            </a:xfrm>
            <a:custGeom>
              <a:avLst/>
              <a:gdLst>
                <a:gd name="T0" fmla="*/ 868 w 891"/>
                <a:gd name="T1" fmla="*/ 588 h 588"/>
                <a:gd name="T2" fmla="*/ 22 w 891"/>
                <a:gd name="T3" fmla="*/ 588 h 588"/>
                <a:gd name="T4" fmla="*/ 0 w 891"/>
                <a:gd name="T5" fmla="*/ 565 h 588"/>
                <a:gd name="T6" fmla="*/ 0 w 891"/>
                <a:gd name="T7" fmla="*/ 23 h 588"/>
                <a:gd name="T8" fmla="*/ 22 w 891"/>
                <a:gd name="T9" fmla="*/ 0 h 588"/>
                <a:gd name="T10" fmla="*/ 868 w 891"/>
                <a:gd name="T11" fmla="*/ 0 h 588"/>
                <a:gd name="T12" fmla="*/ 891 w 891"/>
                <a:gd name="T13" fmla="*/ 23 h 588"/>
                <a:gd name="T14" fmla="*/ 891 w 891"/>
                <a:gd name="T15" fmla="*/ 565 h 588"/>
                <a:gd name="T16" fmla="*/ 868 w 891"/>
                <a:gd name="T17" fmla="*/ 588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588">
                  <a:moveTo>
                    <a:pt x="868" y="588"/>
                  </a:moveTo>
                  <a:cubicBezTo>
                    <a:pt x="22" y="588"/>
                    <a:pt x="22" y="588"/>
                    <a:pt x="22" y="588"/>
                  </a:cubicBezTo>
                  <a:cubicBezTo>
                    <a:pt x="10" y="588"/>
                    <a:pt x="0" y="578"/>
                    <a:pt x="0" y="565"/>
                  </a:cubicBezTo>
                  <a:cubicBezTo>
                    <a:pt x="0" y="23"/>
                    <a:pt x="0" y="23"/>
                    <a:pt x="0" y="23"/>
                  </a:cubicBezTo>
                  <a:cubicBezTo>
                    <a:pt x="0" y="11"/>
                    <a:pt x="10" y="0"/>
                    <a:pt x="22" y="0"/>
                  </a:cubicBezTo>
                  <a:cubicBezTo>
                    <a:pt x="868" y="0"/>
                    <a:pt x="868" y="0"/>
                    <a:pt x="868" y="0"/>
                  </a:cubicBezTo>
                  <a:cubicBezTo>
                    <a:pt x="881" y="0"/>
                    <a:pt x="891" y="11"/>
                    <a:pt x="891" y="23"/>
                  </a:cubicBezTo>
                  <a:cubicBezTo>
                    <a:pt x="891" y="565"/>
                    <a:pt x="891" y="565"/>
                    <a:pt x="891" y="565"/>
                  </a:cubicBezTo>
                  <a:cubicBezTo>
                    <a:pt x="891" y="578"/>
                    <a:pt x="881" y="588"/>
                    <a:pt x="868" y="588"/>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9" name="Freeform 130">
              <a:extLst>
                <a:ext uri="{FF2B5EF4-FFF2-40B4-BE49-F238E27FC236}">
                  <a16:creationId xmlns:a16="http://schemas.microsoft.com/office/drawing/2014/main" id="{78232296-8796-42BC-B3EF-9CC76F925779}"/>
                </a:ext>
              </a:extLst>
            </p:cNvPr>
            <p:cNvSpPr>
              <a:spLocks/>
            </p:cNvSpPr>
            <p:nvPr/>
          </p:nvSpPr>
          <p:spPr bwMode="auto">
            <a:xfrm>
              <a:off x="9937195" y="3180275"/>
              <a:ext cx="333587" cy="334240"/>
            </a:xfrm>
            <a:custGeom>
              <a:avLst/>
              <a:gdLst>
                <a:gd name="T0" fmla="*/ 0 w 377"/>
                <a:gd name="T1" fmla="*/ 376 h 376"/>
                <a:gd name="T2" fmla="*/ 0 w 377"/>
                <a:gd name="T3" fmla="*/ 19 h 376"/>
                <a:gd name="T4" fmla="*/ 19 w 377"/>
                <a:gd name="T5" fmla="*/ 0 h 376"/>
                <a:gd name="T6" fmla="*/ 377 w 377"/>
                <a:gd name="T7" fmla="*/ 0 h 376"/>
                <a:gd name="T8" fmla="*/ 0 w 377"/>
                <a:gd name="T9" fmla="*/ 376 h 376"/>
              </a:gdLst>
              <a:ahLst/>
              <a:cxnLst>
                <a:cxn ang="0">
                  <a:pos x="T0" y="T1"/>
                </a:cxn>
                <a:cxn ang="0">
                  <a:pos x="T2" y="T3"/>
                </a:cxn>
                <a:cxn ang="0">
                  <a:pos x="T4" y="T5"/>
                </a:cxn>
                <a:cxn ang="0">
                  <a:pos x="T6" y="T7"/>
                </a:cxn>
                <a:cxn ang="0">
                  <a:pos x="T8" y="T9"/>
                </a:cxn>
              </a:cxnLst>
              <a:rect l="0" t="0" r="r" b="b"/>
              <a:pathLst>
                <a:path w="377" h="376">
                  <a:moveTo>
                    <a:pt x="0" y="376"/>
                  </a:moveTo>
                  <a:cubicBezTo>
                    <a:pt x="0" y="19"/>
                    <a:pt x="0" y="19"/>
                    <a:pt x="0" y="19"/>
                  </a:cubicBezTo>
                  <a:cubicBezTo>
                    <a:pt x="0" y="9"/>
                    <a:pt x="8" y="0"/>
                    <a:pt x="19" y="0"/>
                  </a:cubicBezTo>
                  <a:cubicBezTo>
                    <a:pt x="377" y="0"/>
                    <a:pt x="377" y="0"/>
                    <a:pt x="377" y="0"/>
                  </a:cubicBezTo>
                  <a:lnTo>
                    <a:pt x="0" y="3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0" name="Freeform 131">
              <a:extLst>
                <a:ext uri="{FF2B5EF4-FFF2-40B4-BE49-F238E27FC236}">
                  <a16:creationId xmlns:a16="http://schemas.microsoft.com/office/drawing/2014/main" id="{2AAE822F-767B-4D55-9324-5C67B7AEB76C}"/>
                </a:ext>
              </a:extLst>
            </p:cNvPr>
            <p:cNvSpPr>
              <a:spLocks/>
            </p:cNvSpPr>
            <p:nvPr/>
          </p:nvSpPr>
          <p:spPr bwMode="auto">
            <a:xfrm>
              <a:off x="9830134" y="3702525"/>
              <a:ext cx="1002719" cy="42433"/>
            </a:xfrm>
            <a:custGeom>
              <a:avLst/>
              <a:gdLst>
                <a:gd name="T0" fmla="*/ 1084 w 1133"/>
                <a:gd name="T1" fmla="*/ 48 h 48"/>
                <a:gd name="T2" fmla="*/ 48 w 1133"/>
                <a:gd name="T3" fmla="*/ 48 h 48"/>
                <a:gd name="T4" fmla="*/ 0 w 1133"/>
                <a:gd name="T5" fmla="*/ 0 h 48"/>
                <a:gd name="T6" fmla="*/ 1133 w 1133"/>
                <a:gd name="T7" fmla="*/ 0 h 48"/>
                <a:gd name="T8" fmla="*/ 1084 w 1133"/>
                <a:gd name="T9" fmla="*/ 48 h 48"/>
              </a:gdLst>
              <a:ahLst/>
              <a:cxnLst>
                <a:cxn ang="0">
                  <a:pos x="T0" y="T1"/>
                </a:cxn>
                <a:cxn ang="0">
                  <a:pos x="T2" y="T3"/>
                </a:cxn>
                <a:cxn ang="0">
                  <a:pos x="T4" y="T5"/>
                </a:cxn>
                <a:cxn ang="0">
                  <a:pos x="T6" y="T7"/>
                </a:cxn>
                <a:cxn ang="0">
                  <a:pos x="T8" y="T9"/>
                </a:cxn>
              </a:cxnLst>
              <a:rect l="0" t="0" r="r" b="b"/>
              <a:pathLst>
                <a:path w="1133" h="48">
                  <a:moveTo>
                    <a:pt x="1084" y="48"/>
                  </a:moveTo>
                  <a:cubicBezTo>
                    <a:pt x="48" y="48"/>
                    <a:pt x="48" y="48"/>
                    <a:pt x="48" y="48"/>
                  </a:cubicBezTo>
                  <a:cubicBezTo>
                    <a:pt x="21" y="48"/>
                    <a:pt x="0" y="27"/>
                    <a:pt x="0" y="0"/>
                  </a:cubicBezTo>
                  <a:cubicBezTo>
                    <a:pt x="1133" y="0"/>
                    <a:pt x="1133" y="0"/>
                    <a:pt x="1133" y="0"/>
                  </a:cubicBezTo>
                  <a:cubicBezTo>
                    <a:pt x="1133" y="27"/>
                    <a:pt x="1111" y="48"/>
                    <a:pt x="1084"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1" name="Rectangle 132">
              <a:extLst>
                <a:ext uri="{FF2B5EF4-FFF2-40B4-BE49-F238E27FC236}">
                  <a16:creationId xmlns:a16="http://schemas.microsoft.com/office/drawing/2014/main" id="{98D7CBEE-013D-425F-9356-71D7D5CCC82A}"/>
                </a:ext>
              </a:extLst>
            </p:cNvPr>
            <p:cNvSpPr>
              <a:spLocks noChangeArrowheads="1"/>
            </p:cNvSpPr>
            <p:nvPr/>
          </p:nvSpPr>
          <p:spPr bwMode="auto">
            <a:xfrm>
              <a:off x="9979628" y="3224013"/>
              <a:ext cx="703731" cy="435425"/>
            </a:xfrm>
            <a:prstGeom prst="rect">
              <a:avLst/>
            </a:prstGeom>
            <a:solidFill>
              <a:srgbClr val="0C74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2" name="Freeform 133">
              <a:extLst>
                <a:ext uri="{FF2B5EF4-FFF2-40B4-BE49-F238E27FC236}">
                  <a16:creationId xmlns:a16="http://schemas.microsoft.com/office/drawing/2014/main" id="{A6FB3752-47BD-4D56-801C-5D2725A51FD2}"/>
                </a:ext>
              </a:extLst>
            </p:cNvPr>
            <p:cNvSpPr>
              <a:spLocks/>
            </p:cNvSpPr>
            <p:nvPr/>
          </p:nvSpPr>
          <p:spPr bwMode="auto">
            <a:xfrm>
              <a:off x="9979628" y="3224013"/>
              <a:ext cx="248069" cy="248721"/>
            </a:xfrm>
            <a:custGeom>
              <a:avLst/>
              <a:gdLst>
                <a:gd name="T0" fmla="*/ 0 w 380"/>
                <a:gd name="T1" fmla="*/ 0 h 381"/>
                <a:gd name="T2" fmla="*/ 0 w 380"/>
                <a:gd name="T3" fmla="*/ 381 h 381"/>
                <a:gd name="T4" fmla="*/ 380 w 380"/>
                <a:gd name="T5" fmla="*/ 0 h 381"/>
                <a:gd name="T6" fmla="*/ 0 w 380"/>
                <a:gd name="T7" fmla="*/ 0 h 381"/>
              </a:gdLst>
              <a:ahLst/>
              <a:cxnLst>
                <a:cxn ang="0">
                  <a:pos x="T0" y="T1"/>
                </a:cxn>
                <a:cxn ang="0">
                  <a:pos x="T2" y="T3"/>
                </a:cxn>
                <a:cxn ang="0">
                  <a:pos x="T4" y="T5"/>
                </a:cxn>
                <a:cxn ang="0">
                  <a:pos x="T6" y="T7"/>
                </a:cxn>
              </a:cxnLst>
              <a:rect l="0" t="0" r="r" b="b"/>
              <a:pathLst>
                <a:path w="380" h="381">
                  <a:moveTo>
                    <a:pt x="0" y="0"/>
                  </a:moveTo>
                  <a:lnTo>
                    <a:pt x="0" y="381"/>
                  </a:lnTo>
                  <a:lnTo>
                    <a:pt x="380" y="0"/>
                  </a:lnTo>
                  <a:lnTo>
                    <a:pt x="0" y="0"/>
                  </a:lnTo>
                  <a:close/>
                </a:path>
              </a:pathLst>
            </a:custGeom>
            <a:solidFill>
              <a:srgbClr val="4379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3" name="Freeform 134">
              <a:extLst>
                <a:ext uri="{FF2B5EF4-FFF2-40B4-BE49-F238E27FC236}">
                  <a16:creationId xmlns:a16="http://schemas.microsoft.com/office/drawing/2014/main" id="{75DEFB8C-6112-44E8-BE65-855E4880BFE9}"/>
                </a:ext>
              </a:extLst>
            </p:cNvPr>
            <p:cNvSpPr>
              <a:spLocks/>
            </p:cNvSpPr>
            <p:nvPr/>
          </p:nvSpPr>
          <p:spPr bwMode="auto">
            <a:xfrm>
              <a:off x="10409179" y="3917300"/>
              <a:ext cx="274181" cy="563377"/>
            </a:xfrm>
            <a:custGeom>
              <a:avLst/>
              <a:gdLst>
                <a:gd name="T0" fmla="*/ 272 w 310"/>
                <a:gd name="T1" fmla="*/ 0 h 635"/>
                <a:gd name="T2" fmla="*/ 38 w 310"/>
                <a:gd name="T3" fmla="*/ 0 h 635"/>
                <a:gd name="T4" fmla="*/ 0 w 310"/>
                <a:gd name="T5" fmla="*/ 37 h 635"/>
                <a:gd name="T6" fmla="*/ 0 w 310"/>
                <a:gd name="T7" fmla="*/ 597 h 635"/>
                <a:gd name="T8" fmla="*/ 38 w 310"/>
                <a:gd name="T9" fmla="*/ 635 h 635"/>
                <a:gd name="T10" fmla="*/ 272 w 310"/>
                <a:gd name="T11" fmla="*/ 635 h 635"/>
                <a:gd name="T12" fmla="*/ 310 w 310"/>
                <a:gd name="T13" fmla="*/ 597 h 635"/>
                <a:gd name="T14" fmla="*/ 310 w 310"/>
                <a:gd name="T15" fmla="*/ 37 h 635"/>
                <a:gd name="T16" fmla="*/ 272 w 310"/>
                <a:gd name="T17"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635">
                  <a:moveTo>
                    <a:pt x="272" y="0"/>
                  </a:moveTo>
                  <a:cubicBezTo>
                    <a:pt x="38" y="0"/>
                    <a:pt x="38" y="0"/>
                    <a:pt x="38" y="0"/>
                  </a:cubicBezTo>
                  <a:cubicBezTo>
                    <a:pt x="17" y="0"/>
                    <a:pt x="0" y="17"/>
                    <a:pt x="0" y="37"/>
                  </a:cubicBezTo>
                  <a:cubicBezTo>
                    <a:pt x="0" y="597"/>
                    <a:pt x="0" y="597"/>
                    <a:pt x="0" y="597"/>
                  </a:cubicBezTo>
                  <a:cubicBezTo>
                    <a:pt x="0" y="618"/>
                    <a:pt x="17" y="635"/>
                    <a:pt x="38" y="635"/>
                  </a:cubicBezTo>
                  <a:cubicBezTo>
                    <a:pt x="272" y="635"/>
                    <a:pt x="272" y="635"/>
                    <a:pt x="272" y="635"/>
                  </a:cubicBezTo>
                  <a:cubicBezTo>
                    <a:pt x="293" y="635"/>
                    <a:pt x="310" y="618"/>
                    <a:pt x="310" y="597"/>
                  </a:cubicBezTo>
                  <a:cubicBezTo>
                    <a:pt x="310" y="37"/>
                    <a:pt x="310" y="37"/>
                    <a:pt x="310" y="37"/>
                  </a:cubicBezTo>
                  <a:cubicBezTo>
                    <a:pt x="310" y="17"/>
                    <a:pt x="293" y="0"/>
                    <a:pt x="272" y="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4" name="Rectangle 135">
              <a:extLst>
                <a:ext uri="{FF2B5EF4-FFF2-40B4-BE49-F238E27FC236}">
                  <a16:creationId xmlns:a16="http://schemas.microsoft.com/office/drawing/2014/main" id="{F8C4C72A-7172-46A5-B01D-2E5A984780AB}"/>
                </a:ext>
              </a:extLst>
            </p:cNvPr>
            <p:cNvSpPr>
              <a:spLocks noChangeArrowheads="1"/>
            </p:cNvSpPr>
            <p:nvPr/>
          </p:nvSpPr>
          <p:spPr bwMode="auto">
            <a:xfrm>
              <a:off x="10426804" y="3980623"/>
              <a:ext cx="238929" cy="433467"/>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5" name="Freeform 136">
              <a:extLst>
                <a:ext uri="{FF2B5EF4-FFF2-40B4-BE49-F238E27FC236}">
                  <a16:creationId xmlns:a16="http://schemas.microsoft.com/office/drawing/2014/main" id="{E73AAF2E-CFB6-4D96-9E33-7EFFCC3CC281}"/>
                </a:ext>
              </a:extLst>
            </p:cNvPr>
            <p:cNvSpPr>
              <a:spLocks/>
            </p:cNvSpPr>
            <p:nvPr/>
          </p:nvSpPr>
          <p:spPr bwMode="auto">
            <a:xfrm>
              <a:off x="10409179" y="3917300"/>
              <a:ext cx="196497" cy="195844"/>
            </a:xfrm>
            <a:custGeom>
              <a:avLst/>
              <a:gdLst>
                <a:gd name="T0" fmla="*/ 128 w 222"/>
                <a:gd name="T1" fmla="*/ 42 h 221"/>
                <a:gd name="T2" fmla="*/ 124 w 222"/>
                <a:gd name="T3" fmla="*/ 38 h 221"/>
                <a:gd name="T4" fmla="*/ 128 w 222"/>
                <a:gd name="T5" fmla="*/ 34 h 221"/>
                <a:gd name="T6" fmla="*/ 181 w 222"/>
                <a:gd name="T7" fmla="*/ 34 h 221"/>
                <a:gd name="T8" fmla="*/ 185 w 222"/>
                <a:gd name="T9" fmla="*/ 36 h 221"/>
                <a:gd name="T10" fmla="*/ 222 w 222"/>
                <a:gd name="T11" fmla="*/ 0 h 221"/>
                <a:gd name="T12" fmla="*/ 36 w 222"/>
                <a:gd name="T13" fmla="*/ 0 h 221"/>
                <a:gd name="T14" fmla="*/ 0 w 222"/>
                <a:gd name="T15" fmla="*/ 35 h 221"/>
                <a:gd name="T16" fmla="*/ 0 w 222"/>
                <a:gd name="T17" fmla="*/ 221 h 221"/>
                <a:gd name="T18" fmla="*/ 179 w 222"/>
                <a:gd name="T19" fmla="*/ 42 h 221"/>
                <a:gd name="T20" fmla="*/ 128 w 222"/>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2" h="221">
                  <a:moveTo>
                    <a:pt x="128" y="42"/>
                  </a:moveTo>
                  <a:cubicBezTo>
                    <a:pt x="126" y="42"/>
                    <a:pt x="124" y="40"/>
                    <a:pt x="124" y="38"/>
                  </a:cubicBezTo>
                  <a:cubicBezTo>
                    <a:pt x="124" y="36"/>
                    <a:pt x="126" y="34"/>
                    <a:pt x="128" y="34"/>
                  </a:cubicBezTo>
                  <a:cubicBezTo>
                    <a:pt x="181" y="34"/>
                    <a:pt x="181" y="34"/>
                    <a:pt x="181" y="34"/>
                  </a:cubicBezTo>
                  <a:cubicBezTo>
                    <a:pt x="183" y="34"/>
                    <a:pt x="184" y="35"/>
                    <a:pt x="185" y="36"/>
                  </a:cubicBezTo>
                  <a:cubicBezTo>
                    <a:pt x="222" y="0"/>
                    <a:pt x="222" y="0"/>
                    <a:pt x="222" y="0"/>
                  </a:cubicBezTo>
                  <a:cubicBezTo>
                    <a:pt x="36" y="0"/>
                    <a:pt x="36" y="0"/>
                    <a:pt x="36" y="0"/>
                  </a:cubicBezTo>
                  <a:cubicBezTo>
                    <a:pt x="16" y="0"/>
                    <a:pt x="0" y="16"/>
                    <a:pt x="0" y="35"/>
                  </a:cubicBezTo>
                  <a:cubicBezTo>
                    <a:pt x="0" y="221"/>
                    <a:pt x="0" y="221"/>
                    <a:pt x="0" y="221"/>
                  </a:cubicBezTo>
                  <a:cubicBezTo>
                    <a:pt x="179" y="42"/>
                    <a:pt x="179" y="42"/>
                    <a:pt x="179" y="42"/>
                  </a:cubicBezTo>
                  <a:lnTo>
                    <a:pt x="128" y="42"/>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6" name="Freeform 137">
              <a:extLst>
                <a:ext uri="{FF2B5EF4-FFF2-40B4-BE49-F238E27FC236}">
                  <a16:creationId xmlns:a16="http://schemas.microsoft.com/office/drawing/2014/main" id="{BDF151B3-F8A2-40D7-9125-E1FE5147D758}"/>
                </a:ext>
              </a:extLst>
            </p:cNvPr>
            <p:cNvSpPr>
              <a:spLocks/>
            </p:cNvSpPr>
            <p:nvPr/>
          </p:nvSpPr>
          <p:spPr bwMode="auto">
            <a:xfrm>
              <a:off x="10426804" y="3980623"/>
              <a:ext cx="114242" cy="114895"/>
            </a:xfrm>
            <a:custGeom>
              <a:avLst/>
              <a:gdLst>
                <a:gd name="T0" fmla="*/ 0 w 175"/>
                <a:gd name="T1" fmla="*/ 176 h 176"/>
                <a:gd name="T2" fmla="*/ 175 w 175"/>
                <a:gd name="T3" fmla="*/ 0 h 176"/>
                <a:gd name="T4" fmla="*/ 0 w 175"/>
                <a:gd name="T5" fmla="*/ 0 h 176"/>
                <a:gd name="T6" fmla="*/ 0 w 175"/>
                <a:gd name="T7" fmla="*/ 176 h 176"/>
              </a:gdLst>
              <a:ahLst/>
              <a:cxnLst>
                <a:cxn ang="0">
                  <a:pos x="T0" y="T1"/>
                </a:cxn>
                <a:cxn ang="0">
                  <a:pos x="T2" y="T3"/>
                </a:cxn>
                <a:cxn ang="0">
                  <a:pos x="T4" y="T5"/>
                </a:cxn>
                <a:cxn ang="0">
                  <a:pos x="T6" y="T7"/>
                </a:cxn>
              </a:cxnLst>
              <a:rect l="0" t="0" r="r" b="b"/>
              <a:pathLst>
                <a:path w="175" h="176">
                  <a:moveTo>
                    <a:pt x="0" y="176"/>
                  </a:moveTo>
                  <a:lnTo>
                    <a:pt x="175" y="0"/>
                  </a:lnTo>
                  <a:lnTo>
                    <a:pt x="0" y="0"/>
                  </a:lnTo>
                  <a:lnTo>
                    <a:pt x="0" y="176"/>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7" name="Freeform 138">
              <a:extLst>
                <a:ext uri="{FF2B5EF4-FFF2-40B4-BE49-F238E27FC236}">
                  <a16:creationId xmlns:a16="http://schemas.microsoft.com/office/drawing/2014/main" id="{8F6222A4-085B-44C1-AC24-819BF6831FA7}"/>
                </a:ext>
              </a:extLst>
            </p:cNvPr>
            <p:cNvSpPr>
              <a:spLocks/>
            </p:cNvSpPr>
            <p:nvPr/>
          </p:nvSpPr>
          <p:spPr bwMode="auto">
            <a:xfrm>
              <a:off x="9423433" y="3064074"/>
              <a:ext cx="261778" cy="567947"/>
            </a:xfrm>
            <a:custGeom>
              <a:avLst/>
              <a:gdLst>
                <a:gd name="T0" fmla="*/ 252 w 296"/>
                <a:gd name="T1" fmla="*/ 640 h 640"/>
                <a:gd name="T2" fmla="*/ 44 w 296"/>
                <a:gd name="T3" fmla="*/ 640 h 640"/>
                <a:gd name="T4" fmla="*/ 0 w 296"/>
                <a:gd name="T5" fmla="*/ 596 h 640"/>
                <a:gd name="T6" fmla="*/ 0 w 296"/>
                <a:gd name="T7" fmla="*/ 44 h 640"/>
                <a:gd name="T8" fmla="*/ 44 w 296"/>
                <a:gd name="T9" fmla="*/ 0 h 640"/>
                <a:gd name="T10" fmla="*/ 252 w 296"/>
                <a:gd name="T11" fmla="*/ 0 h 640"/>
                <a:gd name="T12" fmla="*/ 296 w 296"/>
                <a:gd name="T13" fmla="*/ 44 h 640"/>
                <a:gd name="T14" fmla="*/ 296 w 296"/>
                <a:gd name="T15" fmla="*/ 596 h 640"/>
                <a:gd name="T16" fmla="*/ 252 w 296"/>
                <a:gd name="T17" fmla="*/ 64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640">
                  <a:moveTo>
                    <a:pt x="252" y="640"/>
                  </a:moveTo>
                  <a:cubicBezTo>
                    <a:pt x="44" y="640"/>
                    <a:pt x="44" y="640"/>
                    <a:pt x="44" y="640"/>
                  </a:cubicBezTo>
                  <a:cubicBezTo>
                    <a:pt x="20" y="640"/>
                    <a:pt x="0" y="620"/>
                    <a:pt x="0" y="596"/>
                  </a:cubicBezTo>
                  <a:cubicBezTo>
                    <a:pt x="0" y="44"/>
                    <a:pt x="0" y="44"/>
                    <a:pt x="0" y="44"/>
                  </a:cubicBezTo>
                  <a:cubicBezTo>
                    <a:pt x="0" y="20"/>
                    <a:pt x="20" y="0"/>
                    <a:pt x="44" y="0"/>
                  </a:cubicBezTo>
                  <a:cubicBezTo>
                    <a:pt x="252" y="0"/>
                    <a:pt x="252" y="0"/>
                    <a:pt x="252" y="0"/>
                  </a:cubicBezTo>
                  <a:cubicBezTo>
                    <a:pt x="276" y="0"/>
                    <a:pt x="296" y="20"/>
                    <a:pt x="296" y="44"/>
                  </a:cubicBezTo>
                  <a:cubicBezTo>
                    <a:pt x="296" y="596"/>
                    <a:pt x="296" y="596"/>
                    <a:pt x="296" y="596"/>
                  </a:cubicBezTo>
                  <a:cubicBezTo>
                    <a:pt x="296" y="620"/>
                    <a:pt x="276" y="640"/>
                    <a:pt x="252" y="640"/>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8" name="Freeform 139">
              <a:extLst>
                <a:ext uri="{FF2B5EF4-FFF2-40B4-BE49-F238E27FC236}">
                  <a16:creationId xmlns:a16="http://schemas.microsoft.com/office/drawing/2014/main" id="{2A3D6716-0A48-4178-A13D-F6C5059D0C31}"/>
                </a:ext>
              </a:extLst>
            </p:cNvPr>
            <p:cNvSpPr>
              <a:spLocks/>
            </p:cNvSpPr>
            <p:nvPr/>
          </p:nvSpPr>
          <p:spPr bwMode="auto">
            <a:xfrm>
              <a:off x="9423433" y="3064074"/>
              <a:ext cx="184746" cy="186051"/>
            </a:xfrm>
            <a:custGeom>
              <a:avLst/>
              <a:gdLst>
                <a:gd name="T0" fmla="*/ 209 w 209"/>
                <a:gd name="T1" fmla="*/ 0 h 209"/>
                <a:gd name="T2" fmla="*/ 44 w 209"/>
                <a:gd name="T3" fmla="*/ 0 h 209"/>
                <a:gd name="T4" fmla="*/ 0 w 209"/>
                <a:gd name="T5" fmla="*/ 44 h 209"/>
                <a:gd name="T6" fmla="*/ 0 w 209"/>
                <a:gd name="T7" fmla="*/ 209 h 209"/>
                <a:gd name="T8" fmla="*/ 209 w 209"/>
                <a:gd name="T9" fmla="*/ 0 h 209"/>
              </a:gdLst>
              <a:ahLst/>
              <a:cxnLst>
                <a:cxn ang="0">
                  <a:pos x="T0" y="T1"/>
                </a:cxn>
                <a:cxn ang="0">
                  <a:pos x="T2" y="T3"/>
                </a:cxn>
                <a:cxn ang="0">
                  <a:pos x="T4" y="T5"/>
                </a:cxn>
                <a:cxn ang="0">
                  <a:pos x="T6" y="T7"/>
                </a:cxn>
                <a:cxn ang="0">
                  <a:pos x="T8" y="T9"/>
                </a:cxn>
              </a:cxnLst>
              <a:rect l="0" t="0" r="r" b="b"/>
              <a:pathLst>
                <a:path w="209" h="209">
                  <a:moveTo>
                    <a:pt x="209" y="0"/>
                  </a:moveTo>
                  <a:cubicBezTo>
                    <a:pt x="44" y="0"/>
                    <a:pt x="44" y="0"/>
                    <a:pt x="44" y="0"/>
                  </a:cubicBezTo>
                  <a:cubicBezTo>
                    <a:pt x="20" y="0"/>
                    <a:pt x="0" y="20"/>
                    <a:pt x="0" y="44"/>
                  </a:cubicBezTo>
                  <a:cubicBezTo>
                    <a:pt x="0" y="209"/>
                    <a:pt x="0" y="209"/>
                    <a:pt x="0" y="209"/>
                  </a:cubicBezTo>
                  <a:lnTo>
                    <a:pt x="20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9" name="Freeform 140">
              <a:extLst>
                <a:ext uri="{FF2B5EF4-FFF2-40B4-BE49-F238E27FC236}">
                  <a16:creationId xmlns:a16="http://schemas.microsoft.com/office/drawing/2014/main" id="{97E195BD-FF8D-4A6E-81DD-E5619D2C5884}"/>
                </a:ext>
              </a:extLst>
            </p:cNvPr>
            <p:cNvSpPr>
              <a:spLocks/>
            </p:cNvSpPr>
            <p:nvPr/>
          </p:nvSpPr>
          <p:spPr bwMode="auto">
            <a:xfrm>
              <a:off x="9436489" y="3095409"/>
              <a:ext cx="236318" cy="509193"/>
            </a:xfrm>
            <a:custGeom>
              <a:avLst/>
              <a:gdLst>
                <a:gd name="T0" fmla="*/ 245 w 267"/>
                <a:gd name="T1" fmla="*/ 574 h 574"/>
                <a:gd name="T2" fmla="*/ 21 w 267"/>
                <a:gd name="T3" fmla="*/ 574 h 574"/>
                <a:gd name="T4" fmla="*/ 0 w 267"/>
                <a:gd name="T5" fmla="*/ 552 h 574"/>
                <a:gd name="T6" fmla="*/ 0 w 267"/>
                <a:gd name="T7" fmla="*/ 22 h 574"/>
                <a:gd name="T8" fmla="*/ 21 w 267"/>
                <a:gd name="T9" fmla="*/ 0 h 574"/>
                <a:gd name="T10" fmla="*/ 245 w 267"/>
                <a:gd name="T11" fmla="*/ 0 h 574"/>
                <a:gd name="T12" fmla="*/ 267 w 267"/>
                <a:gd name="T13" fmla="*/ 22 h 574"/>
                <a:gd name="T14" fmla="*/ 267 w 267"/>
                <a:gd name="T15" fmla="*/ 552 h 574"/>
                <a:gd name="T16" fmla="*/ 245 w 267"/>
                <a:gd name="T17" fmla="*/ 574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574">
                  <a:moveTo>
                    <a:pt x="245" y="574"/>
                  </a:moveTo>
                  <a:cubicBezTo>
                    <a:pt x="21" y="574"/>
                    <a:pt x="21" y="574"/>
                    <a:pt x="21" y="574"/>
                  </a:cubicBezTo>
                  <a:cubicBezTo>
                    <a:pt x="9" y="574"/>
                    <a:pt x="0" y="564"/>
                    <a:pt x="0" y="552"/>
                  </a:cubicBezTo>
                  <a:cubicBezTo>
                    <a:pt x="0" y="22"/>
                    <a:pt x="0" y="22"/>
                    <a:pt x="0" y="22"/>
                  </a:cubicBezTo>
                  <a:cubicBezTo>
                    <a:pt x="0" y="10"/>
                    <a:pt x="9" y="0"/>
                    <a:pt x="21" y="0"/>
                  </a:cubicBezTo>
                  <a:cubicBezTo>
                    <a:pt x="245" y="0"/>
                    <a:pt x="245" y="0"/>
                    <a:pt x="245" y="0"/>
                  </a:cubicBezTo>
                  <a:cubicBezTo>
                    <a:pt x="257" y="0"/>
                    <a:pt x="267" y="10"/>
                    <a:pt x="267" y="22"/>
                  </a:cubicBezTo>
                  <a:cubicBezTo>
                    <a:pt x="267" y="552"/>
                    <a:pt x="267" y="552"/>
                    <a:pt x="267" y="552"/>
                  </a:cubicBezTo>
                  <a:cubicBezTo>
                    <a:pt x="267" y="564"/>
                    <a:pt x="257" y="574"/>
                    <a:pt x="245" y="574"/>
                  </a:cubicBezTo>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0" name="Oval 141">
              <a:extLst>
                <a:ext uri="{FF2B5EF4-FFF2-40B4-BE49-F238E27FC236}">
                  <a16:creationId xmlns:a16="http://schemas.microsoft.com/office/drawing/2014/main" id="{A9570A6D-6702-4E68-A882-585021E9EA2C}"/>
                </a:ext>
              </a:extLst>
            </p:cNvPr>
            <p:cNvSpPr>
              <a:spLocks noChangeArrowheads="1"/>
            </p:cNvSpPr>
            <p:nvPr/>
          </p:nvSpPr>
          <p:spPr bwMode="auto">
            <a:xfrm>
              <a:off x="9475657" y="3077783"/>
              <a:ext cx="12404" cy="12403"/>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1" name="Oval 142">
              <a:extLst>
                <a:ext uri="{FF2B5EF4-FFF2-40B4-BE49-F238E27FC236}">
                  <a16:creationId xmlns:a16="http://schemas.microsoft.com/office/drawing/2014/main" id="{BFEECE5F-B435-4BE0-A476-2F196EE4DE45}"/>
                </a:ext>
              </a:extLst>
            </p:cNvPr>
            <p:cNvSpPr>
              <a:spLocks noChangeArrowheads="1"/>
            </p:cNvSpPr>
            <p:nvPr/>
          </p:nvSpPr>
          <p:spPr bwMode="auto">
            <a:xfrm>
              <a:off x="9598386" y="3077783"/>
              <a:ext cx="11751" cy="12403"/>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2" name="Oval 143">
              <a:extLst>
                <a:ext uri="{FF2B5EF4-FFF2-40B4-BE49-F238E27FC236}">
                  <a16:creationId xmlns:a16="http://schemas.microsoft.com/office/drawing/2014/main" id="{93D930B1-3572-4DC8-A0B6-EC5BB48DEBF8}"/>
                </a:ext>
              </a:extLst>
            </p:cNvPr>
            <p:cNvSpPr>
              <a:spLocks noChangeArrowheads="1"/>
            </p:cNvSpPr>
            <p:nvPr/>
          </p:nvSpPr>
          <p:spPr bwMode="auto">
            <a:xfrm>
              <a:off x="9498506" y="3080395"/>
              <a:ext cx="5876"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3" name="Oval 144">
              <a:extLst>
                <a:ext uri="{FF2B5EF4-FFF2-40B4-BE49-F238E27FC236}">
                  <a16:creationId xmlns:a16="http://schemas.microsoft.com/office/drawing/2014/main" id="{333C5EB6-75F3-4991-A830-B928EE1B8A2E}"/>
                </a:ext>
              </a:extLst>
            </p:cNvPr>
            <p:cNvSpPr>
              <a:spLocks noChangeArrowheads="1"/>
            </p:cNvSpPr>
            <p:nvPr/>
          </p:nvSpPr>
          <p:spPr bwMode="auto">
            <a:xfrm>
              <a:off x="9508951" y="3080395"/>
              <a:ext cx="6528"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4" name="Oval 145">
              <a:extLst>
                <a:ext uri="{FF2B5EF4-FFF2-40B4-BE49-F238E27FC236}">
                  <a16:creationId xmlns:a16="http://schemas.microsoft.com/office/drawing/2014/main" id="{91CA15FF-DF5E-40C3-AFF1-D440C056D9D8}"/>
                </a:ext>
              </a:extLst>
            </p:cNvPr>
            <p:cNvSpPr>
              <a:spLocks noChangeArrowheads="1"/>
            </p:cNvSpPr>
            <p:nvPr/>
          </p:nvSpPr>
          <p:spPr bwMode="auto">
            <a:xfrm>
              <a:off x="9623193" y="3080395"/>
              <a:ext cx="6528"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5" name="Oval 146">
              <a:extLst>
                <a:ext uri="{FF2B5EF4-FFF2-40B4-BE49-F238E27FC236}">
                  <a16:creationId xmlns:a16="http://schemas.microsoft.com/office/drawing/2014/main" id="{17515D4D-0D39-4845-82B0-14A0B9729BE8}"/>
                </a:ext>
              </a:extLst>
            </p:cNvPr>
            <p:cNvSpPr>
              <a:spLocks noChangeArrowheads="1"/>
            </p:cNvSpPr>
            <p:nvPr/>
          </p:nvSpPr>
          <p:spPr bwMode="auto">
            <a:xfrm>
              <a:off x="9463254" y="3080395"/>
              <a:ext cx="5876"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6" name="Freeform 147">
              <a:extLst>
                <a:ext uri="{FF2B5EF4-FFF2-40B4-BE49-F238E27FC236}">
                  <a16:creationId xmlns:a16="http://schemas.microsoft.com/office/drawing/2014/main" id="{DCD14C8E-AE18-4AF2-BD60-9B647D817D6C}"/>
                </a:ext>
              </a:extLst>
            </p:cNvPr>
            <p:cNvSpPr>
              <a:spLocks/>
            </p:cNvSpPr>
            <p:nvPr/>
          </p:nvSpPr>
          <p:spPr bwMode="auto">
            <a:xfrm>
              <a:off x="9533758" y="3081048"/>
              <a:ext cx="40474" cy="5222"/>
            </a:xfrm>
            <a:custGeom>
              <a:avLst/>
              <a:gdLst>
                <a:gd name="T0" fmla="*/ 43 w 46"/>
                <a:gd name="T1" fmla="*/ 6 h 6"/>
                <a:gd name="T2" fmla="*/ 3 w 46"/>
                <a:gd name="T3" fmla="*/ 6 h 6"/>
                <a:gd name="T4" fmla="*/ 0 w 46"/>
                <a:gd name="T5" fmla="*/ 3 h 6"/>
                <a:gd name="T6" fmla="*/ 3 w 46"/>
                <a:gd name="T7" fmla="*/ 0 h 6"/>
                <a:gd name="T8" fmla="*/ 43 w 46"/>
                <a:gd name="T9" fmla="*/ 0 h 6"/>
                <a:gd name="T10" fmla="*/ 46 w 46"/>
                <a:gd name="T11" fmla="*/ 3 h 6"/>
                <a:gd name="T12" fmla="*/ 43 w 4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6" h="6">
                  <a:moveTo>
                    <a:pt x="43" y="6"/>
                  </a:moveTo>
                  <a:cubicBezTo>
                    <a:pt x="3" y="6"/>
                    <a:pt x="3" y="6"/>
                    <a:pt x="3" y="6"/>
                  </a:cubicBezTo>
                  <a:cubicBezTo>
                    <a:pt x="1" y="6"/>
                    <a:pt x="0" y="4"/>
                    <a:pt x="0" y="3"/>
                  </a:cubicBezTo>
                  <a:cubicBezTo>
                    <a:pt x="0" y="1"/>
                    <a:pt x="1" y="0"/>
                    <a:pt x="3" y="0"/>
                  </a:cubicBezTo>
                  <a:cubicBezTo>
                    <a:pt x="43" y="0"/>
                    <a:pt x="43" y="0"/>
                    <a:pt x="43" y="0"/>
                  </a:cubicBezTo>
                  <a:cubicBezTo>
                    <a:pt x="45" y="0"/>
                    <a:pt x="46" y="1"/>
                    <a:pt x="46" y="3"/>
                  </a:cubicBezTo>
                  <a:cubicBezTo>
                    <a:pt x="46" y="4"/>
                    <a:pt x="45" y="6"/>
                    <a:pt x="43" y="6"/>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7" name="Freeform 148">
              <a:extLst>
                <a:ext uri="{FF2B5EF4-FFF2-40B4-BE49-F238E27FC236}">
                  <a16:creationId xmlns:a16="http://schemas.microsoft.com/office/drawing/2014/main" id="{8E657BA0-A9AE-4D3B-BC3C-AEB3D47B3C56}"/>
                </a:ext>
              </a:extLst>
            </p:cNvPr>
            <p:cNvSpPr>
              <a:spLocks/>
            </p:cNvSpPr>
            <p:nvPr/>
          </p:nvSpPr>
          <p:spPr bwMode="auto">
            <a:xfrm>
              <a:off x="9436489" y="3095409"/>
              <a:ext cx="141007" cy="141660"/>
            </a:xfrm>
            <a:custGeom>
              <a:avLst/>
              <a:gdLst>
                <a:gd name="T0" fmla="*/ 0 w 159"/>
                <a:gd name="T1" fmla="*/ 160 h 160"/>
                <a:gd name="T2" fmla="*/ 159 w 159"/>
                <a:gd name="T3" fmla="*/ 0 h 160"/>
                <a:gd name="T4" fmla="*/ 21 w 159"/>
                <a:gd name="T5" fmla="*/ 0 h 160"/>
                <a:gd name="T6" fmla="*/ 0 w 159"/>
                <a:gd name="T7" fmla="*/ 21 h 160"/>
                <a:gd name="T8" fmla="*/ 0 w 159"/>
                <a:gd name="T9" fmla="*/ 160 h 160"/>
              </a:gdLst>
              <a:ahLst/>
              <a:cxnLst>
                <a:cxn ang="0">
                  <a:pos x="T0" y="T1"/>
                </a:cxn>
                <a:cxn ang="0">
                  <a:pos x="T2" y="T3"/>
                </a:cxn>
                <a:cxn ang="0">
                  <a:pos x="T4" y="T5"/>
                </a:cxn>
                <a:cxn ang="0">
                  <a:pos x="T6" y="T7"/>
                </a:cxn>
                <a:cxn ang="0">
                  <a:pos x="T8" y="T9"/>
                </a:cxn>
              </a:cxnLst>
              <a:rect l="0" t="0" r="r" b="b"/>
              <a:pathLst>
                <a:path w="159" h="160">
                  <a:moveTo>
                    <a:pt x="0" y="160"/>
                  </a:moveTo>
                  <a:cubicBezTo>
                    <a:pt x="159" y="0"/>
                    <a:pt x="159" y="0"/>
                    <a:pt x="159" y="0"/>
                  </a:cubicBezTo>
                  <a:cubicBezTo>
                    <a:pt x="21" y="0"/>
                    <a:pt x="21" y="0"/>
                    <a:pt x="21" y="0"/>
                  </a:cubicBezTo>
                  <a:cubicBezTo>
                    <a:pt x="9" y="0"/>
                    <a:pt x="0" y="10"/>
                    <a:pt x="0" y="21"/>
                  </a:cubicBezTo>
                  <a:lnTo>
                    <a:pt x="0" y="160"/>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8" name="Freeform 149">
              <a:extLst>
                <a:ext uri="{FF2B5EF4-FFF2-40B4-BE49-F238E27FC236}">
                  <a16:creationId xmlns:a16="http://schemas.microsoft.com/office/drawing/2014/main" id="{EB70B4D3-DB4B-4152-8DB7-484848EE4227}"/>
                </a:ext>
              </a:extLst>
            </p:cNvPr>
            <p:cNvSpPr>
              <a:spLocks/>
            </p:cNvSpPr>
            <p:nvPr/>
          </p:nvSpPr>
          <p:spPr bwMode="auto">
            <a:xfrm>
              <a:off x="9227589" y="3805016"/>
              <a:ext cx="1021651" cy="787291"/>
            </a:xfrm>
            <a:custGeom>
              <a:avLst/>
              <a:gdLst>
                <a:gd name="T0" fmla="*/ 1154 w 1154"/>
                <a:gd name="T1" fmla="*/ 659 h 887"/>
                <a:gd name="T2" fmla="*/ 1154 w 1154"/>
                <a:gd name="T3" fmla="*/ 29 h 887"/>
                <a:gd name="T4" fmla="*/ 1125 w 1154"/>
                <a:gd name="T5" fmla="*/ 0 h 887"/>
                <a:gd name="T6" fmla="*/ 29 w 1154"/>
                <a:gd name="T7" fmla="*/ 0 h 887"/>
                <a:gd name="T8" fmla="*/ 0 w 1154"/>
                <a:gd name="T9" fmla="*/ 29 h 887"/>
                <a:gd name="T10" fmla="*/ 0 w 1154"/>
                <a:gd name="T11" fmla="*/ 659 h 887"/>
                <a:gd name="T12" fmla="*/ 29 w 1154"/>
                <a:gd name="T13" fmla="*/ 688 h 887"/>
                <a:gd name="T14" fmla="*/ 552 w 1154"/>
                <a:gd name="T15" fmla="*/ 688 h 887"/>
                <a:gd name="T16" fmla="*/ 552 w 1154"/>
                <a:gd name="T17" fmla="*/ 862 h 887"/>
                <a:gd name="T18" fmla="*/ 356 w 1154"/>
                <a:gd name="T19" fmla="*/ 862 h 887"/>
                <a:gd name="T20" fmla="*/ 356 w 1154"/>
                <a:gd name="T21" fmla="*/ 887 h 887"/>
                <a:gd name="T22" fmla="*/ 798 w 1154"/>
                <a:gd name="T23" fmla="*/ 887 h 887"/>
                <a:gd name="T24" fmla="*/ 798 w 1154"/>
                <a:gd name="T25" fmla="*/ 862 h 887"/>
                <a:gd name="T26" fmla="*/ 602 w 1154"/>
                <a:gd name="T27" fmla="*/ 862 h 887"/>
                <a:gd name="T28" fmla="*/ 602 w 1154"/>
                <a:gd name="T29" fmla="*/ 688 h 887"/>
                <a:gd name="T30" fmla="*/ 1125 w 1154"/>
                <a:gd name="T31" fmla="*/ 688 h 887"/>
                <a:gd name="T32" fmla="*/ 1154 w 1154"/>
                <a:gd name="T33" fmla="*/ 65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54" h="887">
                  <a:moveTo>
                    <a:pt x="1154" y="659"/>
                  </a:moveTo>
                  <a:cubicBezTo>
                    <a:pt x="1154" y="29"/>
                    <a:pt x="1154" y="29"/>
                    <a:pt x="1154" y="29"/>
                  </a:cubicBezTo>
                  <a:cubicBezTo>
                    <a:pt x="1154" y="13"/>
                    <a:pt x="1141" y="0"/>
                    <a:pt x="1125" y="0"/>
                  </a:cubicBezTo>
                  <a:cubicBezTo>
                    <a:pt x="29" y="0"/>
                    <a:pt x="29" y="0"/>
                    <a:pt x="29" y="0"/>
                  </a:cubicBezTo>
                  <a:cubicBezTo>
                    <a:pt x="13" y="0"/>
                    <a:pt x="0" y="13"/>
                    <a:pt x="0" y="29"/>
                  </a:cubicBezTo>
                  <a:cubicBezTo>
                    <a:pt x="0" y="659"/>
                    <a:pt x="0" y="659"/>
                    <a:pt x="0" y="659"/>
                  </a:cubicBezTo>
                  <a:cubicBezTo>
                    <a:pt x="0" y="675"/>
                    <a:pt x="13" y="688"/>
                    <a:pt x="29" y="688"/>
                  </a:cubicBezTo>
                  <a:cubicBezTo>
                    <a:pt x="552" y="688"/>
                    <a:pt x="552" y="688"/>
                    <a:pt x="552" y="688"/>
                  </a:cubicBezTo>
                  <a:cubicBezTo>
                    <a:pt x="552" y="862"/>
                    <a:pt x="552" y="862"/>
                    <a:pt x="552" y="862"/>
                  </a:cubicBezTo>
                  <a:cubicBezTo>
                    <a:pt x="356" y="862"/>
                    <a:pt x="356" y="862"/>
                    <a:pt x="356" y="862"/>
                  </a:cubicBezTo>
                  <a:cubicBezTo>
                    <a:pt x="356" y="887"/>
                    <a:pt x="356" y="887"/>
                    <a:pt x="356" y="887"/>
                  </a:cubicBezTo>
                  <a:cubicBezTo>
                    <a:pt x="798" y="887"/>
                    <a:pt x="798" y="887"/>
                    <a:pt x="798" y="887"/>
                  </a:cubicBezTo>
                  <a:cubicBezTo>
                    <a:pt x="798" y="862"/>
                    <a:pt x="798" y="862"/>
                    <a:pt x="798" y="862"/>
                  </a:cubicBezTo>
                  <a:cubicBezTo>
                    <a:pt x="602" y="862"/>
                    <a:pt x="602" y="862"/>
                    <a:pt x="602" y="862"/>
                  </a:cubicBezTo>
                  <a:cubicBezTo>
                    <a:pt x="602" y="688"/>
                    <a:pt x="602" y="688"/>
                    <a:pt x="602" y="688"/>
                  </a:cubicBezTo>
                  <a:cubicBezTo>
                    <a:pt x="1125" y="688"/>
                    <a:pt x="1125" y="688"/>
                    <a:pt x="1125" y="688"/>
                  </a:cubicBezTo>
                  <a:cubicBezTo>
                    <a:pt x="1141" y="688"/>
                    <a:pt x="1154" y="675"/>
                    <a:pt x="1154" y="659"/>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9" name="Freeform 150">
              <a:extLst>
                <a:ext uri="{FF2B5EF4-FFF2-40B4-BE49-F238E27FC236}">
                  <a16:creationId xmlns:a16="http://schemas.microsoft.com/office/drawing/2014/main" id="{66828F5D-3EAF-4EE6-9573-A295E155AD90}"/>
                </a:ext>
              </a:extLst>
            </p:cNvPr>
            <p:cNvSpPr>
              <a:spLocks/>
            </p:cNvSpPr>
            <p:nvPr/>
          </p:nvSpPr>
          <p:spPr bwMode="auto">
            <a:xfrm>
              <a:off x="9227589" y="3805016"/>
              <a:ext cx="308127" cy="308127"/>
            </a:xfrm>
            <a:custGeom>
              <a:avLst/>
              <a:gdLst>
                <a:gd name="T0" fmla="*/ 0 w 348"/>
                <a:gd name="T1" fmla="*/ 29 h 347"/>
                <a:gd name="T2" fmla="*/ 0 w 348"/>
                <a:gd name="T3" fmla="*/ 347 h 347"/>
                <a:gd name="T4" fmla="*/ 348 w 348"/>
                <a:gd name="T5" fmla="*/ 0 h 347"/>
                <a:gd name="T6" fmla="*/ 29 w 348"/>
                <a:gd name="T7" fmla="*/ 0 h 347"/>
                <a:gd name="T8" fmla="*/ 0 w 348"/>
                <a:gd name="T9" fmla="*/ 29 h 347"/>
              </a:gdLst>
              <a:ahLst/>
              <a:cxnLst>
                <a:cxn ang="0">
                  <a:pos x="T0" y="T1"/>
                </a:cxn>
                <a:cxn ang="0">
                  <a:pos x="T2" y="T3"/>
                </a:cxn>
                <a:cxn ang="0">
                  <a:pos x="T4" y="T5"/>
                </a:cxn>
                <a:cxn ang="0">
                  <a:pos x="T6" y="T7"/>
                </a:cxn>
                <a:cxn ang="0">
                  <a:pos x="T8" y="T9"/>
                </a:cxn>
              </a:cxnLst>
              <a:rect l="0" t="0" r="r" b="b"/>
              <a:pathLst>
                <a:path w="348" h="347">
                  <a:moveTo>
                    <a:pt x="0" y="29"/>
                  </a:moveTo>
                  <a:cubicBezTo>
                    <a:pt x="0" y="347"/>
                    <a:pt x="0" y="347"/>
                    <a:pt x="0" y="347"/>
                  </a:cubicBezTo>
                  <a:cubicBezTo>
                    <a:pt x="348" y="0"/>
                    <a:pt x="348" y="0"/>
                    <a:pt x="348" y="0"/>
                  </a:cubicBezTo>
                  <a:cubicBezTo>
                    <a:pt x="29" y="0"/>
                    <a:pt x="29" y="0"/>
                    <a:pt x="29" y="0"/>
                  </a:cubicBezTo>
                  <a:cubicBezTo>
                    <a:pt x="13" y="0"/>
                    <a:pt x="0" y="13"/>
                    <a:pt x="0" y="29"/>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10" name="Rectangle 151">
              <a:extLst>
                <a:ext uri="{FF2B5EF4-FFF2-40B4-BE49-F238E27FC236}">
                  <a16:creationId xmlns:a16="http://schemas.microsoft.com/office/drawing/2014/main" id="{8205EB93-E4DF-46BB-8565-609B05D31BD0}"/>
                </a:ext>
              </a:extLst>
            </p:cNvPr>
            <p:cNvSpPr>
              <a:spLocks noChangeArrowheads="1"/>
            </p:cNvSpPr>
            <p:nvPr/>
          </p:nvSpPr>
          <p:spPr bwMode="auto">
            <a:xfrm>
              <a:off x="9270674" y="3846796"/>
              <a:ext cx="934827" cy="518985"/>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11" name="Freeform 152">
              <a:extLst>
                <a:ext uri="{FF2B5EF4-FFF2-40B4-BE49-F238E27FC236}">
                  <a16:creationId xmlns:a16="http://schemas.microsoft.com/office/drawing/2014/main" id="{DB1C1D12-3791-413E-BEBB-7DE6B16849FF}"/>
                </a:ext>
              </a:extLst>
            </p:cNvPr>
            <p:cNvSpPr>
              <a:spLocks/>
            </p:cNvSpPr>
            <p:nvPr/>
          </p:nvSpPr>
          <p:spPr bwMode="auto">
            <a:xfrm>
              <a:off x="9270674" y="3846796"/>
              <a:ext cx="222609" cy="223914"/>
            </a:xfrm>
            <a:custGeom>
              <a:avLst/>
              <a:gdLst>
                <a:gd name="T0" fmla="*/ 341 w 341"/>
                <a:gd name="T1" fmla="*/ 0 h 343"/>
                <a:gd name="T2" fmla="*/ 0 w 341"/>
                <a:gd name="T3" fmla="*/ 0 h 343"/>
                <a:gd name="T4" fmla="*/ 0 w 341"/>
                <a:gd name="T5" fmla="*/ 343 h 343"/>
                <a:gd name="T6" fmla="*/ 341 w 341"/>
                <a:gd name="T7" fmla="*/ 0 h 343"/>
              </a:gdLst>
              <a:ahLst/>
              <a:cxnLst>
                <a:cxn ang="0">
                  <a:pos x="T0" y="T1"/>
                </a:cxn>
                <a:cxn ang="0">
                  <a:pos x="T2" y="T3"/>
                </a:cxn>
                <a:cxn ang="0">
                  <a:pos x="T4" y="T5"/>
                </a:cxn>
                <a:cxn ang="0">
                  <a:pos x="T6" y="T7"/>
                </a:cxn>
              </a:cxnLst>
              <a:rect l="0" t="0" r="r" b="b"/>
              <a:pathLst>
                <a:path w="341" h="343">
                  <a:moveTo>
                    <a:pt x="341" y="0"/>
                  </a:moveTo>
                  <a:lnTo>
                    <a:pt x="0" y="0"/>
                  </a:lnTo>
                  <a:lnTo>
                    <a:pt x="0" y="343"/>
                  </a:lnTo>
                  <a:lnTo>
                    <a:pt x="341" y="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12" name="Freeform 153">
              <a:extLst>
                <a:ext uri="{FF2B5EF4-FFF2-40B4-BE49-F238E27FC236}">
                  <a16:creationId xmlns:a16="http://schemas.microsoft.com/office/drawing/2014/main" id="{CDFF4AA9-5AC3-4296-8BF6-4B3EB8674E30}"/>
                </a:ext>
              </a:extLst>
            </p:cNvPr>
            <p:cNvSpPr>
              <a:spLocks/>
            </p:cNvSpPr>
            <p:nvPr/>
          </p:nvSpPr>
          <p:spPr bwMode="auto">
            <a:xfrm>
              <a:off x="9994643" y="4058960"/>
              <a:ext cx="247416" cy="253944"/>
            </a:xfrm>
            <a:custGeom>
              <a:avLst/>
              <a:gdLst>
                <a:gd name="T0" fmla="*/ 379 w 379"/>
                <a:gd name="T1" fmla="*/ 363 h 389"/>
                <a:gd name="T2" fmla="*/ 29 w 379"/>
                <a:gd name="T3" fmla="*/ 389 h 389"/>
                <a:gd name="T4" fmla="*/ 9 w 379"/>
                <a:gd name="T5" fmla="*/ 131 h 389"/>
                <a:gd name="T6" fmla="*/ 0 w 379"/>
                <a:gd name="T7" fmla="*/ 26 h 389"/>
                <a:gd name="T8" fmla="*/ 350 w 379"/>
                <a:gd name="T9" fmla="*/ 0 h 389"/>
                <a:gd name="T10" fmla="*/ 379 w 379"/>
                <a:gd name="T11" fmla="*/ 363 h 389"/>
              </a:gdLst>
              <a:ahLst/>
              <a:cxnLst>
                <a:cxn ang="0">
                  <a:pos x="T0" y="T1"/>
                </a:cxn>
                <a:cxn ang="0">
                  <a:pos x="T2" y="T3"/>
                </a:cxn>
                <a:cxn ang="0">
                  <a:pos x="T4" y="T5"/>
                </a:cxn>
                <a:cxn ang="0">
                  <a:pos x="T6" y="T7"/>
                </a:cxn>
                <a:cxn ang="0">
                  <a:pos x="T8" y="T9"/>
                </a:cxn>
                <a:cxn ang="0">
                  <a:pos x="T10" y="T11"/>
                </a:cxn>
              </a:cxnLst>
              <a:rect l="0" t="0" r="r" b="b"/>
              <a:pathLst>
                <a:path w="379" h="389">
                  <a:moveTo>
                    <a:pt x="379" y="363"/>
                  </a:moveTo>
                  <a:lnTo>
                    <a:pt x="29" y="389"/>
                  </a:lnTo>
                  <a:lnTo>
                    <a:pt x="9" y="131"/>
                  </a:lnTo>
                  <a:lnTo>
                    <a:pt x="0" y="26"/>
                  </a:lnTo>
                  <a:lnTo>
                    <a:pt x="350" y="0"/>
                  </a:lnTo>
                  <a:lnTo>
                    <a:pt x="379" y="3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13" name="Freeform 154">
              <a:extLst>
                <a:ext uri="{FF2B5EF4-FFF2-40B4-BE49-F238E27FC236}">
                  <a16:creationId xmlns:a16="http://schemas.microsoft.com/office/drawing/2014/main" id="{4F88D41B-2FBA-4356-8A97-F1B17FAABB16}"/>
                </a:ext>
              </a:extLst>
            </p:cNvPr>
            <p:cNvSpPr>
              <a:spLocks/>
            </p:cNvSpPr>
            <p:nvPr/>
          </p:nvSpPr>
          <p:spPr bwMode="auto">
            <a:xfrm>
              <a:off x="10036423" y="4218899"/>
              <a:ext cx="47002" cy="66587"/>
            </a:xfrm>
            <a:custGeom>
              <a:avLst/>
              <a:gdLst>
                <a:gd name="T0" fmla="*/ 64 w 72"/>
                <a:gd name="T1" fmla="*/ 0 h 102"/>
                <a:gd name="T2" fmla="*/ 0 w 72"/>
                <a:gd name="T3" fmla="*/ 5 h 102"/>
                <a:gd name="T4" fmla="*/ 7 w 72"/>
                <a:gd name="T5" fmla="*/ 102 h 102"/>
                <a:gd name="T6" fmla="*/ 72 w 72"/>
                <a:gd name="T7" fmla="*/ 96 h 102"/>
                <a:gd name="T8" fmla="*/ 64 w 72"/>
                <a:gd name="T9" fmla="*/ 0 h 102"/>
              </a:gdLst>
              <a:ahLst/>
              <a:cxnLst>
                <a:cxn ang="0">
                  <a:pos x="T0" y="T1"/>
                </a:cxn>
                <a:cxn ang="0">
                  <a:pos x="T2" y="T3"/>
                </a:cxn>
                <a:cxn ang="0">
                  <a:pos x="T4" y="T5"/>
                </a:cxn>
                <a:cxn ang="0">
                  <a:pos x="T6" y="T7"/>
                </a:cxn>
                <a:cxn ang="0">
                  <a:pos x="T8" y="T9"/>
                </a:cxn>
              </a:cxnLst>
              <a:rect l="0" t="0" r="r" b="b"/>
              <a:pathLst>
                <a:path w="72" h="102">
                  <a:moveTo>
                    <a:pt x="64" y="0"/>
                  </a:moveTo>
                  <a:lnTo>
                    <a:pt x="0" y="5"/>
                  </a:lnTo>
                  <a:lnTo>
                    <a:pt x="7" y="102"/>
                  </a:lnTo>
                  <a:lnTo>
                    <a:pt x="72" y="96"/>
                  </a:lnTo>
                  <a:lnTo>
                    <a:pt x="64" y="0"/>
                  </a:lnTo>
                  <a:close/>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14" name="Freeform 155">
              <a:extLst>
                <a:ext uri="{FF2B5EF4-FFF2-40B4-BE49-F238E27FC236}">
                  <a16:creationId xmlns:a16="http://schemas.microsoft.com/office/drawing/2014/main" id="{6E3CB024-FEA9-4CBC-9F88-D42350E2DCD7}"/>
                </a:ext>
              </a:extLst>
            </p:cNvPr>
            <p:cNvSpPr>
              <a:spLocks/>
            </p:cNvSpPr>
            <p:nvPr/>
          </p:nvSpPr>
          <p:spPr bwMode="auto">
            <a:xfrm>
              <a:off x="10093870" y="4143173"/>
              <a:ext cx="52225" cy="136438"/>
            </a:xfrm>
            <a:custGeom>
              <a:avLst/>
              <a:gdLst>
                <a:gd name="T0" fmla="*/ 65 w 80"/>
                <a:gd name="T1" fmla="*/ 0 h 209"/>
                <a:gd name="T2" fmla="*/ 0 w 80"/>
                <a:gd name="T3" fmla="*/ 4 h 209"/>
                <a:gd name="T4" fmla="*/ 17 w 80"/>
                <a:gd name="T5" fmla="*/ 209 h 209"/>
                <a:gd name="T6" fmla="*/ 80 w 80"/>
                <a:gd name="T7" fmla="*/ 205 h 209"/>
                <a:gd name="T8" fmla="*/ 65 w 80"/>
                <a:gd name="T9" fmla="*/ 0 h 209"/>
              </a:gdLst>
              <a:ahLst/>
              <a:cxnLst>
                <a:cxn ang="0">
                  <a:pos x="T0" y="T1"/>
                </a:cxn>
                <a:cxn ang="0">
                  <a:pos x="T2" y="T3"/>
                </a:cxn>
                <a:cxn ang="0">
                  <a:pos x="T4" y="T5"/>
                </a:cxn>
                <a:cxn ang="0">
                  <a:pos x="T6" y="T7"/>
                </a:cxn>
                <a:cxn ang="0">
                  <a:pos x="T8" y="T9"/>
                </a:cxn>
              </a:cxnLst>
              <a:rect l="0" t="0" r="r" b="b"/>
              <a:pathLst>
                <a:path w="80" h="209">
                  <a:moveTo>
                    <a:pt x="65" y="0"/>
                  </a:moveTo>
                  <a:lnTo>
                    <a:pt x="0" y="4"/>
                  </a:lnTo>
                  <a:lnTo>
                    <a:pt x="17" y="209"/>
                  </a:lnTo>
                  <a:lnTo>
                    <a:pt x="80" y="205"/>
                  </a:lnTo>
                  <a:lnTo>
                    <a:pt x="65"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24" name="Freeform 156">
              <a:extLst>
                <a:ext uri="{FF2B5EF4-FFF2-40B4-BE49-F238E27FC236}">
                  <a16:creationId xmlns:a16="http://schemas.microsoft.com/office/drawing/2014/main" id="{532B8FE7-09C9-4CA8-B872-AECD3816B782}"/>
                </a:ext>
              </a:extLst>
            </p:cNvPr>
            <p:cNvSpPr>
              <a:spLocks/>
            </p:cNvSpPr>
            <p:nvPr/>
          </p:nvSpPr>
          <p:spPr bwMode="auto">
            <a:xfrm>
              <a:off x="10153276" y="4080503"/>
              <a:ext cx="56795" cy="195191"/>
            </a:xfrm>
            <a:custGeom>
              <a:avLst/>
              <a:gdLst>
                <a:gd name="T0" fmla="*/ 64 w 87"/>
                <a:gd name="T1" fmla="*/ 0 h 299"/>
                <a:gd name="T2" fmla="*/ 0 w 87"/>
                <a:gd name="T3" fmla="*/ 5 h 299"/>
                <a:gd name="T4" fmla="*/ 23 w 87"/>
                <a:gd name="T5" fmla="*/ 299 h 299"/>
                <a:gd name="T6" fmla="*/ 87 w 87"/>
                <a:gd name="T7" fmla="*/ 293 h 299"/>
                <a:gd name="T8" fmla="*/ 64 w 87"/>
                <a:gd name="T9" fmla="*/ 0 h 299"/>
              </a:gdLst>
              <a:ahLst/>
              <a:cxnLst>
                <a:cxn ang="0">
                  <a:pos x="T0" y="T1"/>
                </a:cxn>
                <a:cxn ang="0">
                  <a:pos x="T2" y="T3"/>
                </a:cxn>
                <a:cxn ang="0">
                  <a:pos x="T4" y="T5"/>
                </a:cxn>
                <a:cxn ang="0">
                  <a:pos x="T6" y="T7"/>
                </a:cxn>
                <a:cxn ang="0">
                  <a:pos x="T8" y="T9"/>
                </a:cxn>
              </a:cxnLst>
              <a:rect l="0" t="0" r="r" b="b"/>
              <a:pathLst>
                <a:path w="87" h="299">
                  <a:moveTo>
                    <a:pt x="64" y="0"/>
                  </a:moveTo>
                  <a:lnTo>
                    <a:pt x="0" y="5"/>
                  </a:lnTo>
                  <a:lnTo>
                    <a:pt x="23" y="299"/>
                  </a:lnTo>
                  <a:lnTo>
                    <a:pt x="87" y="293"/>
                  </a:lnTo>
                  <a:lnTo>
                    <a:pt x="64"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25" name="Freeform 157">
              <a:extLst>
                <a:ext uri="{FF2B5EF4-FFF2-40B4-BE49-F238E27FC236}">
                  <a16:creationId xmlns:a16="http://schemas.microsoft.com/office/drawing/2014/main" id="{97DD0863-3C15-4F60-997C-71619FB747F4}"/>
                </a:ext>
              </a:extLst>
            </p:cNvPr>
            <p:cNvSpPr>
              <a:spLocks/>
            </p:cNvSpPr>
            <p:nvPr/>
          </p:nvSpPr>
          <p:spPr bwMode="auto">
            <a:xfrm>
              <a:off x="9667584" y="4013916"/>
              <a:ext cx="382548" cy="286584"/>
            </a:xfrm>
            <a:custGeom>
              <a:avLst/>
              <a:gdLst>
                <a:gd name="T0" fmla="*/ 372 w 432"/>
                <a:gd name="T1" fmla="*/ 18 h 323"/>
                <a:gd name="T2" fmla="*/ 366 w 432"/>
                <a:gd name="T3" fmla="*/ 18 h 323"/>
                <a:gd name="T4" fmla="*/ 368 w 432"/>
                <a:gd name="T5" fmla="*/ 13 h 323"/>
                <a:gd name="T6" fmla="*/ 369 w 432"/>
                <a:gd name="T7" fmla="*/ 7 h 323"/>
                <a:gd name="T8" fmla="*/ 322 w 432"/>
                <a:gd name="T9" fmla="*/ 1 h 323"/>
                <a:gd name="T10" fmla="*/ 317 w 432"/>
                <a:gd name="T11" fmla="*/ 1 h 323"/>
                <a:gd name="T12" fmla="*/ 283 w 432"/>
                <a:gd name="T13" fmla="*/ 6 h 323"/>
                <a:gd name="T14" fmla="*/ 250 w 432"/>
                <a:gd name="T15" fmla="*/ 1 h 323"/>
                <a:gd name="T16" fmla="*/ 242 w 432"/>
                <a:gd name="T17" fmla="*/ 2 h 323"/>
                <a:gd name="T18" fmla="*/ 204 w 432"/>
                <a:gd name="T19" fmla="*/ 22 h 323"/>
                <a:gd name="T20" fmla="*/ 199 w 432"/>
                <a:gd name="T21" fmla="*/ 27 h 323"/>
                <a:gd name="T22" fmla="*/ 178 w 432"/>
                <a:gd name="T23" fmla="*/ 67 h 323"/>
                <a:gd name="T24" fmla="*/ 64 w 432"/>
                <a:gd name="T25" fmla="*/ 197 h 323"/>
                <a:gd name="T26" fmla="*/ 0 w 432"/>
                <a:gd name="T27" fmla="*/ 236 h 323"/>
                <a:gd name="T28" fmla="*/ 40 w 432"/>
                <a:gd name="T29" fmla="*/ 323 h 323"/>
                <a:gd name="T30" fmla="*/ 92 w 432"/>
                <a:gd name="T31" fmla="*/ 305 h 323"/>
                <a:gd name="T32" fmla="*/ 238 w 432"/>
                <a:gd name="T33" fmla="*/ 287 h 323"/>
                <a:gd name="T34" fmla="*/ 292 w 432"/>
                <a:gd name="T35" fmla="*/ 280 h 323"/>
                <a:gd name="T36" fmla="*/ 358 w 432"/>
                <a:gd name="T37" fmla="*/ 249 h 323"/>
                <a:gd name="T38" fmla="*/ 376 w 432"/>
                <a:gd name="T39" fmla="*/ 240 h 323"/>
                <a:gd name="T40" fmla="*/ 378 w 432"/>
                <a:gd name="T41" fmla="*/ 236 h 323"/>
                <a:gd name="T42" fmla="*/ 416 w 432"/>
                <a:gd name="T43" fmla="*/ 178 h 323"/>
                <a:gd name="T44" fmla="*/ 402 w 432"/>
                <a:gd name="T45" fmla="*/ 173 h 323"/>
                <a:gd name="T46" fmla="*/ 378 w 432"/>
                <a:gd name="T47" fmla="*/ 174 h 323"/>
                <a:gd name="T48" fmla="*/ 378 w 432"/>
                <a:gd name="T49" fmla="*/ 174 h 323"/>
                <a:gd name="T50" fmla="*/ 373 w 432"/>
                <a:gd name="T51" fmla="*/ 178 h 323"/>
                <a:gd name="T52" fmla="*/ 372 w 432"/>
                <a:gd name="T53" fmla="*/ 179 h 323"/>
                <a:gd name="T54" fmla="*/ 367 w 432"/>
                <a:gd name="T55" fmla="*/ 184 h 323"/>
                <a:gd name="T56" fmla="*/ 354 w 432"/>
                <a:gd name="T57" fmla="*/ 202 h 323"/>
                <a:gd name="T58" fmla="*/ 302 w 432"/>
                <a:gd name="T59" fmla="*/ 211 h 323"/>
                <a:gd name="T60" fmla="*/ 298 w 432"/>
                <a:gd name="T61" fmla="*/ 210 h 323"/>
                <a:gd name="T62" fmla="*/ 293 w 432"/>
                <a:gd name="T63" fmla="*/ 208 h 323"/>
                <a:gd name="T64" fmla="*/ 281 w 432"/>
                <a:gd name="T65" fmla="*/ 200 h 323"/>
                <a:gd name="T66" fmla="*/ 274 w 432"/>
                <a:gd name="T67" fmla="*/ 163 h 323"/>
                <a:gd name="T68" fmla="*/ 276 w 432"/>
                <a:gd name="T69" fmla="*/ 160 h 323"/>
                <a:gd name="T70" fmla="*/ 286 w 432"/>
                <a:gd name="T71" fmla="*/ 142 h 323"/>
                <a:gd name="T72" fmla="*/ 304 w 432"/>
                <a:gd name="T73" fmla="*/ 110 h 323"/>
                <a:gd name="T74" fmla="*/ 342 w 432"/>
                <a:gd name="T75" fmla="*/ 95 h 323"/>
                <a:gd name="T76" fmla="*/ 373 w 432"/>
                <a:gd name="T77" fmla="*/ 106 h 323"/>
                <a:gd name="T78" fmla="*/ 370 w 432"/>
                <a:gd name="T79" fmla="*/ 70 h 323"/>
                <a:gd name="T80" fmla="*/ 381 w 432"/>
                <a:gd name="T81" fmla="*/ 70 h 323"/>
                <a:gd name="T82" fmla="*/ 364 w 432"/>
                <a:gd name="T83" fmla="*/ 56 h 323"/>
                <a:gd name="T84" fmla="*/ 372 w 432"/>
                <a:gd name="T85" fmla="*/ 54 h 323"/>
                <a:gd name="T86" fmla="*/ 409 w 432"/>
                <a:gd name="T87" fmla="*/ 58 h 323"/>
                <a:gd name="T88" fmla="*/ 430 w 432"/>
                <a:gd name="T89" fmla="*/ 42 h 323"/>
                <a:gd name="T90" fmla="*/ 432 w 432"/>
                <a:gd name="T91" fmla="*/ 32 h 323"/>
                <a:gd name="T92" fmla="*/ 372 w 432"/>
                <a:gd name="T93" fmla="*/ 18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2" h="323">
                  <a:moveTo>
                    <a:pt x="372" y="18"/>
                  </a:moveTo>
                  <a:cubicBezTo>
                    <a:pt x="370" y="18"/>
                    <a:pt x="368" y="18"/>
                    <a:pt x="366" y="18"/>
                  </a:cubicBezTo>
                  <a:cubicBezTo>
                    <a:pt x="367" y="16"/>
                    <a:pt x="367" y="15"/>
                    <a:pt x="368" y="13"/>
                  </a:cubicBezTo>
                  <a:cubicBezTo>
                    <a:pt x="369" y="7"/>
                    <a:pt x="369" y="7"/>
                    <a:pt x="369" y="7"/>
                  </a:cubicBezTo>
                  <a:cubicBezTo>
                    <a:pt x="322" y="1"/>
                    <a:pt x="322" y="1"/>
                    <a:pt x="322" y="1"/>
                  </a:cubicBezTo>
                  <a:cubicBezTo>
                    <a:pt x="320" y="1"/>
                    <a:pt x="319" y="1"/>
                    <a:pt x="317" y="1"/>
                  </a:cubicBezTo>
                  <a:cubicBezTo>
                    <a:pt x="283" y="6"/>
                    <a:pt x="283" y="6"/>
                    <a:pt x="283" y="6"/>
                  </a:cubicBezTo>
                  <a:cubicBezTo>
                    <a:pt x="250" y="1"/>
                    <a:pt x="250" y="1"/>
                    <a:pt x="250" y="1"/>
                  </a:cubicBezTo>
                  <a:cubicBezTo>
                    <a:pt x="247" y="0"/>
                    <a:pt x="244" y="1"/>
                    <a:pt x="242" y="2"/>
                  </a:cubicBezTo>
                  <a:cubicBezTo>
                    <a:pt x="204" y="22"/>
                    <a:pt x="204" y="22"/>
                    <a:pt x="204" y="22"/>
                  </a:cubicBezTo>
                  <a:cubicBezTo>
                    <a:pt x="202" y="23"/>
                    <a:pt x="200" y="25"/>
                    <a:pt x="199" y="27"/>
                  </a:cubicBezTo>
                  <a:cubicBezTo>
                    <a:pt x="178" y="67"/>
                    <a:pt x="178" y="67"/>
                    <a:pt x="178" y="67"/>
                  </a:cubicBezTo>
                  <a:cubicBezTo>
                    <a:pt x="64" y="197"/>
                    <a:pt x="64" y="197"/>
                    <a:pt x="64" y="197"/>
                  </a:cubicBezTo>
                  <a:cubicBezTo>
                    <a:pt x="0" y="236"/>
                    <a:pt x="0" y="236"/>
                    <a:pt x="0" y="236"/>
                  </a:cubicBezTo>
                  <a:cubicBezTo>
                    <a:pt x="40" y="323"/>
                    <a:pt x="40" y="323"/>
                    <a:pt x="40" y="323"/>
                  </a:cubicBezTo>
                  <a:cubicBezTo>
                    <a:pt x="92" y="305"/>
                    <a:pt x="92" y="305"/>
                    <a:pt x="92" y="305"/>
                  </a:cubicBezTo>
                  <a:cubicBezTo>
                    <a:pt x="238" y="287"/>
                    <a:pt x="238" y="287"/>
                    <a:pt x="238" y="287"/>
                  </a:cubicBezTo>
                  <a:cubicBezTo>
                    <a:pt x="292" y="280"/>
                    <a:pt x="292" y="280"/>
                    <a:pt x="292" y="280"/>
                  </a:cubicBezTo>
                  <a:cubicBezTo>
                    <a:pt x="358" y="249"/>
                    <a:pt x="358" y="249"/>
                    <a:pt x="358" y="249"/>
                  </a:cubicBezTo>
                  <a:cubicBezTo>
                    <a:pt x="376" y="240"/>
                    <a:pt x="376" y="240"/>
                    <a:pt x="376" y="240"/>
                  </a:cubicBezTo>
                  <a:cubicBezTo>
                    <a:pt x="378" y="236"/>
                    <a:pt x="378" y="236"/>
                    <a:pt x="378" y="236"/>
                  </a:cubicBezTo>
                  <a:cubicBezTo>
                    <a:pt x="416" y="178"/>
                    <a:pt x="416" y="178"/>
                    <a:pt x="416" y="178"/>
                  </a:cubicBezTo>
                  <a:cubicBezTo>
                    <a:pt x="402" y="173"/>
                    <a:pt x="402" y="173"/>
                    <a:pt x="402" y="173"/>
                  </a:cubicBezTo>
                  <a:cubicBezTo>
                    <a:pt x="394" y="170"/>
                    <a:pt x="386" y="171"/>
                    <a:pt x="378" y="174"/>
                  </a:cubicBezTo>
                  <a:cubicBezTo>
                    <a:pt x="378" y="174"/>
                    <a:pt x="378" y="174"/>
                    <a:pt x="378" y="174"/>
                  </a:cubicBezTo>
                  <a:cubicBezTo>
                    <a:pt x="376" y="175"/>
                    <a:pt x="375" y="177"/>
                    <a:pt x="373" y="178"/>
                  </a:cubicBezTo>
                  <a:cubicBezTo>
                    <a:pt x="373" y="178"/>
                    <a:pt x="372" y="179"/>
                    <a:pt x="372" y="179"/>
                  </a:cubicBezTo>
                  <a:cubicBezTo>
                    <a:pt x="370" y="181"/>
                    <a:pt x="369" y="182"/>
                    <a:pt x="367" y="184"/>
                  </a:cubicBezTo>
                  <a:cubicBezTo>
                    <a:pt x="354" y="202"/>
                    <a:pt x="354" y="202"/>
                    <a:pt x="354" y="202"/>
                  </a:cubicBezTo>
                  <a:cubicBezTo>
                    <a:pt x="302" y="211"/>
                    <a:pt x="302" y="211"/>
                    <a:pt x="302" y="211"/>
                  </a:cubicBezTo>
                  <a:cubicBezTo>
                    <a:pt x="298" y="210"/>
                    <a:pt x="298" y="210"/>
                    <a:pt x="298" y="210"/>
                  </a:cubicBezTo>
                  <a:cubicBezTo>
                    <a:pt x="293" y="208"/>
                    <a:pt x="293" y="208"/>
                    <a:pt x="293" y="208"/>
                  </a:cubicBezTo>
                  <a:cubicBezTo>
                    <a:pt x="288" y="206"/>
                    <a:pt x="284" y="203"/>
                    <a:pt x="281" y="200"/>
                  </a:cubicBezTo>
                  <a:cubicBezTo>
                    <a:pt x="272" y="190"/>
                    <a:pt x="269" y="176"/>
                    <a:pt x="274" y="163"/>
                  </a:cubicBezTo>
                  <a:cubicBezTo>
                    <a:pt x="275" y="162"/>
                    <a:pt x="275" y="161"/>
                    <a:pt x="276" y="160"/>
                  </a:cubicBezTo>
                  <a:cubicBezTo>
                    <a:pt x="286" y="142"/>
                    <a:pt x="286" y="142"/>
                    <a:pt x="286" y="142"/>
                  </a:cubicBezTo>
                  <a:cubicBezTo>
                    <a:pt x="304" y="110"/>
                    <a:pt x="304" y="110"/>
                    <a:pt x="304" y="110"/>
                  </a:cubicBezTo>
                  <a:cubicBezTo>
                    <a:pt x="342" y="95"/>
                    <a:pt x="342" y="95"/>
                    <a:pt x="342" y="95"/>
                  </a:cubicBezTo>
                  <a:cubicBezTo>
                    <a:pt x="373" y="106"/>
                    <a:pt x="373" y="106"/>
                    <a:pt x="373" y="106"/>
                  </a:cubicBezTo>
                  <a:cubicBezTo>
                    <a:pt x="370" y="70"/>
                    <a:pt x="370" y="70"/>
                    <a:pt x="370" y="70"/>
                  </a:cubicBezTo>
                  <a:cubicBezTo>
                    <a:pt x="381" y="70"/>
                    <a:pt x="381" y="70"/>
                    <a:pt x="381" y="70"/>
                  </a:cubicBezTo>
                  <a:cubicBezTo>
                    <a:pt x="364" y="56"/>
                    <a:pt x="364" y="56"/>
                    <a:pt x="364" y="56"/>
                  </a:cubicBezTo>
                  <a:cubicBezTo>
                    <a:pt x="372" y="54"/>
                    <a:pt x="372" y="54"/>
                    <a:pt x="372" y="54"/>
                  </a:cubicBezTo>
                  <a:cubicBezTo>
                    <a:pt x="409" y="58"/>
                    <a:pt x="409" y="58"/>
                    <a:pt x="409" y="58"/>
                  </a:cubicBezTo>
                  <a:cubicBezTo>
                    <a:pt x="419" y="58"/>
                    <a:pt x="427" y="51"/>
                    <a:pt x="430" y="42"/>
                  </a:cubicBezTo>
                  <a:cubicBezTo>
                    <a:pt x="432" y="32"/>
                    <a:pt x="432" y="32"/>
                    <a:pt x="432" y="32"/>
                  </a:cubicBezTo>
                  <a:lnTo>
                    <a:pt x="372" y="18"/>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26" name="Freeform 158">
              <a:extLst>
                <a:ext uri="{FF2B5EF4-FFF2-40B4-BE49-F238E27FC236}">
                  <a16:creationId xmlns:a16="http://schemas.microsoft.com/office/drawing/2014/main" id="{7EE18380-44AA-42FC-80B6-4FD97512B743}"/>
                </a:ext>
              </a:extLst>
            </p:cNvPr>
            <p:cNvSpPr>
              <a:spLocks/>
            </p:cNvSpPr>
            <p:nvPr/>
          </p:nvSpPr>
          <p:spPr bwMode="auto">
            <a:xfrm>
              <a:off x="9948293" y="4043945"/>
              <a:ext cx="97922" cy="28071"/>
            </a:xfrm>
            <a:custGeom>
              <a:avLst/>
              <a:gdLst>
                <a:gd name="T0" fmla="*/ 92 w 111"/>
                <a:gd name="T1" fmla="*/ 24 h 32"/>
                <a:gd name="T2" fmla="*/ 111 w 111"/>
                <a:gd name="T3" fmla="*/ 13 h 32"/>
                <a:gd name="T4" fmla="*/ 46 w 111"/>
                <a:gd name="T5" fmla="*/ 1 h 32"/>
                <a:gd name="T6" fmla="*/ 34 w 111"/>
                <a:gd name="T7" fmla="*/ 2 h 32"/>
                <a:gd name="T8" fmla="*/ 17 w 111"/>
                <a:gd name="T9" fmla="*/ 8 h 32"/>
                <a:gd name="T10" fmla="*/ 0 w 111"/>
                <a:gd name="T11" fmla="*/ 32 h 32"/>
                <a:gd name="T12" fmla="*/ 28 w 111"/>
                <a:gd name="T13" fmla="*/ 18 h 32"/>
                <a:gd name="T14" fmla="*/ 45 w 111"/>
                <a:gd name="T15" fmla="*/ 20 h 32"/>
                <a:gd name="T16" fmla="*/ 47 w 111"/>
                <a:gd name="T17" fmla="*/ 22 h 32"/>
                <a:gd name="T18" fmla="*/ 55 w 111"/>
                <a:gd name="T19" fmla="*/ 20 h 32"/>
                <a:gd name="T20" fmla="*/ 92 w 111"/>
                <a:gd name="T21"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1" h="32">
                  <a:moveTo>
                    <a:pt x="92" y="24"/>
                  </a:moveTo>
                  <a:cubicBezTo>
                    <a:pt x="100" y="24"/>
                    <a:pt x="107" y="20"/>
                    <a:pt x="111" y="13"/>
                  </a:cubicBezTo>
                  <a:cubicBezTo>
                    <a:pt x="46" y="1"/>
                    <a:pt x="46" y="1"/>
                    <a:pt x="46" y="1"/>
                  </a:cubicBezTo>
                  <a:cubicBezTo>
                    <a:pt x="42" y="0"/>
                    <a:pt x="38" y="1"/>
                    <a:pt x="34" y="2"/>
                  </a:cubicBezTo>
                  <a:cubicBezTo>
                    <a:pt x="17" y="8"/>
                    <a:pt x="17" y="8"/>
                    <a:pt x="17" y="8"/>
                  </a:cubicBezTo>
                  <a:cubicBezTo>
                    <a:pt x="7" y="11"/>
                    <a:pt x="0" y="21"/>
                    <a:pt x="0" y="32"/>
                  </a:cubicBezTo>
                  <a:cubicBezTo>
                    <a:pt x="28" y="18"/>
                    <a:pt x="28" y="18"/>
                    <a:pt x="28" y="18"/>
                  </a:cubicBezTo>
                  <a:cubicBezTo>
                    <a:pt x="34" y="16"/>
                    <a:pt x="40" y="17"/>
                    <a:pt x="45" y="20"/>
                  </a:cubicBezTo>
                  <a:cubicBezTo>
                    <a:pt x="47" y="22"/>
                    <a:pt x="47" y="22"/>
                    <a:pt x="47" y="22"/>
                  </a:cubicBezTo>
                  <a:cubicBezTo>
                    <a:pt x="55" y="20"/>
                    <a:pt x="55" y="20"/>
                    <a:pt x="55" y="20"/>
                  </a:cubicBezTo>
                  <a:lnTo>
                    <a:pt x="92" y="24"/>
                  </a:lnTo>
                  <a:close/>
                </a:path>
              </a:pathLst>
            </a:custGeom>
            <a:solidFill>
              <a:srgbClr val="E3C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27" name="Freeform 159">
              <a:extLst>
                <a:ext uri="{FF2B5EF4-FFF2-40B4-BE49-F238E27FC236}">
                  <a16:creationId xmlns:a16="http://schemas.microsoft.com/office/drawing/2014/main" id="{099E7A52-6FAD-43D5-8AA5-9ACC304992AF}"/>
                </a:ext>
              </a:extLst>
            </p:cNvPr>
            <p:cNvSpPr>
              <a:spLocks noEditPoints="1"/>
            </p:cNvSpPr>
            <p:nvPr/>
          </p:nvSpPr>
          <p:spPr bwMode="auto">
            <a:xfrm>
              <a:off x="10194403" y="3997596"/>
              <a:ext cx="317267" cy="312697"/>
            </a:xfrm>
            <a:custGeom>
              <a:avLst/>
              <a:gdLst>
                <a:gd name="T0" fmla="*/ 241 w 359"/>
                <a:gd name="T1" fmla="*/ 115 h 352"/>
                <a:gd name="T2" fmla="*/ 235 w 359"/>
                <a:gd name="T3" fmla="*/ 71 h 352"/>
                <a:gd name="T4" fmla="*/ 232 w 359"/>
                <a:gd name="T5" fmla="*/ 64 h 352"/>
                <a:gd name="T6" fmla="*/ 205 w 359"/>
                <a:gd name="T7" fmla="*/ 32 h 352"/>
                <a:gd name="T8" fmla="*/ 198 w 359"/>
                <a:gd name="T9" fmla="*/ 28 h 352"/>
                <a:gd name="T10" fmla="*/ 163 w 359"/>
                <a:gd name="T11" fmla="*/ 21 h 352"/>
                <a:gd name="T12" fmla="*/ 162 w 359"/>
                <a:gd name="T13" fmla="*/ 24 h 352"/>
                <a:gd name="T14" fmla="*/ 163 w 359"/>
                <a:gd name="T15" fmla="*/ 36 h 352"/>
                <a:gd name="T16" fmla="*/ 127 w 359"/>
                <a:gd name="T17" fmla="*/ 14 h 352"/>
                <a:gd name="T18" fmla="*/ 123 w 359"/>
                <a:gd name="T19" fmla="*/ 12 h 352"/>
                <a:gd name="T20" fmla="*/ 77 w 359"/>
                <a:gd name="T21" fmla="*/ 0 h 352"/>
                <a:gd name="T22" fmla="*/ 76 w 359"/>
                <a:gd name="T23" fmla="*/ 6 h 352"/>
                <a:gd name="T24" fmla="*/ 87 w 359"/>
                <a:gd name="T25" fmla="*/ 30 h 352"/>
                <a:gd name="T26" fmla="*/ 115 w 359"/>
                <a:gd name="T27" fmla="*/ 44 h 352"/>
                <a:gd name="T28" fmla="*/ 148 w 359"/>
                <a:gd name="T29" fmla="*/ 70 h 352"/>
                <a:gd name="T30" fmla="*/ 164 w 359"/>
                <a:gd name="T31" fmla="*/ 97 h 352"/>
                <a:gd name="T32" fmla="*/ 137 w 359"/>
                <a:gd name="T33" fmla="*/ 68 h 352"/>
                <a:gd name="T34" fmla="*/ 131 w 359"/>
                <a:gd name="T35" fmla="*/ 63 h 352"/>
                <a:gd name="T36" fmla="*/ 70 w 359"/>
                <a:gd name="T37" fmla="*/ 39 h 352"/>
                <a:gd name="T38" fmla="*/ 63 w 359"/>
                <a:gd name="T39" fmla="*/ 37 h 352"/>
                <a:gd name="T40" fmla="*/ 1 w 359"/>
                <a:gd name="T41" fmla="*/ 35 h 352"/>
                <a:gd name="T42" fmla="*/ 0 w 359"/>
                <a:gd name="T43" fmla="*/ 45 h 352"/>
                <a:gd name="T44" fmla="*/ 16 w 359"/>
                <a:gd name="T45" fmla="*/ 66 h 352"/>
                <a:gd name="T46" fmla="*/ 53 w 359"/>
                <a:gd name="T47" fmla="*/ 72 h 352"/>
                <a:gd name="T48" fmla="*/ 105 w 359"/>
                <a:gd name="T49" fmla="*/ 99 h 352"/>
                <a:gd name="T50" fmla="*/ 116 w 359"/>
                <a:gd name="T51" fmla="*/ 114 h 352"/>
                <a:gd name="T52" fmla="*/ 75 w 359"/>
                <a:gd name="T53" fmla="*/ 100 h 352"/>
                <a:gd name="T54" fmla="*/ 61 w 359"/>
                <a:gd name="T55" fmla="*/ 104 h 352"/>
                <a:gd name="T56" fmla="*/ 37 w 359"/>
                <a:gd name="T57" fmla="*/ 122 h 352"/>
                <a:gd name="T58" fmla="*/ 40 w 359"/>
                <a:gd name="T59" fmla="*/ 161 h 352"/>
                <a:gd name="T60" fmla="*/ 41 w 359"/>
                <a:gd name="T61" fmla="*/ 160 h 352"/>
                <a:gd name="T62" fmla="*/ 77 w 359"/>
                <a:gd name="T63" fmla="*/ 146 h 352"/>
                <a:gd name="T64" fmla="*/ 115 w 359"/>
                <a:gd name="T65" fmla="*/ 161 h 352"/>
                <a:gd name="T66" fmla="*/ 145 w 359"/>
                <a:gd name="T67" fmla="*/ 210 h 352"/>
                <a:gd name="T68" fmla="*/ 129 w 359"/>
                <a:gd name="T69" fmla="*/ 259 h 352"/>
                <a:gd name="T70" fmla="*/ 120 w 359"/>
                <a:gd name="T71" fmla="*/ 262 h 352"/>
                <a:gd name="T72" fmla="*/ 68 w 359"/>
                <a:gd name="T73" fmla="*/ 253 h 352"/>
                <a:gd name="T74" fmla="*/ 54 w 359"/>
                <a:gd name="T75" fmla="*/ 236 h 352"/>
                <a:gd name="T76" fmla="*/ 19 w 359"/>
                <a:gd name="T77" fmla="*/ 226 h 352"/>
                <a:gd name="T78" fmla="*/ 5 w 359"/>
                <a:gd name="T79" fmla="*/ 231 h 352"/>
                <a:gd name="T80" fmla="*/ 47 w 359"/>
                <a:gd name="T81" fmla="*/ 292 h 352"/>
                <a:gd name="T82" fmla="*/ 131 w 359"/>
                <a:gd name="T83" fmla="*/ 331 h 352"/>
                <a:gd name="T84" fmla="*/ 331 w 359"/>
                <a:gd name="T85" fmla="*/ 352 h 352"/>
                <a:gd name="T86" fmla="*/ 359 w 359"/>
                <a:gd name="T87" fmla="*/ 246 h 352"/>
                <a:gd name="T88" fmla="*/ 241 w 359"/>
                <a:gd name="T89" fmla="*/ 115 h 352"/>
                <a:gd name="T90" fmla="*/ 182 w 359"/>
                <a:gd name="T91" fmla="*/ 51 h 352"/>
                <a:gd name="T92" fmla="*/ 190 w 359"/>
                <a:gd name="T93" fmla="*/ 54 h 352"/>
                <a:gd name="T94" fmla="*/ 204 w 359"/>
                <a:gd name="T95" fmla="*/ 82 h 352"/>
                <a:gd name="T96" fmla="*/ 204 w 359"/>
                <a:gd name="T97" fmla="*/ 90 h 352"/>
                <a:gd name="T98" fmla="*/ 182 w 359"/>
                <a:gd name="T99" fmla="*/ 5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9" h="352">
                  <a:moveTo>
                    <a:pt x="241" y="115"/>
                  </a:moveTo>
                  <a:cubicBezTo>
                    <a:pt x="235" y="71"/>
                    <a:pt x="235" y="71"/>
                    <a:pt x="235" y="71"/>
                  </a:cubicBezTo>
                  <a:cubicBezTo>
                    <a:pt x="235" y="68"/>
                    <a:pt x="234" y="66"/>
                    <a:pt x="232" y="64"/>
                  </a:cubicBezTo>
                  <a:cubicBezTo>
                    <a:pt x="205" y="32"/>
                    <a:pt x="205" y="32"/>
                    <a:pt x="205" y="32"/>
                  </a:cubicBezTo>
                  <a:cubicBezTo>
                    <a:pt x="203" y="30"/>
                    <a:pt x="201" y="28"/>
                    <a:pt x="198" y="28"/>
                  </a:cubicBezTo>
                  <a:cubicBezTo>
                    <a:pt x="163" y="21"/>
                    <a:pt x="163" y="21"/>
                    <a:pt x="163" y="21"/>
                  </a:cubicBezTo>
                  <a:cubicBezTo>
                    <a:pt x="162" y="24"/>
                    <a:pt x="162" y="24"/>
                    <a:pt x="162" y="24"/>
                  </a:cubicBezTo>
                  <a:cubicBezTo>
                    <a:pt x="161" y="28"/>
                    <a:pt x="161" y="32"/>
                    <a:pt x="163" y="36"/>
                  </a:cubicBezTo>
                  <a:cubicBezTo>
                    <a:pt x="127" y="14"/>
                    <a:pt x="127" y="14"/>
                    <a:pt x="127" y="14"/>
                  </a:cubicBezTo>
                  <a:cubicBezTo>
                    <a:pt x="126" y="13"/>
                    <a:pt x="124" y="13"/>
                    <a:pt x="123" y="12"/>
                  </a:cubicBezTo>
                  <a:cubicBezTo>
                    <a:pt x="77" y="0"/>
                    <a:pt x="77" y="0"/>
                    <a:pt x="77" y="0"/>
                  </a:cubicBezTo>
                  <a:cubicBezTo>
                    <a:pt x="76" y="6"/>
                    <a:pt x="76" y="6"/>
                    <a:pt x="76" y="6"/>
                  </a:cubicBezTo>
                  <a:cubicBezTo>
                    <a:pt x="73" y="16"/>
                    <a:pt x="78" y="26"/>
                    <a:pt x="87" y="30"/>
                  </a:cubicBezTo>
                  <a:cubicBezTo>
                    <a:pt x="115" y="44"/>
                    <a:pt x="115" y="44"/>
                    <a:pt x="115" y="44"/>
                  </a:cubicBezTo>
                  <a:cubicBezTo>
                    <a:pt x="148" y="70"/>
                    <a:pt x="148" y="70"/>
                    <a:pt x="148" y="70"/>
                  </a:cubicBezTo>
                  <a:cubicBezTo>
                    <a:pt x="164" y="97"/>
                    <a:pt x="164" y="97"/>
                    <a:pt x="164" y="97"/>
                  </a:cubicBezTo>
                  <a:cubicBezTo>
                    <a:pt x="137" y="68"/>
                    <a:pt x="137" y="68"/>
                    <a:pt x="137" y="68"/>
                  </a:cubicBezTo>
                  <a:cubicBezTo>
                    <a:pt x="135" y="66"/>
                    <a:pt x="133" y="64"/>
                    <a:pt x="131" y="63"/>
                  </a:cubicBezTo>
                  <a:cubicBezTo>
                    <a:pt x="70" y="39"/>
                    <a:pt x="70" y="39"/>
                    <a:pt x="70" y="39"/>
                  </a:cubicBezTo>
                  <a:cubicBezTo>
                    <a:pt x="67" y="38"/>
                    <a:pt x="65" y="37"/>
                    <a:pt x="63" y="37"/>
                  </a:cubicBezTo>
                  <a:cubicBezTo>
                    <a:pt x="1" y="35"/>
                    <a:pt x="1" y="35"/>
                    <a:pt x="1" y="35"/>
                  </a:cubicBezTo>
                  <a:cubicBezTo>
                    <a:pt x="0" y="45"/>
                    <a:pt x="0" y="45"/>
                    <a:pt x="0" y="45"/>
                  </a:cubicBezTo>
                  <a:cubicBezTo>
                    <a:pt x="0" y="55"/>
                    <a:pt x="7" y="63"/>
                    <a:pt x="16" y="66"/>
                  </a:cubicBezTo>
                  <a:cubicBezTo>
                    <a:pt x="53" y="72"/>
                    <a:pt x="53" y="72"/>
                    <a:pt x="53" y="72"/>
                  </a:cubicBezTo>
                  <a:cubicBezTo>
                    <a:pt x="105" y="99"/>
                    <a:pt x="105" y="99"/>
                    <a:pt x="105" y="99"/>
                  </a:cubicBezTo>
                  <a:cubicBezTo>
                    <a:pt x="116" y="114"/>
                    <a:pt x="116" y="114"/>
                    <a:pt x="116" y="114"/>
                  </a:cubicBezTo>
                  <a:cubicBezTo>
                    <a:pt x="75" y="100"/>
                    <a:pt x="75" y="100"/>
                    <a:pt x="75" y="100"/>
                  </a:cubicBezTo>
                  <a:cubicBezTo>
                    <a:pt x="70" y="99"/>
                    <a:pt x="65" y="100"/>
                    <a:pt x="61" y="104"/>
                  </a:cubicBezTo>
                  <a:cubicBezTo>
                    <a:pt x="37" y="122"/>
                    <a:pt x="37" y="122"/>
                    <a:pt x="37" y="122"/>
                  </a:cubicBezTo>
                  <a:cubicBezTo>
                    <a:pt x="40" y="161"/>
                    <a:pt x="40" y="161"/>
                    <a:pt x="40" y="161"/>
                  </a:cubicBezTo>
                  <a:cubicBezTo>
                    <a:pt x="41" y="160"/>
                    <a:pt x="41" y="160"/>
                    <a:pt x="41" y="160"/>
                  </a:cubicBezTo>
                  <a:cubicBezTo>
                    <a:pt x="77" y="146"/>
                    <a:pt x="77" y="146"/>
                    <a:pt x="77" y="146"/>
                  </a:cubicBezTo>
                  <a:cubicBezTo>
                    <a:pt x="115" y="161"/>
                    <a:pt x="115" y="161"/>
                    <a:pt x="115" y="161"/>
                  </a:cubicBezTo>
                  <a:cubicBezTo>
                    <a:pt x="145" y="210"/>
                    <a:pt x="145" y="210"/>
                    <a:pt x="145" y="210"/>
                  </a:cubicBezTo>
                  <a:cubicBezTo>
                    <a:pt x="155" y="228"/>
                    <a:pt x="148" y="251"/>
                    <a:pt x="129" y="259"/>
                  </a:cubicBezTo>
                  <a:cubicBezTo>
                    <a:pt x="120" y="262"/>
                    <a:pt x="120" y="262"/>
                    <a:pt x="120" y="262"/>
                  </a:cubicBezTo>
                  <a:cubicBezTo>
                    <a:pt x="68" y="253"/>
                    <a:pt x="68" y="253"/>
                    <a:pt x="68" y="253"/>
                  </a:cubicBezTo>
                  <a:cubicBezTo>
                    <a:pt x="54" y="236"/>
                    <a:pt x="54" y="236"/>
                    <a:pt x="54" y="236"/>
                  </a:cubicBezTo>
                  <a:cubicBezTo>
                    <a:pt x="46" y="225"/>
                    <a:pt x="32" y="221"/>
                    <a:pt x="19" y="226"/>
                  </a:cubicBezTo>
                  <a:cubicBezTo>
                    <a:pt x="5" y="231"/>
                    <a:pt x="5" y="231"/>
                    <a:pt x="5" y="231"/>
                  </a:cubicBezTo>
                  <a:cubicBezTo>
                    <a:pt x="47" y="292"/>
                    <a:pt x="47" y="292"/>
                    <a:pt x="47" y="292"/>
                  </a:cubicBezTo>
                  <a:cubicBezTo>
                    <a:pt x="131" y="331"/>
                    <a:pt x="131" y="331"/>
                    <a:pt x="131" y="331"/>
                  </a:cubicBezTo>
                  <a:cubicBezTo>
                    <a:pt x="331" y="352"/>
                    <a:pt x="331" y="352"/>
                    <a:pt x="331" y="352"/>
                  </a:cubicBezTo>
                  <a:cubicBezTo>
                    <a:pt x="359" y="246"/>
                    <a:pt x="359" y="246"/>
                    <a:pt x="359" y="246"/>
                  </a:cubicBezTo>
                  <a:lnTo>
                    <a:pt x="241" y="115"/>
                  </a:lnTo>
                  <a:close/>
                  <a:moveTo>
                    <a:pt x="182" y="51"/>
                  </a:moveTo>
                  <a:cubicBezTo>
                    <a:pt x="190" y="54"/>
                    <a:pt x="190" y="54"/>
                    <a:pt x="190" y="54"/>
                  </a:cubicBezTo>
                  <a:cubicBezTo>
                    <a:pt x="204" y="82"/>
                    <a:pt x="204" y="82"/>
                    <a:pt x="204" y="82"/>
                  </a:cubicBezTo>
                  <a:cubicBezTo>
                    <a:pt x="204" y="90"/>
                    <a:pt x="204" y="90"/>
                    <a:pt x="204" y="90"/>
                  </a:cubicBezTo>
                  <a:lnTo>
                    <a:pt x="182" y="51"/>
                  </a:lnTo>
                  <a:close/>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28" name="Freeform 160">
              <a:extLst>
                <a:ext uri="{FF2B5EF4-FFF2-40B4-BE49-F238E27FC236}">
                  <a16:creationId xmlns:a16="http://schemas.microsoft.com/office/drawing/2014/main" id="{790C962E-F3E2-4FB7-A5E0-DF92C2C29B33}"/>
                </a:ext>
              </a:extLst>
            </p:cNvPr>
            <p:cNvSpPr>
              <a:spLocks/>
            </p:cNvSpPr>
            <p:nvPr/>
          </p:nvSpPr>
          <p:spPr bwMode="auto">
            <a:xfrm>
              <a:off x="10227697" y="4109880"/>
              <a:ext cx="34599" cy="30682"/>
            </a:xfrm>
            <a:custGeom>
              <a:avLst/>
              <a:gdLst>
                <a:gd name="T0" fmla="*/ 53 w 53"/>
                <a:gd name="T1" fmla="*/ 27 h 47"/>
                <a:gd name="T2" fmla="*/ 0 w 53"/>
                <a:gd name="T3" fmla="*/ 0 h 47"/>
                <a:gd name="T4" fmla="*/ 3 w 53"/>
                <a:gd name="T5" fmla="*/ 47 h 47"/>
                <a:gd name="T6" fmla="*/ 53 w 53"/>
                <a:gd name="T7" fmla="*/ 27 h 47"/>
              </a:gdLst>
              <a:ahLst/>
              <a:cxnLst>
                <a:cxn ang="0">
                  <a:pos x="T0" y="T1"/>
                </a:cxn>
                <a:cxn ang="0">
                  <a:pos x="T2" y="T3"/>
                </a:cxn>
                <a:cxn ang="0">
                  <a:pos x="T4" y="T5"/>
                </a:cxn>
                <a:cxn ang="0">
                  <a:pos x="T6" y="T7"/>
                </a:cxn>
              </a:cxnLst>
              <a:rect l="0" t="0" r="r" b="b"/>
              <a:pathLst>
                <a:path w="53" h="47">
                  <a:moveTo>
                    <a:pt x="53" y="27"/>
                  </a:moveTo>
                  <a:lnTo>
                    <a:pt x="0" y="0"/>
                  </a:lnTo>
                  <a:lnTo>
                    <a:pt x="3" y="47"/>
                  </a:lnTo>
                  <a:lnTo>
                    <a:pt x="53" y="27"/>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29" name="Freeform 161">
              <a:extLst>
                <a:ext uri="{FF2B5EF4-FFF2-40B4-BE49-F238E27FC236}">
                  <a16:creationId xmlns:a16="http://schemas.microsoft.com/office/drawing/2014/main" id="{B475E60A-400D-4043-A64E-B9C13CD938F6}"/>
                </a:ext>
              </a:extLst>
            </p:cNvPr>
            <p:cNvSpPr>
              <a:spLocks/>
            </p:cNvSpPr>
            <p:nvPr/>
          </p:nvSpPr>
          <p:spPr bwMode="auto">
            <a:xfrm>
              <a:off x="10198320" y="4199968"/>
              <a:ext cx="300947" cy="110325"/>
            </a:xfrm>
            <a:custGeom>
              <a:avLst/>
              <a:gdLst>
                <a:gd name="T0" fmla="*/ 310 w 340"/>
                <a:gd name="T1" fmla="*/ 62 h 124"/>
                <a:gd name="T2" fmla="*/ 252 w 340"/>
                <a:gd name="T3" fmla="*/ 60 h 124"/>
                <a:gd name="T4" fmla="*/ 168 w 340"/>
                <a:gd name="T5" fmla="*/ 80 h 124"/>
                <a:gd name="T6" fmla="*/ 149 w 340"/>
                <a:gd name="T7" fmla="*/ 78 h 124"/>
                <a:gd name="T8" fmla="*/ 57 w 340"/>
                <a:gd name="T9" fmla="*/ 54 h 124"/>
                <a:gd name="T10" fmla="*/ 43 w 340"/>
                <a:gd name="T11" fmla="*/ 44 h 124"/>
                <a:gd name="T12" fmla="*/ 9 w 340"/>
                <a:gd name="T13" fmla="*/ 0 h 124"/>
                <a:gd name="T14" fmla="*/ 0 w 340"/>
                <a:gd name="T15" fmla="*/ 3 h 124"/>
                <a:gd name="T16" fmla="*/ 42 w 340"/>
                <a:gd name="T17" fmla="*/ 64 h 124"/>
                <a:gd name="T18" fmla="*/ 126 w 340"/>
                <a:gd name="T19" fmla="*/ 103 h 124"/>
                <a:gd name="T20" fmla="*/ 326 w 340"/>
                <a:gd name="T21" fmla="*/ 124 h 124"/>
                <a:gd name="T22" fmla="*/ 340 w 340"/>
                <a:gd name="T23" fmla="*/ 72 h 124"/>
                <a:gd name="T24" fmla="*/ 310 w 340"/>
                <a:gd name="T25"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124">
                  <a:moveTo>
                    <a:pt x="310" y="62"/>
                  </a:moveTo>
                  <a:cubicBezTo>
                    <a:pt x="291" y="56"/>
                    <a:pt x="271" y="55"/>
                    <a:pt x="252" y="60"/>
                  </a:cubicBezTo>
                  <a:cubicBezTo>
                    <a:pt x="168" y="80"/>
                    <a:pt x="168" y="80"/>
                    <a:pt x="168" y="80"/>
                  </a:cubicBezTo>
                  <a:cubicBezTo>
                    <a:pt x="161" y="80"/>
                    <a:pt x="155" y="80"/>
                    <a:pt x="149" y="78"/>
                  </a:cubicBezTo>
                  <a:cubicBezTo>
                    <a:pt x="57" y="54"/>
                    <a:pt x="57" y="54"/>
                    <a:pt x="57" y="54"/>
                  </a:cubicBezTo>
                  <a:cubicBezTo>
                    <a:pt x="52" y="52"/>
                    <a:pt x="47" y="49"/>
                    <a:pt x="43" y="44"/>
                  </a:cubicBezTo>
                  <a:cubicBezTo>
                    <a:pt x="9" y="0"/>
                    <a:pt x="9" y="0"/>
                    <a:pt x="9" y="0"/>
                  </a:cubicBezTo>
                  <a:cubicBezTo>
                    <a:pt x="0" y="3"/>
                    <a:pt x="0" y="3"/>
                    <a:pt x="0" y="3"/>
                  </a:cubicBezTo>
                  <a:cubicBezTo>
                    <a:pt x="42" y="64"/>
                    <a:pt x="42" y="64"/>
                    <a:pt x="42" y="64"/>
                  </a:cubicBezTo>
                  <a:cubicBezTo>
                    <a:pt x="126" y="103"/>
                    <a:pt x="126" y="103"/>
                    <a:pt x="126" y="103"/>
                  </a:cubicBezTo>
                  <a:cubicBezTo>
                    <a:pt x="326" y="124"/>
                    <a:pt x="326" y="124"/>
                    <a:pt x="326" y="124"/>
                  </a:cubicBezTo>
                  <a:cubicBezTo>
                    <a:pt x="340" y="72"/>
                    <a:pt x="340" y="72"/>
                    <a:pt x="340" y="72"/>
                  </a:cubicBezTo>
                  <a:lnTo>
                    <a:pt x="310" y="62"/>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30" name="Freeform 162">
              <a:extLst>
                <a:ext uri="{FF2B5EF4-FFF2-40B4-BE49-F238E27FC236}">
                  <a16:creationId xmlns:a16="http://schemas.microsoft.com/office/drawing/2014/main" id="{BFA46AC9-95D5-4AC1-84EC-EFBA0718AAB4}"/>
                </a:ext>
              </a:extLst>
            </p:cNvPr>
            <p:cNvSpPr>
              <a:spLocks/>
            </p:cNvSpPr>
            <p:nvPr/>
          </p:nvSpPr>
          <p:spPr bwMode="auto">
            <a:xfrm>
              <a:off x="10485557" y="4216288"/>
              <a:ext cx="185399" cy="171689"/>
            </a:xfrm>
            <a:custGeom>
              <a:avLst/>
              <a:gdLst>
                <a:gd name="T0" fmla="*/ 30 w 210"/>
                <a:gd name="T1" fmla="*/ 0 h 194"/>
                <a:gd name="T2" fmla="*/ 30 w 210"/>
                <a:gd name="T3" fmla="*/ 0 h 194"/>
                <a:gd name="T4" fmla="*/ 2 w 210"/>
                <a:gd name="T5" fmla="*/ 97 h 194"/>
                <a:gd name="T6" fmla="*/ 2 w 210"/>
                <a:gd name="T7" fmla="*/ 106 h 194"/>
                <a:gd name="T8" fmla="*/ 210 w 210"/>
                <a:gd name="T9" fmla="*/ 194 h 194"/>
                <a:gd name="T10" fmla="*/ 210 w 210"/>
                <a:gd name="T11" fmla="*/ 26 h 194"/>
                <a:gd name="T12" fmla="*/ 30 w 210"/>
                <a:gd name="T13" fmla="*/ 0 h 194"/>
              </a:gdLst>
              <a:ahLst/>
              <a:cxnLst>
                <a:cxn ang="0">
                  <a:pos x="T0" y="T1"/>
                </a:cxn>
                <a:cxn ang="0">
                  <a:pos x="T2" y="T3"/>
                </a:cxn>
                <a:cxn ang="0">
                  <a:pos x="T4" y="T5"/>
                </a:cxn>
                <a:cxn ang="0">
                  <a:pos x="T6" y="T7"/>
                </a:cxn>
                <a:cxn ang="0">
                  <a:pos x="T8" y="T9"/>
                </a:cxn>
                <a:cxn ang="0">
                  <a:pos x="T10" y="T11"/>
                </a:cxn>
                <a:cxn ang="0">
                  <a:pos x="T12" y="T13"/>
                </a:cxn>
              </a:cxnLst>
              <a:rect l="0" t="0" r="r" b="b"/>
              <a:pathLst>
                <a:path w="210" h="194">
                  <a:moveTo>
                    <a:pt x="30" y="0"/>
                  </a:moveTo>
                  <a:cubicBezTo>
                    <a:pt x="30" y="0"/>
                    <a:pt x="30" y="0"/>
                    <a:pt x="30" y="0"/>
                  </a:cubicBezTo>
                  <a:cubicBezTo>
                    <a:pt x="10" y="28"/>
                    <a:pt x="0" y="62"/>
                    <a:pt x="2" y="97"/>
                  </a:cubicBezTo>
                  <a:cubicBezTo>
                    <a:pt x="2" y="106"/>
                    <a:pt x="2" y="106"/>
                    <a:pt x="2" y="106"/>
                  </a:cubicBezTo>
                  <a:cubicBezTo>
                    <a:pt x="210" y="194"/>
                    <a:pt x="210" y="194"/>
                    <a:pt x="210" y="194"/>
                  </a:cubicBezTo>
                  <a:cubicBezTo>
                    <a:pt x="210" y="26"/>
                    <a:pt x="210" y="26"/>
                    <a:pt x="210" y="26"/>
                  </a:cubicBezTo>
                  <a:lnTo>
                    <a:pt x="3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31" name="Freeform 163">
              <a:extLst>
                <a:ext uri="{FF2B5EF4-FFF2-40B4-BE49-F238E27FC236}">
                  <a16:creationId xmlns:a16="http://schemas.microsoft.com/office/drawing/2014/main" id="{B91C989B-C87A-4A40-AE82-4787E444EBD7}"/>
                </a:ext>
              </a:extLst>
            </p:cNvPr>
            <p:cNvSpPr>
              <a:spLocks/>
            </p:cNvSpPr>
            <p:nvPr/>
          </p:nvSpPr>
          <p:spPr bwMode="auto">
            <a:xfrm>
              <a:off x="10136303" y="3424427"/>
              <a:ext cx="169079" cy="90088"/>
            </a:xfrm>
            <a:custGeom>
              <a:avLst/>
              <a:gdLst>
                <a:gd name="T0" fmla="*/ 37 w 191"/>
                <a:gd name="T1" fmla="*/ 62 h 101"/>
                <a:gd name="T2" fmla="*/ 0 w 191"/>
                <a:gd name="T3" fmla="*/ 7 h 101"/>
                <a:gd name="T4" fmla="*/ 11 w 191"/>
                <a:gd name="T5" fmla="*/ 4 h 101"/>
                <a:gd name="T6" fmla="*/ 44 w 191"/>
                <a:gd name="T7" fmla="*/ 14 h 101"/>
                <a:gd name="T8" fmla="*/ 68 w 191"/>
                <a:gd name="T9" fmla="*/ 43 h 101"/>
                <a:gd name="T10" fmla="*/ 118 w 191"/>
                <a:gd name="T11" fmla="*/ 67 h 101"/>
                <a:gd name="T12" fmla="*/ 189 w 191"/>
                <a:gd name="T13" fmla="*/ 65 h 101"/>
                <a:gd name="T14" fmla="*/ 191 w 191"/>
                <a:gd name="T15" fmla="*/ 101 h 101"/>
                <a:gd name="T16" fmla="*/ 94 w 191"/>
                <a:gd name="T17" fmla="*/ 95 h 101"/>
                <a:gd name="T18" fmla="*/ 37 w 191"/>
                <a:gd name="T19" fmla="*/ 6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101">
                  <a:moveTo>
                    <a:pt x="37" y="62"/>
                  </a:moveTo>
                  <a:cubicBezTo>
                    <a:pt x="0" y="7"/>
                    <a:pt x="0" y="7"/>
                    <a:pt x="0" y="7"/>
                  </a:cubicBezTo>
                  <a:cubicBezTo>
                    <a:pt x="11" y="4"/>
                    <a:pt x="11" y="4"/>
                    <a:pt x="11" y="4"/>
                  </a:cubicBezTo>
                  <a:cubicBezTo>
                    <a:pt x="23" y="0"/>
                    <a:pt x="36" y="4"/>
                    <a:pt x="44" y="14"/>
                  </a:cubicBezTo>
                  <a:cubicBezTo>
                    <a:pt x="68" y="43"/>
                    <a:pt x="68" y="43"/>
                    <a:pt x="68" y="43"/>
                  </a:cubicBezTo>
                  <a:cubicBezTo>
                    <a:pt x="118" y="67"/>
                    <a:pt x="118" y="67"/>
                    <a:pt x="118" y="67"/>
                  </a:cubicBezTo>
                  <a:cubicBezTo>
                    <a:pt x="189" y="65"/>
                    <a:pt x="189" y="65"/>
                    <a:pt x="189" y="65"/>
                  </a:cubicBezTo>
                  <a:cubicBezTo>
                    <a:pt x="191" y="101"/>
                    <a:pt x="191" y="101"/>
                    <a:pt x="191" y="101"/>
                  </a:cubicBezTo>
                  <a:cubicBezTo>
                    <a:pt x="94" y="95"/>
                    <a:pt x="94" y="95"/>
                    <a:pt x="94" y="95"/>
                  </a:cubicBezTo>
                  <a:lnTo>
                    <a:pt x="37" y="62"/>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32" name="Freeform 164">
              <a:extLst>
                <a:ext uri="{FF2B5EF4-FFF2-40B4-BE49-F238E27FC236}">
                  <a16:creationId xmlns:a16="http://schemas.microsoft.com/office/drawing/2014/main" id="{E11EED7A-7EB7-4F85-8962-48E4C9897E92}"/>
                </a:ext>
              </a:extLst>
            </p:cNvPr>
            <p:cNvSpPr>
              <a:spLocks/>
            </p:cNvSpPr>
            <p:nvPr/>
          </p:nvSpPr>
          <p:spPr bwMode="auto">
            <a:xfrm>
              <a:off x="10128469" y="3443358"/>
              <a:ext cx="556196" cy="216081"/>
            </a:xfrm>
            <a:custGeom>
              <a:avLst/>
              <a:gdLst>
                <a:gd name="T0" fmla="*/ 453 w 628"/>
                <a:gd name="T1" fmla="*/ 85 h 244"/>
                <a:gd name="T2" fmla="*/ 443 w 628"/>
                <a:gd name="T3" fmla="*/ 78 h 244"/>
                <a:gd name="T4" fmla="*/ 445 w 628"/>
                <a:gd name="T5" fmla="*/ 78 h 244"/>
                <a:gd name="T6" fmla="*/ 397 w 628"/>
                <a:gd name="T7" fmla="*/ 43 h 244"/>
                <a:gd name="T8" fmla="*/ 297 w 628"/>
                <a:gd name="T9" fmla="*/ 0 h 244"/>
                <a:gd name="T10" fmla="*/ 240 w 628"/>
                <a:gd name="T11" fmla="*/ 13 h 244"/>
                <a:gd name="T12" fmla="*/ 189 w 628"/>
                <a:gd name="T13" fmla="*/ 24 h 244"/>
                <a:gd name="T14" fmla="*/ 144 w 628"/>
                <a:gd name="T15" fmla="*/ 12 h 244"/>
                <a:gd name="T16" fmla="*/ 123 w 628"/>
                <a:gd name="T17" fmla="*/ 23 h 244"/>
                <a:gd name="T18" fmla="*/ 131 w 628"/>
                <a:gd name="T19" fmla="*/ 43 h 244"/>
                <a:gd name="T20" fmla="*/ 165 w 628"/>
                <a:gd name="T21" fmla="*/ 62 h 244"/>
                <a:gd name="T22" fmla="*/ 148 w 628"/>
                <a:gd name="T23" fmla="*/ 63 h 244"/>
                <a:gd name="T24" fmla="*/ 79 w 628"/>
                <a:gd name="T25" fmla="*/ 38 h 244"/>
                <a:gd name="T26" fmla="*/ 60 w 628"/>
                <a:gd name="T27" fmla="*/ 24 h 244"/>
                <a:gd name="T28" fmla="*/ 0 w 628"/>
                <a:gd name="T29" fmla="*/ 28 h 244"/>
                <a:gd name="T30" fmla="*/ 50 w 628"/>
                <a:gd name="T31" fmla="*/ 75 h 244"/>
                <a:gd name="T32" fmla="*/ 115 w 628"/>
                <a:gd name="T33" fmla="*/ 104 h 244"/>
                <a:gd name="T34" fmla="*/ 165 w 628"/>
                <a:gd name="T35" fmla="*/ 116 h 244"/>
                <a:gd name="T36" fmla="*/ 215 w 628"/>
                <a:gd name="T37" fmla="*/ 120 h 244"/>
                <a:gd name="T38" fmla="*/ 329 w 628"/>
                <a:gd name="T39" fmla="*/ 111 h 244"/>
                <a:gd name="T40" fmla="*/ 466 w 628"/>
                <a:gd name="T41" fmla="*/ 244 h 244"/>
                <a:gd name="T42" fmla="*/ 628 w 628"/>
                <a:gd name="T43" fmla="*/ 244 h 244"/>
                <a:gd name="T44" fmla="*/ 628 w 628"/>
                <a:gd name="T45" fmla="*/ 217 h 244"/>
                <a:gd name="T46" fmla="*/ 453 w 628"/>
                <a:gd name="T47" fmla="*/ 8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8" h="244">
                  <a:moveTo>
                    <a:pt x="453" y="85"/>
                  </a:moveTo>
                  <a:cubicBezTo>
                    <a:pt x="450" y="83"/>
                    <a:pt x="446" y="81"/>
                    <a:pt x="443" y="78"/>
                  </a:cubicBezTo>
                  <a:cubicBezTo>
                    <a:pt x="445" y="78"/>
                    <a:pt x="445" y="78"/>
                    <a:pt x="445" y="78"/>
                  </a:cubicBezTo>
                  <a:cubicBezTo>
                    <a:pt x="397" y="43"/>
                    <a:pt x="397" y="43"/>
                    <a:pt x="397" y="43"/>
                  </a:cubicBezTo>
                  <a:cubicBezTo>
                    <a:pt x="371" y="15"/>
                    <a:pt x="335" y="0"/>
                    <a:pt x="297" y="0"/>
                  </a:cubicBezTo>
                  <a:cubicBezTo>
                    <a:pt x="277" y="0"/>
                    <a:pt x="258" y="5"/>
                    <a:pt x="240" y="13"/>
                  </a:cubicBezTo>
                  <a:cubicBezTo>
                    <a:pt x="189" y="24"/>
                    <a:pt x="189" y="24"/>
                    <a:pt x="189" y="24"/>
                  </a:cubicBezTo>
                  <a:cubicBezTo>
                    <a:pt x="144" y="12"/>
                    <a:pt x="144" y="12"/>
                    <a:pt x="144" y="12"/>
                  </a:cubicBezTo>
                  <a:cubicBezTo>
                    <a:pt x="135" y="9"/>
                    <a:pt x="126" y="14"/>
                    <a:pt x="123" y="23"/>
                  </a:cubicBezTo>
                  <a:cubicBezTo>
                    <a:pt x="121" y="31"/>
                    <a:pt x="124" y="40"/>
                    <a:pt x="131" y="43"/>
                  </a:cubicBezTo>
                  <a:cubicBezTo>
                    <a:pt x="165" y="62"/>
                    <a:pt x="165" y="62"/>
                    <a:pt x="165" y="62"/>
                  </a:cubicBezTo>
                  <a:cubicBezTo>
                    <a:pt x="148" y="63"/>
                    <a:pt x="148" y="63"/>
                    <a:pt x="148" y="63"/>
                  </a:cubicBezTo>
                  <a:cubicBezTo>
                    <a:pt x="79" y="38"/>
                    <a:pt x="79" y="38"/>
                    <a:pt x="79" y="38"/>
                  </a:cubicBezTo>
                  <a:cubicBezTo>
                    <a:pt x="60" y="24"/>
                    <a:pt x="60" y="24"/>
                    <a:pt x="60" y="24"/>
                  </a:cubicBezTo>
                  <a:cubicBezTo>
                    <a:pt x="42" y="11"/>
                    <a:pt x="16" y="12"/>
                    <a:pt x="0" y="28"/>
                  </a:cubicBezTo>
                  <a:cubicBezTo>
                    <a:pt x="50" y="75"/>
                    <a:pt x="50" y="75"/>
                    <a:pt x="50" y="75"/>
                  </a:cubicBezTo>
                  <a:cubicBezTo>
                    <a:pt x="115" y="104"/>
                    <a:pt x="115" y="104"/>
                    <a:pt x="115" y="104"/>
                  </a:cubicBezTo>
                  <a:cubicBezTo>
                    <a:pt x="165" y="116"/>
                    <a:pt x="165" y="116"/>
                    <a:pt x="165" y="116"/>
                  </a:cubicBezTo>
                  <a:cubicBezTo>
                    <a:pt x="182" y="120"/>
                    <a:pt x="198" y="122"/>
                    <a:pt x="215" y="120"/>
                  </a:cubicBezTo>
                  <a:cubicBezTo>
                    <a:pt x="329" y="111"/>
                    <a:pt x="329" y="111"/>
                    <a:pt x="329" y="111"/>
                  </a:cubicBezTo>
                  <a:cubicBezTo>
                    <a:pt x="466" y="244"/>
                    <a:pt x="466" y="244"/>
                    <a:pt x="466" y="244"/>
                  </a:cubicBezTo>
                  <a:cubicBezTo>
                    <a:pt x="628" y="244"/>
                    <a:pt x="628" y="244"/>
                    <a:pt x="628" y="244"/>
                  </a:cubicBezTo>
                  <a:cubicBezTo>
                    <a:pt x="628" y="217"/>
                    <a:pt x="628" y="217"/>
                    <a:pt x="628" y="217"/>
                  </a:cubicBezTo>
                  <a:lnTo>
                    <a:pt x="453" y="85"/>
                  </a:lnTo>
                  <a:close/>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33" name="Freeform 165">
              <a:extLst>
                <a:ext uri="{FF2B5EF4-FFF2-40B4-BE49-F238E27FC236}">
                  <a16:creationId xmlns:a16="http://schemas.microsoft.com/office/drawing/2014/main" id="{E1948FCE-64B0-4B65-A8B3-526D11BBDDFF}"/>
                </a:ext>
              </a:extLst>
            </p:cNvPr>
            <p:cNvSpPr>
              <a:spLocks/>
            </p:cNvSpPr>
            <p:nvPr/>
          </p:nvSpPr>
          <p:spPr bwMode="auto">
            <a:xfrm>
              <a:off x="10128469" y="3459026"/>
              <a:ext cx="509193" cy="200413"/>
            </a:xfrm>
            <a:custGeom>
              <a:avLst/>
              <a:gdLst>
                <a:gd name="T0" fmla="*/ 575 w 575"/>
                <a:gd name="T1" fmla="*/ 226 h 226"/>
                <a:gd name="T2" fmla="*/ 390 w 575"/>
                <a:gd name="T3" fmla="*/ 90 h 226"/>
                <a:gd name="T4" fmla="*/ 283 w 575"/>
                <a:gd name="T5" fmla="*/ 65 h 226"/>
                <a:gd name="T6" fmla="*/ 195 w 575"/>
                <a:gd name="T7" fmla="*/ 80 h 226"/>
                <a:gd name="T8" fmla="*/ 114 w 575"/>
                <a:gd name="T9" fmla="*/ 70 h 226"/>
                <a:gd name="T10" fmla="*/ 55 w 575"/>
                <a:gd name="T11" fmla="*/ 40 h 226"/>
                <a:gd name="T12" fmla="*/ 46 w 575"/>
                <a:gd name="T13" fmla="*/ 33 h 226"/>
                <a:gd name="T14" fmla="*/ 18 w 575"/>
                <a:gd name="T15" fmla="*/ 0 h 226"/>
                <a:gd name="T16" fmla="*/ 0 w 575"/>
                <a:gd name="T17" fmla="*/ 10 h 226"/>
                <a:gd name="T18" fmla="*/ 50 w 575"/>
                <a:gd name="T19" fmla="*/ 57 h 226"/>
                <a:gd name="T20" fmla="*/ 115 w 575"/>
                <a:gd name="T21" fmla="*/ 86 h 226"/>
                <a:gd name="T22" fmla="*/ 165 w 575"/>
                <a:gd name="T23" fmla="*/ 98 h 226"/>
                <a:gd name="T24" fmla="*/ 215 w 575"/>
                <a:gd name="T25" fmla="*/ 102 h 226"/>
                <a:gd name="T26" fmla="*/ 329 w 575"/>
                <a:gd name="T27" fmla="*/ 93 h 226"/>
                <a:gd name="T28" fmla="*/ 466 w 575"/>
                <a:gd name="T29" fmla="*/ 226 h 226"/>
                <a:gd name="T30" fmla="*/ 575 w 575"/>
                <a:gd name="T31"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5" h="226">
                  <a:moveTo>
                    <a:pt x="575" y="226"/>
                  </a:moveTo>
                  <a:cubicBezTo>
                    <a:pt x="390" y="90"/>
                    <a:pt x="390" y="90"/>
                    <a:pt x="390" y="90"/>
                  </a:cubicBezTo>
                  <a:cubicBezTo>
                    <a:pt x="359" y="68"/>
                    <a:pt x="320" y="59"/>
                    <a:pt x="283" y="65"/>
                  </a:cubicBezTo>
                  <a:cubicBezTo>
                    <a:pt x="195" y="80"/>
                    <a:pt x="195" y="80"/>
                    <a:pt x="195" y="80"/>
                  </a:cubicBezTo>
                  <a:cubicBezTo>
                    <a:pt x="114" y="70"/>
                    <a:pt x="114" y="70"/>
                    <a:pt x="114" y="70"/>
                  </a:cubicBezTo>
                  <a:cubicBezTo>
                    <a:pt x="55" y="40"/>
                    <a:pt x="55" y="40"/>
                    <a:pt x="55" y="40"/>
                  </a:cubicBezTo>
                  <a:cubicBezTo>
                    <a:pt x="52" y="38"/>
                    <a:pt x="49" y="36"/>
                    <a:pt x="46" y="33"/>
                  </a:cubicBezTo>
                  <a:cubicBezTo>
                    <a:pt x="18" y="0"/>
                    <a:pt x="18" y="0"/>
                    <a:pt x="18" y="0"/>
                  </a:cubicBezTo>
                  <a:cubicBezTo>
                    <a:pt x="11" y="2"/>
                    <a:pt x="5" y="5"/>
                    <a:pt x="0" y="10"/>
                  </a:cubicBezTo>
                  <a:cubicBezTo>
                    <a:pt x="50" y="57"/>
                    <a:pt x="50" y="57"/>
                    <a:pt x="50" y="57"/>
                  </a:cubicBezTo>
                  <a:cubicBezTo>
                    <a:pt x="115" y="86"/>
                    <a:pt x="115" y="86"/>
                    <a:pt x="115" y="86"/>
                  </a:cubicBezTo>
                  <a:cubicBezTo>
                    <a:pt x="165" y="98"/>
                    <a:pt x="165" y="98"/>
                    <a:pt x="165" y="98"/>
                  </a:cubicBezTo>
                  <a:cubicBezTo>
                    <a:pt x="182" y="102"/>
                    <a:pt x="198" y="104"/>
                    <a:pt x="215" y="102"/>
                  </a:cubicBezTo>
                  <a:cubicBezTo>
                    <a:pt x="329" y="93"/>
                    <a:pt x="329" y="93"/>
                    <a:pt x="329" y="93"/>
                  </a:cubicBezTo>
                  <a:cubicBezTo>
                    <a:pt x="466" y="226"/>
                    <a:pt x="466" y="226"/>
                    <a:pt x="466" y="226"/>
                  </a:cubicBezTo>
                  <a:lnTo>
                    <a:pt x="575" y="226"/>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34" name="Oval 166">
              <a:extLst>
                <a:ext uri="{FF2B5EF4-FFF2-40B4-BE49-F238E27FC236}">
                  <a16:creationId xmlns:a16="http://schemas.microsoft.com/office/drawing/2014/main" id="{06F71F6A-B5DA-41C2-A792-C19703899DE4}"/>
                </a:ext>
              </a:extLst>
            </p:cNvPr>
            <p:cNvSpPr>
              <a:spLocks noChangeArrowheads="1"/>
            </p:cNvSpPr>
            <p:nvPr/>
          </p:nvSpPr>
          <p:spPr bwMode="auto">
            <a:xfrm>
              <a:off x="10150665" y="3169177"/>
              <a:ext cx="266347" cy="267000"/>
            </a:xfrm>
            <a:prstGeom prst="ellipse">
              <a:avLst/>
            </a:pr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35" name="Freeform 167">
              <a:extLst>
                <a:ext uri="{FF2B5EF4-FFF2-40B4-BE49-F238E27FC236}">
                  <a16:creationId xmlns:a16="http://schemas.microsoft.com/office/drawing/2014/main" id="{4C25F964-1D2D-4B2E-9CAF-39BBA38DC0FA}"/>
                </a:ext>
              </a:extLst>
            </p:cNvPr>
            <p:cNvSpPr>
              <a:spLocks/>
            </p:cNvSpPr>
            <p:nvPr/>
          </p:nvSpPr>
          <p:spPr bwMode="auto">
            <a:xfrm>
              <a:off x="10284491" y="3169177"/>
              <a:ext cx="132521" cy="133174"/>
            </a:xfrm>
            <a:custGeom>
              <a:avLst/>
              <a:gdLst>
                <a:gd name="T0" fmla="*/ 0 w 150"/>
                <a:gd name="T1" fmla="*/ 0 h 150"/>
                <a:gd name="T2" fmla="*/ 0 w 150"/>
                <a:gd name="T3" fmla="*/ 150 h 150"/>
                <a:gd name="T4" fmla="*/ 150 w 150"/>
                <a:gd name="T5" fmla="*/ 150 h 150"/>
                <a:gd name="T6" fmla="*/ 3 w 150"/>
                <a:gd name="T7" fmla="*/ 0 h 150"/>
                <a:gd name="T8" fmla="*/ 0 w 150"/>
                <a:gd name="T9" fmla="*/ 0 h 150"/>
              </a:gdLst>
              <a:ahLst/>
              <a:cxnLst>
                <a:cxn ang="0">
                  <a:pos x="T0" y="T1"/>
                </a:cxn>
                <a:cxn ang="0">
                  <a:pos x="T2" y="T3"/>
                </a:cxn>
                <a:cxn ang="0">
                  <a:pos x="T4" y="T5"/>
                </a:cxn>
                <a:cxn ang="0">
                  <a:pos x="T6" y="T7"/>
                </a:cxn>
                <a:cxn ang="0">
                  <a:pos x="T8" y="T9"/>
                </a:cxn>
              </a:cxnLst>
              <a:rect l="0" t="0" r="r" b="b"/>
              <a:pathLst>
                <a:path w="150" h="150">
                  <a:moveTo>
                    <a:pt x="0" y="0"/>
                  </a:moveTo>
                  <a:cubicBezTo>
                    <a:pt x="0" y="150"/>
                    <a:pt x="0" y="150"/>
                    <a:pt x="0" y="150"/>
                  </a:cubicBezTo>
                  <a:cubicBezTo>
                    <a:pt x="150" y="150"/>
                    <a:pt x="150" y="150"/>
                    <a:pt x="150" y="150"/>
                  </a:cubicBezTo>
                  <a:cubicBezTo>
                    <a:pt x="150" y="69"/>
                    <a:pt x="85" y="2"/>
                    <a:pt x="3" y="0"/>
                  </a:cubicBezTo>
                  <a:lnTo>
                    <a:pt x="0"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36" name="Freeform 168">
              <a:extLst>
                <a:ext uri="{FF2B5EF4-FFF2-40B4-BE49-F238E27FC236}">
                  <a16:creationId xmlns:a16="http://schemas.microsoft.com/office/drawing/2014/main" id="{762DE6B0-3F16-4481-A3EF-0FC422A0C0B4}"/>
                </a:ext>
              </a:extLst>
            </p:cNvPr>
            <p:cNvSpPr>
              <a:spLocks/>
            </p:cNvSpPr>
            <p:nvPr/>
          </p:nvSpPr>
          <p:spPr bwMode="auto">
            <a:xfrm>
              <a:off x="10284491" y="3302351"/>
              <a:ext cx="114242" cy="105103"/>
            </a:xfrm>
            <a:custGeom>
              <a:avLst/>
              <a:gdLst>
                <a:gd name="T0" fmla="*/ 0 w 129"/>
                <a:gd name="T1" fmla="*/ 0 h 119"/>
                <a:gd name="T2" fmla="*/ 92 w 129"/>
                <a:gd name="T3" fmla="*/ 119 h 119"/>
                <a:gd name="T4" fmla="*/ 129 w 129"/>
                <a:gd name="T5" fmla="*/ 78 h 119"/>
                <a:gd name="T6" fmla="*/ 0 w 129"/>
                <a:gd name="T7" fmla="*/ 0 h 119"/>
              </a:gdLst>
              <a:ahLst/>
              <a:cxnLst>
                <a:cxn ang="0">
                  <a:pos x="T0" y="T1"/>
                </a:cxn>
                <a:cxn ang="0">
                  <a:pos x="T2" y="T3"/>
                </a:cxn>
                <a:cxn ang="0">
                  <a:pos x="T4" y="T5"/>
                </a:cxn>
                <a:cxn ang="0">
                  <a:pos x="T6" y="T7"/>
                </a:cxn>
              </a:cxnLst>
              <a:rect l="0" t="0" r="r" b="b"/>
              <a:pathLst>
                <a:path w="129" h="119">
                  <a:moveTo>
                    <a:pt x="0" y="0"/>
                  </a:moveTo>
                  <a:cubicBezTo>
                    <a:pt x="92" y="119"/>
                    <a:pt x="92" y="119"/>
                    <a:pt x="92" y="119"/>
                  </a:cubicBezTo>
                  <a:cubicBezTo>
                    <a:pt x="92" y="119"/>
                    <a:pt x="118" y="100"/>
                    <a:pt x="129" y="78"/>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37" name="Freeform 169">
              <a:extLst>
                <a:ext uri="{FF2B5EF4-FFF2-40B4-BE49-F238E27FC236}">
                  <a16:creationId xmlns:a16="http://schemas.microsoft.com/office/drawing/2014/main" id="{34CFDCBD-682E-4A7B-A8FF-2721167F40C6}"/>
                </a:ext>
              </a:extLst>
            </p:cNvPr>
            <p:cNvSpPr>
              <a:spLocks/>
            </p:cNvSpPr>
            <p:nvPr/>
          </p:nvSpPr>
          <p:spPr bwMode="auto">
            <a:xfrm>
              <a:off x="10284491" y="3302351"/>
              <a:ext cx="134479" cy="69198"/>
            </a:xfrm>
            <a:custGeom>
              <a:avLst/>
              <a:gdLst>
                <a:gd name="T0" fmla="*/ 129 w 152"/>
                <a:gd name="T1" fmla="*/ 78 h 78"/>
                <a:gd name="T2" fmla="*/ 0 w 152"/>
                <a:gd name="T3" fmla="*/ 0 h 78"/>
                <a:gd name="T4" fmla="*/ 150 w 152"/>
                <a:gd name="T5" fmla="*/ 0 h 78"/>
                <a:gd name="T6" fmla="*/ 129 w 152"/>
                <a:gd name="T7" fmla="*/ 78 h 78"/>
              </a:gdLst>
              <a:ahLst/>
              <a:cxnLst>
                <a:cxn ang="0">
                  <a:pos x="T0" y="T1"/>
                </a:cxn>
                <a:cxn ang="0">
                  <a:pos x="T2" y="T3"/>
                </a:cxn>
                <a:cxn ang="0">
                  <a:pos x="T4" y="T5"/>
                </a:cxn>
                <a:cxn ang="0">
                  <a:pos x="T6" y="T7"/>
                </a:cxn>
              </a:cxnLst>
              <a:rect l="0" t="0" r="r" b="b"/>
              <a:pathLst>
                <a:path w="152" h="78">
                  <a:moveTo>
                    <a:pt x="129" y="78"/>
                  </a:moveTo>
                  <a:cubicBezTo>
                    <a:pt x="0" y="0"/>
                    <a:pt x="0" y="0"/>
                    <a:pt x="0" y="0"/>
                  </a:cubicBezTo>
                  <a:cubicBezTo>
                    <a:pt x="150" y="0"/>
                    <a:pt x="150" y="0"/>
                    <a:pt x="150" y="0"/>
                  </a:cubicBezTo>
                  <a:cubicBezTo>
                    <a:pt x="150" y="0"/>
                    <a:pt x="152" y="49"/>
                    <a:pt x="129" y="78"/>
                  </a:cubicBezTo>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38" name="Freeform 170">
              <a:extLst>
                <a:ext uri="{FF2B5EF4-FFF2-40B4-BE49-F238E27FC236}">
                  <a16:creationId xmlns:a16="http://schemas.microsoft.com/office/drawing/2014/main" id="{0AAE937D-3950-4183-9B72-84936CC7376B}"/>
                </a:ext>
              </a:extLst>
            </p:cNvPr>
            <p:cNvSpPr>
              <a:spLocks/>
            </p:cNvSpPr>
            <p:nvPr/>
          </p:nvSpPr>
          <p:spPr bwMode="auto">
            <a:xfrm>
              <a:off x="9401237" y="3417246"/>
              <a:ext cx="398215" cy="360352"/>
            </a:xfrm>
            <a:custGeom>
              <a:avLst/>
              <a:gdLst>
                <a:gd name="T0" fmla="*/ 446 w 610"/>
                <a:gd name="T1" fmla="*/ 0 h 552"/>
                <a:gd name="T2" fmla="*/ 0 w 610"/>
                <a:gd name="T3" fmla="*/ 223 h 552"/>
                <a:gd name="T4" fmla="*/ 164 w 610"/>
                <a:gd name="T5" fmla="*/ 552 h 552"/>
                <a:gd name="T6" fmla="*/ 610 w 610"/>
                <a:gd name="T7" fmla="*/ 329 h 552"/>
                <a:gd name="T8" fmla="*/ 446 w 610"/>
                <a:gd name="T9" fmla="*/ 0 h 552"/>
              </a:gdLst>
              <a:ahLst/>
              <a:cxnLst>
                <a:cxn ang="0">
                  <a:pos x="T0" y="T1"/>
                </a:cxn>
                <a:cxn ang="0">
                  <a:pos x="T2" y="T3"/>
                </a:cxn>
                <a:cxn ang="0">
                  <a:pos x="T4" y="T5"/>
                </a:cxn>
                <a:cxn ang="0">
                  <a:pos x="T6" y="T7"/>
                </a:cxn>
                <a:cxn ang="0">
                  <a:pos x="T8" y="T9"/>
                </a:cxn>
              </a:cxnLst>
              <a:rect l="0" t="0" r="r" b="b"/>
              <a:pathLst>
                <a:path w="610" h="552">
                  <a:moveTo>
                    <a:pt x="446" y="0"/>
                  </a:moveTo>
                  <a:lnTo>
                    <a:pt x="0" y="223"/>
                  </a:lnTo>
                  <a:lnTo>
                    <a:pt x="164" y="552"/>
                  </a:lnTo>
                  <a:lnTo>
                    <a:pt x="610" y="329"/>
                  </a:lnTo>
                  <a:lnTo>
                    <a:pt x="4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39" name="Freeform 171">
              <a:extLst>
                <a:ext uri="{FF2B5EF4-FFF2-40B4-BE49-F238E27FC236}">
                  <a16:creationId xmlns:a16="http://schemas.microsoft.com/office/drawing/2014/main" id="{4C0A4B5F-B653-4448-8977-9A45BEBDEA37}"/>
                </a:ext>
              </a:extLst>
            </p:cNvPr>
            <p:cNvSpPr>
              <a:spLocks/>
            </p:cNvSpPr>
            <p:nvPr/>
          </p:nvSpPr>
          <p:spPr bwMode="auto">
            <a:xfrm>
              <a:off x="9486755" y="3588935"/>
              <a:ext cx="312697" cy="188663"/>
            </a:xfrm>
            <a:custGeom>
              <a:avLst/>
              <a:gdLst>
                <a:gd name="T0" fmla="*/ 479 w 479"/>
                <a:gd name="T1" fmla="*/ 66 h 289"/>
                <a:gd name="T2" fmla="*/ 446 w 479"/>
                <a:gd name="T3" fmla="*/ 0 h 289"/>
                <a:gd name="T4" fmla="*/ 0 w 479"/>
                <a:gd name="T5" fmla="*/ 223 h 289"/>
                <a:gd name="T6" fmla="*/ 33 w 479"/>
                <a:gd name="T7" fmla="*/ 289 h 289"/>
                <a:gd name="T8" fmla="*/ 479 w 479"/>
                <a:gd name="T9" fmla="*/ 66 h 289"/>
              </a:gdLst>
              <a:ahLst/>
              <a:cxnLst>
                <a:cxn ang="0">
                  <a:pos x="T0" y="T1"/>
                </a:cxn>
                <a:cxn ang="0">
                  <a:pos x="T2" y="T3"/>
                </a:cxn>
                <a:cxn ang="0">
                  <a:pos x="T4" y="T5"/>
                </a:cxn>
                <a:cxn ang="0">
                  <a:pos x="T6" y="T7"/>
                </a:cxn>
                <a:cxn ang="0">
                  <a:pos x="T8" y="T9"/>
                </a:cxn>
              </a:cxnLst>
              <a:rect l="0" t="0" r="r" b="b"/>
              <a:pathLst>
                <a:path w="479" h="289">
                  <a:moveTo>
                    <a:pt x="479" y="66"/>
                  </a:moveTo>
                  <a:lnTo>
                    <a:pt x="446" y="0"/>
                  </a:lnTo>
                  <a:lnTo>
                    <a:pt x="0" y="223"/>
                  </a:lnTo>
                  <a:lnTo>
                    <a:pt x="33" y="289"/>
                  </a:lnTo>
                  <a:lnTo>
                    <a:pt x="479" y="66"/>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0" name="Freeform 172">
              <a:extLst>
                <a:ext uri="{FF2B5EF4-FFF2-40B4-BE49-F238E27FC236}">
                  <a16:creationId xmlns:a16="http://schemas.microsoft.com/office/drawing/2014/main" id="{D4E87881-B4D7-4AC5-826B-8B0EA664E9C5}"/>
                </a:ext>
              </a:extLst>
            </p:cNvPr>
            <p:cNvSpPr>
              <a:spLocks/>
            </p:cNvSpPr>
            <p:nvPr/>
          </p:nvSpPr>
          <p:spPr bwMode="auto">
            <a:xfrm>
              <a:off x="9458684" y="3532141"/>
              <a:ext cx="312044" cy="188663"/>
            </a:xfrm>
            <a:custGeom>
              <a:avLst/>
              <a:gdLst>
                <a:gd name="T0" fmla="*/ 0 w 478"/>
                <a:gd name="T1" fmla="*/ 223 h 289"/>
                <a:gd name="T2" fmla="*/ 32 w 478"/>
                <a:gd name="T3" fmla="*/ 289 h 289"/>
                <a:gd name="T4" fmla="*/ 478 w 478"/>
                <a:gd name="T5" fmla="*/ 66 h 289"/>
                <a:gd name="T6" fmla="*/ 445 w 478"/>
                <a:gd name="T7" fmla="*/ 0 h 289"/>
                <a:gd name="T8" fmla="*/ 0 w 478"/>
                <a:gd name="T9" fmla="*/ 223 h 289"/>
              </a:gdLst>
              <a:ahLst/>
              <a:cxnLst>
                <a:cxn ang="0">
                  <a:pos x="T0" y="T1"/>
                </a:cxn>
                <a:cxn ang="0">
                  <a:pos x="T2" y="T3"/>
                </a:cxn>
                <a:cxn ang="0">
                  <a:pos x="T4" y="T5"/>
                </a:cxn>
                <a:cxn ang="0">
                  <a:pos x="T6" y="T7"/>
                </a:cxn>
                <a:cxn ang="0">
                  <a:pos x="T8" y="T9"/>
                </a:cxn>
              </a:cxnLst>
              <a:rect l="0" t="0" r="r" b="b"/>
              <a:pathLst>
                <a:path w="478" h="289">
                  <a:moveTo>
                    <a:pt x="0" y="223"/>
                  </a:moveTo>
                  <a:lnTo>
                    <a:pt x="32" y="289"/>
                  </a:lnTo>
                  <a:lnTo>
                    <a:pt x="478" y="66"/>
                  </a:lnTo>
                  <a:lnTo>
                    <a:pt x="445" y="0"/>
                  </a:lnTo>
                  <a:lnTo>
                    <a:pt x="0" y="22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1" name="Freeform 173">
              <a:extLst>
                <a:ext uri="{FF2B5EF4-FFF2-40B4-BE49-F238E27FC236}">
                  <a16:creationId xmlns:a16="http://schemas.microsoft.com/office/drawing/2014/main" id="{6142625E-92DB-4E29-936E-862361350DF7}"/>
                </a:ext>
              </a:extLst>
            </p:cNvPr>
            <p:cNvSpPr>
              <a:spLocks/>
            </p:cNvSpPr>
            <p:nvPr/>
          </p:nvSpPr>
          <p:spPr bwMode="auto">
            <a:xfrm>
              <a:off x="9401237" y="3417246"/>
              <a:ext cx="313350" cy="189316"/>
            </a:xfrm>
            <a:custGeom>
              <a:avLst/>
              <a:gdLst>
                <a:gd name="T0" fmla="*/ 0 w 480"/>
                <a:gd name="T1" fmla="*/ 223 h 290"/>
                <a:gd name="T2" fmla="*/ 34 w 480"/>
                <a:gd name="T3" fmla="*/ 290 h 290"/>
                <a:gd name="T4" fmla="*/ 480 w 480"/>
                <a:gd name="T5" fmla="*/ 67 h 290"/>
                <a:gd name="T6" fmla="*/ 446 w 480"/>
                <a:gd name="T7" fmla="*/ 0 h 290"/>
                <a:gd name="T8" fmla="*/ 0 w 480"/>
                <a:gd name="T9" fmla="*/ 223 h 290"/>
              </a:gdLst>
              <a:ahLst/>
              <a:cxnLst>
                <a:cxn ang="0">
                  <a:pos x="T0" y="T1"/>
                </a:cxn>
                <a:cxn ang="0">
                  <a:pos x="T2" y="T3"/>
                </a:cxn>
                <a:cxn ang="0">
                  <a:pos x="T4" y="T5"/>
                </a:cxn>
                <a:cxn ang="0">
                  <a:pos x="T6" y="T7"/>
                </a:cxn>
                <a:cxn ang="0">
                  <a:pos x="T8" y="T9"/>
                </a:cxn>
              </a:cxnLst>
              <a:rect l="0" t="0" r="r" b="b"/>
              <a:pathLst>
                <a:path w="480" h="290">
                  <a:moveTo>
                    <a:pt x="0" y="223"/>
                  </a:moveTo>
                  <a:lnTo>
                    <a:pt x="34" y="290"/>
                  </a:lnTo>
                  <a:lnTo>
                    <a:pt x="480" y="67"/>
                  </a:lnTo>
                  <a:lnTo>
                    <a:pt x="446" y="0"/>
                  </a:lnTo>
                  <a:lnTo>
                    <a:pt x="0" y="22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2" name="Freeform 174">
              <a:extLst>
                <a:ext uri="{FF2B5EF4-FFF2-40B4-BE49-F238E27FC236}">
                  <a16:creationId xmlns:a16="http://schemas.microsoft.com/office/drawing/2014/main" id="{12CB49C3-4DAA-4AE4-928F-5D2B792F827B}"/>
                </a:ext>
              </a:extLst>
            </p:cNvPr>
            <p:cNvSpPr>
              <a:spLocks/>
            </p:cNvSpPr>
            <p:nvPr/>
          </p:nvSpPr>
          <p:spPr bwMode="auto">
            <a:xfrm>
              <a:off x="9429308" y="3474041"/>
              <a:ext cx="313350" cy="189316"/>
            </a:xfrm>
            <a:custGeom>
              <a:avLst/>
              <a:gdLst>
                <a:gd name="T0" fmla="*/ 0 w 480"/>
                <a:gd name="T1" fmla="*/ 223 h 290"/>
                <a:gd name="T2" fmla="*/ 34 w 480"/>
                <a:gd name="T3" fmla="*/ 290 h 290"/>
                <a:gd name="T4" fmla="*/ 480 w 480"/>
                <a:gd name="T5" fmla="*/ 67 h 290"/>
                <a:gd name="T6" fmla="*/ 446 w 480"/>
                <a:gd name="T7" fmla="*/ 0 h 290"/>
                <a:gd name="T8" fmla="*/ 0 w 480"/>
                <a:gd name="T9" fmla="*/ 223 h 290"/>
              </a:gdLst>
              <a:ahLst/>
              <a:cxnLst>
                <a:cxn ang="0">
                  <a:pos x="T0" y="T1"/>
                </a:cxn>
                <a:cxn ang="0">
                  <a:pos x="T2" y="T3"/>
                </a:cxn>
                <a:cxn ang="0">
                  <a:pos x="T4" y="T5"/>
                </a:cxn>
                <a:cxn ang="0">
                  <a:pos x="T6" y="T7"/>
                </a:cxn>
                <a:cxn ang="0">
                  <a:pos x="T8" y="T9"/>
                </a:cxn>
              </a:cxnLst>
              <a:rect l="0" t="0" r="r" b="b"/>
              <a:pathLst>
                <a:path w="480" h="290">
                  <a:moveTo>
                    <a:pt x="0" y="223"/>
                  </a:moveTo>
                  <a:lnTo>
                    <a:pt x="34" y="290"/>
                  </a:lnTo>
                  <a:lnTo>
                    <a:pt x="480" y="67"/>
                  </a:lnTo>
                  <a:lnTo>
                    <a:pt x="446" y="0"/>
                  </a:lnTo>
                  <a:lnTo>
                    <a:pt x="0" y="22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3" name="Freeform 175">
              <a:extLst>
                <a:ext uri="{FF2B5EF4-FFF2-40B4-BE49-F238E27FC236}">
                  <a16:creationId xmlns:a16="http://schemas.microsoft.com/office/drawing/2014/main" id="{697D82BA-BDD1-4CBA-BB7C-00825E473AEE}"/>
                </a:ext>
              </a:extLst>
            </p:cNvPr>
            <p:cNvSpPr>
              <a:spLocks/>
            </p:cNvSpPr>
            <p:nvPr/>
          </p:nvSpPr>
          <p:spPr bwMode="auto">
            <a:xfrm>
              <a:off x="9473699" y="3479916"/>
              <a:ext cx="223915" cy="257208"/>
            </a:xfrm>
            <a:custGeom>
              <a:avLst/>
              <a:gdLst>
                <a:gd name="T0" fmla="*/ 323 w 343"/>
                <a:gd name="T1" fmla="*/ 0 h 394"/>
                <a:gd name="T2" fmla="*/ 247 w 343"/>
                <a:gd name="T3" fmla="*/ 67 h 394"/>
                <a:gd name="T4" fmla="*/ 279 w 343"/>
                <a:gd name="T5" fmla="*/ 78 h 394"/>
                <a:gd name="T6" fmla="*/ 251 w 343"/>
                <a:gd name="T7" fmla="*/ 161 h 394"/>
                <a:gd name="T8" fmla="*/ 157 w 343"/>
                <a:gd name="T9" fmla="*/ 130 h 394"/>
                <a:gd name="T10" fmla="*/ 104 w 343"/>
                <a:gd name="T11" fmla="*/ 290 h 394"/>
                <a:gd name="T12" fmla="*/ 28 w 343"/>
                <a:gd name="T13" fmla="*/ 265 h 394"/>
                <a:gd name="T14" fmla="*/ 0 w 343"/>
                <a:gd name="T15" fmla="*/ 350 h 394"/>
                <a:gd name="T16" fmla="*/ 22 w 343"/>
                <a:gd name="T17" fmla="*/ 394 h 394"/>
                <a:gd name="T18" fmla="*/ 50 w 343"/>
                <a:gd name="T19" fmla="*/ 308 h 394"/>
                <a:gd name="T20" fmla="*/ 126 w 343"/>
                <a:gd name="T21" fmla="*/ 334 h 394"/>
                <a:gd name="T22" fmla="*/ 179 w 343"/>
                <a:gd name="T23" fmla="*/ 173 h 394"/>
                <a:gd name="T24" fmla="*/ 272 w 343"/>
                <a:gd name="T25" fmla="*/ 205 h 394"/>
                <a:gd name="T26" fmla="*/ 312 w 343"/>
                <a:gd name="T27" fmla="*/ 89 h 394"/>
                <a:gd name="T28" fmla="*/ 343 w 343"/>
                <a:gd name="T29" fmla="*/ 99 h 394"/>
                <a:gd name="T30" fmla="*/ 323 w 343"/>
                <a:gd name="T31"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3" h="394">
                  <a:moveTo>
                    <a:pt x="323" y="0"/>
                  </a:moveTo>
                  <a:lnTo>
                    <a:pt x="247" y="67"/>
                  </a:lnTo>
                  <a:lnTo>
                    <a:pt x="279" y="78"/>
                  </a:lnTo>
                  <a:lnTo>
                    <a:pt x="251" y="161"/>
                  </a:lnTo>
                  <a:lnTo>
                    <a:pt x="157" y="130"/>
                  </a:lnTo>
                  <a:lnTo>
                    <a:pt x="104" y="290"/>
                  </a:lnTo>
                  <a:lnTo>
                    <a:pt x="28" y="265"/>
                  </a:lnTo>
                  <a:lnTo>
                    <a:pt x="0" y="350"/>
                  </a:lnTo>
                  <a:lnTo>
                    <a:pt x="22" y="394"/>
                  </a:lnTo>
                  <a:lnTo>
                    <a:pt x="50" y="308"/>
                  </a:lnTo>
                  <a:lnTo>
                    <a:pt x="126" y="334"/>
                  </a:lnTo>
                  <a:lnTo>
                    <a:pt x="179" y="173"/>
                  </a:lnTo>
                  <a:lnTo>
                    <a:pt x="272" y="205"/>
                  </a:lnTo>
                  <a:lnTo>
                    <a:pt x="312" y="89"/>
                  </a:lnTo>
                  <a:lnTo>
                    <a:pt x="343" y="99"/>
                  </a:lnTo>
                  <a:lnTo>
                    <a:pt x="323"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4" name="Freeform 176">
              <a:extLst>
                <a:ext uri="{FF2B5EF4-FFF2-40B4-BE49-F238E27FC236}">
                  <a16:creationId xmlns:a16="http://schemas.microsoft.com/office/drawing/2014/main" id="{B90D5E13-7F88-4E8B-97B1-C0BF067CF05C}"/>
                </a:ext>
              </a:extLst>
            </p:cNvPr>
            <p:cNvSpPr>
              <a:spLocks/>
            </p:cNvSpPr>
            <p:nvPr/>
          </p:nvSpPr>
          <p:spPr bwMode="auto">
            <a:xfrm>
              <a:off x="9533105" y="3649647"/>
              <a:ext cx="228484" cy="399521"/>
            </a:xfrm>
            <a:custGeom>
              <a:avLst/>
              <a:gdLst>
                <a:gd name="T0" fmla="*/ 258 w 258"/>
                <a:gd name="T1" fmla="*/ 184 h 450"/>
                <a:gd name="T2" fmla="*/ 177 w 258"/>
                <a:gd name="T3" fmla="*/ 84 h 450"/>
                <a:gd name="T4" fmla="*/ 133 w 258"/>
                <a:gd name="T5" fmla="*/ 130 h 450"/>
                <a:gd name="T6" fmla="*/ 81 w 258"/>
                <a:gd name="T7" fmla="*/ 127 h 450"/>
                <a:gd name="T8" fmla="*/ 76 w 258"/>
                <a:gd name="T9" fmla="*/ 119 h 450"/>
                <a:gd name="T10" fmla="*/ 71 w 258"/>
                <a:gd name="T11" fmla="*/ 67 h 450"/>
                <a:gd name="T12" fmla="*/ 84 w 258"/>
                <a:gd name="T13" fmla="*/ 49 h 450"/>
                <a:gd name="T14" fmla="*/ 85 w 258"/>
                <a:gd name="T15" fmla="*/ 12 h 450"/>
                <a:gd name="T16" fmla="*/ 76 w 258"/>
                <a:gd name="T17" fmla="*/ 0 h 450"/>
                <a:gd name="T18" fmla="*/ 28 w 258"/>
                <a:gd name="T19" fmla="*/ 56 h 450"/>
                <a:gd name="T20" fmla="*/ 12 w 258"/>
                <a:gd name="T21" fmla="*/ 148 h 450"/>
                <a:gd name="T22" fmla="*/ 41 w 258"/>
                <a:gd name="T23" fmla="*/ 332 h 450"/>
                <a:gd name="T24" fmla="*/ 0 w 258"/>
                <a:gd name="T25" fmla="*/ 435 h 450"/>
                <a:gd name="T26" fmla="*/ 130 w 258"/>
                <a:gd name="T27" fmla="*/ 450 h 450"/>
                <a:gd name="T28" fmla="*/ 159 w 258"/>
                <a:gd name="T29" fmla="*/ 339 h 450"/>
                <a:gd name="T30" fmla="*/ 159 w 258"/>
                <a:gd name="T31" fmla="*/ 338 h 450"/>
                <a:gd name="T32" fmla="*/ 258 w 258"/>
                <a:gd name="T33" fmla="*/ 184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8" h="450">
                  <a:moveTo>
                    <a:pt x="258" y="184"/>
                  </a:moveTo>
                  <a:cubicBezTo>
                    <a:pt x="177" y="84"/>
                    <a:pt x="177" y="84"/>
                    <a:pt x="177" y="84"/>
                  </a:cubicBezTo>
                  <a:cubicBezTo>
                    <a:pt x="133" y="130"/>
                    <a:pt x="133" y="130"/>
                    <a:pt x="133" y="130"/>
                  </a:cubicBezTo>
                  <a:cubicBezTo>
                    <a:pt x="118" y="145"/>
                    <a:pt x="94" y="143"/>
                    <a:pt x="81" y="127"/>
                  </a:cubicBezTo>
                  <a:cubicBezTo>
                    <a:pt x="76" y="119"/>
                    <a:pt x="76" y="119"/>
                    <a:pt x="76" y="119"/>
                  </a:cubicBezTo>
                  <a:cubicBezTo>
                    <a:pt x="71" y="67"/>
                    <a:pt x="71" y="67"/>
                    <a:pt x="71" y="67"/>
                  </a:cubicBezTo>
                  <a:cubicBezTo>
                    <a:pt x="84" y="49"/>
                    <a:pt x="84" y="49"/>
                    <a:pt x="84" y="49"/>
                  </a:cubicBezTo>
                  <a:cubicBezTo>
                    <a:pt x="92" y="38"/>
                    <a:pt x="93" y="23"/>
                    <a:pt x="85" y="12"/>
                  </a:cubicBezTo>
                  <a:cubicBezTo>
                    <a:pt x="76" y="0"/>
                    <a:pt x="76" y="0"/>
                    <a:pt x="76" y="0"/>
                  </a:cubicBezTo>
                  <a:cubicBezTo>
                    <a:pt x="28" y="56"/>
                    <a:pt x="28" y="56"/>
                    <a:pt x="28" y="56"/>
                  </a:cubicBezTo>
                  <a:cubicBezTo>
                    <a:pt x="12" y="148"/>
                    <a:pt x="12" y="148"/>
                    <a:pt x="12" y="148"/>
                  </a:cubicBezTo>
                  <a:cubicBezTo>
                    <a:pt x="41" y="332"/>
                    <a:pt x="41" y="332"/>
                    <a:pt x="41" y="332"/>
                  </a:cubicBezTo>
                  <a:cubicBezTo>
                    <a:pt x="0" y="435"/>
                    <a:pt x="0" y="435"/>
                    <a:pt x="0" y="435"/>
                  </a:cubicBezTo>
                  <a:cubicBezTo>
                    <a:pt x="130" y="450"/>
                    <a:pt x="130" y="450"/>
                    <a:pt x="130" y="450"/>
                  </a:cubicBezTo>
                  <a:cubicBezTo>
                    <a:pt x="159" y="339"/>
                    <a:pt x="159" y="339"/>
                    <a:pt x="159" y="339"/>
                  </a:cubicBezTo>
                  <a:cubicBezTo>
                    <a:pt x="159" y="338"/>
                    <a:pt x="159" y="338"/>
                    <a:pt x="159" y="338"/>
                  </a:cubicBezTo>
                  <a:lnTo>
                    <a:pt x="258" y="184"/>
                  </a:lnTo>
                  <a:close/>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5" name="Freeform 177">
              <a:extLst>
                <a:ext uri="{FF2B5EF4-FFF2-40B4-BE49-F238E27FC236}">
                  <a16:creationId xmlns:a16="http://schemas.microsoft.com/office/drawing/2014/main" id="{0E2117A4-62BA-4CE3-B091-1926209CE35D}"/>
                </a:ext>
              </a:extLst>
            </p:cNvPr>
            <p:cNvSpPr>
              <a:spLocks noEditPoints="1"/>
            </p:cNvSpPr>
            <p:nvPr/>
          </p:nvSpPr>
          <p:spPr bwMode="auto">
            <a:xfrm>
              <a:off x="9610789" y="3643772"/>
              <a:ext cx="206942" cy="336851"/>
            </a:xfrm>
            <a:custGeom>
              <a:avLst/>
              <a:gdLst>
                <a:gd name="T0" fmla="*/ 232 w 234"/>
                <a:gd name="T1" fmla="*/ 106 h 380"/>
                <a:gd name="T2" fmla="*/ 229 w 234"/>
                <a:gd name="T3" fmla="*/ 106 h 380"/>
                <a:gd name="T4" fmla="*/ 217 w 234"/>
                <a:gd name="T5" fmla="*/ 109 h 380"/>
                <a:gd name="T6" fmla="*/ 229 w 234"/>
                <a:gd name="T7" fmla="*/ 69 h 380"/>
                <a:gd name="T8" fmla="*/ 230 w 234"/>
                <a:gd name="T9" fmla="*/ 64 h 380"/>
                <a:gd name="T10" fmla="*/ 230 w 234"/>
                <a:gd name="T11" fmla="*/ 18 h 380"/>
                <a:gd name="T12" fmla="*/ 223 w 234"/>
                <a:gd name="T13" fmla="*/ 18 h 380"/>
                <a:gd name="T14" fmla="*/ 203 w 234"/>
                <a:gd name="T15" fmla="*/ 34 h 380"/>
                <a:gd name="T16" fmla="*/ 197 w 234"/>
                <a:gd name="T17" fmla="*/ 66 h 380"/>
                <a:gd name="T18" fmla="*/ 181 w 234"/>
                <a:gd name="T19" fmla="*/ 104 h 380"/>
                <a:gd name="T20" fmla="*/ 158 w 234"/>
                <a:gd name="T21" fmla="*/ 126 h 380"/>
                <a:gd name="T22" fmla="*/ 180 w 234"/>
                <a:gd name="T23" fmla="*/ 92 h 380"/>
                <a:gd name="T24" fmla="*/ 182 w 234"/>
                <a:gd name="T25" fmla="*/ 85 h 380"/>
                <a:gd name="T26" fmla="*/ 190 w 234"/>
                <a:gd name="T27" fmla="*/ 20 h 380"/>
                <a:gd name="T28" fmla="*/ 190 w 234"/>
                <a:gd name="T29" fmla="*/ 13 h 380"/>
                <a:gd name="T30" fmla="*/ 187 w 234"/>
                <a:gd name="T31" fmla="*/ 0 h 380"/>
                <a:gd name="T32" fmla="*/ 153 w 234"/>
                <a:gd name="T33" fmla="*/ 17 h 380"/>
                <a:gd name="T34" fmla="*/ 141 w 234"/>
                <a:gd name="T35" fmla="*/ 70 h 380"/>
                <a:gd name="T36" fmla="*/ 130 w 234"/>
                <a:gd name="T37" fmla="*/ 85 h 380"/>
                <a:gd name="T38" fmla="*/ 132 w 234"/>
                <a:gd name="T39" fmla="*/ 42 h 380"/>
                <a:gd name="T40" fmla="*/ 128 w 234"/>
                <a:gd name="T41" fmla="*/ 30 h 380"/>
                <a:gd name="T42" fmla="*/ 86 w 234"/>
                <a:gd name="T43" fmla="*/ 51 h 380"/>
                <a:gd name="T44" fmla="*/ 89 w 234"/>
                <a:gd name="T45" fmla="*/ 55 h 380"/>
                <a:gd name="T46" fmla="*/ 82 w 234"/>
                <a:gd name="T47" fmla="*/ 99 h 380"/>
                <a:gd name="T48" fmla="*/ 89 w 234"/>
                <a:gd name="T49" fmla="*/ 107 h 380"/>
                <a:gd name="T50" fmla="*/ 87 w 234"/>
                <a:gd name="T51" fmla="*/ 136 h 380"/>
                <a:gd name="T52" fmla="*/ 56 w 234"/>
                <a:gd name="T53" fmla="*/ 166 h 380"/>
                <a:gd name="T54" fmla="*/ 26 w 234"/>
                <a:gd name="T55" fmla="*/ 233 h 380"/>
                <a:gd name="T56" fmla="*/ 25 w 234"/>
                <a:gd name="T57" fmla="*/ 290 h 380"/>
                <a:gd name="T58" fmla="*/ 21 w 234"/>
                <a:gd name="T59" fmla="*/ 307 h 380"/>
                <a:gd name="T60" fmla="*/ 0 w 234"/>
                <a:gd name="T61" fmla="*/ 362 h 380"/>
                <a:gd name="T62" fmla="*/ 7 w 234"/>
                <a:gd name="T63" fmla="*/ 372 h 380"/>
                <a:gd name="T64" fmla="*/ 61 w 234"/>
                <a:gd name="T65" fmla="*/ 380 h 380"/>
                <a:gd name="T66" fmla="*/ 71 w 234"/>
                <a:gd name="T67" fmla="*/ 346 h 380"/>
                <a:gd name="T68" fmla="*/ 162 w 234"/>
                <a:gd name="T69" fmla="*/ 204 h 380"/>
                <a:gd name="T70" fmla="*/ 202 w 234"/>
                <a:gd name="T71" fmla="*/ 188 h 380"/>
                <a:gd name="T72" fmla="*/ 208 w 234"/>
                <a:gd name="T73" fmla="*/ 184 h 380"/>
                <a:gd name="T74" fmla="*/ 232 w 234"/>
                <a:gd name="T75" fmla="*/ 149 h 380"/>
                <a:gd name="T76" fmla="*/ 234 w 234"/>
                <a:gd name="T77" fmla="*/ 141 h 380"/>
                <a:gd name="T78" fmla="*/ 232 w 234"/>
                <a:gd name="T79" fmla="*/ 106 h 380"/>
                <a:gd name="T80" fmla="*/ 207 w 234"/>
                <a:gd name="T81" fmla="*/ 140 h 380"/>
                <a:gd name="T82" fmla="*/ 184 w 234"/>
                <a:gd name="T83" fmla="*/ 161 h 380"/>
                <a:gd name="T84" fmla="*/ 175 w 234"/>
                <a:gd name="T85" fmla="*/ 163 h 380"/>
                <a:gd name="T86" fmla="*/ 208 w 234"/>
                <a:gd name="T87" fmla="*/ 132 h 380"/>
                <a:gd name="T88" fmla="*/ 207 w 234"/>
                <a:gd name="T89" fmla="*/ 14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4" h="380">
                  <a:moveTo>
                    <a:pt x="232" y="106"/>
                  </a:moveTo>
                  <a:cubicBezTo>
                    <a:pt x="229" y="106"/>
                    <a:pt x="229" y="106"/>
                    <a:pt x="229" y="106"/>
                  </a:cubicBezTo>
                  <a:cubicBezTo>
                    <a:pt x="225" y="106"/>
                    <a:pt x="220" y="107"/>
                    <a:pt x="217" y="109"/>
                  </a:cubicBezTo>
                  <a:cubicBezTo>
                    <a:pt x="229" y="69"/>
                    <a:pt x="229" y="69"/>
                    <a:pt x="229" y="69"/>
                  </a:cubicBezTo>
                  <a:cubicBezTo>
                    <a:pt x="230" y="68"/>
                    <a:pt x="230" y="66"/>
                    <a:pt x="230" y="64"/>
                  </a:cubicBezTo>
                  <a:cubicBezTo>
                    <a:pt x="230" y="18"/>
                    <a:pt x="230" y="18"/>
                    <a:pt x="230" y="18"/>
                  </a:cubicBezTo>
                  <a:cubicBezTo>
                    <a:pt x="223" y="18"/>
                    <a:pt x="223" y="18"/>
                    <a:pt x="223" y="18"/>
                  </a:cubicBezTo>
                  <a:cubicBezTo>
                    <a:pt x="213" y="18"/>
                    <a:pt x="205" y="25"/>
                    <a:pt x="203" y="34"/>
                  </a:cubicBezTo>
                  <a:cubicBezTo>
                    <a:pt x="197" y="66"/>
                    <a:pt x="197" y="66"/>
                    <a:pt x="197" y="66"/>
                  </a:cubicBezTo>
                  <a:cubicBezTo>
                    <a:pt x="181" y="104"/>
                    <a:pt x="181" y="104"/>
                    <a:pt x="181" y="104"/>
                  </a:cubicBezTo>
                  <a:cubicBezTo>
                    <a:pt x="158" y="126"/>
                    <a:pt x="158" y="126"/>
                    <a:pt x="158" y="126"/>
                  </a:cubicBezTo>
                  <a:cubicBezTo>
                    <a:pt x="180" y="92"/>
                    <a:pt x="180" y="92"/>
                    <a:pt x="180" y="92"/>
                  </a:cubicBezTo>
                  <a:cubicBezTo>
                    <a:pt x="181" y="90"/>
                    <a:pt x="182" y="88"/>
                    <a:pt x="182" y="85"/>
                  </a:cubicBezTo>
                  <a:cubicBezTo>
                    <a:pt x="190" y="20"/>
                    <a:pt x="190" y="20"/>
                    <a:pt x="190" y="20"/>
                  </a:cubicBezTo>
                  <a:cubicBezTo>
                    <a:pt x="191" y="18"/>
                    <a:pt x="191" y="15"/>
                    <a:pt x="190" y="13"/>
                  </a:cubicBezTo>
                  <a:cubicBezTo>
                    <a:pt x="187" y="0"/>
                    <a:pt x="187" y="0"/>
                    <a:pt x="187" y="0"/>
                  </a:cubicBezTo>
                  <a:cubicBezTo>
                    <a:pt x="153" y="17"/>
                    <a:pt x="153" y="17"/>
                    <a:pt x="153" y="17"/>
                  </a:cubicBezTo>
                  <a:cubicBezTo>
                    <a:pt x="141" y="70"/>
                    <a:pt x="141" y="70"/>
                    <a:pt x="141" y="70"/>
                  </a:cubicBezTo>
                  <a:cubicBezTo>
                    <a:pt x="130" y="85"/>
                    <a:pt x="130" y="85"/>
                    <a:pt x="130" y="85"/>
                  </a:cubicBezTo>
                  <a:cubicBezTo>
                    <a:pt x="132" y="42"/>
                    <a:pt x="132" y="42"/>
                    <a:pt x="132" y="42"/>
                  </a:cubicBezTo>
                  <a:cubicBezTo>
                    <a:pt x="133" y="37"/>
                    <a:pt x="131" y="33"/>
                    <a:pt x="128" y="30"/>
                  </a:cubicBezTo>
                  <a:cubicBezTo>
                    <a:pt x="86" y="51"/>
                    <a:pt x="86" y="51"/>
                    <a:pt x="86" y="51"/>
                  </a:cubicBezTo>
                  <a:cubicBezTo>
                    <a:pt x="89" y="55"/>
                    <a:pt x="89" y="55"/>
                    <a:pt x="89" y="55"/>
                  </a:cubicBezTo>
                  <a:cubicBezTo>
                    <a:pt x="82" y="99"/>
                    <a:pt x="82" y="99"/>
                    <a:pt x="82" y="99"/>
                  </a:cubicBezTo>
                  <a:cubicBezTo>
                    <a:pt x="89" y="107"/>
                    <a:pt x="89" y="107"/>
                    <a:pt x="89" y="107"/>
                  </a:cubicBezTo>
                  <a:cubicBezTo>
                    <a:pt x="96" y="116"/>
                    <a:pt x="95" y="128"/>
                    <a:pt x="87" y="136"/>
                  </a:cubicBezTo>
                  <a:cubicBezTo>
                    <a:pt x="56" y="166"/>
                    <a:pt x="56" y="166"/>
                    <a:pt x="56" y="166"/>
                  </a:cubicBezTo>
                  <a:cubicBezTo>
                    <a:pt x="38" y="184"/>
                    <a:pt x="27" y="208"/>
                    <a:pt x="26" y="233"/>
                  </a:cubicBezTo>
                  <a:cubicBezTo>
                    <a:pt x="25" y="290"/>
                    <a:pt x="25" y="290"/>
                    <a:pt x="25" y="290"/>
                  </a:cubicBezTo>
                  <a:cubicBezTo>
                    <a:pt x="25" y="296"/>
                    <a:pt x="24" y="302"/>
                    <a:pt x="21" y="307"/>
                  </a:cubicBezTo>
                  <a:cubicBezTo>
                    <a:pt x="0" y="362"/>
                    <a:pt x="0" y="362"/>
                    <a:pt x="0" y="362"/>
                  </a:cubicBezTo>
                  <a:cubicBezTo>
                    <a:pt x="7" y="372"/>
                    <a:pt x="7" y="372"/>
                    <a:pt x="7" y="372"/>
                  </a:cubicBezTo>
                  <a:cubicBezTo>
                    <a:pt x="61" y="380"/>
                    <a:pt x="61" y="380"/>
                    <a:pt x="61" y="380"/>
                  </a:cubicBezTo>
                  <a:cubicBezTo>
                    <a:pt x="71" y="346"/>
                    <a:pt x="71" y="346"/>
                    <a:pt x="71" y="346"/>
                  </a:cubicBezTo>
                  <a:cubicBezTo>
                    <a:pt x="162" y="204"/>
                    <a:pt x="162" y="204"/>
                    <a:pt x="162" y="204"/>
                  </a:cubicBezTo>
                  <a:cubicBezTo>
                    <a:pt x="202" y="188"/>
                    <a:pt x="202" y="188"/>
                    <a:pt x="202" y="188"/>
                  </a:cubicBezTo>
                  <a:cubicBezTo>
                    <a:pt x="204" y="188"/>
                    <a:pt x="206" y="186"/>
                    <a:pt x="208" y="184"/>
                  </a:cubicBezTo>
                  <a:cubicBezTo>
                    <a:pt x="232" y="149"/>
                    <a:pt x="232" y="149"/>
                    <a:pt x="232" y="149"/>
                  </a:cubicBezTo>
                  <a:cubicBezTo>
                    <a:pt x="234" y="147"/>
                    <a:pt x="234" y="144"/>
                    <a:pt x="234" y="141"/>
                  </a:cubicBezTo>
                  <a:lnTo>
                    <a:pt x="232" y="106"/>
                  </a:lnTo>
                  <a:close/>
                  <a:moveTo>
                    <a:pt x="207" y="140"/>
                  </a:moveTo>
                  <a:cubicBezTo>
                    <a:pt x="184" y="161"/>
                    <a:pt x="184" y="161"/>
                    <a:pt x="184" y="161"/>
                  </a:cubicBezTo>
                  <a:cubicBezTo>
                    <a:pt x="175" y="163"/>
                    <a:pt x="175" y="163"/>
                    <a:pt x="175" y="163"/>
                  </a:cubicBezTo>
                  <a:cubicBezTo>
                    <a:pt x="208" y="132"/>
                    <a:pt x="208" y="132"/>
                    <a:pt x="208" y="132"/>
                  </a:cubicBezTo>
                  <a:lnTo>
                    <a:pt x="207" y="140"/>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6" name="Freeform 178">
              <a:extLst>
                <a:ext uri="{FF2B5EF4-FFF2-40B4-BE49-F238E27FC236}">
                  <a16:creationId xmlns:a16="http://schemas.microsoft.com/office/drawing/2014/main" id="{0C5B7C07-1FDD-4D96-BFB6-7D7D0923C633}"/>
                </a:ext>
              </a:extLst>
            </p:cNvPr>
            <p:cNvSpPr>
              <a:spLocks/>
            </p:cNvSpPr>
            <p:nvPr/>
          </p:nvSpPr>
          <p:spPr bwMode="auto">
            <a:xfrm>
              <a:off x="9695002" y="4169285"/>
              <a:ext cx="340768" cy="124687"/>
            </a:xfrm>
            <a:custGeom>
              <a:avLst/>
              <a:gdLst>
                <a:gd name="T0" fmla="*/ 270 w 385"/>
                <a:gd name="T1" fmla="*/ 69 h 141"/>
                <a:gd name="T2" fmla="*/ 91 w 385"/>
                <a:gd name="T3" fmla="*/ 95 h 141"/>
                <a:gd name="T4" fmla="*/ 54 w 385"/>
                <a:gd name="T5" fmla="*/ 80 h 141"/>
                <a:gd name="T6" fmla="*/ 17 w 385"/>
                <a:gd name="T7" fmla="*/ 50 h 141"/>
                <a:gd name="T8" fmla="*/ 0 w 385"/>
                <a:gd name="T9" fmla="*/ 65 h 141"/>
                <a:gd name="T10" fmla="*/ 30 w 385"/>
                <a:gd name="T11" fmla="*/ 141 h 141"/>
                <a:gd name="T12" fmla="*/ 61 w 385"/>
                <a:gd name="T13" fmla="*/ 130 h 141"/>
                <a:gd name="T14" fmla="*/ 261 w 385"/>
                <a:gd name="T15" fmla="*/ 105 h 141"/>
                <a:gd name="T16" fmla="*/ 345 w 385"/>
                <a:gd name="T17" fmla="*/ 65 h 141"/>
                <a:gd name="T18" fmla="*/ 385 w 385"/>
                <a:gd name="T19" fmla="*/ 3 h 141"/>
                <a:gd name="T20" fmla="*/ 382 w 385"/>
                <a:gd name="T21" fmla="*/ 2 h 141"/>
                <a:gd name="T22" fmla="*/ 364 w 385"/>
                <a:gd name="T23" fmla="*/ 7 h 141"/>
                <a:gd name="T24" fmla="*/ 331 w 385"/>
                <a:gd name="T25" fmla="*/ 48 h 141"/>
                <a:gd name="T26" fmla="*/ 270 w 385"/>
                <a:gd name="T27" fmla="*/ 6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5" h="141">
                  <a:moveTo>
                    <a:pt x="270" y="69"/>
                  </a:moveTo>
                  <a:cubicBezTo>
                    <a:pt x="270" y="69"/>
                    <a:pt x="196" y="80"/>
                    <a:pt x="91" y="95"/>
                  </a:cubicBezTo>
                  <a:cubicBezTo>
                    <a:pt x="76" y="97"/>
                    <a:pt x="62" y="91"/>
                    <a:pt x="54" y="80"/>
                  </a:cubicBezTo>
                  <a:cubicBezTo>
                    <a:pt x="39" y="61"/>
                    <a:pt x="20" y="51"/>
                    <a:pt x="17" y="50"/>
                  </a:cubicBezTo>
                  <a:cubicBezTo>
                    <a:pt x="0" y="65"/>
                    <a:pt x="0" y="65"/>
                    <a:pt x="0" y="65"/>
                  </a:cubicBezTo>
                  <a:cubicBezTo>
                    <a:pt x="30" y="141"/>
                    <a:pt x="30" y="141"/>
                    <a:pt x="30" y="141"/>
                  </a:cubicBezTo>
                  <a:cubicBezTo>
                    <a:pt x="61" y="130"/>
                    <a:pt x="61" y="130"/>
                    <a:pt x="61" y="130"/>
                  </a:cubicBezTo>
                  <a:cubicBezTo>
                    <a:pt x="261" y="105"/>
                    <a:pt x="261" y="105"/>
                    <a:pt x="261" y="105"/>
                  </a:cubicBezTo>
                  <a:cubicBezTo>
                    <a:pt x="345" y="65"/>
                    <a:pt x="345" y="65"/>
                    <a:pt x="345" y="65"/>
                  </a:cubicBezTo>
                  <a:cubicBezTo>
                    <a:pt x="385" y="3"/>
                    <a:pt x="385" y="3"/>
                    <a:pt x="385" y="3"/>
                  </a:cubicBezTo>
                  <a:cubicBezTo>
                    <a:pt x="382" y="2"/>
                    <a:pt x="382" y="2"/>
                    <a:pt x="382" y="2"/>
                  </a:cubicBezTo>
                  <a:cubicBezTo>
                    <a:pt x="375" y="0"/>
                    <a:pt x="368" y="2"/>
                    <a:pt x="364" y="7"/>
                  </a:cubicBezTo>
                  <a:cubicBezTo>
                    <a:pt x="331" y="48"/>
                    <a:pt x="331" y="48"/>
                    <a:pt x="331" y="48"/>
                  </a:cubicBezTo>
                  <a:lnTo>
                    <a:pt x="270" y="69"/>
                  </a:lnTo>
                  <a:close/>
                </a:path>
              </a:pathLst>
            </a:custGeom>
            <a:solidFill>
              <a:srgbClr val="E3C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7" name="Freeform 179">
              <a:extLst>
                <a:ext uri="{FF2B5EF4-FFF2-40B4-BE49-F238E27FC236}">
                  <a16:creationId xmlns:a16="http://schemas.microsoft.com/office/drawing/2014/main" id="{2570CDA1-EF57-47FC-ACC8-E1F16C3D1D34}"/>
                </a:ext>
              </a:extLst>
            </p:cNvPr>
            <p:cNvSpPr>
              <a:spLocks/>
            </p:cNvSpPr>
            <p:nvPr/>
          </p:nvSpPr>
          <p:spPr bwMode="auto">
            <a:xfrm>
              <a:off x="9907166" y="4079197"/>
              <a:ext cx="90741" cy="86171"/>
            </a:xfrm>
            <a:custGeom>
              <a:avLst/>
              <a:gdLst>
                <a:gd name="T0" fmla="*/ 63 w 102"/>
                <a:gd name="T1" fmla="*/ 2 h 97"/>
                <a:gd name="T2" fmla="*/ 29 w 102"/>
                <a:gd name="T3" fmla="*/ 17 h 97"/>
                <a:gd name="T4" fmla="*/ 12 w 102"/>
                <a:gd name="T5" fmla="*/ 37 h 97"/>
                <a:gd name="T6" fmla="*/ 0 w 102"/>
                <a:gd name="T7" fmla="*/ 97 h 97"/>
                <a:gd name="T8" fmla="*/ 1 w 102"/>
                <a:gd name="T9" fmla="*/ 97 h 97"/>
                <a:gd name="T10" fmla="*/ 5 w 102"/>
                <a:gd name="T11" fmla="*/ 86 h 97"/>
                <a:gd name="T12" fmla="*/ 33 w 102"/>
                <a:gd name="T13" fmla="*/ 36 h 97"/>
                <a:gd name="T14" fmla="*/ 71 w 102"/>
                <a:gd name="T15" fmla="*/ 21 h 97"/>
                <a:gd name="T16" fmla="*/ 102 w 102"/>
                <a:gd name="T17" fmla="*/ 32 h 97"/>
                <a:gd name="T18" fmla="*/ 101 w 102"/>
                <a:gd name="T19" fmla="*/ 12 h 97"/>
                <a:gd name="T20" fmla="*/ 84 w 102"/>
                <a:gd name="T21" fmla="*/ 3 h 97"/>
                <a:gd name="T22" fmla="*/ 63 w 102"/>
                <a:gd name="T23"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97">
                  <a:moveTo>
                    <a:pt x="63" y="2"/>
                  </a:moveTo>
                  <a:cubicBezTo>
                    <a:pt x="29" y="17"/>
                    <a:pt x="29" y="17"/>
                    <a:pt x="29" y="17"/>
                  </a:cubicBezTo>
                  <a:cubicBezTo>
                    <a:pt x="20" y="21"/>
                    <a:pt x="14" y="28"/>
                    <a:pt x="12" y="37"/>
                  </a:cubicBezTo>
                  <a:cubicBezTo>
                    <a:pt x="0" y="97"/>
                    <a:pt x="0" y="97"/>
                    <a:pt x="0" y="97"/>
                  </a:cubicBezTo>
                  <a:cubicBezTo>
                    <a:pt x="1" y="97"/>
                    <a:pt x="1" y="97"/>
                    <a:pt x="1" y="97"/>
                  </a:cubicBezTo>
                  <a:cubicBezTo>
                    <a:pt x="2" y="93"/>
                    <a:pt x="3" y="89"/>
                    <a:pt x="5" y="86"/>
                  </a:cubicBezTo>
                  <a:cubicBezTo>
                    <a:pt x="33" y="36"/>
                    <a:pt x="33" y="36"/>
                    <a:pt x="33" y="36"/>
                  </a:cubicBezTo>
                  <a:cubicBezTo>
                    <a:pt x="71" y="21"/>
                    <a:pt x="71" y="21"/>
                    <a:pt x="71" y="21"/>
                  </a:cubicBezTo>
                  <a:cubicBezTo>
                    <a:pt x="102" y="32"/>
                    <a:pt x="102" y="32"/>
                    <a:pt x="102" y="32"/>
                  </a:cubicBezTo>
                  <a:cubicBezTo>
                    <a:pt x="101" y="12"/>
                    <a:pt x="101" y="12"/>
                    <a:pt x="101" y="12"/>
                  </a:cubicBezTo>
                  <a:cubicBezTo>
                    <a:pt x="84" y="3"/>
                    <a:pt x="84" y="3"/>
                    <a:pt x="84" y="3"/>
                  </a:cubicBezTo>
                  <a:cubicBezTo>
                    <a:pt x="78" y="0"/>
                    <a:pt x="70" y="0"/>
                    <a:pt x="63" y="2"/>
                  </a:cubicBezTo>
                </a:path>
              </a:pathLst>
            </a:custGeom>
            <a:solidFill>
              <a:srgbClr val="E3C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8" name="Freeform 180">
              <a:extLst>
                <a:ext uri="{FF2B5EF4-FFF2-40B4-BE49-F238E27FC236}">
                  <a16:creationId xmlns:a16="http://schemas.microsoft.com/office/drawing/2014/main" id="{5DCCC901-53C5-4335-903A-77C796BC5E44}"/>
                </a:ext>
              </a:extLst>
            </p:cNvPr>
            <p:cNvSpPr>
              <a:spLocks/>
            </p:cNvSpPr>
            <p:nvPr/>
          </p:nvSpPr>
          <p:spPr bwMode="auto">
            <a:xfrm>
              <a:off x="9310496" y="4179730"/>
              <a:ext cx="437384" cy="186051"/>
            </a:xfrm>
            <a:custGeom>
              <a:avLst/>
              <a:gdLst>
                <a:gd name="T0" fmla="*/ 418 w 494"/>
                <a:gd name="T1" fmla="*/ 0 h 210"/>
                <a:gd name="T2" fmla="*/ 494 w 494"/>
                <a:gd name="T3" fmla="*/ 142 h 210"/>
                <a:gd name="T4" fmla="*/ 361 w 494"/>
                <a:gd name="T5" fmla="*/ 210 h 210"/>
                <a:gd name="T6" fmla="*/ 0 w 494"/>
                <a:gd name="T7" fmla="*/ 210 h 210"/>
                <a:gd name="T8" fmla="*/ 418 w 494"/>
                <a:gd name="T9" fmla="*/ 0 h 210"/>
              </a:gdLst>
              <a:ahLst/>
              <a:cxnLst>
                <a:cxn ang="0">
                  <a:pos x="T0" y="T1"/>
                </a:cxn>
                <a:cxn ang="0">
                  <a:pos x="T2" y="T3"/>
                </a:cxn>
                <a:cxn ang="0">
                  <a:pos x="T4" y="T5"/>
                </a:cxn>
                <a:cxn ang="0">
                  <a:pos x="T6" y="T7"/>
                </a:cxn>
                <a:cxn ang="0">
                  <a:pos x="T8" y="T9"/>
                </a:cxn>
              </a:cxnLst>
              <a:rect l="0" t="0" r="r" b="b"/>
              <a:pathLst>
                <a:path w="494" h="210">
                  <a:moveTo>
                    <a:pt x="418" y="0"/>
                  </a:moveTo>
                  <a:cubicBezTo>
                    <a:pt x="418" y="0"/>
                    <a:pt x="489" y="56"/>
                    <a:pt x="494" y="142"/>
                  </a:cubicBezTo>
                  <a:cubicBezTo>
                    <a:pt x="414" y="183"/>
                    <a:pt x="361" y="210"/>
                    <a:pt x="361" y="210"/>
                  </a:cubicBezTo>
                  <a:cubicBezTo>
                    <a:pt x="0" y="210"/>
                    <a:pt x="0" y="210"/>
                    <a:pt x="0" y="210"/>
                  </a:cubicBezTo>
                  <a:lnTo>
                    <a:pt x="418"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9" name="Freeform 181">
              <a:extLst>
                <a:ext uri="{FF2B5EF4-FFF2-40B4-BE49-F238E27FC236}">
                  <a16:creationId xmlns:a16="http://schemas.microsoft.com/office/drawing/2014/main" id="{0D98FC0F-65A9-4A64-9FC0-C99767D29FC7}"/>
                </a:ext>
              </a:extLst>
            </p:cNvPr>
            <p:cNvSpPr>
              <a:spLocks/>
            </p:cNvSpPr>
            <p:nvPr/>
          </p:nvSpPr>
          <p:spPr bwMode="auto">
            <a:xfrm>
              <a:off x="9550731" y="4251540"/>
              <a:ext cx="197149" cy="114242"/>
            </a:xfrm>
            <a:custGeom>
              <a:avLst/>
              <a:gdLst>
                <a:gd name="T0" fmla="*/ 0 w 223"/>
                <a:gd name="T1" fmla="*/ 97 h 129"/>
                <a:gd name="T2" fmla="*/ 207 w 223"/>
                <a:gd name="T3" fmla="*/ 0 h 129"/>
                <a:gd name="T4" fmla="*/ 223 w 223"/>
                <a:gd name="T5" fmla="*/ 61 h 129"/>
                <a:gd name="T6" fmla="*/ 90 w 223"/>
                <a:gd name="T7" fmla="*/ 129 h 129"/>
                <a:gd name="T8" fmla="*/ 68 w 223"/>
                <a:gd name="T9" fmla="*/ 129 h 129"/>
                <a:gd name="T10" fmla="*/ 0 w 223"/>
                <a:gd name="T11" fmla="*/ 97 h 129"/>
              </a:gdLst>
              <a:ahLst/>
              <a:cxnLst>
                <a:cxn ang="0">
                  <a:pos x="T0" y="T1"/>
                </a:cxn>
                <a:cxn ang="0">
                  <a:pos x="T2" y="T3"/>
                </a:cxn>
                <a:cxn ang="0">
                  <a:pos x="T4" y="T5"/>
                </a:cxn>
                <a:cxn ang="0">
                  <a:pos x="T6" y="T7"/>
                </a:cxn>
                <a:cxn ang="0">
                  <a:pos x="T8" y="T9"/>
                </a:cxn>
                <a:cxn ang="0">
                  <a:pos x="T10" y="T11"/>
                </a:cxn>
              </a:cxnLst>
              <a:rect l="0" t="0" r="r" b="b"/>
              <a:pathLst>
                <a:path w="223" h="129">
                  <a:moveTo>
                    <a:pt x="0" y="97"/>
                  </a:moveTo>
                  <a:cubicBezTo>
                    <a:pt x="207" y="0"/>
                    <a:pt x="207" y="0"/>
                    <a:pt x="207" y="0"/>
                  </a:cubicBezTo>
                  <a:cubicBezTo>
                    <a:pt x="207" y="0"/>
                    <a:pt x="222" y="25"/>
                    <a:pt x="223" y="61"/>
                  </a:cubicBezTo>
                  <a:cubicBezTo>
                    <a:pt x="156" y="95"/>
                    <a:pt x="90" y="129"/>
                    <a:pt x="90" y="129"/>
                  </a:cubicBezTo>
                  <a:cubicBezTo>
                    <a:pt x="68" y="129"/>
                    <a:pt x="68" y="129"/>
                    <a:pt x="68" y="129"/>
                  </a:cubicBezTo>
                  <a:lnTo>
                    <a:pt x="0" y="9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0" name="Freeform 182">
              <a:extLst>
                <a:ext uri="{FF2B5EF4-FFF2-40B4-BE49-F238E27FC236}">
                  <a16:creationId xmlns:a16="http://schemas.microsoft.com/office/drawing/2014/main" id="{83CE0A15-55C6-442B-9C0B-87F39D46CD7B}"/>
                </a:ext>
              </a:extLst>
            </p:cNvPr>
            <p:cNvSpPr>
              <a:spLocks/>
            </p:cNvSpPr>
            <p:nvPr/>
          </p:nvSpPr>
          <p:spPr bwMode="auto">
            <a:xfrm>
              <a:off x="9533105" y="3955163"/>
              <a:ext cx="147536" cy="88782"/>
            </a:xfrm>
            <a:custGeom>
              <a:avLst/>
              <a:gdLst>
                <a:gd name="T0" fmla="*/ 154 w 167"/>
                <a:gd name="T1" fmla="*/ 75 h 100"/>
                <a:gd name="T2" fmla="*/ 167 w 167"/>
                <a:gd name="T3" fmla="*/ 17 h 100"/>
                <a:gd name="T4" fmla="*/ 165 w 167"/>
                <a:gd name="T5" fmla="*/ 16 h 100"/>
                <a:gd name="T6" fmla="*/ 26 w 167"/>
                <a:gd name="T7" fmla="*/ 9 h 100"/>
                <a:gd name="T8" fmla="*/ 0 w 167"/>
                <a:gd name="T9" fmla="*/ 75 h 100"/>
                <a:gd name="T10" fmla="*/ 76 w 167"/>
                <a:gd name="T11" fmla="*/ 100 h 100"/>
                <a:gd name="T12" fmla="*/ 154 w 167"/>
                <a:gd name="T13" fmla="*/ 75 h 100"/>
              </a:gdLst>
              <a:ahLst/>
              <a:cxnLst>
                <a:cxn ang="0">
                  <a:pos x="T0" y="T1"/>
                </a:cxn>
                <a:cxn ang="0">
                  <a:pos x="T2" y="T3"/>
                </a:cxn>
                <a:cxn ang="0">
                  <a:pos x="T4" y="T5"/>
                </a:cxn>
                <a:cxn ang="0">
                  <a:pos x="T6" y="T7"/>
                </a:cxn>
                <a:cxn ang="0">
                  <a:pos x="T8" y="T9"/>
                </a:cxn>
                <a:cxn ang="0">
                  <a:pos x="T10" y="T11"/>
                </a:cxn>
                <a:cxn ang="0">
                  <a:pos x="T12" y="T13"/>
                </a:cxn>
              </a:cxnLst>
              <a:rect l="0" t="0" r="r" b="b"/>
              <a:pathLst>
                <a:path w="167" h="100">
                  <a:moveTo>
                    <a:pt x="154" y="75"/>
                  </a:moveTo>
                  <a:cubicBezTo>
                    <a:pt x="167" y="17"/>
                    <a:pt x="167" y="17"/>
                    <a:pt x="167" y="17"/>
                  </a:cubicBezTo>
                  <a:cubicBezTo>
                    <a:pt x="165" y="16"/>
                    <a:pt x="165" y="16"/>
                    <a:pt x="165" y="16"/>
                  </a:cubicBezTo>
                  <a:cubicBezTo>
                    <a:pt x="120" y="2"/>
                    <a:pt x="72" y="0"/>
                    <a:pt x="26" y="9"/>
                  </a:cubicBezTo>
                  <a:cubicBezTo>
                    <a:pt x="0" y="75"/>
                    <a:pt x="0" y="75"/>
                    <a:pt x="0" y="75"/>
                  </a:cubicBezTo>
                  <a:cubicBezTo>
                    <a:pt x="76" y="100"/>
                    <a:pt x="76" y="100"/>
                    <a:pt x="76" y="100"/>
                  </a:cubicBezTo>
                  <a:lnTo>
                    <a:pt x="154" y="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1" name="Freeform 183">
              <a:extLst>
                <a:ext uri="{FF2B5EF4-FFF2-40B4-BE49-F238E27FC236}">
                  <a16:creationId xmlns:a16="http://schemas.microsoft.com/office/drawing/2014/main" id="{83BE3072-B97F-401E-9785-019487DFA9F1}"/>
                </a:ext>
              </a:extLst>
            </p:cNvPr>
            <p:cNvSpPr>
              <a:spLocks/>
            </p:cNvSpPr>
            <p:nvPr/>
          </p:nvSpPr>
          <p:spPr bwMode="auto">
            <a:xfrm>
              <a:off x="9625151" y="3960385"/>
              <a:ext cx="55489" cy="62017"/>
            </a:xfrm>
            <a:custGeom>
              <a:avLst/>
              <a:gdLst>
                <a:gd name="T0" fmla="*/ 15 w 63"/>
                <a:gd name="T1" fmla="*/ 0 h 70"/>
                <a:gd name="T2" fmla="*/ 0 w 63"/>
                <a:gd name="T3" fmla="*/ 56 h 70"/>
                <a:gd name="T4" fmla="*/ 48 w 63"/>
                <a:gd name="T5" fmla="*/ 70 h 70"/>
                <a:gd name="T6" fmla="*/ 50 w 63"/>
                <a:gd name="T7" fmla="*/ 69 h 70"/>
                <a:gd name="T8" fmla="*/ 63 w 63"/>
                <a:gd name="T9" fmla="*/ 11 h 70"/>
                <a:gd name="T10" fmla="*/ 61 w 63"/>
                <a:gd name="T11" fmla="*/ 10 h 70"/>
                <a:gd name="T12" fmla="*/ 15 w 63"/>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63" h="70">
                  <a:moveTo>
                    <a:pt x="15" y="0"/>
                  </a:moveTo>
                  <a:cubicBezTo>
                    <a:pt x="0" y="56"/>
                    <a:pt x="0" y="56"/>
                    <a:pt x="0" y="56"/>
                  </a:cubicBezTo>
                  <a:cubicBezTo>
                    <a:pt x="48" y="70"/>
                    <a:pt x="48" y="70"/>
                    <a:pt x="48" y="70"/>
                  </a:cubicBezTo>
                  <a:cubicBezTo>
                    <a:pt x="50" y="69"/>
                    <a:pt x="50" y="69"/>
                    <a:pt x="50" y="69"/>
                  </a:cubicBezTo>
                  <a:cubicBezTo>
                    <a:pt x="63" y="11"/>
                    <a:pt x="63" y="11"/>
                    <a:pt x="63" y="11"/>
                  </a:cubicBezTo>
                  <a:cubicBezTo>
                    <a:pt x="61" y="10"/>
                    <a:pt x="61" y="10"/>
                    <a:pt x="61" y="10"/>
                  </a:cubicBezTo>
                  <a:cubicBezTo>
                    <a:pt x="46" y="6"/>
                    <a:pt x="31" y="2"/>
                    <a:pt x="15" y="0"/>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2" name="Freeform 184">
              <a:extLst>
                <a:ext uri="{FF2B5EF4-FFF2-40B4-BE49-F238E27FC236}">
                  <a16:creationId xmlns:a16="http://schemas.microsoft.com/office/drawing/2014/main" id="{1DFE56DB-4EA1-42E1-841A-97783F9076AE}"/>
                </a:ext>
              </a:extLst>
            </p:cNvPr>
            <p:cNvSpPr>
              <a:spLocks/>
            </p:cNvSpPr>
            <p:nvPr/>
          </p:nvSpPr>
          <p:spPr bwMode="auto">
            <a:xfrm>
              <a:off x="9411682" y="3987803"/>
              <a:ext cx="272875" cy="377978"/>
            </a:xfrm>
            <a:custGeom>
              <a:avLst/>
              <a:gdLst>
                <a:gd name="T0" fmla="*/ 129 w 308"/>
                <a:gd name="T1" fmla="*/ 29 h 426"/>
                <a:gd name="T2" fmla="*/ 130 w 308"/>
                <a:gd name="T3" fmla="*/ 29 h 426"/>
                <a:gd name="T4" fmla="*/ 308 w 308"/>
                <a:gd name="T5" fmla="*/ 36 h 426"/>
                <a:gd name="T6" fmla="*/ 225 w 308"/>
                <a:gd name="T7" fmla="*/ 426 h 426"/>
                <a:gd name="T8" fmla="*/ 0 w 308"/>
                <a:gd name="T9" fmla="*/ 426 h 426"/>
                <a:gd name="T10" fmla="*/ 129 w 308"/>
                <a:gd name="T11" fmla="*/ 29 h 426"/>
              </a:gdLst>
              <a:ahLst/>
              <a:cxnLst>
                <a:cxn ang="0">
                  <a:pos x="T0" y="T1"/>
                </a:cxn>
                <a:cxn ang="0">
                  <a:pos x="T2" y="T3"/>
                </a:cxn>
                <a:cxn ang="0">
                  <a:pos x="T4" y="T5"/>
                </a:cxn>
                <a:cxn ang="0">
                  <a:pos x="T6" y="T7"/>
                </a:cxn>
                <a:cxn ang="0">
                  <a:pos x="T8" y="T9"/>
                </a:cxn>
                <a:cxn ang="0">
                  <a:pos x="T10" y="T11"/>
                </a:cxn>
              </a:cxnLst>
              <a:rect l="0" t="0" r="r" b="b"/>
              <a:pathLst>
                <a:path w="308" h="426">
                  <a:moveTo>
                    <a:pt x="129" y="29"/>
                  </a:moveTo>
                  <a:cubicBezTo>
                    <a:pt x="130" y="29"/>
                    <a:pt x="130" y="29"/>
                    <a:pt x="130" y="29"/>
                  </a:cubicBezTo>
                  <a:cubicBezTo>
                    <a:pt x="187" y="0"/>
                    <a:pt x="251" y="8"/>
                    <a:pt x="308" y="36"/>
                  </a:cubicBezTo>
                  <a:cubicBezTo>
                    <a:pt x="225" y="426"/>
                    <a:pt x="225" y="426"/>
                    <a:pt x="225" y="426"/>
                  </a:cubicBezTo>
                  <a:cubicBezTo>
                    <a:pt x="0" y="426"/>
                    <a:pt x="0" y="426"/>
                    <a:pt x="0" y="426"/>
                  </a:cubicBezTo>
                  <a:lnTo>
                    <a:pt x="129" y="29"/>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3" name="Oval 185">
              <a:extLst>
                <a:ext uri="{FF2B5EF4-FFF2-40B4-BE49-F238E27FC236}">
                  <a16:creationId xmlns:a16="http://schemas.microsoft.com/office/drawing/2014/main" id="{6685BA2E-E794-4592-A67D-AEC49FA22675}"/>
                </a:ext>
              </a:extLst>
            </p:cNvPr>
            <p:cNvSpPr>
              <a:spLocks noChangeArrowheads="1"/>
            </p:cNvSpPr>
            <p:nvPr/>
          </p:nvSpPr>
          <p:spPr bwMode="auto">
            <a:xfrm>
              <a:off x="9538327" y="4027625"/>
              <a:ext cx="25460" cy="26112"/>
            </a:xfrm>
            <a:prstGeom prst="ellipse">
              <a:avLst/>
            </a:pr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4" name="Freeform 186">
              <a:extLst>
                <a:ext uri="{FF2B5EF4-FFF2-40B4-BE49-F238E27FC236}">
                  <a16:creationId xmlns:a16="http://schemas.microsoft.com/office/drawing/2014/main" id="{CD680026-DF5C-4014-800B-B3AEA2413605}"/>
                </a:ext>
              </a:extLst>
            </p:cNvPr>
            <p:cNvSpPr>
              <a:spLocks/>
            </p:cNvSpPr>
            <p:nvPr/>
          </p:nvSpPr>
          <p:spPr bwMode="auto">
            <a:xfrm>
              <a:off x="9521354" y="3998901"/>
              <a:ext cx="163203" cy="366880"/>
            </a:xfrm>
            <a:custGeom>
              <a:avLst/>
              <a:gdLst>
                <a:gd name="T0" fmla="*/ 0 w 184"/>
                <a:gd name="T1" fmla="*/ 414 h 414"/>
                <a:gd name="T2" fmla="*/ 108 w 184"/>
                <a:gd name="T3" fmla="*/ 0 h 414"/>
                <a:gd name="T4" fmla="*/ 184 w 184"/>
                <a:gd name="T5" fmla="*/ 24 h 414"/>
                <a:gd name="T6" fmla="*/ 101 w 184"/>
                <a:gd name="T7" fmla="*/ 414 h 414"/>
                <a:gd name="T8" fmla="*/ 0 w 184"/>
                <a:gd name="T9" fmla="*/ 414 h 414"/>
              </a:gdLst>
              <a:ahLst/>
              <a:cxnLst>
                <a:cxn ang="0">
                  <a:pos x="T0" y="T1"/>
                </a:cxn>
                <a:cxn ang="0">
                  <a:pos x="T2" y="T3"/>
                </a:cxn>
                <a:cxn ang="0">
                  <a:pos x="T4" y="T5"/>
                </a:cxn>
                <a:cxn ang="0">
                  <a:pos x="T6" y="T7"/>
                </a:cxn>
                <a:cxn ang="0">
                  <a:pos x="T8" y="T9"/>
                </a:cxn>
              </a:cxnLst>
              <a:rect l="0" t="0" r="r" b="b"/>
              <a:pathLst>
                <a:path w="184" h="414">
                  <a:moveTo>
                    <a:pt x="0" y="414"/>
                  </a:moveTo>
                  <a:cubicBezTo>
                    <a:pt x="108" y="0"/>
                    <a:pt x="108" y="0"/>
                    <a:pt x="108" y="0"/>
                  </a:cubicBezTo>
                  <a:cubicBezTo>
                    <a:pt x="108" y="0"/>
                    <a:pt x="150" y="5"/>
                    <a:pt x="184" y="24"/>
                  </a:cubicBezTo>
                  <a:cubicBezTo>
                    <a:pt x="163" y="120"/>
                    <a:pt x="101" y="414"/>
                    <a:pt x="101" y="414"/>
                  </a:cubicBezTo>
                  <a:lnTo>
                    <a:pt x="0" y="414"/>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5" name="Freeform 187">
              <a:extLst>
                <a:ext uri="{FF2B5EF4-FFF2-40B4-BE49-F238E27FC236}">
                  <a16:creationId xmlns:a16="http://schemas.microsoft.com/office/drawing/2014/main" id="{7178D27D-9EF4-49A9-941A-4B8738ED2DAF}"/>
                </a:ext>
              </a:extLst>
            </p:cNvPr>
            <p:cNvSpPr>
              <a:spLocks/>
            </p:cNvSpPr>
            <p:nvPr/>
          </p:nvSpPr>
          <p:spPr bwMode="auto">
            <a:xfrm>
              <a:off x="9375124" y="3095409"/>
              <a:ext cx="247416" cy="486998"/>
            </a:xfrm>
            <a:custGeom>
              <a:avLst/>
              <a:gdLst>
                <a:gd name="T0" fmla="*/ 279 w 279"/>
                <a:gd name="T1" fmla="*/ 7 h 549"/>
                <a:gd name="T2" fmla="*/ 263 w 279"/>
                <a:gd name="T3" fmla="*/ 0 h 549"/>
                <a:gd name="T4" fmla="*/ 157 w 279"/>
                <a:gd name="T5" fmla="*/ 0 h 549"/>
                <a:gd name="T6" fmla="*/ 100 w 279"/>
                <a:gd name="T7" fmla="*/ 187 h 549"/>
                <a:gd name="T8" fmla="*/ 17 w 279"/>
                <a:gd name="T9" fmla="*/ 362 h 549"/>
                <a:gd name="T10" fmla="*/ 12 w 279"/>
                <a:gd name="T11" fmla="*/ 372 h 549"/>
                <a:gd name="T12" fmla="*/ 4 w 279"/>
                <a:gd name="T13" fmla="*/ 432 h 549"/>
                <a:gd name="T14" fmla="*/ 8 w 279"/>
                <a:gd name="T15" fmla="*/ 451 h 549"/>
                <a:gd name="T16" fmla="*/ 31 w 279"/>
                <a:gd name="T17" fmla="*/ 463 h 549"/>
                <a:gd name="T18" fmla="*/ 40 w 279"/>
                <a:gd name="T19" fmla="*/ 459 h 549"/>
                <a:gd name="T20" fmla="*/ 51 w 279"/>
                <a:gd name="T21" fmla="*/ 468 h 549"/>
                <a:gd name="T22" fmla="*/ 62 w 279"/>
                <a:gd name="T23" fmla="*/ 466 h 549"/>
                <a:gd name="T24" fmla="*/ 69 w 279"/>
                <a:gd name="T25" fmla="*/ 457 h 549"/>
                <a:gd name="T26" fmla="*/ 74 w 279"/>
                <a:gd name="T27" fmla="*/ 505 h 549"/>
                <a:gd name="T28" fmla="*/ 74 w 279"/>
                <a:gd name="T29" fmla="*/ 505 h 549"/>
                <a:gd name="T30" fmla="*/ 82 w 279"/>
                <a:gd name="T31" fmla="*/ 518 h 549"/>
                <a:gd name="T32" fmla="*/ 136 w 279"/>
                <a:gd name="T33" fmla="*/ 547 h 549"/>
                <a:gd name="T34" fmla="*/ 143 w 279"/>
                <a:gd name="T35" fmla="*/ 549 h 549"/>
                <a:gd name="T36" fmla="*/ 185 w 279"/>
                <a:gd name="T37" fmla="*/ 549 h 549"/>
                <a:gd name="T38" fmla="*/ 185 w 279"/>
                <a:gd name="T39" fmla="*/ 546 h 549"/>
                <a:gd name="T40" fmla="*/ 176 w 279"/>
                <a:gd name="T41" fmla="*/ 525 h 549"/>
                <a:gd name="T42" fmla="*/ 163 w 279"/>
                <a:gd name="T43" fmla="*/ 518 h 549"/>
                <a:gd name="T44" fmla="*/ 148 w 279"/>
                <a:gd name="T45" fmla="*/ 515 h 549"/>
                <a:gd name="T46" fmla="*/ 142 w 279"/>
                <a:gd name="T47" fmla="*/ 514 h 549"/>
                <a:gd name="T48" fmla="*/ 115 w 279"/>
                <a:gd name="T49" fmla="*/ 486 h 549"/>
                <a:gd name="T50" fmla="*/ 115 w 279"/>
                <a:gd name="T51" fmla="*/ 455 h 549"/>
                <a:gd name="T52" fmla="*/ 114 w 279"/>
                <a:gd name="T53" fmla="*/ 445 h 549"/>
                <a:gd name="T54" fmla="*/ 125 w 279"/>
                <a:gd name="T55" fmla="*/ 430 h 549"/>
                <a:gd name="T56" fmla="*/ 148 w 279"/>
                <a:gd name="T57" fmla="*/ 399 h 549"/>
                <a:gd name="T58" fmla="*/ 200 w 279"/>
                <a:gd name="T59" fmla="*/ 396 h 549"/>
                <a:gd name="T60" fmla="*/ 206 w 279"/>
                <a:gd name="T61" fmla="*/ 402 h 549"/>
                <a:gd name="T62" fmla="*/ 214 w 279"/>
                <a:gd name="T63" fmla="*/ 435 h 549"/>
                <a:gd name="T64" fmla="*/ 264 w 279"/>
                <a:gd name="T65" fmla="*/ 410 h 549"/>
                <a:gd name="T66" fmla="*/ 265 w 279"/>
                <a:gd name="T67" fmla="*/ 366 h 549"/>
                <a:gd name="T68" fmla="*/ 216 w 279"/>
                <a:gd name="T69" fmla="*/ 196 h 549"/>
                <a:gd name="T70" fmla="*/ 279 w 279"/>
                <a:gd name="T71" fmla="*/ 7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9" h="549">
                  <a:moveTo>
                    <a:pt x="279" y="7"/>
                  </a:moveTo>
                  <a:cubicBezTo>
                    <a:pt x="279" y="7"/>
                    <a:pt x="272" y="0"/>
                    <a:pt x="263" y="0"/>
                  </a:cubicBezTo>
                  <a:cubicBezTo>
                    <a:pt x="157" y="0"/>
                    <a:pt x="157" y="0"/>
                    <a:pt x="157" y="0"/>
                  </a:cubicBezTo>
                  <a:cubicBezTo>
                    <a:pt x="100" y="187"/>
                    <a:pt x="100" y="187"/>
                    <a:pt x="100" y="187"/>
                  </a:cubicBezTo>
                  <a:cubicBezTo>
                    <a:pt x="17" y="362"/>
                    <a:pt x="17" y="362"/>
                    <a:pt x="17" y="362"/>
                  </a:cubicBezTo>
                  <a:cubicBezTo>
                    <a:pt x="12" y="372"/>
                    <a:pt x="12" y="372"/>
                    <a:pt x="12" y="372"/>
                  </a:cubicBezTo>
                  <a:cubicBezTo>
                    <a:pt x="3" y="391"/>
                    <a:pt x="0" y="412"/>
                    <a:pt x="4" y="432"/>
                  </a:cubicBezTo>
                  <a:cubicBezTo>
                    <a:pt x="8" y="451"/>
                    <a:pt x="8" y="451"/>
                    <a:pt x="8" y="451"/>
                  </a:cubicBezTo>
                  <a:cubicBezTo>
                    <a:pt x="10" y="461"/>
                    <a:pt x="21" y="467"/>
                    <a:pt x="31" y="463"/>
                  </a:cubicBezTo>
                  <a:cubicBezTo>
                    <a:pt x="40" y="459"/>
                    <a:pt x="40" y="459"/>
                    <a:pt x="40" y="459"/>
                  </a:cubicBezTo>
                  <a:cubicBezTo>
                    <a:pt x="51" y="468"/>
                    <a:pt x="51" y="468"/>
                    <a:pt x="51" y="468"/>
                  </a:cubicBezTo>
                  <a:cubicBezTo>
                    <a:pt x="55" y="470"/>
                    <a:pt x="59" y="469"/>
                    <a:pt x="62" y="466"/>
                  </a:cubicBezTo>
                  <a:cubicBezTo>
                    <a:pt x="69" y="457"/>
                    <a:pt x="69" y="457"/>
                    <a:pt x="69" y="457"/>
                  </a:cubicBezTo>
                  <a:cubicBezTo>
                    <a:pt x="74" y="505"/>
                    <a:pt x="74" y="505"/>
                    <a:pt x="74" y="505"/>
                  </a:cubicBezTo>
                  <a:cubicBezTo>
                    <a:pt x="74" y="505"/>
                    <a:pt x="74" y="505"/>
                    <a:pt x="74" y="505"/>
                  </a:cubicBezTo>
                  <a:cubicBezTo>
                    <a:pt x="74" y="511"/>
                    <a:pt x="77" y="515"/>
                    <a:pt x="82" y="518"/>
                  </a:cubicBezTo>
                  <a:cubicBezTo>
                    <a:pt x="136" y="547"/>
                    <a:pt x="136" y="547"/>
                    <a:pt x="136" y="547"/>
                  </a:cubicBezTo>
                  <a:cubicBezTo>
                    <a:pt x="139" y="548"/>
                    <a:pt x="141" y="549"/>
                    <a:pt x="143" y="549"/>
                  </a:cubicBezTo>
                  <a:cubicBezTo>
                    <a:pt x="185" y="549"/>
                    <a:pt x="185" y="549"/>
                    <a:pt x="185" y="549"/>
                  </a:cubicBezTo>
                  <a:cubicBezTo>
                    <a:pt x="185" y="546"/>
                    <a:pt x="185" y="546"/>
                    <a:pt x="185" y="546"/>
                  </a:cubicBezTo>
                  <a:cubicBezTo>
                    <a:pt x="186" y="538"/>
                    <a:pt x="182" y="530"/>
                    <a:pt x="176" y="525"/>
                  </a:cubicBezTo>
                  <a:cubicBezTo>
                    <a:pt x="173" y="522"/>
                    <a:pt x="168" y="519"/>
                    <a:pt x="163" y="518"/>
                  </a:cubicBezTo>
                  <a:cubicBezTo>
                    <a:pt x="148" y="515"/>
                    <a:pt x="148" y="515"/>
                    <a:pt x="148" y="515"/>
                  </a:cubicBezTo>
                  <a:cubicBezTo>
                    <a:pt x="142" y="514"/>
                    <a:pt x="142" y="514"/>
                    <a:pt x="142" y="514"/>
                  </a:cubicBezTo>
                  <a:cubicBezTo>
                    <a:pt x="115" y="486"/>
                    <a:pt x="115" y="486"/>
                    <a:pt x="115" y="486"/>
                  </a:cubicBezTo>
                  <a:cubicBezTo>
                    <a:pt x="115" y="455"/>
                    <a:pt x="115" y="455"/>
                    <a:pt x="115" y="455"/>
                  </a:cubicBezTo>
                  <a:cubicBezTo>
                    <a:pt x="114" y="445"/>
                    <a:pt x="114" y="445"/>
                    <a:pt x="114" y="445"/>
                  </a:cubicBezTo>
                  <a:cubicBezTo>
                    <a:pt x="125" y="430"/>
                    <a:pt x="125" y="430"/>
                    <a:pt x="125" y="430"/>
                  </a:cubicBezTo>
                  <a:cubicBezTo>
                    <a:pt x="148" y="399"/>
                    <a:pt x="148" y="399"/>
                    <a:pt x="148" y="399"/>
                  </a:cubicBezTo>
                  <a:cubicBezTo>
                    <a:pt x="161" y="383"/>
                    <a:pt x="185" y="381"/>
                    <a:pt x="200" y="396"/>
                  </a:cubicBezTo>
                  <a:cubicBezTo>
                    <a:pt x="206" y="402"/>
                    <a:pt x="206" y="402"/>
                    <a:pt x="206" y="402"/>
                  </a:cubicBezTo>
                  <a:cubicBezTo>
                    <a:pt x="214" y="435"/>
                    <a:pt x="214" y="435"/>
                    <a:pt x="214" y="435"/>
                  </a:cubicBezTo>
                  <a:cubicBezTo>
                    <a:pt x="264" y="410"/>
                    <a:pt x="264" y="410"/>
                    <a:pt x="264" y="410"/>
                  </a:cubicBezTo>
                  <a:cubicBezTo>
                    <a:pt x="265" y="366"/>
                    <a:pt x="265" y="366"/>
                    <a:pt x="265" y="366"/>
                  </a:cubicBezTo>
                  <a:cubicBezTo>
                    <a:pt x="216" y="196"/>
                    <a:pt x="216" y="196"/>
                    <a:pt x="216" y="196"/>
                  </a:cubicBezTo>
                  <a:lnTo>
                    <a:pt x="279" y="7"/>
                  </a:lnTo>
                  <a:close/>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6" name="Freeform 188">
              <a:extLst>
                <a:ext uri="{FF2B5EF4-FFF2-40B4-BE49-F238E27FC236}">
                  <a16:creationId xmlns:a16="http://schemas.microsoft.com/office/drawing/2014/main" id="{CAAE69BA-AB34-48BB-A2E6-C25684BCA5DD}"/>
                </a:ext>
              </a:extLst>
            </p:cNvPr>
            <p:cNvSpPr>
              <a:spLocks noEditPoints="1"/>
            </p:cNvSpPr>
            <p:nvPr/>
          </p:nvSpPr>
          <p:spPr bwMode="auto">
            <a:xfrm>
              <a:off x="10151318" y="2853216"/>
              <a:ext cx="285279" cy="447176"/>
            </a:xfrm>
            <a:custGeom>
              <a:avLst/>
              <a:gdLst>
                <a:gd name="T0" fmla="*/ 319 w 322"/>
                <a:gd name="T1" fmla="*/ 351 h 504"/>
                <a:gd name="T2" fmla="*/ 322 w 322"/>
                <a:gd name="T3" fmla="*/ 315 h 504"/>
                <a:gd name="T4" fmla="*/ 319 w 322"/>
                <a:gd name="T5" fmla="*/ 308 h 504"/>
                <a:gd name="T6" fmla="*/ 295 w 322"/>
                <a:gd name="T7" fmla="*/ 273 h 504"/>
                <a:gd name="T8" fmla="*/ 290 w 322"/>
                <a:gd name="T9" fmla="*/ 268 h 504"/>
                <a:gd name="T10" fmla="*/ 248 w 322"/>
                <a:gd name="T11" fmla="*/ 252 h 504"/>
                <a:gd name="T12" fmla="*/ 158 w 322"/>
                <a:gd name="T13" fmla="*/ 112 h 504"/>
                <a:gd name="T14" fmla="*/ 158 w 322"/>
                <a:gd name="T15" fmla="*/ 111 h 504"/>
                <a:gd name="T16" fmla="*/ 129 w 322"/>
                <a:gd name="T17" fmla="*/ 0 h 504"/>
                <a:gd name="T18" fmla="*/ 0 w 322"/>
                <a:gd name="T19" fmla="*/ 15 h 504"/>
                <a:gd name="T20" fmla="*/ 40 w 322"/>
                <a:gd name="T21" fmla="*/ 118 h 504"/>
                <a:gd name="T22" fmla="*/ 12 w 322"/>
                <a:gd name="T23" fmla="*/ 302 h 504"/>
                <a:gd name="T24" fmla="*/ 27 w 322"/>
                <a:gd name="T25" fmla="*/ 394 h 504"/>
                <a:gd name="T26" fmla="*/ 38 w 322"/>
                <a:gd name="T27" fmla="*/ 406 h 504"/>
                <a:gd name="T28" fmla="*/ 70 w 322"/>
                <a:gd name="T29" fmla="*/ 378 h 504"/>
                <a:gd name="T30" fmla="*/ 75 w 322"/>
                <a:gd name="T31" fmla="*/ 330 h 504"/>
                <a:gd name="T32" fmla="*/ 81 w 322"/>
                <a:gd name="T33" fmla="*/ 323 h 504"/>
                <a:gd name="T34" fmla="*/ 132 w 322"/>
                <a:gd name="T35" fmla="*/ 320 h 504"/>
                <a:gd name="T36" fmla="*/ 168 w 322"/>
                <a:gd name="T37" fmla="*/ 357 h 504"/>
                <a:gd name="T38" fmla="*/ 171 w 322"/>
                <a:gd name="T39" fmla="*/ 358 h 504"/>
                <a:gd name="T40" fmla="*/ 176 w 322"/>
                <a:gd name="T41" fmla="*/ 401 h 504"/>
                <a:gd name="T42" fmla="*/ 154 w 322"/>
                <a:gd name="T43" fmla="*/ 433 h 504"/>
                <a:gd name="T44" fmla="*/ 133 w 322"/>
                <a:gd name="T45" fmla="*/ 440 h 504"/>
                <a:gd name="T46" fmla="*/ 115 w 322"/>
                <a:gd name="T47" fmla="*/ 470 h 504"/>
                <a:gd name="T48" fmla="*/ 115 w 322"/>
                <a:gd name="T49" fmla="*/ 473 h 504"/>
                <a:gd name="T50" fmla="*/ 156 w 322"/>
                <a:gd name="T51" fmla="*/ 468 h 504"/>
                <a:gd name="T52" fmla="*/ 163 w 322"/>
                <a:gd name="T53" fmla="*/ 465 h 504"/>
                <a:gd name="T54" fmla="*/ 213 w 322"/>
                <a:gd name="T55" fmla="*/ 428 h 504"/>
                <a:gd name="T56" fmla="*/ 220 w 322"/>
                <a:gd name="T57" fmla="*/ 415 h 504"/>
                <a:gd name="T58" fmla="*/ 217 w 322"/>
                <a:gd name="T59" fmla="*/ 372 h 504"/>
                <a:gd name="T60" fmla="*/ 229 w 322"/>
                <a:gd name="T61" fmla="*/ 387 h 504"/>
                <a:gd name="T62" fmla="*/ 241 w 322"/>
                <a:gd name="T63" fmla="*/ 444 h 504"/>
                <a:gd name="T64" fmla="*/ 238 w 322"/>
                <a:gd name="T65" fmla="*/ 481 h 504"/>
                <a:gd name="T66" fmla="*/ 254 w 322"/>
                <a:gd name="T67" fmla="*/ 502 h 504"/>
                <a:gd name="T68" fmla="*/ 264 w 322"/>
                <a:gd name="T69" fmla="*/ 504 h 504"/>
                <a:gd name="T70" fmla="*/ 278 w 322"/>
                <a:gd name="T71" fmla="*/ 444 h 504"/>
                <a:gd name="T72" fmla="*/ 278 w 322"/>
                <a:gd name="T73" fmla="*/ 437 h 504"/>
                <a:gd name="T74" fmla="*/ 270 w 322"/>
                <a:gd name="T75" fmla="*/ 371 h 504"/>
                <a:gd name="T76" fmla="*/ 267 w 322"/>
                <a:gd name="T77" fmla="*/ 364 h 504"/>
                <a:gd name="T78" fmla="*/ 245 w 322"/>
                <a:gd name="T79" fmla="*/ 330 h 504"/>
                <a:gd name="T80" fmla="*/ 268 w 322"/>
                <a:gd name="T81" fmla="*/ 353 h 504"/>
                <a:gd name="T82" fmla="*/ 285 w 322"/>
                <a:gd name="T83" fmla="*/ 391 h 504"/>
                <a:gd name="T84" fmla="*/ 291 w 322"/>
                <a:gd name="T85" fmla="*/ 422 h 504"/>
                <a:gd name="T86" fmla="*/ 311 w 322"/>
                <a:gd name="T87" fmla="*/ 439 h 504"/>
                <a:gd name="T88" fmla="*/ 317 w 322"/>
                <a:gd name="T89" fmla="*/ 439 h 504"/>
                <a:gd name="T90" fmla="*/ 317 w 322"/>
                <a:gd name="T91" fmla="*/ 392 h 504"/>
                <a:gd name="T92" fmla="*/ 317 w 322"/>
                <a:gd name="T93" fmla="*/ 388 h 504"/>
                <a:gd name="T94" fmla="*/ 304 w 322"/>
                <a:gd name="T95" fmla="*/ 347 h 504"/>
                <a:gd name="T96" fmla="*/ 316 w 322"/>
                <a:gd name="T97" fmla="*/ 351 h 504"/>
                <a:gd name="T98" fmla="*/ 319 w 322"/>
                <a:gd name="T99" fmla="*/ 351 h 504"/>
                <a:gd name="T100" fmla="*/ 263 w 322"/>
                <a:gd name="T101" fmla="*/ 293 h 504"/>
                <a:gd name="T102" fmla="*/ 271 w 322"/>
                <a:gd name="T103" fmla="*/ 296 h 504"/>
                <a:gd name="T104" fmla="*/ 294 w 322"/>
                <a:gd name="T105" fmla="*/ 317 h 504"/>
                <a:gd name="T106" fmla="*/ 295 w 322"/>
                <a:gd name="T107" fmla="*/ 325 h 504"/>
                <a:gd name="T108" fmla="*/ 263 w 322"/>
                <a:gd name="T109" fmla="*/ 293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2" h="504">
                  <a:moveTo>
                    <a:pt x="319" y="351"/>
                  </a:moveTo>
                  <a:cubicBezTo>
                    <a:pt x="322" y="315"/>
                    <a:pt x="322" y="315"/>
                    <a:pt x="322" y="315"/>
                  </a:cubicBezTo>
                  <a:cubicBezTo>
                    <a:pt x="322" y="313"/>
                    <a:pt x="321" y="310"/>
                    <a:pt x="319" y="308"/>
                  </a:cubicBezTo>
                  <a:cubicBezTo>
                    <a:pt x="295" y="273"/>
                    <a:pt x="295" y="273"/>
                    <a:pt x="295" y="273"/>
                  </a:cubicBezTo>
                  <a:cubicBezTo>
                    <a:pt x="294" y="271"/>
                    <a:pt x="292" y="269"/>
                    <a:pt x="290" y="268"/>
                  </a:cubicBezTo>
                  <a:cubicBezTo>
                    <a:pt x="248" y="252"/>
                    <a:pt x="248" y="252"/>
                    <a:pt x="248" y="252"/>
                  </a:cubicBezTo>
                  <a:cubicBezTo>
                    <a:pt x="158" y="112"/>
                    <a:pt x="158" y="112"/>
                    <a:pt x="158" y="112"/>
                  </a:cubicBezTo>
                  <a:cubicBezTo>
                    <a:pt x="158" y="111"/>
                    <a:pt x="158" y="111"/>
                    <a:pt x="158" y="111"/>
                  </a:cubicBezTo>
                  <a:cubicBezTo>
                    <a:pt x="129" y="0"/>
                    <a:pt x="129" y="0"/>
                    <a:pt x="129" y="0"/>
                  </a:cubicBezTo>
                  <a:cubicBezTo>
                    <a:pt x="0" y="15"/>
                    <a:pt x="0" y="15"/>
                    <a:pt x="0" y="15"/>
                  </a:cubicBezTo>
                  <a:cubicBezTo>
                    <a:pt x="40" y="118"/>
                    <a:pt x="40" y="118"/>
                    <a:pt x="40" y="118"/>
                  </a:cubicBezTo>
                  <a:cubicBezTo>
                    <a:pt x="12" y="302"/>
                    <a:pt x="12" y="302"/>
                    <a:pt x="12" y="302"/>
                  </a:cubicBezTo>
                  <a:cubicBezTo>
                    <a:pt x="27" y="394"/>
                    <a:pt x="27" y="394"/>
                    <a:pt x="27" y="394"/>
                  </a:cubicBezTo>
                  <a:cubicBezTo>
                    <a:pt x="38" y="406"/>
                    <a:pt x="38" y="406"/>
                    <a:pt x="38" y="406"/>
                  </a:cubicBezTo>
                  <a:cubicBezTo>
                    <a:pt x="47" y="395"/>
                    <a:pt x="58" y="386"/>
                    <a:pt x="70" y="378"/>
                  </a:cubicBezTo>
                  <a:cubicBezTo>
                    <a:pt x="75" y="330"/>
                    <a:pt x="75" y="330"/>
                    <a:pt x="75" y="330"/>
                  </a:cubicBezTo>
                  <a:cubicBezTo>
                    <a:pt x="81" y="323"/>
                    <a:pt x="81" y="323"/>
                    <a:pt x="81" y="323"/>
                  </a:cubicBezTo>
                  <a:cubicBezTo>
                    <a:pt x="93" y="306"/>
                    <a:pt x="117" y="305"/>
                    <a:pt x="132" y="320"/>
                  </a:cubicBezTo>
                  <a:cubicBezTo>
                    <a:pt x="168" y="357"/>
                    <a:pt x="168" y="357"/>
                    <a:pt x="168" y="357"/>
                  </a:cubicBezTo>
                  <a:cubicBezTo>
                    <a:pt x="169" y="357"/>
                    <a:pt x="170" y="357"/>
                    <a:pt x="171" y="358"/>
                  </a:cubicBezTo>
                  <a:cubicBezTo>
                    <a:pt x="176" y="401"/>
                    <a:pt x="176" y="401"/>
                    <a:pt x="176" y="401"/>
                  </a:cubicBezTo>
                  <a:cubicBezTo>
                    <a:pt x="154" y="433"/>
                    <a:pt x="154" y="433"/>
                    <a:pt x="154" y="433"/>
                  </a:cubicBezTo>
                  <a:cubicBezTo>
                    <a:pt x="133" y="440"/>
                    <a:pt x="133" y="440"/>
                    <a:pt x="133" y="440"/>
                  </a:cubicBezTo>
                  <a:cubicBezTo>
                    <a:pt x="120" y="444"/>
                    <a:pt x="112" y="457"/>
                    <a:pt x="115" y="470"/>
                  </a:cubicBezTo>
                  <a:cubicBezTo>
                    <a:pt x="115" y="473"/>
                    <a:pt x="115" y="473"/>
                    <a:pt x="115" y="473"/>
                  </a:cubicBezTo>
                  <a:cubicBezTo>
                    <a:pt x="156" y="468"/>
                    <a:pt x="156" y="468"/>
                    <a:pt x="156" y="468"/>
                  </a:cubicBezTo>
                  <a:cubicBezTo>
                    <a:pt x="159" y="467"/>
                    <a:pt x="161" y="466"/>
                    <a:pt x="163" y="465"/>
                  </a:cubicBezTo>
                  <a:cubicBezTo>
                    <a:pt x="213" y="428"/>
                    <a:pt x="213" y="428"/>
                    <a:pt x="213" y="428"/>
                  </a:cubicBezTo>
                  <a:cubicBezTo>
                    <a:pt x="217" y="426"/>
                    <a:pt x="220" y="420"/>
                    <a:pt x="220" y="415"/>
                  </a:cubicBezTo>
                  <a:cubicBezTo>
                    <a:pt x="217" y="372"/>
                    <a:pt x="217" y="372"/>
                    <a:pt x="217" y="372"/>
                  </a:cubicBezTo>
                  <a:cubicBezTo>
                    <a:pt x="229" y="387"/>
                    <a:pt x="229" y="387"/>
                    <a:pt x="229" y="387"/>
                  </a:cubicBezTo>
                  <a:cubicBezTo>
                    <a:pt x="241" y="444"/>
                    <a:pt x="241" y="444"/>
                    <a:pt x="241" y="444"/>
                  </a:cubicBezTo>
                  <a:cubicBezTo>
                    <a:pt x="238" y="481"/>
                    <a:pt x="238" y="481"/>
                    <a:pt x="238" y="481"/>
                  </a:cubicBezTo>
                  <a:cubicBezTo>
                    <a:pt x="238" y="491"/>
                    <a:pt x="245" y="500"/>
                    <a:pt x="254" y="502"/>
                  </a:cubicBezTo>
                  <a:cubicBezTo>
                    <a:pt x="264" y="504"/>
                    <a:pt x="264" y="504"/>
                    <a:pt x="264" y="504"/>
                  </a:cubicBezTo>
                  <a:cubicBezTo>
                    <a:pt x="278" y="444"/>
                    <a:pt x="278" y="444"/>
                    <a:pt x="278" y="444"/>
                  </a:cubicBezTo>
                  <a:cubicBezTo>
                    <a:pt x="278" y="441"/>
                    <a:pt x="278" y="439"/>
                    <a:pt x="278" y="437"/>
                  </a:cubicBezTo>
                  <a:cubicBezTo>
                    <a:pt x="270" y="371"/>
                    <a:pt x="270" y="371"/>
                    <a:pt x="270" y="371"/>
                  </a:cubicBezTo>
                  <a:cubicBezTo>
                    <a:pt x="269" y="369"/>
                    <a:pt x="269" y="366"/>
                    <a:pt x="267" y="364"/>
                  </a:cubicBezTo>
                  <a:cubicBezTo>
                    <a:pt x="245" y="330"/>
                    <a:pt x="245" y="330"/>
                    <a:pt x="245" y="330"/>
                  </a:cubicBezTo>
                  <a:cubicBezTo>
                    <a:pt x="268" y="353"/>
                    <a:pt x="268" y="353"/>
                    <a:pt x="268" y="353"/>
                  </a:cubicBezTo>
                  <a:cubicBezTo>
                    <a:pt x="285" y="391"/>
                    <a:pt x="285" y="391"/>
                    <a:pt x="285" y="391"/>
                  </a:cubicBezTo>
                  <a:cubicBezTo>
                    <a:pt x="291" y="422"/>
                    <a:pt x="291" y="422"/>
                    <a:pt x="291" y="422"/>
                  </a:cubicBezTo>
                  <a:cubicBezTo>
                    <a:pt x="292" y="432"/>
                    <a:pt x="301" y="439"/>
                    <a:pt x="311" y="439"/>
                  </a:cubicBezTo>
                  <a:cubicBezTo>
                    <a:pt x="317" y="439"/>
                    <a:pt x="317" y="439"/>
                    <a:pt x="317" y="439"/>
                  </a:cubicBezTo>
                  <a:cubicBezTo>
                    <a:pt x="317" y="392"/>
                    <a:pt x="317" y="392"/>
                    <a:pt x="317" y="392"/>
                  </a:cubicBezTo>
                  <a:cubicBezTo>
                    <a:pt x="317" y="391"/>
                    <a:pt x="317" y="389"/>
                    <a:pt x="317" y="388"/>
                  </a:cubicBezTo>
                  <a:cubicBezTo>
                    <a:pt x="304" y="347"/>
                    <a:pt x="304" y="347"/>
                    <a:pt x="304" y="347"/>
                  </a:cubicBezTo>
                  <a:cubicBezTo>
                    <a:pt x="308" y="350"/>
                    <a:pt x="312" y="351"/>
                    <a:pt x="316" y="351"/>
                  </a:cubicBezTo>
                  <a:lnTo>
                    <a:pt x="319" y="351"/>
                  </a:lnTo>
                  <a:close/>
                  <a:moveTo>
                    <a:pt x="263" y="293"/>
                  </a:moveTo>
                  <a:cubicBezTo>
                    <a:pt x="271" y="296"/>
                    <a:pt x="271" y="296"/>
                    <a:pt x="271" y="296"/>
                  </a:cubicBezTo>
                  <a:cubicBezTo>
                    <a:pt x="294" y="317"/>
                    <a:pt x="294" y="317"/>
                    <a:pt x="294" y="317"/>
                  </a:cubicBezTo>
                  <a:cubicBezTo>
                    <a:pt x="295" y="325"/>
                    <a:pt x="295" y="325"/>
                    <a:pt x="295" y="325"/>
                  </a:cubicBezTo>
                  <a:lnTo>
                    <a:pt x="263" y="293"/>
                  </a:lnTo>
                  <a:close/>
                </a:path>
              </a:pathLst>
            </a:custGeom>
            <a:solidFill>
              <a:srgbClr val="8F57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7" name="Freeform 189">
              <a:extLst>
                <a:ext uri="{FF2B5EF4-FFF2-40B4-BE49-F238E27FC236}">
                  <a16:creationId xmlns:a16="http://schemas.microsoft.com/office/drawing/2014/main" id="{3520C0CA-A91B-4CFE-9682-BF3E94286426}"/>
                </a:ext>
              </a:extLst>
            </p:cNvPr>
            <p:cNvSpPr>
              <a:spLocks/>
            </p:cNvSpPr>
            <p:nvPr/>
          </p:nvSpPr>
          <p:spPr bwMode="auto">
            <a:xfrm>
              <a:off x="10175472" y="2915233"/>
              <a:ext cx="195844" cy="161244"/>
            </a:xfrm>
            <a:custGeom>
              <a:avLst/>
              <a:gdLst>
                <a:gd name="T0" fmla="*/ 13 w 221"/>
                <a:gd name="T1" fmla="*/ 48 h 182"/>
                <a:gd name="T2" fmla="*/ 88 w 221"/>
                <a:gd name="T3" fmla="*/ 67 h 182"/>
                <a:gd name="T4" fmla="*/ 221 w 221"/>
                <a:gd name="T5" fmla="*/ 182 h 182"/>
                <a:gd name="T6" fmla="*/ 131 w 221"/>
                <a:gd name="T7" fmla="*/ 41 h 182"/>
                <a:gd name="T8" fmla="*/ 120 w 221"/>
                <a:gd name="T9" fmla="*/ 0 h 182"/>
                <a:gd name="T10" fmla="*/ 0 w 221"/>
                <a:gd name="T11" fmla="*/ 21 h 182"/>
                <a:gd name="T12" fmla="*/ 13 w 221"/>
                <a:gd name="T13" fmla="*/ 48 h 182"/>
              </a:gdLst>
              <a:ahLst/>
              <a:cxnLst>
                <a:cxn ang="0">
                  <a:pos x="T0" y="T1"/>
                </a:cxn>
                <a:cxn ang="0">
                  <a:pos x="T2" y="T3"/>
                </a:cxn>
                <a:cxn ang="0">
                  <a:pos x="T4" y="T5"/>
                </a:cxn>
                <a:cxn ang="0">
                  <a:pos x="T6" y="T7"/>
                </a:cxn>
                <a:cxn ang="0">
                  <a:pos x="T8" y="T9"/>
                </a:cxn>
                <a:cxn ang="0">
                  <a:pos x="T10" y="T11"/>
                </a:cxn>
                <a:cxn ang="0">
                  <a:pos x="T12" y="T13"/>
                </a:cxn>
              </a:cxnLst>
              <a:rect l="0" t="0" r="r" b="b"/>
              <a:pathLst>
                <a:path w="221" h="182">
                  <a:moveTo>
                    <a:pt x="13" y="48"/>
                  </a:moveTo>
                  <a:cubicBezTo>
                    <a:pt x="13" y="48"/>
                    <a:pt x="47" y="68"/>
                    <a:pt x="88" y="67"/>
                  </a:cubicBezTo>
                  <a:cubicBezTo>
                    <a:pt x="132" y="144"/>
                    <a:pt x="221" y="182"/>
                    <a:pt x="221" y="182"/>
                  </a:cubicBezTo>
                  <a:cubicBezTo>
                    <a:pt x="131" y="41"/>
                    <a:pt x="131" y="41"/>
                    <a:pt x="131" y="41"/>
                  </a:cubicBezTo>
                  <a:cubicBezTo>
                    <a:pt x="120" y="0"/>
                    <a:pt x="120" y="0"/>
                    <a:pt x="120" y="0"/>
                  </a:cubicBezTo>
                  <a:cubicBezTo>
                    <a:pt x="0" y="21"/>
                    <a:pt x="0" y="21"/>
                    <a:pt x="0" y="21"/>
                  </a:cubicBezTo>
                  <a:lnTo>
                    <a:pt x="13" y="48"/>
                  </a:lnTo>
                  <a:close/>
                </a:path>
              </a:pathLst>
            </a:custGeom>
            <a:solidFill>
              <a:srgbClr val="714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8" name="Freeform 190">
              <a:extLst>
                <a:ext uri="{FF2B5EF4-FFF2-40B4-BE49-F238E27FC236}">
                  <a16:creationId xmlns:a16="http://schemas.microsoft.com/office/drawing/2014/main" id="{EE269D99-390A-4B69-A3A6-B7ED72B63E80}"/>
                </a:ext>
              </a:extLst>
            </p:cNvPr>
            <p:cNvSpPr>
              <a:spLocks/>
            </p:cNvSpPr>
            <p:nvPr/>
          </p:nvSpPr>
          <p:spPr bwMode="auto">
            <a:xfrm>
              <a:off x="10250545" y="3224666"/>
              <a:ext cx="93352" cy="48308"/>
            </a:xfrm>
            <a:custGeom>
              <a:avLst/>
              <a:gdLst>
                <a:gd name="T0" fmla="*/ 97 w 105"/>
                <a:gd name="T1" fmla="*/ 4 h 54"/>
                <a:gd name="T2" fmla="*/ 68 w 105"/>
                <a:gd name="T3" fmla="*/ 9 h 54"/>
                <a:gd name="T4" fmla="*/ 55 w 105"/>
                <a:gd name="T5" fmla="*/ 19 h 54"/>
                <a:gd name="T6" fmla="*/ 36 w 105"/>
                <a:gd name="T7" fmla="*/ 23 h 54"/>
                <a:gd name="T8" fmla="*/ 21 w 105"/>
                <a:gd name="T9" fmla="*/ 21 h 54"/>
                <a:gd name="T10" fmla="*/ 21 w 105"/>
                <a:gd name="T11" fmla="*/ 21 h 54"/>
                <a:gd name="T12" fmla="*/ 3 w 105"/>
                <a:gd name="T13" fmla="*/ 51 h 54"/>
                <a:gd name="T14" fmla="*/ 3 w 105"/>
                <a:gd name="T15" fmla="*/ 54 h 54"/>
                <a:gd name="T16" fmla="*/ 44 w 105"/>
                <a:gd name="T17" fmla="*/ 49 h 54"/>
                <a:gd name="T18" fmla="*/ 51 w 105"/>
                <a:gd name="T19" fmla="*/ 46 h 54"/>
                <a:gd name="T20" fmla="*/ 101 w 105"/>
                <a:gd name="T21" fmla="*/ 9 h 54"/>
                <a:gd name="T22" fmla="*/ 105 w 105"/>
                <a:gd name="T23" fmla="*/ 6 h 54"/>
                <a:gd name="T24" fmla="*/ 97 w 105"/>
                <a:gd name="T25"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54">
                  <a:moveTo>
                    <a:pt x="97" y="4"/>
                  </a:moveTo>
                  <a:cubicBezTo>
                    <a:pt x="87" y="0"/>
                    <a:pt x="76" y="2"/>
                    <a:pt x="68" y="9"/>
                  </a:cubicBezTo>
                  <a:cubicBezTo>
                    <a:pt x="55" y="19"/>
                    <a:pt x="55" y="19"/>
                    <a:pt x="55" y="19"/>
                  </a:cubicBezTo>
                  <a:cubicBezTo>
                    <a:pt x="49" y="23"/>
                    <a:pt x="42" y="25"/>
                    <a:pt x="36" y="23"/>
                  </a:cubicBezTo>
                  <a:cubicBezTo>
                    <a:pt x="21" y="21"/>
                    <a:pt x="21" y="21"/>
                    <a:pt x="21" y="21"/>
                  </a:cubicBezTo>
                  <a:cubicBezTo>
                    <a:pt x="21" y="21"/>
                    <a:pt x="21" y="21"/>
                    <a:pt x="21" y="21"/>
                  </a:cubicBezTo>
                  <a:cubicBezTo>
                    <a:pt x="8" y="25"/>
                    <a:pt x="0" y="38"/>
                    <a:pt x="3" y="51"/>
                  </a:cubicBezTo>
                  <a:cubicBezTo>
                    <a:pt x="3" y="54"/>
                    <a:pt x="3" y="54"/>
                    <a:pt x="3" y="54"/>
                  </a:cubicBezTo>
                  <a:cubicBezTo>
                    <a:pt x="44" y="49"/>
                    <a:pt x="44" y="49"/>
                    <a:pt x="44" y="49"/>
                  </a:cubicBezTo>
                  <a:cubicBezTo>
                    <a:pt x="47" y="48"/>
                    <a:pt x="49" y="47"/>
                    <a:pt x="51" y="46"/>
                  </a:cubicBezTo>
                  <a:cubicBezTo>
                    <a:pt x="101" y="9"/>
                    <a:pt x="101" y="9"/>
                    <a:pt x="101" y="9"/>
                  </a:cubicBezTo>
                  <a:cubicBezTo>
                    <a:pt x="102" y="9"/>
                    <a:pt x="104" y="7"/>
                    <a:pt x="105" y="6"/>
                  </a:cubicBezTo>
                  <a:lnTo>
                    <a:pt x="97" y="4"/>
                  </a:lnTo>
                  <a:close/>
                </a:path>
              </a:pathLst>
            </a:custGeom>
            <a:solidFill>
              <a:srgbClr val="714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9" name="Freeform 191">
              <a:extLst>
                <a:ext uri="{FF2B5EF4-FFF2-40B4-BE49-F238E27FC236}">
                  <a16:creationId xmlns:a16="http://schemas.microsoft.com/office/drawing/2014/main" id="{2890375C-08E5-44A9-BBD7-F96F44F9A88A}"/>
                </a:ext>
              </a:extLst>
            </p:cNvPr>
            <p:cNvSpPr>
              <a:spLocks/>
            </p:cNvSpPr>
            <p:nvPr/>
          </p:nvSpPr>
          <p:spPr bwMode="auto">
            <a:xfrm>
              <a:off x="10151318" y="2857786"/>
              <a:ext cx="148189" cy="89435"/>
            </a:xfrm>
            <a:custGeom>
              <a:avLst/>
              <a:gdLst>
                <a:gd name="T0" fmla="*/ 154 w 167"/>
                <a:gd name="T1" fmla="*/ 25 h 101"/>
                <a:gd name="T2" fmla="*/ 167 w 167"/>
                <a:gd name="T3" fmla="*/ 84 h 101"/>
                <a:gd name="T4" fmla="*/ 165 w 167"/>
                <a:gd name="T5" fmla="*/ 84 h 101"/>
                <a:gd name="T6" fmla="*/ 25 w 167"/>
                <a:gd name="T7" fmla="*/ 92 h 101"/>
                <a:gd name="T8" fmla="*/ 0 w 167"/>
                <a:gd name="T9" fmla="*/ 25 h 101"/>
                <a:gd name="T10" fmla="*/ 75 w 167"/>
                <a:gd name="T11" fmla="*/ 0 h 101"/>
                <a:gd name="T12" fmla="*/ 154 w 167"/>
                <a:gd name="T13" fmla="*/ 25 h 101"/>
              </a:gdLst>
              <a:ahLst/>
              <a:cxnLst>
                <a:cxn ang="0">
                  <a:pos x="T0" y="T1"/>
                </a:cxn>
                <a:cxn ang="0">
                  <a:pos x="T2" y="T3"/>
                </a:cxn>
                <a:cxn ang="0">
                  <a:pos x="T4" y="T5"/>
                </a:cxn>
                <a:cxn ang="0">
                  <a:pos x="T6" y="T7"/>
                </a:cxn>
                <a:cxn ang="0">
                  <a:pos x="T8" y="T9"/>
                </a:cxn>
                <a:cxn ang="0">
                  <a:pos x="T10" y="T11"/>
                </a:cxn>
                <a:cxn ang="0">
                  <a:pos x="T12" y="T13"/>
                </a:cxn>
              </a:cxnLst>
              <a:rect l="0" t="0" r="r" b="b"/>
              <a:pathLst>
                <a:path w="167" h="101">
                  <a:moveTo>
                    <a:pt x="154" y="25"/>
                  </a:moveTo>
                  <a:cubicBezTo>
                    <a:pt x="167" y="84"/>
                    <a:pt x="167" y="84"/>
                    <a:pt x="167" y="84"/>
                  </a:cubicBezTo>
                  <a:cubicBezTo>
                    <a:pt x="165" y="84"/>
                    <a:pt x="165" y="84"/>
                    <a:pt x="165" y="84"/>
                  </a:cubicBezTo>
                  <a:cubicBezTo>
                    <a:pt x="119" y="98"/>
                    <a:pt x="71" y="101"/>
                    <a:pt x="25" y="92"/>
                  </a:cubicBezTo>
                  <a:cubicBezTo>
                    <a:pt x="0" y="25"/>
                    <a:pt x="0" y="25"/>
                    <a:pt x="0" y="25"/>
                  </a:cubicBezTo>
                  <a:cubicBezTo>
                    <a:pt x="75" y="0"/>
                    <a:pt x="75" y="0"/>
                    <a:pt x="75" y="0"/>
                  </a:cubicBezTo>
                  <a:lnTo>
                    <a:pt x="154"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60" name="Freeform 192">
              <a:extLst>
                <a:ext uri="{FF2B5EF4-FFF2-40B4-BE49-F238E27FC236}">
                  <a16:creationId xmlns:a16="http://schemas.microsoft.com/office/drawing/2014/main" id="{CF98AD32-96ED-4B25-9CD4-CCBD0B242AF5}"/>
                </a:ext>
              </a:extLst>
            </p:cNvPr>
            <p:cNvSpPr>
              <a:spLocks/>
            </p:cNvSpPr>
            <p:nvPr/>
          </p:nvSpPr>
          <p:spPr bwMode="auto">
            <a:xfrm>
              <a:off x="10195709" y="2868231"/>
              <a:ext cx="103797" cy="73768"/>
            </a:xfrm>
            <a:custGeom>
              <a:avLst/>
              <a:gdLst>
                <a:gd name="T0" fmla="*/ 68 w 117"/>
                <a:gd name="T1" fmla="*/ 83 h 83"/>
                <a:gd name="T2" fmla="*/ 115 w 117"/>
                <a:gd name="T3" fmla="*/ 72 h 83"/>
                <a:gd name="T4" fmla="*/ 117 w 117"/>
                <a:gd name="T5" fmla="*/ 72 h 83"/>
                <a:gd name="T6" fmla="*/ 104 w 117"/>
                <a:gd name="T7" fmla="*/ 13 h 83"/>
                <a:gd name="T8" fmla="*/ 61 w 117"/>
                <a:gd name="T9" fmla="*/ 0 h 83"/>
                <a:gd name="T10" fmla="*/ 0 w 117"/>
                <a:gd name="T11" fmla="*/ 29 h 83"/>
                <a:gd name="T12" fmla="*/ 68 w 117"/>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117" h="83">
                  <a:moveTo>
                    <a:pt x="68" y="83"/>
                  </a:moveTo>
                  <a:cubicBezTo>
                    <a:pt x="84" y="80"/>
                    <a:pt x="99" y="77"/>
                    <a:pt x="115" y="72"/>
                  </a:cubicBezTo>
                  <a:cubicBezTo>
                    <a:pt x="117" y="72"/>
                    <a:pt x="117" y="72"/>
                    <a:pt x="117" y="72"/>
                  </a:cubicBezTo>
                  <a:cubicBezTo>
                    <a:pt x="104" y="13"/>
                    <a:pt x="104" y="13"/>
                    <a:pt x="104" y="13"/>
                  </a:cubicBezTo>
                  <a:cubicBezTo>
                    <a:pt x="61" y="0"/>
                    <a:pt x="61" y="0"/>
                    <a:pt x="61" y="0"/>
                  </a:cubicBezTo>
                  <a:cubicBezTo>
                    <a:pt x="0" y="29"/>
                    <a:pt x="0" y="29"/>
                    <a:pt x="0" y="29"/>
                  </a:cubicBezTo>
                  <a:lnTo>
                    <a:pt x="68" y="8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61" name="Freeform 193">
              <a:extLst>
                <a:ext uri="{FF2B5EF4-FFF2-40B4-BE49-F238E27FC236}">
                  <a16:creationId xmlns:a16="http://schemas.microsoft.com/office/drawing/2014/main" id="{2329CD95-B1CF-4C84-80DF-C89FAB509C25}"/>
                </a:ext>
              </a:extLst>
            </p:cNvPr>
            <p:cNvSpPr>
              <a:spLocks/>
            </p:cNvSpPr>
            <p:nvPr/>
          </p:nvSpPr>
          <p:spPr bwMode="auto">
            <a:xfrm>
              <a:off x="10062535" y="2637788"/>
              <a:ext cx="242846" cy="275487"/>
            </a:xfrm>
            <a:custGeom>
              <a:avLst/>
              <a:gdLst>
                <a:gd name="T0" fmla="*/ 93 w 275"/>
                <a:gd name="T1" fmla="*/ 283 h 311"/>
                <a:gd name="T2" fmla="*/ 94 w 275"/>
                <a:gd name="T3" fmla="*/ 283 h 311"/>
                <a:gd name="T4" fmla="*/ 275 w 275"/>
                <a:gd name="T5" fmla="*/ 283 h 311"/>
                <a:gd name="T6" fmla="*/ 225 w 275"/>
                <a:gd name="T7" fmla="*/ 0 h 311"/>
                <a:gd name="T8" fmla="*/ 0 w 275"/>
                <a:gd name="T9" fmla="*/ 0 h 311"/>
                <a:gd name="T10" fmla="*/ 93 w 275"/>
                <a:gd name="T11" fmla="*/ 283 h 311"/>
              </a:gdLst>
              <a:ahLst/>
              <a:cxnLst>
                <a:cxn ang="0">
                  <a:pos x="T0" y="T1"/>
                </a:cxn>
                <a:cxn ang="0">
                  <a:pos x="T2" y="T3"/>
                </a:cxn>
                <a:cxn ang="0">
                  <a:pos x="T4" y="T5"/>
                </a:cxn>
                <a:cxn ang="0">
                  <a:pos x="T6" y="T7"/>
                </a:cxn>
                <a:cxn ang="0">
                  <a:pos x="T8" y="T9"/>
                </a:cxn>
                <a:cxn ang="0">
                  <a:pos x="T10" y="T11"/>
                </a:cxn>
              </a:cxnLst>
              <a:rect l="0" t="0" r="r" b="b"/>
              <a:pathLst>
                <a:path w="275" h="311">
                  <a:moveTo>
                    <a:pt x="93" y="283"/>
                  </a:moveTo>
                  <a:cubicBezTo>
                    <a:pt x="94" y="283"/>
                    <a:pt x="94" y="283"/>
                    <a:pt x="94" y="283"/>
                  </a:cubicBezTo>
                  <a:cubicBezTo>
                    <a:pt x="151" y="311"/>
                    <a:pt x="218" y="311"/>
                    <a:pt x="275" y="283"/>
                  </a:cubicBezTo>
                  <a:cubicBezTo>
                    <a:pt x="225" y="0"/>
                    <a:pt x="225" y="0"/>
                    <a:pt x="225" y="0"/>
                  </a:cubicBezTo>
                  <a:cubicBezTo>
                    <a:pt x="0" y="0"/>
                    <a:pt x="0" y="0"/>
                    <a:pt x="0" y="0"/>
                  </a:cubicBezTo>
                  <a:lnTo>
                    <a:pt x="93" y="28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62" name="Freeform 194">
              <a:extLst>
                <a:ext uri="{FF2B5EF4-FFF2-40B4-BE49-F238E27FC236}">
                  <a16:creationId xmlns:a16="http://schemas.microsoft.com/office/drawing/2014/main" id="{3D20BC61-C66A-48C1-9E2C-F11C399F0F77}"/>
                </a:ext>
              </a:extLst>
            </p:cNvPr>
            <p:cNvSpPr>
              <a:spLocks/>
            </p:cNvSpPr>
            <p:nvPr/>
          </p:nvSpPr>
          <p:spPr bwMode="auto">
            <a:xfrm>
              <a:off x="10063841" y="2645622"/>
              <a:ext cx="161245" cy="261777"/>
            </a:xfrm>
            <a:custGeom>
              <a:avLst/>
              <a:gdLst>
                <a:gd name="T0" fmla="*/ 158 w 182"/>
                <a:gd name="T1" fmla="*/ 0 h 295"/>
                <a:gd name="T2" fmla="*/ 0 w 182"/>
                <a:gd name="T3" fmla="*/ 0 h 295"/>
                <a:gd name="T4" fmla="*/ 91 w 182"/>
                <a:gd name="T5" fmla="*/ 274 h 295"/>
                <a:gd name="T6" fmla="*/ 91 w 182"/>
                <a:gd name="T7" fmla="*/ 274 h 295"/>
                <a:gd name="T8" fmla="*/ 182 w 182"/>
                <a:gd name="T9" fmla="*/ 295 h 295"/>
                <a:gd name="T10" fmla="*/ 158 w 182"/>
                <a:gd name="T11" fmla="*/ 0 h 295"/>
              </a:gdLst>
              <a:ahLst/>
              <a:cxnLst>
                <a:cxn ang="0">
                  <a:pos x="T0" y="T1"/>
                </a:cxn>
                <a:cxn ang="0">
                  <a:pos x="T2" y="T3"/>
                </a:cxn>
                <a:cxn ang="0">
                  <a:pos x="T4" y="T5"/>
                </a:cxn>
                <a:cxn ang="0">
                  <a:pos x="T6" y="T7"/>
                </a:cxn>
                <a:cxn ang="0">
                  <a:pos x="T8" y="T9"/>
                </a:cxn>
                <a:cxn ang="0">
                  <a:pos x="T10" y="T11"/>
                </a:cxn>
              </a:cxnLst>
              <a:rect l="0" t="0" r="r" b="b"/>
              <a:pathLst>
                <a:path w="182" h="295">
                  <a:moveTo>
                    <a:pt x="158" y="0"/>
                  </a:moveTo>
                  <a:cubicBezTo>
                    <a:pt x="0" y="0"/>
                    <a:pt x="0" y="0"/>
                    <a:pt x="0" y="0"/>
                  </a:cubicBezTo>
                  <a:cubicBezTo>
                    <a:pt x="91" y="274"/>
                    <a:pt x="91" y="274"/>
                    <a:pt x="91" y="274"/>
                  </a:cubicBezTo>
                  <a:cubicBezTo>
                    <a:pt x="91" y="274"/>
                    <a:pt x="91" y="274"/>
                    <a:pt x="91" y="274"/>
                  </a:cubicBezTo>
                  <a:cubicBezTo>
                    <a:pt x="120" y="288"/>
                    <a:pt x="151" y="295"/>
                    <a:pt x="182" y="295"/>
                  </a:cubicBezTo>
                  <a:lnTo>
                    <a:pt x="158" y="0"/>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63" name="Oval 195">
              <a:extLst>
                <a:ext uri="{FF2B5EF4-FFF2-40B4-BE49-F238E27FC236}">
                  <a16:creationId xmlns:a16="http://schemas.microsoft.com/office/drawing/2014/main" id="{DA0A8C23-09D4-4082-A1C2-950C195E2C63}"/>
                </a:ext>
              </a:extLst>
            </p:cNvPr>
            <p:cNvSpPr>
              <a:spLocks noChangeArrowheads="1"/>
            </p:cNvSpPr>
            <p:nvPr/>
          </p:nvSpPr>
          <p:spPr bwMode="auto">
            <a:xfrm>
              <a:off x="10155888" y="2848646"/>
              <a:ext cx="26112" cy="24807"/>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64" name="Freeform 196">
              <a:extLst>
                <a:ext uri="{FF2B5EF4-FFF2-40B4-BE49-F238E27FC236}">
                  <a16:creationId xmlns:a16="http://schemas.microsoft.com/office/drawing/2014/main" id="{7750D3B7-0023-4C62-AC0C-EEC06DE6FBCD}"/>
                </a:ext>
              </a:extLst>
            </p:cNvPr>
            <p:cNvSpPr>
              <a:spLocks/>
            </p:cNvSpPr>
            <p:nvPr/>
          </p:nvSpPr>
          <p:spPr bwMode="auto">
            <a:xfrm>
              <a:off x="9514173" y="3095409"/>
              <a:ext cx="130562" cy="373409"/>
            </a:xfrm>
            <a:custGeom>
              <a:avLst/>
              <a:gdLst>
                <a:gd name="T0" fmla="*/ 85 w 147"/>
                <a:gd name="T1" fmla="*/ 395 h 421"/>
                <a:gd name="T2" fmla="*/ 85 w 147"/>
                <a:gd name="T3" fmla="*/ 421 h 421"/>
                <a:gd name="T4" fmla="*/ 107 w 147"/>
                <a:gd name="T5" fmla="*/ 410 h 421"/>
                <a:gd name="T6" fmla="*/ 108 w 147"/>
                <a:gd name="T7" fmla="*/ 366 h 421"/>
                <a:gd name="T8" fmla="*/ 59 w 147"/>
                <a:gd name="T9" fmla="*/ 196 h 421"/>
                <a:gd name="T10" fmla="*/ 147 w 147"/>
                <a:gd name="T11" fmla="*/ 0 h 421"/>
                <a:gd name="T12" fmla="*/ 0 w 147"/>
                <a:gd name="T13" fmla="*/ 0 h 421"/>
                <a:gd name="T14" fmla="*/ 42 w 147"/>
                <a:gd name="T15" fmla="*/ 50 h 421"/>
                <a:gd name="T16" fmla="*/ 45 w 147"/>
                <a:gd name="T17" fmla="*/ 63 h 421"/>
                <a:gd name="T18" fmla="*/ 13 w 147"/>
                <a:gd name="T19" fmla="*/ 154 h 421"/>
                <a:gd name="T20" fmla="*/ 29 w 147"/>
                <a:gd name="T21" fmla="*/ 285 h 421"/>
                <a:gd name="T22" fmla="*/ 79 w 147"/>
                <a:gd name="T23" fmla="*/ 371 h 421"/>
                <a:gd name="T24" fmla="*/ 85 w 147"/>
                <a:gd name="T25" fmla="*/ 395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421">
                  <a:moveTo>
                    <a:pt x="85" y="395"/>
                  </a:moveTo>
                  <a:cubicBezTo>
                    <a:pt x="85" y="421"/>
                    <a:pt x="85" y="421"/>
                    <a:pt x="85" y="421"/>
                  </a:cubicBezTo>
                  <a:cubicBezTo>
                    <a:pt x="107" y="410"/>
                    <a:pt x="107" y="410"/>
                    <a:pt x="107" y="410"/>
                  </a:cubicBezTo>
                  <a:cubicBezTo>
                    <a:pt x="108" y="366"/>
                    <a:pt x="108" y="366"/>
                    <a:pt x="108" y="366"/>
                  </a:cubicBezTo>
                  <a:cubicBezTo>
                    <a:pt x="59" y="196"/>
                    <a:pt x="59" y="196"/>
                    <a:pt x="59" y="196"/>
                  </a:cubicBezTo>
                  <a:cubicBezTo>
                    <a:pt x="147" y="0"/>
                    <a:pt x="147" y="0"/>
                    <a:pt x="147" y="0"/>
                  </a:cubicBezTo>
                  <a:cubicBezTo>
                    <a:pt x="0" y="0"/>
                    <a:pt x="0" y="0"/>
                    <a:pt x="0" y="0"/>
                  </a:cubicBezTo>
                  <a:cubicBezTo>
                    <a:pt x="42" y="50"/>
                    <a:pt x="42" y="50"/>
                    <a:pt x="42" y="50"/>
                  </a:cubicBezTo>
                  <a:cubicBezTo>
                    <a:pt x="46" y="53"/>
                    <a:pt x="47" y="58"/>
                    <a:pt x="45" y="63"/>
                  </a:cubicBezTo>
                  <a:cubicBezTo>
                    <a:pt x="13" y="154"/>
                    <a:pt x="13" y="154"/>
                    <a:pt x="13" y="154"/>
                  </a:cubicBezTo>
                  <a:cubicBezTo>
                    <a:pt x="3" y="198"/>
                    <a:pt x="9" y="244"/>
                    <a:pt x="29" y="285"/>
                  </a:cubicBezTo>
                  <a:cubicBezTo>
                    <a:pt x="79" y="371"/>
                    <a:pt x="79" y="371"/>
                    <a:pt x="79" y="371"/>
                  </a:cubicBezTo>
                  <a:cubicBezTo>
                    <a:pt x="83" y="378"/>
                    <a:pt x="85" y="387"/>
                    <a:pt x="85" y="395"/>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65" name="Freeform 197">
              <a:extLst>
                <a:ext uri="{FF2B5EF4-FFF2-40B4-BE49-F238E27FC236}">
                  <a16:creationId xmlns:a16="http://schemas.microsoft.com/office/drawing/2014/main" id="{3FB58AB2-A824-4055-BC06-A3D8D8EA1270}"/>
                </a:ext>
              </a:extLst>
            </p:cNvPr>
            <p:cNvSpPr>
              <a:spLocks/>
            </p:cNvSpPr>
            <p:nvPr/>
          </p:nvSpPr>
          <p:spPr bwMode="auto">
            <a:xfrm>
              <a:off x="9376430" y="3465554"/>
              <a:ext cx="162550" cy="152758"/>
            </a:xfrm>
            <a:custGeom>
              <a:avLst/>
              <a:gdLst>
                <a:gd name="T0" fmla="*/ 180 w 184"/>
                <a:gd name="T1" fmla="*/ 114 h 172"/>
                <a:gd name="T2" fmla="*/ 147 w 184"/>
                <a:gd name="T3" fmla="*/ 113 h 172"/>
                <a:gd name="T4" fmla="*/ 134 w 184"/>
                <a:gd name="T5" fmla="*/ 107 h 172"/>
                <a:gd name="T6" fmla="*/ 106 w 184"/>
                <a:gd name="T7" fmla="*/ 82 h 172"/>
                <a:gd name="T8" fmla="*/ 100 w 184"/>
                <a:gd name="T9" fmla="*/ 71 h 172"/>
                <a:gd name="T10" fmla="*/ 92 w 184"/>
                <a:gd name="T11" fmla="*/ 33 h 172"/>
                <a:gd name="T12" fmla="*/ 68 w 184"/>
                <a:gd name="T13" fmla="*/ 22 h 172"/>
                <a:gd name="T14" fmla="*/ 65 w 184"/>
                <a:gd name="T15" fmla="*/ 23 h 172"/>
                <a:gd name="T16" fmla="*/ 67 w 184"/>
                <a:gd name="T17" fmla="*/ 42 h 172"/>
                <a:gd name="T18" fmla="*/ 61 w 184"/>
                <a:gd name="T19" fmla="*/ 49 h 172"/>
                <a:gd name="T20" fmla="*/ 50 w 184"/>
                <a:gd name="T21" fmla="*/ 51 h 172"/>
                <a:gd name="T22" fmla="*/ 39 w 184"/>
                <a:gd name="T23" fmla="*/ 42 h 172"/>
                <a:gd name="T24" fmla="*/ 34 w 184"/>
                <a:gd name="T25" fmla="*/ 44 h 172"/>
                <a:gd name="T26" fmla="*/ 30 w 184"/>
                <a:gd name="T27" fmla="*/ 46 h 172"/>
                <a:gd name="T28" fmla="*/ 7 w 184"/>
                <a:gd name="T29" fmla="*/ 34 h 172"/>
                <a:gd name="T30" fmla="*/ 3 w 184"/>
                <a:gd name="T31" fmla="*/ 15 h 172"/>
                <a:gd name="T32" fmla="*/ 2 w 184"/>
                <a:gd name="T33" fmla="*/ 0 h 172"/>
                <a:gd name="T34" fmla="*/ 0 w 184"/>
                <a:gd name="T35" fmla="*/ 34 h 172"/>
                <a:gd name="T36" fmla="*/ 7 w 184"/>
                <a:gd name="T37" fmla="*/ 96 h 172"/>
                <a:gd name="T38" fmla="*/ 8 w 184"/>
                <a:gd name="T39" fmla="*/ 101 h 172"/>
                <a:gd name="T40" fmla="*/ 27 w 184"/>
                <a:gd name="T41" fmla="*/ 144 h 172"/>
                <a:gd name="T42" fmla="*/ 33 w 184"/>
                <a:gd name="T43" fmla="*/ 141 h 172"/>
                <a:gd name="T44" fmla="*/ 41 w 184"/>
                <a:gd name="T45" fmla="*/ 135 h 172"/>
                <a:gd name="T46" fmla="*/ 28 w 184"/>
                <a:gd name="T47" fmla="*/ 110 h 172"/>
                <a:gd name="T48" fmla="*/ 42 w 184"/>
                <a:gd name="T49" fmla="*/ 103 h 172"/>
                <a:gd name="T50" fmla="*/ 38 w 184"/>
                <a:gd name="T51" fmla="*/ 87 h 172"/>
                <a:gd name="T52" fmla="*/ 38 w 184"/>
                <a:gd name="T53" fmla="*/ 65 h 172"/>
                <a:gd name="T54" fmla="*/ 57 w 184"/>
                <a:gd name="T55" fmla="*/ 118 h 172"/>
                <a:gd name="T56" fmla="*/ 61 w 184"/>
                <a:gd name="T57" fmla="*/ 124 h 172"/>
                <a:gd name="T58" fmla="*/ 101 w 184"/>
                <a:gd name="T59" fmla="*/ 172 h 172"/>
                <a:gd name="T60" fmla="*/ 108 w 184"/>
                <a:gd name="T61" fmla="*/ 165 h 172"/>
                <a:gd name="T62" fmla="*/ 113 w 184"/>
                <a:gd name="T63" fmla="*/ 139 h 172"/>
                <a:gd name="T64" fmla="*/ 93 w 184"/>
                <a:gd name="T65" fmla="*/ 108 h 172"/>
                <a:gd name="T66" fmla="*/ 93 w 184"/>
                <a:gd name="T67" fmla="*/ 107 h 172"/>
                <a:gd name="T68" fmla="*/ 135 w 184"/>
                <a:gd name="T69" fmla="*/ 130 h 172"/>
                <a:gd name="T70" fmla="*/ 142 w 184"/>
                <a:gd name="T71" fmla="*/ 132 h 172"/>
                <a:gd name="T72" fmla="*/ 184 w 184"/>
                <a:gd name="T73" fmla="*/ 132 h 172"/>
                <a:gd name="T74" fmla="*/ 184 w 184"/>
                <a:gd name="T75" fmla="*/ 129 h 172"/>
                <a:gd name="T76" fmla="*/ 180 w 184"/>
                <a:gd name="T77" fmla="*/ 11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4" h="172">
                  <a:moveTo>
                    <a:pt x="180" y="114"/>
                  </a:moveTo>
                  <a:cubicBezTo>
                    <a:pt x="147" y="113"/>
                    <a:pt x="147" y="113"/>
                    <a:pt x="147" y="113"/>
                  </a:cubicBezTo>
                  <a:cubicBezTo>
                    <a:pt x="142" y="112"/>
                    <a:pt x="137" y="111"/>
                    <a:pt x="134" y="107"/>
                  </a:cubicBezTo>
                  <a:cubicBezTo>
                    <a:pt x="106" y="82"/>
                    <a:pt x="106" y="82"/>
                    <a:pt x="106" y="82"/>
                  </a:cubicBezTo>
                  <a:cubicBezTo>
                    <a:pt x="103" y="79"/>
                    <a:pt x="101" y="75"/>
                    <a:pt x="100" y="71"/>
                  </a:cubicBezTo>
                  <a:cubicBezTo>
                    <a:pt x="92" y="33"/>
                    <a:pt x="92" y="33"/>
                    <a:pt x="92" y="33"/>
                  </a:cubicBezTo>
                  <a:cubicBezTo>
                    <a:pt x="89" y="22"/>
                    <a:pt x="78" y="17"/>
                    <a:pt x="68" y="22"/>
                  </a:cubicBezTo>
                  <a:cubicBezTo>
                    <a:pt x="65" y="23"/>
                    <a:pt x="65" y="23"/>
                    <a:pt x="65" y="23"/>
                  </a:cubicBezTo>
                  <a:cubicBezTo>
                    <a:pt x="67" y="42"/>
                    <a:pt x="67" y="42"/>
                    <a:pt x="67" y="42"/>
                  </a:cubicBezTo>
                  <a:cubicBezTo>
                    <a:pt x="61" y="49"/>
                    <a:pt x="61" y="49"/>
                    <a:pt x="61" y="49"/>
                  </a:cubicBezTo>
                  <a:cubicBezTo>
                    <a:pt x="58" y="52"/>
                    <a:pt x="54" y="53"/>
                    <a:pt x="50" y="51"/>
                  </a:cubicBezTo>
                  <a:cubicBezTo>
                    <a:pt x="39" y="42"/>
                    <a:pt x="39" y="42"/>
                    <a:pt x="39" y="42"/>
                  </a:cubicBezTo>
                  <a:cubicBezTo>
                    <a:pt x="34" y="44"/>
                    <a:pt x="34" y="44"/>
                    <a:pt x="34" y="44"/>
                  </a:cubicBezTo>
                  <a:cubicBezTo>
                    <a:pt x="30" y="46"/>
                    <a:pt x="30" y="46"/>
                    <a:pt x="30" y="46"/>
                  </a:cubicBezTo>
                  <a:cubicBezTo>
                    <a:pt x="20" y="50"/>
                    <a:pt x="9" y="44"/>
                    <a:pt x="7" y="34"/>
                  </a:cubicBezTo>
                  <a:cubicBezTo>
                    <a:pt x="3" y="15"/>
                    <a:pt x="3" y="15"/>
                    <a:pt x="3" y="15"/>
                  </a:cubicBezTo>
                  <a:cubicBezTo>
                    <a:pt x="2" y="10"/>
                    <a:pt x="2" y="5"/>
                    <a:pt x="2" y="0"/>
                  </a:cubicBezTo>
                  <a:cubicBezTo>
                    <a:pt x="0" y="34"/>
                    <a:pt x="0" y="34"/>
                    <a:pt x="0" y="34"/>
                  </a:cubicBezTo>
                  <a:cubicBezTo>
                    <a:pt x="7" y="96"/>
                    <a:pt x="7" y="96"/>
                    <a:pt x="7" y="96"/>
                  </a:cubicBezTo>
                  <a:cubicBezTo>
                    <a:pt x="7" y="98"/>
                    <a:pt x="8" y="99"/>
                    <a:pt x="8" y="101"/>
                  </a:cubicBezTo>
                  <a:cubicBezTo>
                    <a:pt x="27" y="144"/>
                    <a:pt x="27" y="144"/>
                    <a:pt x="27" y="144"/>
                  </a:cubicBezTo>
                  <a:cubicBezTo>
                    <a:pt x="33" y="141"/>
                    <a:pt x="33" y="141"/>
                    <a:pt x="33" y="141"/>
                  </a:cubicBezTo>
                  <a:cubicBezTo>
                    <a:pt x="36" y="140"/>
                    <a:pt x="39" y="138"/>
                    <a:pt x="41" y="135"/>
                  </a:cubicBezTo>
                  <a:cubicBezTo>
                    <a:pt x="28" y="110"/>
                    <a:pt x="28" y="110"/>
                    <a:pt x="28" y="110"/>
                  </a:cubicBezTo>
                  <a:cubicBezTo>
                    <a:pt x="42" y="103"/>
                    <a:pt x="42" y="103"/>
                    <a:pt x="42" y="103"/>
                  </a:cubicBezTo>
                  <a:cubicBezTo>
                    <a:pt x="38" y="87"/>
                    <a:pt x="38" y="87"/>
                    <a:pt x="38" y="87"/>
                  </a:cubicBezTo>
                  <a:cubicBezTo>
                    <a:pt x="38" y="65"/>
                    <a:pt x="38" y="65"/>
                    <a:pt x="38" y="65"/>
                  </a:cubicBezTo>
                  <a:cubicBezTo>
                    <a:pt x="57" y="118"/>
                    <a:pt x="57" y="118"/>
                    <a:pt x="57" y="118"/>
                  </a:cubicBezTo>
                  <a:cubicBezTo>
                    <a:pt x="58" y="120"/>
                    <a:pt x="59" y="122"/>
                    <a:pt x="61" y="124"/>
                  </a:cubicBezTo>
                  <a:cubicBezTo>
                    <a:pt x="101" y="172"/>
                    <a:pt x="101" y="172"/>
                    <a:pt x="101" y="172"/>
                  </a:cubicBezTo>
                  <a:cubicBezTo>
                    <a:pt x="108" y="165"/>
                    <a:pt x="108" y="165"/>
                    <a:pt x="108" y="165"/>
                  </a:cubicBezTo>
                  <a:cubicBezTo>
                    <a:pt x="116" y="159"/>
                    <a:pt x="118" y="148"/>
                    <a:pt x="113" y="139"/>
                  </a:cubicBezTo>
                  <a:cubicBezTo>
                    <a:pt x="93" y="108"/>
                    <a:pt x="93" y="108"/>
                    <a:pt x="93" y="108"/>
                  </a:cubicBezTo>
                  <a:cubicBezTo>
                    <a:pt x="93" y="107"/>
                    <a:pt x="93" y="107"/>
                    <a:pt x="93" y="107"/>
                  </a:cubicBezTo>
                  <a:cubicBezTo>
                    <a:pt x="135" y="130"/>
                    <a:pt x="135" y="130"/>
                    <a:pt x="135" y="130"/>
                  </a:cubicBezTo>
                  <a:cubicBezTo>
                    <a:pt x="138" y="131"/>
                    <a:pt x="140" y="132"/>
                    <a:pt x="142" y="132"/>
                  </a:cubicBezTo>
                  <a:cubicBezTo>
                    <a:pt x="184" y="132"/>
                    <a:pt x="184" y="132"/>
                    <a:pt x="184" y="132"/>
                  </a:cubicBezTo>
                  <a:cubicBezTo>
                    <a:pt x="184" y="129"/>
                    <a:pt x="184" y="129"/>
                    <a:pt x="184" y="129"/>
                  </a:cubicBezTo>
                  <a:cubicBezTo>
                    <a:pt x="184" y="124"/>
                    <a:pt x="183" y="118"/>
                    <a:pt x="180" y="114"/>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66" name="Freeform 198">
              <a:extLst>
                <a:ext uri="{FF2B5EF4-FFF2-40B4-BE49-F238E27FC236}">
                  <a16:creationId xmlns:a16="http://schemas.microsoft.com/office/drawing/2014/main" id="{80D0736C-0051-49D8-86D5-492832CD7DB9}"/>
                </a:ext>
              </a:extLst>
            </p:cNvPr>
            <p:cNvSpPr>
              <a:spLocks/>
            </p:cNvSpPr>
            <p:nvPr/>
          </p:nvSpPr>
          <p:spPr bwMode="auto">
            <a:xfrm>
              <a:off x="10492086" y="4216288"/>
              <a:ext cx="178870" cy="77032"/>
            </a:xfrm>
            <a:custGeom>
              <a:avLst/>
              <a:gdLst>
                <a:gd name="T0" fmla="*/ 22 w 202"/>
                <a:gd name="T1" fmla="*/ 0 h 87"/>
                <a:gd name="T2" fmla="*/ 0 w 202"/>
                <a:gd name="T3" fmla="*/ 43 h 87"/>
                <a:gd name="T4" fmla="*/ 202 w 202"/>
                <a:gd name="T5" fmla="*/ 87 h 87"/>
                <a:gd name="T6" fmla="*/ 202 w 202"/>
                <a:gd name="T7" fmla="*/ 41 h 87"/>
                <a:gd name="T8" fmla="*/ 202 w 202"/>
                <a:gd name="T9" fmla="*/ 26 h 87"/>
                <a:gd name="T10" fmla="*/ 22 w 202"/>
                <a:gd name="T11" fmla="*/ 0 h 87"/>
              </a:gdLst>
              <a:ahLst/>
              <a:cxnLst>
                <a:cxn ang="0">
                  <a:pos x="T0" y="T1"/>
                </a:cxn>
                <a:cxn ang="0">
                  <a:pos x="T2" y="T3"/>
                </a:cxn>
                <a:cxn ang="0">
                  <a:pos x="T4" y="T5"/>
                </a:cxn>
                <a:cxn ang="0">
                  <a:pos x="T6" y="T7"/>
                </a:cxn>
                <a:cxn ang="0">
                  <a:pos x="T8" y="T9"/>
                </a:cxn>
                <a:cxn ang="0">
                  <a:pos x="T10" y="T11"/>
                </a:cxn>
              </a:cxnLst>
              <a:rect l="0" t="0" r="r" b="b"/>
              <a:pathLst>
                <a:path w="202" h="87">
                  <a:moveTo>
                    <a:pt x="22" y="0"/>
                  </a:moveTo>
                  <a:cubicBezTo>
                    <a:pt x="13" y="13"/>
                    <a:pt x="5" y="28"/>
                    <a:pt x="0" y="43"/>
                  </a:cubicBezTo>
                  <a:cubicBezTo>
                    <a:pt x="202" y="87"/>
                    <a:pt x="202" y="87"/>
                    <a:pt x="202" y="87"/>
                  </a:cubicBezTo>
                  <a:cubicBezTo>
                    <a:pt x="202" y="41"/>
                    <a:pt x="202" y="41"/>
                    <a:pt x="202" y="41"/>
                  </a:cubicBezTo>
                  <a:cubicBezTo>
                    <a:pt x="202" y="26"/>
                    <a:pt x="202" y="26"/>
                    <a:pt x="202" y="26"/>
                  </a:cubicBezTo>
                  <a:lnTo>
                    <a:pt x="22" y="0"/>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64" name="TextBox 163">
            <a:extLst>
              <a:ext uri="{FF2B5EF4-FFF2-40B4-BE49-F238E27FC236}">
                <a16:creationId xmlns:a16="http://schemas.microsoft.com/office/drawing/2014/main" id="{283083A1-F4DD-4C1A-BA65-DE5AA4FA19BE}"/>
              </a:ext>
            </a:extLst>
          </p:cNvPr>
          <p:cNvSpPr txBox="1"/>
          <p:nvPr/>
        </p:nvSpPr>
        <p:spPr>
          <a:xfrm>
            <a:off x="586501" y="5190126"/>
            <a:ext cx="3578008" cy="699703"/>
          </a:xfrm>
          <a:prstGeom prst="rect">
            <a:avLst/>
          </a:prstGeom>
          <a:solidFill>
            <a:schemeClr val="bg1">
              <a:lumMod val="95000"/>
            </a:schemeClr>
          </a:solidFill>
          <a:ln w="6350">
            <a:solidFill>
              <a:schemeClr val="bg1">
                <a:lumMod val="95000"/>
              </a:schemeClr>
            </a:solidFill>
          </a:ln>
        </p:spPr>
        <p:txBody>
          <a:bodyPr wrap="square" lIns="91440" tIns="45720" rIns="91440" bIns="4572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lvl="1">
              <a:spcBef>
                <a:spcPts val="600"/>
              </a:spcBef>
            </a:pPr>
            <a:r>
              <a:rPr lang="en-US" sz="1200"/>
              <a:t>Containerized User Profiles (FSLogix) with fast VHD load times</a:t>
            </a:r>
          </a:p>
        </p:txBody>
      </p:sp>
      <p:sp>
        <p:nvSpPr>
          <p:cNvPr id="167" name="TextBox 166">
            <a:extLst>
              <a:ext uri="{FF2B5EF4-FFF2-40B4-BE49-F238E27FC236}">
                <a16:creationId xmlns:a16="http://schemas.microsoft.com/office/drawing/2014/main" id="{3C5CE8C7-26DA-4B5D-B904-E771A2E8C6C6}"/>
              </a:ext>
            </a:extLst>
          </p:cNvPr>
          <p:cNvSpPr txBox="1"/>
          <p:nvPr/>
        </p:nvSpPr>
        <p:spPr>
          <a:xfrm>
            <a:off x="4307789" y="5190126"/>
            <a:ext cx="3578008" cy="699703"/>
          </a:xfrm>
          <a:prstGeom prst="rect">
            <a:avLst/>
          </a:prstGeom>
          <a:solidFill>
            <a:schemeClr val="bg1">
              <a:lumMod val="95000"/>
            </a:schemeClr>
          </a:solidFill>
          <a:ln w="6350">
            <a:solidFill>
              <a:schemeClr val="bg1">
                <a:lumMod val="95000"/>
              </a:schemeClr>
            </a:solidFill>
          </a:ln>
        </p:spPr>
        <p:txBody>
          <a:bodyPr wrap="square" lIns="91440" tIns="45720" rIns="91440" bIns="4572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marL="171450" indent="-171450">
              <a:spcBef>
                <a:spcPts val="800"/>
              </a:spcBef>
              <a:buFont typeface="Arial" panose="020B0604020202020204" pitchFamily="34" charset="0"/>
              <a:buChar char="•"/>
            </a:pPr>
            <a:r>
              <a:rPr lang="en-US" altLang="zh-CN" sz="1200"/>
              <a:t>Uncompromised O365 email and calendar performance, Real-time Outlook search</a:t>
            </a:r>
          </a:p>
          <a:p>
            <a:pPr marL="171450" indent="-171450">
              <a:spcBef>
                <a:spcPts val="800"/>
              </a:spcBef>
              <a:buFont typeface="Arial" panose="020B0604020202020204" pitchFamily="34" charset="0"/>
              <a:buChar char="•"/>
            </a:pPr>
            <a:r>
              <a:rPr lang="en-US" altLang="zh-CN" sz="1200"/>
              <a:t>Persistent and non persistent environments</a:t>
            </a:r>
          </a:p>
          <a:p>
            <a:pPr lvl="1">
              <a:spcBef>
                <a:spcPts val="600"/>
              </a:spcBef>
            </a:pPr>
            <a:endParaRPr lang="en-US" sz="1200"/>
          </a:p>
        </p:txBody>
      </p:sp>
      <p:sp>
        <p:nvSpPr>
          <p:cNvPr id="170" name="TextBox 169">
            <a:extLst>
              <a:ext uri="{FF2B5EF4-FFF2-40B4-BE49-F238E27FC236}">
                <a16:creationId xmlns:a16="http://schemas.microsoft.com/office/drawing/2014/main" id="{096E5E1E-C049-4754-8998-FCBFECFC2C72}"/>
              </a:ext>
            </a:extLst>
          </p:cNvPr>
          <p:cNvSpPr txBox="1"/>
          <p:nvPr/>
        </p:nvSpPr>
        <p:spPr>
          <a:xfrm>
            <a:off x="8031380" y="5190126"/>
            <a:ext cx="3578008" cy="699703"/>
          </a:xfrm>
          <a:prstGeom prst="rect">
            <a:avLst/>
          </a:prstGeom>
          <a:solidFill>
            <a:schemeClr val="bg1">
              <a:lumMod val="95000"/>
            </a:schemeClr>
          </a:solidFill>
          <a:ln w="6350">
            <a:solidFill>
              <a:schemeClr val="bg1">
                <a:lumMod val="95000"/>
              </a:schemeClr>
            </a:solidFill>
          </a:ln>
        </p:spPr>
        <p:txBody>
          <a:bodyPr wrap="square" lIns="91440" tIns="45720" rIns="91440" bIns="4572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lvl="1">
              <a:spcBef>
                <a:spcPts val="600"/>
              </a:spcBef>
            </a:pPr>
            <a:r>
              <a:rPr lang="en-US" sz="1200" spc="-30">
                <a:solidFill>
                  <a:schemeClr val="tx2"/>
                </a:solidFill>
                <a:cs typeface="Segoe UI" pitchFamily="34" charset="0"/>
              </a:rPr>
              <a:t>Best conferencing and media experience</a:t>
            </a:r>
            <a:endParaRPr lang="en-US" sz="1200" spc="-30">
              <a:cs typeface="Segoe UI" pitchFamily="34" charset="0"/>
            </a:endParaRPr>
          </a:p>
          <a:p>
            <a:pPr lvl="1">
              <a:spcBef>
                <a:spcPts val="600"/>
              </a:spcBef>
            </a:pPr>
            <a:r>
              <a:rPr lang="en-US" sz="1200"/>
              <a:t>Multimedia redirection capability, high-performance, low latency audio &amp; video calling</a:t>
            </a:r>
          </a:p>
        </p:txBody>
      </p:sp>
      <p:sp>
        <p:nvSpPr>
          <p:cNvPr id="150" name="TextBox 149">
            <a:extLst>
              <a:ext uri="{FF2B5EF4-FFF2-40B4-BE49-F238E27FC236}">
                <a16:creationId xmlns:a16="http://schemas.microsoft.com/office/drawing/2014/main" id="{02AF0CF8-12F2-47D7-AFE6-E039406BC803}"/>
              </a:ext>
            </a:extLst>
          </p:cNvPr>
          <p:cNvSpPr txBox="1"/>
          <p:nvPr/>
        </p:nvSpPr>
        <p:spPr>
          <a:xfrm>
            <a:off x="586501" y="2646381"/>
            <a:ext cx="3578008" cy="878732"/>
          </a:xfrm>
          <a:prstGeom prst="rect">
            <a:avLst/>
          </a:prstGeom>
          <a:solidFill>
            <a:schemeClr val="bg1">
              <a:lumMod val="95000"/>
            </a:schemeClr>
          </a:solidFill>
          <a:ln w="6350">
            <a:solidFill>
              <a:schemeClr val="bg1">
                <a:lumMod val="95000"/>
              </a:schemeClr>
            </a:solidFill>
          </a:ln>
        </p:spPr>
        <p:txBody>
          <a:bodyPr wrap="square" lIns="91440" tIns="45720" rIns="91440" bIns="4572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lvl="1">
              <a:spcBef>
                <a:spcPts val="600"/>
              </a:spcBef>
            </a:pPr>
            <a:r>
              <a:rPr lang="en-US" sz="1200"/>
              <a:t>Connect from any device of your choice (Windows, MacOS / iOS, HTML5, Android, Linux</a:t>
            </a:r>
            <a:r>
              <a:rPr lang="en-US" sz="1200" baseline="30000"/>
              <a:t>*</a:t>
            </a:r>
            <a:r>
              <a:rPr lang="en-US" sz="1200"/>
              <a:t>)</a:t>
            </a:r>
          </a:p>
          <a:p>
            <a:pPr lvl="0" fontAlgn="base">
              <a:spcBef>
                <a:spcPts val="600"/>
              </a:spcBef>
            </a:pPr>
            <a:r>
              <a:rPr lang="en-US" sz="800">
                <a:solidFill>
                  <a:srgbClr val="000000"/>
                </a:solidFill>
              </a:rPr>
              <a:t>* Coming soon</a:t>
            </a:r>
          </a:p>
        </p:txBody>
      </p:sp>
      <p:sp>
        <p:nvSpPr>
          <p:cNvPr id="155" name="TextBox 154">
            <a:extLst>
              <a:ext uri="{FF2B5EF4-FFF2-40B4-BE49-F238E27FC236}">
                <a16:creationId xmlns:a16="http://schemas.microsoft.com/office/drawing/2014/main" id="{40945598-40BC-4D8D-8114-96F3BCD825C3}"/>
              </a:ext>
            </a:extLst>
          </p:cNvPr>
          <p:cNvSpPr txBox="1"/>
          <p:nvPr/>
        </p:nvSpPr>
        <p:spPr>
          <a:xfrm>
            <a:off x="4307789" y="2646381"/>
            <a:ext cx="3578008" cy="878732"/>
          </a:xfrm>
          <a:prstGeom prst="rect">
            <a:avLst/>
          </a:prstGeom>
          <a:solidFill>
            <a:schemeClr val="bg1">
              <a:lumMod val="95000"/>
            </a:schemeClr>
          </a:solidFill>
          <a:ln w="6350">
            <a:solidFill>
              <a:schemeClr val="bg1">
                <a:lumMod val="95000"/>
              </a:schemeClr>
            </a:solidFill>
          </a:ln>
        </p:spPr>
        <p:txBody>
          <a:bodyPr wrap="square" lIns="91440" tIns="45720" rIns="91440" bIns="4572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lvl="1">
              <a:spcBef>
                <a:spcPts val="600"/>
              </a:spcBef>
            </a:pPr>
            <a:r>
              <a:rPr lang="en-US" sz="1200"/>
              <a:t>Like-local Windows experience</a:t>
            </a:r>
          </a:p>
          <a:p>
            <a:pPr lvl="1">
              <a:spcBef>
                <a:spcPts val="600"/>
              </a:spcBef>
            </a:pPr>
            <a:r>
              <a:rPr lang="en-US" sz="1200"/>
              <a:t>Extensive support for devices</a:t>
            </a:r>
          </a:p>
        </p:txBody>
      </p:sp>
      <p:sp>
        <p:nvSpPr>
          <p:cNvPr id="159" name="TextBox 158">
            <a:extLst>
              <a:ext uri="{FF2B5EF4-FFF2-40B4-BE49-F238E27FC236}">
                <a16:creationId xmlns:a16="http://schemas.microsoft.com/office/drawing/2014/main" id="{BCFE588E-6620-4212-A5CA-BD8FE2345E68}"/>
              </a:ext>
            </a:extLst>
          </p:cNvPr>
          <p:cNvSpPr txBox="1"/>
          <p:nvPr/>
        </p:nvSpPr>
        <p:spPr>
          <a:xfrm>
            <a:off x="8031380" y="2646381"/>
            <a:ext cx="3578008" cy="878732"/>
          </a:xfrm>
          <a:prstGeom prst="rect">
            <a:avLst/>
          </a:prstGeom>
          <a:solidFill>
            <a:schemeClr val="bg1">
              <a:lumMod val="95000"/>
            </a:schemeClr>
          </a:solidFill>
          <a:ln w="6350">
            <a:solidFill>
              <a:schemeClr val="bg1">
                <a:lumMod val="95000"/>
              </a:schemeClr>
            </a:solidFill>
          </a:ln>
        </p:spPr>
        <p:txBody>
          <a:bodyPr wrap="square" lIns="91440" tIns="45720" rIns="91440" bIns="4572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lvl="1">
              <a:spcBef>
                <a:spcPts val="600"/>
              </a:spcBef>
            </a:pPr>
            <a:r>
              <a:rPr lang="en-US" sz="1200"/>
              <a:t>Support for Windows Hello for Business</a:t>
            </a:r>
          </a:p>
          <a:p>
            <a:pPr lvl="1">
              <a:spcBef>
                <a:spcPts val="600"/>
              </a:spcBef>
            </a:pPr>
            <a:r>
              <a:rPr lang="en-US" sz="1200"/>
              <a:t>Dynamically adapting bandwidth utilization</a:t>
            </a:r>
          </a:p>
        </p:txBody>
      </p:sp>
      <p:grpSp>
        <p:nvGrpSpPr>
          <p:cNvPr id="615" name="Group 614">
            <a:extLst>
              <a:ext uri="{FF2B5EF4-FFF2-40B4-BE49-F238E27FC236}">
                <a16:creationId xmlns:a16="http://schemas.microsoft.com/office/drawing/2014/main" id="{B2930BD4-BC19-49BF-9FE3-8BEAEC20427C}"/>
              </a:ext>
            </a:extLst>
          </p:cNvPr>
          <p:cNvGrpSpPr/>
          <p:nvPr/>
        </p:nvGrpSpPr>
        <p:grpSpPr>
          <a:xfrm>
            <a:off x="1931707" y="4206240"/>
            <a:ext cx="887596" cy="916366"/>
            <a:chOff x="8233541" y="2400232"/>
            <a:chExt cx="3566947" cy="3682563"/>
          </a:xfrm>
        </p:grpSpPr>
        <p:sp>
          <p:nvSpPr>
            <p:cNvPr id="616" name="Freeform: Shape 615">
              <a:extLst>
                <a:ext uri="{FF2B5EF4-FFF2-40B4-BE49-F238E27FC236}">
                  <a16:creationId xmlns:a16="http://schemas.microsoft.com/office/drawing/2014/main" id="{238A8795-604B-4383-B3C7-3DD496CB58C1}"/>
                </a:ext>
              </a:extLst>
            </p:cNvPr>
            <p:cNvSpPr/>
            <p:nvPr/>
          </p:nvSpPr>
          <p:spPr bwMode="auto">
            <a:xfrm>
              <a:off x="8747760" y="2913888"/>
              <a:ext cx="1322832" cy="2371344"/>
            </a:xfrm>
            <a:custGeom>
              <a:avLst/>
              <a:gdLst>
                <a:gd name="connsiteX0" fmla="*/ 0 w 1322832"/>
                <a:gd name="connsiteY0" fmla="*/ 2371344 h 2371344"/>
                <a:gd name="connsiteX1" fmla="*/ 0 w 1322832"/>
                <a:gd name="connsiteY1" fmla="*/ 1414272 h 2371344"/>
                <a:gd name="connsiteX2" fmla="*/ 1322832 w 1322832"/>
                <a:gd name="connsiteY2" fmla="*/ 1414272 h 2371344"/>
                <a:gd name="connsiteX3" fmla="*/ 1322832 w 1322832"/>
                <a:gd name="connsiteY3" fmla="*/ 0 h 2371344"/>
              </a:gdLst>
              <a:ahLst/>
              <a:cxnLst>
                <a:cxn ang="0">
                  <a:pos x="connsiteX0" y="connsiteY0"/>
                </a:cxn>
                <a:cxn ang="0">
                  <a:pos x="connsiteX1" y="connsiteY1"/>
                </a:cxn>
                <a:cxn ang="0">
                  <a:pos x="connsiteX2" y="connsiteY2"/>
                </a:cxn>
                <a:cxn ang="0">
                  <a:pos x="connsiteX3" y="connsiteY3"/>
                </a:cxn>
              </a:cxnLst>
              <a:rect l="l" t="t" r="r" b="b"/>
              <a:pathLst>
                <a:path w="1322832" h="2371344">
                  <a:moveTo>
                    <a:pt x="0" y="2371344"/>
                  </a:moveTo>
                  <a:lnTo>
                    <a:pt x="0" y="1414272"/>
                  </a:lnTo>
                  <a:lnTo>
                    <a:pt x="1322832" y="1414272"/>
                  </a:lnTo>
                  <a:lnTo>
                    <a:pt x="1322832" y="0"/>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a:p>
          </p:txBody>
        </p:sp>
        <p:sp>
          <p:nvSpPr>
            <p:cNvPr id="617" name="Freeform: Shape 616">
              <a:extLst>
                <a:ext uri="{FF2B5EF4-FFF2-40B4-BE49-F238E27FC236}">
                  <a16:creationId xmlns:a16="http://schemas.microsoft.com/office/drawing/2014/main" id="{C2724289-59DE-4B54-808F-63A8448F9F11}"/>
                </a:ext>
              </a:extLst>
            </p:cNvPr>
            <p:cNvSpPr/>
            <p:nvPr/>
          </p:nvSpPr>
          <p:spPr bwMode="auto">
            <a:xfrm>
              <a:off x="9265920" y="3712464"/>
              <a:ext cx="926592" cy="1011936"/>
            </a:xfrm>
            <a:custGeom>
              <a:avLst/>
              <a:gdLst>
                <a:gd name="connsiteX0" fmla="*/ 0 w 877824"/>
                <a:gd name="connsiteY0" fmla="*/ 0 h 1011936"/>
                <a:gd name="connsiteX1" fmla="*/ 877824 w 877824"/>
                <a:gd name="connsiteY1" fmla="*/ 0 h 1011936"/>
                <a:gd name="connsiteX2" fmla="*/ 877824 w 877824"/>
                <a:gd name="connsiteY2" fmla="*/ 1011936 h 1011936"/>
              </a:gdLst>
              <a:ahLst/>
              <a:cxnLst>
                <a:cxn ang="0">
                  <a:pos x="connsiteX0" y="connsiteY0"/>
                </a:cxn>
                <a:cxn ang="0">
                  <a:pos x="connsiteX1" y="connsiteY1"/>
                </a:cxn>
                <a:cxn ang="0">
                  <a:pos x="connsiteX2" y="connsiteY2"/>
                </a:cxn>
              </a:cxnLst>
              <a:rect l="l" t="t" r="r" b="b"/>
              <a:pathLst>
                <a:path w="877824" h="1011936">
                  <a:moveTo>
                    <a:pt x="0" y="0"/>
                  </a:moveTo>
                  <a:lnTo>
                    <a:pt x="877824" y="0"/>
                  </a:lnTo>
                  <a:lnTo>
                    <a:pt x="877824" y="1011936"/>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18" name="Freeform: Shape 617">
              <a:extLst>
                <a:ext uri="{FF2B5EF4-FFF2-40B4-BE49-F238E27FC236}">
                  <a16:creationId xmlns:a16="http://schemas.microsoft.com/office/drawing/2014/main" id="{32B2F7FA-B5C4-476E-842A-70ED9A009646}"/>
                </a:ext>
              </a:extLst>
            </p:cNvPr>
            <p:cNvSpPr/>
            <p:nvPr/>
          </p:nvSpPr>
          <p:spPr bwMode="auto">
            <a:xfrm>
              <a:off x="11033934" y="3992880"/>
              <a:ext cx="284114" cy="886986"/>
            </a:xfrm>
            <a:custGeom>
              <a:avLst/>
              <a:gdLst>
                <a:gd name="connsiteX0" fmla="*/ 0 w 320040"/>
                <a:gd name="connsiteY0" fmla="*/ 0 h 960120"/>
                <a:gd name="connsiteX1" fmla="*/ 0 w 320040"/>
                <a:gd name="connsiteY1" fmla="*/ 472440 h 960120"/>
                <a:gd name="connsiteX2" fmla="*/ 320040 w 320040"/>
                <a:gd name="connsiteY2" fmla="*/ 472440 h 960120"/>
                <a:gd name="connsiteX3" fmla="*/ 320040 w 320040"/>
                <a:gd name="connsiteY3" fmla="*/ 960120 h 960120"/>
              </a:gdLst>
              <a:ahLst/>
              <a:cxnLst>
                <a:cxn ang="0">
                  <a:pos x="connsiteX0" y="connsiteY0"/>
                </a:cxn>
                <a:cxn ang="0">
                  <a:pos x="connsiteX1" y="connsiteY1"/>
                </a:cxn>
                <a:cxn ang="0">
                  <a:pos x="connsiteX2" y="connsiteY2"/>
                </a:cxn>
                <a:cxn ang="0">
                  <a:pos x="connsiteX3" y="connsiteY3"/>
                </a:cxn>
              </a:cxnLst>
              <a:rect l="l" t="t" r="r" b="b"/>
              <a:pathLst>
                <a:path w="320040" h="960120">
                  <a:moveTo>
                    <a:pt x="0" y="0"/>
                  </a:moveTo>
                  <a:lnTo>
                    <a:pt x="0" y="472440"/>
                  </a:lnTo>
                  <a:lnTo>
                    <a:pt x="320040" y="472440"/>
                  </a:lnTo>
                  <a:lnTo>
                    <a:pt x="320040" y="960120"/>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a:p>
          </p:txBody>
        </p:sp>
        <p:sp>
          <p:nvSpPr>
            <p:cNvPr id="619" name="Rectangle: Rounded Corners 618">
              <a:extLst>
                <a:ext uri="{FF2B5EF4-FFF2-40B4-BE49-F238E27FC236}">
                  <a16:creationId xmlns:a16="http://schemas.microsoft.com/office/drawing/2014/main" id="{682A1513-36D9-4100-A019-08CE1A5B4C90}"/>
                </a:ext>
              </a:extLst>
            </p:cNvPr>
            <p:cNvSpPr/>
            <p:nvPr/>
          </p:nvSpPr>
          <p:spPr bwMode="auto">
            <a:xfrm>
              <a:off x="8233541" y="5966692"/>
              <a:ext cx="3566947" cy="116103"/>
            </a:xfrm>
            <a:prstGeom prst="roundRect">
              <a:avLst>
                <a:gd name="adj" fmla="val 5000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defRPr/>
              </a:pPr>
              <a:endParaRPr lang="en-US" sz="1600" b="1">
                <a:solidFill>
                  <a:schemeClr val="tx1"/>
                </a:solidFill>
                <a:ea typeface="Segoe UI" pitchFamily="34" charset="0"/>
                <a:cs typeface="Segoe UI" pitchFamily="34" charset="0"/>
              </a:endParaRPr>
            </a:p>
          </p:txBody>
        </p:sp>
        <p:grpSp>
          <p:nvGrpSpPr>
            <p:cNvPr id="620" name="Group 619">
              <a:extLst>
                <a:ext uri="{FF2B5EF4-FFF2-40B4-BE49-F238E27FC236}">
                  <a16:creationId xmlns:a16="http://schemas.microsoft.com/office/drawing/2014/main" id="{BEA6FAA0-50C6-492E-9C13-B49ABD0A499B}"/>
                </a:ext>
              </a:extLst>
            </p:cNvPr>
            <p:cNvGrpSpPr/>
            <p:nvPr/>
          </p:nvGrpSpPr>
          <p:grpSpPr>
            <a:xfrm>
              <a:off x="8695905" y="4819437"/>
              <a:ext cx="633514" cy="1182271"/>
              <a:chOff x="-1715013" y="6027509"/>
              <a:chExt cx="843819" cy="1574747"/>
            </a:xfrm>
          </p:grpSpPr>
          <p:grpSp>
            <p:nvGrpSpPr>
              <p:cNvPr id="881" name="Group 880">
                <a:extLst>
                  <a:ext uri="{FF2B5EF4-FFF2-40B4-BE49-F238E27FC236}">
                    <a16:creationId xmlns:a16="http://schemas.microsoft.com/office/drawing/2014/main" id="{95CC8853-448B-4CBA-AF7D-3F3FEC395BAA}"/>
                  </a:ext>
                </a:extLst>
              </p:cNvPr>
              <p:cNvGrpSpPr/>
              <p:nvPr/>
            </p:nvGrpSpPr>
            <p:grpSpPr>
              <a:xfrm>
                <a:off x="-1366721" y="6703228"/>
                <a:ext cx="470919" cy="899028"/>
                <a:chOff x="3119809" y="5200964"/>
                <a:chExt cx="401638" cy="766764"/>
              </a:xfrm>
            </p:grpSpPr>
            <p:grpSp>
              <p:nvGrpSpPr>
                <p:cNvPr id="908" name="Group 907">
                  <a:extLst>
                    <a:ext uri="{FF2B5EF4-FFF2-40B4-BE49-F238E27FC236}">
                      <a16:creationId xmlns:a16="http://schemas.microsoft.com/office/drawing/2014/main" id="{1C1E63DB-CB44-4765-99C0-F72CE21E6525}"/>
                    </a:ext>
                  </a:extLst>
                </p:cNvPr>
                <p:cNvGrpSpPr/>
                <p:nvPr/>
              </p:nvGrpSpPr>
              <p:grpSpPr>
                <a:xfrm>
                  <a:off x="3247180" y="5200964"/>
                  <a:ext cx="200026" cy="365126"/>
                  <a:chOff x="3321421" y="5200965"/>
                  <a:chExt cx="200026" cy="365126"/>
                </a:xfrm>
              </p:grpSpPr>
              <p:sp>
                <p:nvSpPr>
                  <p:cNvPr id="915" name="Freeform 76">
                    <a:extLst>
                      <a:ext uri="{FF2B5EF4-FFF2-40B4-BE49-F238E27FC236}">
                        <a16:creationId xmlns:a16="http://schemas.microsoft.com/office/drawing/2014/main" id="{D3B8C3DE-01E4-4075-9783-DF2C0496C0BA}"/>
                      </a:ext>
                    </a:extLst>
                  </p:cNvPr>
                  <p:cNvSpPr>
                    <a:spLocks/>
                  </p:cNvSpPr>
                  <p:nvPr/>
                </p:nvSpPr>
                <p:spPr bwMode="auto">
                  <a:xfrm flipH="1">
                    <a:off x="3438897" y="5297803"/>
                    <a:ext cx="34925" cy="268288"/>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16" name="Freeform 73">
                    <a:extLst>
                      <a:ext uri="{FF2B5EF4-FFF2-40B4-BE49-F238E27FC236}">
                        <a16:creationId xmlns:a16="http://schemas.microsoft.com/office/drawing/2014/main" id="{72DBEE5F-6A68-446E-A6A9-4D72CF4731B7}"/>
                      </a:ext>
                    </a:extLst>
                  </p:cNvPr>
                  <p:cNvSpPr>
                    <a:spLocks/>
                  </p:cNvSpPr>
                  <p:nvPr/>
                </p:nvSpPr>
                <p:spPr bwMode="auto">
                  <a:xfrm flipH="1">
                    <a:off x="3321421" y="5200965"/>
                    <a:ext cx="71438" cy="225425"/>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17" name="Freeform 74">
                    <a:extLst>
                      <a:ext uri="{FF2B5EF4-FFF2-40B4-BE49-F238E27FC236}">
                        <a16:creationId xmlns:a16="http://schemas.microsoft.com/office/drawing/2014/main" id="{C398098D-B672-42CE-A57D-3EF623ED6E61}"/>
                      </a:ext>
                    </a:extLst>
                  </p:cNvPr>
                  <p:cNvSpPr>
                    <a:spLocks/>
                  </p:cNvSpPr>
                  <p:nvPr/>
                </p:nvSpPr>
                <p:spPr bwMode="auto">
                  <a:xfrm flipH="1">
                    <a:off x="3346822" y="5200965"/>
                    <a:ext cx="174625" cy="223838"/>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18" name="Freeform 75">
                    <a:extLst>
                      <a:ext uri="{FF2B5EF4-FFF2-40B4-BE49-F238E27FC236}">
                        <a16:creationId xmlns:a16="http://schemas.microsoft.com/office/drawing/2014/main" id="{7E0E7F31-34A1-4CE8-ADD2-41B107834C8F}"/>
                      </a:ext>
                    </a:extLst>
                  </p:cNvPr>
                  <p:cNvSpPr>
                    <a:spLocks/>
                  </p:cNvSpPr>
                  <p:nvPr/>
                </p:nvSpPr>
                <p:spPr bwMode="auto">
                  <a:xfrm flipH="1">
                    <a:off x="3346821" y="5200965"/>
                    <a:ext cx="61913" cy="223838"/>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909" name="Freeform 67">
                  <a:extLst>
                    <a:ext uri="{FF2B5EF4-FFF2-40B4-BE49-F238E27FC236}">
                      <a16:creationId xmlns:a16="http://schemas.microsoft.com/office/drawing/2014/main" id="{DDB79DA4-ADB0-45D9-943D-C80F10568D7A}"/>
                    </a:ext>
                  </a:extLst>
                </p:cNvPr>
                <p:cNvSpPr>
                  <a:spLocks/>
                </p:cNvSpPr>
                <p:nvPr/>
              </p:nvSpPr>
              <p:spPr bwMode="auto">
                <a:xfrm flipH="1">
                  <a:off x="3299196" y="5566090"/>
                  <a:ext cx="42863" cy="333375"/>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10" name="Freeform 68">
                  <a:extLst>
                    <a:ext uri="{FF2B5EF4-FFF2-40B4-BE49-F238E27FC236}">
                      <a16:creationId xmlns:a16="http://schemas.microsoft.com/office/drawing/2014/main" id="{D377A777-9853-438B-BB0D-8F084973C1C3}"/>
                    </a:ext>
                  </a:extLst>
                </p:cNvPr>
                <p:cNvSpPr>
                  <a:spLocks/>
                </p:cNvSpPr>
                <p:nvPr/>
              </p:nvSpPr>
              <p:spPr bwMode="auto">
                <a:xfrm flipH="1">
                  <a:off x="3119809" y="5524815"/>
                  <a:ext cx="401638" cy="63500"/>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11" name="Freeform 69">
                  <a:extLst>
                    <a:ext uri="{FF2B5EF4-FFF2-40B4-BE49-F238E27FC236}">
                      <a16:creationId xmlns:a16="http://schemas.microsoft.com/office/drawing/2014/main" id="{D50E728D-A868-4164-B6E9-0A7ED5E204C8}"/>
                    </a:ext>
                  </a:extLst>
                </p:cNvPr>
                <p:cNvSpPr>
                  <a:spLocks/>
                </p:cNvSpPr>
                <p:nvPr/>
              </p:nvSpPr>
              <p:spPr bwMode="auto">
                <a:xfrm flipH="1">
                  <a:off x="3119809" y="5524815"/>
                  <a:ext cx="360363" cy="63500"/>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12" name="Freeform 70">
                  <a:extLst>
                    <a:ext uri="{FF2B5EF4-FFF2-40B4-BE49-F238E27FC236}">
                      <a16:creationId xmlns:a16="http://schemas.microsoft.com/office/drawing/2014/main" id="{0F67BE35-1623-4605-A147-F67614770554}"/>
                    </a:ext>
                  </a:extLst>
                </p:cNvPr>
                <p:cNvSpPr>
                  <a:spLocks/>
                </p:cNvSpPr>
                <p:nvPr/>
              </p:nvSpPr>
              <p:spPr bwMode="auto">
                <a:xfrm flipH="1">
                  <a:off x="3170609" y="5832790"/>
                  <a:ext cx="298450" cy="101600"/>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13" name="Oval 71">
                  <a:extLst>
                    <a:ext uri="{FF2B5EF4-FFF2-40B4-BE49-F238E27FC236}">
                      <a16:creationId xmlns:a16="http://schemas.microsoft.com/office/drawing/2014/main" id="{A77E99E5-E6E3-4F2B-9FB2-46A368E181AE}"/>
                    </a:ext>
                  </a:extLst>
                </p:cNvPr>
                <p:cNvSpPr>
                  <a:spLocks noChangeArrowheads="1"/>
                </p:cNvSpPr>
                <p:nvPr/>
              </p:nvSpPr>
              <p:spPr bwMode="auto">
                <a:xfrm flipH="1">
                  <a:off x="3419847" y="5918515"/>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14" name="Oval 72">
                  <a:extLst>
                    <a:ext uri="{FF2B5EF4-FFF2-40B4-BE49-F238E27FC236}">
                      <a16:creationId xmlns:a16="http://schemas.microsoft.com/office/drawing/2014/main" id="{6B7DBC06-4127-466F-9671-547E0AE9B840}"/>
                    </a:ext>
                  </a:extLst>
                </p:cNvPr>
                <p:cNvSpPr>
                  <a:spLocks noChangeArrowheads="1"/>
                </p:cNvSpPr>
                <p:nvPr/>
              </p:nvSpPr>
              <p:spPr bwMode="auto">
                <a:xfrm flipH="1">
                  <a:off x="3172197" y="5918515"/>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882" name="Freeform 222">
                <a:extLst>
                  <a:ext uri="{FF2B5EF4-FFF2-40B4-BE49-F238E27FC236}">
                    <a16:creationId xmlns:a16="http://schemas.microsoft.com/office/drawing/2014/main" id="{6895DC0F-CD42-46F6-805C-C870FB99DA7E}"/>
                  </a:ext>
                </a:extLst>
              </p:cNvPr>
              <p:cNvSpPr>
                <a:spLocks/>
              </p:cNvSpPr>
              <p:nvPr/>
            </p:nvSpPr>
            <p:spPr bwMode="auto">
              <a:xfrm>
                <a:off x="-1715013" y="7508807"/>
                <a:ext cx="203143" cy="80363"/>
              </a:xfrm>
              <a:custGeom>
                <a:avLst/>
                <a:gdLst>
                  <a:gd name="T0" fmla="*/ 110 w 110"/>
                  <a:gd name="T1" fmla="*/ 44 h 44"/>
                  <a:gd name="T2" fmla="*/ 110 w 110"/>
                  <a:gd name="T3" fmla="*/ 0 h 44"/>
                  <a:gd name="T4" fmla="*/ 61 w 110"/>
                  <a:gd name="T5" fmla="*/ 0 h 44"/>
                  <a:gd name="T6" fmla="*/ 0 w 110"/>
                  <a:gd name="T7" fmla="*/ 44 h 44"/>
                  <a:gd name="T8" fmla="*/ 110 w 110"/>
                  <a:gd name="T9" fmla="*/ 44 h 44"/>
                </a:gdLst>
                <a:ahLst/>
                <a:cxnLst>
                  <a:cxn ang="0">
                    <a:pos x="T0" y="T1"/>
                  </a:cxn>
                  <a:cxn ang="0">
                    <a:pos x="T2" y="T3"/>
                  </a:cxn>
                  <a:cxn ang="0">
                    <a:pos x="T4" y="T5"/>
                  </a:cxn>
                  <a:cxn ang="0">
                    <a:pos x="T6" y="T7"/>
                  </a:cxn>
                  <a:cxn ang="0">
                    <a:pos x="T8" y="T9"/>
                  </a:cxn>
                </a:cxnLst>
                <a:rect l="0" t="0" r="r" b="b"/>
                <a:pathLst>
                  <a:path w="110" h="44">
                    <a:moveTo>
                      <a:pt x="110" y="44"/>
                    </a:moveTo>
                    <a:cubicBezTo>
                      <a:pt x="110" y="0"/>
                      <a:pt x="110" y="0"/>
                      <a:pt x="110" y="0"/>
                    </a:cubicBezTo>
                    <a:cubicBezTo>
                      <a:pt x="61" y="0"/>
                      <a:pt x="61" y="0"/>
                      <a:pt x="61" y="0"/>
                    </a:cubicBezTo>
                    <a:cubicBezTo>
                      <a:pt x="33" y="0"/>
                      <a:pt x="9" y="18"/>
                      <a:pt x="0" y="44"/>
                    </a:cubicBezTo>
                    <a:lnTo>
                      <a:pt x="11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83" name="Freeform 224">
                <a:extLst>
                  <a:ext uri="{FF2B5EF4-FFF2-40B4-BE49-F238E27FC236}">
                    <a16:creationId xmlns:a16="http://schemas.microsoft.com/office/drawing/2014/main" id="{216A1FBA-7768-4962-87CD-9E2D4A015888}"/>
                  </a:ext>
                </a:extLst>
              </p:cNvPr>
              <p:cNvSpPr>
                <a:spLocks/>
              </p:cNvSpPr>
              <p:nvPr/>
            </p:nvSpPr>
            <p:spPr bwMode="auto">
              <a:xfrm>
                <a:off x="-1607862" y="6914647"/>
                <a:ext cx="477718" cy="598050"/>
              </a:xfrm>
              <a:custGeom>
                <a:avLst/>
                <a:gdLst>
                  <a:gd name="T0" fmla="*/ 142 w 259"/>
                  <a:gd name="T1" fmla="*/ 0 h 303"/>
                  <a:gd name="T2" fmla="*/ 142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91 h 303"/>
                  <a:gd name="T20" fmla="*/ 180 w 259"/>
                  <a:gd name="T21" fmla="*/ 92 h 303"/>
                  <a:gd name="T22" fmla="*/ 182 w 259"/>
                  <a:gd name="T23" fmla="*/ 88 h 303"/>
                  <a:gd name="T24" fmla="*/ 259 w 259"/>
                  <a:gd name="T25" fmla="*/ 0 h 303"/>
                  <a:gd name="T26" fmla="*/ 142 w 259"/>
                  <a:gd name="T2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303">
                    <a:moveTo>
                      <a:pt x="142" y="0"/>
                    </a:moveTo>
                    <a:cubicBezTo>
                      <a:pt x="142" y="1"/>
                      <a:pt x="142" y="1"/>
                      <a:pt x="142"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91"/>
                      <a:pt x="67" y="91"/>
                      <a:pt x="67" y="91"/>
                    </a:cubicBezTo>
                    <a:cubicBezTo>
                      <a:pt x="180" y="92"/>
                      <a:pt x="180" y="92"/>
                      <a:pt x="180" y="92"/>
                    </a:cubicBezTo>
                    <a:cubicBezTo>
                      <a:pt x="181" y="87"/>
                      <a:pt x="182" y="88"/>
                      <a:pt x="182" y="88"/>
                    </a:cubicBezTo>
                    <a:cubicBezTo>
                      <a:pt x="225" y="88"/>
                      <a:pt x="259" y="43"/>
                      <a:pt x="259" y="0"/>
                    </a:cubicBezTo>
                    <a:lnTo>
                      <a:pt x="142" y="0"/>
                    </a:lnTo>
                    <a:close/>
                  </a:path>
                </a:pathLst>
              </a:custGeom>
              <a:solidFill>
                <a:srgbClr val="4D0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84" name="Freeform 225">
                <a:extLst>
                  <a:ext uri="{FF2B5EF4-FFF2-40B4-BE49-F238E27FC236}">
                    <a16:creationId xmlns:a16="http://schemas.microsoft.com/office/drawing/2014/main" id="{DE328442-8AA4-4944-8B5E-4B2FFB24DF6B}"/>
                  </a:ext>
                </a:extLst>
              </p:cNvPr>
              <p:cNvSpPr>
                <a:spLocks/>
              </p:cNvSpPr>
              <p:nvPr/>
            </p:nvSpPr>
            <p:spPr bwMode="auto">
              <a:xfrm>
                <a:off x="-1451599" y="6923577"/>
                <a:ext cx="479950" cy="596393"/>
              </a:xfrm>
              <a:custGeom>
                <a:avLst/>
                <a:gdLst>
                  <a:gd name="T0" fmla="*/ 133 w 259"/>
                  <a:gd name="T1" fmla="*/ 0 h 303"/>
                  <a:gd name="T2" fmla="*/ 133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87 h 303"/>
                  <a:gd name="T20" fmla="*/ 182 w 259"/>
                  <a:gd name="T21" fmla="*/ 88 h 303"/>
                  <a:gd name="T22" fmla="*/ 259 w 259"/>
                  <a:gd name="T23" fmla="*/ 0 h 303"/>
                  <a:gd name="T24" fmla="*/ 133 w 259"/>
                  <a:gd name="T25"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303">
                    <a:moveTo>
                      <a:pt x="133" y="0"/>
                    </a:moveTo>
                    <a:cubicBezTo>
                      <a:pt x="133" y="1"/>
                      <a:pt x="133" y="1"/>
                      <a:pt x="133"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87"/>
                      <a:pt x="67" y="87"/>
                      <a:pt x="67" y="87"/>
                    </a:cubicBezTo>
                    <a:cubicBezTo>
                      <a:pt x="67" y="87"/>
                      <a:pt x="181" y="88"/>
                      <a:pt x="182" y="88"/>
                    </a:cubicBezTo>
                    <a:cubicBezTo>
                      <a:pt x="225" y="88"/>
                      <a:pt x="259" y="43"/>
                      <a:pt x="259" y="0"/>
                    </a:cubicBezTo>
                    <a:lnTo>
                      <a:pt x="133"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85" name="Freeform 226">
                <a:extLst>
                  <a:ext uri="{FF2B5EF4-FFF2-40B4-BE49-F238E27FC236}">
                    <a16:creationId xmlns:a16="http://schemas.microsoft.com/office/drawing/2014/main" id="{AB179662-EAA8-4D39-9FB6-6463CF17EB6C}"/>
                  </a:ext>
                </a:extLst>
              </p:cNvPr>
              <p:cNvSpPr>
                <a:spLocks/>
              </p:cNvSpPr>
              <p:nvPr/>
            </p:nvSpPr>
            <p:spPr bwMode="auto">
              <a:xfrm>
                <a:off x="-1558750" y="7508807"/>
                <a:ext cx="200909" cy="80363"/>
              </a:xfrm>
              <a:custGeom>
                <a:avLst/>
                <a:gdLst>
                  <a:gd name="T0" fmla="*/ 109 w 109"/>
                  <a:gd name="T1" fmla="*/ 44 h 44"/>
                  <a:gd name="T2" fmla="*/ 109 w 109"/>
                  <a:gd name="T3" fmla="*/ 0 h 44"/>
                  <a:gd name="T4" fmla="*/ 61 w 109"/>
                  <a:gd name="T5" fmla="*/ 0 h 44"/>
                  <a:gd name="T6" fmla="*/ 0 w 109"/>
                  <a:gd name="T7" fmla="*/ 44 h 44"/>
                  <a:gd name="T8" fmla="*/ 109 w 109"/>
                  <a:gd name="T9" fmla="*/ 44 h 44"/>
                </a:gdLst>
                <a:ahLst/>
                <a:cxnLst>
                  <a:cxn ang="0">
                    <a:pos x="T0" y="T1"/>
                  </a:cxn>
                  <a:cxn ang="0">
                    <a:pos x="T2" y="T3"/>
                  </a:cxn>
                  <a:cxn ang="0">
                    <a:pos x="T4" y="T5"/>
                  </a:cxn>
                  <a:cxn ang="0">
                    <a:pos x="T6" y="T7"/>
                  </a:cxn>
                  <a:cxn ang="0">
                    <a:pos x="T8" y="T9"/>
                  </a:cxn>
                </a:cxnLst>
                <a:rect l="0" t="0" r="r" b="b"/>
                <a:pathLst>
                  <a:path w="109" h="44">
                    <a:moveTo>
                      <a:pt x="109" y="44"/>
                    </a:moveTo>
                    <a:cubicBezTo>
                      <a:pt x="109" y="0"/>
                      <a:pt x="109" y="0"/>
                      <a:pt x="109" y="0"/>
                    </a:cubicBezTo>
                    <a:cubicBezTo>
                      <a:pt x="61" y="0"/>
                      <a:pt x="61" y="0"/>
                      <a:pt x="61" y="0"/>
                    </a:cubicBezTo>
                    <a:cubicBezTo>
                      <a:pt x="33" y="0"/>
                      <a:pt x="9" y="18"/>
                      <a:pt x="0" y="44"/>
                    </a:cubicBezTo>
                    <a:lnTo>
                      <a:pt x="109"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86" name="Freeform 228">
                <a:extLst>
                  <a:ext uri="{FF2B5EF4-FFF2-40B4-BE49-F238E27FC236}">
                    <a16:creationId xmlns:a16="http://schemas.microsoft.com/office/drawing/2014/main" id="{24D31700-172F-4858-822C-55D04CDA5869}"/>
                  </a:ext>
                </a:extLst>
              </p:cNvPr>
              <p:cNvSpPr>
                <a:spLocks/>
              </p:cNvSpPr>
              <p:nvPr/>
            </p:nvSpPr>
            <p:spPr bwMode="auto">
              <a:xfrm>
                <a:off x="-1656973" y="6626679"/>
                <a:ext cx="450930" cy="279042"/>
              </a:xfrm>
              <a:custGeom>
                <a:avLst/>
                <a:gdLst>
                  <a:gd name="T0" fmla="*/ 243 w 243"/>
                  <a:gd name="T1" fmla="*/ 0 h 152"/>
                  <a:gd name="T2" fmla="*/ 188 w 243"/>
                  <a:gd name="T3" fmla="*/ 0 h 152"/>
                  <a:gd name="T4" fmla="*/ 188 w 243"/>
                  <a:gd name="T5" fmla="*/ 72 h 152"/>
                  <a:gd name="T6" fmla="*/ 183 w 243"/>
                  <a:gd name="T7" fmla="*/ 78 h 152"/>
                  <a:gd name="T8" fmla="*/ 77 w 243"/>
                  <a:gd name="T9" fmla="*/ 108 h 152"/>
                  <a:gd name="T10" fmla="*/ 0 w 243"/>
                  <a:gd name="T11" fmla="*/ 152 h 152"/>
                  <a:gd name="T12" fmla="*/ 77 w 243"/>
                  <a:gd name="T13" fmla="*/ 152 h 152"/>
                  <a:gd name="T14" fmla="*/ 216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8" y="0"/>
                      <a:pt x="188" y="0"/>
                      <a:pt x="188" y="0"/>
                    </a:cubicBezTo>
                    <a:cubicBezTo>
                      <a:pt x="188" y="72"/>
                      <a:pt x="188" y="72"/>
                      <a:pt x="188" y="72"/>
                    </a:cubicBezTo>
                    <a:cubicBezTo>
                      <a:pt x="188" y="75"/>
                      <a:pt x="186" y="78"/>
                      <a:pt x="183" y="78"/>
                    </a:cubicBezTo>
                    <a:cubicBezTo>
                      <a:pt x="77" y="108"/>
                      <a:pt x="77" y="108"/>
                      <a:pt x="77" y="108"/>
                    </a:cubicBezTo>
                    <a:cubicBezTo>
                      <a:pt x="4" y="108"/>
                      <a:pt x="0" y="152"/>
                      <a:pt x="0" y="152"/>
                    </a:cubicBezTo>
                    <a:cubicBezTo>
                      <a:pt x="77" y="152"/>
                      <a:pt x="77" y="152"/>
                      <a:pt x="77" y="152"/>
                    </a:cubicBezTo>
                    <a:cubicBezTo>
                      <a:pt x="216" y="125"/>
                      <a:pt x="216" y="125"/>
                      <a:pt x="216" y="125"/>
                    </a:cubicBezTo>
                    <a:cubicBezTo>
                      <a:pt x="231" y="123"/>
                      <a:pt x="243" y="110"/>
                      <a:pt x="243" y="94"/>
                    </a:cubicBezTo>
                    <a:lnTo>
                      <a:pt x="243"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87" name="Freeform 229">
                <a:extLst>
                  <a:ext uri="{FF2B5EF4-FFF2-40B4-BE49-F238E27FC236}">
                    <a16:creationId xmlns:a16="http://schemas.microsoft.com/office/drawing/2014/main" id="{36DF8F26-68B0-4C9E-BC9E-CEFCCAAFAA9A}"/>
                  </a:ext>
                </a:extLst>
              </p:cNvPr>
              <p:cNvSpPr>
                <a:spLocks/>
              </p:cNvSpPr>
              <p:nvPr/>
            </p:nvSpPr>
            <p:spPr bwMode="auto">
              <a:xfrm>
                <a:off x="-1192649" y="6302991"/>
                <a:ext cx="209838" cy="348243"/>
              </a:xfrm>
              <a:custGeom>
                <a:avLst/>
                <a:gdLst>
                  <a:gd name="T0" fmla="*/ 81 w 113"/>
                  <a:gd name="T1" fmla="*/ 60 h 189"/>
                  <a:gd name="T2" fmla="*/ 81 w 113"/>
                  <a:gd name="T3" fmla="*/ 0 h 189"/>
                  <a:gd name="T4" fmla="*/ 23 w 113"/>
                  <a:gd name="T5" fmla="*/ 0 h 189"/>
                  <a:gd name="T6" fmla="*/ 22 w 113"/>
                  <a:gd name="T7" fmla="*/ 59 h 189"/>
                  <a:gd name="T8" fmla="*/ 15 w 113"/>
                  <a:gd name="T9" fmla="*/ 64 h 189"/>
                  <a:gd name="T10" fmla="*/ 0 w 113"/>
                  <a:gd name="T11" fmla="*/ 64 h 189"/>
                  <a:gd name="T12" fmla="*/ 0 w 113"/>
                  <a:gd name="T13" fmla="*/ 189 h 189"/>
                  <a:gd name="T14" fmla="*/ 113 w 113"/>
                  <a:gd name="T15" fmla="*/ 189 h 189"/>
                  <a:gd name="T16" fmla="*/ 113 w 113"/>
                  <a:gd name="T17" fmla="*/ 64 h 189"/>
                  <a:gd name="T18" fmla="*/ 85 w 113"/>
                  <a:gd name="T19" fmla="*/ 64 h 189"/>
                  <a:gd name="T20" fmla="*/ 81 w 113"/>
                  <a:gd name="T21" fmla="*/ 6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89">
                    <a:moveTo>
                      <a:pt x="81" y="60"/>
                    </a:moveTo>
                    <a:cubicBezTo>
                      <a:pt x="81" y="0"/>
                      <a:pt x="81" y="0"/>
                      <a:pt x="81" y="0"/>
                    </a:cubicBezTo>
                    <a:cubicBezTo>
                      <a:pt x="23" y="0"/>
                      <a:pt x="23" y="0"/>
                      <a:pt x="23" y="0"/>
                    </a:cubicBezTo>
                    <a:cubicBezTo>
                      <a:pt x="22" y="59"/>
                      <a:pt x="22" y="59"/>
                      <a:pt x="22" y="59"/>
                    </a:cubicBezTo>
                    <a:cubicBezTo>
                      <a:pt x="21" y="62"/>
                      <a:pt x="18" y="64"/>
                      <a:pt x="15" y="64"/>
                    </a:cubicBezTo>
                    <a:cubicBezTo>
                      <a:pt x="0" y="64"/>
                      <a:pt x="0" y="64"/>
                      <a:pt x="0" y="64"/>
                    </a:cubicBezTo>
                    <a:cubicBezTo>
                      <a:pt x="0" y="189"/>
                      <a:pt x="0" y="189"/>
                      <a:pt x="0" y="189"/>
                    </a:cubicBezTo>
                    <a:cubicBezTo>
                      <a:pt x="113" y="189"/>
                      <a:pt x="113" y="189"/>
                      <a:pt x="113" y="189"/>
                    </a:cubicBezTo>
                    <a:cubicBezTo>
                      <a:pt x="113" y="64"/>
                      <a:pt x="113" y="64"/>
                      <a:pt x="113" y="64"/>
                    </a:cubicBezTo>
                    <a:cubicBezTo>
                      <a:pt x="85" y="64"/>
                      <a:pt x="85" y="64"/>
                      <a:pt x="85" y="64"/>
                    </a:cubicBezTo>
                    <a:cubicBezTo>
                      <a:pt x="83" y="64"/>
                      <a:pt x="81" y="62"/>
                      <a:pt x="81" y="60"/>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88" name="Freeform 230">
                <a:extLst>
                  <a:ext uri="{FF2B5EF4-FFF2-40B4-BE49-F238E27FC236}">
                    <a16:creationId xmlns:a16="http://schemas.microsoft.com/office/drawing/2014/main" id="{3CF5E538-E564-4932-8123-C4EC2391F21A}"/>
                  </a:ext>
                </a:extLst>
              </p:cNvPr>
              <p:cNvSpPr>
                <a:spLocks/>
              </p:cNvSpPr>
              <p:nvPr/>
            </p:nvSpPr>
            <p:spPr bwMode="auto">
              <a:xfrm>
                <a:off x="-1152467" y="6302991"/>
                <a:ext cx="109385" cy="104920"/>
              </a:xfrm>
              <a:custGeom>
                <a:avLst/>
                <a:gdLst>
                  <a:gd name="T0" fmla="*/ 59 w 59"/>
                  <a:gd name="T1" fmla="*/ 36 h 57"/>
                  <a:gd name="T2" fmla="*/ 59 w 59"/>
                  <a:gd name="T3" fmla="*/ 0 h 57"/>
                  <a:gd name="T4" fmla="*/ 1 w 59"/>
                  <a:gd name="T5" fmla="*/ 0 h 57"/>
                  <a:gd name="T6" fmla="*/ 0 w 59"/>
                  <a:gd name="T7" fmla="*/ 57 h 57"/>
                  <a:gd name="T8" fmla="*/ 59 w 59"/>
                  <a:gd name="T9" fmla="*/ 36 h 57"/>
                </a:gdLst>
                <a:ahLst/>
                <a:cxnLst>
                  <a:cxn ang="0">
                    <a:pos x="T0" y="T1"/>
                  </a:cxn>
                  <a:cxn ang="0">
                    <a:pos x="T2" y="T3"/>
                  </a:cxn>
                  <a:cxn ang="0">
                    <a:pos x="T4" y="T5"/>
                  </a:cxn>
                  <a:cxn ang="0">
                    <a:pos x="T6" y="T7"/>
                  </a:cxn>
                  <a:cxn ang="0">
                    <a:pos x="T8" y="T9"/>
                  </a:cxn>
                </a:cxnLst>
                <a:rect l="0" t="0" r="r" b="b"/>
                <a:pathLst>
                  <a:path w="59" h="57">
                    <a:moveTo>
                      <a:pt x="59" y="36"/>
                    </a:moveTo>
                    <a:cubicBezTo>
                      <a:pt x="59" y="0"/>
                      <a:pt x="59" y="0"/>
                      <a:pt x="59" y="0"/>
                    </a:cubicBezTo>
                    <a:cubicBezTo>
                      <a:pt x="1" y="0"/>
                      <a:pt x="1" y="0"/>
                      <a:pt x="1" y="0"/>
                    </a:cubicBezTo>
                    <a:cubicBezTo>
                      <a:pt x="0" y="57"/>
                      <a:pt x="0" y="57"/>
                      <a:pt x="0" y="57"/>
                    </a:cubicBezTo>
                    <a:cubicBezTo>
                      <a:pt x="49" y="57"/>
                      <a:pt x="59" y="36"/>
                      <a:pt x="59" y="36"/>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89" name="Freeform 231">
                <a:extLst>
                  <a:ext uri="{FF2B5EF4-FFF2-40B4-BE49-F238E27FC236}">
                    <a16:creationId xmlns:a16="http://schemas.microsoft.com/office/drawing/2014/main" id="{6181AA73-9E52-4113-BD34-5E910E6DD963}"/>
                  </a:ext>
                </a:extLst>
              </p:cNvPr>
              <p:cNvSpPr>
                <a:spLocks/>
              </p:cNvSpPr>
              <p:nvPr/>
            </p:nvSpPr>
            <p:spPr bwMode="auto">
              <a:xfrm>
                <a:off x="-1192649" y="6419071"/>
                <a:ext cx="29021" cy="185284"/>
              </a:xfrm>
              <a:custGeom>
                <a:avLst/>
                <a:gdLst>
                  <a:gd name="T0" fmla="*/ 16 w 16"/>
                  <a:gd name="T1" fmla="*/ 0 h 101"/>
                  <a:gd name="T2" fmla="*/ 15 w 16"/>
                  <a:gd name="T3" fmla="*/ 1 h 101"/>
                  <a:gd name="T4" fmla="*/ 0 w 16"/>
                  <a:gd name="T5" fmla="*/ 1 h 101"/>
                  <a:gd name="T6" fmla="*/ 0 w 16"/>
                  <a:gd name="T7" fmla="*/ 96 h 101"/>
                  <a:gd name="T8" fmla="*/ 3 w 16"/>
                  <a:gd name="T9" fmla="*/ 101 h 101"/>
                  <a:gd name="T10" fmla="*/ 4 w 16"/>
                  <a:gd name="T11" fmla="*/ 101 h 101"/>
                  <a:gd name="T12" fmla="*/ 6 w 16"/>
                  <a:gd name="T13" fmla="*/ 100 h 101"/>
                  <a:gd name="T14" fmla="*/ 6 w 16"/>
                  <a:gd name="T15" fmla="*/ 98 h 101"/>
                  <a:gd name="T16" fmla="*/ 16 w 1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1">
                    <a:moveTo>
                      <a:pt x="16" y="0"/>
                    </a:moveTo>
                    <a:cubicBezTo>
                      <a:pt x="16" y="1"/>
                      <a:pt x="15" y="1"/>
                      <a:pt x="15" y="1"/>
                    </a:cubicBezTo>
                    <a:cubicBezTo>
                      <a:pt x="0" y="1"/>
                      <a:pt x="0" y="1"/>
                      <a:pt x="0" y="1"/>
                    </a:cubicBezTo>
                    <a:cubicBezTo>
                      <a:pt x="0" y="96"/>
                      <a:pt x="0" y="96"/>
                      <a:pt x="0" y="96"/>
                    </a:cubicBezTo>
                    <a:cubicBezTo>
                      <a:pt x="2" y="97"/>
                      <a:pt x="4" y="98"/>
                      <a:pt x="3" y="101"/>
                    </a:cubicBezTo>
                    <a:cubicBezTo>
                      <a:pt x="4" y="101"/>
                      <a:pt x="4" y="101"/>
                      <a:pt x="4" y="101"/>
                    </a:cubicBezTo>
                    <a:cubicBezTo>
                      <a:pt x="4" y="101"/>
                      <a:pt x="5" y="101"/>
                      <a:pt x="6" y="100"/>
                    </a:cubicBezTo>
                    <a:cubicBezTo>
                      <a:pt x="6" y="99"/>
                      <a:pt x="6" y="99"/>
                      <a:pt x="6" y="98"/>
                    </a:cubicBezTo>
                    <a:cubicBezTo>
                      <a:pt x="4" y="66"/>
                      <a:pt x="16" y="0"/>
                      <a:pt x="16" y="0"/>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90" name="Rectangle 232">
                <a:extLst>
                  <a:ext uri="{FF2B5EF4-FFF2-40B4-BE49-F238E27FC236}">
                    <a16:creationId xmlns:a16="http://schemas.microsoft.com/office/drawing/2014/main" id="{D7A50488-5535-4025-BE44-B98810FE1B30}"/>
                  </a:ext>
                </a:extLst>
              </p:cNvPr>
              <p:cNvSpPr>
                <a:spLocks noChangeArrowheads="1"/>
              </p:cNvSpPr>
              <p:nvPr/>
            </p:nvSpPr>
            <p:spPr bwMode="auto">
              <a:xfrm>
                <a:off x="-1284175" y="6878930"/>
                <a:ext cx="312525" cy="55809"/>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91" name="Freeform 233">
                <a:extLst>
                  <a:ext uri="{FF2B5EF4-FFF2-40B4-BE49-F238E27FC236}">
                    <a16:creationId xmlns:a16="http://schemas.microsoft.com/office/drawing/2014/main" id="{8B49E8E7-3533-487A-AD9E-C73D3F28B355}"/>
                  </a:ext>
                </a:extLst>
              </p:cNvPr>
              <p:cNvSpPr>
                <a:spLocks/>
              </p:cNvSpPr>
              <p:nvPr/>
            </p:nvSpPr>
            <p:spPr bwMode="auto">
              <a:xfrm>
                <a:off x="-1293104" y="6914648"/>
                <a:ext cx="323688" cy="158496"/>
              </a:xfrm>
              <a:custGeom>
                <a:avLst/>
                <a:gdLst>
                  <a:gd name="T0" fmla="*/ 0 w 174"/>
                  <a:gd name="T1" fmla="*/ 0 h 86"/>
                  <a:gd name="T2" fmla="*/ 174 w 174"/>
                  <a:gd name="T3" fmla="*/ 86 h 86"/>
                  <a:gd name="T4" fmla="*/ 174 w 174"/>
                  <a:gd name="T5" fmla="*/ 0 h 86"/>
                  <a:gd name="T6" fmla="*/ 0 w 174"/>
                  <a:gd name="T7" fmla="*/ 0 h 86"/>
                </a:gdLst>
                <a:ahLst/>
                <a:cxnLst>
                  <a:cxn ang="0">
                    <a:pos x="T0" y="T1"/>
                  </a:cxn>
                  <a:cxn ang="0">
                    <a:pos x="T2" y="T3"/>
                  </a:cxn>
                  <a:cxn ang="0">
                    <a:pos x="T4" y="T5"/>
                  </a:cxn>
                  <a:cxn ang="0">
                    <a:pos x="T6" y="T7"/>
                  </a:cxn>
                </a:cxnLst>
                <a:rect l="0" t="0" r="r" b="b"/>
                <a:pathLst>
                  <a:path w="174" h="86">
                    <a:moveTo>
                      <a:pt x="0" y="0"/>
                    </a:moveTo>
                    <a:cubicBezTo>
                      <a:pt x="0" y="0"/>
                      <a:pt x="72" y="86"/>
                      <a:pt x="174" y="86"/>
                    </a:cubicBezTo>
                    <a:cubicBezTo>
                      <a:pt x="174" y="0"/>
                      <a:pt x="174" y="0"/>
                      <a:pt x="174" y="0"/>
                    </a:cubicBez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fr-FR"/>
              </a:p>
            </p:txBody>
          </p:sp>
          <p:sp>
            <p:nvSpPr>
              <p:cNvPr id="892" name="Freeform 234">
                <a:extLst>
                  <a:ext uri="{FF2B5EF4-FFF2-40B4-BE49-F238E27FC236}">
                    <a16:creationId xmlns:a16="http://schemas.microsoft.com/office/drawing/2014/main" id="{55441D41-3644-43DE-8551-A10522A42714}"/>
                  </a:ext>
                </a:extLst>
              </p:cNvPr>
              <p:cNvSpPr>
                <a:spLocks/>
              </p:cNvSpPr>
              <p:nvPr/>
            </p:nvSpPr>
            <p:spPr bwMode="auto">
              <a:xfrm>
                <a:off x="-1308730" y="6418197"/>
                <a:ext cx="437536" cy="496453"/>
              </a:xfrm>
              <a:custGeom>
                <a:avLst/>
                <a:gdLst>
                  <a:gd name="T0" fmla="*/ 174 w 237"/>
                  <a:gd name="T1" fmla="*/ 0 h 269"/>
                  <a:gd name="T2" fmla="*/ 148 w 237"/>
                  <a:gd name="T3" fmla="*/ 0 h 269"/>
                  <a:gd name="T4" fmla="*/ 69 w 237"/>
                  <a:gd name="T5" fmla="*/ 94 h 269"/>
                  <a:gd name="T6" fmla="*/ 72 w 237"/>
                  <a:gd name="T7" fmla="*/ 0 h 269"/>
                  <a:gd name="T8" fmla="*/ 67 w 237"/>
                  <a:gd name="T9" fmla="*/ 0 h 269"/>
                  <a:gd name="T10" fmla="*/ 0 w 237"/>
                  <a:gd name="T11" fmla="*/ 66 h 269"/>
                  <a:gd name="T12" fmla="*/ 0 w 237"/>
                  <a:gd name="T13" fmla="*/ 112 h 269"/>
                  <a:gd name="T14" fmla="*/ 13 w 237"/>
                  <a:gd name="T15" fmla="*/ 112 h 269"/>
                  <a:gd name="T16" fmla="*/ 13 w 237"/>
                  <a:gd name="T17" fmla="*/ 269 h 269"/>
                  <a:gd name="T18" fmla="*/ 183 w 237"/>
                  <a:gd name="T19" fmla="*/ 269 h 269"/>
                  <a:gd name="T20" fmla="*/ 183 w 237"/>
                  <a:gd name="T21" fmla="*/ 112 h 269"/>
                  <a:gd name="T22" fmla="*/ 237 w 237"/>
                  <a:gd name="T23" fmla="*/ 112 h 269"/>
                  <a:gd name="T24" fmla="*/ 237 w 237"/>
                  <a:gd name="T25" fmla="*/ 62 h 269"/>
                  <a:gd name="T26" fmla="*/ 174 w 237"/>
                  <a:gd name="T27" fmla="*/ 0 h 269"/>
                  <a:gd name="connsiteX0" fmla="*/ 7342 w 10000"/>
                  <a:gd name="connsiteY0" fmla="*/ 0 h 10000"/>
                  <a:gd name="connsiteX1" fmla="*/ 6245 w 10000"/>
                  <a:gd name="connsiteY1" fmla="*/ 0 h 10000"/>
                  <a:gd name="connsiteX2" fmla="*/ 3038 w 10000"/>
                  <a:gd name="connsiteY2" fmla="*/ 0 h 10000"/>
                  <a:gd name="connsiteX3" fmla="*/ 2827 w 10000"/>
                  <a:gd name="connsiteY3" fmla="*/ 0 h 10000"/>
                  <a:gd name="connsiteX4" fmla="*/ 0 w 10000"/>
                  <a:gd name="connsiteY4" fmla="*/ 2454 h 10000"/>
                  <a:gd name="connsiteX5" fmla="*/ 0 w 10000"/>
                  <a:gd name="connsiteY5" fmla="*/ 4164 h 10000"/>
                  <a:gd name="connsiteX6" fmla="*/ 549 w 10000"/>
                  <a:gd name="connsiteY6" fmla="*/ 4164 h 10000"/>
                  <a:gd name="connsiteX7" fmla="*/ 549 w 10000"/>
                  <a:gd name="connsiteY7" fmla="*/ 10000 h 10000"/>
                  <a:gd name="connsiteX8" fmla="*/ 7722 w 10000"/>
                  <a:gd name="connsiteY8" fmla="*/ 10000 h 10000"/>
                  <a:gd name="connsiteX9" fmla="*/ 7722 w 10000"/>
                  <a:gd name="connsiteY9" fmla="*/ 4164 h 10000"/>
                  <a:gd name="connsiteX10" fmla="*/ 10000 w 10000"/>
                  <a:gd name="connsiteY10" fmla="*/ 4164 h 10000"/>
                  <a:gd name="connsiteX11" fmla="*/ 10000 w 10000"/>
                  <a:gd name="connsiteY11" fmla="*/ 2305 h 10000"/>
                  <a:gd name="connsiteX12" fmla="*/ 7342 w 10000"/>
                  <a:gd name="connsiteY12" fmla="*/ 0 h 10000"/>
                  <a:gd name="connsiteX0" fmla="*/ 7342 w 10000"/>
                  <a:gd name="connsiteY0" fmla="*/ 63 h 10063"/>
                  <a:gd name="connsiteX1" fmla="*/ 6245 w 10000"/>
                  <a:gd name="connsiteY1" fmla="*/ 63 h 10063"/>
                  <a:gd name="connsiteX2" fmla="*/ 3038 w 10000"/>
                  <a:gd name="connsiteY2" fmla="*/ 63 h 10063"/>
                  <a:gd name="connsiteX3" fmla="*/ 2827 w 10000"/>
                  <a:gd name="connsiteY3" fmla="*/ 63 h 10063"/>
                  <a:gd name="connsiteX4" fmla="*/ 0 w 10000"/>
                  <a:gd name="connsiteY4" fmla="*/ 2517 h 10063"/>
                  <a:gd name="connsiteX5" fmla="*/ 0 w 10000"/>
                  <a:gd name="connsiteY5" fmla="*/ 4227 h 10063"/>
                  <a:gd name="connsiteX6" fmla="*/ 549 w 10000"/>
                  <a:gd name="connsiteY6" fmla="*/ 4227 h 10063"/>
                  <a:gd name="connsiteX7" fmla="*/ 549 w 10000"/>
                  <a:gd name="connsiteY7" fmla="*/ 10063 h 10063"/>
                  <a:gd name="connsiteX8" fmla="*/ 7722 w 10000"/>
                  <a:gd name="connsiteY8" fmla="*/ 10063 h 10063"/>
                  <a:gd name="connsiteX9" fmla="*/ 7722 w 10000"/>
                  <a:gd name="connsiteY9" fmla="*/ 4227 h 10063"/>
                  <a:gd name="connsiteX10" fmla="*/ 10000 w 10000"/>
                  <a:gd name="connsiteY10" fmla="*/ 4227 h 10063"/>
                  <a:gd name="connsiteX11" fmla="*/ 10000 w 10000"/>
                  <a:gd name="connsiteY11" fmla="*/ 2368 h 10063"/>
                  <a:gd name="connsiteX12" fmla="*/ 7342 w 10000"/>
                  <a:gd name="connsiteY12" fmla="*/ 63 h 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63">
                    <a:moveTo>
                      <a:pt x="7342" y="63"/>
                    </a:moveTo>
                    <a:cubicBezTo>
                      <a:pt x="6976" y="63"/>
                      <a:pt x="6582" y="-80"/>
                      <a:pt x="6245" y="63"/>
                    </a:cubicBezTo>
                    <a:cubicBezTo>
                      <a:pt x="4196" y="932"/>
                      <a:pt x="4107" y="63"/>
                      <a:pt x="3038" y="63"/>
                    </a:cubicBezTo>
                    <a:lnTo>
                      <a:pt x="2827" y="63"/>
                    </a:lnTo>
                    <a:cubicBezTo>
                      <a:pt x="1266" y="63"/>
                      <a:pt x="0" y="1178"/>
                      <a:pt x="0" y="2517"/>
                    </a:cubicBezTo>
                    <a:lnTo>
                      <a:pt x="0" y="4227"/>
                    </a:lnTo>
                    <a:lnTo>
                      <a:pt x="549" y="4227"/>
                    </a:lnTo>
                    <a:lnTo>
                      <a:pt x="549" y="10063"/>
                    </a:lnTo>
                    <a:lnTo>
                      <a:pt x="7722" y="10063"/>
                    </a:lnTo>
                    <a:lnTo>
                      <a:pt x="7722" y="4227"/>
                    </a:lnTo>
                    <a:lnTo>
                      <a:pt x="10000" y="4227"/>
                    </a:lnTo>
                    <a:lnTo>
                      <a:pt x="10000" y="2368"/>
                    </a:lnTo>
                    <a:cubicBezTo>
                      <a:pt x="9958" y="1104"/>
                      <a:pt x="8776" y="63"/>
                      <a:pt x="7342" y="6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fr-FR"/>
              </a:p>
            </p:txBody>
          </p:sp>
          <p:sp>
            <p:nvSpPr>
              <p:cNvPr id="893" name="Freeform 235">
                <a:extLst>
                  <a:ext uri="{FF2B5EF4-FFF2-40B4-BE49-F238E27FC236}">
                    <a16:creationId xmlns:a16="http://schemas.microsoft.com/office/drawing/2014/main" id="{7DD8DFD1-073A-4844-A148-7772E8910216}"/>
                  </a:ext>
                </a:extLst>
              </p:cNvPr>
              <p:cNvSpPr>
                <a:spLocks/>
              </p:cNvSpPr>
              <p:nvPr/>
            </p:nvSpPr>
            <p:spPr bwMode="auto">
              <a:xfrm>
                <a:off x="-1284175" y="6626679"/>
                <a:ext cx="140637" cy="287971"/>
              </a:xfrm>
              <a:custGeom>
                <a:avLst/>
                <a:gdLst>
                  <a:gd name="T0" fmla="*/ 0 w 76"/>
                  <a:gd name="T1" fmla="*/ 0 h 157"/>
                  <a:gd name="T2" fmla="*/ 0 w 76"/>
                  <a:gd name="T3" fmla="*/ 157 h 157"/>
                  <a:gd name="T4" fmla="*/ 76 w 76"/>
                  <a:gd name="T5" fmla="*/ 157 h 157"/>
                  <a:gd name="T6" fmla="*/ 0 w 76"/>
                  <a:gd name="T7" fmla="*/ 0 h 157"/>
                </a:gdLst>
                <a:ahLst/>
                <a:cxnLst>
                  <a:cxn ang="0">
                    <a:pos x="T0" y="T1"/>
                  </a:cxn>
                  <a:cxn ang="0">
                    <a:pos x="T2" y="T3"/>
                  </a:cxn>
                  <a:cxn ang="0">
                    <a:pos x="T4" y="T5"/>
                  </a:cxn>
                  <a:cxn ang="0">
                    <a:pos x="T6" y="T7"/>
                  </a:cxn>
                </a:cxnLst>
                <a:rect l="0" t="0" r="r" b="b"/>
                <a:pathLst>
                  <a:path w="76" h="157">
                    <a:moveTo>
                      <a:pt x="0" y="0"/>
                    </a:moveTo>
                    <a:cubicBezTo>
                      <a:pt x="0" y="98"/>
                      <a:pt x="0" y="157"/>
                      <a:pt x="0" y="157"/>
                    </a:cubicBezTo>
                    <a:cubicBezTo>
                      <a:pt x="76" y="157"/>
                      <a:pt x="76" y="157"/>
                      <a:pt x="76" y="157"/>
                    </a:cubicBez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fr-FR"/>
              </a:p>
            </p:txBody>
          </p:sp>
          <p:sp>
            <p:nvSpPr>
              <p:cNvPr id="894" name="Freeform 236">
                <a:extLst>
                  <a:ext uri="{FF2B5EF4-FFF2-40B4-BE49-F238E27FC236}">
                    <a16:creationId xmlns:a16="http://schemas.microsoft.com/office/drawing/2014/main" id="{6ADDB3B1-96B7-49DC-BD44-49178448D293}"/>
                  </a:ext>
                </a:extLst>
              </p:cNvPr>
              <p:cNvSpPr>
                <a:spLocks/>
              </p:cNvSpPr>
              <p:nvPr/>
            </p:nvSpPr>
            <p:spPr bwMode="auto">
              <a:xfrm>
                <a:off x="-1319892" y="6626679"/>
                <a:ext cx="448698" cy="279042"/>
              </a:xfrm>
              <a:custGeom>
                <a:avLst/>
                <a:gdLst>
                  <a:gd name="T0" fmla="*/ 243 w 243"/>
                  <a:gd name="T1" fmla="*/ 0 h 152"/>
                  <a:gd name="T2" fmla="*/ 189 w 243"/>
                  <a:gd name="T3" fmla="*/ 0 h 152"/>
                  <a:gd name="T4" fmla="*/ 189 w 243"/>
                  <a:gd name="T5" fmla="*/ 72 h 152"/>
                  <a:gd name="T6" fmla="*/ 184 w 243"/>
                  <a:gd name="T7" fmla="*/ 78 h 152"/>
                  <a:gd name="T8" fmla="*/ 77 w 243"/>
                  <a:gd name="T9" fmla="*/ 108 h 152"/>
                  <a:gd name="T10" fmla="*/ 0 w 243"/>
                  <a:gd name="T11" fmla="*/ 152 h 152"/>
                  <a:gd name="T12" fmla="*/ 77 w 243"/>
                  <a:gd name="T13" fmla="*/ 152 h 152"/>
                  <a:gd name="T14" fmla="*/ 217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9" y="0"/>
                      <a:pt x="189" y="0"/>
                      <a:pt x="189" y="0"/>
                    </a:cubicBezTo>
                    <a:cubicBezTo>
                      <a:pt x="189" y="72"/>
                      <a:pt x="189" y="72"/>
                      <a:pt x="189" y="72"/>
                    </a:cubicBezTo>
                    <a:cubicBezTo>
                      <a:pt x="189" y="75"/>
                      <a:pt x="187" y="78"/>
                      <a:pt x="184" y="78"/>
                    </a:cubicBezTo>
                    <a:cubicBezTo>
                      <a:pt x="77" y="108"/>
                      <a:pt x="77" y="108"/>
                      <a:pt x="77" y="108"/>
                    </a:cubicBezTo>
                    <a:cubicBezTo>
                      <a:pt x="4" y="108"/>
                      <a:pt x="0" y="152"/>
                      <a:pt x="0" y="152"/>
                    </a:cubicBezTo>
                    <a:cubicBezTo>
                      <a:pt x="77" y="152"/>
                      <a:pt x="77" y="152"/>
                      <a:pt x="77" y="152"/>
                    </a:cubicBezTo>
                    <a:cubicBezTo>
                      <a:pt x="217" y="125"/>
                      <a:pt x="217" y="125"/>
                      <a:pt x="217" y="125"/>
                    </a:cubicBezTo>
                    <a:cubicBezTo>
                      <a:pt x="232" y="123"/>
                      <a:pt x="243" y="110"/>
                      <a:pt x="243" y="94"/>
                    </a:cubicBezTo>
                    <a:lnTo>
                      <a:pt x="243"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95" name="Freeform 237">
                <a:extLst>
                  <a:ext uri="{FF2B5EF4-FFF2-40B4-BE49-F238E27FC236}">
                    <a16:creationId xmlns:a16="http://schemas.microsoft.com/office/drawing/2014/main" id="{52A1AAD1-F11E-4A94-9589-7B3C467D1F2C}"/>
                  </a:ext>
                </a:extLst>
              </p:cNvPr>
              <p:cNvSpPr>
                <a:spLocks/>
              </p:cNvSpPr>
              <p:nvPr/>
            </p:nvSpPr>
            <p:spPr bwMode="auto">
              <a:xfrm>
                <a:off x="-969417" y="6626679"/>
                <a:ext cx="98223" cy="29021"/>
              </a:xfrm>
              <a:custGeom>
                <a:avLst/>
                <a:gdLst>
                  <a:gd name="T0" fmla="*/ 44 w 44"/>
                  <a:gd name="T1" fmla="*/ 13 h 13"/>
                  <a:gd name="T2" fmla="*/ 44 w 44"/>
                  <a:gd name="T3" fmla="*/ 0 h 13"/>
                  <a:gd name="T4" fmla="*/ 0 w 44"/>
                  <a:gd name="T5" fmla="*/ 0 h 13"/>
                  <a:gd name="T6" fmla="*/ 44 w 44"/>
                  <a:gd name="T7" fmla="*/ 13 h 13"/>
                </a:gdLst>
                <a:ahLst/>
                <a:cxnLst>
                  <a:cxn ang="0">
                    <a:pos x="T0" y="T1"/>
                  </a:cxn>
                  <a:cxn ang="0">
                    <a:pos x="T2" y="T3"/>
                  </a:cxn>
                  <a:cxn ang="0">
                    <a:pos x="T4" y="T5"/>
                  </a:cxn>
                  <a:cxn ang="0">
                    <a:pos x="T6" y="T7"/>
                  </a:cxn>
                </a:cxnLst>
                <a:rect l="0" t="0" r="r" b="b"/>
                <a:pathLst>
                  <a:path w="44" h="13">
                    <a:moveTo>
                      <a:pt x="44" y="13"/>
                    </a:moveTo>
                    <a:lnTo>
                      <a:pt x="44" y="0"/>
                    </a:lnTo>
                    <a:lnTo>
                      <a:pt x="0" y="0"/>
                    </a:lnTo>
                    <a:lnTo>
                      <a:pt x="44" y="13"/>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96" name="Freeform 238">
                <a:extLst>
                  <a:ext uri="{FF2B5EF4-FFF2-40B4-BE49-F238E27FC236}">
                    <a16:creationId xmlns:a16="http://schemas.microsoft.com/office/drawing/2014/main" id="{B107825F-B691-41AB-86BA-4A8D2C1A9FA1}"/>
                  </a:ext>
                </a:extLst>
              </p:cNvPr>
              <p:cNvSpPr>
                <a:spLocks/>
              </p:cNvSpPr>
              <p:nvPr/>
            </p:nvSpPr>
            <p:spPr bwMode="auto">
              <a:xfrm>
                <a:off x="-1701618" y="6615516"/>
                <a:ext cx="426375" cy="285737"/>
              </a:xfrm>
              <a:custGeom>
                <a:avLst/>
                <a:gdLst>
                  <a:gd name="T0" fmla="*/ 201 w 231"/>
                  <a:gd name="T1" fmla="*/ 0 h 155"/>
                  <a:gd name="T2" fmla="*/ 6 w 231"/>
                  <a:gd name="T3" fmla="*/ 0 h 155"/>
                  <a:gd name="T4" fmla="*/ 1 w 231"/>
                  <a:gd name="T5" fmla="*/ 6 h 155"/>
                  <a:gd name="T6" fmla="*/ 25 w 231"/>
                  <a:gd name="T7" fmla="*/ 155 h 155"/>
                  <a:gd name="T8" fmla="*/ 231 w 231"/>
                  <a:gd name="T9" fmla="*/ 155 h 155"/>
                  <a:gd name="T10" fmla="*/ 207 w 231"/>
                  <a:gd name="T11" fmla="*/ 4 h 155"/>
                  <a:gd name="T12" fmla="*/ 201 w 231"/>
                  <a:gd name="T13" fmla="*/ 0 h 155"/>
                </a:gdLst>
                <a:ahLst/>
                <a:cxnLst>
                  <a:cxn ang="0">
                    <a:pos x="T0" y="T1"/>
                  </a:cxn>
                  <a:cxn ang="0">
                    <a:pos x="T2" y="T3"/>
                  </a:cxn>
                  <a:cxn ang="0">
                    <a:pos x="T4" y="T5"/>
                  </a:cxn>
                  <a:cxn ang="0">
                    <a:pos x="T6" y="T7"/>
                  </a:cxn>
                  <a:cxn ang="0">
                    <a:pos x="T8" y="T9"/>
                  </a:cxn>
                  <a:cxn ang="0">
                    <a:pos x="T10" y="T11"/>
                  </a:cxn>
                  <a:cxn ang="0">
                    <a:pos x="T12" y="T13"/>
                  </a:cxn>
                </a:cxnLst>
                <a:rect l="0" t="0" r="r" b="b"/>
                <a:pathLst>
                  <a:path w="231" h="155">
                    <a:moveTo>
                      <a:pt x="201" y="0"/>
                    </a:moveTo>
                    <a:cubicBezTo>
                      <a:pt x="6" y="0"/>
                      <a:pt x="6" y="0"/>
                      <a:pt x="6" y="0"/>
                    </a:cubicBezTo>
                    <a:cubicBezTo>
                      <a:pt x="3" y="0"/>
                      <a:pt x="0" y="2"/>
                      <a:pt x="1" y="6"/>
                    </a:cubicBezTo>
                    <a:cubicBezTo>
                      <a:pt x="25" y="155"/>
                      <a:pt x="25" y="155"/>
                      <a:pt x="25" y="155"/>
                    </a:cubicBezTo>
                    <a:cubicBezTo>
                      <a:pt x="231" y="155"/>
                      <a:pt x="231" y="155"/>
                      <a:pt x="231" y="155"/>
                    </a:cubicBezTo>
                    <a:cubicBezTo>
                      <a:pt x="207" y="4"/>
                      <a:pt x="207" y="4"/>
                      <a:pt x="207" y="4"/>
                    </a:cubicBezTo>
                    <a:cubicBezTo>
                      <a:pt x="206" y="1"/>
                      <a:pt x="204" y="0"/>
                      <a:pt x="201"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97" name="Freeform 239">
                <a:extLst>
                  <a:ext uri="{FF2B5EF4-FFF2-40B4-BE49-F238E27FC236}">
                    <a16:creationId xmlns:a16="http://schemas.microsoft.com/office/drawing/2014/main" id="{D35E2091-09CB-47E6-8AA7-87EE80CF8341}"/>
                  </a:ext>
                </a:extLst>
              </p:cNvPr>
              <p:cNvSpPr>
                <a:spLocks/>
              </p:cNvSpPr>
              <p:nvPr/>
            </p:nvSpPr>
            <p:spPr bwMode="auto">
              <a:xfrm>
                <a:off x="-1656973" y="6901254"/>
                <a:ext cx="381728" cy="22323"/>
              </a:xfrm>
              <a:custGeom>
                <a:avLst/>
                <a:gdLst>
                  <a:gd name="T0" fmla="*/ 206 w 206"/>
                  <a:gd name="T1" fmla="*/ 12 h 12"/>
                  <a:gd name="T2" fmla="*/ 5 w 206"/>
                  <a:gd name="T3" fmla="*/ 12 h 12"/>
                  <a:gd name="T4" fmla="*/ 0 w 206"/>
                  <a:gd name="T5" fmla="*/ 7 h 12"/>
                  <a:gd name="T6" fmla="*/ 0 w 206"/>
                  <a:gd name="T7" fmla="*/ 0 h 12"/>
                  <a:gd name="T8" fmla="*/ 206 w 206"/>
                  <a:gd name="T9" fmla="*/ 0 h 12"/>
                  <a:gd name="T10" fmla="*/ 206 w 206"/>
                  <a:gd name="T11" fmla="*/ 12 h 12"/>
                </a:gdLst>
                <a:ahLst/>
                <a:cxnLst>
                  <a:cxn ang="0">
                    <a:pos x="T0" y="T1"/>
                  </a:cxn>
                  <a:cxn ang="0">
                    <a:pos x="T2" y="T3"/>
                  </a:cxn>
                  <a:cxn ang="0">
                    <a:pos x="T4" y="T5"/>
                  </a:cxn>
                  <a:cxn ang="0">
                    <a:pos x="T6" y="T7"/>
                  </a:cxn>
                  <a:cxn ang="0">
                    <a:pos x="T8" y="T9"/>
                  </a:cxn>
                  <a:cxn ang="0">
                    <a:pos x="T10" y="T11"/>
                  </a:cxn>
                </a:cxnLst>
                <a:rect l="0" t="0" r="r" b="b"/>
                <a:pathLst>
                  <a:path w="206" h="12">
                    <a:moveTo>
                      <a:pt x="206" y="12"/>
                    </a:moveTo>
                    <a:cubicBezTo>
                      <a:pt x="5" y="12"/>
                      <a:pt x="5" y="12"/>
                      <a:pt x="5" y="12"/>
                    </a:cubicBezTo>
                    <a:cubicBezTo>
                      <a:pt x="2" y="12"/>
                      <a:pt x="0" y="10"/>
                      <a:pt x="0" y="7"/>
                    </a:cubicBezTo>
                    <a:cubicBezTo>
                      <a:pt x="0" y="0"/>
                      <a:pt x="0" y="0"/>
                      <a:pt x="0" y="0"/>
                    </a:cubicBezTo>
                    <a:cubicBezTo>
                      <a:pt x="206" y="0"/>
                      <a:pt x="206" y="0"/>
                      <a:pt x="206" y="0"/>
                    </a:cubicBezTo>
                    <a:lnTo>
                      <a:pt x="206" y="1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98" name="Freeform 240">
                <a:extLst>
                  <a:ext uri="{FF2B5EF4-FFF2-40B4-BE49-F238E27FC236}">
                    <a16:creationId xmlns:a16="http://schemas.microsoft.com/office/drawing/2014/main" id="{D963A343-4DE0-41BF-8276-2BB023647DD2}"/>
                  </a:ext>
                </a:extLst>
              </p:cNvPr>
              <p:cNvSpPr>
                <a:spLocks/>
              </p:cNvSpPr>
              <p:nvPr/>
            </p:nvSpPr>
            <p:spPr bwMode="auto">
              <a:xfrm>
                <a:off x="-1275245" y="6901254"/>
                <a:ext cx="142869" cy="22323"/>
              </a:xfrm>
              <a:custGeom>
                <a:avLst/>
                <a:gdLst>
                  <a:gd name="T0" fmla="*/ 0 w 77"/>
                  <a:gd name="T1" fmla="*/ 12 h 12"/>
                  <a:gd name="T2" fmla="*/ 75 w 77"/>
                  <a:gd name="T3" fmla="*/ 12 h 12"/>
                  <a:gd name="T4" fmla="*/ 77 w 77"/>
                  <a:gd name="T5" fmla="*/ 10 h 12"/>
                  <a:gd name="T6" fmla="*/ 77 w 77"/>
                  <a:gd name="T7" fmla="*/ 4 h 12"/>
                  <a:gd name="T8" fmla="*/ 75 w 77"/>
                  <a:gd name="T9" fmla="*/ 2 h 12"/>
                  <a:gd name="T10" fmla="*/ 0 w 77"/>
                  <a:gd name="T11" fmla="*/ 0 h 12"/>
                  <a:gd name="T12" fmla="*/ 0 w 7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7" h="12">
                    <a:moveTo>
                      <a:pt x="0" y="12"/>
                    </a:moveTo>
                    <a:cubicBezTo>
                      <a:pt x="75" y="12"/>
                      <a:pt x="75" y="12"/>
                      <a:pt x="75" y="12"/>
                    </a:cubicBezTo>
                    <a:cubicBezTo>
                      <a:pt x="76" y="12"/>
                      <a:pt x="77" y="11"/>
                      <a:pt x="77" y="10"/>
                    </a:cubicBezTo>
                    <a:cubicBezTo>
                      <a:pt x="77" y="4"/>
                      <a:pt x="77" y="4"/>
                      <a:pt x="77" y="4"/>
                    </a:cubicBezTo>
                    <a:cubicBezTo>
                      <a:pt x="77" y="3"/>
                      <a:pt x="76" y="2"/>
                      <a:pt x="75" y="2"/>
                    </a:cubicBezTo>
                    <a:cubicBezTo>
                      <a:pt x="0" y="0"/>
                      <a:pt x="0" y="0"/>
                      <a:pt x="0" y="0"/>
                    </a:cubicBezTo>
                    <a:lnTo>
                      <a:pt x="0" y="12"/>
                    </a:ln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99" name="Oval 241">
                <a:extLst>
                  <a:ext uri="{FF2B5EF4-FFF2-40B4-BE49-F238E27FC236}">
                    <a16:creationId xmlns:a16="http://schemas.microsoft.com/office/drawing/2014/main" id="{BACDF70F-2726-4711-BE0A-CE58AD61FF7C}"/>
                  </a:ext>
                </a:extLst>
              </p:cNvPr>
              <p:cNvSpPr>
                <a:spLocks noChangeArrowheads="1"/>
              </p:cNvSpPr>
              <p:nvPr/>
            </p:nvSpPr>
            <p:spPr bwMode="auto">
              <a:xfrm>
                <a:off x="-1254114" y="6209233"/>
                <a:ext cx="73667" cy="73667"/>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00" name="Oval 243">
                <a:extLst>
                  <a:ext uri="{FF2B5EF4-FFF2-40B4-BE49-F238E27FC236}">
                    <a16:creationId xmlns:a16="http://schemas.microsoft.com/office/drawing/2014/main" id="{3E56D410-EDBD-4493-8B8D-521BE8E9FF97}"/>
                  </a:ext>
                </a:extLst>
              </p:cNvPr>
              <p:cNvSpPr>
                <a:spLocks noChangeArrowheads="1"/>
              </p:cNvSpPr>
              <p:nvPr/>
            </p:nvSpPr>
            <p:spPr bwMode="auto">
              <a:xfrm>
                <a:off x="-1029393" y="6209233"/>
                <a:ext cx="73667" cy="73667"/>
              </a:xfrm>
              <a:prstGeom prst="ellipse">
                <a:avLst/>
              </a:prstGeom>
              <a:solidFill>
                <a:srgbClr val="D0B28D"/>
              </a:solidFill>
              <a:ln>
                <a:noFill/>
              </a:ln>
            </p:spPr>
            <p:txBody>
              <a:bodyPr vert="horz" wrap="square" lIns="91440" tIns="45720" rIns="91440" bIns="45720" numCol="1" anchor="t" anchorCtr="0" compatLnSpc="1">
                <a:prstTxWarp prst="textNoShape">
                  <a:avLst/>
                </a:prstTxWarp>
              </a:bodyPr>
              <a:lstStyle/>
              <a:p>
                <a:endParaRPr lang="fr-FR"/>
              </a:p>
            </p:txBody>
          </p:sp>
          <p:sp>
            <p:nvSpPr>
              <p:cNvPr id="901" name="Freeform 245">
                <a:extLst>
                  <a:ext uri="{FF2B5EF4-FFF2-40B4-BE49-F238E27FC236}">
                    <a16:creationId xmlns:a16="http://schemas.microsoft.com/office/drawing/2014/main" id="{90BE7F8D-DDAE-462D-9274-6F241CBF10E9}"/>
                  </a:ext>
                </a:extLst>
              </p:cNvPr>
              <p:cNvSpPr>
                <a:spLocks/>
              </p:cNvSpPr>
              <p:nvPr/>
            </p:nvSpPr>
            <p:spPr bwMode="auto">
              <a:xfrm>
                <a:off x="-1235775" y="6079800"/>
                <a:ext cx="250910" cy="305607"/>
              </a:xfrm>
              <a:custGeom>
                <a:avLst/>
                <a:gdLst>
                  <a:gd name="T0" fmla="*/ 141 w 141"/>
                  <a:gd name="T1" fmla="*/ 28 h 159"/>
                  <a:gd name="T2" fmla="*/ 83 w 141"/>
                  <a:gd name="T3" fmla="*/ 1 h 159"/>
                  <a:gd name="T4" fmla="*/ 21 w 141"/>
                  <a:gd name="T5" fmla="*/ 105 h 159"/>
                  <a:gd name="T6" fmla="*/ 46 w 141"/>
                  <a:gd name="T7" fmla="*/ 142 h 159"/>
                  <a:gd name="T8" fmla="*/ 60 w 141"/>
                  <a:gd name="T9" fmla="*/ 152 h 159"/>
                  <a:gd name="T10" fmla="*/ 106 w 141"/>
                  <a:gd name="T11" fmla="*/ 146 h 159"/>
                  <a:gd name="T12" fmla="*/ 124 w 141"/>
                  <a:gd name="T13" fmla="*/ 132 h 159"/>
                  <a:gd name="T14" fmla="*/ 138 w 141"/>
                  <a:gd name="T15" fmla="*/ 103 h 159"/>
                  <a:gd name="T16" fmla="*/ 141 w 141"/>
                  <a:gd name="T17" fmla="*/ 28 h 159"/>
                  <a:gd name="connsiteX0" fmla="*/ 9255 w 9255"/>
                  <a:gd name="connsiteY0" fmla="*/ 2433 h 10441"/>
                  <a:gd name="connsiteX1" fmla="*/ 3592 w 9255"/>
                  <a:gd name="connsiteY1" fmla="*/ 2 h 10441"/>
                  <a:gd name="connsiteX2" fmla="*/ 744 w 9255"/>
                  <a:gd name="connsiteY2" fmla="*/ 7276 h 10441"/>
                  <a:gd name="connsiteX3" fmla="*/ 2517 w 9255"/>
                  <a:gd name="connsiteY3" fmla="*/ 9603 h 10441"/>
                  <a:gd name="connsiteX4" fmla="*/ 3510 w 9255"/>
                  <a:gd name="connsiteY4" fmla="*/ 10232 h 10441"/>
                  <a:gd name="connsiteX5" fmla="*/ 6773 w 9255"/>
                  <a:gd name="connsiteY5" fmla="*/ 9854 h 10441"/>
                  <a:gd name="connsiteX6" fmla="*/ 8049 w 9255"/>
                  <a:gd name="connsiteY6" fmla="*/ 8974 h 10441"/>
                  <a:gd name="connsiteX7" fmla="*/ 9042 w 9255"/>
                  <a:gd name="connsiteY7" fmla="*/ 7150 h 10441"/>
                  <a:gd name="connsiteX8" fmla="*/ 9255 w 9255"/>
                  <a:gd name="connsiteY8" fmla="*/ 2433 h 10441"/>
                  <a:gd name="connsiteX0" fmla="*/ 10188 w 10188"/>
                  <a:gd name="connsiteY0" fmla="*/ 2343 h 10013"/>
                  <a:gd name="connsiteX1" fmla="*/ 4069 w 10188"/>
                  <a:gd name="connsiteY1" fmla="*/ 15 h 10013"/>
                  <a:gd name="connsiteX2" fmla="*/ 992 w 10188"/>
                  <a:gd name="connsiteY2" fmla="*/ 6982 h 10013"/>
                  <a:gd name="connsiteX3" fmla="*/ 2908 w 10188"/>
                  <a:gd name="connsiteY3" fmla="*/ 9210 h 10013"/>
                  <a:gd name="connsiteX4" fmla="*/ 3981 w 10188"/>
                  <a:gd name="connsiteY4" fmla="*/ 9813 h 10013"/>
                  <a:gd name="connsiteX5" fmla="*/ 7506 w 10188"/>
                  <a:gd name="connsiteY5" fmla="*/ 9451 h 10013"/>
                  <a:gd name="connsiteX6" fmla="*/ 8885 w 10188"/>
                  <a:gd name="connsiteY6" fmla="*/ 8608 h 10013"/>
                  <a:gd name="connsiteX7" fmla="*/ 9958 w 10188"/>
                  <a:gd name="connsiteY7" fmla="*/ 6861 h 10013"/>
                  <a:gd name="connsiteX8" fmla="*/ 10188 w 10188"/>
                  <a:gd name="connsiteY8" fmla="*/ 2343 h 10013"/>
                  <a:gd name="connsiteX0" fmla="*/ 10188 w 10223"/>
                  <a:gd name="connsiteY0" fmla="*/ 2343 h 10013"/>
                  <a:gd name="connsiteX1" fmla="*/ 4069 w 10223"/>
                  <a:gd name="connsiteY1" fmla="*/ 15 h 10013"/>
                  <a:gd name="connsiteX2" fmla="*/ 992 w 10223"/>
                  <a:gd name="connsiteY2" fmla="*/ 6982 h 10013"/>
                  <a:gd name="connsiteX3" fmla="*/ 2908 w 10223"/>
                  <a:gd name="connsiteY3" fmla="*/ 9210 h 10013"/>
                  <a:gd name="connsiteX4" fmla="*/ 3981 w 10223"/>
                  <a:gd name="connsiteY4" fmla="*/ 9813 h 10013"/>
                  <a:gd name="connsiteX5" fmla="*/ 7506 w 10223"/>
                  <a:gd name="connsiteY5" fmla="*/ 9451 h 10013"/>
                  <a:gd name="connsiteX6" fmla="*/ 8885 w 10223"/>
                  <a:gd name="connsiteY6" fmla="*/ 8608 h 10013"/>
                  <a:gd name="connsiteX7" fmla="*/ 9958 w 10223"/>
                  <a:gd name="connsiteY7" fmla="*/ 6861 h 10013"/>
                  <a:gd name="connsiteX8" fmla="*/ 10188 w 10223"/>
                  <a:gd name="connsiteY8" fmla="*/ 2343 h 10013"/>
                  <a:gd name="connsiteX0" fmla="*/ 10188 w 10223"/>
                  <a:gd name="connsiteY0" fmla="*/ 2343 h 10009"/>
                  <a:gd name="connsiteX1" fmla="*/ 4069 w 10223"/>
                  <a:gd name="connsiteY1" fmla="*/ 15 h 10009"/>
                  <a:gd name="connsiteX2" fmla="*/ 992 w 10223"/>
                  <a:gd name="connsiteY2" fmla="*/ 6982 h 10009"/>
                  <a:gd name="connsiteX3" fmla="*/ 3981 w 10223"/>
                  <a:gd name="connsiteY3" fmla="*/ 9813 h 10009"/>
                  <a:gd name="connsiteX4" fmla="*/ 7506 w 10223"/>
                  <a:gd name="connsiteY4" fmla="*/ 9451 h 10009"/>
                  <a:gd name="connsiteX5" fmla="*/ 8885 w 10223"/>
                  <a:gd name="connsiteY5" fmla="*/ 8608 h 10009"/>
                  <a:gd name="connsiteX6" fmla="*/ 9958 w 10223"/>
                  <a:gd name="connsiteY6" fmla="*/ 6861 h 10009"/>
                  <a:gd name="connsiteX7" fmla="*/ 10188 w 10223"/>
                  <a:gd name="connsiteY7" fmla="*/ 2343 h 10009"/>
                  <a:gd name="connsiteX0" fmla="*/ 10188 w 10380"/>
                  <a:gd name="connsiteY0" fmla="*/ 2343 h 10009"/>
                  <a:gd name="connsiteX1" fmla="*/ 4069 w 10380"/>
                  <a:gd name="connsiteY1" fmla="*/ 15 h 10009"/>
                  <a:gd name="connsiteX2" fmla="*/ 992 w 10380"/>
                  <a:gd name="connsiteY2" fmla="*/ 6982 h 10009"/>
                  <a:gd name="connsiteX3" fmla="*/ 3981 w 10380"/>
                  <a:gd name="connsiteY3" fmla="*/ 9813 h 10009"/>
                  <a:gd name="connsiteX4" fmla="*/ 7506 w 10380"/>
                  <a:gd name="connsiteY4" fmla="*/ 9451 h 10009"/>
                  <a:gd name="connsiteX5" fmla="*/ 8885 w 10380"/>
                  <a:gd name="connsiteY5" fmla="*/ 8608 h 10009"/>
                  <a:gd name="connsiteX6" fmla="*/ 9958 w 10380"/>
                  <a:gd name="connsiteY6" fmla="*/ 6861 h 10009"/>
                  <a:gd name="connsiteX7" fmla="*/ 10188 w 10380"/>
                  <a:gd name="connsiteY7" fmla="*/ 2343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80" h="10009">
                    <a:moveTo>
                      <a:pt x="10188" y="2343"/>
                    </a:moveTo>
                    <a:cubicBezTo>
                      <a:pt x="10691" y="-7"/>
                      <a:pt x="5755" y="-45"/>
                      <a:pt x="4069" y="15"/>
                    </a:cubicBezTo>
                    <a:cubicBezTo>
                      <a:pt x="-704" y="-297"/>
                      <a:pt x="-617" y="4151"/>
                      <a:pt x="992" y="6982"/>
                    </a:cubicBezTo>
                    <a:cubicBezTo>
                      <a:pt x="977" y="8615"/>
                      <a:pt x="2895" y="9402"/>
                      <a:pt x="3981" y="9813"/>
                    </a:cubicBezTo>
                    <a:cubicBezTo>
                      <a:pt x="5067" y="10224"/>
                      <a:pt x="6433" y="9934"/>
                      <a:pt x="7506" y="9451"/>
                    </a:cubicBezTo>
                    <a:cubicBezTo>
                      <a:pt x="7965" y="9210"/>
                      <a:pt x="8426" y="8909"/>
                      <a:pt x="8885" y="8608"/>
                    </a:cubicBezTo>
                    <a:cubicBezTo>
                      <a:pt x="9575" y="8187"/>
                      <a:pt x="9958" y="7524"/>
                      <a:pt x="9958" y="6861"/>
                    </a:cubicBezTo>
                    <a:cubicBezTo>
                      <a:pt x="10035" y="5355"/>
                      <a:pt x="10702" y="4161"/>
                      <a:pt x="10188" y="2343"/>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02" name="Freeform 248">
                <a:extLst>
                  <a:ext uri="{FF2B5EF4-FFF2-40B4-BE49-F238E27FC236}">
                    <a16:creationId xmlns:a16="http://schemas.microsoft.com/office/drawing/2014/main" id="{340A06CF-CDFD-484B-A8F6-AEF82CD645AA}"/>
                  </a:ext>
                </a:extLst>
              </p:cNvPr>
              <p:cNvSpPr>
                <a:spLocks/>
              </p:cNvSpPr>
              <p:nvPr/>
            </p:nvSpPr>
            <p:spPr bwMode="auto">
              <a:xfrm>
                <a:off x="-1139072" y="6231557"/>
                <a:ext cx="15627" cy="58040"/>
              </a:xfrm>
              <a:custGeom>
                <a:avLst/>
                <a:gdLst>
                  <a:gd name="T0" fmla="*/ 8 w 8"/>
                  <a:gd name="T1" fmla="*/ 32 h 32"/>
                  <a:gd name="T2" fmla="*/ 8 w 8"/>
                  <a:gd name="T3" fmla="*/ 0 h 32"/>
                  <a:gd name="T4" fmla="*/ 2 w 8"/>
                  <a:gd name="T5" fmla="*/ 6 h 32"/>
                  <a:gd name="T6" fmla="*/ 0 w 8"/>
                  <a:gd name="T7" fmla="*/ 32 h 32"/>
                  <a:gd name="T8" fmla="*/ 8 w 8"/>
                  <a:gd name="T9" fmla="*/ 32 h 32"/>
                </a:gdLst>
                <a:ahLst/>
                <a:cxnLst>
                  <a:cxn ang="0">
                    <a:pos x="T0" y="T1"/>
                  </a:cxn>
                  <a:cxn ang="0">
                    <a:pos x="T2" y="T3"/>
                  </a:cxn>
                  <a:cxn ang="0">
                    <a:pos x="T4" y="T5"/>
                  </a:cxn>
                  <a:cxn ang="0">
                    <a:pos x="T6" y="T7"/>
                  </a:cxn>
                  <a:cxn ang="0">
                    <a:pos x="T8" y="T9"/>
                  </a:cxn>
                </a:cxnLst>
                <a:rect l="0" t="0" r="r" b="b"/>
                <a:pathLst>
                  <a:path w="8" h="32">
                    <a:moveTo>
                      <a:pt x="8" y="32"/>
                    </a:moveTo>
                    <a:cubicBezTo>
                      <a:pt x="8" y="0"/>
                      <a:pt x="8" y="0"/>
                      <a:pt x="8" y="0"/>
                    </a:cubicBezTo>
                    <a:cubicBezTo>
                      <a:pt x="5" y="0"/>
                      <a:pt x="3" y="3"/>
                      <a:pt x="2" y="6"/>
                    </a:cubicBezTo>
                    <a:cubicBezTo>
                      <a:pt x="0" y="32"/>
                      <a:pt x="0" y="32"/>
                      <a:pt x="0" y="32"/>
                    </a:cubicBezTo>
                    <a:lnTo>
                      <a:pt x="8" y="32"/>
                    </a:ln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03" name="Oval 253">
                <a:extLst>
                  <a:ext uri="{FF2B5EF4-FFF2-40B4-BE49-F238E27FC236}">
                    <a16:creationId xmlns:a16="http://schemas.microsoft.com/office/drawing/2014/main" id="{E182B71C-CC81-4D05-88A5-42781E14C143}"/>
                  </a:ext>
                </a:extLst>
              </p:cNvPr>
              <p:cNvSpPr>
                <a:spLocks noChangeArrowheads="1"/>
              </p:cNvSpPr>
              <p:nvPr/>
            </p:nvSpPr>
            <p:spPr bwMode="auto">
              <a:xfrm>
                <a:off x="-1185953" y="6224860"/>
                <a:ext cx="22323" cy="2009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04" name="Oval 254">
                <a:extLst>
                  <a:ext uri="{FF2B5EF4-FFF2-40B4-BE49-F238E27FC236}">
                    <a16:creationId xmlns:a16="http://schemas.microsoft.com/office/drawing/2014/main" id="{40248BD8-2CB7-47E0-BE83-0857A56AB539}"/>
                  </a:ext>
                </a:extLst>
              </p:cNvPr>
              <p:cNvSpPr>
                <a:spLocks noChangeArrowheads="1"/>
              </p:cNvSpPr>
              <p:nvPr/>
            </p:nvSpPr>
            <p:spPr bwMode="auto">
              <a:xfrm>
                <a:off x="-1076568" y="6224860"/>
                <a:ext cx="22323" cy="2009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05" name="Freeform 634">
                <a:extLst>
                  <a:ext uri="{FF2B5EF4-FFF2-40B4-BE49-F238E27FC236}">
                    <a16:creationId xmlns:a16="http://schemas.microsoft.com/office/drawing/2014/main" id="{CF94C4B4-0321-4551-B079-3A40F5261086}"/>
                  </a:ext>
                </a:extLst>
              </p:cNvPr>
              <p:cNvSpPr>
                <a:spLocks/>
              </p:cNvSpPr>
              <p:nvPr/>
            </p:nvSpPr>
            <p:spPr bwMode="auto">
              <a:xfrm>
                <a:off x="-1160504" y="6336278"/>
                <a:ext cx="103187" cy="9525"/>
              </a:xfrm>
              <a:custGeom>
                <a:avLst/>
                <a:gdLst>
                  <a:gd name="T0" fmla="*/ 32 w 64"/>
                  <a:gd name="T1" fmla="*/ 6 h 6"/>
                  <a:gd name="T2" fmla="*/ 64 w 64"/>
                  <a:gd name="T3" fmla="*/ 0 h 6"/>
                  <a:gd name="T4" fmla="*/ 32 w 64"/>
                  <a:gd name="T5" fmla="*/ 2 h 6"/>
                  <a:gd name="T6" fmla="*/ 0 w 64"/>
                  <a:gd name="T7" fmla="*/ 0 h 6"/>
                  <a:gd name="T8" fmla="*/ 32 w 64"/>
                  <a:gd name="T9" fmla="*/ 6 h 6"/>
                </a:gdLst>
                <a:ahLst/>
                <a:cxnLst>
                  <a:cxn ang="0">
                    <a:pos x="T0" y="T1"/>
                  </a:cxn>
                  <a:cxn ang="0">
                    <a:pos x="T2" y="T3"/>
                  </a:cxn>
                  <a:cxn ang="0">
                    <a:pos x="T4" y="T5"/>
                  </a:cxn>
                  <a:cxn ang="0">
                    <a:pos x="T6" y="T7"/>
                  </a:cxn>
                  <a:cxn ang="0">
                    <a:pos x="T8" y="T9"/>
                  </a:cxn>
                </a:cxnLst>
                <a:rect l="0" t="0" r="r" b="b"/>
                <a:pathLst>
                  <a:path w="64" h="6">
                    <a:moveTo>
                      <a:pt x="32" y="6"/>
                    </a:moveTo>
                    <a:cubicBezTo>
                      <a:pt x="47" y="6"/>
                      <a:pt x="54" y="2"/>
                      <a:pt x="64" y="0"/>
                    </a:cubicBezTo>
                    <a:cubicBezTo>
                      <a:pt x="59" y="1"/>
                      <a:pt x="47" y="2"/>
                      <a:pt x="32" y="2"/>
                    </a:cubicBezTo>
                    <a:cubicBezTo>
                      <a:pt x="16" y="2"/>
                      <a:pt x="5" y="1"/>
                      <a:pt x="0" y="0"/>
                    </a:cubicBezTo>
                    <a:cubicBezTo>
                      <a:pt x="10" y="2"/>
                      <a:pt x="17" y="6"/>
                      <a:pt x="3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6" name="Freeform 635">
                <a:extLst>
                  <a:ext uri="{FF2B5EF4-FFF2-40B4-BE49-F238E27FC236}">
                    <a16:creationId xmlns:a16="http://schemas.microsoft.com/office/drawing/2014/main" id="{26461A1F-E3BC-460D-B884-D831D83FB3CF}"/>
                  </a:ext>
                </a:extLst>
              </p:cNvPr>
              <p:cNvSpPr>
                <a:spLocks noEditPoints="1"/>
              </p:cNvSpPr>
              <p:nvPr/>
            </p:nvSpPr>
            <p:spPr bwMode="auto">
              <a:xfrm>
                <a:off x="-1163679" y="6334690"/>
                <a:ext cx="107950" cy="12700"/>
              </a:xfrm>
              <a:custGeom>
                <a:avLst/>
                <a:gdLst>
                  <a:gd name="T0" fmla="*/ 34 w 67"/>
                  <a:gd name="T1" fmla="*/ 8 h 8"/>
                  <a:gd name="T2" fmla="*/ 11 w 67"/>
                  <a:gd name="T3" fmla="*/ 5 h 8"/>
                  <a:gd name="T4" fmla="*/ 3 w 67"/>
                  <a:gd name="T5" fmla="*/ 2 h 8"/>
                  <a:gd name="T6" fmla="*/ 1 w 67"/>
                  <a:gd name="T7" fmla="*/ 2 h 8"/>
                  <a:gd name="T8" fmla="*/ 0 w 67"/>
                  <a:gd name="T9" fmla="*/ 1 h 8"/>
                  <a:gd name="T10" fmla="*/ 2 w 67"/>
                  <a:gd name="T11" fmla="*/ 0 h 8"/>
                  <a:gd name="T12" fmla="*/ 4 w 67"/>
                  <a:gd name="T13" fmla="*/ 0 h 8"/>
                  <a:gd name="T14" fmla="*/ 34 w 67"/>
                  <a:gd name="T15" fmla="*/ 2 h 8"/>
                  <a:gd name="T16" fmla="*/ 64 w 67"/>
                  <a:gd name="T17" fmla="*/ 0 h 8"/>
                  <a:gd name="T18" fmla="*/ 66 w 67"/>
                  <a:gd name="T19" fmla="*/ 0 h 8"/>
                  <a:gd name="T20" fmla="*/ 67 w 67"/>
                  <a:gd name="T21" fmla="*/ 1 h 8"/>
                  <a:gd name="T22" fmla="*/ 66 w 67"/>
                  <a:gd name="T23" fmla="*/ 2 h 8"/>
                  <a:gd name="T24" fmla="*/ 64 w 67"/>
                  <a:gd name="T25" fmla="*/ 2 h 8"/>
                  <a:gd name="T26" fmla="*/ 56 w 67"/>
                  <a:gd name="T27" fmla="*/ 5 h 8"/>
                  <a:gd name="T28" fmla="*/ 34 w 67"/>
                  <a:gd name="T29" fmla="*/ 8 h 8"/>
                  <a:gd name="T30" fmla="*/ 16 w 67"/>
                  <a:gd name="T31" fmla="*/ 4 h 8"/>
                  <a:gd name="T32" fmla="*/ 34 w 67"/>
                  <a:gd name="T33" fmla="*/ 6 h 8"/>
                  <a:gd name="T34" fmla="*/ 52 w 67"/>
                  <a:gd name="T35" fmla="*/ 4 h 8"/>
                  <a:gd name="T36" fmla="*/ 34 w 67"/>
                  <a:gd name="T37" fmla="*/ 4 h 8"/>
                  <a:gd name="T38" fmla="*/ 16 w 67"/>
                  <a:gd name="T3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8">
                    <a:moveTo>
                      <a:pt x="34" y="8"/>
                    </a:moveTo>
                    <a:cubicBezTo>
                      <a:pt x="24" y="8"/>
                      <a:pt x="18" y="6"/>
                      <a:pt x="11" y="5"/>
                    </a:cubicBezTo>
                    <a:cubicBezTo>
                      <a:pt x="9" y="4"/>
                      <a:pt x="6" y="3"/>
                      <a:pt x="3" y="2"/>
                    </a:cubicBezTo>
                    <a:cubicBezTo>
                      <a:pt x="2" y="2"/>
                      <a:pt x="2" y="2"/>
                      <a:pt x="1" y="2"/>
                    </a:cubicBezTo>
                    <a:cubicBezTo>
                      <a:pt x="1" y="2"/>
                      <a:pt x="0" y="1"/>
                      <a:pt x="0" y="1"/>
                    </a:cubicBezTo>
                    <a:cubicBezTo>
                      <a:pt x="1" y="0"/>
                      <a:pt x="1" y="0"/>
                      <a:pt x="2" y="0"/>
                    </a:cubicBezTo>
                    <a:cubicBezTo>
                      <a:pt x="2" y="0"/>
                      <a:pt x="3" y="0"/>
                      <a:pt x="4" y="0"/>
                    </a:cubicBezTo>
                    <a:cubicBezTo>
                      <a:pt x="9" y="1"/>
                      <a:pt x="20" y="2"/>
                      <a:pt x="34" y="2"/>
                    </a:cubicBezTo>
                    <a:cubicBezTo>
                      <a:pt x="47" y="2"/>
                      <a:pt x="58" y="1"/>
                      <a:pt x="64" y="0"/>
                    </a:cubicBezTo>
                    <a:cubicBezTo>
                      <a:pt x="65" y="0"/>
                      <a:pt x="65" y="0"/>
                      <a:pt x="66" y="0"/>
                    </a:cubicBezTo>
                    <a:cubicBezTo>
                      <a:pt x="67" y="0"/>
                      <a:pt x="67" y="0"/>
                      <a:pt x="67" y="1"/>
                    </a:cubicBezTo>
                    <a:cubicBezTo>
                      <a:pt x="67" y="1"/>
                      <a:pt x="67" y="2"/>
                      <a:pt x="66" y="2"/>
                    </a:cubicBezTo>
                    <a:cubicBezTo>
                      <a:pt x="66" y="2"/>
                      <a:pt x="65" y="2"/>
                      <a:pt x="64" y="2"/>
                    </a:cubicBezTo>
                    <a:cubicBezTo>
                      <a:pt x="62" y="3"/>
                      <a:pt x="59" y="4"/>
                      <a:pt x="56" y="5"/>
                    </a:cubicBezTo>
                    <a:cubicBezTo>
                      <a:pt x="50" y="6"/>
                      <a:pt x="43" y="8"/>
                      <a:pt x="34" y="8"/>
                    </a:cubicBezTo>
                    <a:close/>
                    <a:moveTo>
                      <a:pt x="16" y="4"/>
                    </a:moveTo>
                    <a:cubicBezTo>
                      <a:pt x="21" y="5"/>
                      <a:pt x="27" y="6"/>
                      <a:pt x="34" y="6"/>
                    </a:cubicBezTo>
                    <a:cubicBezTo>
                      <a:pt x="41" y="6"/>
                      <a:pt x="47" y="5"/>
                      <a:pt x="52" y="4"/>
                    </a:cubicBezTo>
                    <a:cubicBezTo>
                      <a:pt x="46" y="4"/>
                      <a:pt x="40" y="4"/>
                      <a:pt x="34" y="4"/>
                    </a:cubicBezTo>
                    <a:cubicBezTo>
                      <a:pt x="27" y="4"/>
                      <a:pt x="21" y="4"/>
                      <a:pt x="16" y="4"/>
                    </a:cubicBezTo>
                    <a:close/>
                  </a:path>
                </a:pathLst>
              </a:custGeom>
              <a:solidFill>
                <a:srgbClr val="BB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7" name="Freeform 637">
                <a:extLst>
                  <a:ext uri="{FF2B5EF4-FFF2-40B4-BE49-F238E27FC236}">
                    <a16:creationId xmlns:a16="http://schemas.microsoft.com/office/drawing/2014/main" id="{72F33C24-8EF8-4929-962A-9CB371C83A88}"/>
                  </a:ext>
                </a:extLst>
              </p:cNvPr>
              <p:cNvSpPr>
                <a:spLocks/>
              </p:cNvSpPr>
              <p:nvPr/>
            </p:nvSpPr>
            <p:spPr bwMode="auto">
              <a:xfrm>
                <a:off x="-1235908" y="6027509"/>
                <a:ext cx="258762" cy="228600"/>
              </a:xfrm>
              <a:custGeom>
                <a:avLst/>
                <a:gdLst>
                  <a:gd name="T0" fmla="*/ 162 w 162"/>
                  <a:gd name="T1" fmla="*/ 74 h 143"/>
                  <a:gd name="T2" fmla="*/ 162 w 162"/>
                  <a:gd name="T3" fmla="*/ 143 h 143"/>
                  <a:gd name="T4" fmla="*/ 155 w 162"/>
                  <a:gd name="T5" fmla="*/ 143 h 143"/>
                  <a:gd name="T6" fmla="*/ 151 w 162"/>
                  <a:gd name="T7" fmla="*/ 60 h 143"/>
                  <a:gd name="T8" fmla="*/ 129 w 162"/>
                  <a:gd name="T9" fmla="*/ 64 h 143"/>
                  <a:gd name="T10" fmla="*/ 33 w 162"/>
                  <a:gd name="T11" fmla="*/ 64 h 143"/>
                  <a:gd name="T12" fmla="*/ 11 w 162"/>
                  <a:gd name="T13" fmla="*/ 60 h 143"/>
                  <a:gd name="T14" fmla="*/ 6 w 162"/>
                  <a:gd name="T15" fmla="*/ 142 h 143"/>
                  <a:gd name="T16" fmla="*/ 0 w 162"/>
                  <a:gd name="T17" fmla="*/ 142 h 143"/>
                  <a:gd name="T18" fmla="*/ 0 w 162"/>
                  <a:gd name="T19" fmla="*/ 74 h 143"/>
                  <a:gd name="T20" fmla="*/ 62 w 162"/>
                  <a:gd name="T21" fmla="*/ 0 h 143"/>
                  <a:gd name="T22" fmla="*/ 99 w 162"/>
                  <a:gd name="T23" fmla="*/ 0 h 143"/>
                  <a:gd name="T24" fmla="*/ 162 w 162"/>
                  <a:gd name="T25" fmla="*/ 7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143">
                    <a:moveTo>
                      <a:pt x="162" y="74"/>
                    </a:moveTo>
                    <a:cubicBezTo>
                      <a:pt x="162" y="143"/>
                      <a:pt x="162" y="143"/>
                      <a:pt x="162" y="143"/>
                    </a:cubicBezTo>
                    <a:cubicBezTo>
                      <a:pt x="155" y="143"/>
                      <a:pt x="155" y="143"/>
                      <a:pt x="155" y="143"/>
                    </a:cubicBezTo>
                    <a:cubicBezTo>
                      <a:pt x="151" y="60"/>
                      <a:pt x="151" y="60"/>
                      <a:pt x="151" y="60"/>
                    </a:cubicBezTo>
                    <a:cubicBezTo>
                      <a:pt x="129" y="64"/>
                      <a:pt x="129" y="64"/>
                      <a:pt x="129" y="64"/>
                    </a:cubicBezTo>
                    <a:cubicBezTo>
                      <a:pt x="97" y="68"/>
                      <a:pt x="65" y="68"/>
                      <a:pt x="33" y="64"/>
                    </a:cubicBezTo>
                    <a:cubicBezTo>
                      <a:pt x="11" y="60"/>
                      <a:pt x="11" y="60"/>
                      <a:pt x="11" y="60"/>
                    </a:cubicBezTo>
                    <a:cubicBezTo>
                      <a:pt x="6" y="142"/>
                      <a:pt x="6" y="142"/>
                      <a:pt x="6" y="142"/>
                    </a:cubicBezTo>
                    <a:cubicBezTo>
                      <a:pt x="0" y="142"/>
                      <a:pt x="0" y="142"/>
                      <a:pt x="0" y="142"/>
                    </a:cubicBezTo>
                    <a:cubicBezTo>
                      <a:pt x="0" y="74"/>
                      <a:pt x="0" y="74"/>
                      <a:pt x="0" y="74"/>
                    </a:cubicBezTo>
                    <a:cubicBezTo>
                      <a:pt x="0" y="33"/>
                      <a:pt x="28" y="0"/>
                      <a:pt x="62" y="0"/>
                    </a:cubicBezTo>
                    <a:cubicBezTo>
                      <a:pt x="99" y="0"/>
                      <a:pt x="99" y="0"/>
                      <a:pt x="99" y="0"/>
                    </a:cubicBezTo>
                    <a:cubicBezTo>
                      <a:pt x="134" y="0"/>
                      <a:pt x="162" y="33"/>
                      <a:pt x="162" y="7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1" name="Group 620">
              <a:extLst>
                <a:ext uri="{FF2B5EF4-FFF2-40B4-BE49-F238E27FC236}">
                  <a16:creationId xmlns:a16="http://schemas.microsoft.com/office/drawing/2014/main" id="{D196F4E5-4F73-4D13-91FD-754E37999E21}"/>
                </a:ext>
              </a:extLst>
            </p:cNvPr>
            <p:cNvGrpSpPr/>
            <p:nvPr/>
          </p:nvGrpSpPr>
          <p:grpSpPr>
            <a:xfrm>
              <a:off x="9706702" y="4439920"/>
              <a:ext cx="534367" cy="1584360"/>
              <a:chOff x="1406601" y="1277986"/>
              <a:chExt cx="438931" cy="1301399"/>
            </a:xfrm>
          </p:grpSpPr>
          <p:sp>
            <p:nvSpPr>
              <p:cNvPr id="733" name="Freeform 6">
                <a:extLst>
                  <a:ext uri="{FF2B5EF4-FFF2-40B4-BE49-F238E27FC236}">
                    <a16:creationId xmlns:a16="http://schemas.microsoft.com/office/drawing/2014/main" id="{C738A312-71F8-46E2-AFB1-09D37443FC2C}"/>
                  </a:ext>
                </a:extLst>
              </p:cNvPr>
              <p:cNvSpPr>
                <a:spLocks/>
              </p:cNvSpPr>
              <p:nvPr/>
            </p:nvSpPr>
            <p:spPr bwMode="auto">
              <a:xfrm>
                <a:off x="1522286" y="2469143"/>
                <a:ext cx="64723" cy="66955"/>
              </a:xfrm>
              <a:custGeom>
                <a:avLst/>
                <a:gdLst>
                  <a:gd name="T0" fmla="*/ 87 w 87"/>
                  <a:gd name="T1" fmla="*/ 87 h 90"/>
                  <a:gd name="T2" fmla="*/ 4 w 87"/>
                  <a:gd name="T3" fmla="*/ 90 h 90"/>
                  <a:gd name="T4" fmla="*/ 0 w 87"/>
                  <a:gd name="T5" fmla="*/ 0 h 90"/>
                  <a:gd name="T6" fmla="*/ 77 w 87"/>
                  <a:gd name="T7" fmla="*/ 0 h 90"/>
                  <a:gd name="T8" fmla="*/ 87 w 87"/>
                  <a:gd name="T9" fmla="*/ 87 h 90"/>
                </a:gdLst>
                <a:ahLst/>
                <a:cxnLst>
                  <a:cxn ang="0">
                    <a:pos x="T0" y="T1"/>
                  </a:cxn>
                  <a:cxn ang="0">
                    <a:pos x="T2" y="T3"/>
                  </a:cxn>
                  <a:cxn ang="0">
                    <a:pos x="T4" y="T5"/>
                  </a:cxn>
                  <a:cxn ang="0">
                    <a:pos x="T6" y="T7"/>
                  </a:cxn>
                  <a:cxn ang="0">
                    <a:pos x="T8" y="T9"/>
                  </a:cxn>
                </a:cxnLst>
                <a:rect l="0" t="0" r="r" b="b"/>
                <a:pathLst>
                  <a:path w="87" h="90">
                    <a:moveTo>
                      <a:pt x="87" y="87"/>
                    </a:moveTo>
                    <a:lnTo>
                      <a:pt x="4" y="90"/>
                    </a:lnTo>
                    <a:lnTo>
                      <a:pt x="0" y="0"/>
                    </a:lnTo>
                    <a:lnTo>
                      <a:pt x="77" y="0"/>
                    </a:lnTo>
                    <a:lnTo>
                      <a:pt x="87" y="8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734" name="Freeform 10">
                <a:extLst>
                  <a:ext uri="{FF2B5EF4-FFF2-40B4-BE49-F238E27FC236}">
                    <a16:creationId xmlns:a16="http://schemas.microsoft.com/office/drawing/2014/main" id="{127C213B-93A0-4C27-9AE2-D7D96989CF1A}"/>
                  </a:ext>
                </a:extLst>
              </p:cNvPr>
              <p:cNvSpPr>
                <a:spLocks/>
              </p:cNvSpPr>
              <p:nvPr/>
            </p:nvSpPr>
            <p:spPr bwMode="auto">
              <a:xfrm>
                <a:off x="1643177" y="2469795"/>
                <a:ext cx="58772" cy="69932"/>
              </a:xfrm>
              <a:custGeom>
                <a:avLst/>
                <a:gdLst>
                  <a:gd name="T0" fmla="*/ 0 w 79"/>
                  <a:gd name="T1" fmla="*/ 89 h 94"/>
                  <a:gd name="T2" fmla="*/ 76 w 79"/>
                  <a:gd name="T3" fmla="*/ 94 h 94"/>
                  <a:gd name="T4" fmla="*/ 79 w 79"/>
                  <a:gd name="T5" fmla="*/ 0 h 94"/>
                  <a:gd name="T6" fmla="*/ 8 w 79"/>
                  <a:gd name="T7" fmla="*/ 0 h 94"/>
                  <a:gd name="T8" fmla="*/ 0 w 79"/>
                  <a:gd name="T9" fmla="*/ 89 h 94"/>
                </a:gdLst>
                <a:ahLst/>
                <a:cxnLst>
                  <a:cxn ang="0">
                    <a:pos x="T0" y="T1"/>
                  </a:cxn>
                  <a:cxn ang="0">
                    <a:pos x="T2" y="T3"/>
                  </a:cxn>
                  <a:cxn ang="0">
                    <a:pos x="T4" y="T5"/>
                  </a:cxn>
                  <a:cxn ang="0">
                    <a:pos x="T6" y="T7"/>
                  </a:cxn>
                  <a:cxn ang="0">
                    <a:pos x="T8" y="T9"/>
                  </a:cxn>
                </a:cxnLst>
                <a:rect l="0" t="0" r="r" b="b"/>
                <a:pathLst>
                  <a:path w="79" h="94">
                    <a:moveTo>
                      <a:pt x="0" y="89"/>
                    </a:moveTo>
                    <a:lnTo>
                      <a:pt x="76" y="94"/>
                    </a:lnTo>
                    <a:lnTo>
                      <a:pt x="79" y="0"/>
                    </a:lnTo>
                    <a:lnTo>
                      <a:pt x="8" y="0"/>
                    </a:lnTo>
                    <a:lnTo>
                      <a:pt x="0" y="89"/>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11" name="Freeform 5">
                <a:extLst>
                  <a:ext uri="{FF2B5EF4-FFF2-40B4-BE49-F238E27FC236}">
                    <a16:creationId xmlns:a16="http://schemas.microsoft.com/office/drawing/2014/main" id="{A49B6969-13D4-49B5-908D-DAEBE15C45CA}"/>
                  </a:ext>
                </a:extLst>
              </p:cNvPr>
              <p:cNvSpPr>
                <a:spLocks noEditPoints="1"/>
              </p:cNvSpPr>
              <p:nvPr/>
            </p:nvSpPr>
            <p:spPr bwMode="auto">
              <a:xfrm>
                <a:off x="1406601" y="1753368"/>
                <a:ext cx="157717" cy="175572"/>
              </a:xfrm>
              <a:custGeom>
                <a:avLst/>
                <a:gdLst>
                  <a:gd name="T0" fmla="*/ 142 w 178"/>
                  <a:gd name="T1" fmla="*/ 199 h 199"/>
                  <a:gd name="T2" fmla="*/ 109 w 178"/>
                  <a:gd name="T3" fmla="*/ 171 h 199"/>
                  <a:gd name="T4" fmla="*/ 60 w 178"/>
                  <a:gd name="T5" fmla="*/ 117 h 199"/>
                  <a:gd name="T6" fmla="*/ 3 w 178"/>
                  <a:gd name="T7" fmla="*/ 42 h 199"/>
                  <a:gd name="T8" fmla="*/ 31 w 178"/>
                  <a:gd name="T9" fmla="*/ 3 h 199"/>
                  <a:gd name="T10" fmla="*/ 69 w 178"/>
                  <a:gd name="T11" fmla="*/ 27 h 199"/>
                  <a:gd name="T12" fmla="*/ 108 w 178"/>
                  <a:gd name="T13" fmla="*/ 69 h 199"/>
                  <a:gd name="T14" fmla="*/ 176 w 178"/>
                  <a:gd name="T15" fmla="*/ 161 h 199"/>
                  <a:gd name="T16" fmla="*/ 146 w 178"/>
                  <a:gd name="T17" fmla="*/ 198 h 199"/>
                  <a:gd name="T18" fmla="*/ 142 w 178"/>
                  <a:gd name="T19" fmla="*/ 199 h 199"/>
                  <a:gd name="T20" fmla="*/ 109 w 178"/>
                  <a:gd name="T21" fmla="*/ 171 h 199"/>
                  <a:gd name="T22" fmla="*/ 109 w 178"/>
                  <a:gd name="T23" fmla="*/ 171 h 199"/>
                  <a:gd name="T24" fmla="*/ 108 w 178"/>
                  <a:gd name="T25" fmla="*/ 169 h 199"/>
                  <a:gd name="T26" fmla="*/ 108 w 178"/>
                  <a:gd name="T27" fmla="*/ 169 h 199"/>
                  <a:gd name="T28" fmla="*/ 108 w 178"/>
                  <a:gd name="T29" fmla="*/ 169 h 199"/>
                  <a:gd name="T30" fmla="*/ 70 w 178"/>
                  <a:gd name="T31" fmla="*/ 31 h 199"/>
                  <a:gd name="T32" fmla="*/ 70 w 178"/>
                  <a:gd name="T33" fmla="*/ 31 h 199"/>
                  <a:gd name="T34" fmla="*/ 70 w 178"/>
                  <a:gd name="T35" fmla="*/ 3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8" h="199">
                    <a:moveTo>
                      <a:pt x="142" y="199"/>
                    </a:moveTo>
                    <a:cubicBezTo>
                      <a:pt x="126" y="199"/>
                      <a:pt x="112" y="187"/>
                      <a:pt x="109" y="171"/>
                    </a:cubicBezTo>
                    <a:cubicBezTo>
                      <a:pt x="104" y="160"/>
                      <a:pt x="77" y="133"/>
                      <a:pt x="60" y="117"/>
                    </a:cubicBezTo>
                    <a:cubicBezTo>
                      <a:pt x="25" y="82"/>
                      <a:pt x="7" y="63"/>
                      <a:pt x="3" y="42"/>
                    </a:cubicBezTo>
                    <a:cubicBezTo>
                      <a:pt x="0" y="23"/>
                      <a:pt x="13" y="6"/>
                      <a:pt x="31" y="3"/>
                    </a:cubicBezTo>
                    <a:cubicBezTo>
                      <a:pt x="48" y="0"/>
                      <a:pt x="65" y="11"/>
                      <a:pt x="69" y="27"/>
                    </a:cubicBezTo>
                    <a:cubicBezTo>
                      <a:pt x="74" y="35"/>
                      <a:pt x="94" y="55"/>
                      <a:pt x="108" y="69"/>
                    </a:cubicBezTo>
                    <a:cubicBezTo>
                      <a:pt x="148" y="108"/>
                      <a:pt x="173" y="134"/>
                      <a:pt x="176" y="161"/>
                    </a:cubicBezTo>
                    <a:cubicBezTo>
                      <a:pt x="178" y="179"/>
                      <a:pt x="165" y="196"/>
                      <a:pt x="146" y="198"/>
                    </a:cubicBezTo>
                    <a:cubicBezTo>
                      <a:pt x="145" y="199"/>
                      <a:pt x="143" y="199"/>
                      <a:pt x="142" y="199"/>
                    </a:cubicBezTo>
                    <a:close/>
                    <a:moveTo>
                      <a:pt x="109" y="171"/>
                    </a:moveTo>
                    <a:cubicBezTo>
                      <a:pt x="109" y="171"/>
                      <a:pt x="109" y="171"/>
                      <a:pt x="109" y="171"/>
                    </a:cubicBezTo>
                    <a:close/>
                    <a:moveTo>
                      <a:pt x="108" y="169"/>
                    </a:moveTo>
                    <a:cubicBezTo>
                      <a:pt x="108" y="169"/>
                      <a:pt x="108" y="169"/>
                      <a:pt x="108" y="169"/>
                    </a:cubicBezTo>
                    <a:cubicBezTo>
                      <a:pt x="108" y="169"/>
                      <a:pt x="108" y="169"/>
                      <a:pt x="108" y="169"/>
                    </a:cubicBezTo>
                    <a:close/>
                    <a:moveTo>
                      <a:pt x="70" y="31"/>
                    </a:moveTo>
                    <a:cubicBezTo>
                      <a:pt x="70" y="31"/>
                      <a:pt x="70" y="31"/>
                      <a:pt x="70" y="31"/>
                    </a:cubicBezTo>
                    <a:cubicBezTo>
                      <a:pt x="70" y="31"/>
                      <a:pt x="70" y="31"/>
                      <a:pt x="70" y="31"/>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12" name="Freeform 7">
                <a:extLst>
                  <a:ext uri="{FF2B5EF4-FFF2-40B4-BE49-F238E27FC236}">
                    <a16:creationId xmlns:a16="http://schemas.microsoft.com/office/drawing/2014/main" id="{09F17697-EC07-4D1F-A0C0-0926F9F4DE0C}"/>
                  </a:ext>
                </a:extLst>
              </p:cNvPr>
              <p:cNvSpPr>
                <a:spLocks/>
              </p:cNvSpPr>
              <p:nvPr/>
            </p:nvSpPr>
            <p:spPr bwMode="auto">
              <a:xfrm>
                <a:off x="1422822" y="2512430"/>
                <a:ext cx="168876" cy="66955"/>
              </a:xfrm>
              <a:custGeom>
                <a:avLst/>
                <a:gdLst>
                  <a:gd name="T0" fmla="*/ 191 w 191"/>
                  <a:gd name="T1" fmla="*/ 70 h 76"/>
                  <a:gd name="T2" fmla="*/ 133 w 191"/>
                  <a:gd name="T3" fmla="*/ 73 h 76"/>
                  <a:gd name="T4" fmla="*/ 130 w 191"/>
                  <a:gd name="T5" fmla="*/ 64 h 76"/>
                  <a:gd name="T6" fmla="*/ 55 w 191"/>
                  <a:gd name="T7" fmla="*/ 76 h 76"/>
                  <a:gd name="T8" fmla="*/ 6 w 191"/>
                  <a:gd name="T9" fmla="*/ 70 h 76"/>
                  <a:gd name="T10" fmla="*/ 0 w 191"/>
                  <a:gd name="T11" fmla="*/ 64 h 76"/>
                  <a:gd name="T12" fmla="*/ 115 w 191"/>
                  <a:gd name="T13" fmla="*/ 0 h 76"/>
                  <a:gd name="T14" fmla="*/ 118 w 191"/>
                  <a:gd name="T15" fmla="*/ 0 h 76"/>
                  <a:gd name="T16" fmla="*/ 148 w 191"/>
                  <a:gd name="T17" fmla="*/ 18 h 76"/>
                  <a:gd name="T18" fmla="*/ 182 w 191"/>
                  <a:gd name="T19" fmla="*/ 0 h 76"/>
                  <a:gd name="T20" fmla="*/ 191 w 191"/>
                  <a:gd name="T21"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76">
                    <a:moveTo>
                      <a:pt x="191" y="70"/>
                    </a:moveTo>
                    <a:cubicBezTo>
                      <a:pt x="133" y="73"/>
                      <a:pt x="133" y="73"/>
                      <a:pt x="133" y="73"/>
                    </a:cubicBezTo>
                    <a:cubicBezTo>
                      <a:pt x="130" y="64"/>
                      <a:pt x="130" y="64"/>
                      <a:pt x="130" y="64"/>
                    </a:cubicBezTo>
                    <a:cubicBezTo>
                      <a:pt x="115" y="67"/>
                      <a:pt x="73" y="73"/>
                      <a:pt x="55" y="76"/>
                    </a:cubicBezTo>
                    <a:cubicBezTo>
                      <a:pt x="40" y="76"/>
                      <a:pt x="15" y="76"/>
                      <a:pt x="6" y="70"/>
                    </a:cubicBezTo>
                    <a:cubicBezTo>
                      <a:pt x="3" y="70"/>
                      <a:pt x="0" y="67"/>
                      <a:pt x="0" y="64"/>
                    </a:cubicBezTo>
                    <a:cubicBezTo>
                      <a:pt x="3" y="40"/>
                      <a:pt x="94" y="28"/>
                      <a:pt x="115" y="0"/>
                    </a:cubicBezTo>
                    <a:cubicBezTo>
                      <a:pt x="118" y="0"/>
                      <a:pt x="118" y="0"/>
                      <a:pt x="118" y="0"/>
                    </a:cubicBezTo>
                    <a:cubicBezTo>
                      <a:pt x="124" y="6"/>
                      <a:pt x="133" y="18"/>
                      <a:pt x="148" y="18"/>
                    </a:cubicBezTo>
                    <a:cubicBezTo>
                      <a:pt x="160" y="18"/>
                      <a:pt x="176" y="3"/>
                      <a:pt x="182" y="0"/>
                    </a:cubicBezTo>
                    <a:cubicBezTo>
                      <a:pt x="188" y="6"/>
                      <a:pt x="191" y="67"/>
                      <a:pt x="191" y="7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13" name="Freeform: Shape 812">
                <a:extLst>
                  <a:ext uri="{FF2B5EF4-FFF2-40B4-BE49-F238E27FC236}">
                    <a16:creationId xmlns:a16="http://schemas.microsoft.com/office/drawing/2014/main" id="{9E4D7A7A-97A4-4FC0-B7BC-F8ECADC915A4}"/>
                  </a:ext>
                </a:extLst>
              </p:cNvPr>
              <p:cNvSpPr>
                <a:spLocks/>
              </p:cNvSpPr>
              <p:nvPr/>
            </p:nvSpPr>
            <p:spPr bwMode="auto">
              <a:xfrm>
                <a:off x="1488443" y="1815116"/>
                <a:ext cx="139856" cy="697314"/>
              </a:xfrm>
              <a:custGeom>
                <a:avLst/>
                <a:gdLst>
                  <a:gd name="connsiteX0" fmla="*/ 0 w 857825"/>
                  <a:gd name="connsiteY0" fmla="*/ 0 h 4277073"/>
                  <a:gd name="connsiteX1" fmla="*/ 857825 w 857825"/>
                  <a:gd name="connsiteY1" fmla="*/ 605806 h 4277073"/>
                  <a:gd name="connsiteX2" fmla="*/ 576039 w 857825"/>
                  <a:gd name="connsiteY2" fmla="*/ 2488265 h 4277073"/>
                  <a:gd name="connsiteX3" fmla="*/ 590878 w 857825"/>
                  <a:gd name="connsiteY3" fmla="*/ 4252922 h 4277073"/>
                  <a:gd name="connsiteX4" fmla="*/ 116679 w 857825"/>
                  <a:gd name="connsiteY4" fmla="*/ 4277073 h 4277073"/>
                  <a:gd name="connsiteX5" fmla="*/ 11586 w 857825"/>
                  <a:gd name="connsiteY5" fmla="*/ 2433974 h 4277073"/>
                  <a:gd name="connsiteX6" fmla="*/ 17752 w 857825"/>
                  <a:gd name="connsiteY6" fmla="*/ 2433813 h 4277073"/>
                  <a:gd name="connsiteX7" fmla="*/ 15344 w 857825"/>
                  <a:gd name="connsiteY7" fmla="*/ 1925340 h 4277073"/>
                  <a:gd name="connsiteX8" fmla="*/ 0 w 857825"/>
                  <a:gd name="connsiteY8" fmla="*/ 0 h 4277073"/>
                  <a:gd name="connsiteX0" fmla="*/ 0 w 857825"/>
                  <a:gd name="connsiteY0" fmla="*/ 0 h 4277073"/>
                  <a:gd name="connsiteX1" fmla="*/ 857825 w 857825"/>
                  <a:gd name="connsiteY1" fmla="*/ 605806 h 4277073"/>
                  <a:gd name="connsiteX2" fmla="*/ 576039 w 857825"/>
                  <a:gd name="connsiteY2" fmla="*/ 2488265 h 4277073"/>
                  <a:gd name="connsiteX3" fmla="*/ 590878 w 857825"/>
                  <a:gd name="connsiteY3" fmla="*/ 4252922 h 4277073"/>
                  <a:gd name="connsiteX4" fmla="*/ 116679 w 857825"/>
                  <a:gd name="connsiteY4" fmla="*/ 4277073 h 4277073"/>
                  <a:gd name="connsiteX5" fmla="*/ 11586 w 857825"/>
                  <a:gd name="connsiteY5" fmla="*/ 2433974 h 4277073"/>
                  <a:gd name="connsiteX6" fmla="*/ 15344 w 857825"/>
                  <a:gd name="connsiteY6" fmla="*/ 1925340 h 4277073"/>
                  <a:gd name="connsiteX7" fmla="*/ 0 w 857825"/>
                  <a:gd name="connsiteY7" fmla="*/ 0 h 4277073"/>
                  <a:gd name="connsiteX0" fmla="*/ 0 w 857825"/>
                  <a:gd name="connsiteY0" fmla="*/ 0 h 4277073"/>
                  <a:gd name="connsiteX1" fmla="*/ 857825 w 857825"/>
                  <a:gd name="connsiteY1" fmla="*/ 605806 h 4277073"/>
                  <a:gd name="connsiteX2" fmla="*/ 576039 w 857825"/>
                  <a:gd name="connsiteY2" fmla="*/ 2488265 h 4277073"/>
                  <a:gd name="connsiteX3" fmla="*/ 590878 w 857825"/>
                  <a:gd name="connsiteY3" fmla="*/ 4252922 h 4277073"/>
                  <a:gd name="connsiteX4" fmla="*/ 151734 w 857825"/>
                  <a:gd name="connsiteY4" fmla="*/ 4277073 h 4277073"/>
                  <a:gd name="connsiteX5" fmla="*/ 11586 w 857825"/>
                  <a:gd name="connsiteY5" fmla="*/ 2433974 h 4277073"/>
                  <a:gd name="connsiteX6" fmla="*/ 15344 w 857825"/>
                  <a:gd name="connsiteY6" fmla="*/ 1925340 h 4277073"/>
                  <a:gd name="connsiteX7" fmla="*/ 0 w 857825"/>
                  <a:gd name="connsiteY7" fmla="*/ 0 h 4277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825" h="4277073">
                    <a:moveTo>
                      <a:pt x="0" y="0"/>
                    </a:moveTo>
                    <a:lnTo>
                      <a:pt x="857825" y="605806"/>
                    </a:lnTo>
                    <a:lnTo>
                      <a:pt x="576039" y="2488265"/>
                    </a:lnTo>
                    <a:lnTo>
                      <a:pt x="590878" y="4252922"/>
                    </a:lnTo>
                    <a:lnTo>
                      <a:pt x="151734" y="4277073"/>
                    </a:lnTo>
                    <a:lnTo>
                      <a:pt x="11586" y="2433974"/>
                    </a:lnTo>
                    <a:cubicBezTo>
                      <a:pt x="12839" y="2264429"/>
                      <a:pt x="14091" y="2094885"/>
                      <a:pt x="15344" y="1925340"/>
                    </a:cubicBezTo>
                    <a:cubicBezTo>
                      <a:pt x="10230" y="1283560"/>
                      <a:pt x="193" y="588855"/>
                      <a:pt x="0"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14" name="Freeform 11">
                <a:extLst>
                  <a:ext uri="{FF2B5EF4-FFF2-40B4-BE49-F238E27FC236}">
                    <a16:creationId xmlns:a16="http://schemas.microsoft.com/office/drawing/2014/main" id="{F8B77154-787E-466E-A65A-22A26354F05A}"/>
                  </a:ext>
                </a:extLst>
              </p:cNvPr>
              <p:cNvSpPr>
                <a:spLocks/>
              </p:cNvSpPr>
              <p:nvPr/>
            </p:nvSpPr>
            <p:spPr bwMode="auto">
              <a:xfrm>
                <a:off x="1634995" y="2510199"/>
                <a:ext cx="174083" cy="69186"/>
              </a:xfrm>
              <a:custGeom>
                <a:avLst/>
                <a:gdLst>
                  <a:gd name="T0" fmla="*/ 0 w 197"/>
                  <a:gd name="T1" fmla="*/ 73 h 79"/>
                  <a:gd name="T2" fmla="*/ 59 w 197"/>
                  <a:gd name="T3" fmla="*/ 76 h 79"/>
                  <a:gd name="T4" fmla="*/ 63 w 197"/>
                  <a:gd name="T5" fmla="*/ 66 h 79"/>
                  <a:gd name="T6" fmla="*/ 144 w 197"/>
                  <a:gd name="T7" fmla="*/ 79 h 79"/>
                  <a:gd name="T8" fmla="*/ 193 w 197"/>
                  <a:gd name="T9" fmla="*/ 73 h 79"/>
                  <a:gd name="T10" fmla="*/ 197 w 197"/>
                  <a:gd name="T11" fmla="*/ 66 h 79"/>
                  <a:gd name="T12" fmla="*/ 78 w 197"/>
                  <a:gd name="T13" fmla="*/ 0 h 79"/>
                  <a:gd name="T14" fmla="*/ 75 w 197"/>
                  <a:gd name="T15" fmla="*/ 0 h 79"/>
                  <a:gd name="T16" fmla="*/ 47 w 197"/>
                  <a:gd name="T17" fmla="*/ 19 h 79"/>
                  <a:gd name="T18" fmla="*/ 13 w 197"/>
                  <a:gd name="T19" fmla="*/ 0 h 79"/>
                  <a:gd name="T20" fmla="*/ 0 w 197"/>
                  <a:gd name="T21" fmla="*/ 7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79">
                    <a:moveTo>
                      <a:pt x="0" y="73"/>
                    </a:moveTo>
                    <a:cubicBezTo>
                      <a:pt x="59" y="76"/>
                      <a:pt x="59" y="76"/>
                      <a:pt x="59" y="76"/>
                    </a:cubicBezTo>
                    <a:cubicBezTo>
                      <a:pt x="63" y="66"/>
                      <a:pt x="63" y="66"/>
                      <a:pt x="63" y="66"/>
                    </a:cubicBezTo>
                    <a:cubicBezTo>
                      <a:pt x="81" y="69"/>
                      <a:pt x="122" y="76"/>
                      <a:pt x="144" y="79"/>
                    </a:cubicBezTo>
                    <a:cubicBezTo>
                      <a:pt x="159" y="79"/>
                      <a:pt x="181" y="79"/>
                      <a:pt x="193" y="73"/>
                    </a:cubicBezTo>
                    <a:cubicBezTo>
                      <a:pt x="193" y="73"/>
                      <a:pt x="197" y="69"/>
                      <a:pt x="197" y="66"/>
                    </a:cubicBezTo>
                    <a:cubicBezTo>
                      <a:pt x="197" y="41"/>
                      <a:pt x="103" y="29"/>
                      <a:pt x="78" y="0"/>
                    </a:cubicBezTo>
                    <a:cubicBezTo>
                      <a:pt x="75" y="0"/>
                      <a:pt x="75" y="0"/>
                      <a:pt x="75" y="0"/>
                    </a:cubicBezTo>
                    <a:cubicBezTo>
                      <a:pt x="69" y="7"/>
                      <a:pt x="63" y="19"/>
                      <a:pt x="47" y="19"/>
                    </a:cubicBezTo>
                    <a:cubicBezTo>
                      <a:pt x="31" y="19"/>
                      <a:pt x="19" y="4"/>
                      <a:pt x="13" y="0"/>
                    </a:cubicBezTo>
                    <a:cubicBezTo>
                      <a:pt x="3" y="7"/>
                      <a:pt x="0" y="69"/>
                      <a:pt x="0" y="7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15" name="Freeform: Shape 814">
                <a:extLst>
                  <a:ext uri="{FF2B5EF4-FFF2-40B4-BE49-F238E27FC236}">
                    <a16:creationId xmlns:a16="http://schemas.microsoft.com/office/drawing/2014/main" id="{A0C410EF-1EDC-4452-B249-871B1A1E16EB}"/>
                  </a:ext>
                </a:extLst>
              </p:cNvPr>
              <p:cNvSpPr>
                <a:spLocks/>
              </p:cNvSpPr>
              <p:nvPr/>
            </p:nvSpPr>
            <p:spPr bwMode="auto">
              <a:xfrm>
                <a:off x="1563575" y="1836475"/>
                <a:ext cx="157064" cy="666145"/>
              </a:xfrm>
              <a:custGeom>
                <a:avLst/>
                <a:gdLst>
                  <a:gd name="connsiteX0" fmla="*/ 930855 w 981069"/>
                  <a:gd name="connsiteY0" fmla="*/ 0 h 4085895"/>
                  <a:gd name="connsiteX1" fmla="*/ 961220 w 981069"/>
                  <a:gd name="connsiteY1" fmla="*/ 2159419 h 4085895"/>
                  <a:gd name="connsiteX2" fmla="*/ 962788 w 981069"/>
                  <a:gd name="connsiteY2" fmla="*/ 2159338 h 4085895"/>
                  <a:gd name="connsiteX3" fmla="*/ 981069 w 981069"/>
                  <a:gd name="connsiteY3" fmla="*/ 4060972 h 4085895"/>
                  <a:gd name="connsiteX4" fmla="*/ 488227 w 981069"/>
                  <a:gd name="connsiteY4" fmla="*/ 4085895 h 4085895"/>
                  <a:gd name="connsiteX5" fmla="*/ 403764 w 981069"/>
                  <a:gd name="connsiteY5" fmla="*/ 2329450 h 4085895"/>
                  <a:gd name="connsiteX6" fmla="*/ 402459 w 981069"/>
                  <a:gd name="connsiteY6" fmla="*/ 2329581 h 4085895"/>
                  <a:gd name="connsiteX7" fmla="*/ 0 w 981069"/>
                  <a:gd name="connsiteY7" fmla="*/ 619903 h 4085895"/>
                  <a:gd name="connsiteX0" fmla="*/ 930855 w 963373"/>
                  <a:gd name="connsiteY0" fmla="*/ 0 h 4085895"/>
                  <a:gd name="connsiteX1" fmla="*/ 961220 w 963373"/>
                  <a:gd name="connsiteY1" fmla="*/ 2159419 h 4085895"/>
                  <a:gd name="connsiteX2" fmla="*/ 962788 w 963373"/>
                  <a:gd name="connsiteY2" fmla="*/ 2159338 h 4085895"/>
                  <a:gd name="connsiteX3" fmla="*/ 899277 w 963373"/>
                  <a:gd name="connsiteY3" fmla="*/ 4072659 h 4085895"/>
                  <a:gd name="connsiteX4" fmla="*/ 488227 w 963373"/>
                  <a:gd name="connsiteY4" fmla="*/ 4085895 h 4085895"/>
                  <a:gd name="connsiteX5" fmla="*/ 403764 w 963373"/>
                  <a:gd name="connsiteY5" fmla="*/ 2329450 h 4085895"/>
                  <a:gd name="connsiteX6" fmla="*/ 402459 w 963373"/>
                  <a:gd name="connsiteY6" fmla="*/ 2329581 h 4085895"/>
                  <a:gd name="connsiteX7" fmla="*/ 0 w 963373"/>
                  <a:gd name="connsiteY7" fmla="*/ 619903 h 4085895"/>
                  <a:gd name="connsiteX8" fmla="*/ 930855 w 963373"/>
                  <a:gd name="connsiteY8" fmla="*/ 0 h 408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373" h="4085895">
                    <a:moveTo>
                      <a:pt x="930855" y="0"/>
                    </a:moveTo>
                    <a:lnTo>
                      <a:pt x="961220" y="2159419"/>
                    </a:lnTo>
                    <a:lnTo>
                      <a:pt x="962788" y="2159338"/>
                    </a:lnTo>
                    <a:cubicBezTo>
                      <a:pt x="970965" y="2792194"/>
                      <a:pt x="891100" y="3439804"/>
                      <a:pt x="899277" y="4072659"/>
                    </a:cubicBezTo>
                    <a:lnTo>
                      <a:pt x="488227" y="4085895"/>
                    </a:lnTo>
                    <a:lnTo>
                      <a:pt x="403764" y="2329450"/>
                    </a:lnTo>
                    <a:lnTo>
                      <a:pt x="402459" y="2329581"/>
                    </a:lnTo>
                    <a:lnTo>
                      <a:pt x="0" y="619903"/>
                    </a:lnTo>
                    <a:lnTo>
                      <a:pt x="93085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16" name="Freeform 14">
                <a:extLst>
                  <a:ext uri="{FF2B5EF4-FFF2-40B4-BE49-F238E27FC236}">
                    <a16:creationId xmlns:a16="http://schemas.microsoft.com/office/drawing/2014/main" id="{ADE7834F-EFE0-4E97-9AB0-3787B196EDEF}"/>
                  </a:ext>
                </a:extLst>
              </p:cNvPr>
              <p:cNvSpPr>
                <a:spLocks/>
              </p:cNvSpPr>
              <p:nvPr/>
            </p:nvSpPr>
            <p:spPr bwMode="auto">
              <a:xfrm>
                <a:off x="1690046" y="1585236"/>
                <a:ext cx="119031" cy="245503"/>
              </a:xfrm>
              <a:custGeom>
                <a:avLst/>
                <a:gdLst>
                  <a:gd name="T0" fmla="*/ 99 w 135"/>
                  <a:gd name="T1" fmla="*/ 279 h 279"/>
                  <a:gd name="T2" fmla="*/ 65 w 135"/>
                  <a:gd name="T3" fmla="*/ 251 h 279"/>
                  <a:gd name="T4" fmla="*/ 15 w 135"/>
                  <a:gd name="T5" fmla="*/ 77 h 279"/>
                  <a:gd name="T6" fmla="*/ 6 w 135"/>
                  <a:gd name="T7" fmla="*/ 48 h 279"/>
                  <a:gd name="T8" fmla="*/ 27 w 135"/>
                  <a:gd name="T9" fmla="*/ 5 h 279"/>
                  <a:gd name="T10" fmla="*/ 70 w 135"/>
                  <a:gd name="T11" fmla="*/ 27 h 279"/>
                  <a:gd name="T12" fmla="*/ 80 w 135"/>
                  <a:gd name="T13" fmla="*/ 55 h 279"/>
                  <a:gd name="T14" fmla="*/ 132 w 135"/>
                  <a:gd name="T15" fmla="*/ 239 h 279"/>
                  <a:gd name="T16" fmla="*/ 105 w 135"/>
                  <a:gd name="T17" fmla="*/ 278 h 279"/>
                  <a:gd name="T18" fmla="*/ 99 w 135"/>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79">
                    <a:moveTo>
                      <a:pt x="99" y="279"/>
                    </a:moveTo>
                    <a:cubicBezTo>
                      <a:pt x="83" y="279"/>
                      <a:pt x="68" y="267"/>
                      <a:pt x="65" y="251"/>
                    </a:cubicBezTo>
                    <a:cubicBezTo>
                      <a:pt x="53" y="188"/>
                      <a:pt x="32" y="124"/>
                      <a:pt x="15" y="77"/>
                    </a:cubicBezTo>
                    <a:cubicBezTo>
                      <a:pt x="12" y="67"/>
                      <a:pt x="8" y="57"/>
                      <a:pt x="6" y="48"/>
                    </a:cubicBezTo>
                    <a:cubicBezTo>
                      <a:pt x="0" y="31"/>
                      <a:pt x="9" y="11"/>
                      <a:pt x="27" y="5"/>
                    </a:cubicBezTo>
                    <a:cubicBezTo>
                      <a:pt x="45" y="0"/>
                      <a:pt x="64" y="9"/>
                      <a:pt x="70" y="27"/>
                    </a:cubicBezTo>
                    <a:cubicBezTo>
                      <a:pt x="73" y="36"/>
                      <a:pt x="76" y="45"/>
                      <a:pt x="80" y="55"/>
                    </a:cubicBezTo>
                    <a:cubicBezTo>
                      <a:pt x="96" y="104"/>
                      <a:pt x="119" y="170"/>
                      <a:pt x="132" y="239"/>
                    </a:cubicBezTo>
                    <a:cubicBezTo>
                      <a:pt x="135" y="257"/>
                      <a:pt x="123" y="275"/>
                      <a:pt x="105" y="278"/>
                    </a:cubicBezTo>
                    <a:cubicBezTo>
                      <a:pt x="103" y="279"/>
                      <a:pt x="101" y="279"/>
                      <a:pt x="99" y="279"/>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17" name="Freeform 15">
                <a:extLst>
                  <a:ext uri="{FF2B5EF4-FFF2-40B4-BE49-F238E27FC236}">
                    <a16:creationId xmlns:a16="http://schemas.microsoft.com/office/drawing/2014/main" id="{F3230043-973C-4CAD-8610-C398942B7ECA}"/>
                  </a:ext>
                </a:extLst>
              </p:cNvPr>
              <p:cNvSpPr>
                <a:spLocks/>
              </p:cNvSpPr>
              <p:nvPr/>
            </p:nvSpPr>
            <p:spPr bwMode="auto">
              <a:xfrm>
                <a:off x="1579198" y="1548039"/>
                <a:ext cx="35709" cy="30502"/>
              </a:xfrm>
              <a:custGeom>
                <a:avLst/>
                <a:gdLst>
                  <a:gd name="T0" fmla="*/ 48 w 48"/>
                  <a:gd name="T1" fmla="*/ 30 h 41"/>
                  <a:gd name="T2" fmla="*/ 44 w 48"/>
                  <a:gd name="T3" fmla="*/ 0 h 41"/>
                  <a:gd name="T4" fmla="*/ 0 w 48"/>
                  <a:gd name="T5" fmla="*/ 9 h 41"/>
                  <a:gd name="T6" fmla="*/ 0 w 48"/>
                  <a:gd name="T7" fmla="*/ 34 h 41"/>
                  <a:gd name="T8" fmla="*/ 44 w 48"/>
                  <a:gd name="T9" fmla="*/ 41 h 41"/>
                  <a:gd name="T10" fmla="*/ 48 w 48"/>
                  <a:gd name="T11" fmla="*/ 30 h 41"/>
                </a:gdLst>
                <a:ahLst/>
                <a:cxnLst>
                  <a:cxn ang="0">
                    <a:pos x="T0" y="T1"/>
                  </a:cxn>
                  <a:cxn ang="0">
                    <a:pos x="T2" y="T3"/>
                  </a:cxn>
                  <a:cxn ang="0">
                    <a:pos x="T4" y="T5"/>
                  </a:cxn>
                  <a:cxn ang="0">
                    <a:pos x="T6" y="T7"/>
                  </a:cxn>
                  <a:cxn ang="0">
                    <a:pos x="T8" y="T9"/>
                  </a:cxn>
                  <a:cxn ang="0">
                    <a:pos x="T10" y="T11"/>
                  </a:cxn>
                </a:cxnLst>
                <a:rect l="0" t="0" r="r" b="b"/>
                <a:pathLst>
                  <a:path w="48" h="41">
                    <a:moveTo>
                      <a:pt x="48" y="30"/>
                    </a:moveTo>
                    <a:lnTo>
                      <a:pt x="44" y="0"/>
                    </a:lnTo>
                    <a:lnTo>
                      <a:pt x="0" y="9"/>
                    </a:lnTo>
                    <a:lnTo>
                      <a:pt x="0" y="34"/>
                    </a:lnTo>
                    <a:lnTo>
                      <a:pt x="44" y="41"/>
                    </a:lnTo>
                    <a:lnTo>
                      <a:pt x="48" y="3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18" name="Freeform 16">
                <a:extLst>
                  <a:ext uri="{FF2B5EF4-FFF2-40B4-BE49-F238E27FC236}">
                    <a16:creationId xmlns:a16="http://schemas.microsoft.com/office/drawing/2014/main" id="{2C9D8129-C9AB-47C4-80AD-C64636E4CE57}"/>
                  </a:ext>
                </a:extLst>
              </p:cNvPr>
              <p:cNvSpPr>
                <a:spLocks/>
              </p:cNvSpPr>
              <p:nvPr/>
            </p:nvSpPr>
            <p:spPr bwMode="auto">
              <a:xfrm>
                <a:off x="1408089" y="1562174"/>
                <a:ext cx="85554" cy="252943"/>
              </a:xfrm>
              <a:custGeom>
                <a:avLst/>
                <a:gdLst>
                  <a:gd name="T0" fmla="*/ 36 w 97"/>
                  <a:gd name="T1" fmla="*/ 287 h 287"/>
                  <a:gd name="T2" fmla="*/ 32 w 97"/>
                  <a:gd name="T3" fmla="*/ 287 h 287"/>
                  <a:gd name="T4" fmla="*/ 2 w 97"/>
                  <a:gd name="T5" fmla="*/ 249 h 287"/>
                  <a:gd name="T6" fmla="*/ 7 w 97"/>
                  <a:gd name="T7" fmla="*/ 204 h 287"/>
                  <a:gd name="T8" fmla="*/ 27 w 97"/>
                  <a:gd name="T9" fmla="*/ 31 h 287"/>
                  <a:gd name="T10" fmla="*/ 66 w 97"/>
                  <a:gd name="T11" fmla="*/ 3 h 287"/>
                  <a:gd name="T12" fmla="*/ 94 w 97"/>
                  <a:gd name="T13" fmla="*/ 42 h 287"/>
                  <a:gd name="T14" fmla="*/ 74 w 97"/>
                  <a:gd name="T15" fmla="*/ 212 h 287"/>
                  <a:gd name="T16" fmla="*/ 69 w 97"/>
                  <a:gd name="T17" fmla="*/ 257 h 287"/>
                  <a:gd name="T18" fmla="*/ 36 w 97"/>
                  <a:gd name="T19"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287">
                    <a:moveTo>
                      <a:pt x="36" y="287"/>
                    </a:moveTo>
                    <a:cubicBezTo>
                      <a:pt x="34" y="287"/>
                      <a:pt x="33" y="287"/>
                      <a:pt x="32" y="287"/>
                    </a:cubicBezTo>
                    <a:cubicBezTo>
                      <a:pt x="13" y="285"/>
                      <a:pt x="0" y="268"/>
                      <a:pt x="2" y="249"/>
                    </a:cubicBezTo>
                    <a:cubicBezTo>
                      <a:pt x="3" y="241"/>
                      <a:pt x="5" y="225"/>
                      <a:pt x="7" y="204"/>
                    </a:cubicBezTo>
                    <a:cubicBezTo>
                      <a:pt x="16" y="123"/>
                      <a:pt x="24" y="49"/>
                      <a:pt x="27" y="31"/>
                    </a:cubicBezTo>
                    <a:cubicBezTo>
                      <a:pt x="30" y="12"/>
                      <a:pt x="48" y="0"/>
                      <a:pt x="66" y="3"/>
                    </a:cubicBezTo>
                    <a:cubicBezTo>
                      <a:pt x="85" y="6"/>
                      <a:pt x="97" y="23"/>
                      <a:pt x="94" y="42"/>
                    </a:cubicBezTo>
                    <a:cubicBezTo>
                      <a:pt x="91" y="59"/>
                      <a:pt x="81" y="155"/>
                      <a:pt x="74" y="212"/>
                    </a:cubicBezTo>
                    <a:cubicBezTo>
                      <a:pt x="72" y="232"/>
                      <a:pt x="70" y="249"/>
                      <a:pt x="69" y="257"/>
                    </a:cubicBezTo>
                    <a:cubicBezTo>
                      <a:pt x="67" y="275"/>
                      <a:pt x="53" y="287"/>
                      <a:pt x="36" y="287"/>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19" name="Freeform 17">
                <a:extLst>
                  <a:ext uri="{FF2B5EF4-FFF2-40B4-BE49-F238E27FC236}">
                    <a16:creationId xmlns:a16="http://schemas.microsoft.com/office/drawing/2014/main" id="{8E8CDD7C-EC8D-44D0-8804-5244F3678BEC}"/>
                  </a:ext>
                </a:extLst>
              </p:cNvPr>
              <p:cNvSpPr>
                <a:spLocks/>
              </p:cNvSpPr>
              <p:nvPr/>
            </p:nvSpPr>
            <p:spPr bwMode="auto">
              <a:xfrm>
                <a:off x="1601515" y="1507121"/>
                <a:ext cx="145813" cy="114568"/>
              </a:xfrm>
              <a:custGeom>
                <a:avLst/>
                <a:gdLst>
                  <a:gd name="T0" fmla="*/ 162 w 196"/>
                  <a:gd name="T1" fmla="*/ 154 h 154"/>
                  <a:gd name="T2" fmla="*/ 0 w 196"/>
                  <a:gd name="T3" fmla="*/ 92 h 154"/>
                  <a:gd name="T4" fmla="*/ 36 w 196"/>
                  <a:gd name="T5" fmla="*/ 0 h 154"/>
                  <a:gd name="T6" fmla="*/ 196 w 196"/>
                  <a:gd name="T7" fmla="*/ 61 h 154"/>
                  <a:gd name="T8" fmla="*/ 162 w 196"/>
                  <a:gd name="T9" fmla="*/ 154 h 154"/>
                </a:gdLst>
                <a:ahLst/>
                <a:cxnLst>
                  <a:cxn ang="0">
                    <a:pos x="T0" y="T1"/>
                  </a:cxn>
                  <a:cxn ang="0">
                    <a:pos x="T2" y="T3"/>
                  </a:cxn>
                  <a:cxn ang="0">
                    <a:pos x="T4" y="T5"/>
                  </a:cxn>
                  <a:cxn ang="0">
                    <a:pos x="T6" y="T7"/>
                  </a:cxn>
                  <a:cxn ang="0">
                    <a:pos x="T8" y="T9"/>
                  </a:cxn>
                </a:cxnLst>
                <a:rect l="0" t="0" r="r" b="b"/>
                <a:pathLst>
                  <a:path w="196" h="154">
                    <a:moveTo>
                      <a:pt x="162" y="154"/>
                    </a:moveTo>
                    <a:lnTo>
                      <a:pt x="0" y="92"/>
                    </a:lnTo>
                    <a:lnTo>
                      <a:pt x="36" y="0"/>
                    </a:lnTo>
                    <a:lnTo>
                      <a:pt x="196" y="61"/>
                    </a:lnTo>
                    <a:lnTo>
                      <a:pt x="162" y="15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20" name="Freeform 18">
                <a:extLst>
                  <a:ext uri="{FF2B5EF4-FFF2-40B4-BE49-F238E27FC236}">
                    <a16:creationId xmlns:a16="http://schemas.microsoft.com/office/drawing/2014/main" id="{6F2B7AE9-5068-4BDB-8501-36AA7EBBD9F5}"/>
                  </a:ext>
                </a:extLst>
              </p:cNvPr>
              <p:cNvSpPr>
                <a:spLocks/>
              </p:cNvSpPr>
              <p:nvPr/>
            </p:nvSpPr>
            <p:spPr bwMode="auto">
              <a:xfrm>
                <a:off x="1698229" y="1580772"/>
                <a:ext cx="95970" cy="139118"/>
              </a:xfrm>
              <a:custGeom>
                <a:avLst/>
                <a:gdLst>
                  <a:gd name="T0" fmla="*/ 26 w 109"/>
                  <a:gd name="T1" fmla="*/ 158 h 158"/>
                  <a:gd name="T2" fmla="*/ 8 w 109"/>
                  <a:gd name="T3" fmla="*/ 55 h 158"/>
                  <a:gd name="T4" fmla="*/ 0 w 109"/>
                  <a:gd name="T5" fmla="*/ 14 h 158"/>
                  <a:gd name="T6" fmla="*/ 83 w 109"/>
                  <a:gd name="T7" fmla="*/ 0 h 158"/>
                  <a:gd name="T8" fmla="*/ 90 w 109"/>
                  <a:gd name="T9" fmla="*/ 40 h 158"/>
                  <a:gd name="T10" fmla="*/ 109 w 109"/>
                  <a:gd name="T11" fmla="*/ 148 h 158"/>
                  <a:gd name="T12" fmla="*/ 26 w 109"/>
                  <a:gd name="T13" fmla="*/ 158 h 158"/>
                </a:gdLst>
                <a:ahLst/>
                <a:cxnLst>
                  <a:cxn ang="0">
                    <a:pos x="T0" y="T1"/>
                  </a:cxn>
                  <a:cxn ang="0">
                    <a:pos x="T2" y="T3"/>
                  </a:cxn>
                  <a:cxn ang="0">
                    <a:pos x="T4" y="T5"/>
                  </a:cxn>
                  <a:cxn ang="0">
                    <a:pos x="T6" y="T7"/>
                  </a:cxn>
                  <a:cxn ang="0">
                    <a:pos x="T8" y="T9"/>
                  </a:cxn>
                  <a:cxn ang="0">
                    <a:pos x="T10" y="T11"/>
                  </a:cxn>
                  <a:cxn ang="0">
                    <a:pos x="T12" y="T13"/>
                  </a:cxn>
                </a:cxnLst>
                <a:rect l="0" t="0" r="r" b="b"/>
                <a:pathLst>
                  <a:path w="109" h="158">
                    <a:moveTo>
                      <a:pt x="26" y="158"/>
                    </a:moveTo>
                    <a:cubicBezTo>
                      <a:pt x="23" y="138"/>
                      <a:pt x="14" y="90"/>
                      <a:pt x="8" y="55"/>
                    </a:cubicBezTo>
                    <a:cubicBezTo>
                      <a:pt x="5" y="37"/>
                      <a:pt x="2" y="22"/>
                      <a:pt x="0" y="14"/>
                    </a:cubicBezTo>
                    <a:cubicBezTo>
                      <a:pt x="83" y="0"/>
                      <a:pt x="83" y="0"/>
                      <a:pt x="83" y="0"/>
                    </a:cubicBezTo>
                    <a:cubicBezTo>
                      <a:pt x="84" y="8"/>
                      <a:pt x="87" y="22"/>
                      <a:pt x="90" y="40"/>
                    </a:cubicBezTo>
                    <a:cubicBezTo>
                      <a:pt x="97" y="78"/>
                      <a:pt x="106" y="126"/>
                      <a:pt x="109" y="148"/>
                    </a:cubicBezTo>
                    <a:lnTo>
                      <a:pt x="26" y="15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21" name="Freeform 19">
                <a:extLst>
                  <a:ext uri="{FF2B5EF4-FFF2-40B4-BE49-F238E27FC236}">
                    <a16:creationId xmlns:a16="http://schemas.microsoft.com/office/drawing/2014/main" id="{3214C6BB-698F-498F-BB4E-A71DF35D06CD}"/>
                  </a:ext>
                </a:extLst>
              </p:cNvPr>
              <p:cNvSpPr>
                <a:spLocks/>
              </p:cNvSpPr>
              <p:nvPr/>
            </p:nvSpPr>
            <p:spPr bwMode="auto">
              <a:xfrm>
                <a:off x="1410321" y="1574820"/>
                <a:ext cx="95970" cy="136142"/>
              </a:xfrm>
              <a:custGeom>
                <a:avLst/>
                <a:gdLst>
                  <a:gd name="T0" fmla="*/ 83 w 108"/>
                  <a:gd name="T1" fmla="*/ 155 h 155"/>
                  <a:gd name="T2" fmla="*/ 0 w 108"/>
                  <a:gd name="T3" fmla="*/ 145 h 155"/>
                  <a:gd name="T4" fmla="*/ 18 w 108"/>
                  <a:gd name="T5" fmla="*/ 41 h 155"/>
                  <a:gd name="T6" fmla="*/ 26 w 108"/>
                  <a:gd name="T7" fmla="*/ 0 h 155"/>
                  <a:gd name="T8" fmla="*/ 108 w 108"/>
                  <a:gd name="T9" fmla="*/ 14 h 155"/>
                  <a:gd name="T10" fmla="*/ 100 w 108"/>
                  <a:gd name="T11" fmla="*/ 57 h 155"/>
                  <a:gd name="T12" fmla="*/ 83 w 108"/>
                  <a:gd name="T13" fmla="*/ 155 h 155"/>
                </a:gdLst>
                <a:ahLst/>
                <a:cxnLst>
                  <a:cxn ang="0">
                    <a:pos x="T0" y="T1"/>
                  </a:cxn>
                  <a:cxn ang="0">
                    <a:pos x="T2" y="T3"/>
                  </a:cxn>
                  <a:cxn ang="0">
                    <a:pos x="T4" y="T5"/>
                  </a:cxn>
                  <a:cxn ang="0">
                    <a:pos x="T6" y="T7"/>
                  </a:cxn>
                  <a:cxn ang="0">
                    <a:pos x="T8" y="T9"/>
                  </a:cxn>
                  <a:cxn ang="0">
                    <a:pos x="T10" y="T11"/>
                  </a:cxn>
                  <a:cxn ang="0">
                    <a:pos x="T12" y="T13"/>
                  </a:cxn>
                </a:cxnLst>
                <a:rect l="0" t="0" r="r" b="b"/>
                <a:pathLst>
                  <a:path w="108" h="155">
                    <a:moveTo>
                      <a:pt x="83" y="155"/>
                    </a:moveTo>
                    <a:cubicBezTo>
                      <a:pt x="0" y="145"/>
                      <a:pt x="0" y="145"/>
                      <a:pt x="0" y="145"/>
                    </a:cubicBezTo>
                    <a:cubicBezTo>
                      <a:pt x="3" y="123"/>
                      <a:pt x="11" y="77"/>
                      <a:pt x="18" y="41"/>
                    </a:cubicBezTo>
                    <a:cubicBezTo>
                      <a:pt x="22" y="23"/>
                      <a:pt x="25" y="8"/>
                      <a:pt x="26" y="0"/>
                    </a:cubicBezTo>
                    <a:cubicBezTo>
                      <a:pt x="108" y="14"/>
                      <a:pt x="108" y="14"/>
                      <a:pt x="108" y="14"/>
                    </a:cubicBezTo>
                    <a:cubicBezTo>
                      <a:pt x="107" y="22"/>
                      <a:pt x="104" y="38"/>
                      <a:pt x="100" y="57"/>
                    </a:cubicBezTo>
                    <a:cubicBezTo>
                      <a:pt x="94" y="90"/>
                      <a:pt x="85" y="135"/>
                      <a:pt x="83" y="155"/>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22" name="Freeform 20">
                <a:extLst>
                  <a:ext uri="{FF2B5EF4-FFF2-40B4-BE49-F238E27FC236}">
                    <a16:creationId xmlns:a16="http://schemas.microsoft.com/office/drawing/2014/main" id="{4C919F9F-F1BD-4141-B07C-610365EBE4EA}"/>
                  </a:ext>
                </a:extLst>
              </p:cNvPr>
              <p:cNvSpPr>
                <a:spLocks/>
              </p:cNvSpPr>
              <p:nvPr/>
            </p:nvSpPr>
            <p:spPr bwMode="auto">
              <a:xfrm>
                <a:off x="1693765" y="1545807"/>
                <a:ext cx="81834" cy="81834"/>
              </a:xfrm>
              <a:custGeom>
                <a:avLst/>
                <a:gdLst>
                  <a:gd name="T0" fmla="*/ 6 w 93"/>
                  <a:gd name="T1" fmla="*/ 36 h 93"/>
                  <a:gd name="T2" fmla="*/ 36 w 93"/>
                  <a:gd name="T3" fmla="*/ 87 h 93"/>
                  <a:gd name="T4" fmla="*/ 87 w 93"/>
                  <a:gd name="T5" fmla="*/ 58 h 93"/>
                  <a:gd name="T6" fmla="*/ 57 w 93"/>
                  <a:gd name="T7" fmla="*/ 6 h 93"/>
                  <a:gd name="T8" fmla="*/ 6 w 93"/>
                  <a:gd name="T9" fmla="*/ 36 h 93"/>
                </a:gdLst>
                <a:ahLst/>
                <a:cxnLst>
                  <a:cxn ang="0">
                    <a:pos x="T0" y="T1"/>
                  </a:cxn>
                  <a:cxn ang="0">
                    <a:pos x="T2" y="T3"/>
                  </a:cxn>
                  <a:cxn ang="0">
                    <a:pos x="T4" y="T5"/>
                  </a:cxn>
                  <a:cxn ang="0">
                    <a:pos x="T6" y="T7"/>
                  </a:cxn>
                  <a:cxn ang="0">
                    <a:pos x="T8" y="T9"/>
                  </a:cxn>
                </a:cxnLst>
                <a:rect l="0" t="0" r="r" b="b"/>
                <a:pathLst>
                  <a:path w="93" h="93">
                    <a:moveTo>
                      <a:pt x="6" y="36"/>
                    </a:moveTo>
                    <a:cubicBezTo>
                      <a:pt x="0" y="58"/>
                      <a:pt x="14" y="81"/>
                      <a:pt x="36" y="87"/>
                    </a:cubicBezTo>
                    <a:cubicBezTo>
                      <a:pt x="58" y="93"/>
                      <a:pt x="81" y="80"/>
                      <a:pt x="87" y="58"/>
                    </a:cubicBezTo>
                    <a:cubicBezTo>
                      <a:pt x="93" y="35"/>
                      <a:pt x="80" y="12"/>
                      <a:pt x="57" y="6"/>
                    </a:cubicBezTo>
                    <a:cubicBezTo>
                      <a:pt x="35" y="0"/>
                      <a:pt x="12" y="14"/>
                      <a:pt x="6" y="36"/>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23" name="Freeform 21">
                <a:extLst>
                  <a:ext uri="{FF2B5EF4-FFF2-40B4-BE49-F238E27FC236}">
                    <a16:creationId xmlns:a16="http://schemas.microsoft.com/office/drawing/2014/main" id="{BFB22F84-B7A7-4F96-952F-8835AD207D4F}"/>
                  </a:ext>
                </a:extLst>
              </p:cNvPr>
              <p:cNvSpPr>
                <a:spLocks/>
              </p:cNvSpPr>
              <p:nvPr/>
            </p:nvSpPr>
            <p:spPr bwMode="auto">
              <a:xfrm>
                <a:off x="1475789" y="1561429"/>
                <a:ext cx="177060" cy="339983"/>
              </a:xfrm>
              <a:custGeom>
                <a:avLst/>
                <a:gdLst>
                  <a:gd name="T0" fmla="*/ 238 w 238"/>
                  <a:gd name="T1" fmla="*/ 457 h 457"/>
                  <a:gd name="T2" fmla="*/ 12 w 238"/>
                  <a:gd name="T3" fmla="*/ 457 h 457"/>
                  <a:gd name="T4" fmla="*/ 7 w 238"/>
                  <a:gd name="T5" fmla="*/ 174 h 457"/>
                  <a:gd name="T6" fmla="*/ 0 w 238"/>
                  <a:gd name="T7" fmla="*/ 17 h 457"/>
                  <a:gd name="T8" fmla="*/ 224 w 238"/>
                  <a:gd name="T9" fmla="*/ 0 h 457"/>
                  <a:gd name="T10" fmla="*/ 238 w 238"/>
                  <a:gd name="T11" fmla="*/ 457 h 457"/>
                </a:gdLst>
                <a:ahLst/>
                <a:cxnLst>
                  <a:cxn ang="0">
                    <a:pos x="T0" y="T1"/>
                  </a:cxn>
                  <a:cxn ang="0">
                    <a:pos x="T2" y="T3"/>
                  </a:cxn>
                  <a:cxn ang="0">
                    <a:pos x="T4" y="T5"/>
                  </a:cxn>
                  <a:cxn ang="0">
                    <a:pos x="T6" y="T7"/>
                  </a:cxn>
                  <a:cxn ang="0">
                    <a:pos x="T8" y="T9"/>
                  </a:cxn>
                  <a:cxn ang="0">
                    <a:pos x="T10" y="T11"/>
                  </a:cxn>
                </a:cxnLst>
                <a:rect l="0" t="0" r="r" b="b"/>
                <a:pathLst>
                  <a:path w="238" h="457">
                    <a:moveTo>
                      <a:pt x="238" y="457"/>
                    </a:moveTo>
                    <a:lnTo>
                      <a:pt x="12" y="457"/>
                    </a:lnTo>
                    <a:lnTo>
                      <a:pt x="7" y="174"/>
                    </a:lnTo>
                    <a:lnTo>
                      <a:pt x="0" y="17"/>
                    </a:lnTo>
                    <a:lnTo>
                      <a:pt x="224" y="0"/>
                    </a:lnTo>
                    <a:lnTo>
                      <a:pt x="238" y="45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24" name="Freeform 22">
                <a:extLst>
                  <a:ext uri="{FF2B5EF4-FFF2-40B4-BE49-F238E27FC236}">
                    <a16:creationId xmlns:a16="http://schemas.microsoft.com/office/drawing/2014/main" id="{082E72FA-7DEE-4EC4-92A6-DF4DF47B48B8}"/>
                  </a:ext>
                </a:extLst>
              </p:cNvPr>
              <p:cNvSpPr>
                <a:spLocks/>
              </p:cNvSpPr>
              <p:nvPr/>
            </p:nvSpPr>
            <p:spPr bwMode="auto">
              <a:xfrm>
                <a:off x="1455702" y="1504889"/>
                <a:ext cx="145813" cy="114568"/>
              </a:xfrm>
              <a:custGeom>
                <a:avLst/>
                <a:gdLst>
                  <a:gd name="T0" fmla="*/ 35 w 196"/>
                  <a:gd name="T1" fmla="*/ 154 h 154"/>
                  <a:gd name="T2" fmla="*/ 0 w 196"/>
                  <a:gd name="T3" fmla="*/ 62 h 154"/>
                  <a:gd name="T4" fmla="*/ 160 w 196"/>
                  <a:gd name="T5" fmla="*/ 0 h 154"/>
                  <a:gd name="T6" fmla="*/ 196 w 196"/>
                  <a:gd name="T7" fmla="*/ 93 h 154"/>
                  <a:gd name="T8" fmla="*/ 35 w 196"/>
                  <a:gd name="T9" fmla="*/ 154 h 154"/>
                </a:gdLst>
                <a:ahLst/>
                <a:cxnLst>
                  <a:cxn ang="0">
                    <a:pos x="T0" y="T1"/>
                  </a:cxn>
                  <a:cxn ang="0">
                    <a:pos x="T2" y="T3"/>
                  </a:cxn>
                  <a:cxn ang="0">
                    <a:pos x="T4" y="T5"/>
                  </a:cxn>
                  <a:cxn ang="0">
                    <a:pos x="T6" y="T7"/>
                  </a:cxn>
                  <a:cxn ang="0">
                    <a:pos x="T8" y="T9"/>
                  </a:cxn>
                </a:cxnLst>
                <a:rect l="0" t="0" r="r" b="b"/>
                <a:pathLst>
                  <a:path w="196" h="154">
                    <a:moveTo>
                      <a:pt x="35" y="154"/>
                    </a:moveTo>
                    <a:lnTo>
                      <a:pt x="0" y="62"/>
                    </a:lnTo>
                    <a:lnTo>
                      <a:pt x="160" y="0"/>
                    </a:lnTo>
                    <a:lnTo>
                      <a:pt x="196" y="93"/>
                    </a:lnTo>
                    <a:lnTo>
                      <a:pt x="35" y="15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25" name="Freeform 23">
                <a:extLst>
                  <a:ext uri="{FF2B5EF4-FFF2-40B4-BE49-F238E27FC236}">
                    <a16:creationId xmlns:a16="http://schemas.microsoft.com/office/drawing/2014/main" id="{3F5FCAD4-AB0C-448B-A4A4-AD8CBB54BE13}"/>
                  </a:ext>
                </a:extLst>
              </p:cNvPr>
              <p:cNvSpPr>
                <a:spLocks/>
              </p:cNvSpPr>
              <p:nvPr/>
            </p:nvSpPr>
            <p:spPr bwMode="auto">
              <a:xfrm>
                <a:off x="1600771" y="1564406"/>
                <a:ext cx="126472" cy="337008"/>
              </a:xfrm>
              <a:custGeom>
                <a:avLst/>
                <a:gdLst>
                  <a:gd name="T0" fmla="*/ 0 w 170"/>
                  <a:gd name="T1" fmla="*/ 453 h 453"/>
                  <a:gd name="T2" fmla="*/ 157 w 170"/>
                  <a:gd name="T3" fmla="*/ 453 h 453"/>
                  <a:gd name="T4" fmla="*/ 161 w 170"/>
                  <a:gd name="T5" fmla="*/ 170 h 453"/>
                  <a:gd name="T6" fmla="*/ 170 w 170"/>
                  <a:gd name="T7" fmla="*/ 13 h 453"/>
                  <a:gd name="T8" fmla="*/ 0 w 170"/>
                  <a:gd name="T9" fmla="*/ 0 h 453"/>
                  <a:gd name="T10" fmla="*/ 0 w 170"/>
                  <a:gd name="T11" fmla="*/ 453 h 453"/>
                </a:gdLst>
                <a:ahLst/>
                <a:cxnLst>
                  <a:cxn ang="0">
                    <a:pos x="T0" y="T1"/>
                  </a:cxn>
                  <a:cxn ang="0">
                    <a:pos x="T2" y="T3"/>
                  </a:cxn>
                  <a:cxn ang="0">
                    <a:pos x="T4" y="T5"/>
                  </a:cxn>
                  <a:cxn ang="0">
                    <a:pos x="T6" y="T7"/>
                  </a:cxn>
                  <a:cxn ang="0">
                    <a:pos x="T8" y="T9"/>
                  </a:cxn>
                  <a:cxn ang="0">
                    <a:pos x="T10" y="T11"/>
                  </a:cxn>
                </a:cxnLst>
                <a:rect l="0" t="0" r="r" b="b"/>
                <a:pathLst>
                  <a:path w="170" h="453">
                    <a:moveTo>
                      <a:pt x="0" y="453"/>
                    </a:moveTo>
                    <a:lnTo>
                      <a:pt x="157" y="453"/>
                    </a:lnTo>
                    <a:lnTo>
                      <a:pt x="161" y="170"/>
                    </a:lnTo>
                    <a:lnTo>
                      <a:pt x="170" y="13"/>
                    </a:lnTo>
                    <a:lnTo>
                      <a:pt x="0" y="0"/>
                    </a:lnTo>
                    <a:lnTo>
                      <a:pt x="0" y="45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26" name="Freeform 24">
                <a:extLst>
                  <a:ext uri="{FF2B5EF4-FFF2-40B4-BE49-F238E27FC236}">
                    <a16:creationId xmlns:a16="http://schemas.microsoft.com/office/drawing/2014/main" id="{EC08A70D-917F-4E8F-A3A9-A6ADF1F317D5}"/>
                  </a:ext>
                </a:extLst>
              </p:cNvPr>
              <p:cNvSpPr>
                <a:spLocks/>
              </p:cNvSpPr>
              <p:nvPr/>
            </p:nvSpPr>
            <p:spPr bwMode="auto">
              <a:xfrm>
                <a:off x="1428175" y="1545062"/>
                <a:ext cx="81091" cy="81091"/>
              </a:xfrm>
              <a:custGeom>
                <a:avLst/>
                <a:gdLst>
                  <a:gd name="T0" fmla="*/ 86 w 92"/>
                  <a:gd name="T1" fmla="*/ 35 h 92"/>
                  <a:gd name="T2" fmla="*/ 57 w 92"/>
                  <a:gd name="T3" fmla="*/ 86 h 92"/>
                  <a:gd name="T4" fmla="*/ 5 w 92"/>
                  <a:gd name="T5" fmla="*/ 57 h 92"/>
                  <a:gd name="T6" fmla="*/ 35 w 92"/>
                  <a:gd name="T7" fmla="*/ 6 h 92"/>
                  <a:gd name="T8" fmla="*/ 86 w 92"/>
                  <a:gd name="T9" fmla="*/ 35 h 92"/>
                </a:gdLst>
                <a:ahLst/>
                <a:cxnLst>
                  <a:cxn ang="0">
                    <a:pos x="T0" y="T1"/>
                  </a:cxn>
                  <a:cxn ang="0">
                    <a:pos x="T2" y="T3"/>
                  </a:cxn>
                  <a:cxn ang="0">
                    <a:pos x="T4" y="T5"/>
                  </a:cxn>
                  <a:cxn ang="0">
                    <a:pos x="T6" y="T7"/>
                  </a:cxn>
                  <a:cxn ang="0">
                    <a:pos x="T8" y="T9"/>
                  </a:cxn>
                </a:cxnLst>
                <a:rect l="0" t="0" r="r" b="b"/>
                <a:pathLst>
                  <a:path w="92" h="92">
                    <a:moveTo>
                      <a:pt x="86" y="35"/>
                    </a:moveTo>
                    <a:cubicBezTo>
                      <a:pt x="92" y="57"/>
                      <a:pt x="79" y="80"/>
                      <a:pt x="57" y="86"/>
                    </a:cubicBezTo>
                    <a:cubicBezTo>
                      <a:pt x="34" y="92"/>
                      <a:pt x="11" y="79"/>
                      <a:pt x="5" y="57"/>
                    </a:cubicBezTo>
                    <a:cubicBezTo>
                      <a:pt x="0" y="34"/>
                      <a:pt x="13" y="11"/>
                      <a:pt x="35" y="6"/>
                    </a:cubicBezTo>
                    <a:cubicBezTo>
                      <a:pt x="57" y="0"/>
                      <a:pt x="80" y="13"/>
                      <a:pt x="86" y="35"/>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27" name="Freeform 25">
                <a:extLst>
                  <a:ext uri="{FF2B5EF4-FFF2-40B4-BE49-F238E27FC236}">
                    <a16:creationId xmlns:a16="http://schemas.microsoft.com/office/drawing/2014/main" id="{21B512A8-7451-4DFD-B396-E1C744B7C102}"/>
                  </a:ext>
                </a:extLst>
              </p:cNvPr>
              <p:cNvSpPr>
                <a:spLocks/>
              </p:cNvSpPr>
              <p:nvPr/>
            </p:nvSpPr>
            <p:spPr bwMode="auto">
              <a:xfrm>
                <a:off x="1504059" y="1521256"/>
                <a:ext cx="37941" cy="14135"/>
              </a:xfrm>
              <a:custGeom>
                <a:avLst/>
                <a:gdLst>
                  <a:gd name="T0" fmla="*/ 0 w 51"/>
                  <a:gd name="T1" fmla="*/ 15 h 19"/>
                  <a:gd name="T2" fmla="*/ 42 w 51"/>
                  <a:gd name="T3" fmla="*/ 0 h 19"/>
                  <a:gd name="T4" fmla="*/ 51 w 51"/>
                  <a:gd name="T5" fmla="*/ 19 h 19"/>
                  <a:gd name="T6" fmla="*/ 0 w 51"/>
                  <a:gd name="T7" fmla="*/ 15 h 19"/>
                </a:gdLst>
                <a:ahLst/>
                <a:cxnLst>
                  <a:cxn ang="0">
                    <a:pos x="T0" y="T1"/>
                  </a:cxn>
                  <a:cxn ang="0">
                    <a:pos x="T2" y="T3"/>
                  </a:cxn>
                  <a:cxn ang="0">
                    <a:pos x="T4" y="T5"/>
                  </a:cxn>
                  <a:cxn ang="0">
                    <a:pos x="T6" y="T7"/>
                  </a:cxn>
                </a:cxnLst>
                <a:rect l="0" t="0" r="r" b="b"/>
                <a:pathLst>
                  <a:path w="51" h="19">
                    <a:moveTo>
                      <a:pt x="0" y="15"/>
                    </a:moveTo>
                    <a:lnTo>
                      <a:pt x="42" y="0"/>
                    </a:lnTo>
                    <a:lnTo>
                      <a:pt x="51" y="19"/>
                    </a:lnTo>
                    <a:lnTo>
                      <a:pt x="0" y="1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28" name="Freeform 26">
                <a:extLst>
                  <a:ext uri="{FF2B5EF4-FFF2-40B4-BE49-F238E27FC236}">
                    <a16:creationId xmlns:a16="http://schemas.microsoft.com/office/drawing/2014/main" id="{91D8228E-87AB-47E3-ADA3-BF667EF7E895}"/>
                  </a:ext>
                </a:extLst>
              </p:cNvPr>
              <p:cNvSpPr>
                <a:spLocks/>
              </p:cNvSpPr>
              <p:nvPr/>
            </p:nvSpPr>
            <p:spPr bwMode="auto">
              <a:xfrm>
                <a:off x="1554647" y="1487035"/>
                <a:ext cx="88529" cy="70674"/>
              </a:xfrm>
              <a:custGeom>
                <a:avLst/>
                <a:gdLst>
                  <a:gd name="T0" fmla="*/ 50 w 100"/>
                  <a:gd name="T1" fmla="*/ 81 h 81"/>
                  <a:gd name="T2" fmla="*/ 0 w 100"/>
                  <a:gd name="T3" fmla="*/ 36 h 81"/>
                  <a:gd name="T4" fmla="*/ 0 w 100"/>
                  <a:gd name="T5" fmla="*/ 0 h 81"/>
                  <a:gd name="T6" fmla="*/ 100 w 100"/>
                  <a:gd name="T7" fmla="*/ 0 h 81"/>
                  <a:gd name="T8" fmla="*/ 100 w 100"/>
                  <a:gd name="T9" fmla="*/ 36 h 81"/>
                  <a:gd name="T10" fmla="*/ 50 w 100"/>
                  <a:gd name="T11" fmla="*/ 81 h 81"/>
                </a:gdLst>
                <a:ahLst/>
                <a:cxnLst>
                  <a:cxn ang="0">
                    <a:pos x="T0" y="T1"/>
                  </a:cxn>
                  <a:cxn ang="0">
                    <a:pos x="T2" y="T3"/>
                  </a:cxn>
                  <a:cxn ang="0">
                    <a:pos x="T4" y="T5"/>
                  </a:cxn>
                  <a:cxn ang="0">
                    <a:pos x="T6" y="T7"/>
                  </a:cxn>
                  <a:cxn ang="0">
                    <a:pos x="T8" y="T9"/>
                  </a:cxn>
                  <a:cxn ang="0">
                    <a:pos x="T10" y="T11"/>
                  </a:cxn>
                </a:cxnLst>
                <a:rect l="0" t="0" r="r" b="b"/>
                <a:pathLst>
                  <a:path w="100" h="81">
                    <a:moveTo>
                      <a:pt x="50" y="81"/>
                    </a:moveTo>
                    <a:cubicBezTo>
                      <a:pt x="22" y="81"/>
                      <a:pt x="0" y="64"/>
                      <a:pt x="0" y="36"/>
                    </a:cubicBezTo>
                    <a:cubicBezTo>
                      <a:pt x="0" y="0"/>
                      <a:pt x="0" y="0"/>
                      <a:pt x="0" y="0"/>
                    </a:cubicBezTo>
                    <a:cubicBezTo>
                      <a:pt x="100" y="0"/>
                      <a:pt x="100" y="0"/>
                      <a:pt x="100" y="0"/>
                    </a:cubicBezTo>
                    <a:cubicBezTo>
                      <a:pt x="100" y="36"/>
                      <a:pt x="100" y="36"/>
                      <a:pt x="100" y="36"/>
                    </a:cubicBezTo>
                    <a:cubicBezTo>
                      <a:pt x="100" y="64"/>
                      <a:pt x="78" y="81"/>
                      <a:pt x="50" y="81"/>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29" name="Freeform 27">
                <a:extLst>
                  <a:ext uri="{FF2B5EF4-FFF2-40B4-BE49-F238E27FC236}">
                    <a16:creationId xmlns:a16="http://schemas.microsoft.com/office/drawing/2014/main" id="{062850F0-11E8-4E6E-AC98-703603955C78}"/>
                  </a:ext>
                </a:extLst>
              </p:cNvPr>
              <p:cNvSpPr>
                <a:spLocks/>
              </p:cNvSpPr>
              <p:nvPr/>
            </p:nvSpPr>
            <p:spPr bwMode="auto">
              <a:xfrm>
                <a:off x="1528610" y="1399249"/>
                <a:ext cx="7439" cy="26782"/>
              </a:xfrm>
              <a:custGeom>
                <a:avLst/>
                <a:gdLst>
                  <a:gd name="T0" fmla="*/ 6 w 8"/>
                  <a:gd name="T1" fmla="*/ 28 h 30"/>
                  <a:gd name="T2" fmla="*/ 8 w 8"/>
                  <a:gd name="T3" fmla="*/ 30 h 30"/>
                  <a:gd name="T4" fmla="*/ 5 w 8"/>
                  <a:gd name="T5" fmla="*/ 5 h 30"/>
                  <a:gd name="T6" fmla="*/ 5 w 8"/>
                  <a:gd name="T7" fmla="*/ 0 h 30"/>
                  <a:gd name="T8" fmla="*/ 0 w 8"/>
                  <a:gd name="T9" fmla="*/ 1 h 30"/>
                  <a:gd name="T10" fmla="*/ 0 w 8"/>
                  <a:gd name="T11" fmla="*/ 27 h 30"/>
                  <a:gd name="T12" fmla="*/ 6 w 8"/>
                  <a:gd name="T13" fmla="*/ 28 h 30"/>
                </a:gdLst>
                <a:ahLst/>
                <a:cxnLst>
                  <a:cxn ang="0">
                    <a:pos x="T0" y="T1"/>
                  </a:cxn>
                  <a:cxn ang="0">
                    <a:pos x="T2" y="T3"/>
                  </a:cxn>
                  <a:cxn ang="0">
                    <a:pos x="T4" y="T5"/>
                  </a:cxn>
                  <a:cxn ang="0">
                    <a:pos x="T6" y="T7"/>
                  </a:cxn>
                  <a:cxn ang="0">
                    <a:pos x="T8" y="T9"/>
                  </a:cxn>
                  <a:cxn ang="0">
                    <a:pos x="T10" y="T11"/>
                  </a:cxn>
                  <a:cxn ang="0">
                    <a:pos x="T12" y="T13"/>
                  </a:cxn>
                </a:cxnLst>
                <a:rect l="0" t="0" r="r" b="b"/>
                <a:pathLst>
                  <a:path w="8" h="30">
                    <a:moveTo>
                      <a:pt x="6" y="28"/>
                    </a:moveTo>
                    <a:cubicBezTo>
                      <a:pt x="7" y="29"/>
                      <a:pt x="8" y="29"/>
                      <a:pt x="8" y="30"/>
                    </a:cubicBezTo>
                    <a:cubicBezTo>
                      <a:pt x="6" y="22"/>
                      <a:pt x="5" y="14"/>
                      <a:pt x="5" y="5"/>
                    </a:cubicBezTo>
                    <a:cubicBezTo>
                      <a:pt x="5" y="0"/>
                      <a:pt x="5" y="0"/>
                      <a:pt x="5" y="0"/>
                    </a:cubicBezTo>
                    <a:cubicBezTo>
                      <a:pt x="0" y="1"/>
                      <a:pt x="0" y="1"/>
                      <a:pt x="0" y="1"/>
                    </a:cubicBezTo>
                    <a:cubicBezTo>
                      <a:pt x="0" y="27"/>
                      <a:pt x="0" y="27"/>
                      <a:pt x="0" y="27"/>
                    </a:cubicBezTo>
                    <a:cubicBezTo>
                      <a:pt x="2" y="27"/>
                      <a:pt x="5" y="27"/>
                      <a:pt x="6" y="28"/>
                    </a:cubicBez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30" name="Freeform 28">
                <a:extLst>
                  <a:ext uri="{FF2B5EF4-FFF2-40B4-BE49-F238E27FC236}">
                    <a16:creationId xmlns:a16="http://schemas.microsoft.com/office/drawing/2014/main" id="{432F3444-B0E1-4BAB-9A71-1F4D0ADD13CE}"/>
                  </a:ext>
                </a:extLst>
              </p:cNvPr>
              <p:cNvSpPr>
                <a:spLocks noEditPoints="1"/>
              </p:cNvSpPr>
              <p:nvPr/>
            </p:nvSpPr>
            <p:spPr bwMode="auto">
              <a:xfrm>
                <a:off x="1535305" y="1399249"/>
                <a:ext cx="133910" cy="119032"/>
              </a:xfrm>
              <a:custGeom>
                <a:avLst/>
                <a:gdLst>
                  <a:gd name="T0" fmla="*/ 146 w 152"/>
                  <a:gd name="T1" fmla="*/ 0 h 135"/>
                  <a:gd name="T2" fmla="*/ 146 w 152"/>
                  <a:gd name="T3" fmla="*/ 5 h 135"/>
                  <a:gd name="T4" fmla="*/ 118 w 152"/>
                  <a:gd name="T5" fmla="*/ 69 h 135"/>
                  <a:gd name="T6" fmla="*/ 118 w 152"/>
                  <a:gd name="T7" fmla="*/ 69 h 135"/>
                  <a:gd name="T8" fmla="*/ 73 w 152"/>
                  <a:gd name="T9" fmla="*/ 48 h 135"/>
                  <a:gd name="T10" fmla="*/ 27 w 152"/>
                  <a:gd name="T11" fmla="*/ 70 h 135"/>
                  <a:gd name="T12" fmla="*/ 27 w 152"/>
                  <a:gd name="T13" fmla="*/ 70 h 135"/>
                  <a:gd name="T14" fmla="*/ 4 w 152"/>
                  <a:gd name="T15" fmla="*/ 39 h 135"/>
                  <a:gd name="T16" fmla="*/ 3 w 152"/>
                  <a:gd name="T17" fmla="*/ 42 h 135"/>
                  <a:gd name="T18" fmla="*/ 3 w 152"/>
                  <a:gd name="T19" fmla="*/ 43 h 135"/>
                  <a:gd name="T20" fmla="*/ 2 w 152"/>
                  <a:gd name="T21" fmla="*/ 55 h 135"/>
                  <a:gd name="T22" fmla="*/ 3 w 152"/>
                  <a:gd name="T23" fmla="*/ 71 h 135"/>
                  <a:gd name="T24" fmla="*/ 3 w 152"/>
                  <a:gd name="T25" fmla="*/ 80 h 135"/>
                  <a:gd name="T26" fmla="*/ 22 w 152"/>
                  <a:gd name="T27" fmla="*/ 86 h 135"/>
                  <a:gd name="T28" fmla="*/ 22 w 152"/>
                  <a:gd name="T29" fmla="*/ 116 h 135"/>
                  <a:gd name="T30" fmla="*/ 69 w 152"/>
                  <a:gd name="T31" fmla="*/ 135 h 135"/>
                  <a:gd name="T32" fmla="*/ 73 w 152"/>
                  <a:gd name="T33" fmla="*/ 135 h 135"/>
                  <a:gd name="T34" fmla="*/ 74 w 152"/>
                  <a:gd name="T35" fmla="*/ 135 h 135"/>
                  <a:gd name="T36" fmla="*/ 122 w 152"/>
                  <a:gd name="T37" fmla="*/ 117 h 135"/>
                  <a:gd name="T38" fmla="*/ 122 w 152"/>
                  <a:gd name="T39" fmla="*/ 82 h 135"/>
                  <a:gd name="T40" fmla="*/ 140 w 152"/>
                  <a:gd name="T41" fmla="*/ 75 h 135"/>
                  <a:gd name="T42" fmla="*/ 140 w 152"/>
                  <a:gd name="T43" fmla="*/ 44 h 135"/>
                  <a:gd name="T44" fmla="*/ 152 w 152"/>
                  <a:gd name="T45" fmla="*/ 34 h 135"/>
                  <a:gd name="T46" fmla="*/ 152 w 152"/>
                  <a:gd name="T47" fmla="*/ 1 h 135"/>
                  <a:gd name="T48" fmla="*/ 146 w 152"/>
                  <a:gd name="T49" fmla="*/ 0 h 135"/>
                  <a:gd name="T50" fmla="*/ 72 w 152"/>
                  <a:gd name="T51" fmla="*/ 93 h 135"/>
                  <a:gd name="T52" fmla="*/ 40 w 152"/>
                  <a:gd name="T53" fmla="*/ 82 h 135"/>
                  <a:gd name="T54" fmla="*/ 72 w 152"/>
                  <a:gd name="T55" fmla="*/ 59 h 135"/>
                  <a:gd name="T56" fmla="*/ 105 w 152"/>
                  <a:gd name="T57" fmla="*/ 82 h 135"/>
                  <a:gd name="T58" fmla="*/ 72 w 152"/>
                  <a:gd name="T59" fmla="*/ 9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35">
                    <a:moveTo>
                      <a:pt x="146" y="0"/>
                    </a:moveTo>
                    <a:cubicBezTo>
                      <a:pt x="146" y="5"/>
                      <a:pt x="146" y="5"/>
                      <a:pt x="146" y="5"/>
                    </a:cubicBezTo>
                    <a:cubicBezTo>
                      <a:pt x="146" y="31"/>
                      <a:pt x="138" y="55"/>
                      <a:pt x="118" y="69"/>
                    </a:cubicBezTo>
                    <a:cubicBezTo>
                      <a:pt x="118" y="69"/>
                      <a:pt x="118" y="69"/>
                      <a:pt x="118" y="69"/>
                    </a:cubicBezTo>
                    <a:cubicBezTo>
                      <a:pt x="108" y="58"/>
                      <a:pt x="92" y="48"/>
                      <a:pt x="73" y="48"/>
                    </a:cubicBezTo>
                    <a:cubicBezTo>
                      <a:pt x="54" y="48"/>
                      <a:pt x="38" y="58"/>
                      <a:pt x="27" y="70"/>
                    </a:cubicBezTo>
                    <a:cubicBezTo>
                      <a:pt x="27" y="70"/>
                      <a:pt x="27" y="70"/>
                      <a:pt x="27" y="70"/>
                    </a:cubicBezTo>
                    <a:cubicBezTo>
                      <a:pt x="16" y="62"/>
                      <a:pt x="9" y="52"/>
                      <a:pt x="4" y="39"/>
                    </a:cubicBezTo>
                    <a:cubicBezTo>
                      <a:pt x="4" y="40"/>
                      <a:pt x="4" y="41"/>
                      <a:pt x="3" y="42"/>
                    </a:cubicBezTo>
                    <a:cubicBezTo>
                      <a:pt x="3" y="42"/>
                      <a:pt x="3" y="43"/>
                      <a:pt x="3" y="43"/>
                    </a:cubicBezTo>
                    <a:cubicBezTo>
                      <a:pt x="5" y="46"/>
                      <a:pt x="5" y="51"/>
                      <a:pt x="2" y="55"/>
                    </a:cubicBezTo>
                    <a:cubicBezTo>
                      <a:pt x="0" y="57"/>
                      <a:pt x="3" y="68"/>
                      <a:pt x="3" y="71"/>
                    </a:cubicBezTo>
                    <a:cubicBezTo>
                      <a:pt x="3" y="75"/>
                      <a:pt x="3" y="77"/>
                      <a:pt x="3" y="80"/>
                    </a:cubicBezTo>
                    <a:cubicBezTo>
                      <a:pt x="7" y="73"/>
                      <a:pt x="22" y="75"/>
                      <a:pt x="22" y="86"/>
                    </a:cubicBezTo>
                    <a:cubicBezTo>
                      <a:pt x="22" y="116"/>
                      <a:pt x="22" y="116"/>
                      <a:pt x="22" y="116"/>
                    </a:cubicBezTo>
                    <a:cubicBezTo>
                      <a:pt x="34" y="127"/>
                      <a:pt x="51" y="134"/>
                      <a:pt x="69" y="135"/>
                    </a:cubicBezTo>
                    <a:cubicBezTo>
                      <a:pt x="70" y="135"/>
                      <a:pt x="72" y="135"/>
                      <a:pt x="73" y="135"/>
                    </a:cubicBezTo>
                    <a:cubicBezTo>
                      <a:pt x="73" y="135"/>
                      <a:pt x="74" y="135"/>
                      <a:pt x="74" y="135"/>
                    </a:cubicBezTo>
                    <a:cubicBezTo>
                      <a:pt x="93" y="134"/>
                      <a:pt x="109" y="128"/>
                      <a:pt x="122" y="117"/>
                    </a:cubicBezTo>
                    <a:cubicBezTo>
                      <a:pt x="122" y="82"/>
                      <a:pt x="122" y="82"/>
                      <a:pt x="122" y="82"/>
                    </a:cubicBezTo>
                    <a:cubicBezTo>
                      <a:pt x="122" y="72"/>
                      <a:pt x="134" y="69"/>
                      <a:pt x="140" y="75"/>
                    </a:cubicBezTo>
                    <a:cubicBezTo>
                      <a:pt x="140" y="64"/>
                      <a:pt x="140" y="54"/>
                      <a:pt x="140" y="44"/>
                    </a:cubicBezTo>
                    <a:cubicBezTo>
                      <a:pt x="140" y="37"/>
                      <a:pt x="146" y="33"/>
                      <a:pt x="152" y="34"/>
                    </a:cubicBezTo>
                    <a:cubicBezTo>
                      <a:pt x="152" y="1"/>
                      <a:pt x="152" y="1"/>
                      <a:pt x="152" y="1"/>
                    </a:cubicBezTo>
                    <a:lnTo>
                      <a:pt x="146" y="0"/>
                    </a:lnTo>
                    <a:close/>
                    <a:moveTo>
                      <a:pt x="72" y="93"/>
                    </a:moveTo>
                    <a:cubicBezTo>
                      <a:pt x="59" y="93"/>
                      <a:pt x="47" y="89"/>
                      <a:pt x="40" y="82"/>
                    </a:cubicBezTo>
                    <a:cubicBezTo>
                      <a:pt x="47" y="70"/>
                      <a:pt x="59" y="59"/>
                      <a:pt x="72" y="59"/>
                    </a:cubicBezTo>
                    <a:cubicBezTo>
                      <a:pt x="86" y="59"/>
                      <a:pt x="98" y="70"/>
                      <a:pt x="105" y="82"/>
                    </a:cubicBezTo>
                    <a:cubicBezTo>
                      <a:pt x="98" y="89"/>
                      <a:pt x="86" y="93"/>
                      <a:pt x="72" y="93"/>
                    </a:cubicBez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31" name="Freeform 29">
                <a:extLst>
                  <a:ext uri="{FF2B5EF4-FFF2-40B4-BE49-F238E27FC236}">
                    <a16:creationId xmlns:a16="http://schemas.microsoft.com/office/drawing/2014/main" id="{8C993687-87EF-4A0B-86E7-F9BEB634A90D}"/>
                  </a:ext>
                </a:extLst>
              </p:cNvPr>
              <p:cNvSpPr>
                <a:spLocks/>
              </p:cNvSpPr>
              <p:nvPr/>
            </p:nvSpPr>
            <p:spPr bwMode="auto">
              <a:xfrm>
                <a:off x="1520426" y="1379162"/>
                <a:ext cx="17111" cy="59516"/>
              </a:xfrm>
              <a:custGeom>
                <a:avLst/>
                <a:gdLst>
                  <a:gd name="T0" fmla="*/ 19 w 20"/>
                  <a:gd name="T1" fmla="*/ 2 h 67"/>
                  <a:gd name="T2" fmla="*/ 13 w 20"/>
                  <a:gd name="T3" fmla="*/ 0 h 67"/>
                  <a:gd name="T4" fmla="*/ 2 w 20"/>
                  <a:gd name="T5" fmla="*/ 5 h 67"/>
                  <a:gd name="T6" fmla="*/ 4 w 20"/>
                  <a:gd name="T7" fmla="*/ 47 h 67"/>
                  <a:gd name="T8" fmla="*/ 12 w 20"/>
                  <a:gd name="T9" fmla="*/ 66 h 67"/>
                  <a:gd name="T10" fmla="*/ 20 w 20"/>
                  <a:gd name="T11" fmla="*/ 67 h 67"/>
                </a:gdLst>
                <a:ahLst/>
                <a:cxnLst>
                  <a:cxn ang="0">
                    <a:pos x="T0" y="T1"/>
                  </a:cxn>
                  <a:cxn ang="0">
                    <a:pos x="T2" y="T3"/>
                  </a:cxn>
                  <a:cxn ang="0">
                    <a:pos x="T4" y="T5"/>
                  </a:cxn>
                  <a:cxn ang="0">
                    <a:pos x="T6" y="T7"/>
                  </a:cxn>
                  <a:cxn ang="0">
                    <a:pos x="T8" y="T9"/>
                  </a:cxn>
                  <a:cxn ang="0">
                    <a:pos x="T10" y="T11"/>
                  </a:cxn>
                </a:cxnLst>
                <a:rect l="0" t="0" r="r" b="b"/>
                <a:pathLst>
                  <a:path w="20" h="67">
                    <a:moveTo>
                      <a:pt x="19" y="2"/>
                    </a:moveTo>
                    <a:cubicBezTo>
                      <a:pt x="13" y="0"/>
                      <a:pt x="13" y="0"/>
                      <a:pt x="13" y="0"/>
                    </a:cubicBezTo>
                    <a:cubicBezTo>
                      <a:pt x="9" y="0"/>
                      <a:pt x="3" y="0"/>
                      <a:pt x="2" y="5"/>
                    </a:cubicBezTo>
                    <a:cubicBezTo>
                      <a:pt x="0" y="16"/>
                      <a:pt x="1" y="39"/>
                      <a:pt x="4" y="47"/>
                    </a:cubicBezTo>
                    <a:cubicBezTo>
                      <a:pt x="3" y="54"/>
                      <a:pt x="2" y="64"/>
                      <a:pt x="12" y="66"/>
                    </a:cubicBezTo>
                    <a:cubicBezTo>
                      <a:pt x="20" y="67"/>
                      <a:pt x="20" y="67"/>
                      <a:pt x="20" y="67"/>
                    </a:cubicBezTo>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32" name="Freeform 30">
                <a:extLst>
                  <a:ext uri="{FF2B5EF4-FFF2-40B4-BE49-F238E27FC236}">
                    <a16:creationId xmlns:a16="http://schemas.microsoft.com/office/drawing/2014/main" id="{43805E28-EB4F-4BAE-B047-7F4C482DB88D}"/>
                  </a:ext>
                </a:extLst>
              </p:cNvPr>
              <p:cNvSpPr>
                <a:spLocks/>
              </p:cNvSpPr>
              <p:nvPr/>
            </p:nvSpPr>
            <p:spPr bwMode="auto">
              <a:xfrm>
                <a:off x="1661031" y="1381394"/>
                <a:ext cx="17111" cy="58772"/>
              </a:xfrm>
              <a:custGeom>
                <a:avLst/>
                <a:gdLst>
                  <a:gd name="T0" fmla="*/ 1 w 20"/>
                  <a:gd name="T1" fmla="*/ 1 h 67"/>
                  <a:gd name="T2" fmla="*/ 7 w 20"/>
                  <a:gd name="T3" fmla="*/ 0 h 67"/>
                  <a:gd name="T4" fmla="*/ 18 w 20"/>
                  <a:gd name="T5" fmla="*/ 5 h 67"/>
                  <a:gd name="T6" fmla="*/ 16 w 20"/>
                  <a:gd name="T7" fmla="*/ 47 h 67"/>
                  <a:gd name="T8" fmla="*/ 7 w 20"/>
                  <a:gd name="T9" fmla="*/ 66 h 67"/>
                  <a:gd name="T10" fmla="*/ 0 w 20"/>
                  <a:gd name="T11" fmla="*/ 67 h 67"/>
                </a:gdLst>
                <a:ahLst/>
                <a:cxnLst>
                  <a:cxn ang="0">
                    <a:pos x="T0" y="T1"/>
                  </a:cxn>
                  <a:cxn ang="0">
                    <a:pos x="T2" y="T3"/>
                  </a:cxn>
                  <a:cxn ang="0">
                    <a:pos x="T4" y="T5"/>
                  </a:cxn>
                  <a:cxn ang="0">
                    <a:pos x="T6" y="T7"/>
                  </a:cxn>
                  <a:cxn ang="0">
                    <a:pos x="T8" y="T9"/>
                  </a:cxn>
                  <a:cxn ang="0">
                    <a:pos x="T10" y="T11"/>
                  </a:cxn>
                </a:cxnLst>
                <a:rect l="0" t="0" r="r" b="b"/>
                <a:pathLst>
                  <a:path w="20" h="67">
                    <a:moveTo>
                      <a:pt x="1" y="1"/>
                    </a:moveTo>
                    <a:cubicBezTo>
                      <a:pt x="7" y="0"/>
                      <a:pt x="7" y="0"/>
                      <a:pt x="7" y="0"/>
                    </a:cubicBezTo>
                    <a:cubicBezTo>
                      <a:pt x="12" y="0"/>
                      <a:pt x="18" y="0"/>
                      <a:pt x="18" y="5"/>
                    </a:cubicBezTo>
                    <a:cubicBezTo>
                      <a:pt x="20" y="16"/>
                      <a:pt x="19" y="39"/>
                      <a:pt x="16" y="47"/>
                    </a:cubicBezTo>
                    <a:cubicBezTo>
                      <a:pt x="17" y="54"/>
                      <a:pt x="18" y="64"/>
                      <a:pt x="7" y="66"/>
                    </a:cubicBezTo>
                    <a:cubicBezTo>
                      <a:pt x="0" y="67"/>
                      <a:pt x="0" y="67"/>
                      <a:pt x="0" y="67"/>
                    </a:cubicBezTo>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33" name="Freeform 31">
                <a:extLst>
                  <a:ext uri="{FF2B5EF4-FFF2-40B4-BE49-F238E27FC236}">
                    <a16:creationId xmlns:a16="http://schemas.microsoft.com/office/drawing/2014/main" id="{167FFB04-624A-483E-A462-BC2E86FDD088}"/>
                  </a:ext>
                </a:extLst>
              </p:cNvPr>
              <p:cNvSpPr>
                <a:spLocks/>
              </p:cNvSpPr>
              <p:nvPr/>
            </p:nvSpPr>
            <p:spPr bwMode="auto">
              <a:xfrm>
                <a:off x="1528610" y="1318902"/>
                <a:ext cx="140606" cy="187475"/>
              </a:xfrm>
              <a:custGeom>
                <a:avLst/>
                <a:gdLst>
                  <a:gd name="T0" fmla="*/ 159 w 159"/>
                  <a:gd name="T1" fmla="*/ 40 h 213"/>
                  <a:gd name="T2" fmla="*/ 159 w 159"/>
                  <a:gd name="T3" fmla="*/ 132 h 213"/>
                  <a:gd name="T4" fmla="*/ 116 w 159"/>
                  <a:gd name="T5" fmla="*/ 205 h 213"/>
                  <a:gd name="T6" fmla="*/ 81 w 159"/>
                  <a:gd name="T7" fmla="*/ 213 h 213"/>
                  <a:gd name="T8" fmla="*/ 80 w 159"/>
                  <a:gd name="T9" fmla="*/ 213 h 213"/>
                  <a:gd name="T10" fmla="*/ 76 w 159"/>
                  <a:gd name="T11" fmla="*/ 213 h 213"/>
                  <a:gd name="T12" fmla="*/ 46 w 159"/>
                  <a:gd name="T13" fmla="*/ 207 h 213"/>
                  <a:gd name="T14" fmla="*/ 0 w 159"/>
                  <a:gd name="T15" fmla="*/ 132 h 213"/>
                  <a:gd name="T16" fmla="*/ 0 w 159"/>
                  <a:gd name="T17" fmla="*/ 40 h 213"/>
                  <a:gd name="T18" fmla="*/ 142 w 159"/>
                  <a:gd name="T19" fmla="*/ 0 h 213"/>
                  <a:gd name="T20" fmla="*/ 152 w 159"/>
                  <a:gd name="T21" fmla="*/ 17 h 213"/>
                  <a:gd name="T22" fmla="*/ 159 w 159"/>
                  <a:gd name="T23" fmla="*/ 4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213">
                    <a:moveTo>
                      <a:pt x="159" y="40"/>
                    </a:moveTo>
                    <a:cubicBezTo>
                      <a:pt x="159" y="132"/>
                      <a:pt x="159" y="132"/>
                      <a:pt x="159" y="132"/>
                    </a:cubicBezTo>
                    <a:cubicBezTo>
                      <a:pt x="159" y="164"/>
                      <a:pt x="143" y="192"/>
                      <a:pt x="116" y="205"/>
                    </a:cubicBezTo>
                    <a:cubicBezTo>
                      <a:pt x="105" y="210"/>
                      <a:pt x="93" y="213"/>
                      <a:pt x="81" y="213"/>
                    </a:cubicBezTo>
                    <a:cubicBezTo>
                      <a:pt x="80" y="213"/>
                      <a:pt x="80" y="213"/>
                      <a:pt x="80" y="213"/>
                    </a:cubicBezTo>
                    <a:cubicBezTo>
                      <a:pt x="79" y="213"/>
                      <a:pt x="77" y="213"/>
                      <a:pt x="76" y="213"/>
                    </a:cubicBezTo>
                    <a:cubicBezTo>
                      <a:pt x="66" y="213"/>
                      <a:pt x="55" y="211"/>
                      <a:pt x="46" y="207"/>
                    </a:cubicBezTo>
                    <a:cubicBezTo>
                      <a:pt x="17" y="194"/>
                      <a:pt x="0" y="165"/>
                      <a:pt x="0" y="132"/>
                    </a:cubicBezTo>
                    <a:cubicBezTo>
                      <a:pt x="0" y="40"/>
                      <a:pt x="0" y="40"/>
                      <a:pt x="0" y="40"/>
                    </a:cubicBezTo>
                    <a:cubicBezTo>
                      <a:pt x="142" y="0"/>
                      <a:pt x="142" y="0"/>
                      <a:pt x="142" y="0"/>
                    </a:cubicBezTo>
                    <a:cubicBezTo>
                      <a:pt x="152" y="17"/>
                      <a:pt x="152" y="17"/>
                      <a:pt x="152" y="17"/>
                    </a:cubicBezTo>
                    <a:lnTo>
                      <a:pt x="159" y="4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34" name="Freeform 32">
                <a:extLst>
                  <a:ext uri="{FF2B5EF4-FFF2-40B4-BE49-F238E27FC236}">
                    <a16:creationId xmlns:a16="http://schemas.microsoft.com/office/drawing/2014/main" id="{1F6E8708-832F-4E70-8FE2-3ED0C2D40391}"/>
                  </a:ext>
                </a:extLst>
              </p:cNvPr>
              <p:cNvSpPr>
                <a:spLocks/>
              </p:cNvSpPr>
              <p:nvPr/>
            </p:nvSpPr>
            <p:spPr bwMode="auto">
              <a:xfrm>
                <a:off x="1563575" y="1388089"/>
                <a:ext cx="10415" cy="10415"/>
              </a:xfrm>
              <a:custGeom>
                <a:avLst/>
                <a:gdLst>
                  <a:gd name="T0" fmla="*/ 12 w 12"/>
                  <a:gd name="T1" fmla="*/ 6 h 12"/>
                  <a:gd name="T2" fmla="*/ 7 w 12"/>
                  <a:gd name="T3" fmla="*/ 12 h 12"/>
                  <a:gd name="T4" fmla="*/ 1 w 12"/>
                  <a:gd name="T5" fmla="*/ 7 h 12"/>
                  <a:gd name="T6" fmla="*/ 6 w 12"/>
                  <a:gd name="T7" fmla="*/ 1 h 12"/>
                  <a:gd name="T8" fmla="*/ 12 w 12"/>
                  <a:gd name="T9" fmla="*/ 6 h 12"/>
                </a:gdLst>
                <a:ahLst/>
                <a:cxnLst>
                  <a:cxn ang="0">
                    <a:pos x="T0" y="T1"/>
                  </a:cxn>
                  <a:cxn ang="0">
                    <a:pos x="T2" y="T3"/>
                  </a:cxn>
                  <a:cxn ang="0">
                    <a:pos x="T4" y="T5"/>
                  </a:cxn>
                  <a:cxn ang="0">
                    <a:pos x="T6" y="T7"/>
                  </a:cxn>
                  <a:cxn ang="0">
                    <a:pos x="T8" y="T9"/>
                  </a:cxn>
                </a:cxnLst>
                <a:rect l="0" t="0" r="r" b="b"/>
                <a:pathLst>
                  <a:path w="12" h="12">
                    <a:moveTo>
                      <a:pt x="12" y="6"/>
                    </a:moveTo>
                    <a:cubicBezTo>
                      <a:pt x="12" y="9"/>
                      <a:pt x="10" y="12"/>
                      <a:pt x="7" y="12"/>
                    </a:cubicBezTo>
                    <a:cubicBezTo>
                      <a:pt x="4" y="12"/>
                      <a:pt x="1" y="10"/>
                      <a:pt x="1" y="7"/>
                    </a:cubicBezTo>
                    <a:cubicBezTo>
                      <a:pt x="0" y="4"/>
                      <a:pt x="2" y="1"/>
                      <a:pt x="6" y="1"/>
                    </a:cubicBezTo>
                    <a:cubicBezTo>
                      <a:pt x="9" y="0"/>
                      <a:pt x="12" y="2"/>
                      <a:pt x="12" y="6"/>
                    </a:cubicBezTo>
                    <a:close/>
                  </a:path>
                </a:pathLst>
              </a:custGeom>
              <a:solidFill>
                <a:srgbClr val="08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35" name="Freeform 33">
                <a:extLst>
                  <a:ext uri="{FF2B5EF4-FFF2-40B4-BE49-F238E27FC236}">
                    <a16:creationId xmlns:a16="http://schemas.microsoft.com/office/drawing/2014/main" id="{5061C6DA-8836-4BE8-9ABB-561E0638FA94}"/>
                  </a:ext>
                </a:extLst>
              </p:cNvPr>
              <p:cNvSpPr>
                <a:spLocks/>
              </p:cNvSpPr>
              <p:nvPr/>
            </p:nvSpPr>
            <p:spPr bwMode="auto">
              <a:xfrm>
                <a:off x="1623834" y="1388834"/>
                <a:ext cx="10415" cy="10415"/>
              </a:xfrm>
              <a:custGeom>
                <a:avLst/>
                <a:gdLst>
                  <a:gd name="T0" fmla="*/ 0 w 12"/>
                  <a:gd name="T1" fmla="*/ 5 h 12"/>
                  <a:gd name="T2" fmla="*/ 5 w 12"/>
                  <a:gd name="T3" fmla="*/ 12 h 12"/>
                  <a:gd name="T4" fmla="*/ 12 w 12"/>
                  <a:gd name="T5" fmla="*/ 7 h 12"/>
                  <a:gd name="T6" fmla="*/ 6 w 12"/>
                  <a:gd name="T7" fmla="*/ 0 h 12"/>
                  <a:gd name="T8" fmla="*/ 0 w 12"/>
                  <a:gd name="T9" fmla="*/ 5 h 12"/>
                </a:gdLst>
                <a:ahLst/>
                <a:cxnLst>
                  <a:cxn ang="0">
                    <a:pos x="T0" y="T1"/>
                  </a:cxn>
                  <a:cxn ang="0">
                    <a:pos x="T2" y="T3"/>
                  </a:cxn>
                  <a:cxn ang="0">
                    <a:pos x="T4" y="T5"/>
                  </a:cxn>
                  <a:cxn ang="0">
                    <a:pos x="T6" y="T7"/>
                  </a:cxn>
                  <a:cxn ang="0">
                    <a:pos x="T8" y="T9"/>
                  </a:cxn>
                </a:cxnLst>
                <a:rect l="0" t="0" r="r" b="b"/>
                <a:pathLst>
                  <a:path w="12" h="12">
                    <a:moveTo>
                      <a:pt x="0" y="5"/>
                    </a:moveTo>
                    <a:cubicBezTo>
                      <a:pt x="0" y="8"/>
                      <a:pt x="2" y="11"/>
                      <a:pt x="5" y="12"/>
                    </a:cubicBezTo>
                    <a:cubicBezTo>
                      <a:pt x="8" y="12"/>
                      <a:pt x="11" y="10"/>
                      <a:pt x="12" y="7"/>
                    </a:cubicBezTo>
                    <a:cubicBezTo>
                      <a:pt x="12" y="3"/>
                      <a:pt x="10" y="1"/>
                      <a:pt x="6" y="0"/>
                    </a:cubicBezTo>
                    <a:cubicBezTo>
                      <a:pt x="3" y="0"/>
                      <a:pt x="0" y="2"/>
                      <a:pt x="0" y="5"/>
                    </a:cubicBezTo>
                    <a:close/>
                  </a:path>
                </a:pathLst>
              </a:custGeom>
              <a:solidFill>
                <a:srgbClr val="08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36" name="Freeform 34">
                <a:extLst>
                  <a:ext uri="{FF2B5EF4-FFF2-40B4-BE49-F238E27FC236}">
                    <a16:creationId xmlns:a16="http://schemas.microsoft.com/office/drawing/2014/main" id="{42AB26AF-A7A4-4631-B3DA-2F1BFD0DD779}"/>
                  </a:ext>
                </a:extLst>
              </p:cNvPr>
              <p:cNvSpPr>
                <a:spLocks/>
              </p:cNvSpPr>
              <p:nvPr/>
            </p:nvSpPr>
            <p:spPr bwMode="auto">
              <a:xfrm>
                <a:off x="1528610" y="1277986"/>
                <a:ext cx="140606" cy="139862"/>
              </a:xfrm>
              <a:custGeom>
                <a:avLst/>
                <a:gdLst>
                  <a:gd name="T0" fmla="*/ 79 w 159"/>
                  <a:gd name="T1" fmla="*/ 22 h 159"/>
                  <a:gd name="T2" fmla="*/ 0 w 159"/>
                  <a:gd name="T3" fmla="*/ 86 h 159"/>
                  <a:gd name="T4" fmla="*/ 0 w 159"/>
                  <a:gd name="T5" fmla="*/ 86 h 159"/>
                  <a:gd name="T6" fmla="*/ 0 w 159"/>
                  <a:gd name="T7" fmla="*/ 159 h 159"/>
                  <a:gd name="T8" fmla="*/ 8 w 159"/>
                  <a:gd name="T9" fmla="*/ 159 h 159"/>
                  <a:gd name="T10" fmla="*/ 8 w 159"/>
                  <a:gd name="T11" fmla="*/ 101 h 159"/>
                  <a:gd name="T12" fmla="*/ 151 w 159"/>
                  <a:gd name="T13" fmla="*/ 86 h 159"/>
                  <a:gd name="T14" fmla="*/ 151 w 159"/>
                  <a:gd name="T15" fmla="*/ 159 h 159"/>
                  <a:gd name="T16" fmla="*/ 159 w 159"/>
                  <a:gd name="T17" fmla="*/ 159 h 159"/>
                  <a:gd name="T18" fmla="*/ 159 w 159"/>
                  <a:gd name="T19" fmla="*/ 86 h 159"/>
                  <a:gd name="T20" fmla="*/ 79 w 159"/>
                  <a:gd name="T21" fmla="*/ 2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9">
                    <a:moveTo>
                      <a:pt x="79" y="22"/>
                    </a:moveTo>
                    <a:cubicBezTo>
                      <a:pt x="38" y="22"/>
                      <a:pt x="1" y="44"/>
                      <a:pt x="0" y="86"/>
                    </a:cubicBezTo>
                    <a:cubicBezTo>
                      <a:pt x="0" y="86"/>
                      <a:pt x="0" y="86"/>
                      <a:pt x="0" y="86"/>
                    </a:cubicBezTo>
                    <a:cubicBezTo>
                      <a:pt x="0" y="159"/>
                      <a:pt x="0" y="159"/>
                      <a:pt x="0" y="159"/>
                    </a:cubicBezTo>
                    <a:cubicBezTo>
                      <a:pt x="8" y="159"/>
                      <a:pt x="8" y="159"/>
                      <a:pt x="8" y="159"/>
                    </a:cubicBezTo>
                    <a:cubicBezTo>
                      <a:pt x="8" y="101"/>
                      <a:pt x="8" y="101"/>
                      <a:pt x="8" y="101"/>
                    </a:cubicBezTo>
                    <a:cubicBezTo>
                      <a:pt x="52" y="117"/>
                      <a:pt x="151" y="0"/>
                      <a:pt x="151" y="86"/>
                    </a:cubicBezTo>
                    <a:cubicBezTo>
                      <a:pt x="151" y="159"/>
                      <a:pt x="151" y="159"/>
                      <a:pt x="151" y="159"/>
                    </a:cubicBezTo>
                    <a:cubicBezTo>
                      <a:pt x="159" y="159"/>
                      <a:pt x="159" y="159"/>
                      <a:pt x="159" y="159"/>
                    </a:cubicBezTo>
                    <a:cubicBezTo>
                      <a:pt x="159" y="86"/>
                      <a:pt x="159" y="86"/>
                      <a:pt x="159" y="86"/>
                    </a:cubicBezTo>
                    <a:cubicBezTo>
                      <a:pt x="159" y="38"/>
                      <a:pt x="121" y="22"/>
                      <a:pt x="79" y="22"/>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37" name="Freeform 35">
                <a:extLst>
                  <a:ext uri="{FF2B5EF4-FFF2-40B4-BE49-F238E27FC236}">
                    <a16:creationId xmlns:a16="http://schemas.microsoft.com/office/drawing/2014/main" id="{0EB3BC73-9F82-4589-8BDA-D75100BB6D08}"/>
                  </a:ext>
                </a:extLst>
              </p:cNvPr>
              <p:cNvSpPr>
                <a:spLocks noEditPoints="1"/>
              </p:cNvSpPr>
              <p:nvPr/>
            </p:nvSpPr>
            <p:spPr bwMode="auto">
              <a:xfrm>
                <a:off x="1528610" y="1391809"/>
                <a:ext cx="140606" cy="119032"/>
              </a:xfrm>
              <a:custGeom>
                <a:avLst/>
                <a:gdLst>
                  <a:gd name="T0" fmla="*/ 153 w 159"/>
                  <a:gd name="T1" fmla="*/ 0 h 135"/>
                  <a:gd name="T2" fmla="*/ 153 w 159"/>
                  <a:gd name="T3" fmla="*/ 5 h 135"/>
                  <a:gd name="T4" fmla="*/ 125 w 159"/>
                  <a:gd name="T5" fmla="*/ 69 h 135"/>
                  <a:gd name="T6" fmla="*/ 125 w 159"/>
                  <a:gd name="T7" fmla="*/ 69 h 135"/>
                  <a:gd name="T8" fmla="*/ 80 w 159"/>
                  <a:gd name="T9" fmla="*/ 48 h 135"/>
                  <a:gd name="T10" fmla="*/ 34 w 159"/>
                  <a:gd name="T11" fmla="*/ 70 h 135"/>
                  <a:gd name="T12" fmla="*/ 34 w 159"/>
                  <a:gd name="T13" fmla="*/ 70 h 135"/>
                  <a:gd name="T14" fmla="*/ 5 w 159"/>
                  <a:gd name="T15" fmla="*/ 5 h 135"/>
                  <a:gd name="T16" fmla="*/ 5 w 159"/>
                  <a:gd name="T17" fmla="*/ 0 h 135"/>
                  <a:gd name="T18" fmla="*/ 0 w 159"/>
                  <a:gd name="T19" fmla="*/ 1 h 135"/>
                  <a:gd name="T20" fmla="*/ 0 w 159"/>
                  <a:gd name="T21" fmla="*/ 53 h 135"/>
                  <a:gd name="T22" fmla="*/ 76 w 159"/>
                  <a:gd name="T23" fmla="*/ 135 h 135"/>
                  <a:gd name="T24" fmla="*/ 80 w 159"/>
                  <a:gd name="T25" fmla="*/ 135 h 135"/>
                  <a:gd name="T26" fmla="*/ 81 w 159"/>
                  <a:gd name="T27" fmla="*/ 135 h 135"/>
                  <a:gd name="T28" fmla="*/ 159 w 159"/>
                  <a:gd name="T29" fmla="*/ 53 h 135"/>
                  <a:gd name="T30" fmla="*/ 159 w 159"/>
                  <a:gd name="T31" fmla="*/ 1 h 135"/>
                  <a:gd name="T32" fmla="*/ 153 w 159"/>
                  <a:gd name="T33" fmla="*/ 0 h 135"/>
                  <a:gd name="T34" fmla="*/ 79 w 159"/>
                  <a:gd name="T35" fmla="*/ 93 h 135"/>
                  <a:gd name="T36" fmla="*/ 47 w 159"/>
                  <a:gd name="T37" fmla="*/ 82 h 135"/>
                  <a:gd name="T38" fmla="*/ 79 w 159"/>
                  <a:gd name="T39" fmla="*/ 59 h 135"/>
                  <a:gd name="T40" fmla="*/ 112 w 159"/>
                  <a:gd name="T41" fmla="*/ 82 h 135"/>
                  <a:gd name="T42" fmla="*/ 79 w 159"/>
                  <a:gd name="T43" fmla="*/ 9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35">
                    <a:moveTo>
                      <a:pt x="153" y="0"/>
                    </a:moveTo>
                    <a:cubicBezTo>
                      <a:pt x="153" y="5"/>
                      <a:pt x="153" y="5"/>
                      <a:pt x="153" y="5"/>
                    </a:cubicBezTo>
                    <a:cubicBezTo>
                      <a:pt x="153" y="31"/>
                      <a:pt x="145" y="55"/>
                      <a:pt x="125" y="69"/>
                    </a:cubicBezTo>
                    <a:cubicBezTo>
                      <a:pt x="125" y="69"/>
                      <a:pt x="125" y="69"/>
                      <a:pt x="125" y="69"/>
                    </a:cubicBezTo>
                    <a:cubicBezTo>
                      <a:pt x="115" y="58"/>
                      <a:pt x="99" y="48"/>
                      <a:pt x="80" y="48"/>
                    </a:cubicBezTo>
                    <a:cubicBezTo>
                      <a:pt x="61" y="48"/>
                      <a:pt x="45" y="58"/>
                      <a:pt x="34" y="70"/>
                    </a:cubicBezTo>
                    <a:cubicBezTo>
                      <a:pt x="34" y="70"/>
                      <a:pt x="34" y="70"/>
                      <a:pt x="34" y="70"/>
                    </a:cubicBezTo>
                    <a:cubicBezTo>
                      <a:pt x="14" y="56"/>
                      <a:pt x="5" y="31"/>
                      <a:pt x="5" y="5"/>
                    </a:cubicBezTo>
                    <a:cubicBezTo>
                      <a:pt x="5" y="0"/>
                      <a:pt x="5" y="0"/>
                      <a:pt x="5" y="0"/>
                    </a:cubicBezTo>
                    <a:cubicBezTo>
                      <a:pt x="0" y="1"/>
                      <a:pt x="0" y="1"/>
                      <a:pt x="0" y="1"/>
                    </a:cubicBezTo>
                    <a:cubicBezTo>
                      <a:pt x="0" y="53"/>
                      <a:pt x="0" y="53"/>
                      <a:pt x="0" y="53"/>
                    </a:cubicBezTo>
                    <a:cubicBezTo>
                      <a:pt x="0" y="97"/>
                      <a:pt x="32" y="133"/>
                      <a:pt x="76" y="135"/>
                    </a:cubicBezTo>
                    <a:cubicBezTo>
                      <a:pt x="77" y="135"/>
                      <a:pt x="79" y="135"/>
                      <a:pt x="80" y="135"/>
                    </a:cubicBezTo>
                    <a:cubicBezTo>
                      <a:pt x="80" y="135"/>
                      <a:pt x="81" y="135"/>
                      <a:pt x="81" y="135"/>
                    </a:cubicBezTo>
                    <a:cubicBezTo>
                      <a:pt x="126" y="134"/>
                      <a:pt x="159" y="98"/>
                      <a:pt x="159" y="53"/>
                    </a:cubicBezTo>
                    <a:cubicBezTo>
                      <a:pt x="159" y="1"/>
                      <a:pt x="159" y="1"/>
                      <a:pt x="159" y="1"/>
                    </a:cubicBezTo>
                    <a:lnTo>
                      <a:pt x="153" y="0"/>
                    </a:lnTo>
                    <a:close/>
                    <a:moveTo>
                      <a:pt x="79" y="93"/>
                    </a:moveTo>
                    <a:cubicBezTo>
                      <a:pt x="66" y="93"/>
                      <a:pt x="54" y="89"/>
                      <a:pt x="47" y="82"/>
                    </a:cubicBezTo>
                    <a:cubicBezTo>
                      <a:pt x="54" y="70"/>
                      <a:pt x="66" y="59"/>
                      <a:pt x="79" y="59"/>
                    </a:cubicBezTo>
                    <a:cubicBezTo>
                      <a:pt x="93" y="59"/>
                      <a:pt x="105" y="70"/>
                      <a:pt x="112" y="82"/>
                    </a:cubicBezTo>
                    <a:cubicBezTo>
                      <a:pt x="105" y="89"/>
                      <a:pt x="93" y="93"/>
                      <a:pt x="79" y="93"/>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38" name="Freeform 36">
                <a:extLst>
                  <a:ext uri="{FF2B5EF4-FFF2-40B4-BE49-F238E27FC236}">
                    <a16:creationId xmlns:a16="http://schemas.microsoft.com/office/drawing/2014/main" id="{8574AF98-CE70-491D-A4E5-96E657B4134B}"/>
                  </a:ext>
                </a:extLst>
              </p:cNvPr>
              <p:cNvSpPr>
                <a:spLocks/>
              </p:cNvSpPr>
              <p:nvPr/>
            </p:nvSpPr>
            <p:spPr bwMode="auto">
              <a:xfrm>
                <a:off x="1579198" y="1458765"/>
                <a:ext cx="40173" cy="7439"/>
              </a:xfrm>
              <a:custGeom>
                <a:avLst/>
                <a:gdLst>
                  <a:gd name="T0" fmla="*/ 22 w 45"/>
                  <a:gd name="T1" fmla="*/ 9 h 9"/>
                  <a:gd name="T2" fmla="*/ 2 w 45"/>
                  <a:gd name="T3" fmla="*/ 6 h 9"/>
                  <a:gd name="T4" fmla="*/ 0 w 45"/>
                  <a:gd name="T5" fmla="*/ 3 h 9"/>
                  <a:gd name="T6" fmla="*/ 3 w 45"/>
                  <a:gd name="T7" fmla="*/ 1 h 9"/>
                  <a:gd name="T8" fmla="*/ 41 w 45"/>
                  <a:gd name="T9" fmla="*/ 1 h 9"/>
                  <a:gd name="T10" fmla="*/ 45 w 45"/>
                  <a:gd name="T11" fmla="*/ 3 h 9"/>
                  <a:gd name="T12" fmla="*/ 43 w 45"/>
                  <a:gd name="T13" fmla="*/ 6 h 9"/>
                  <a:gd name="T14" fmla="*/ 22 w 45"/>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9">
                    <a:moveTo>
                      <a:pt x="22" y="9"/>
                    </a:moveTo>
                    <a:cubicBezTo>
                      <a:pt x="16" y="9"/>
                      <a:pt x="10" y="8"/>
                      <a:pt x="2" y="6"/>
                    </a:cubicBezTo>
                    <a:cubicBezTo>
                      <a:pt x="1" y="6"/>
                      <a:pt x="0" y="4"/>
                      <a:pt x="0" y="3"/>
                    </a:cubicBezTo>
                    <a:cubicBezTo>
                      <a:pt x="0" y="1"/>
                      <a:pt x="2" y="0"/>
                      <a:pt x="3" y="1"/>
                    </a:cubicBezTo>
                    <a:cubicBezTo>
                      <a:pt x="18" y="4"/>
                      <a:pt x="27" y="4"/>
                      <a:pt x="41" y="1"/>
                    </a:cubicBezTo>
                    <a:cubicBezTo>
                      <a:pt x="43" y="0"/>
                      <a:pt x="45" y="1"/>
                      <a:pt x="45" y="3"/>
                    </a:cubicBezTo>
                    <a:cubicBezTo>
                      <a:pt x="45" y="4"/>
                      <a:pt x="44" y="6"/>
                      <a:pt x="43" y="6"/>
                    </a:cubicBezTo>
                    <a:cubicBezTo>
                      <a:pt x="35" y="8"/>
                      <a:pt x="29" y="9"/>
                      <a:pt x="22" y="9"/>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39" name="Freeform 37">
                <a:extLst>
                  <a:ext uri="{FF2B5EF4-FFF2-40B4-BE49-F238E27FC236}">
                    <a16:creationId xmlns:a16="http://schemas.microsoft.com/office/drawing/2014/main" id="{5DE11ED0-4CA3-41AD-AD12-6D286B7F9BE5}"/>
                  </a:ext>
                </a:extLst>
              </p:cNvPr>
              <p:cNvSpPr>
                <a:spLocks/>
              </p:cNvSpPr>
              <p:nvPr/>
            </p:nvSpPr>
            <p:spPr bwMode="auto">
              <a:xfrm>
                <a:off x="1544977" y="1376930"/>
                <a:ext cx="44636" cy="11904"/>
              </a:xfrm>
              <a:custGeom>
                <a:avLst/>
                <a:gdLst>
                  <a:gd name="T0" fmla="*/ 0 w 51"/>
                  <a:gd name="T1" fmla="*/ 13 h 14"/>
                  <a:gd name="T2" fmla="*/ 2 w 51"/>
                  <a:gd name="T3" fmla="*/ 11 h 14"/>
                  <a:gd name="T4" fmla="*/ 6 w 51"/>
                  <a:gd name="T5" fmla="*/ 7 h 14"/>
                  <a:gd name="T6" fmla="*/ 14 w 51"/>
                  <a:gd name="T7" fmla="*/ 2 h 14"/>
                  <a:gd name="T8" fmla="*/ 19 w 51"/>
                  <a:gd name="T9" fmla="*/ 1 h 14"/>
                  <a:gd name="T10" fmla="*/ 19 w 51"/>
                  <a:gd name="T11" fmla="*/ 0 h 14"/>
                  <a:gd name="T12" fmla="*/ 19 w 51"/>
                  <a:gd name="T13" fmla="*/ 0 h 14"/>
                  <a:gd name="T14" fmla="*/ 20 w 51"/>
                  <a:gd name="T15" fmla="*/ 0 h 14"/>
                  <a:gd name="T16" fmla="*/ 20 w 51"/>
                  <a:gd name="T17" fmla="*/ 0 h 14"/>
                  <a:gd name="T18" fmla="*/ 22 w 51"/>
                  <a:gd name="T19" fmla="*/ 0 h 14"/>
                  <a:gd name="T20" fmla="*/ 25 w 51"/>
                  <a:gd name="T21" fmla="*/ 0 h 14"/>
                  <a:gd name="T22" fmla="*/ 35 w 51"/>
                  <a:gd name="T23" fmla="*/ 2 h 14"/>
                  <a:gd name="T24" fmla="*/ 43 w 51"/>
                  <a:gd name="T25" fmla="*/ 5 h 14"/>
                  <a:gd name="T26" fmla="*/ 50 w 51"/>
                  <a:gd name="T27" fmla="*/ 10 h 14"/>
                  <a:gd name="T28" fmla="*/ 50 w 51"/>
                  <a:gd name="T29" fmla="*/ 10 h 14"/>
                  <a:gd name="T30" fmla="*/ 50 w 51"/>
                  <a:gd name="T31" fmla="*/ 11 h 14"/>
                  <a:gd name="T32" fmla="*/ 49 w 51"/>
                  <a:gd name="T33" fmla="*/ 11 h 14"/>
                  <a:gd name="T34" fmla="*/ 42 w 51"/>
                  <a:gd name="T35" fmla="*/ 9 h 14"/>
                  <a:gd name="T36" fmla="*/ 24 w 51"/>
                  <a:gd name="T37" fmla="*/ 6 h 14"/>
                  <a:gd name="T38" fmla="*/ 22 w 51"/>
                  <a:gd name="T39" fmla="*/ 6 h 14"/>
                  <a:gd name="T40" fmla="*/ 20 w 51"/>
                  <a:gd name="T41" fmla="*/ 7 h 14"/>
                  <a:gd name="T42" fmla="*/ 16 w 51"/>
                  <a:gd name="T43" fmla="*/ 8 h 14"/>
                  <a:gd name="T44" fmla="*/ 8 w 51"/>
                  <a:gd name="T45" fmla="*/ 11 h 14"/>
                  <a:gd name="T46" fmla="*/ 3 w 51"/>
                  <a:gd name="T47" fmla="*/ 13 h 14"/>
                  <a:gd name="T48" fmla="*/ 1 w 51"/>
                  <a:gd name="T49" fmla="*/ 14 h 14"/>
                  <a:gd name="T50" fmla="*/ 0 w 51"/>
                  <a:gd name="T51" fmla="*/ 14 h 14"/>
                  <a:gd name="T52" fmla="*/ 0 w 51"/>
                  <a:gd name="T53"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 h="14">
                    <a:moveTo>
                      <a:pt x="0" y="13"/>
                    </a:moveTo>
                    <a:cubicBezTo>
                      <a:pt x="0" y="13"/>
                      <a:pt x="1" y="13"/>
                      <a:pt x="2" y="11"/>
                    </a:cubicBezTo>
                    <a:cubicBezTo>
                      <a:pt x="3" y="10"/>
                      <a:pt x="4" y="9"/>
                      <a:pt x="6" y="7"/>
                    </a:cubicBezTo>
                    <a:cubicBezTo>
                      <a:pt x="8" y="6"/>
                      <a:pt x="11" y="4"/>
                      <a:pt x="14" y="2"/>
                    </a:cubicBezTo>
                    <a:cubicBezTo>
                      <a:pt x="15" y="2"/>
                      <a:pt x="17" y="1"/>
                      <a:pt x="19" y="1"/>
                    </a:cubicBezTo>
                    <a:cubicBezTo>
                      <a:pt x="19" y="0"/>
                      <a:pt x="19" y="0"/>
                      <a:pt x="19" y="0"/>
                    </a:cubicBezTo>
                    <a:cubicBezTo>
                      <a:pt x="19" y="0"/>
                      <a:pt x="19" y="0"/>
                      <a:pt x="19" y="0"/>
                    </a:cubicBezTo>
                    <a:cubicBezTo>
                      <a:pt x="20" y="0"/>
                      <a:pt x="20" y="0"/>
                      <a:pt x="20" y="0"/>
                    </a:cubicBezTo>
                    <a:cubicBezTo>
                      <a:pt x="20" y="0"/>
                      <a:pt x="20" y="0"/>
                      <a:pt x="20" y="0"/>
                    </a:cubicBezTo>
                    <a:cubicBezTo>
                      <a:pt x="21" y="0"/>
                      <a:pt x="21" y="0"/>
                      <a:pt x="22" y="0"/>
                    </a:cubicBezTo>
                    <a:cubicBezTo>
                      <a:pt x="23" y="0"/>
                      <a:pt x="24" y="0"/>
                      <a:pt x="25" y="0"/>
                    </a:cubicBezTo>
                    <a:cubicBezTo>
                      <a:pt x="28" y="0"/>
                      <a:pt x="32" y="1"/>
                      <a:pt x="35" y="2"/>
                    </a:cubicBezTo>
                    <a:cubicBezTo>
                      <a:pt x="38" y="3"/>
                      <a:pt x="41" y="4"/>
                      <a:pt x="43" y="5"/>
                    </a:cubicBezTo>
                    <a:cubicBezTo>
                      <a:pt x="48" y="7"/>
                      <a:pt x="50" y="10"/>
                      <a:pt x="50" y="10"/>
                    </a:cubicBezTo>
                    <a:cubicBezTo>
                      <a:pt x="50" y="10"/>
                      <a:pt x="50" y="10"/>
                      <a:pt x="50" y="10"/>
                    </a:cubicBezTo>
                    <a:cubicBezTo>
                      <a:pt x="51" y="10"/>
                      <a:pt x="51" y="11"/>
                      <a:pt x="50" y="11"/>
                    </a:cubicBezTo>
                    <a:cubicBezTo>
                      <a:pt x="50" y="11"/>
                      <a:pt x="50" y="11"/>
                      <a:pt x="49" y="11"/>
                    </a:cubicBezTo>
                    <a:cubicBezTo>
                      <a:pt x="49" y="11"/>
                      <a:pt x="46" y="10"/>
                      <a:pt x="42" y="9"/>
                    </a:cubicBezTo>
                    <a:cubicBezTo>
                      <a:pt x="37" y="8"/>
                      <a:pt x="30" y="6"/>
                      <a:pt x="24" y="6"/>
                    </a:cubicBezTo>
                    <a:cubicBezTo>
                      <a:pt x="24" y="6"/>
                      <a:pt x="23" y="6"/>
                      <a:pt x="22" y="6"/>
                    </a:cubicBezTo>
                    <a:cubicBezTo>
                      <a:pt x="22" y="6"/>
                      <a:pt x="20" y="6"/>
                      <a:pt x="20" y="7"/>
                    </a:cubicBezTo>
                    <a:cubicBezTo>
                      <a:pt x="19" y="7"/>
                      <a:pt x="17" y="7"/>
                      <a:pt x="16" y="8"/>
                    </a:cubicBezTo>
                    <a:cubicBezTo>
                      <a:pt x="13" y="9"/>
                      <a:pt x="11" y="10"/>
                      <a:pt x="8" y="11"/>
                    </a:cubicBezTo>
                    <a:cubicBezTo>
                      <a:pt x="6" y="12"/>
                      <a:pt x="4" y="13"/>
                      <a:pt x="3" y="13"/>
                    </a:cubicBezTo>
                    <a:cubicBezTo>
                      <a:pt x="2" y="14"/>
                      <a:pt x="1" y="14"/>
                      <a:pt x="1" y="14"/>
                    </a:cubicBezTo>
                    <a:cubicBezTo>
                      <a:pt x="1" y="14"/>
                      <a:pt x="0" y="14"/>
                      <a:pt x="0" y="14"/>
                    </a:cubicBezTo>
                    <a:cubicBezTo>
                      <a:pt x="0" y="14"/>
                      <a:pt x="0" y="14"/>
                      <a:pt x="0" y="13"/>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40" name="Freeform 38">
                <a:extLst>
                  <a:ext uri="{FF2B5EF4-FFF2-40B4-BE49-F238E27FC236}">
                    <a16:creationId xmlns:a16="http://schemas.microsoft.com/office/drawing/2014/main" id="{36D6886E-1A85-4D28-92D3-7A0A02A7A215}"/>
                  </a:ext>
                </a:extLst>
              </p:cNvPr>
              <p:cNvSpPr>
                <a:spLocks/>
              </p:cNvSpPr>
              <p:nvPr/>
            </p:nvSpPr>
            <p:spPr bwMode="auto">
              <a:xfrm>
                <a:off x="1608211" y="1375443"/>
                <a:ext cx="44636" cy="14135"/>
              </a:xfrm>
              <a:custGeom>
                <a:avLst/>
                <a:gdLst>
                  <a:gd name="T0" fmla="*/ 49 w 50"/>
                  <a:gd name="T1" fmla="*/ 16 h 16"/>
                  <a:gd name="T2" fmla="*/ 47 w 50"/>
                  <a:gd name="T3" fmla="*/ 15 h 16"/>
                  <a:gd name="T4" fmla="*/ 42 w 50"/>
                  <a:gd name="T5" fmla="*/ 12 h 16"/>
                  <a:gd name="T6" fmla="*/ 34 w 50"/>
                  <a:gd name="T7" fmla="*/ 8 h 16"/>
                  <a:gd name="T8" fmla="*/ 30 w 50"/>
                  <a:gd name="T9" fmla="*/ 7 h 16"/>
                  <a:gd name="T10" fmla="*/ 28 w 50"/>
                  <a:gd name="T11" fmla="*/ 6 h 16"/>
                  <a:gd name="T12" fmla="*/ 26 w 50"/>
                  <a:gd name="T13" fmla="*/ 6 h 16"/>
                  <a:gd name="T14" fmla="*/ 9 w 50"/>
                  <a:gd name="T15" fmla="*/ 8 h 16"/>
                  <a:gd name="T16" fmla="*/ 1 w 50"/>
                  <a:gd name="T17" fmla="*/ 9 h 16"/>
                  <a:gd name="T18" fmla="*/ 0 w 50"/>
                  <a:gd name="T19" fmla="*/ 9 h 16"/>
                  <a:gd name="T20" fmla="*/ 0 w 50"/>
                  <a:gd name="T21" fmla="*/ 8 h 16"/>
                  <a:gd name="T22" fmla="*/ 0 w 50"/>
                  <a:gd name="T23" fmla="*/ 8 h 16"/>
                  <a:gd name="T24" fmla="*/ 8 w 50"/>
                  <a:gd name="T25" fmla="*/ 4 h 16"/>
                  <a:gd name="T26" fmla="*/ 16 w 50"/>
                  <a:gd name="T27" fmla="*/ 1 h 16"/>
                  <a:gd name="T28" fmla="*/ 26 w 50"/>
                  <a:gd name="T29" fmla="*/ 0 h 16"/>
                  <a:gd name="T30" fmla="*/ 29 w 50"/>
                  <a:gd name="T31" fmla="*/ 0 h 16"/>
                  <a:gd name="T32" fmla="*/ 31 w 50"/>
                  <a:gd name="T33" fmla="*/ 0 h 16"/>
                  <a:gd name="T34" fmla="*/ 31 w 50"/>
                  <a:gd name="T35" fmla="*/ 0 h 16"/>
                  <a:gd name="T36" fmla="*/ 32 w 50"/>
                  <a:gd name="T37" fmla="*/ 1 h 16"/>
                  <a:gd name="T38" fmla="*/ 32 w 50"/>
                  <a:gd name="T39" fmla="*/ 1 h 16"/>
                  <a:gd name="T40" fmla="*/ 32 w 50"/>
                  <a:gd name="T41" fmla="*/ 1 h 16"/>
                  <a:gd name="T42" fmla="*/ 37 w 50"/>
                  <a:gd name="T43" fmla="*/ 3 h 16"/>
                  <a:gd name="T44" fmla="*/ 44 w 50"/>
                  <a:gd name="T45" fmla="*/ 8 h 16"/>
                  <a:gd name="T46" fmla="*/ 49 w 50"/>
                  <a:gd name="T47" fmla="*/ 13 h 16"/>
                  <a:gd name="T48" fmla="*/ 50 w 50"/>
                  <a:gd name="T49" fmla="*/ 15 h 16"/>
                  <a:gd name="T50" fmla="*/ 50 w 50"/>
                  <a:gd name="T51" fmla="*/ 16 h 16"/>
                  <a:gd name="T52" fmla="*/ 49 w 50"/>
                  <a:gd name="T5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16">
                    <a:moveTo>
                      <a:pt x="49" y="16"/>
                    </a:moveTo>
                    <a:cubicBezTo>
                      <a:pt x="49" y="16"/>
                      <a:pt x="48" y="15"/>
                      <a:pt x="47" y="15"/>
                    </a:cubicBezTo>
                    <a:cubicBezTo>
                      <a:pt x="46" y="14"/>
                      <a:pt x="44" y="13"/>
                      <a:pt x="42" y="12"/>
                    </a:cubicBezTo>
                    <a:cubicBezTo>
                      <a:pt x="39" y="11"/>
                      <a:pt x="37" y="9"/>
                      <a:pt x="34" y="8"/>
                    </a:cubicBezTo>
                    <a:cubicBezTo>
                      <a:pt x="33" y="8"/>
                      <a:pt x="32" y="7"/>
                      <a:pt x="30" y="7"/>
                    </a:cubicBezTo>
                    <a:cubicBezTo>
                      <a:pt x="30" y="7"/>
                      <a:pt x="29" y="6"/>
                      <a:pt x="28" y="6"/>
                    </a:cubicBezTo>
                    <a:cubicBezTo>
                      <a:pt x="28" y="6"/>
                      <a:pt x="27" y="6"/>
                      <a:pt x="26" y="6"/>
                    </a:cubicBezTo>
                    <a:cubicBezTo>
                      <a:pt x="20" y="6"/>
                      <a:pt x="14" y="7"/>
                      <a:pt x="9" y="8"/>
                    </a:cubicBezTo>
                    <a:cubicBezTo>
                      <a:pt x="4" y="9"/>
                      <a:pt x="1" y="9"/>
                      <a:pt x="1" y="9"/>
                    </a:cubicBezTo>
                    <a:cubicBezTo>
                      <a:pt x="0" y="10"/>
                      <a:pt x="0" y="9"/>
                      <a:pt x="0" y="9"/>
                    </a:cubicBezTo>
                    <a:cubicBezTo>
                      <a:pt x="0" y="8"/>
                      <a:pt x="0" y="8"/>
                      <a:pt x="0" y="8"/>
                    </a:cubicBezTo>
                    <a:cubicBezTo>
                      <a:pt x="0" y="8"/>
                      <a:pt x="0" y="8"/>
                      <a:pt x="0" y="8"/>
                    </a:cubicBezTo>
                    <a:cubicBezTo>
                      <a:pt x="0" y="8"/>
                      <a:pt x="3" y="5"/>
                      <a:pt x="8" y="4"/>
                    </a:cubicBezTo>
                    <a:cubicBezTo>
                      <a:pt x="10" y="3"/>
                      <a:pt x="13" y="2"/>
                      <a:pt x="16" y="1"/>
                    </a:cubicBezTo>
                    <a:cubicBezTo>
                      <a:pt x="19" y="0"/>
                      <a:pt x="23" y="0"/>
                      <a:pt x="26" y="0"/>
                    </a:cubicBezTo>
                    <a:cubicBezTo>
                      <a:pt x="27" y="0"/>
                      <a:pt x="28" y="0"/>
                      <a:pt x="29" y="0"/>
                    </a:cubicBezTo>
                    <a:cubicBezTo>
                      <a:pt x="30" y="0"/>
                      <a:pt x="30" y="0"/>
                      <a:pt x="31" y="0"/>
                    </a:cubicBezTo>
                    <a:cubicBezTo>
                      <a:pt x="31" y="0"/>
                      <a:pt x="31" y="0"/>
                      <a:pt x="31" y="0"/>
                    </a:cubicBezTo>
                    <a:cubicBezTo>
                      <a:pt x="32" y="1"/>
                      <a:pt x="32" y="1"/>
                      <a:pt x="32" y="1"/>
                    </a:cubicBezTo>
                    <a:cubicBezTo>
                      <a:pt x="32" y="1"/>
                      <a:pt x="32" y="1"/>
                      <a:pt x="32" y="1"/>
                    </a:cubicBezTo>
                    <a:cubicBezTo>
                      <a:pt x="32" y="1"/>
                      <a:pt x="32" y="1"/>
                      <a:pt x="32" y="1"/>
                    </a:cubicBezTo>
                    <a:cubicBezTo>
                      <a:pt x="34" y="1"/>
                      <a:pt x="36" y="2"/>
                      <a:pt x="37" y="3"/>
                    </a:cubicBezTo>
                    <a:cubicBezTo>
                      <a:pt x="40" y="5"/>
                      <a:pt x="42" y="7"/>
                      <a:pt x="44" y="8"/>
                    </a:cubicBezTo>
                    <a:cubicBezTo>
                      <a:pt x="46" y="10"/>
                      <a:pt x="48" y="12"/>
                      <a:pt x="49" y="13"/>
                    </a:cubicBezTo>
                    <a:cubicBezTo>
                      <a:pt x="49" y="14"/>
                      <a:pt x="50" y="15"/>
                      <a:pt x="50" y="15"/>
                    </a:cubicBezTo>
                    <a:cubicBezTo>
                      <a:pt x="50" y="15"/>
                      <a:pt x="50" y="15"/>
                      <a:pt x="50" y="16"/>
                    </a:cubicBezTo>
                    <a:cubicBezTo>
                      <a:pt x="50" y="16"/>
                      <a:pt x="49" y="16"/>
                      <a:pt x="49" y="16"/>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41" name="Freeform 39">
                <a:extLst>
                  <a:ext uri="{FF2B5EF4-FFF2-40B4-BE49-F238E27FC236}">
                    <a16:creationId xmlns:a16="http://schemas.microsoft.com/office/drawing/2014/main" id="{9F530B3E-6AA6-415A-886E-B934D5B4F7F4}"/>
                  </a:ext>
                </a:extLst>
              </p:cNvPr>
              <p:cNvSpPr>
                <a:spLocks/>
              </p:cNvSpPr>
              <p:nvPr/>
            </p:nvSpPr>
            <p:spPr bwMode="auto">
              <a:xfrm>
                <a:off x="1579942" y="1382138"/>
                <a:ext cx="18599" cy="40918"/>
              </a:xfrm>
              <a:custGeom>
                <a:avLst/>
                <a:gdLst>
                  <a:gd name="T0" fmla="*/ 0 w 21"/>
                  <a:gd name="T1" fmla="*/ 47 h 47"/>
                  <a:gd name="T2" fmla="*/ 21 w 21"/>
                  <a:gd name="T3" fmla="*/ 47 h 47"/>
                  <a:gd name="T4" fmla="*/ 21 w 21"/>
                  <a:gd name="T5" fmla="*/ 0 h 47"/>
                  <a:gd name="T6" fmla="*/ 14 w 21"/>
                  <a:gd name="T7" fmla="*/ 8 h 47"/>
                  <a:gd name="T8" fmla="*/ 3 w 21"/>
                  <a:gd name="T9" fmla="*/ 40 h 47"/>
                  <a:gd name="T10" fmla="*/ 0 w 21"/>
                  <a:gd name="T11" fmla="*/ 47 h 47"/>
                </a:gdLst>
                <a:ahLst/>
                <a:cxnLst>
                  <a:cxn ang="0">
                    <a:pos x="T0" y="T1"/>
                  </a:cxn>
                  <a:cxn ang="0">
                    <a:pos x="T2" y="T3"/>
                  </a:cxn>
                  <a:cxn ang="0">
                    <a:pos x="T4" y="T5"/>
                  </a:cxn>
                  <a:cxn ang="0">
                    <a:pos x="T6" y="T7"/>
                  </a:cxn>
                  <a:cxn ang="0">
                    <a:pos x="T8" y="T9"/>
                  </a:cxn>
                  <a:cxn ang="0">
                    <a:pos x="T10" y="T11"/>
                  </a:cxn>
                </a:cxnLst>
                <a:rect l="0" t="0" r="r" b="b"/>
                <a:pathLst>
                  <a:path w="21" h="47">
                    <a:moveTo>
                      <a:pt x="0" y="47"/>
                    </a:moveTo>
                    <a:cubicBezTo>
                      <a:pt x="21" y="47"/>
                      <a:pt x="21" y="47"/>
                      <a:pt x="21" y="47"/>
                    </a:cubicBezTo>
                    <a:cubicBezTo>
                      <a:pt x="21" y="0"/>
                      <a:pt x="21" y="0"/>
                      <a:pt x="21" y="0"/>
                    </a:cubicBezTo>
                    <a:cubicBezTo>
                      <a:pt x="19" y="0"/>
                      <a:pt x="14" y="0"/>
                      <a:pt x="14" y="8"/>
                    </a:cubicBezTo>
                    <a:cubicBezTo>
                      <a:pt x="14" y="20"/>
                      <a:pt x="8" y="34"/>
                      <a:pt x="3" y="40"/>
                    </a:cubicBezTo>
                    <a:cubicBezTo>
                      <a:pt x="0" y="42"/>
                      <a:pt x="0" y="47"/>
                      <a:pt x="0" y="47"/>
                    </a:cubicBezTo>
                    <a:close/>
                  </a:path>
                </a:pathLst>
              </a:custGeom>
              <a:solidFill>
                <a:srgbClr val="F9E6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42" name="Freeform 40">
                <a:extLst>
                  <a:ext uri="{FF2B5EF4-FFF2-40B4-BE49-F238E27FC236}">
                    <a16:creationId xmlns:a16="http://schemas.microsoft.com/office/drawing/2014/main" id="{B42A4558-1D11-4795-9FBA-6BFF03C571A3}"/>
                  </a:ext>
                </a:extLst>
              </p:cNvPr>
              <p:cNvSpPr>
                <a:spLocks/>
              </p:cNvSpPr>
              <p:nvPr/>
            </p:nvSpPr>
            <p:spPr bwMode="auto">
              <a:xfrm>
                <a:off x="1579942" y="1423055"/>
                <a:ext cx="37197" cy="9671"/>
              </a:xfrm>
              <a:custGeom>
                <a:avLst/>
                <a:gdLst>
                  <a:gd name="T0" fmla="*/ 42 w 42"/>
                  <a:gd name="T1" fmla="*/ 0 h 11"/>
                  <a:gd name="T2" fmla="*/ 38 w 42"/>
                  <a:gd name="T3" fmla="*/ 4 h 11"/>
                  <a:gd name="T4" fmla="*/ 28 w 42"/>
                  <a:gd name="T5" fmla="*/ 8 h 11"/>
                  <a:gd name="T6" fmla="*/ 21 w 42"/>
                  <a:gd name="T7" fmla="*/ 11 h 11"/>
                  <a:gd name="T8" fmla="*/ 21 w 42"/>
                  <a:gd name="T9" fmla="*/ 11 h 11"/>
                  <a:gd name="T10" fmla="*/ 14 w 42"/>
                  <a:gd name="T11" fmla="*/ 8 h 11"/>
                  <a:gd name="T12" fmla="*/ 4 w 42"/>
                  <a:gd name="T13" fmla="*/ 4 h 11"/>
                  <a:gd name="T14" fmla="*/ 0 w 42"/>
                  <a:gd name="T15" fmla="*/ 0 h 11"/>
                  <a:gd name="T16" fmla="*/ 42 w 42"/>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1">
                    <a:moveTo>
                      <a:pt x="42" y="0"/>
                    </a:moveTo>
                    <a:cubicBezTo>
                      <a:pt x="42" y="2"/>
                      <a:pt x="40" y="3"/>
                      <a:pt x="38" y="4"/>
                    </a:cubicBezTo>
                    <a:cubicBezTo>
                      <a:pt x="33" y="6"/>
                      <a:pt x="30" y="6"/>
                      <a:pt x="28" y="8"/>
                    </a:cubicBezTo>
                    <a:cubicBezTo>
                      <a:pt x="26" y="10"/>
                      <a:pt x="23" y="11"/>
                      <a:pt x="21" y="11"/>
                    </a:cubicBezTo>
                    <a:cubicBezTo>
                      <a:pt x="21" y="11"/>
                      <a:pt x="21" y="11"/>
                      <a:pt x="21" y="11"/>
                    </a:cubicBezTo>
                    <a:cubicBezTo>
                      <a:pt x="19" y="11"/>
                      <a:pt x="16" y="10"/>
                      <a:pt x="14" y="8"/>
                    </a:cubicBezTo>
                    <a:cubicBezTo>
                      <a:pt x="12" y="6"/>
                      <a:pt x="9" y="6"/>
                      <a:pt x="4" y="4"/>
                    </a:cubicBezTo>
                    <a:cubicBezTo>
                      <a:pt x="2" y="3"/>
                      <a:pt x="0" y="2"/>
                      <a:pt x="0" y="0"/>
                    </a:cubicBezTo>
                    <a:lnTo>
                      <a:pt x="42" y="0"/>
                    </a:ln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43" name="Freeform 41">
                <a:extLst>
                  <a:ext uri="{FF2B5EF4-FFF2-40B4-BE49-F238E27FC236}">
                    <a16:creationId xmlns:a16="http://schemas.microsoft.com/office/drawing/2014/main" id="{D6E2A753-1039-4580-8C76-E53947DFF148}"/>
                  </a:ext>
                </a:extLst>
              </p:cNvPr>
              <p:cNvSpPr>
                <a:spLocks/>
              </p:cNvSpPr>
              <p:nvPr/>
            </p:nvSpPr>
            <p:spPr bwMode="auto">
              <a:xfrm>
                <a:off x="1748818" y="1541344"/>
                <a:ext cx="85554" cy="287164"/>
              </a:xfrm>
              <a:custGeom>
                <a:avLst/>
                <a:gdLst>
                  <a:gd name="T0" fmla="*/ 5 w 96"/>
                  <a:gd name="T1" fmla="*/ 279 h 326"/>
                  <a:gd name="T2" fmla="*/ 5 w 96"/>
                  <a:gd name="T3" fmla="*/ 276 h 326"/>
                  <a:gd name="T4" fmla="*/ 8 w 96"/>
                  <a:gd name="T5" fmla="*/ 268 h 326"/>
                  <a:gd name="T6" fmla="*/ 10 w 96"/>
                  <a:gd name="T7" fmla="*/ 258 h 326"/>
                  <a:gd name="T8" fmla="*/ 13 w 96"/>
                  <a:gd name="T9" fmla="*/ 243 h 326"/>
                  <a:gd name="T10" fmla="*/ 24 w 96"/>
                  <a:gd name="T11" fmla="*/ 156 h 326"/>
                  <a:gd name="T12" fmla="*/ 35 w 96"/>
                  <a:gd name="T13" fmla="*/ 66 h 326"/>
                  <a:gd name="T14" fmla="*/ 37 w 96"/>
                  <a:gd name="T15" fmla="*/ 49 h 326"/>
                  <a:gd name="T16" fmla="*/ 39 w 96"/>
                  <a:gd name="T17" fmla="*/ 36 h 326"/>
                  <a:gd name="T18" fmla="*/ 41 w 96"/>
                  <a:gd name="T19" fmla="*/ 25 h 326"/>
                  <a:gd name="T20" fmla="*/ 72 w 96"/>
                  <a:gd name="T21" fmla="*/ 3 h 326"/>
                  <a:gd name="T22" fmla="*/ 95 w 96"/>
                  <a:gd name="T23" fmla="*/ 32 h 326"/>
                  <a:gd name="T24" fmla="*/ 94 w 96"/>
                  <a:gd name="T25" fmla="*/ 33 h 326"/>
                  <a:gd name="T26" fmla="*/ 93 w 96"/>
                  <a:gd name="T27" fmla="*/ 44 h 326"/>
                  <a:gd name="T28" fmla="*/ 92 w 96"/>
                  <a:gd name="T29" fmla="*/ 56 h 326"/>
                  <a:gd name="T30" fmla="*/ 90 w 96"/>
                  <a:gd name="T31" fmla="*/ 72 h 326"/>
                  <a:gd name="T32" fmla="*/ 85 w 96"/>
                  <a:gd name="T33" fmla="*/ 161 h 326"/>
                  <a:gd name="T34" fmla="*/ 78 w 96"/>
                  <a:gd name="T35" fmla="*/ 252 h 326"/>
                  <a:gd name="T36" fmla="*/ 75 w 96"/>
                  <a:gd name="T37" fmla="*/ 270 h 326"/>
                  <a:gd name="T38" fmla="*/ 73 w 96"/>
                  <a:gd name="T39" fmla="*/ 285 h 326"/>
                  <a:gd name="T40" fmla="*/ 71 w 96"/>
                  <a:gd name="T41" fmla="*/ 293 h 326"/>
                  <a:gd name="T42" fmla="*/ 70 w 96"/>
                  <a:gd name="T43" fmla="*/ 296 h 326"/>
                  <a:gd name="T44" fmla="*/ 29 w 96"/>
                  <a:gd name="T45" fmla="*/ 321 h 326"/>
                  <a:gd name="T46" fmla="*/ 4 w 96"/>
                  <a:gd name="T47" fmla="*/ 281 h 326"/>
                  <a:gd name="T48" fmla="*/ 5 w 96"/>
                  <a:gd name="T49" fmla="*/ 27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326">
                    <a:moveTo>
                      <a:pt x="5" y="279"/>
                    </a:moveTo>
                    <a:cubicBezTo>
                      <a:pt x="5" y="279"/>
                      <a:pt x="5" y="278"/>
                      <a:pt x="5" y="276"/>
                    </a:cubicBezTo>
                    <a:cubicBezTo>
                      <a:pt x="6" y="274"/>
                      <a:pt x="7" y="271"/>
                      <a:pt x="8" y="268"/>
                    </a:cubicBezTo>
                    <a:cubicBezTo>
                      <a:pt x="8" y="265"/>
                      <a:pt x="9" y="262"/>
                      <a:pt x="10" y="258"/>
                    </a:cubicBezTo>
                    <a:cubicBezTo>
                      <a:pt x="11" y="254"/>
                      <a:pt x="12" y="249"/>
                      <a:pt x="13" y="243"/>
                    </a:cubicBezTo>
                    <a:cubicBezTo>
                      <a:pt x="17" y="220"/>
                      <a:pt x="20" y="188"/>
                      <a:pt x="24" y="156"/>
                    </a:cubicBezTo>
                    <a:cubicBezTo>
                      <a:pt x="28" y="123"/>
                      <a:pt x="31" y="91"/>
                      <a:pt x="35" y="66"/>
                    </a:cubicBezTo>
                    <a:cubicBezTo>
                      <a:pt x="36" y="60"/>
                      <a:pt x="36" y="54"/>
                      <a:pt x="37" y="49"/>
                    </a:cubicBezTo>
                    <a:cubicBezTo>
                      <a:pt x="38" y="44"/>
                      <a:pt x="39" y="40"/>
                      <a:pt x="39" y="36"/>
                    </a:cubicBezTo>
                    <a:cubicBezTo>
                      <a:pt x="41" y="29"/>
                      <a:pt x="41" y="25"/>
                      <a:pt x="41" y="25"/>
                    </a:cubicBezTo>
                    <a:cubicBezTo>
                      <a:pt x="44" y="10"/>
                      <a:pt x="58" y="0"/>
                      <a:pt x="72" y="3"/>
                    </a:cubicBezTo>
                    <a:cubicBezTo>
                      <a:pt x="87" y="5"/>
                      <a:pt x="96" y="18"/>
                      <a:pt x="95" y="32"/>
                    </a:cubicBezTo>
                    <a:cubicBezTo>
                      <a:pt x="94" y="33"/>
                      <a:pt x="94" y="33"/>
                      <a:pt x="94" y="33"/>
                    </a:cubicBezTo>
                    <a:cubicBezTo>
                      <a:pt x="94" y="33"/>
                      <a:pt x="94" y="37"/>
                      <a:pt x="93" y="44"/>
                    </a:cubicBezTo>
                    <a:cubicBezTo>
                      <a:pt x="93" y="47"/>
                      <a:pt x="92" y="51"/>
                      <a:pt x="92" y="56"/>
                    </a:cubicBezTo>
                    <a:cubicBezTo>
                      <a:pt x="91" y="61"/>
                      <a:pt x="91" y="66"/>
                      <a:pt x="90" y="72"/>
                    </a:cubicBezTo>
                    <a:cubicBezTo>
                      <a:pt x="88" y="96"/>
                      <a:pt x="87" y="128"/>
                      <a:pt x="85" y="161"/>
                    </a:cubicBezTo>
                    <a:cubicBezTo>
                      <a:pt x="83" y="194"/>
                      <a:pt x="81" y="227"/>
                      <a:pt x="78" y="252"/>
                    </a:cubicBezTo>
                    <a:cubicBezTo>
                      <a:pt x="77" y="258"/>
                      <a:pt x="76" y="265"/>
                      <a:pt x="75" y="270"/>
                    </a:cubicBezTo>
                    <a:cubicBezTo>
                      <a:pt x="75" y="275"/>
                      <a:pt x="74" y="281"/>
                      <a:pt x="73" y="285"/>
                    </a:cubicBezTo>
                    <a:cubicBezTo>
                      <a:pt x="72" y="289"/>
                      <a:pt x="71" y="291"/>
                      <a:pt x="71" y="293"/>
                    </a:cubicBezTo>
                    <a:cubicBezTo>
                      <a:pt x="70" y="295"/>
                      <a:pt x="70" y="296"/>
                      <a:pt x="70" y="296"/>
                    </a:cubicBezTo>
                    <a:cubicBezTo>
                      <a:pt x="66" y="314"/>
                      <a:pt x="48" y="326"/>
                      <a:pt x="29" y="321"/>
                    </a:cubicBezTo>
                    <a:cubicBezTo>
                      <a:pt x="11" y="317"/>
                      <a:pt x="0" y="299"/>
                      <a:pt x="4" y="281"/>
                    </a:cubicBezTo>
                    <a:cubicBezTo>
                      <a:pt x="4" y="280"/>
                      <a:pt x="4" y="280"/>
                      <a:pt x="5" y="279"/>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44" name="Freeform 42">
                <a:extLst>
                  <a:ext uri="{FF2B5EF4-FFF2-40B4-BE49-F238E27FC236}">
                    <a16:creationId xmlns:a16="http://schemas.microsoft.com/office/drawing/2014/main" id="{8EC02622-CB99-443F-8731-8F35AC028ED8}"/>
                  </a:ext>
                </a:extLst>
              </p:cNvPr>
              <p:cNvSpPr>
                <a:spLocks/>
              </p:cNvSpPr>
              <p:nvPr/>
            </p:nvSpPr>
            <p:spPr bwMode="auto">
              <a:xfrm>
                <a:off x="1821725" y="1551015"/>
                <a:ext cx="22319" cy="6695"/>
              </a:xfrm>
              <a:custGeom>
                <a:avLst/>
                <a:gdLst>
                  <a:gd name="T0" fmla="*/ 23 w 25"/>
                  <a:gd name="T1" fmla="*/ 7 h 8"/>
                  <a:gd name="T2" fmla="*/ 2 w 25"/>
                  <a:gd name="T3" fmla="*/ 4 h 8"/>
                  <a:gd name="T4" fmla="*/ 0 w 25"/>
                  <a:gd name="T5" fmla="*/ 2 h 8"/>
                  <a:gd name="T6" fmla="*/ 0 w 25"/>
                  <a:gd name="T7" fmla="*/ 2 h 8"/>
                  <a:gd name="T8" fmla="*/ 2 w 25"/>
                  <a:gd name="T9" fmla="*/ 0 h 8"/>
                  <a:gd name="T10" fmla="*/ 24 w 25"/>
                  <a:gd name="T11" fmla="*/ 3 h 8"/>
                  <a:gd name="T12" fmla="*/ 25 w 25"/>
                  <a:gd name="T13" fmla="*/ 6 h 8"/>
                  <a:gd name="T14" fmla="*/ 25 w 25"/>
                  <a:gd name="T15" fmla="*/ 6 h 8"/>
                  <a:gd name="T16" fmla="*/ 23 w 25"/>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23" y="7"/>
                    </a:moveTo>
                    <a:cubicBezTo>
                      <a:pt x="2" y="4"/>
                      <a:pt x="2" y="4"/>
                      <a:pt x="2" y="4"/>
                    </a:cubicBezTo>
                    <a:cubicBezTo>
                      <a:pt x="1" y="4"/>
                      <a:pt x="0" y="3"/>
                      <a:pt x="0" y="2"/>
                    </a:cubicBezTo>
                    <a:cubicBezTo>
                      <a:pt x="0" y="2"/>
                      <a:pt x="0" y="2"/>
                      <a:pt x="0" y="2"/>
                    </a:cubicBezTo>
                    <a:cubicBezTo>
                      <a:pt x="0" y="1"/>
                      <a:pt x="1" y="0"/>
                      <a:pt x="2" y="0"/>
                    </a:cubicBezTo>
                    <a:cubicBezTo>
                      <a:pt x="24" y="3"/>
                      <a:pt x="24" y="3"/>
                      <a:pt x="24" y="3"/>
                    </a:cubicBezTo>
                    <a:cubicBezTo>
                      <a:pt x="25" y="3"/>
                      <a:pt x="25" y="5"/>
                      <a:pt x="25" y="6"/>
                    </a:cubicBezTo>
                    <a:cubicBezTo>
                      <a:pt x="25" y="6"/>
                      <a:pt x="25" y="6"/>
                      <a:pt x="25" y="6"/>
                    </a:cubicBezTo>
                    <a:cubicBezTo>
                      <a:pt x="25" y="7"/>
                      <a:pt x="24" y="8"/>
                      <a:pt x="23" y="7"/>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45" name="Freeform 43">
                <a:extLst>
                  <a:ext uri="{FF2B5EF4-FFF2-40B4-BE49-F238E27FC236}">
                    <a16:creationId xmlns:a16="http://schemas.microsoft.com/office/drawing/2014/main" id="{F7B4125B-13DC-42BA-A7B9-329CA80EDBD2}"/>
                  </a:ext>
                </a:extLst>
              </p:cNvPr>
              <p:cNvSpPr>
                <a:spLocks/>
              </p:cNvSpPr>
              <p:nvPr/>
            </p:nvSpPr>
            <p:spPr bwMode="auto">
              <a:xfrm>
                <a:off x="1810565" y="1559198"/>
                <a:ext cx="14135" cy="2976"/>
              </a:xfrm>
              <a:custGeom>
                <a:avLst/>
                <a:gdLst>
                  <a:gd name="T0" fmla="*/ 15 w 16"/>
                  <a:gd name="T1" fmla="*/ 4 h 4"/>
                  <a:gd name="T2" fmla="*/ 2 w 16"/>
                  <a:gd name="T3" fmla="*/ 3 h 4"/>
                  <a:gd name="T4" fmla="*/ 0 w 16"/>
                  <a:gd name="T5" fmla="*/ 2 h 4"/>
                  <a:gd name="T6" fmla="*/ 0 w 16"/>
                  <a:gd name="T7" fmla="*/ 2 h 4"/>
                  <a:gd name="T8" fmla="*/ 2 w 16"/>
                  <a:gd name="T9" fmla="*/ 0 h 4"/>
                  <a:gd name="T10" fmla="*/ 15 w 16"/>
                  <a:gd name="T11" fmla="*/ 0 h 4"/>
                  <a:gd name="T12" fmla="*/ 16 w 16"/>
                  <a:gd name="T13" fmla="*/ 2 h 4"/>
                  <a:gd name="T14" fmla="*/ 16 w 16"/>
                  <a:gd name="T15" fmla="*/ 2 h 4"/>
                  <a:gd name="T16" fmla="*/ 15 w 16"/>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5" y="4"/>
                    </a:moveTo>
                    <a:cubicBezTo>
                      <a:pt x="2" y="3"/>
                      <a:pt x="2" y="3"/>
                      <a:pt x="2" y="3"/>
                    </a:cubicBezTo>
                    <a:cubicBezTo>
                      <a:pt x="1" y="3"/>
                      <a:pt x="0" y="3"/>
                      <a:pt x="0" y="2"/>
                    </a:cubicBezTo>
                    <a:cubicBezTo>
                      <a:pt x="0" y="2"/>
                      <a:pt x="0" y="2"/>
                      <a:pt x="0" y="2"/>
                    </a:cubicBezTo>
                    <a:cubicBezTo>
                      <a:pt x="0" y="1"/>
                      <a:pt x="1" y="0"/>
                      <a:pt x="2" y="0"/>
                    </a:cubicBezTo>
                    <a:cubicBezTo>
                      <a:pt x="15" y="0"/>
                      <a:pt x="15" y="0"/>
                      <a:pt x="15" y="0"/>
                    </a:cubicBezTo>
                    <a:cubicBezTo>
                      <a:pt x="16" y="0"/>
                      <a:pt x="16" y="1"/>
                      <a:pt x="16" y="2"/>
                    </a:cubicBezTo>
                    <a:cubicBezTo>
                      <a:pt x="16" y="2"/>
                      <a:pt x="16" y="2"/>
                      <a:pt x="16" y="2"/>
                    </a:cubicBezTo>
                    <a:cubicBezTo>
                      <a:pt x="16" y="3"/>
                      <a:pt x="16" y="4"/>
                      <a:pt x="15" y="4"/>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46" name="Freeform 44">
                <a:extLst>
                  <a:ext uri="{FF2B5EF4-FFF2-40B4-BE49-F238E27FC236}">
                    <a16:creationId xmlns:a16="http://schemas.microsoft.com/office/drawing/2014/main" id="{AD41C0E1-4473-414B-90AA-E51A27A15A5D}"/>
                  </a:ext>
                </a:extLst>
              </p:cNvPr>
              <p:cNvSpPr>
                <a:spLocks noEditPoints="1"/>
              </p:cNvSpPr>
              <p:nvPr/>
            </p:nvSpPr>
            <p:spPr bwMode="auto">
              <a:xfrm>
                <a:off x="1837348" y="1501170"/>
                <a:ext cx="8184" cy="61004"/>
              </a:xfrm>
              <a:custGeom>
                <a:avLst/>
                <a:gdLst>
                  <a:gd name="T0" fmla="*/ 0 w 9"/>
                  <a:gd name="T1" fmla="*/ 0 h 70"/>
                  <a:gd name="T2" fmla="*/ 0 w 9"/>
                  <a:gd name="T3" fmla="*/ 17 h 70"/>
                  <a:gd name="T4" fmla="*/ 9 w 9"/>
                  <a:gd name="T5" fmla="*/ 9 h 70"/>
                  <a:gd name="T6" fmla="*/ 0 w 9"/>
                  <a:gd name="T7" fmla="*/ 0 h 70"/>
                  <a:gd name="T8" fmla="*/ 0 w 9"/>
                  <a:gd name="T9" fmla="*/ 17 h 70"/>
                  <a:gd name="T10" fmla="*/ 0 w 9"/>
                  <a:gd name="T11" fmla="*/ 35 h 70"/>
                  <a:gd name="T12" fmla="*/ 9 w 9"/>
                  <a:gd name="T13" fmla="*/ 26 h 70"/>
                  <a:gd name="T14" fmla="*/ 0 w 9"/>
                  <a:gd name="T15" fmla="*/ 17 h 70"/>
                  <a:gd name="T16" fmla="*/ 0 w 9"/>
                  <a:gd name="T17" fmla="*/ 35 h 70"/>
                  <a:gd name="T18" fmla="*/ 0 w 9"/>
                  <a:gd name="T19" fmla="*/ 52 h 70"/>
                  <a:gd name="T20" fmla="*/ 9 w 9"/>
                  <a:gd name="T21" fmla="*/ 44 h 70"/>
                  <a:gd name="T22" fmla="*/ 0 w 9"/>
                  <a:gd name="T23" fmla="*/ 35 h 70"/>
                  <a:gd name="T24" fmla="*/ 0 w 9"/>
                  <a:gd name="T25" fmla="*/ 52 h 70"/>
                  <a:gd name="T26" fmla="*/ 0 w 9"/>
                  <a:gd name="T27" fmla="*/ 70 h 70"/>
                  <a:gd name="T28" fmla="*/ 9 w 9"/>
                  <a:gd name="T29" fmla="*/ 61 h 70"/>
                  <a:gd name="T30" fmla="*/ 0 w 9"/>
                  <a:gd name="T31"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70">
                    <a:moveTo>
                      <a:pt x="0" y="0"/>
                    </a:moveTo>
                    <a:cubicBezTo>
                      <a:pt x="0" y="17"/>
                      <a:pt x="0" y="17"/>
                      <a:pt x="0" y="17"/>
                    </a:cubicBezTo>
                    <a:cubicBezTo>
                      <a:pt x="5" y="17"/>
                      <a:pt x="9" y="13"/>
                      <a:pt x="9" y="9"/>
                    </a:cubicBezTo>
                    <a:cubicBezTo>
                      <a:pt x="9" y="4"/>
                      <a:pt x="5" y="0"/>
                      <a:pt x="0" y="0"/>
                    </a:cubicBezTo>
                    <a:close/>
                    <a:moveTo>
                      <a:pt x="0" y="17"/>
                    </a:moveTo>
                    <a:cubicBezTo>
                      <a:pt x="0" y="35"/>
                      <a:pt x="0" y="35"/>
                      <a:pt x="0" y="35"/>
                    </a:cubicBezTo>
                    <a:cubicBezTo>
                      <a:pt x="5" y="35"/>
                      <a:pt x="9" y="31"/>
                      <a:pt x="9" y="26"/>
                    </a:cubicBezTo>
                    <a:cubicBezTo>
                      <a:pt x="9" y="21"/>
                      <a:pt x="5" y="17"/>
                      <a:pt x="0" y="17"/>
                    </a:cubicBezTo>
                    <a:close/>
                    <a:moveTo>
                      <a:pt x="0" y="35"/>
                    </a:moveTo>
                    <a:cubicBezTo>
                      <a:pt x="0" y="52"/>
                      <a:pt x="0" y="52"/>
                      <a:pt x="0" y="52"/>
                    </a:cubicBezTo>
                    <a:cubicBezTo>
                      <a:pt x="5" y="52"/>
                      <a:pt x="9" y="48"/>
                      <a:pt x="9" y="44"/>
                    </a:cubicBezTo>
                    <a:cubicBezTo>
                      <a:pt x="9" y="39"/>
                      <a:pt x="5" y="35"/>
                      <a:pt x="0" y="35"/>
                    </a:cubicBezTo>
                    <a:close/>
                    <a:moveTo>
                      <a:pt x="0" y="52"/>
                    </a:moveTo>
                    <a:cubicBezTo>
                      <a:pt x="0" y="70"/>
                      <a:pt x="0" y="70"/>
                      <a:pt x="0" y="70"/>
                    </a:cubicBezTo>
                    <a:cubicBezTo>
                      <a:pt x="5" y="70"/>
                      <a:pt x="9" y="66"/>
                      <a:pt x="9" y="61"/>
                    </a:cubicBezTo>
                    <a:cubicBezTo>
                      <a:pt x="9" y="56"/>
                      <a:pt x="5" y="52"/>
                      <a:pt x="0" y="52"/>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47" name="Freeform 45">
                <a:extLst>
                  <a:ext uri="{FF2B5EF4-FFF2-40B4-BE49-F238E27FC236}">
                    <a16:creationId xmlns:a16="http://schemas.microsoft.com/office/drawing/2014/main" id="{8F4EDE85-9954-4892-8918-F3089CB95AB7}"/>
                  </a:ext>
                </a:extLst>
              </p:cNvPr>
              <p:cNvSpPr>
                <a:spLocks/>
              </p:cNvSpPr>
              <p:nvPr/>
            </p:nvSpPr>
            <p:spPr bwMode="auto">
              <a:xfrm>
                <a:off x="1776344" y="1507866"/>
                <a:ext cx="46869" cy="67699"/>
              </a:xfrm>
              <a:custGeom>
                <a:avLst/>
                <a:gdLst>
                  <a:gd name="T0" fmla="*/ 16 w 53"/>
                  <a:gd name="T1" fmla="*/ 67 h 77"/>
                  <a:gd name="T2" fmla="*/ 14 w 53"/>
                  <a:gd name="T3" fmla="*/ 65 h 77"/>
                  <a:gd name="T4" fmla="*/ 12 w 53"/>
                  <a:gd name="T5" fmla="*/ 11 h 77"/>
                  <a:gd name="T6" fmla="*/ 5 w 53"/>
                  <a:gd name="T7" fmla="*/ 0 h 77"/>
                  <a:gd name="T8" fmla="*/ 2 w 53"/>
                  <a:gd name="T9" fmla="*/ 3 h 77"/>
                  <a:gd name="T10" fmla="*/ 0 w 53"/>
                  <a:gd name="T11" fmla="*/ 61 h 77"/>
                  <a:gd name="T12" fmla="*/ 0 w 53"/>
                  <a:gd name="T13" fmla="*/ 61 h 77"/>
                  <a:gd name="T14" fmla="*/ 0 w 53"/>
                  <a:gd name="T15" fmla="*/ 62 h 77"/>
                  <a:gd name="T16" fmla="*/ 0 w 53"/>
                  <a:gd name="T17" fmla="*/ 62 h 77"/>
                  <a:gd name="T18" fmla="*/ 5 w 53"/>
                  <a:gd name="T19" fmla="*/ 74 h 77"/>
                  <a:gd name="T20" fmla="*/ 8 w 53"/>
                  <a:gd name="T21" fmla="*/ 76 h 77"/>
                  <a:gd name="T22" fmla="*/ 50 w 53"/>
                  <a:gd name="T23" fmla="*/ 77 h 77"/>
                  <a:gd name="T24" fmla="*/ 52 w 53"/>
                  <a:gd name="T25" fmla="*/ 75 h 77"/>
                  <a:gd name="T26" fmla="*/ 52 w 53"/>
                  <a:gd name="T27" fmla="*/ 75 h 77"/>
                  <a:gd name="T28" fmla="*/ 50 w 53"/>
                  <a:gd name="T29" fmla="*/ 69 h 77"/>
                  <a:gd name="T30" fmla="*/ 16 w 53"/>
                  <a:gd name="T31"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77">
                    <a:moveTo>
                      <a:pt x="16" y="67"/>
                    </a:moveTo>
                    <a:cubicBezTo>
                      <a:pt x="14" y="67"/>
                      <a:pt x="14" y="65"/>
                      <a:pt x="14" y="65"/>
                    </a:cubicBezTo>
                    <a:cubicBezTo>
                      <a:pt x="16" y="7"/>
                      <a:pt x="12" y="11"/>
                      <a:pt x="12" y="11"/>
                    </a:cubicBezTo>
                    <a:cubicBezTo>
                      <a:pt x="12" y="6"/>
                      <a:pt x="9" y="2"/>
                      <a:pt x="5" y="0"/>
                    </a:cubicBezTo>
                    <a:cubicBezTo>
                      <a:pt x="3" y="0"/>
                      <a:pt x="2" y="1"/>
                      <a:pt x="2" y="3"/>
                    </a:cubicBezTo>
                    <a:cubicBezTo>
                      <a:pt x="0" y="61"/>
                      <a:pt x="0" y="61"/>
                      <a:pt x="0" y="61"/>
                    </a:cubicBezTo>
                    <a:cubicBezTo>
                      <a:pt x="0" y="61"/>
                      <a:pt x="0" y="61"/>
                      <a:pt x="0" y="61"/>
                    </a:cubicBezTo>
                    <a:cubicBezTo>
                      <a:pt x="0" y="62"/>
                      <a:pt x="0" y="62"/>
                      <a:pt x="0" y="62"/>
                    </a:cubicBezTo>
                    <a:cubicBezTo>
                      <a:pt x="0" y="62"/>
                      <a:pt x="0" y="62"/>
                      <a:pt x="0" y="62"/>
                    </a:cubicBezTo>
                    <a:cubicBezTo>
                      <a:pt x="5" y="74"/>
                      <a:pt x="5" y="74"/>
                      <a:pt x="5" y="74"/>
                    </a:cubicBezTo>
                    <a:cubicBezTo>
                      <a:pt x="6" y="75"/>
                      <a:pt x="7" y="76"/>
                      <a:pt x="8" y="76"/>
                    </a:cubicBezTo>
                    <a:cubicBezTo>
                      <a:pt x="50" y="77"/>
                      <a:pt x="50" y="77"/>
                      <a:pt x="50" y="77"/>
                    </a:cubicBezTo>
                    <a:cubicBezTo>
                      <a:pt x="51" y="77"/>
                      <a:pt x="52" y="76"/>
                      <a:pt x="52" y="75"/>
                    </a:cubicBezTo>
                    <a:cubicBezTo>
                      <a:pt x="52" y="75"/>
                      <a:pt x="52" y="75"/>
                      <a:pt x="52" y="75"/>
                    </a:cubicBezTo>
                    <a:cubicBezTo>
                      <a:pt x="53" y="74"/>
                      <a:pt x="52" y="69"/>
                      <a:pt x="50" y="69"/>
                    </a:cubicBezTo>
                    <a:lnTo>
                      <a:pt x="16" y="67"/>
                    </a:ln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48" name="Freeform 46">
                <a:extLst>
                  <a:ext uri="{FF2B5EF4-FFF2-40B4-BE49-F238E27FC236}">
                    <a16:creationId xmlns:a16="http://schemas.microsoft.com/office/drawing/2014/main" id="{FE47F587-3AD1-4D59-A468-2267B6DBBCF6}"/>
                  </a:ext>
                </a:extLst>
              </p:cNvPr>
              <p:cNvSpPr>
                <a:spLocks/>
              </p:cNvSpPr>
              <p:nvPr/>
            </p:nvSpPr>
            <p:spPr bwMode="auto">
              <a:xfrm>
                <a:off x="1787504" y="1478852"/>
                <a:ext cx="51333" cy="92250"/>
              </a:xfrm>
              <a:custGeom>
                <a:avLst/>
                <a:gdLst>
                  <a:gd name="T0" fmla="*/ 2 w 58"/>
                  <a:gd name="T1" fmla="*/ 6 h 105"/>
                  <a:gd name="T2" fmla="*/ 0 w 58"/>
                  <a:gd name="T3" fmla="*/ 97 h 105"/>
                  <a:gd name="T4" fmla="*/ 6 w 58"/>
                  <a:gd name="T5" fmla="*/ 104 h 105"/>
                  <a:gd name="T6" fmla="*/ 50 w 58"/>
                  <a:gd name="T7" fmla="*/ 104 h 105"/>
                  <a:gd name="T8" fmla="*/ 56 w 58"/>
                  <a:gd name="T9" fmla="*/ 98 h 105"/>
                  <a:gd name="T10" fmla="*/ 58 w 58"/>
                  <a:gd name="T11" fmla="*/ 7 h 105"/>
                  <a:gd name="T12" fmla="*/ 52 w 58"/>
                  <a:gd name="T13" fmla="*/ 1 h 105"/>
                  <a:gd name="T14" fmla="*/ 8 w 58"/>
                  <a:gd name="T15" fmla="*/ 0 h 105"/>
                  <a:gd name="T16" fmla="*/ 2 w 58"/>
                  <a:gd name="T17" fmla="*/ 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05">
                    <a:moveTo>
                      <a:pt x="2" y="6"/>
                    </a:moveTo>
                    <a:cubicBezTo>
                      <a:pt x="0" y="97"/>
                      <a:pt x="0" y="97"/>
                      <a:pt x="0" y="97"/>
                    </a:cubicBezTo>
                    <a:cubicBezTo>
                      <a:pt x="0" y="97"/>
                      <a:pt x="0" y="103"/>
                      <a:pt x="6" y="104"/>
                    </a:cubicBezTo>
                    <a:cubicBezTo>
                      <a:pt x="50" y="104"/>
                      <a:pt x="50" y="104"/>
                      <a:pt x="50" y="104"/>
                    </a:cubicBezTo>
                    <a:cubicBezTo>
                      <a:pt x="50" y="104"/>
                      <a:pt x="56" y="105"/>
                      <a:pt x="56" y="98"/>
                    </a:cubicBezTo>
                    <a:cubicBezTo>
                      <a:pt x="58" y="7"/>
                      <a:pt x="58" y="7"/>
                      <a:pt x="58" y="7"/>
                    </a:cubicBezTo>
                    <a:cubicBezTo>
                      <a:pt x="58" y="7"/>
                      <a:pt x="58" y="1"/>
                      <a:pt x="52" y="1"/>
                    </a:cubicBezTo>
                    <a:cubicBezTo>
                      <a:pt x="8" y="0"/>
                      <a:pt x="8" y="0"/>
                      <a:pt x="8" y="0"/>
                    </a:cubicBezTo>
                    <a:cubicBezTo>
                      <a:pt x="8" y="0"/>
                      <a:pt x="2" y="0"/>
                      <a:pt x="2" y="6"/>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49" name="Freeform 47">
                <a:extLst>
                  <a:ext uri="{FF2B5EF4-FFF2-40B4-BE49-F238E27FC236}">
                    <a16:creationId xmlns:a16="http://schemas.microsoft.com/office/drawing/2014/main" id="{63BB25C6-832C-4997-B074-CAC2F6A44B25}"/>
                  </a:ext>
                </a:extLst>
              </p:cNvPr>
              <p:cNvSpPr>
                <a:spLocks/>
              </p:cNvSpPr>
              <p:nvPr/>
            </p:nvSpPr>
            <p:spPr bwMode="auto">
              <a:xfrm>
                <a:off x="1784527" y="1478108"/>
                <a:ext cx="51333" cy="92250"/>
              </a:xfrm>
              <a:custGeom>
                <a:avLst/>
                <a:gdLst>
                  <a:gd name="T0" fmla="*/ 2 w 58"/>
                  <a:gd name="T1" fmla="*/ 7 h 105"/>
                  <a:gd name="T2" fmla="*/ 0 w 58"/>
                  <a:gd name="T3" fmla="*/ 98 h 105"/>
                  <a:gd name="T4" fmla="*/ 6 w 58"/>
                  <a:gd name="T5" fmla="*/ 104 h 105"/>
                  <a:gd name="T6" fmla="*/ 50 w 58"/>
                  <a:gd name="T7" fmla="*/ 105 h 105"/>
                  <a:gd name="T8" fmla="*/ 56 w 58"/>
                  <a:gd name="T9" fmla="*/ 99 h 105"/>
                  <a:gd name="T10" fmla="*/ 58 w 58"/>
                  <a:gd name="T11" fmla="*/ 8 h 105"/>
                  <a:gd name="T12" fmla="*/ 52 w 58"/>
                  <a:gd name="T13" fmla="*/ 1 h 105"/>
                  <a:gd name="T14" fmla="*/ 8 w 58"/>
                  <a:gd name="T15" fmla="*/ 1 h 105"/>
                  <a:gd name="T16" fmla="*/ 2 w 58"/>
                  <a:gd name="T17" fmla="*/ 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05">
                    <a:moveTo>
                      <a:pt x="2" y="7"/>
                    </a:moveTo>
                    <a:cubicBezTo>
                      <a:pt x="0" y="98"/>
                      <a:pt x="0" y="98"/>
                      <a:pt x="0" y="98"/>
                    </a:cubicBezTo>
                    <a:cubicBezTo>
                      <a:pt x="0" y="98"/>
                      <a:pt x="0" y="104"/>
                      <a:pt x="6" y="104"/>
                    </a:cubicBezTo>
                    <a:cubicBezTo>
                      <a:pt x="50" y="105"/>
                      <a:pt x="50" y="105"/>
                      <a:pt x="50" y="105"/>
                    </a:cubicBezTo>
                    <a:cubicBezTo>
                      <a:pt x="50" y="105"/>
                      <a:pt x="56" y="105"/>
                      <a:pt x="56" y="99"/>
                    </a:cubicBezTo>
                    <a:cubicBezTo>
                      <a:pt x="58" y="8"/>
                      <a:pt x="58" y="8"/>
                      <a:pt x="58" y="8"/>
                    </a:cubicBezTo>
                    <a:cubicBezTo>
                      <a:pt x="58" y="8"/>
                      <a:pt x="58" y="2"/>
                      <a:pt x="52" y="1"/>
                    </a:cubicBezTo>
                    <a:cubicBezTo>
                      <a:pt x="8" y="1"/>
                      <a:pt x="8" y="1"/>
                      <a:pt x="8" y="1"/>
                    </a:cubicBezTo>
                    <a:cubicBezTo>
                      <a:pt x="8" y="1"/>
                      <a:pt x="2" y="0"/>
                      <a:pt x="2" y="7"/>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50" name="Freeform 48">
                <a:extLst>
                  <a:ext uri="{FF2B5EF4-FFF2-40B4-BE49-F238E27FC236}">
                    <a16:creationId xmlns:a16="http://schemas.microsoft.com/office/drawing/2014/main" id="{DDDAA9A2-9676-48D2-8CFE-F07A761CE68D}"/>
                  </a:ext>
                </a:extLst>
              </p:cNvPr>
              <p:cNvSpPr>
                <a:spLocks/>
              </p:cNvSpPr>
              <p:nvPr/>
            </p:nvSpPr>
            <p:spPr bwMode="auto">
              <a:xfrm>
                <a:off x="1789735" y="1484059"/>
                <a:ext cx="40918" cy="69932"/>
              </a:xfrm>
              <a:custGeom>
                <a:avLst/>
                <a:gdLst>
                  <a:gd name="T0" fmla="*/ 0 w 55"/>
                  <a:gd name="T1" fmla="*/ 92 h 94"/>
                  <a:gd name="T2" fmla="*/ 53 w 55"/>
                  <a:gd name="T3" fmla="*/ 94 h 94"/>
                  <a:gd name="T4" fmla="*/ 55 w 55"/>
                  <a:gd name="T5" fmla="*/ 1 h 94"/>
                  <a:gd name="T6" fmla="*/ 3 w 55"/>
                  <a:gd name="T7" fmla="*/ 0 h 94"/>
                  <a:gd name="T8" fmla="*/ 0 w 55"/>
                  <a:gd name="T9" fmla="*/ 92 h 94"/>
                </a:gdLst>
                <a:ahLst/>
                <a:cxnLst>
                  <a:cxn ang="0">
                    <a:pos x="T0" y="T1"/>
                  </a:cxn>
                  <a:cxn ang="0">
                    <a:pos x="T2" y="T3"/>
                  </a:cxn>
                  <a:cxn ang="0">
                    <a:pos x="T4" y="T5"/>
                  </a:cxn>
                  <a:cxn ang="0">
                    <a:pos x="T6" y="T7"/>
                  </a:cxn>
                  <a:cxn ang="0">
                    <a:pos x="T8" y="T9"/>
                  </a:cxn>
                </a:cxnLst>
                <a:rect l="0" t="0" r="r" b="b"/>
                <a:pathLst>
                  <a:path w="55" h="94">
                    <a:moveTo>
                      <a:pt x="0" y="92"/>
                    </a:moveTo>
                    <a:lnTo>
                      <a:pt x="53" y="94"/>
                    </a:lnTo>
                    <a:lnTo>
                      <a:pt x="55" y="1"/>
                    </a:lnTo>
                    <a:lnTo>
                      <a:pt x="3" y="0"/>
                    </a:lnTo>
                    <a:lnTo>
                      <a:pt x="0" y="92"/>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51" name="Freeform 49">
                <a:extLst>
                  <a:ext uri="{FF2B5EF4-FFF2-40B4-BE49-F238E27FC236}">
                    <a16:creationId xmlns:a16="http://schemas.microsoft.com/office/drawing/2014/main" id="{786700FF-265E-4882-A05A-C1539551B479}"/>
                  </a:ext>
                </a:extLst>
              </p:cNvPr>
              <p:cNvSpPr>
                <a:spLocks/>
              </p:cNvSpPr>
              <p:nvPr/>
            </p:nvSpPr>
            <p:spPr bwMode="auto">
              <a:xfrm>
                <a:off x="1784527" y="1503402"/>
                <a:ext cx="50589" cy="66955"/>
              </a:xfrm>
              <a:custGeom>
                <a:avLst/>
                <a:gdLst>
                  <a:gd name="T0" fmla="*/ 1 w 57"/>
                  <a:gd name="T1" fmla="*/ 0 h 76"/>
                  <a:gd name="T2" fmla="*/ 0 w 57"/>
                  <a:gd name="T3" fmla="*/ 69 h 76"/>
                  <a:gd name="T4" fmla="*/ 6 w 57"/>
                  <a:gd name="T5" fmla="*/ 75 h 76"/>
                  <a:gd name="T6" fmla="*/ 50 w 57"/>
                  <a:gd name="T7" fmla="*/ 76 h 76"/>
                  <a:gd name="T8" fmla="*/ 56 w 57"/>
                  <a:gd name="T9" fmla="*/ 70 h 76"/>
                  <a:gd name="T10" fmla="*/ 57 w 57"/>
                  <a:gd name="T11" fmla="*/ 36 h 76"/>
                  <a:gd name="T12" fmla="*/ 50 w 57"/>
                  <a:gd name="T13" fmla="*/ 32 h 76"/>
                  <a:gd name="T14" fmla="*/ 50 w 57"/>
                  <a:gd name="T15" fmla="*/ 57 h 76"/>
                  <a:gd name="T16" fmla="*/ 6 w 57"/>
                  <a:gd name="T17" fmla="*/ 56 h 76"/>
                  <a:gd name="T18" fmla="*/ 8 w 57"/>
                  <a:gd name="T19" fmla="*/ 4 h 76"/>
                  <a:gd name="T20" fmla="*/ 1 w 57"/>
                  <a:gd name="T2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76">
                    <a:moveTo>
                      <a:pt x="1" y="0"/>
                    </a:moveTo>
                    <a:cubicBezTo>
                      <a:pt x="0" y="69"/>
                      <a:pt x="0" y="69"/>
                      <a:pt x="0" y="69"/>
                    </a:cubicBezTo>
                    <a:cubicBezTo>
                      <a:pt x="0" y="69"/>
                      <a:pt x="0" y="75"/>
                      <a:pt x="6" y="75"/>
                    </a:cubicBezTo>
                    <a:cubicBezTo>
                      <a:pt x="50" y="76"/>
                      <a:pt x="50" y="76"/>
                      <a:pt x="50" y="76"/>
                    </a:cubicBezTo>
                    <a:cubicBezTo>
                      <a:pt x="50" y="76"/>
                      <a:pt x="56" y="76"/>
                      <a:pt x="56" y="70"/>
                    </a:cubicBezTo>
                    <a:cubicBezTo>
                      <a:pt x="57" y="36"/>
                      <a:pt x="57" y="36"/>
                      <a:pt x="57" y="36"/>
                    </a:cubicBezTo>
                    <a:cubicBezTo>
                      <a:pt x="50" y="32"/>
                      <a:pt x="50" y="32"/>
                      <a:pt x="50" y="32"/>
                    </a:cubicBezTo>
                    <a:cubicBezTo>
                      <a:pt x="50" y="57"/>
                      <a:pt x="50" y="57"/>
                      <a:pt x="50" y="57"/>
                    </a:cubicBezTo>
                    <a:cubicBezTo>
                      <a:pt x="6" y="56"/>
                      <a:pt x="6" y="56"/>
                      <a:pt x="6" y="56"/>
                    </a:cubicBezTo>
                    <a:cubicBezTo>
                      <a:pt x="8" y="4"/>
                      <a:pt x="8" y="4"/>
                      <a:pt x="8" y="4"/>
                    </a:cubicBezTo>
                    <a:cubicBezTo>
                      <a:pt x="1" y="0"/>
                      <a:pt x="1" y="0"/>
                      <a:pt x="1" y="0"/>
                    </a:cubicBezTo>
                    <a:close/>
                  </a:path>
                </a:pathLst>
              </a:custGeom>
              <a:solidFill>
                <a:srgbClr val="C2C2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52" name="Freeform 50">
                <a:extLst>
                  <a:ext uri="{FF2B5EF4-FFF2-40B4-BE49-F238E27FC236}">
                    <a16:creationId xmlns:a16="http://schemas.microsoft.com/office/drawing/2014/main" id="{28EB43B1-0A40-4DEF-93DD-8BAA61CE32AE}"/>
                  </a:ext>
                </a:extLst>
              </p:cNvPr>
              <p:cNvSpPr>
                <a:spLocks/>
              </p:cNvSpPr>
              <p:nvPr/>
            </p:nvSpPr>
            <p:spPr bwMode="auto">
              <a:xfrm>
                <a:off x="1791961" y="1484064"/>
                <a:ext cx="18599" cy="23062"/>
              </a:xfrm>
              <a:custGeom>
                <a:avLst/>
                <a:gdLst>
                  <a:gd name="T0" fmla="*/ 25 w 25"/>
                  <a:gd name="T1" fmla="*/ 31 h 31"/>
                  <a:gd name="T2" fmla="*/ 0 w 25"/>
                  <a:gd name="T3" fmla="*/ 30 h 31"/>
                  <a:gd name="T4" fmla="*/ 0 w 25"/>
                  <a:gd name="T5" fmla="*/ 0 h 31"/>
                  <a:gd name="T6" fmla="*/ 25 w 25"/>
                  <a:gd name="T7" fmla="*/ 1 h 31"/>
                  <a:gd name="T8" fmla="*/ 25 w 25"/>
                  <a:gd name="T9" fmla="*/ 31 h 31"/>
                </a:gdLst>
                <a:ahLst/>
                <a:cxnLst>
                  <a:cxn ang="0">
                    <a:pos x="T0" y="T1"/>
                  </a:cxn>
                  <a:cxn ang="0">
                    <a:pos x="T2" y="T3"/>
                  </a:cxn>
                  <a:cxn ang="0">
                    <a:pos x="T4" y="T5"/>
                  </a:cxn>
                  <a:cxn ang="0">
                    <a:pos x="T6" y="T7"/>
                  </a:cxn>
                  <a:cxn ang="0">
                    <a:pos x="T8" y="T9"/>
                  </a:cxn>
                </a:cxnLst>
                <a:rect l="0" t="0" r="r" b="b"/>
                <a:pathLst>
                  <a:path w="25" h="31">
                    <a:moveTo>
                      <a:pt x="25" y="31"/>
                    </a:moveTo>
                    <a:lnTo>
                      <a:pt x="0" y="30"/>
                    </a:lnTo>
                    <a:lnTo>
                      <a:pt x="0" y="0"/>
                    </a:lnTo>
                    <a:lnTo>
                      <a:pt x="25" y="1"/>
                    </a:lnTo>
                    <a:lnTo>
                      <a:pt x="25" y="31"/>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53" name="Freeform 51">
                <a:extLst>
                  <a:ext uri="{FF2B5EF4-FFF2-40B4-BE49-F238E27FC236}">
                    <a16:creationId xmlns:a16="http://schemas.microsoft.com/office/drawing/2014/main" id="{51517A7D-0CC8-40BF-A420-4DE4594A96BE}"/>
                  </a:ext>
                </a:extLst>
              </p:cNvPr>
              <p:cNvSpPr>
                <a:spLocks/>
              </p:cNvSpPr>
              <p:nvPr/>
            </p:nvSpPr>
            <p:spPr bwMode="auto">
              <a:xfrm>
                <a:off x="1800149" y="1507866"/>
                <a:ext cx="20087" cy="22319"/>
              </a:xfrm>
              <a:custGeom>
                <a:avLst/>
                <a:gdLst>
                  <a:gd name="T0" fmla="*/ 25 w 27"/>
                  <a:gd name="T1" fmla="*/ 30 h 30"/>
                  <a:gd name="T2" fmla="*/ 0 w 27"/>
                  <a:gd name="T3" fmla="*/ 30 h 30"/>
                  <a:gd name="T4" fmla="*/ 2 w 27"/>
                  <a:gd name="T5" fmla="*/ 0 h 30"/>
                  <a:gd name="T6" fmla="*/ 27 w 27"/>
                  <a:gd name="T7" fmla="*/ 0 h 30"/>
                  <a:gd name="T8" fmla="*/ 25 w 27"/>
                  <a:gd name="T9" fmla="*/ 30 h 30"/>
                </a:gdLst>
                <a:ahLst/>
                <a:cxnLst>
                  <a:cxn ang="0">
                    <a:pos x="T0" y="T1"/>
                  </a:cxn>
                  <a:cxn ang="0">
                    <a:pos x="T2" y="T3"/>
                  </a:cxn>
                  <a:cxn ang="0">
                    <a:pos x="T4" y="T5"/>
                  </a:cxn>
                  <a:cxn ang="0">
                    <a:pos x="T6" y="T7"/>
                  </a:cxn>
                  <a:cxn ang="0">
                    <a:pos x="T8" y="T9"/>
                  </a:cxn>
                </a:cxnLst>
                <a:rect l="0" t="0" r="r" b="b"/>
                <a:pathLst>
                  <a:path w="27" h="30">
                    <a:moveTo>
                      <a:pt x="25" y="30"/>
                    </a:moveTo>
                    <a:lnTo>
                      <a:pt x="0" y="30"/>
                    </a:lnTo>
                    <a:lnTo>
                      <a:pt x="2" y="0"/>
                    </a:lnTo>
                    <a:lnTo>
                      <a:pt x="27" y="0"/>
                    </a:lnTo>
                    <a:lnTo>
                      <a:pt x="25" y="30"/>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54" name="Rectangle 52">
                <a:extLst>
                  <a:ext uri="{FF2B5EF4-FFF2-40B4-BE49-F238E27FC236}">
                    <a16:creationId xmlns:a16="http://schemas.microsoft.com/office/drawing/2014/main" id="{90B6D079-42FD-4F5C-AFAC-F30B112E7D22}"/>
                  </a:ext>
                </a:extLst>
              </p:cNvPr>
              <p:cNvSpPr>
                <a:spLocks noChangeArrowheads="1"/>
              </p:cNvSpPr>
              <p:nvPr/>
            </p:nvSpPr>
            <p:spPr bwMode="auto">
              <a:xfrm>
                <a:off x="1810565" y="1531672"/>
                <a:ext cx="18599" cy="22319"/>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55" name="Freeform 53">
                <a:extLst>
                  <a:ext uri="{FF2B5EF4-FFF2-40B4-BE49-F238E27FC236}">
                    <a16:creationId xmlns:a16="http://schemas.microsoft.com/office/drawing/2014/main" id="{D4AA23E4-F8A6-4941-93DB-3AED5F28B7EB}"/>
                  </a:ext>
                </a:extLst>
              </p:cNvPr>
              <p:cNvSpPr>
                <a:spLocks/>
              </p:cNvSpPr>
              <p:nvPr/>
            </p:nvSpPr>
            <p:spPr bwMode="auto">
              <a:xfrm>
                <a:off x="1811309" y="1484059"/>
                <a:ext cx="8927" cy="11159"/>
              </a:xfrm>
              <a:custGeom>
                <a:avLst/>
                <a:gdLst>
                  <a:gd name="T0" fmla="*/ 12 w 12"/>
                  <a:gd name="T1" fmla="*/ 15 h 15"/>
                  <a:gd name="T2" fmla="*/ 0 w 12"/>
                  <a:gd name="T3" fmla="*/ 15 h 15"/>
                  <a:gd name="T4" fmla="*/ 0 w 12"/>
                  <a:gd name="T5" fmla="*/ 0 h 15"/>
                  <a:gd name="T6" fmla="*/ 12 w 12"/>
                  <a:gd name="T7" fmla="*/ 1 h 15"/>
                  <a:gd name="T8" fmla="*/ 12 w 12"/>
                  <a:gd name="T9" fmla="*/ 15 h 15"/>
                </a:gdLst>
                <a:ahLst/>
                <a:cxnLst>
                  <a:cxn ang="0">
                    <a:pos x="T0" y="T1"/>
                  </a:cxn>
                  <a:cxn ang="0">
                    <a:pos x="T2" y="T3"/>
                  </a:cxn>
                  <a:cxn ang="0">
                    <a:pos x="T4" y="T5"/>
                  </a:cxn>
                  <a:cxn ang="0">
                    <a:pos x="T6" y="T7"/>
                  </a:cxn>
                  <a:cxn ang="0">
                    <a:pos x="T8" y="T9"/>
                  </a:cxn>
                </a:cxnLst>
                <a:rect l="0" t="0" r="r" b="b"/>
                <a:pathLst>
                  <a:path w="12" h="15">
                    <a:moveTo>
                      <a:pt x="12" y="15"/>
                    </a:moveTo>
                    <a:lnTo>
                      <a:pt x="0" y="15"/>
                    </a:lnTo>
                    <a:lnTo>
                      <a:pt x="0" y="0"/>
                    </a:lnTo>
                    <a:lnTo>
                      <a:pt x="12" y="1"/>
                    </a:lnTo>
                    <a:lnTo>
                      <a:pt x="12"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56" name="Freeform 54">
                <a:extLst>
                  <a:ext uri="{FF2B5EF4-FFF2-40B4-BE49-F238E27FC236}">
                    <a16:creationId xmlns:a16="http://schemas.microsoft.com/office/drawing/2014/main" id="{575AB665-5FD3-4C4E-97FC-FE6062885D9C}"/>
                  </a:ext>
                </a:extLst>
              </p:cNvPr>
              <p:cNvSpPr>
                <a:spLocks/>
              </p:cNvSpPr>
              <p:nvPr/>
            </p:nvSpPr>
            <p:spPr bwMode="auto">
              <a:xfrm>
                <a:off x="1820981" y="1484804"/>
                <a:ext cx="9671" cy="10415"/>
              </a:xfrm>
              <a:custGeom>
                <a:avLst/>
                <a:gdLst>
                  <a:gd name="T0" fmla="*/ 12 w 13"/>
                  <a:gd name="T1" fmla="*/ 14 h 14"/>
                  <a:gd name="T2" fmla="*/ 0 w 13"/>
                  <a:gd name="T3" fmla="*/ 14 h 14"/>
                  <a:gd name="T4" fmla="*/ 0 w 13"/>
                  <a:gd name="T5" fmla="*/ 0 h 14"/>
                  <a:gd name="T6" fmla="*/ 13 w 13"/>
                  <a:gd name="T7" fmla="*/ 0 h 14"/>
                  <a:gd name="T8" fmla="*/ 12 w 13"/>
                  <a:gd name="T9" fmla="*/ 14 h 14"/>
                </a:gdLst>
                <a:ahLst/>
                <a:cxnLst>
                  <a:cxn ang="0">
                    <a:pos x="T0" y="T1"/>
                  </a:cxn>
                  <a:cxn ang="0">
                    <a:pos x="T2" y="T3"/>
                  </a:cxn>
                  <a:cxn ang="0">
                    <a:pos x="T4" y="T5"/>
                  </a:cxn>
                  <a:cxn ang="0">
                    <a:pos x="T6" y="T7"/>
                  </a:cxn>
                  <a:cxn ang="0">
                    <a:pos x="T8" y="T9"/>
                  </a:cxn>
                </a:cxnLst>
                <a:rect l="0" t="0" r="r" b="b"/>
                <a:pathLst>
                  <a:path w="13" h="14">
                    <a:moveTo>
                      <a:pt x="12" y="14"/>
                    </a:moveTo>
                    <a:lnTo>
                      <a:pt x="0" y="14"/>
                    </a:lnTo>
                    <a:lnTo>
                      <a:pt x="0" y="0"/>
                    </a:lnTo>
                    <a:lnTo>
                      <a:pt x="13" y="0"/>
                    </a:lnTo>
                    <a:lnTo>
                      <a:pt x="12" y="14"/>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57" name="Rectangle 55">
                <a:extLst>
                  <a:ext uri="{FF2B5EF4-FFF2-40B4-BE49-F238E27FC236}">
                    <a16:creationId xmlns:a16="http://schemas.microsoft.com/office/drawing/2014/main" id="{913E2F1A-D9A9-4839-B94F-99AF3240E17D}"/>
                  </a:ext>
                </a:extLst>
              </p:cNvPr>
              <p:cNvSpPr>
                <a:spLocks noChangeArrowheads="1"/>
              </p:cNvSpPr>
              <p:nvPr/>
            </p:nvSpPr>
            <p:spPr bwMode="auto">
              <a:xfrm>
                <a:off x="1811310" y="1496706"/>
                <a:ext cx="8927" cy="10415"/>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58" name="Rectangle 56">
                <a:extLst>
                  <a:ext uri="{FF2B5EF4-FFF2-40B4-BE49-F238E27FC236}">
                    <a16:creationId xmlns:a16="http://schemas.microsoft.com/office/drawing/2014/main" id="{7CD5EF90-28FF-41F4-9CD4-C028B996D872}"/>
                  </a:ext>
                </a:extLst>
              </p:cNvPr>
              <p:cNvSpPr>
                <a:spLocks noChangeArrowheads="1"/>
              </p:cNvSpPr>
              <p:nvPr/>
            </p:nvSpPr>
            <p:spPr bwMode="auto">
              <a:xfrm>
                <a:off x="1820981" y="1496706"/>
                <a:ext cx="8927" cy="10415"/>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59" name="Freeform 57">
                <a:extLst>
                  <a:ext uri="{FF2B5EF4-FFF2-40B4-BE49-F238E27FC236}">
                    <a16:creationId xmlns:a16="http://schemas.microsoft.com/office/drawing/2014/main" id="{C5955FAF-BA7B-4BC3-9879-1085FFEEF776}"/>
                  </a:ext>
                </a:extLst>
              </p:cNvPr>
              <p:cNvSpPr>
                <a:spLocks/>
              </p:cNvSpPr>
              <p:nvPr/>
            </p:nvSpPr>
            <p:spPr bwMode="auto">
              <a:xfrm>
                <a:off x="1790479" y="1507121"/>
                <a:ext cx="9671" cy="11159"/>
              </a:xfrm>
              <a:custGeom>
                <a:avLst/>
                <a:gdLst>
                  <a:gd name="T0" fmla="*/ 13 w 13"/>
                  <a:gd name="T1" fmla="*/ 15 h 15"/>
                  <a:gd name="T2" fmla="*/ 0 w 13"/>
                  <a:gd name="T3" fmla="*/ 15 h 15"/>
                  <a:gd name="T4" fmla="*/ 2 w 13"/>
                  <a:gd name="T5" fmla="*/ 0 h 15"/>
                  <a:gd name="T6" fmla="*/ 13 w 13"/>
                  <a:gd name="T7" fmla="*/ 1 h 15"/>
                  <a:gd name="T8" fmla="*/ 13 w 13"/>
                  <a:gd name="T9" fmla="*/ 15 h 15"/>
                </a:gdLst>
                <a:ahLst/>
                <a:cxnLst>
                  <a:cxn ang="0">
                    <a:pos x="T0" y="T1"/>
                  </a:cxn>
                  <a:cxn ang="0">
                    <a:pos x="T2" y="T3"/>
                  </a:cxn>
                  <a:cxn ang="0">
                    <a:pos x="T4" y="T5"/>
                  </a:cxn>
                  <a:cxn ang="0">
                    <a:pos x="T6" y="T7"/>
                  </a:cxn>
                  <a:cxn ang="0">
                    <a:pos x="T8" y="T9"/>
                  </a:cxn>
                </a:cxnLst>
                <a:rect l="0" t="0" r="r" b="b"/>
                <a:pathLst>
                  <a:path w="13" h="15">
                    <a:moveTo>
                      <a:pt x="13" y="15"/>
                    </a:moveTo>
                    <a:lnTo>
                      <a:pt x="0" y="15"/>
                    </a:lnTo>
                    <a:lnTo>
                      <a:pt x="2" y="0"/>
                    </a:lnTo>
                    <a:lnTo>
                      <a:pt x="13" y="1"/>
                    </a:lnTo>
                    <a:lnTo>
                      <a:pt x="13"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60" name="Freeform 58">
                <a:extLst>
                  <a:ext uri="{FF2B5EF4-FFF2-40B4-BE49-F238E27FC236}">
                    <a16:creationId xmlns:a16="http://schemas.microsoft.com/office/drawing/2014/main" id="{8F27EB47-C2ED-470D-A365-B192D6A985EC}"/>
                  </a:ext>
                </a:extLst>
              </p:cNvPr>
              <p:cNvSpPr>
                <a:spLocks/>
              </p:cNvSpPr>
              <p:nvPr/>
            </p:nvSpPr>
            <p:spPr bwMode="auto">
              <a:xfrm>
                <a:off x="1820981" y="1507866"/>
                <a:ext cx="8927" cy="11159"/>
              </a:xfrm>
              <a:custGeom>
                <a:avLst/>
                <a:gdLst>
                  <a:gd name="T0" fmla="*/ 12 w 12"/>
                  <a:gd name="T1" fmla="*/ 15 h 15"/>
                  <a:gd name="T2" fmla="*/ 0 w 12"/>
                  <a:gd name="T3" fmla="*/ 14 h 15"/>
                  <a:gd name="T4" fmla="*/ 0 w 12"/>
                  <a:gd name="T5" fmla="*/ 0 h 15"/>
                  <a:gd name="T6" fmla="*/ 12 w 12"/>
                  <a:gd name="T7" fmla="*/ 0 h 15"/>
                  <a:gd name="T8" fmla="*/ 12 w 12"/>
                  <a:gd name="T9" fmla="*/ 15 h 15"/>
                </a:gdLst>
                <a:ahLst/>
                <a:cxnLst>
                  <a:cxn ang="0">
                    <a:pos x="T0" y="T1"/>
                  </a:cxn>
                  <a:cxn ang="0">
                    <a:pos x="T2" y="T3"/>
                  </a:cxn>
                  <a:cxn ang="0">
                    <a:pos x="T4" y="T5"/>
                  </a:cxn>
                  <a:cxn ang="0">
                    <a:pos x="T6" y="T7"/>
                  </a:cxn>
                  <a:cxn ang="0">
                    <a:pos x="T8" y="T9"/>
                  </a:cxn>
                </a:cxnLst>
                <a:rect l="0" t="0" r="r" b="b"/>
                <a:pathLst>
                  <a:path w="12" h="15">
                    <a:moveTo>
                      <a:pt x="12" y="15"/>
                    </a:moveTo>
                    <a:lnTo>
                      <a:pt x="0" y="14"/>
                    </a:lnTo>
                    <a:lnTo>
                      <a:pt x="0" y="0"/>
                    </a:lnTo>
                    <a:lnTo>
                      <a:pt x="12" y="0"/>
                    </a:lnTo>
                    <a:lnTo>
                      <a:pt x="12"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61" name="Rectangle 59">
                <a:extLst>
                  <a:ext uri="{FF2B5EF4-FFF2-40B4-BE49-F238E27FC236}">
                    <a16:creationId xmlns:a16="http://schemas.microsoft.com/office/drawing/2014/main" id="{FA8149C3-FA0E-4C2E-9CC5-07DED61B6935}"/>
                  </a:ext>
                </a:extLst>
              </p:cNvPr>
              <p:cNvSpPr>
                <a:spLocks noChangeArrowheads="1"/>
              </p:cNvSpPr>
              <p:nvPr/>
            </p:nvSpPr>
            <p:spPr bwMode="auto">
              <a:xfrm>
                <a:off x="1790479" y="1519026"/>
                <a:ext cx="8927" cy="11159"/>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62" name="Freeform 60">
                <a:extLst>
                  <a:ext uri="{FF2B5EF4-FFF2-40B4-BE49-F238E27FC236}">
                    <a16:creationId xmlns:a16="http://schemas.microsoft.com/office/drawing/2014/main" id="{2ABF9BF9-B467-4F7C-9488-1E28EF144E0D}"/>
                  </a:ext>
                </a:extLst>
              </p:cNvPr>
              <p:cNvSpPr>
                <a:spLocks/>
              </p:cNvSpPr>
              <p:nvPr/>
            </p:nvSpPr>
            <p:spPr bwMode="auto">
              <a:xfrm>
                <a:off x="1820237" y="1519026"/>
                <a:ext cx="9671" cy="11159"/>
              </a:xfrm>
              <a:custGeom>
                <a:avLst/>
                <a:gdLst>
                  <a:gd name="T0" fmla="*/ 13 w 13"/>
                  <a:gd name="T1" fmla="*/ 15 h 15"/>
                  <a:gd name="T2" fmla="*/ 0 w 13"/>
                  <a:gd name="T3" fmla="*/ 15 h 15"/>
                  <a:gd name="T4" fmla="*/ 1 w 13"/>
                  <a:gd name="T5" fmla="*/ 0 h 15"/>
                  <a:gd name="T6" fmla="*/ 13 w 13"/>
                  <a:gd name="T7" fmla="*/ 0 h 15"/>
                  <a:gd name="T8" fmla="*/ 13 w 13"/>
                  <a:gd name="T9" fmla="*/ 15 h 15"/>
                </a:gdLst>
                <a:ahLst/>
                <a:cxnLst>
                  <a:cxn ang="0">
                    <a:pos x="T0" y="T1"/>
                  </a:cxn>
                  <a:cxn ang="0">
                    <a:pos x="T2" y="T3"/>
                  </a:cxn>
                  <a:cxn ang="0">
                    <a:pos x="T4" y="T5"/>
                  </a:cxn>
                  <a:cxn ang="0">
                    <a:pos x="T6" y="T7"/>
                  </a:cxn>
                  <a:cxn ang="0">
                    <a:pos x="T8" y="T9"/>
                  </a:cxn>
                </a:cxnLst>
                <a:rect l="0" t="0" r="r" b="b"/>
                <a:pathLst>
                  <a:path w="13" h="15">
                    <a:moveTo>
                      <a:pt x="13" y="15"/>
                    </a:moveTo>
                    <a:lnTo>
                      <a:pt x="0" y="15"/>
                    </a:lnTo>
                    <a:lnTo>
                      <a:pt x="1" y="0"/>
                    </a:lnTo>
                    <a:lnTo>
                      <a:pt x="13" y="0"/>
                    </a:lnTo>
                    <a:lnTo>
                      <a:pt x="13"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63" name="Rectangle 61">
                <a:extLst>
                  <a:ext uri="{FF2B5EF4-FFF2-40B4-BE49-F238E27FC236}">
                    <a16:creationId xmlns:a16="http://schemas.microsoft.com/office/drawing/2014/main" id="{4A2BA4B9-D8D7-4DEF-A342-5E66D8198226}"/>
                  </a:ext>
                </a:extLst>
              </p:cNvPr>
              <p:cNvSpPr>
                <a:spLocks noChangeArrowheads="1"/>
              </p:cNvSpPr>
              <p:nvPr/>
            </p:nvSpPr>
            <p:spPr bwMode="auto">
              <a:xfrm>
                <a:off x="1790479" y="1530929"/>
                <a:ext cx="8927" cy="10415"/>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64" name="Freeform 62">
                <a:extLst>
                  <a:ext uri="{FF2B5EF4-FFF2-40B4-BE49-F238E27FC236}">
                    <a16:creationId xmlns:a16="http://schemas.microsoft.com/office/drawing/2014/main" id="{8D7E66B4-05B2-482A-83AA-B7B185FF59F5}"/>
                  </a:ext>
                </a:extLst>
              </p:cNvPr>
              <p:cNvSpPr>
                <a:spLocks/>
              </p:cNvSpPr>
              <p:nvPr/>
            </p:nvSpPr>
            <p:spPr bwMode="auto">
              <a:xfrm>
                <a:off x="1800150" y="1530928"/>
                <a:ext cx="8927" cy="11159"/>
              </a:xfrm>
              <a:custGeom>
                <a:avLst/>
                <a:gdLst>
                  <a:gd name="T0" fmla="*/ 12 w 12"/>
                  <a:gd name="T1" fmla="*/ 15 h 15"/>
                  <a:gd name="T2" fmla="*/ 0 w 12"/>
                  <a:gd name="T3" fmla="*/ 14 h 15"/>
                  <a:gd name="T4" fmla="*/ 0 w 12"/>
                  <a:gd name="T5" fmla="*/ 0 h 15"/>
                  <a:gd name="T6" fmla="*/ 12 w 12"/>
                  <a:gd name="T7" fmla="*/ 0 h 15"/>
                  <a:gd name="T8" fmla="*/ 12 w 12"/>
                  <a:gd name="T9" fmla="*/ 15 h 15"/>
                </a:gdLst>
                <a:ahLst/>
                <a:cxnLst>
                  <a:cxn ang="0">
                    <a:pos x="T0" y="T1"/>
                  </a:cxn>
                  <a:cxn ang="0">
                    <a:pos x="T2" y="T3"/>
                  </a:cxn>
                  <a:cxn ang="0">
                    <a:pos x="T4" y="T5"/>
                  </a:cxn>
                  <a:cxn ang="0">
                    <a:pos x="T6" y="T7"/>
                  </a:cxn>
                  <a:cxn ang="0">
                    <a:pos x="T8" y="T9"/>
                  </a:cxn>
                </a:cxnLst>
                <a:rect l="0" t="0" r="r" b="b"/>
                <a:pathLst>
                  <a:path w="12" h="15">
                    <a:moveTo>
                      <a:pt x="12" y="15"/>
                    </a:moveTo>
                    <a:lnTo>
                      <a:pt x="0" y="14"/>
                    </a:lnTo>
                    <a:lnTo>
                      <a:pt x="0" y="0"/>
                    </a:lnTo>
                    <a:lnTo>
                      <a:pt x="12" y="0"/>
                    </a:lnTo>
                    <a:lnTo>
                      <a:pt x="12"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65" name="Freeform 63">
                <a:extLst>
                  <a:ext uri="{FF2B5EF4-FFF2-40B4-BE49-F238E27FC236}">
                    <a16:creationId xmlns:a16="http://schemas.microsoft.com/office/drawing/2014/main" id="{4920B5AD-110D-45A5-9F88-5FE727069C1C}"/>
                  </a:ext>
                </a:extLst>
              </p:cNvPr>
              <p:cNvSpPr>
                <a:spLocks/>
              </p:cNvSpPr>
              <p:nvPr/>
            </p:nvSpPr>
            <p:spPr bwMode="auto">
              <a:xfrm>
                <a:off x="1789735" y="1542086"/>
                <a:ext cx="9671" cy="11904"/>
              </a:xfrm>
              <a:custGeom>
                <a:avLst/>
                <a:gdLst>
                  <a:gd name="T0" fmla="*/ 13 w 13"/>
                  <a:gd name="T1" fmla="*/ 16 h 16"/>
                  <a:gd name="T2" fmla="*/ 0 w 13"/>
                  <a:gd name="T3" fmla="*/ 14 h 16"/>
                  <a:gd name="T4" fmla="*/ 1 w 13"/>
                  <a:gd name="T5" fmla="*/ 0 h 16"/>
                  <a:gd name="T6" fmla="*/ 13 w 13"/>
                  <a:gd name="T7" fmla="*/ 0 h 16"/>
                  <a:gd name="T8" fmla="*/ 13 w 13"/>
                  <a:gd name="T9" fmla="*/ 16 h 16"/>
                </a:gdLst>
                <a:ahLst/>
                <a:cxnLst>
                  <a:cxn ang="0">
                    <a:pos x="T0" y="T1"/>
                  </a:cxn>
                  <a:cxn ang="0">
                    <a:pos x="T2" y="T3"/>
                  </a:cxn>
                  <a:cxn ang="0">
                    <a:pos x="T4" y="T5"/>
                  </a:cxn>
                  <a:cxn ang="0">
                    <a:pos x="T6" y="T7"/>
                  </a:cxn>
                  <a:cxn ang="0">
                    <a:pos x="T8" y="T9"/>
                  </a:cxn>
                </a:cxnLst>
                <a:rect l="0" t="0" r="r" b="b"/>
                <a:pathLst>
                  <a:path w="13" h="16">
                    <a:moveTo>
                      <a:pt x="13" y="16"/>
                    </a:moveTo>
                    <a:lnTo>
                      <a:pt x="0" y="14"/>
                    </a:lnTo>
                    <a:lnTo>
                      <a:pt x="1" y="0"/>
                    </a:lnTo>
                    <a:lnTo>
                      <a:pt x="13" y="0"/>
                    </a:lnTo>
                    <a:lnTo>
                      <a:pt x="13" y="16"/>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66" name="Freeform 64">
                <a:extLst>
                  <a:ext uri="{FF2B5EF4-FFF2-40B4-BE49-F238E27FC236}">
                    <a16:creationId xmlns:a16="http://schemas.microsoft.com/office/drawing/2014/main" id="{67B99823-E94B-4001-BFA6-7F12DABF93F1}"/>
                  </a:ext>
                </a:extLst>
              </p:cNvPr>
              <p:cNvSpPr>
                <a:spLocks/>
              </p:cNvSpPr>
              <p:nvPr/>
            </p:nvSpPr>
            <p:spPr bwMode="auto">
              <a:xfrm>
                <a:off x="1800151" y="1542087"/>
                <a:ext cx="8927" cy="11904"/>
              </a:xfrm>
              <a:custGeom>
                <a:avLst/>
                <a:gdLst>
                  <a:gd name="T0" fmla="*/ 12 w 12"/>
                  <a:gd name="T1" fmla="*/ 16 h 16"/>
                  <a:gd name="T2" fmla="*/ 0 w 12"/>
                  <a:gd name="T3" fmla="*/ 16 h 16"/>
                  <a:gd name="T4" fmla="*/ 0 w 12"/>
                  <a:gd name="T5" fmla="*/ 0 h 16"/>
                  <a:gd name="T6" fmla="*/ 12 w 12"/>
                  <a:gd name="T7" fmla="*/ 1 h 16"/>
                  <a:gd name="T8" fmla="*/ 12 w 12"/>
                  <a:gd name="T9" fmla="*/ 16 h 16"/>
                </a:gdLst>
                <a:ahLst/>
                <a:cxnLst>
                  <a:cxn ang="0">
                    <a:pos x="T0" y="T1"/>
                  </a:cxn>
                  <a:cxn ang="0">
                    <a:pos x="T2" y="T3"/>
                  </a:cxn>
                  <a:cxn ang="0">
                    <a:pos x="T4" y="T5"/>
                  </a:cxn>
                  <a:cxn ang="0">
                    <a:pos x="T6" y="T7"/>
                  </a:cxn>
                  <a:cxn ang="0">
                    <a:pos x="T8" y="T9"/>
                  </a:cxn>
                </a:cxnLst>
                <a:rect l="0" t="0" r="r" b="b"/>
                <a:pathLst>
                  <a:path w="12" h="16">
                    <a:moveTo>
                      <a:pt x="12" y="16"/>
                    </a:moveTo>
                    <a:lnTo>
                      <a:pt x="0" y="16"/>
                    </a:lnTo>
                    <a:lnTo>
                      <a:pt x="0" y="0"/>
                    </a:lnTo>
                    <a:lnTo>
                      <a:pt x="12" y="1"/>
                    </a:lnTo>
                    <a:lnTo>
                      <a:pt x="12" y="16"/>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67" name="Freeform 65">
                <a:extLst>
                  <a:ext uri="{FF2B5EF4-FFF2-40B4-BE49-F238E27FC236}">
                    <a16:creationId xmlns:a16="http://schemas.microsoft.com/office/drawing/2014/main" id="{760C13D5-3229-45DA-86EA-1D252C3728E8}"/>
                  </a:ext>
                </a:extLst>
              </p:cNvPr>
              <p:cNvSpPr>
                <a:spLocks/>
              </p:cNvSpPr>
              <p:nvPr/>
            </p:nvSpPr>
            <p:spPr bwMode="auto">
              <a:xfrm>
                <a:off x="1417760" y="1703527"/>
                <a:ext cx="61003" cy="11904"/>
              </a:xfrm>
              <a:custGeom>
                <a:avLst/>
                <a:gdLst>
                  <a:gd name="T0" fmla="*/ 80 w 82"/>
                  <a:gd name="T1" fmla="*/ 16 h 16"/>
                  <a:gd name="T2" fmla="*/ 0 w 82"/>
                  <a:gd name="T3" fmla="*/ 14 h 16"/>
                  <a:gd name="T4" fmla="*/ 1 w 82"/>
                  <a:gd name="T5" fmla="*/ 0 h 16"/>
                  <a:gd name="T6" fmla="*/ 82 w 82"/>
                  <a:gd name="T7" fmla="*/ 9 h 16"/>
                  <a:gd name="T8" fmla="*/ 80 w 82"/>
                  <a:gd name="T9" fmla="*/ 16 h 16"/>
                </a:gdLst>
                <a:ahLst/>
                <a:cxnLst>
                  <a:cxn ang="0">
                    <a:pos x="T0" y="T1"/>
                  </a:cxn>
                  <a:cxn ang="0">
                    <a:pos x="T2" y="T3"/>
                  </a:cxn>
                  <a:cxn ang="0">
                    <a:pos x="T4" y="T5"/>
                  </a:cxn>
                  <a:cxn ang="0">
                    <a:pos x="T6" y="T7"/>
                  </a:cxn>
                  <a:cxn ang="0">
                    <a:pos x="T8" y="T9"/>
                  </a:cxn>
                </a:cxnLst>
                <a:rect l="0" t="0" r="r" b="b"/>
                <a:pathLst>
                  <a:path w="82" h="16">
                    <a:moveTo>
                      <a:pt x="80" y="16"/>
                    </a:moveTo>
                    <a:lnTo>
                      <a:pt x="0" y="14"/>
                    </a:lnTo>
                    <a:lnTo>
                      <a:pt x="1" y="0"/>
                    </a:lnTo>
                    <a:lnTo>
                      <a:pt x="82" y="9"/>
                    </a:lnTo>
                    <a:lnTo>
                      <a:pt x="80" y="16"/>
                    </a:lnTo>
                    <a:close/>
                  </a:path>
                </a:pathLst>
              </a:custGeom>
              <a:solidFill>
                <a:srgbClr val="DF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68" name="Freeform 66">
                <a:extLst>
                  <a:ext uri="{FF2B5EF4-FFF2-40B4-BE49-F238E27FC236}">
                    <a16:creationId xmlns:a16="http://schemas.microsoft.com/office/drawing/2014/main" id="{1127F740-76CD-47DC-9587-1D19620F8F3D}"/>
                  </a:ext>
                </a:extLst>
              </p:cNvPr>
              <p:cNvSpPr>
                <a:spLocks/>
              </p:cNvSpPr>
              <p:nvPr/>
            </p:nvSpPr>
            <p:spPr bwMode="auto">
              <a:xfrm>
                <a:off x="1726494" y="1713946"/>
                <a:ext cx="39429" cy="15622"/>
              </a:xfrm>
              <a:custGeom>
                <a:avLst/>
                <a:gdLst>
                  <a:gd name="T0" fmla="*/ 53 w 53"/>
                  <a:gd name="T1" fmla="*/ 7 h 21"/>
                  <a:gd name="T2" fmla="*/ 3 w 53"/>
                  <a:gd name="T3" fmla="*/ 21 h 21"/>
                  <a:gd name="T4" fmla="*/ 0 w 53"/>
                  <a:gd name="T5" fmla="*/ 7 h 21"/>
                  <a:gd name="T6" fmla="*/ 53 w 53"/>
                  <a:gd name="T7" fmla="*/ 0 h 21"/>
                  <a:gd name="T8" fmla="*/ 53 w 53"/>
                  <a:gd name="T9" fmla="*/ 7 h 21"/>
                </a:gdLst>
                <a:ahLst/>
                <a:cxnLst>
                  <a:cxn ang="0">
                    <a:pos x="T0" y="T1"/>
                  </a:cxn>
                  <a:cxn ang="0">
                    <a:pos x="T2" y="T3"/>
                  </a:cxn>
                  <a:cxn ang="0">
                    <a:pos x="T4" y="T5"/>
                  </a:cxn>
                  <a:cxn ang="0">
                    <a:pos x="T6" y="T7"/>
                  </a:cxn>
                  <a:cxn ang="0">
                    <a:pos x="T8" y="T9"/>
                  </a:cxn>
                </a:cxnLst>
                <a:rect l="0" t="0" r="r" b="b"/>
                <a:pathLst>
                  <a:path w="53" h="21">
                    <a:moveTo>
                      <a:pt x="53" y="7"/>
                    </a:moveTo>
                    <a:lnTo>
                      <a:pt x="3" y="21"/>
                    </a:lnTo>
                    <a:lnTo>
                      <a:pt x="0" y="7"/>
                    </a:lnTo>
                    <a:lnTo>
                      <a:pt x="53" y="0"/>
                    </a:lnTo>
                    <a:lnTo>
                      <a:pt x="53" y="7"/>
                    </a:ln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charset="0"/>
                  <a:ea typeface="ＭＳ Ｐゴシック" charset="0"/>
                </a:endParaRPr>
              </a:p>
            </p:txBody>
          </p:sp>
          <p:sp>
            <p:nvSpPr>
              <p:cNvPr id="869" name="Freeform: Shape 868">
                <a:extLst>
                  <a:ext uri="{FF2B5EF4-FFF2-40B4-BE49-F238E27FC236}">
                    <a16:creationId xmlns:a16="http://schemas.microsoft.com/office/drawing/2014/main" id="{9DB72280-D8D0-422D-A3D2-539CDF706C03}"/>
                  </a:ext>
                </a:extLst>
              </p:cNvPr>
              <p:cNvSpPr/>
              <p:nvPr/>
            </p:nvSpPr>
            <p:spPr>
              <a:xfrm>
                <a:off x="1528911" y="1505451"/>
                <a:ext cx="139075" cy="68484"/>
              </a:xfrm>
              <a:custGeom>
                <a:avLst/>
                <a:gdLst>
                  <a:gd name="connsiteX0" fmla="*/ 533400 w 659606"/>
                  <a:gd name="connsiteY0" fmla="*/ 0 h 309563"/>
                  <a:gd name="connsiteX1" fmla="*/ 659606 w 659606"/>
                  <a:gd name="connsiteY1" fmla="*/ 52388 h 309563"/>
                  <a:gd name="connsiteX2" fmla="*/ 426244 w 659606"/>
                  <a:gd name="connsiteY2" fmla="*/ 302419 h 309563"/>
                  <a:gd name="connsiteX3" fmla="*/ 338137 w 659606"/>
                  <a:gd name="connsiteY3" fmla="*/ 200025 h 309563"/>
                  <a:gd name="connsiteX4" fmla="*/ 247650 w 659606"/>
                  <a:gd name="connsiteY4" fmla="*/ 309563 h 309563"/>
                  <a:gd name="connsiteX5" fmla="*/ 0 w 659606"/>
                  <a:gd name="connsiteY5" fmla="*/ 47625 h 309563"/>
                  <a:gd name="connsiteX6" fmla="*/ 126206 w 659606"/>
                  <a:gd name="connsiteY6" fmla="*/ 2381 h 309563"/>
                  <a:gd name="connsiteX7" fmla="*/ 338137 w 659606"/>
                  <a:gd name="connsiteY7" fmla="*/ 204788 h 309563"/>
                  <a:gd name="connsiteX8" fmla="*/ 533400 w 659606"/>
                  <a:gd name="connsiteY8" fmla="*/ 0 h 309563"/>
                  <a:gd name="connsiteX0" fmla="*/ 533400 w 666750"/>
                  <a:gd name="connsiteY0" fmla="*/ 0 h 309563"/>
                  <a:gd name="connsiteX1" fmla="*/ 666750 w 666750"/>
                  <a:gd name="connsiteY1" fmla="*/ 45244 h 309563"/>
                  <a:gd name="connsiteX2" fmla="*/ 426244 w 666750"/>
                  <a:gd name="connsiteY2" fmla="*/ 302419 h 309563"/>
                  <a:gd name="connsiteX3" fmla="*/ 338137 w 666750"/>
                  <a:gd name="connsiteY3" fmla="*/ 200025 h 309563"/>
                  <a:gd name="connsiteX4" fmla="*/ 247650 w 666750"/>
                  <a:gd name="connsiteY4" fmla="*/ 309563 h 309563"/>
                  <a:gd name="connsiteX5" fmla="*/ 0 w 666750"/>
                  <a:gd name="connsiteY5" fmla="*/ 47625 h 309563"/>
                  <a:gd name="connsiteX6" fmla="*/ 126206 w 666750"/>
                  <a:gd name="connsiteY6" fmla="*/ 2381 h 309563"/>
                  <a:gd name="connsiteX7" fmla="*/ 338137 w 666750"/>
                  <a:gd name="connsiteY7" fmla="*/ 204788 h 309563"/>
                  <a:gd name="connsiteX8" fmla="*/ 533400 w 666750"/>
                  <a:gd name="connsiteY8" fmla="*/ 0 h 309563"/>
                  <a:gd name="connsiteX0" fmla="*/ 535781 w 669131"/>
                  <a:gd name="connsiteY0" fmla="*/ 0 h 309563"/>
                  <a:gd name="connsiteX1" fmla="*/ 669131 w 669131"/>
                  <a:gd name="connsiteY1" fmla="*/ 45244 h 309563"/>
                  <a:gd name="connsiteX2" fmla="*/ 428625 w 669131"/>
                  <a:gd name="connsiteY2" fmla="*/ 302419 h 309563"/>
                  <a:gd name="connsiteX3" fmla="*/ 340518 w 669131"/>
                  <a:gd name="connsiteY3" fmla="*/ 200025 h 309563"/>
                  <a:gd name="connsiteX4" fmla="*/ 250031 w 669131"/>
                  <a:gd name="connsiteY4" fmla="*/ 309563 h 309563"/>
                  <a:gd name="connsiteX5" fmla="*/ 0 w 669131"/>
                  <a:gd name="connsiteY5" fmla="*/ 45244 h 309563"/>
                  <a:gd name="connsiteX6" fmla="*/ 128587 w 669131"/>
                  <a:gd name="connsiteY6" fmla="*/ 2381 h 309563"/>
                  <a:gd name="connsiteX7" fmla="*/ 340518 w 669131"/>
                  <a:gd name="connsiteY7" fmla="*/ 204788 h 309563"/>
                  <a:gd name="connsiteX8" fmla="*/ 535781 w 669131"/>
                  <a:gd name="connsiteY8" fmla="*/ 0 h 309563"/>
                  <a:gd name="connsiteX0" fmla="*/ 535781 w 645319"/>
                  <a:gd name="connsiteY0" fmla="*/ 0 h 309563"/>
                  <a:gd name="connsiteX1" fmla="*/ 645319 w 645319"/>
                  <a:gd name="connsiteY1" fmla="*/ 69056 h 309563"/>
                  <a:gd name="connsiteX2" fmla="*/ 428625 w 645319"/>
                  <a:gd name="connsiteY2" fmla="*/ 302419 h 309563"/>
                  <a:gd name="connsiteX3" fmla="*/ 340518 w 645319"/>
                  <a:gd name="connsiteY3" fmla="*/ 200025 h 309563"/>
                  <a:gd name="connsiteX4" fmla="*/ 250031 w 645319"/>
                  <a:gd name="connsiteY4" fmla="*/ 309563 h 309563"/>
                  <a:gd name="connsiteX5" fmla="*/ 0 w 645319"/>
                  <a:gd name="connsiteY5" fmla="*/ 45244 h 309563"/>
                  <a:gd name="connsiteX6" fmla="*/ 128587 w 645319"/>
                  <a:gd name="connsiteY6" fmla="*/ 2381 h 309563"/>
                  <a:gd name="connsiteX7" fmla="*/ 340518 w 645319"/>
                  <a:gd name="connsiteY7" fmla="*/ 204788 h 309563"/>
                  <a:gd name="connsiteX8" fmla="*/ 535781 w 645319"/>
                  <a:gd name="connsiteY8" fmla="*/ 0 h 309563"/>
                  <a:gd name="connsiteX0" fmla="*/ 519112 w 628650"/>
                  <a:gd name="connsiteY0" fmla="*/ 0 h 309563"/>
                  <a:gd name="connsiteX1" fmla="*/ 628650 w 628650"/>
                  <a:gd name="connsiteY1" fmla="*/ 69056 h 309563"/>
                  <a:gd name="connsiteX2" fmla="*/ 411956 w 628650"/>
                  <a:gd name="connsiteY2" fmla="*/ 302419 h 309563"/>
                  <a:gd name="connsiteX3" fmla="*/ 323849 w 628650"/>
                  <a:gd name="connsiteY3" fmla="*/ 200025 h 309563"/>
                  <a:gd name="connsiteX4" fmla="*/ 233362 w 628650"/>
                  <a:gd name="connsiteY4" fmla="*/ 309563 h 309563"/>
                  <a:gd name="connsiteX5" fmla="*/ 0 w 628650"/>
                  <a:gd name="connsiteY5" fmla="*/ 71438 h 309563"/>
                  <a:gd name="connsiteX6" fmla="*/ 111918 w 628650"/>
                  <a:gd name="connsiteY6" fmla="*/ 2381 h 309563"/>
                  <a:gd name="connsiteX7" fmla="*/ 323849 w 628650"/>
                  <a:gd name="connsiteY7" fmla="*/ 204788 h 309563"/>
                  <a:gd name="connsiteX8" fmla="*/ 519112 w 628650"/>
                  <a:gd name="connsiteY8" fmla="*/ 0 h 309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8650" h="309563">
                    <a:moveTo>
                      <a:pt x="519112" y="0"/>
                    </a:moveTo>
                    <a:lnTo>
                      <a:pt x="628650" y="69056"/>
                    </a:lnTo>
                    <a:lnTo>
                      <a:pt x="411956" y="302419"/>
                    </a:lnTo>
                    <a:lnTo>
                      <a:pt x="323849" y="200025"/>
                    </a:lnTo>
                    <a:lnTo>
                      <a:pt x="233362" y="309563"/>
                    </a:lnTo>
                    <a:lnTo>
                      <a:pt x="0" y="71438"/>
                    </a:lnTo>
                    <a:lnTo>
                      <a:pt x="111918" y="2381"/>
                    </a:lnTo>
                    <a:lnTo>
                      <a:pt x="323849" y="204788"/>
                    </a:lnTo>
                    <a:lnTo>
                      <a:pt x="519112" y="0"/>
                    </a:lnTo>
                    <a:close/>
                  </a:path>
                </a:pathLst>
              </a:custGeom>
              <a:solidFill>
                <a:srgbClr val="505050">
                  <a:lumMod val="20000"/>
                  <a:lumOff val="80000"/>
                </a:srgbClr>
              </a:solidFill>
            </p:spPr>
            <p:txBody>
              <a:bodyPr wrap="square" rtlCol="0" anchor="ctr">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Light"/>
                  <a:ea typeface="ＭＳ Ｐゴシック" charset="0"/>
                </a:endParaRPr>
              </a:p>
            </p:txBody>
          </p:sp>
          <p:grpSp>
            <p:nvGrpSpPr>
              <p:cNvPr id="870" name="Group 869">
                <a:extLst>
                  <a:ext uri="{FF2B5EF4-FFF2-40B4-BE49-F238E27FC236}">
                    <a16:creationId xmlns:a16="http://schemas.microsoft.com/office/drawing/2014/main" id="{8D0DF8D2-4DB2-45C1-8DBA-FDA957E51325}"/>
                  </a:ext>
                </a:extLst>
              </p:cNvPr>
              <p:cNvGrpSpPr/>
              <p:nvPr/>
            </p:nvGrpSpPr>
            <p:grpSpPr>
              <a:xfrm>
                <a:off x="1581801" y="1548853"/>
                <a:ext cx="37941" cy="286350"/>
                <a:chOff x="5789886" y="2372760"/>
                <a:chExt cx="171502" cy="1294365"/>
              </a:xfrm>
            </p:grpSpPr>
            <p:sp>
              <p:nvSpPr>
                <p:cNvPr id="879" name="Flowchart: Sort 878">
                  <a:extLst>
                    <a:ext uri="{FF2B5EF4-FFF2-40B4-BE49-F238E27FC236}">
                      <a16:creationId xmlns:a16="http://schemas.microsoft.com/office/drawing/2014/main" id="{5970328E-DF8D-49E4-9094-0160B86FAAD8}"/>
                    </a:ext>
                  </a:extLst>
                </p:cNvPr>
                <p:cNvSpPr/>
                <p:nvPr/>
              </p:nvSpPr>
              <p:spPr>
                <a:xfrm>
                  <a:off x="5789886" y="2372760"/>
                  <a:ext cx="171502" cy="210880"/>
                </a:xfrm>
                <a:prstGeom prst="flowChartSort">
                  <a:avLst/>
                </a:prstGeom>
                <a:solidFill>
                  <a:srgbClr val="505050"/>
                </a:solidFill>
                <a:ln>
                  <a:noFill/>
                </a:ln>
              </p:spPr>
              <p:txBody>
                <a:bodyPr wrap="square" rtlCol="0" anchor="ctr">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Light"/>
                    <a:ea typeface="ＭＳ Ｐゴシック" charset="0"/>
                  </a:endParaRPr>
                </a:p>
              </p:txBody>
            </p:sp>
            <p:sp>
              <p:nvSpPr>
                <p:cNvPr id="880" name="Trapezoid 879">
                  <a:extLst>
                    <a:ext uri="{FF2B5EF4-FFF2-40B4-BE49-F238E27FC236}">
                      <a16:creationId xmlns:a16="http://schemas.microsoft.com/office/drawing/2014/main" id="{E1212B34-B9D7-4550-894A-58468E88F345}"/>
                    </a:ext>
                  </a:extLst>
                </p:cNvPr>
                <p:cNvSpPr/>
                <p:nvPr/>
              </p:nvSpPr>
              <p:spPr>
                <a:xfrm>
                  <a:off x="5803337" y="2521279"/>
                  <a:ext cx="144600" cy="1145846"/>
                </a:xfrm>
                <a:prstGeom prst="trapezoid">
                  <a:avLst/>
                </a:prstGeom>
                <a:solidFill>
                  <a:srgbClr val="505050"/>
                </a:solidFill>
                <a:ln>
                  <a:noFill/>
                </a:ln>
              </p:spPr>
              <p:txBody>
                <a:bodyPr wrap="square" rtlCol="0" anchor="ctr">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Light"/>
                    <a:ea typeface="ＭＳ Ｐゴシック" charset="0"/>
                  </a:endParaRPr>
                </a:p>
              </p:txBody>
            </p:sp>
          </p:grpSp>
          <p:grpSp>
            <p:nvGrpSpPr>
              <p:cNvPr id="871" name="Group 870">
                <a:extLst>
                  <a:ext uri="{FF2B5EF4-FFF2-40B4-BE49-F238E27FC236}">
                    <a16:creationId xmlns:a16="http://schemas.microsoft.com/office/drawing/2014/main" id="{67DAE641-01C1-4A16-B94B-0F8C3622FFC8}"/>
                  </a:ext>
                </a:extLst>
              </p:cNvPr>
              <p:cNvGrpSpPr/>
              <p:nvPr/>
            </p:nvGrpSpPr>
            <p:grpSpPr>
              <a:xfrm>
                <a:off x="1537239" y="1366007"/>
                <a:ext cx="123792" cy="49941"/>
                <a:chOff x="277813" y="4376738"/>
                <a:chExt cx="369888" cy="149225"/>
              </a:xfrm>
            </p:grpSpPr>
            <p:sp>
              <p:nvSpPr>
                <p:cNvPr id="872" name="Rectangle 8">
                  <a:extLst>
                    <a:ext uri="{FF2B5EF4-FFF2-40B4-BE49-F238E27FC236}">
                      <a16:creationId xmlns:a16="http://schemas.microsoft.com/office/drawing/2014/main" id="{912C06D5-9FD4-4F87-B3F5-D942ED2FE58C}"/>
                    </a:ext>
                  </a:extLst>
                </p:cNvPr>
                <p:cNvSpPr>
                  <a:spLocks noChangeArrowheads="1"/>
                </p:cNvSpPr>
                <p:nvPr/>
              </p:nvSpPr>
              <p:spPr bwMode="auto">
                <a:xfrm>
                  <a:off x="434976" y="4441825"/>
                  <a:ext cx="58738"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charset="0"/>
                    <a:ea typeface="ＭＳ Ｐゴシック" charset="0"/>
                  </a:endParaRPr>
                </a:p>
              </p:txBody>
            </p:sp>
            <p:sp>
              <p:nvSpPr>
                <p:cNvPr id="873" name="Rectangle 9">
                  <a:extLst>
                    <a:ext uri="{FF2B5EF4-FFF2-40B4-BE49-F238E27FC236}">
                      <a16:creationId xmlns:a16="http://schemas.microsoft.com/office/drawing/2014/main" id="{2960C14D-96C2-422D-81D4-5DD08326123F}"/>
                    </a:ext>
                  </a:extLst>
                </p:cNvPr>
                <p:cNvSpPr>
                  <a:spLocks noChangeArrowheads="1"/>
                </p:cNvSpPr>
                <p:nvPr/>
              </p:nvSpPr>
              <p:spPr bwMode="auto">
                <a:xfrm>
                  <a:off x="636588" y="4441825"/>
                  <a:ext cx="11113"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charset="0"/>
                    <a:ea typeface="ＭＳ Ｐゴシック" charset="0"/>
                  </a:endParaRPr>
                </a:p>
              </p:txBody>
            </p:sp>
            <p:sp>
              <p:nvSpPr>
                <p:cNvPr id="874" name="Rectangle 10">
                  <a:extLst>
                    <a:ext uri="{FF2B5EF4-FFF2-40B4-BE49-F238E27FC236}">
                      <a16:creationId xmlns:a16="http://schemas.microsoft.com/office/drawing/2014/main" id="{752527F5-D8C3-4A2F-B1B1-A89E0EBA148D}"/>
                    </a:ext>
                  </a:extLst>
                </p:cNvPr>
                <p:cNvSpPr>
                  <a:spLocks noChangeArrowheads="1"/>
                </p:cNvSpPr>
                <p:nvPr/>
              </p:nvSpPr>
              <p:spPr bwMode="auto">
                <a:xfrm>
                  <a:off x="277813" y="4441825"/>
                  <a:ext cx="11113"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charset="0"/>
                    <a:ea typeface="ＭＳ Ｐゴシック" charset="0"/>
                  </a:endParaRPr>
                </a:p>
              </p:txBody>
            </p:sp>
            <p:sp>
              <p:nvSpPr>
                <p:cNvPr id="875" name="Freeform 11">
                  <a:extLst>
                    <a:ext uri="{FF2B5EF4-FFF2-40B4-BE49-F238E27FC236}">
                      <a16:creationId xmlns:a16="http://schemas.microsoft.com/office/drawing/2014/main" id="{4C98E790-9565-44EF-B127-1CCC35DA4BE7}"/>
                    </a:ext>
                  </a:extLst>
                </p:cNvPr>
                <p:cNvSpPr>
                  <a:spLocks noEditPoints="1"/>
                </p:cNvSpPr>
                <p:nvPr/>
              </p:nvSpPr>
              <p:spPr bwMode="auto">
                <a:xfrm>
                  <a:off x="487363" y="4376738"/>
                  <a:ext cx="152400" cy="149225"/>
                </a:xfrm>
                <a:custGeom>
                  <a:avLst/>
                  <a:gdLst>
                    <a:gd name="T0" fmla="*/ 22 w 44"/>
                    <a:gd name="T1" fmla="*/ 43 h 43"/>
                    <a:gd name="T2" fmla="*/ 0 w 44"/>
                    <a:gd name="T3" fmla="*/ 22 h 43"/>
                    <a:gd name="T4" fmla="*/ 22 w 44"/>
                    <a:gd name="T5" fmla="*/ 0 h 43"/>
                    <a:gd name="T6" fmla="*/ 44 w 44"/>
                    <a:gd name="T7" fmla="*/ 22 h 43"/>
                    <a:gd name="T8" fmla="*/ 22 w 44"/>
                    <a:gd name="T9" fmla="*/ 43 h 43"/>
                    <a:gd name="T10" fmla="*/ 22 w 44"/>
                    <a:gd name="T11" fmla="*/ 1 h 43"/>
                    <a:gd name="T12" fmla="*/ 2 w 44"/>
                    <a:gd name="T13" fmla="*/ 22 h 43"/>
                    <a:gd name="T14" fmla="*/ 22 w 44"/>
                    <a:gd name="T15" fmla="*/ 42 h 43"/>
                    <a:gd name="T16" fmla="*/ 43 w 44"/>
                    <a:gd name="T17" fmla="*/ 22 h 43"/>
                    <a:gd name="T18" fmla="*/ 22 w 44"/>
                    <a:gd name="T19"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3">
                      <a:moveTo>
                        <a:pt x="22" y="43"/>
                      </a:moveTo>
                      <a:cubicBezTo>
                        <a:pt x="10" y="43"/>
                        <a:pt x="0" y="34"/>
                        <a:pt x="0" y="22"/>
                      </a:cubicBezTo>
                      <a:cubicBezTo>
                        <a:pt x="0" y="10"/>
                        <a:pt x="10" y="0"/>
                        <a:pt x="22" y="0"/>
                      </a:cubicBezTo>
                      <a:cubicBezTo>
                        <a:pt x="34" y="0"/>
                        <a:pt x="44" y="10"/>
                        <a:pt x="44" y="22"/>
                      </a:cubicBezTo>
                      <a:cubicBezTo>
                        <a:pt x="44" y="34"/>
                        <a:pt x="34" y="43"/>
                        <a:pt x="22" y="43"/>
                      </a:cubicBezTo>
                      <a:close/>
                      <a:moveTo>
                        <a:pt x="22" y="1"/>
                      </a:moveTo>
                      <a:cubicBezTo>
                        <a:pt x="11" y="1"/>
                        <a:pt x="2" y="10"/>
                        <a:pt x="2" y="22"/>
                      </a:cubicBezTo>
                      <a:cubicBezTo>
                        <a:pt x="2" y="33"/>
                        <a:pt x="11" y="42"/>
                        <a:pt x="22" y="42"/>
                      </a:cubicBezTo>
                      <a:cubicBezTo>
                        <a:pt x="33" y="42"/>
                        <a:pt x="43" y="33"/>
                        <a:pt x="43" y="22"/>
                      </a:cubicBezTo>
                      <a:cubicBezTo>
                        <a:pt x="43" y="10"/>
                        <a:pt x="33" y="1"/>
                        <a:pt x="2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charset="0"/>
                    <a:ea typeface="ＭＳ Ｐゴシック" charset="0"/>
                  </a:endParaRPr>
                </a:p>
              </p:txBody>
            </p:sp>
            <p:sp>
              <p:nvSpPr>
                <p:cNvPr id="876" name="Freeform 12">
                  <a:extLst>
                    <a:ext uri="{FF2B5EF4-FFF2-40B4-BE49-F238E27FC236}">
                      <a16:creationId xmlns:a16="http://schemas.microsoft.com/office/drawing/2014/main" id="{416993A0-22C5-4F48-91F2-5A1C97DE4FE4}"/>
                    </a:ext>
                  </a:extLst>
                </p:cNvPr>
                <p:cNvSpPr>
                  <a:spLocks noEditPoints="1"/>
                </p:cNvSpPr>
                <p:nvPr/>
              </p:nvSpPr>
              <p:spPr bwMode="auto">
                <a:xfrm>
                  <a:off x="285751" y="4376738"/>
                  <a:ext cx="149225" cy="149225"/>
                </a:xfrm>
                <a:custGeom>
                  <a:avLst/>
                  <a:gdLst>
                    <a:gd name="T0" fmla="*/ 22 w 43"/>
                    <a:gd name="T1" fmla="*/ 43 h 43"/>
                    <a:gd name="T2" fmla="*/ 0 w 43"/>
                    <a:gd name="T3" fmla="*/ 22 h 43"/>
                    <a:gd name="T4" fmla="*/ 22 w 43"/>
                    <a:gd name="T5" fmla="*/ 0 h 43"/>
                    <a:gd name="T6" fmla="*/ 43 w 43"/>
                    <a:gd name="T7" fmla="*/ 22 h 43"/>
                    <a:gd name="T8" fmla="*/ 22 w 43"/>
                    <a:gd name="T9" fmla="*/ 43 h 43"/>
                    <a:gd name="T10" fmla="*/ 22 w 43"/>
                    <a:gd name="T11" fmla="*/ 1 h 43"/>
                    <a:gd name="T12" fmla="*/ 1 w 43"/>
                    <a:gd name="T13" fmla="*/ 22 h 43"/>
                    <a:gd name="T14" fmla="*/ 22 w 43"/>
                    <a:gd name="T15" fmla="*/ 42 h 43"/>
                    <a:gd name="T16" fmla="*/ 42 w 43"/>
                    <a:gd name="T17" fmla="*/ 22 h 43"/>
                    <a:gd name="T18" fmla="*/ 22 w 43"/>
                    <a:gd name="T19"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10" y="43"/>
                        <a:pt x="0" y="34"/>
                        <a:pt x="0" y="22"/>
                      </a:cubicBezTo>
                      <a:cubicBezTo>
                        <a:pt x="0" y="10"/>
                        <a:pt x="10" y="0"/>
                        <a:pt x="22" y="0"/>
                      </a:cubicBezTo>
                      <a:cubicBezTo>
                        <a:pt x="34" y="0"/>
                        <a:pt x="43" y="10"/>
                        <a:pt x="43" y="22"/>
                      </a:cubicBezTo>
                      <a:cubicBezTo>
                        <a:pt x="43" y="34"/>
                        <a:pt x="34" y="43"/>
                        <a:pt x="22" y="43"/>
                      </a:cubicBezTo>
                      <a:close/>
                      <a:moveTo>
                        <a:pt x="22" y="1"/>
                      </a:moveTo>
                      <a:cubicBezTo>
                        <a:pt x="10" y="1"/>
                        <a:pt x="1" y="10"/>
                        <a:pt x="1" y="22"/>
                      </a:cubicBezTo>
                      <a:cubicBezTo>
                        <a:pt x="1" y="33"/>
                        <a:pt x="10" y="42"/>
                        <a:pt x="22" y="42"/>
                      </a:cubicBezTo>
                      <a:cubicBezTo>
                        <a:pt x="33" y="42"/>
                        <a:pt x="42" y="33"/>
                        <a:pt x="42" y="22"/>
                      </a:cubicBezTo>
                      <a:cubicBezTo>
                        <a:pt x="42" y="10"/>
                        <a:pt x="33" y="1"/>
                        <a:pt x="2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charset="0"/>
                    <a:ea typeface="ＭＳ Ｐゴシック" charset="0"/>
                  </a:endParaRPr>
                </a:p>
              </p:txBody>
            </p:sp>
            <p:sp>
              <p:nvSpPr>
                <p:cNvPr id="877" name="Freeform 13">
                  <a:extLst>
                    <a:ext uri="{FF2B5EF4-FFF2-40B4-BE49-F238E27FC236}">
                      <a16:creationId xmlns:a16="http://schemas.microsoft.com/office/drawing/2014/main" id="{396DBEBE-CB56-4683-AB77-A147577B7EFF}"/>
                    </a:ext>
                  </a:extLst>
                </p:cNvPr>
                <p:cNvSpPr>
                  <a:spLocks/>
                </p:cNvSpPr>
                <p:nvPr/>
              </p:nvSpPr>
              <p:spPr bwMode="auto">
                <a:xfrm>
                  <a:off x="438151" y="4456113"/>
                  <a:ext cx="6350" cy="20638"/>
                </a:xfrm>
                <a:custGeom>
                  <a:avLst/>
                  <a:gdLst>
                    <a:gd name="T0" fmla="*/ 2 w 2"/>
                    <a:gd name="T1" fmla="*/ 5 h 6"/>
                    <a:gd name="T2" fmla="*/ 1 w 2"/>
                    <a:gd name="T3" fmla="*/ 6 h 6"/>
                    <a:gd name="T4" fmla="*/ 1 w 2"/>
                    <a:gd name="T5" fmla="*/ 6 h 6"/>
                    <a:gd name="T6" fmla="*/ 0 w 2"/>
                    <a:gd name="T7" fmla="*/ 5 h 6"/>
                    <a:gd name="T8" fmla="*/ 0 w 2"/>
                    <a:gd name="T9" fmla="*/ 0 h 6"/>
                    <a:gd name="T10" fmla="*/ 1 w 2"/>
                    <a:gd name="T11" fmla="*/ 0 h 6"/>
                    <a:gd name="T12" fmla="*/ 1 w 2"/>
                    <a:gd name="T13" fmla="*/ 0 h 6"/>
                    <a:gd name="T14" fmla="*/ 2 w 2"/>
                    <a:gd name="T15" fmla="*/ 0 h 6"/>
                    <a:gd name="T16" fmla="*/ 2 w 2"/>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2" y="5"/>
                      </a:moveTo>
                      <a:cubicBezTo>
                        <a:pt x="2" y="6"/>
                        <a:pt x="2" y="6"/>
                        <a:pt x="1" y="6"/>
                      </a:cubicBezTo>
                      <a:cubicBezTo>
                        <a:pt x="1" y="6"/>
                        <a:pt x="1" y="6"/>
                        <a:pt x="1" y="6"/>
                      </a:cubicBezTo>
                      <a:cubicBezTo>
                        <a:pt x="1" y="6"/>
                        <a:pt x="0" y="6"/>
                        <a:pt x="0" y="5"/>
                      </a:cubicBezTo>
                      <a:cubicBezTo>
                        <a:pt x="0" y="0"/>
                        <a:pt x="0" y="0"/>
                        <a:pt x="0" y="0"/>
                      </a:cubicBezTo>
                      <a:cubicBezTo>
                        <a:pt x="0" y="0"/>
                        <a:pt x="1" y="0"/>
                        <a:pt x="1" y="0"/>
                      </a:cubicBezTo>
                      <a:cubicBezTo>
                        <a:pt x="1" y="0"/>
                        <a:pt x="1" y="0"/>
                        <a:pt x="1" y="0"/>
                      </a:cubicBezTo>
                      <a:cubicBezTo>
                        <a:pt x="2" y="0"/>
                        <a:pt x="2" y="0"/>
                        <a:pt x="2" y="0"/>
                      </a:cubicBez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charset="0"/>
                    <a:ea typeface="ＭＳ Ｐゴシック" charset="0"/>
                  </a:endParaRPr>
                </a:p>
              </p:txBody>
            </p:sp>
            <p:sp>
              <p:nvSpPr>
                <p:cNvPr id="878" name="Freeform 14">
                  <a:extLst>
                    <a:ext uri="{FF2B5EF4-FFF2-40B4-BE49-F238E27FC236}">
                      <a16:creationId xmlns:a16="http://schemas.microsoft.com/office/drawing/2014/main" id="{4FC40E82-8541-4698-A597-22D4A41984AF}"/>
                    </a:ext>
                  </a:extLst>
                </p:cNvPr>
                <p:cNvSpPr>
                  <a:spLocks/>
                </p:cNvSpPr>
                <p:nvPr/>
              </p:nvSpPr>
              <p:spPr bwMode="auto">
                <a:xfrm>
                  <a:off x="479426" y="4456113"/>
                  <a:ext cx="7938" cy="20638"/>
                </a:xfrm>
                <a:custGeom>
                  <a:avLst/>
                  <a:gdLst>
                    <a:gd name="T0" fmla="*/ 2 w 2"/>
                    <a:gd name="T1" fmla="*/ 5 h 6"/>
                    <a:gd name="T2" fmla="*/ 1 w 2"/>
                    <a:gd name="T3" fmla="*/ 6 h 6"/>
                    <a:gd name="T4" fmla="*/ 1 w 2"/>
                    <a:gd name="T5" fmla="*/ 6 h 6"/>
                    <a:gd name="T6" fmla="*/ 0 w 2"/>
                    <a:gd name="T7" fmla="*/ 5 h 6"/>
                    <a:gd name="T8" fmla="*/ 0 w 2"/>
                    <a:gd name="T9" fmla="*/ 0 h 6"/>
                    <a:gd name="T10" fmla="*/ 1 w 2"/>
                    <a:gd name="T11" fmla="*/ 0 h 6"/>
                    <a:gd name="T12" fmla="*/ 1 w 2"/>
                    <a:gd name="T13" fmla="*/ 0 h 6"/>
                    <a:gd name="T14" fmla="*/ 2 w 2"/>
                    <a:gd name="T15" fmla="*/ 0 h 6"/>
                    <a:gd name="T16" fmla="*/ 2 w 2"/>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2" y="5"/>
                      </a:moveTo>
                      <a:cubicBezTo>
                        <a:pt x="2" y="6"/>
                        <a:pt x="1" y="6"/>
                        <a:pt x="1" y="6"/>
                      </a:cubicBezTo>
                      <a:cubicBezTo>
                        <a:pt x="1" y="6"/>
                        <a:pt x="1" y="6"/>
                        <a:pt x="1" y="6"/>
                      </a:cubicBezTo>
                      <a:cubicBezTo>
                        <a:pt x="0" y="6"/>
                        <a:pt x="0" y="6"/>
                        <a:pt x="0" y="5"/>
                      </a:cubicBezTo>
                      <a:cubicBezTo>
                        <a:pt x="0" y="0"/>
                        <a:pt x="0" y="0"/>
                        <a:pt x="0" y="0"/>
                      </a:cubicBezTo>
                      <a:cubicBezTo>
                        <a:pt x="0" y="0"/>
                        <a:pt x="0" y="0"/>
                        <a:pt x="1" y="0"/>
                      </a:cubicBezTo>
                      <a:cubicBezTo>
                        <a:pt x="1" y="0"/>
                        <a:pt x="1" y="0"/>
                        <a:pt x="1" y="0"/>
                      </a:cubicBezTo>
                      <a:cubicBezTo>
                        <a:pt x="1" y="0"/>
                        <a:pt x="2" y="0"/>
                        <a:pt x="2" y="0"/>
                      </a:cubicBez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charset="0"/>
                    <a:ea typeface="ＭＳ Ｐゴシック" charset="0"/>
                  </a:endParaRPr>
                </a:p>
              </p:txBody>
            </p:sp>
          </p:grpSp>
        </p:grpSp>
        <p:grpSp>
          <p:nvGrpSpPr>
            <p:cNvPr id="622" name="Group 621">
              <a:extLst>
                <a:ext uri="{FF2B5EF4-FFF2-40B4-BE49-F238E27FC236}">
                  <a16:creationId xmlns:a16="http://schemas.microsoft.com/office/drawing/2014/main" id="{E66E8A2E-82F7-439C-ACAA-F5F8B30599DC}"/>
                </a:ext>
              </a:extLst>
            </p:cNvPr>
            <p:cNvGrpSpPr/>
            <p:nvPr/>
          </p:nvGrpSpPr>
          <p:grpSpPr>
            <a:xfrm>
              <a:off x="10447184" y="4582007"/>
              <a:ext cx="951968" cy="1445937"/>
              <a:chOff x="5635625" y="1597025"/>
              <a:chExt cx="1722438" cy="2616199"/>
            </a:xfrm>
          </p:grpSpPr>
          <p:sp>
            <p:nvSpPr>
              <p:cNvPr id="675" name="Freeform 236">
                <a:extLst>
                  <a:ext uri="{FF2B5EF4-FFF2-40B4-BE49-F238E27FC236}">
                    <a16:creationId xmlns:a16="http://schemas.microsoft.com/office/drawing/2014/main" id="{EBA5D03E-3BE3-4568-B083-723F5D9EE90E}"/>
                  </a:ext>
                </a:extLst>
              </p:cNvPr>
              <p:cNvSpPr>
                <a:spLocks/>
              </p:cNvSpPr>
              <p:nvPr/>
            </p:nvSpPr>
            <p:spPr bwMode="auto">
              <a:xfrm>
                <a:off x="5635625" y="3870324"/>
                <a:ext cx="347663" cy="242887"/>
              </a:xfrm>
              <a:custGeom>
                <a:avLst/>
                <a:gdLst>
                  <a:gd name="T0" fmla="*/ 125 w 146"/>
                  <a:gd name="T1" fmla="*/ 80 h 102"/>
                  <a:gd name="T2" fmla="*/ 106 w 146"/>
                  <a:gd name="T3" fmla="*/ 72 h 102"/>
                  <a:gd name="T4" fmla="*/ 106 w 146"/>
                  <a:gd name="T5" fmla="*/ 73 h 102"/>
                  <a:gd name="T6" fmla="*/ 30 w 146"/>
                  <a:gd name="T7" fmla="*/ 0 h 102"/>
                  <a:gd name="T8" fmla="*/ 2 w 146"/>
                  <a:gd name="T9" fmla="*/ 34 h 102"/>
                  <a:gd name="T10" fmla="*/ 47 w 146"/>
                  <a:gd name="T11" fmla="*/ 78 h 102"/>
                  <a:gd name="T12" fmla="*/ 82 w 146"/>
                  <a:gd name="T13" fmla="*/ 101 h 102"/>
                  <a:gd name="T14" fmla="*/ 92 w 146"/>
                  <a:gd name="T15" fmla="*/ 101 h 102"/>
                  <a:gd name="T16" fmla="*/ 142 w 146"/>
                  <a:gd name="T17" fmla="*/ 98 h 102"/>
                  <a:gd name="T18" fmla="*/ 125 w 146"/>
                  <a:gd name="T19"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02">
                    <a:moveTo>
                      <a:pt x="125" y="80"/>
                    </a:moveTo>
                    <a:cubicBezTo>
                      <a:pt x="122" y="78"/>
                      <a:pt x="106" y="72"/>
                      <a:pt x="106" y="72"/>
                    </a:cubicBezTo>
                    <a:cubicBezTo>
                      <a:pt x="106" y="73"/>
                      <a:pt x="106" y="73"/>
                      <a:pt x="106" y="73"/>
                    </a:cubicBezTo>
                    <a:cubicBezTo>
                      <a:pt x="82" y="41"/>
                      <a:pt x="38" y="0"/>
                      <a:pt x="30" y="0"/>
                    </a:cubicBezTo>
                    <a:cubicBezTo>
                      <a:pt x="18" y="0"/>
                      <a:pt x="7" y="26"/>
                      <a:pt x="2" y="34"/>
                    </a:cubicBezTo>
                    <a:cubicBezTo>
                      <a:pt x="0" y="38"/>
                      <a:pt x="22" y="58"/>
                      <a:pt x="47" y="78"/>
                    </a:cubicBezTo>
                    <a:cubicBezTo>
                      <a:pt x="47" y="78"/>
                      <a:pt x="74" y="102"/>
                      <a:pt x="82" y="101"/>
                    </a:cubicBezTo>
                    <a:cubicBezTo>
                      <a:pt x="83" y="101"/>
                      <a:pt x="87" y="101"/>
                      <a:pt x="92" y="101"/>
                    </a:cubicBezTo>
                    <a:cubicBezTo>
                      <a:pt x="109" y="101"/>
                      <a:pt x="138" y="102"/>
                      <a:pt x="142" y="98"/>
                    </a:cubicBezTo>
                    <a:cubicBezTo>
                      <a:pt x="146" y="94"/>
                      <a:pt x="130" y="82"/>
                      <a:pt x="125" y="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76" name="Freeform 237">
                <a:extLst>
                  <a:ext uri="{FF2B5EF4-FFF2-40B4-BE49-F238E27FC236}">
                    <a16:creationId xmlns:a16="http://schemas.microsoft.com/office/drawing/2014/main" id="{2768A9CC-9DFA-49B8-B9A1-1F782760EB4E}"/>
                  </a:ext>
                </a:extLst>
              </p:cNvPr>
              <p:cNvSpPr>
                <a:spLocks/>
              </p:cNvSpPr>
              <p:nvPr/>
            </p:nvSpPr>
            <p:spPr bwMode="auto">
              <a:xfrm>
                <a:off x="5797550" y="2951162"/>
                <a:ext cx="692150" cy="844550"/>
              </a:xfrm>
              <a:custGeom>
                <a:avLst/>
                <a:gdLst>
                  <a:gd name="T0" fmla="*/ 436 w 436"/>
                  <a:gd name="T1" fmla="*/ 0 h 532"/>
                  <a:gd name="T2" fmla="*/ 283 w 436"/>
                  <a:gd name="T3" fmla="*/ 285 h 532"/>
                  <a:gd name="T4" fmla="*/ 87 w 436"/>
                  <a:gd name="T5" fmla="*/ 532 h 532"/>
                  <a:gd name="T6" fmla="*/ 0 w 436"/>
                  <a:gd name="T7" fmla="*/ 480 h 532"/>
                  <a:gd name="T8" fmla="*/ 152 w 436"/>
                  <a:gd name="T9" fmla="*/ 232 h 532"/>
                  <a:gd name="T10" fmla="*/ 215 w 436"/>
                  <a:gd name="T11" fmla="*/ 3 h 532"/>
                  <a:gd name="T12" fmla="*/ 436 w 436"/>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436" h="532">
                    <a:moveTo>
                      <a:pt x="436" y="0"/>
                    </a:moveTo>
                    <a:lnTo>
                      <a:pt x="283" y="285"/>
                    </a:lnTo>
                    <a:lnTo>
                      <a:pt x="87" y="532"/>
                    </a:lnTo>
                    <a:lnTo>
                      <a:pt x="0" y="480"/>
                    </a:lnTo>
                    <a:lnTo>
                      <a:pt x="152" y="232"/>
                    </a:lnTo>
                    <a:lnTo>
                      <a:pt x="215" y="3"/>
                    </a:lnTo>
                    <a:lnTo>
                      <a:pt x="436"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77" name="Freeform 238">
                <a:extLst>
                  <a:ext uri="{FF2B5EF4-FFF2-40B4-BE49-F238E27FC236}">
                    <a16:creationId xmlns:a16="http://schemas.microsoft.com/office/drawing/2014/main" id="{ABFCB29E-7BB9-463A-8824-4E3F09815F69}"/>
                  </a:ext>
                </a:extLst>
              </p:cNvPr>
              <p:cNvSpPr>
                <a:spLocks/>
              </p:cNvSpPr>
              <p:nvPr/>
            </p:nvSpPr>
            <p:spPr bwMode="auto">
              <a:xfrm>
                <a:off x="5678488" y="3708399"/>
                <a:ext cx="257175" cy="342900"/>
              </a:xfrm>
              <a:custGeom>
                <a:avLst/>
                <a:gdLst>
                  <a:gd name="T0" fmla="*/ 88 w 108"/>
                  <a:gd name="T1" fmla="*/ 141 h 144"/>
                  <a:gd name="T2" fmla="*/ 60 w 108"/>
                  <a:gd name="T3" fmla="*/ 93 h 144"/>
                  <a:gd name="T4" fmla="*/ 108 w 108"/>
                  <a:gd name="T5" fmla="*/ 36 h 144"/>
                  <a:gd name="T6" fmla="*/ 50 w 108"/>
                  <a:gd name="T7" fmla="*/ 0 h 144"/>
                  <a:gd name="T8" fmla="*/ 16 w 108"/>
                  <a:gd name="T9" fmla="*/ 64 h 144"/>
                  <a:gd name="T10" fmla="*/ 0 w 108"/>
                  <a:gd name="T11" fmla="*/ 91 h 144"/>
                  <a:gd name="T12" fmla="*/ 57 w 108"/>
                  <a:gd name="T13" fmla="*/ 144 h 144"/>
                  <a:gd name="T14" fmla="*/ 88 w 108"/>
                  <a:gd name="T15" fmla="*/ 141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44">
                    <a:moveTo>
                      <a:pt x="88" y="141"/>
                    </a:moveTo>
                    <a:cubicBezTo>
                      <a:pt x="78" y="121"/>
                      <a:pt x="64" y="101"/>
                      <a:pt x="60" y="93"/>
                    </a:cubicBezTo>
                    <a:cubicBezTo>
                      <a:pt x="108" y="36"/>
                      <a:pt x="108" y="36"/>
                      <a:pt x="108" y="36"/>
                    </a:cubicBezTo>
                    <a:cubicBezTo>
                      <a:pt x="50" y="0"/>
                      <a:pt x="50" y="0"/>
                      <a:pt x="50" y="0"/>
                    </a:cubicBezTo>
                    <a:cubicBezTo>
                      <a:pt x="16" y="64"/>
                      <a:pt x="16" y="64"/>
                      <a:pt x="16" y="64"/>
                    </a:cubicBezTo>
                    <a:cubicBezTo>
                      <a:pt x="0" y="91"/>
                      <a:pt x="0" y="91"/>
                      <a:pt x="0" y="91"/>
                    </a:cubicBezTo>
                    <a:cubicBezTo>
                      <a:pt x="0" y="91"/>
                      <a:pt x="27" y="121"/>
                      <a:pt x="57" y="144"/>
                    </a:cubicBezTo>
                    <a:cubicBezTo>
                      <a:pt x="88" y="141"/>
                      <a:pt x="88" y="141"/>
                      <a:pt x="88" y="141"/>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78" name="Freeform 239">
                <a:extLst>
                  <a:ext uri="{FF2B5EF4-FFF2-40B4-BE49-F238E27FC236}">
                    <a16:creationId xmlns:a16="http://schemas.microsoft.com/office/drawing/2014/main" id="{296AF280-134E-4965-A8A6-70E240975902}"/>
                  </a:ext>
                </a:extLst>
              </p:cNvPr>
              <p:cNvSpPr>
                <a:spLocks noEditPoints="1"/>
              </p:cNvSpPr>
              <p:nvPr/>
            </p:nvSpPr>
            <p:spPr bwMode="auto">
              <a:xfrm>
                <a:off x="5902325" y="2976562"/>
                <a:ext cx="574675" cy="819150"/>
              </a:xfrm>
              <a:custGeom>
                <a:avLst/>
                <a:gdLst>
                  <a:gd name="T0" fmla="*/ 143 w 241"/>
                  <a:gd name="T1" fmla="*/ 146 h 344"/>
                  <a:gd name="T2" fmla="*/ 121 w 241"/>
                  <a:gd name="T3" fmla="*/ 184 h 344"/>
                  <a:gd name="T4" fmla="*/ 0 w 241"/>
                  <a:gd name="T5" fmla="*/ 336 h 344"/>
                  <a:gd name="T6" fmla="*/ 14 w 241"/>
                  <a:gd name="T7" fmla="*/ 344 h 344"/>
                  <a:gd name="T8" fmla="*/ 144 w 241"/>
                  <a:gd name="T9" fmla="*/ 179 h 344"/>
                  <a:gd name="T10" fmla="*/ 153 w 241"/>
                  <a:gd name="T11" fmla="*/ 162 h 344"/>
                  <a:gd name="T12" fmla="*/ 143 w 241"/>
                  <a:gd name="T13" fmla="*/ 146 h 344"/>
                  <a:gd name="T14" fmla="*/ 209 w 241"/>
                  <a:gd name="T15" fmla="*/ 23 h 344"/>
                  <a:gd name="T16" fmla="*/ 209 w 241"/>
                  <a:gd name="T17" fmla="*/ 23 h 344"/>
                  <a:gd name="T18" fmla="*/ 241 w 241"/>
                  <a:gd name="T19" fmla="*/ 0 h 344"/>
                  <a:gd name="T20" fmla="*/ 209 w 241"/>
                  <a:gd name="T21" fmla="*/ 23 h 344"/>
                  <a:gd name="T22" fmla="*/ 217 w 241"/>
                  <a:gd name="T23" fmla="*/ 44 h 344"/>
                  <a:gd name="T24" fmla="*/ 241 w 241"/>
                  <a:gd name="T25"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344">
                    <a:moveTo>
                      <a:pt x="143" y="146"/>
                    </a:moveTo>
                    <a:cubicBezTo>
                      <a:pt x="121" y="184"/>
                      <a:pt x="121" y="184"/>
                      <a:pt x="121" y="184"/>
                    </a:cubicBezTo>
                    <a:cubicBezTo>
                      <a:pt x="0" y="336"/>
                      <a:pt x="0" y="336"/>
                      <a:pt x="0" y="336"/>
                    </a:cubicBezTo>
                    <a:cubicBezTo>
                      <a:pt x="14" y="344"/>
                      <a:pt x="14" y="344"/>
                      <a:pt x="14" y="344"/>
                    </a:cubicBezTo>
                    <a:cubicBezTo>
                      <a:pt x="144" y="179"/>
                      <a:pt x="144" y="179"/>
                      <a:pt x="144" y="179"/>
                    </a:cubicBezTo>
                    <a:cubicBezTo>
                      <a:pt x="153" y="162"/>
                      <a:pt x="153" y="162"/>
                      <a:pt x="153" y="162"/>
                    </a:cubicBezTo>
                    <a:cubicBezTo>
                      <a:pt x="143" y="146"/>
                      <a:pt x="143" y="146"/>
                      <a:pt x="143" y="146"/>
                    </a:cubicBezTo>
                    <a:moveTo>
                      <a:pt x="209" y="23"/>
                    </a:moveTo>
                    <a:cubicBezTo>
                      <a:pt x="209" y="23"/>
                      <a:pt x="209" y="23"/>
                      <a:pt x="209" y="23"/>
                    </a:cubicBezTo>
                    <a:moveTo>
                      <a:pt x="241" y="0"/>
                    </a:moveTo>
                    <a:cubicBezTo>
                      <a:pt x="235" y="6"/>
                      <a:pt x="223" y="14"/>
                      <a:pt x="209" y="23"/>
                    </a:cubicBezTo>
                    <a:cubicBezTo>
                      <a:pt x="217" y="44"/>
                      <a:pt x="217" y="44"/>
                      <a:pt x="217" y="44"/>
                    </a:cubicBezTo>
                    <a:cubicBezTo>
                      <a:pt x="241" y="0"/>
                      <a:pt x="241" y="0"/>
                      <a:pt x="241"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79" name="Freeform 240">
                <a:extLst>
                  <a:ext uri="{FF2B5EF4-FFF2-40B4-BE49-F238E27FC236}">
                    <a16:creationId xmlns:a16="http://schemas.microsoft.com/office/drawing/2014/main" id="{4F1CFEAC-EEB3-4BDC-9A33-92AF03886A45}"/>
                  </a:ext>
                </a:extLst>
              </p:cNvPr>
              <p:cNvSpPr>
                <a:spLocks/>
              </p:cNvSpPr>
              <p:nvPr/>
            </p:nvSpPr>
            <p:spPr bwMode="auto">
              <a:xfrm>
                <a:off x="5854700" y="4043362"/>
                <a:ext cx="123825" cy="69850"/>
              </a:xfrm>
              <a:custGeom>
                <a:avLst/>
                <a:gdLst>
                  <a:gd name="T0" fmla="*/ 14 w 52"/>
                  <a:gd name="T1" fmla="*/ 0 h 29"/>
                  <a:gd name="T2" fmla="*/ 14 w 52"/>
                  <a:gd name="T3" fmla="*/ 0 h 29"/>
                  <a:gd name="T4" fmla="*/ 0 w 52"/>
                  <a:gd name="T5" fmla="*/ 1 h 29"/>
                  <a:gd name="T6" fmla="*/ 1 w 52"/>
                  <a:gd name="T7" fmla="*/ 4 h 29"/>
                  <a:gd name="T8" fmla="*/ 11 w 52"/>
                  <a:gd name="T9" fmla="*/ 12 h 29"/>
                  <a:gd name="T10" fmla="*/ 29 w 52"/>
                  <a:gd name="T11" fmla="*/ 29 h 29"/>
                  <a:gd name="T12" fmla="*/ 51 w 52"/>
                  <a:gd name="T13" fmla="*/ 26 h 29"/>
                  <a:gd name="T14" fmla="*/ 52 w 52"/>
                  <a:gd name="T15" fmla="*/ 24 h 29"/>
                  <a:gd name="T16" fmla="*/ 34 w 52"/>
                  <a:gd name="T17" fmla="*/ 7 h 29"/>
                  <a:gd name="T18" fmla="*/ 14 w 52"/>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29">
                    <a:moveTo>
                      <a:pt x="14" y="0"/>
                    </a:moveTo>
                    <a:cubicBezTo>
                      <a:pt x="14" y="0"/>
                      <a:pt x="14" y="0"/>
                      <a:pt x="14" y="0"/>
                    </a:cubicBezTo>
                    <a:cubicBezTo>
                      <a:pt x="0" y="1"/>
                      <a:pt x="0" y="1"/>
                      <a:pt x="0" y="1"/>
                    </a:cubicBezTo>
                    <a:cubicBezTo>
                      <a:pt x="0" y="3"/>
                      <a:pt x="0" y="4"/>
                      <a:pt x="1" y="4"/>
                    </a:cubicBezTo>
                    <a:cubicBezTo>
                      <a:pt x="3" y="5"/>
                      <a:pt x="7" y="10"/>
                      <a:pt x="11" y="12"/>
                    </a:cubicBezTo>
                    <a:cubicBezTo>
                      <a:pt x="14" y="13"/>
                      <a:pt x="29" y="24"/>
                      <a:pt x="29" y="29"/>
                    </a:cubicBezTo>
                    <a:cubicBezTo>
                      <a:pt x="40" y="29"/>
                      <a:pt x="48" y="28"/>
                      <a:pt x="51" y="26"/>
                    </a:cubicBezTo>
                    <a:cubicBezTo>
                      <a:pt x="52" y="25"/>
                      <a:pt x="52" y="25"/>
                      <a:pt x="52" y="24"/>
                    </a:cubicBezTo>
                    <a:cubicBezTo>
                      <a:pt x="52" y="19"/>
                      <a:pt x="37" y="10"/>
                      <a:pt x="34" y="7"/>
                    </a:cubicBezTo>
                    <a:cubicBezTo>
                      <a:pt x="30" y="5"/>
                      <a:pt x="17" y="0"/>
                      <a:pt x="1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80" name="Freeform 241">
                <a:extLst>
                  <a:ext uri="{FF2B5EF4-FFF2-40B4-BE49-F238E27FC236}">
                    <a16:creationId xmlns:a16="http://schemas.microsoft.com/office/drawing/2014/main" id="{C34A2290-E15C-448F-873D-62B43345F9E4}"/>
                  </a:ext>
                </a:extLst>
              </p:cNvPr>
              <p:cNvSpPr>
                <a:spLocks/>
              </p:cNvSpPr>
              <p:nvPr/>
            </p:nvSpPr>
            <p:spPr bwMode="auto">
              <a:xfrm>
                <a:off x="5767388" y="3776662"/>
                <a:ext cx="168275" cy="274637"/>
              </a:xfrm>
              <a:custGeom>
                <a:avLst/>
                <a:gdLst>
                  <a:gd name="T0" fmla="*/ 58 w 71"/>
                  <a:gd name="T1" fmla="*/ 0 h 115"/>
                  <a:gd name="T2" fmla="*/ 48 w 71"/>
                  <a:gd name="T3" fmla="*/ 12 h 115"/>
                  <a:gd name="T4" fmla="*/ 0 w 71"/>
                  <a:gd name="T5" fmla="*/ 70 h 115"/>
                  <a:gd name="T6" fmla="*/ 36 w 71"/>
                  <a:gd name="T7" fmla="*/ 115 h 115"/>
                  <a:gd name="T8" fmla="*/ 51 w 71"/>
                  <a:gd name="T9" fmla="*/ 114 h 115"/>
                  <a:gd name="T10" fmla="*/ 23 w 71"/>
                  <a:gd name="T11" fmla="*/ 66 h 115"/>
                  <a:gd name="T12" fmla="*/ 71 w 71"/>
                  <a:gd name="T13" fmla="*/ 8 h 115"/>
                  <a:gd name="T14" fmla="*/ 58 w 71"/>
                  <a:gd name="T15" fmla="*/ 0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115">
                    <a:moveTo>
                      <a:pt x="58" y="0"/>
                    </a:moveTo>
                    <a:cubicBezTo>
                      <a:pt x="48" y="12"/>
                      <a:pt x="48" y="12"/>
                      <a:pt x="48" y="12"/>
                    </a:cubicBezTo>
                    <a:cubicBezTo>
                      <a:pt x="0" y="70"/>
                      <a:pt x="0" y="70"/>
                      <a:pt x="0" y="70"/>
                    </a:cubicBezTo>
                    <a:cubicBezTo>
                      <a:pt x="5" y="79"/>
                      <a:pt x="26" y="96"/>
                      <a:pt x="36" y="115"/>
                    </a:cubicBezTo>
                    <a:cubicBezTo>
                      <a:pt x="51" y="114"/>
                      <a:pt x="51" y="114"/>
                      <a:pt x="51" y="114"/>
                    </a:cubicBezTo>
                    <a:cubicBezTo>
                      <a:pt x="41" y="94"/>
                      <a:pt x="27" y="74"/>
                      <a:pt x="23" y="66"/>
                    </a:cubicBezTo>
                    <a:cubicBezTo>
                      <a:pt x="71" y="8"/>
                      <a:pt x="71" y="8"/>
                      <a:pt x="71" y="8"/>
                    </a:cubicBezTo>
                    <a:cubicBezTo>
                      <a:pt x="58" y="0"/>
                      <a:pt x="58" y="0"/>
                      <a:pt x="58" y="0"/>
                    </a:cubicBezTo>
                  </a:path>
                </a:pathLst>
              </a:custGeom>
              <a:solidFill>
                <a:srgbClr val="8D5D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81" name="Freeform 242">
                <a:extLst>
                  <a:ext uri="{FF2B5EF4-FFF2-40B4-BE49-F238E27FC236}">
                    <a16:creationId xmlns:a16="http://schemas.microsoft.com/office/drawing/2014/main" id="{253E1683-8DC9-4571-A846-FD51B89083C4}"/>
                  </a:ext>
                </a:extLst>
              </p:cNvPr>
              <p:cNvSpPr>
                <a:spLocks/>
              </p:cNvSpPr>
              <p:nvPr/>
            </p:nvSpPr>
            <p:spPr bwMode="auto">
              <a:xfrm>
                <a:off x="6029325" y="2946399"/>
                <a:ext cx="579438" cy="981075"/>
              </a:xfrm>
              <a:custGeom>
                <a:avLst/>
                <a:gdLst>
                  <a:gd name="T0" fmla="*/ 141 w 243"/>
                  <a:gd name="T1" fmla="*/ 0 h 412"/>
                  <a:gd name="T2" fmla="*/ 210 w 243"/>
                  <a:gd name="T3" fmla="*/ 168 h 412"/>
                  <a:gd name="T4" fmla="*/ 222 w 243"/>
                  <a:gd name="T5" fmla="*/ 192 h 412"/>
                  <a:gd name="T6" fmla="*/ 225 w 243"/>
                  <a:gd name="T7" fmla="*/ 220 h 412"/>
                  <a:gd name="T8" fmla="*/ 243 w 243"/>
                  <a:gd name="T9" fmla="*/ 395 h 412"/>
                  <a:gd name="T10" fmla="*/ 184 w 243"/>
                  <a:gd name="T11" fmla="*/ 412 h 412"/>
                  <a:gd name="T12" fmla="*/ 136 w 243"/>
                  <a:gd name="T13" fmla="*/ 228 h 412"/>
                  <a:gd name="T14" fmla="*/ 0 w 243"/>
                  <a:gd name="T15" fmla="*/ 30 h 412"/>
                  <a:gd name="T16" fmla="*/ 141 w 243"/>
                  <a:gd name="T1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2">
                    <a:moveTo>
                      <a:pt x="141" y="0"/>
                    </a:moveTo>
                    <a:cubicBezTo>
                      <a:pt x="210" y="168"/>
                      <a:pt x="210" y="168"/>
                      <a:pt x="210" y="168"/>
                    </a:cubicBezTo>
                    <a:cubicBezTo>
                      <a:pt x="210" y="168"/>
                      <a:pt x="218" y="180"/>
                      <a:pt x="222" y="192"/>
                    </a:cubicBezTo>
                    <a:cubicBezTo>
                      <a:pt x="225" y="204"/>
                      <a:pt x="225" y="220"/>
                      <a:pt x="225" y="220"/>
                    </a:cubicBezTo>
                    <a:cubicBezTo>
                      <a:pt x="243" y="395"/>
                      <a:pt x="243" y="395"/>
                      <a:pt x="243" y="395"/>
                    </a:cubicBezTo>
                    <a:cubicBezTo>
                      <a:pt x="184" y="412"/>
                      <a:pt x="184" y="412"/>
                      <a:pt x="184" y="412"/>
                    </a:cubicBezTo>
                    <a:cubicBezTo>
                      <a:pt x="136" y="228"/>
                      <a:pt x="136" y="228"/>
                      <a:pt x="136" y="228"/>
                    </a:cubicBezTo>
                    <a:cubicBezTo>
                      <a:pt x="0" y="30"/>
                      <a:pt x="0" y="30"/>
                      <a:pt x="0" y="30"/>
                    </a:cubicBezTo>
                    <a:cubicBezTo>
                      <a:pt x="141" y="0"/>
                      <a:pt x="141" y="0"/>
                      <a:pt x="141" y="0"/>
                    </a:cubicBezTo>
                  </a:path>
                </a:pathLst>
              </a:custGeom>
              <a:solidFill>
                <a:srgbClr val="0018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82" name="Freeform 243">
                <a:extLst>
                  <a:ext uri="{FF2B5EF4-FFF2-40B4-BE49-F238E27FC236}">
                    <a16:creationId xmlns:a16="http://schemas.microsoft.com/office/drawing/2014/main" id="{56E356AF-51D5-485A-9D0A-B4C63EFC1A6A}"/>
                  </a:ext>
                </a:extLst>
              </p:cNvPr>
              <p:cNvSpPr>
                <a:spLocks/>
              </p:cNvSpPr>
              <p:nvPr/>
            </p:nvSpPr>
            <p:spPr bwMode="auto">
              <a:xfrm>
                <a:off x="6477000" y="4070349"/>
                <a:ext cx="430213" cy="142875"/>
              </a:xfrm>
              <a:custGeom>
                <a:avLst/>
                <a:gdLst>
                  <a:gd name="T0" fmla="*/ 8 w 180"/>
                  <a:gd name="T1" fmla="*/ 8 h 60"/>
                  <a:gd name="T2" fmla="*/ 12 w 180"/>
                  <a:gd name="T3" fmla="*/ 50 h 60"/>
                  <a:gd name="T4" fmla="*/ 147 w 180"/>
                  <a:gd name="T5" fmla="*/ 16 h 60"/>
                  <a:gd name="T6" fmla="*/ 8 w 180"/>
                  <a:gd name="T7" fmla="*/ 8 h 60"/>
                </a:gdLst>
                <a:ahLst/>
                <a:cxnLst>
                  <a:cxn ang="0">
                    <a:pos x="T0" y="T1"/>
                  </a:cxn>
                  <a:cxn ang="0">
                    <a:pos x="T2" y="T3"/>
                  </a:cxn>
                  <a:cxn ang="0">
                    <a:pos x="T4" y="T5"/>
                  </a:cxn>
                  <a:cxn ang="0">
                    <a:pos x="T6" y="T7"/>
                  </a:cxn>
                </a:cxnLst>
                <a:rect l="0" t="0" r="r" b="b"/>
                <a:pathLst>
                  <a:path w="180" h="60">
                    <a:moveTo>
                      <a:pt x="8" y="8"/>
                    </a:moveTo>
                    <a:cubicBezTo>
                      <a:pt x="0" y="16"/>
                      <a:pt x="8" y="40"/>
                      <a:pt x="12" y="50"/>
                    </a:cubicBezTo>
                    <a:cubicBezTo>
                      <a:pt x="14" y="60"/>
                      <a:pt x="180" y="44"/>
                      <a:pt x="147" y="16"/>
                    </a:cubicBezTo>
                    <a:cubicBezTo>
                      <a:pt x="123" y="1"/>
                      <a:pt x="17" y="0"/>
                      <a:pt x="8" y="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83" name="Freeform 244">
                <a:extLst>
                  <a:ext uri="{FF2B5EF4-FFF2-40B4-BE49-F238E27FC236}">
                    <a16:creationId xmlns:a16="http://schemas.microsoft.com/office/drawing/2014/main" id="{FD070B51-A349-4638-9A90-BFF2F8E9C13F}"/>
                  </a:ext>
                </a:extLst>
              </p:cNvPr>
              <p:cNvSpPr>
                <a:spLocks/>
              </p:cNvSpPr>
              <p:nvPr/>
            </p:nvSpPr>
            <p:spPr bwMode="auto">
              <a:xfrm>
                <a:off x="6465888" y="3881437"/>
                <a:ext cx="298450" cy="269875"/>
              </a:xfrm>
              <a:custGeom>
                <a:avLst/>
                <a:gdLst>
                  <a:gd name="T0" fmla="*/ 125 w 125"/>
                  <a:gd name="T1" fmla="*/ 87 h 113"/>
                  <a:gd name="T2" fmla="*/ 68 w 125"/>
                  <a:gd name="T3" fmla="*/ 61 h 113"/>
                  <a:gd name="T4" fmla="*/ 60 w 125"/>
                  <a:gd name="T5" fmla="*/ 0 h 113"/>
                  <a:gd name="T6" fmla="*/ 0 w 125"/>
                  <a:gd name="T7" fmla="*/ 17 h 113"/>
                  <a:gd name="T8" fmla="*/ 13 w 125"/>
                  <a:gd name="T9" fmla="*/ 79 h 113"/>
                  <a:gd name="T10" fmla="*/ 21 w 125"/>
                  <a:gd name="T11" fmla="*/ 113 h 113"/>
                  <a:gd name="T12" fmla="*/ 93 w 125"/>
                  <a:gd name="T13" fmla="*/ 107 h 113"/>
                  <a:gd name="T14" fmla="*/ 125 w 125"/>
                  <a:gd name="T15" fmla="*/ 87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13">
                    <a:moveTo>
                      <a:pt x="125" y="87"/>
                    </a:moveTo>
                    <a:cubicBezTo>
                      <a:pt x="104" y="76"/>
                      <a:pt x="77" y="64"/>
                      <a:pt x="68" y="61"/>
                    </a:cubicBezTo>
                    <a:cubicBezTo>
                      <a:pt x="60" y="0"/>
                      <a:pt x="60" y="0"/>
                      <a:pt x="60" y="0"/>
                    </a:cubicBezTo>
                    <a:cubicBezTo>
                      <a:pt x="0" y="17"/>
                      <a:pt x="0" y="17"/>
                      <a:pt x="0" y="17"/>
                    </a:cubicBezTo>
                    <a:cubicBezTo>
                      <a:pt x="13" y="79"/>
                      <a:pt x="13" y="79"/>
                      <a:pt x="13" y="79"/>
                    </a:cubicBezTo>
                    <a:cubicBezTo>
                      <a:pt x="21" y="113"/>
                      <a:pt x="21" y="113"/>
                      <a:pt x="21" y="113"/>
                    </a:cubicBezTo>
                    <a:cubicBezTo>
                      <a:pt x="21" y="113"/>
                      <a:pt x="58" y="113"/>
                      <a:pt x="93" y="107"/>
                    </a:cubicBezTo>
                    <a:cubicBezTo>
                      <a:pt x="125" y="87"/>
                      <a:pt x="125" y="87"/>
                      <a:pt x="125" y="87"/>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84" name="Freeform 245">
                <a:extLst>
                  <a:ext uri="{FF2B5EF4-FFF2-40B4-BE49-F238E27FC236}">
                    <a16:creationId xmlns:a16="http://schemas.microsoft.com/office/drawing/2014/main" id="{F76C00B3-88D9-458C-BAE1-DB523D6BAF08}"/>
                  </a:ext>
                </a:extLst>
              </p:cNvPr>
              <p:cNvSpPr>
                <a:spLocks/>
              </p:cNvSpPr>
              <p:nvPr/>
            </p:nvSpPr>
            <p:spPr bwMode="auto">
              <a:xfrm>
                <a:off x="6708775" y="2235200"/>
                <a:ext cx="228600" cy="242887"/>
              </a:xfrm>
              <a:custGeom>
                <a:avLst/>
                <a:gdLst>
                  <a:gd name="T0" fmla="*/ 95 w 96"/>
                  <a:gd name="T1" fmla="*/ 36 h 102"/>
                  <a:gd name="T2" fmla="*/ 90 w 96"/>
                  <a:gd name="T3" fmla="*/ 31 h 102"/>
                  <a:gd name="T4" fmla="*/ 90 w 96"/>
                  <a:gd name="T5" fmla="*/ 28 h 102"/>
                  <a:gd name="T6" fmla="*/ 83 w 96"/>
                  <a:gd name="T7" fmla="*/ 22 h 102"/>
                  <a:gd name="T8" fmla="*/ 73 w 96"/>
                  <a:gd name="T9" fmla="*/ 24 h 102"/>
                  <a:gd name="T10" fmla="*/ 56 w 96"/>
                  <a:gd name="T11" fmla="*/ 26 h 102"/>
                  <a:gd name="T12" fmla="*/ 69 w 96"/>
                  <a:gd name="T13" fmla="*/ 14 h 102"/>
                  <a:gd name="T14" fmla="*/ 65 w 96"/>
                  <a:gd name="T15" fmla="*/ 0 h 102"/>
                  <a:gd name="T16" fmla="*/ 36 w 96"/>
                  <a:gd name="T17" fmla="*/ 24 h 102"/>
                  <a:gd name="T18" fmla="*/ 31 w 96"/>
                  <a:gd name="T19" fmla="*/ 47 h 102"/>
                  <a:gd name="T20" fmla="*/ 0 w 96"/>
                  <a:gd name="T21" fmla="*/ 70 h 102"/>
                  <a:gd name="T22" fmla="*/ 25 w 96"/>
                  <a:gd name="T23" fmla="*/ 102 h 102"/>
                  <a:gd name="T24" fmla="*/ 68 w 96"/>
                  <a:gd name="T25" fmla="*/ 68 h 102"/>
                  <a:gd name="T26" fmla="*/ 83 w 96"/>
                  <a:gd name="T27" fmla="*/ 66 h 102"/>
                  <a:gd name="T28" fmla="*/ 88 w 96"/>
                  <a:gd name="T29" fmla="*/ 58 h 102"/>
                  <a:gd name="T30" fmla="*/ 87 w 96"/>
                  <a:gd name="T31" fmla="*/ 55 h 102"/>
                  <a:gd name="T32" fmla="*/ 92 w 96"/>
                  <a:gd name="T33" fmla="*/ 47 h 102"/>
                  <a:gd name="T34" fmla="*/ 89 w 96"/>
                  <a:gd name="T35" fmla="*/ 44 h 102"/>
                  <a:gd name="T36" fmla="*/ 95 w 96"/>
                  <a:gd name="T37" fmla="*/ 3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02">
                    <a:moveTo>
                      <a:pt x="95" y="36"/>
                    </a:moveTo>
                    <a:cubicBezTo>
                      <a:pt x="95" y="34"/>
                      <a:pt x="93" y="32"/>
                      <a:pt x="90" y="31"/>
                    </a:cubicBezTo>
                    <a:cubicBezTo>
                      <a:pt x="90" y="30"/>
                      <a:pt x="92" y="29"/>
                      <a:pt x="90" y="28"/>
                    </a:cubicBezTo>
                    <a:cubicBezTo>
                      <a:pt x="90" y="23"/>
                      <a:pt x="87" y="21"/>
                      <a:pt x="83" y="22"/>
                    </a:cubicBezTo>
                    <a:cubicBezTo>
                      <a:pt x="73" y="24"/>
                      <a:pt x="73" y="24"/>
                      <a:pt x="73" y="24"/>
                    </a:cubicBezTo>
                    <a:cubicBezTo>
                      <a:pt x="56" y="26"/>
                      <a:pt x="56" y="26"/>
                      <a:pt x="56" y="26"/>
                    </a:cubicBezTo>
                    <a:cubicBezTo>
                      <a:pt x="69" y="14"/>
                      <a:pt x="69" y="14"/>
                      <a:pt x="69" y="14"/>
                    </a:cubicBezTo>
                    <a:cubicBezTo>
                      <a:pt x="69" y="14"/>
                      <a:pt x="75" y="4"/>
                      <a:pt x="65" y="0"/>
                    </a:cubicBezTo>
                    <a:cubicBezTo>
                      <a:pt x="44" y="20"/>
                      <a:pt x="43" y="16"/>
                      <a:pt x="36" y="24"/>
                    </a:cubicBezTo>
                    <a:cubicBezTo>
                      <a:pt x="28" y="31"/>
                      <a:pt x="28" y="43"/>
                      <a:pt x="31" y="47"/>
                    </a:cubicBezTo>
                    <a:cubicBezTo>
                      <a:pt x="0" y="70"/>
                      <a:pt x="0" y="70"/>
                      <a:pt x="0" y="70"/>
                    </a:cubicBezTo>
                    <a:cubicBezTo>
                      <a:pt x="25" y="102"/>
                      <a:pt x="25" y="102"/>
                      <a:pt x="25" y="102"/>
                    </a:cubicBezTo>
                    <a:cubicBezTo>
                      <a:pt x="68" y="68"/>
                      <a:pt x="68" y="68"/>
                      <a:pt x="68" y="68"/>
                    </a:cubicBezTo>
                    <a:cubicBezTo>
                      <a:pt x="83" y="66"/>
                      <a:pt x="83" y="66"/>
                      <a:pt x="83" y="66"/>
                    </a:cubicBezTo>
                    <a:cubicBezTo>
                      <a:pt x="87" y="64"/>
                      <a:pt x="89" y="61"/>
                      <a:pt x="88" y="58"/>
                    </a:cubicBezTo>
                    <a:cubicBezTo>
                      <a:pt x="88" y="56"/>
                      <a:pt x="88" y="55"/>
                      <a:pt x="87" y="55"/>
                    </a:cubicBezTo>
                    <a:cubicBezTo>
                      <a:pt x="90" y="54"/>
                      <a:pt x="92" y="51"/>
                      <a:pt x="92" y="47"/>
                    </a:cubicBezTo>
                    <a:cubicBezTo>
                      <a:pt x="92" y="46"/>
                      <a:pt x="90" y="45"/>
                      <a:pt x="89" y="44"/>
                    </a:cubicBezTo>
                    <a:cubicBezTo>
                      <a:pt x="94" y="44"/>
                      <a:pt x="96" y="40"/>
                      <a:pt x="95" y="36"/>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85" name="Freeform 246">
                <a:extLst>
                  <a:ext uri="{FF2B5EF4-FFF2-40B4-BE49-F238E27FC236}">
                    <a16:creationId xmlns:a16="http://schemas.microsoft.com/office/drawing/2014/main" id="{6232BBD5-F2D4-47E8-A17E-0D1AD22FF8EE}"/>
                  </a:ext>
                </a:extLst>
              </p:cNvPr>
              <p:cNvSpPr>
                <a:spLocks/>
              </p:cNvSpPr>
              <p:nvPr/>
            </p:nvSpPr>
            <p:spPr bwMode="auto">
              <a:xfrm>
                <a:off x="6215063" y="2262187"/>
                <a:ext cx="579438" cy="433387"/>
              </a:xfrm>
              <a:custGeom>
                <a:avLst/>
                <a:gdLst>
                  <a:gd name="T0" fmla="*/ 210 w 243"/>
                  <a:gd name="T1" fmla="*/ 53 h 182"/>
                  <a:gd name="T2" fmla="*/ 143 w 243"/>
                  <a:gd name="T3" fmla="*/ 103 h 182"/>
                  <a:gd name="T4" fmla="*/ 58 w 243"/>
                  <a:gd name="T5" fmla="*/ 13 h 182"/>
                  <a:gd name="T6" fmla="*/ 14 w 243"/>
                  <a:gd name="T7" fmla="*/ 11 h 182"/>
                  <a:gd name="T8" fmla="*/ 12 w 243"/>
                  <a:gd name="T9" fmla="*/ 54 h 182"/>
                  <a:gd name="T10" fmla="*/ 122 w 243"/>
                  <a:gd name="T11" fmla="*/ 172 h 182"/>
                  <a:gd name="T12" fmla="*/ 147 w 243"/>
                  <a:gd name="T13" fmla="*/ 182 h 182"/>
                  <a:gd name="T14" fmla="*/ 151 w 243"/>
                  <a:gd name="T15" fmla="*/ 181 h 182"/>
                  <a:gd name="T16" fmla="*/ 170 w 243"/>
                  <a:gd name="T17" fmla="*/ 170 h 182"/>
                  <a:gd name="T18" fmla="*/ 243 w 243"/>
                  <a:gd name="T19" fmla="*/ 87 h 182"/>
                  <a:gd name="T20" fmla="*/ 210 w 243"/>
                  <a:gd name="T21" fmla="*/ 53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182">
                    <a:moveTo>
                      <a:pt x="210" y="53"/>
                    </a:moveTo>
                    <a:cubicBezTo>
                      <a:pt x="143" y="103"/>
                      <a:pt x="143" y="103"/>
                      <a:pt x="143" y="103"/>
                    </a:cubicBezTo>
                    <a:cubicBezTo>
                      <a:pt x="58" y="13"/>
                      <a:pt x="58" y="13"/>
                      <a:pt x="58" y="13"/>
                    </a:cubicBezTo>
                    <a:cubicBezTo>
                      <a:pt x="46" y="0"/>
                      <a:pt x="26" y="0"/>
                      <a:pt x="14" y="11"/>
                    </a:cubicBezTo>
                    <a:cubicBezTo>
                      <a:pt x="1" y="23"/>
                      <a:pt x="0" y="42"/>
                      <a:pt x="12" y="54"/>
                    </a:cubicBezTo>
                    <a:cubicBezTo>
                      <a:pt x="122" y="172"/>
                      <a:pt x="122" y="172"/>
                      <a:pt x="122" y="172"/>
                    </a:cubicBezTo>
                    <a:cubicBezTo>
                      <a:pt x="129" y="179"/>
                      <a:pt x="137" y="182"/>
                      <a:pt x="147" y="182"/>
                    </a:cubicBezTo>
                    <a:cubicBezTo>
                      <a:pt x="148" y="181"/>
                      <a:pt x="150" y="181"/>
                      <a:pt x="151" y="181"/>
                    </a:cubicBezTo>
                    <a:cubicBezTo>
                      <a:pt x="158" y="180"/>
                      <a:pt x="165" y="175"/>
                      <a:pt x="170" y="170"/>
                    </a:cubicBezTo>
                    <a:cubicBezTo>
                      <a:pt x="243" y="87"/>
                      <a:pt x="243" y="87"/>
                      <a:pt x="243" y="87"/>
                    </a:cubicBezTo>
                    <a:cubicBezTo>
                      <a:pt x="210" y="53"/>
                      <a:pt x="210" y="53"/>
                      <a:pt x="210" y="53"/>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86" name="Freeform 247">
                <a:extLst>
                  <a:ext uri="{FF2B5EF4-FFF2-40B4-BE49-F238E27FC236}">
                    <a16:creationId xmlns:a16="http://schemas.microsoft.com/office/drawing/2014/main" id="{E92185C0-DCAB-41A7-B804-1EB15F1BDAA4}"/>
                  </a:ext>
                </a:extLst>
              </p:cNvPr>
              <p:cNvSpPr>
                <a:spLocks/>
              </p:cNvSpPr>
              <p:nvPr/>
            </p:nvSpPr>
            <p:spPr bwMode="auto">
              <a:xfrm>
                <a:off x="6557963" y="2386012"/>
                <a:ext cx="163513" cy="123825"/>
              </a:xfrm>
              <a:custGeom>
                <a:avLst/>
                <a:gdLst>
                  <a:gd name="T0" fmla="*/ 98 w 103"/>
                  <a:gd name="T1" fmla="*/ 0 h 78"/>
                  <a:gd name="T2" fmla="*/ 0 w 103"/>
                  <a:gd name="T3" fmla="*/ 78 h 78"/>
                  <a:gd name="T4" fmla="*/ 98 w 103"/>
                  <a:gd name="T5" fmla="*/ 0 h 78"/>
                  <a:gd name="T6" fmla="*/ 103 w 103"/>
                  <a:gd name="T7" fmla="*/ 4 h 78"/>
                  <a:gd name="T8" fmla="*/ 98 w 103"/>
                  <a:gd name="T9" fmla="*/ 0 h 78"/>
                </a:gdLst>
                <a:ahLst/>
                <a:cxnLst>
                  <a:cxn ang="0">
                    <a:pos x="T0" y="T1"/>
                  </a:cxn>
                  <a:cxn ang="0">
                    <a:pos x="T2" y="T3"/>
                  </a:cxn>
                  <a:cxn ang="0">
                    <a:pos x="T4" y="T5"/>
                  </a:cxn>
                  <a:cxn ang="0">
                    <a:pos x="T6" y="T7"/>
                  </a:cxn>
                  <a:cxn ang="0">
                    <a:pos x="T8" y="T9"/>
                  </a:cxn>
                </a:cxnLst>
                <a:rect l="0" t="0" r="r" b="b"/>
                <a:pathLst>
                  <a:path w="103" h="78">
                    <a:moveTo>
                      <a:pt x="98" y="0"/>
                    </a:moveTo>
                    <a:lnTo>
                      <a:pt x="0" y="78"/>
                    </a:lnTo>
                    <a:lnTo>
                      <a:pt x="98" y="0"/>
                    </a:lnTo>
                    <a:lnTo>
                      <a:pt x="103" y="4"/>
                    </a:lnTo>
                    <a:lnTo>
                      <a:pt x="98" y="0"/>
                    </a:lnTo>
                    <a:close/>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87" name="Rectangle 248">
                <a:extLst>
                  <a:ext uri="{FF2B5EF4-FFF2-40B4-BE49-F238E27FC236}">
                    <a16:creationId xmlns:a16="http://schemas.microsoft.com/office/drawing/2014/main" id="{09A910B2-AD1F-411D-8169-550244065CBF}"/>
                  </a:ext>
                </a:extLst>
              </p:cNvPr>
              <p:cNvSpPr>
                <a:spLocks noChangeArrowheads="1"/>
              </p:cNvSpPr>
              <p:nvPr/>
            </p:nvSpPr>
            <p:spPr bwMode="auto">
              <a:xfrm>
                <a:off x="6721475" y="2392362"/>
                <a:ext cx="6350" cy="4762"/>
              </a:xfrm>
              <a:prstGeom prst="rect">
                <a:avLst/>
              </a:prstGeom>
              <a:solidFill>
                <a:srgbClr val="B186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88" name="Freeform 249">
                <a:extLst>
                  <a:ext uri="{FF2B5EF4-FFF2-40B4-BE49-F238E27FC236}">
                    <a16:creationId xmlns:a16="http://schemas.microsoft.com/office/drawing/2014/main" id="{7CA65F2F-1116-4DEF-B5F4-5E9B021AB6E8}"/>
                  </a:ext>
                </a:extLst>
              </p:cNvPr>
              <p:cNvSpPr>
                <a:spLocks/>
              </p:cNvSpPr>
              <p:nvPr/>
            </p:nvSpPr>
            <p:spPr bwMode="auto">
              <a:xfrm>
                <a:off x="6419850" y="2362200"/>
                <a:ext cx="301625" cy="185737"/>
              </a:xfrm>
              <a:custGeom>
                <a:avLst/>
                <a:gdLst>
                  <a:gd name="T0" fmla="*/ 0 w 126"/>
                  <a:gd name="T1" fmla="*/ 0 h 78"/>
                  <a:gd name="T2" fmla="*/ 7 w 126"/>
                  <a:gd name="T3" fmla="*/ 21 h 78"/>
                  <a:gd name="T4" fmla="*/ 9 w 126"/>
                  <a:gd name="T5" fmla="*/ 31 h 78"/>
                  <a:gd name="T6" fmla="*/ 54 w 126"/>
                  <a:gd name="T7" fmla="*/ 78 h 78"/>
                  <a:gd name="T8" fmla="*/ 126 w 126"/>
                  <a:gd name="T9" fmla="*/ 15 h 78"/>
                  <a:gd name="T10" fmla="*/ 124 w 126"/>
                  <a:gd name="T11" fmla="*/ 11 h 78"/>
                  <a:gd name="T12" fmla="*/ 57 w 126"/>
                  <a:gd name="T13" fmla="*/ 61 h 78"/>
                  <a:gd name="T14" fmla="*/ 0 w 126"/>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78">
                    <a:moveTo>
                      <a:pt x="0" y="0"/>
                    </a:moveTo>
                    <a:cubicBezTo>
                      <a:pt x="4" y="7"/>
                      <a:pt x="6" y="15"/>
                      <a:pt x="7" y="21"/>
                    </a:cubicBezTo>
                    <a:cubicBezTo>
                      <a:pt x="9" y="31"/>
                      <a:pt x="9" y="31"/>
                      <a:pt x="9" y="31"/>
                    </a:cubicBezTo>
                    <a:cubicBezTo>
                      <a:pt x="54" y="78"/>
                      <a:pt x="54" y="78"/>
                      <a:pt x="54" y="78"/>
                    </a:cubicBezTo>
                    <a:cubicBezTo>
                      <a:pt x="126" y="15"/>
                      <a:pt x="126" y="15"/>
                      <a:pt x="126" y="15"/>
                    </a:cubicBezTo>
                    <a:cubicBezTo>
                      <a:pt x="124" y="11"/>
                      <a:pt x="124" y="11"/>
                      <a:pt x="124" y="11"/>
                    </a:cubicBezTo>
                    <a:cubicBezTo>
                      <a:pt x="57" y="61"/>
                      <a:pt x="57" y="61"/>
                      <a:pt x="57" y="61"/>
                    </a:cubicBezTo>
                    <a:cubicBezTo>
                      <a:pt x="0" y="0"/>
                      <a:pt x="0" y="0"/>
                      <a:pt x="0"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89" name="Freeform 250">
                <a:extLst>
                  <a:ext uri="{FF2B5EF4-FFF2-40B4-BE49-F238E27FC236}">
                    <a16:creationId xmlns:a16="http://schemas.microsoft.com/office/drawing/2014/main" id="{EFB9CCEF-4CEC-4E1F-826E-0C7378E82012}"/>
                  </a:ext>
                </a:extLst>
              </p:cNvPr>
              <p:cNvSpPr>
                <a:spLocks/>
              </p:cNvSpPr>
              <p:nvPr/>
            </p:nvSpPr>
            <p:spPr bwMode="auto">
              <a:xfrm>
                <a:off x="6083300" y="2478087"/>
                <a:ext cx="312738" cy="360362"/>
              </a:xfrm>
              <a:custGeom>
                <a:avLst/>
                <a:gdLst>
                  <a:gd name="T0" fmla="*/ 83 w 131"/>
                  <a:gd name="T1" fmla="*/ 93 h 151"/>
                  <a:gd name="T2" fmla="*/ 67 w 131"/>
                  <a:gd name="T3" fmla="*/ 89 h 151"/>
                  <a:gd name="T4" fmla="*/ 57 w 131"/>
                  <a:gd name="T5" fmla="*/ 86 h 151"/>
                  <a:gd name="T6" fmla="*/ 44 w 131"/>
                  <a:gd name="T7" fmla="*/ 73 h 151"/>
                  <a:gd name="T8" fmla="*/ 0 w 131"/>
                  <a:gd name="T9" fmla="*/ 0 h 151"/>
                  <a:gd name="T10" fmla="*/ 69 w 131"/>
                  <a:gd name="T11" fmla="*/ 135 h 151"/>
                  <a:gd name="T12" fmla="*/ 126 w 131"/>
                  <a:gd name="T13" fmla="*/ 151 h 151"/>
                  <a:gd name="T14" fmla="*/ 131 w 131"/>
                  <a:gd name="T15" fmla="*/ 102 h 151"/>
                  <a:gd name="T16" fmla="*/ 83 w 131"/>
                  <a:gd name="T17" fmla="*/ 9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51">
                    <a:moveTo>
                      <a:pt x="83" y="93"/>
                    </a:moveTo>
                    <a:cubicBezTo>
                      <a:pt x="67" y="89"/>
                      <a:pt x="67" y="89"/>
                      <a:pt x="67" y="89"/>
                    </a:cubicBezTo>
                    <a:cubicBezTo>
                      <a:pt x="63" y="88"/>
                      <a:pt x="60" y="87"/>
                      <a:pt x="57" y="86"/>
                    </a:cubicBezTo>
                    <a:cubicBezTo>
                      <a:pt x="51" y="82"/>
                      <a:pt x="48" y="79"/>
                      <a:pt x="44" y="73"/>
                    </a:cubicBezTo>
                    <a:cubicBezTo>
                      <a:pt x="0" y="0"/>
                      <a:pt x="0" y="0"/>
                      <a:pt x="0" y="0"/>
                    </a:cubicBezTo>
                    <a:cubicBezTo>
                      <a:pt x="0" y="0"/>
                      <a:pt x="11" y="120"/>
                      <a:pt x="69" y="135"/>
                    </a:cubicBezTo>
                    <a:cubicBezTo>
                      <a:pt x="126" y="151"/>
                      <a:pt x="126" y="151"/>
                      <a:pt x="126" y="151"/>
                    </a:cubicBezTo>
                    <a:cubicBezTo>
                      <a:pt x="131" y="102"/>
                      <a:pt x="131" y="102"/>
                      <a:pt x="131" y="102"/>
                    </a:cubicBezTo>
                    <a:cubicBezTo>
                      <a:pt x="83" y="93"/>
                      <a:pt x="83" y="93"/>
                      <a:pt x="83" y="93"/>
                    </a:cubicBezTo>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90" name="Freeform 251">
                <a:extLst>
                  <a:ext uri="{FF2B5EF4-FFF2-40B4-BE49-F238E27FC236}">
                    <a16:creationId xmlns:a16="http://schemas.microsoft.com/office/drawing/2014/main" id="{D4FD4B93-22B7-4D34-BEF8-57CF54CD5060}"/>
                  </a:ext>
                </a:extLst>
              </p:cNvPr>
              <p:cNvSpPr>
                <a:spLocks/>
              </p:cNvSpPr>
              <p:nvPr/>
            </p:nvSpPr>
            <p:spPr bwMode="auto">
              <a:xfrm>
                <a:off x="6272213" y="2205037"/>
                <a:ext cx="217488" cy="822325"/>
              </a:xfrm>
              <a:custGeom>
                <a:avLst/>
                <a:gdLst>
                  <a:gd name="T0" fmla="*/ 68 w 91"/>
                  <a:gd name="T1" fmla="*/ 86 h 345"/>
                  <a:gd name="T2" fmla="*/ 17 w 91"/>
                  <a:gd name="T3" fmla="*/ 4 h 345"/>
                  <a:gd name="T4" fmla="*/ 14 w 91"/>
                  <a:gd name="T5" fmla="*/ 3 h 345"/>
                  <a:gd name="T6" fmla="*/ 0 w 91"/>
                  <a:gd name="T7" fmla="*/ 3 h 345"/>
                  <a:gd name="T8" fmla="*/ 22 w 91"/>
                  <a:gd name="T9" fmla="*/ 20 h 345"/>
                  <a:gd name="T10" fmla="*/ 54 w 91"/>
                  <a:gd name="T11" fmla="*/ 86 h 345"/>
                  <a:gd name="T12" fmla="*/ 78 w 91"/>
                  <a:gd name="T13" fmla="*/ 304 h 345"/>
                  <a:gd name="T14" fmla="*/ 46 w 91"/>
                  <a:gd name="T15" fmla="*/ 328 h 345"/>
                  <a:gd name="T16" fmla="*/ 53 w 91"/>
                  <a:gd name="T17" fmla="*/ 345 h 345"/>
                  <a:gd name="T18" fmla="*/ 91 w 91"/>
                  <a:gd name="T19" fmla="*/ 315 h 345"/>
                  <a:gd name="T20" fmla="*/ 68 w 91"/>
                  <a:gd name="T21" fmla="*/ 86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345">
                    <a:moveTo>
                      <a:pt x="68" y="86"/>
                    </a:moveTo>
                    <a:cubicBezTo>
                      <a:pt x="62" y="56"/>
                      <a:pt x="34" y="10"/>
                      <a:pt x="17" y="4"/>
                    </a:cubicBezTo>
                    <a:cubicBezTo>
                      <a:pt x="16" y="4"/>
                      <a:pt x="14" y="3"/>
                      <a:pt x="14" y="3"/>
                    </a:cubicBezTo>
                    <a:cubicBezTo>
                      <a:pt x="14" y="3"/>
                      <a:pt x="0" y="0"/>
                      <a:pt x="0" y="3"/>
                    </a:cubicBezTo>
                    <a:cubicBezTo>
                      <a:pt x="2" y="6"/>
                      <a:pt x="19" y="16"/>
                      <a:pt x="22" y="20"/>
                    </a:cubicBezTo>
                    <a:cubicBezTo>
                      <a:pt x="36" y="38"/>
                      <a:pt x="51" y="66"/>
                      <a:pt x="54" y="86"/>
                    </a:cubicBezTo>
                    <a:cubicBezTo>
                      <a:pt x="60" y="115"/>
                      <a:pt x="52" y="261"/>
                      <a:pt x="78" y="304"/>
                    </a:cubicBezTo>
                    <a:cubicBezTo>
                      <a:pt x="46" y="328"/>
                      <a:pt x="46" y="328"/>
                      <a:pt x="46" y="328"/>
                    </a:cubicBezTo>
                    <a:cubicBezTo>
                      <a:pt x="46" y="328"/>
                      <a:pt x="52" y="342"/>
                      <a:pt x="53" y="345"/>
                    </a:cubicBezTo>
                    <a:cubicBezTo>
                      <a:pt x="76" y="329"/>
                      <a:pt x="91" y="315"/>
                      <a:pt x="91" y="315"/>
                    </a:cubicBezTo>
                    <a:cubicBezTo>
                      <a:pt x="68" y="86"/>
                      <a:pt x="68" y="86"/>
                      <a:pt x="68" y="86"/>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91" name="Freeform 252">
                <a:extLst>
                  <a:ext uri="{FF2B5EF4-FFF2-40B4-BE49-F238E27FC236}">
                    <a16:creationId xmlns:a16="http://schemas.microsoft.com/office/drawing/2014/main" id="{1AA3DE96-777D-482D-AAC6-7DA83C212884}"/>
                  </a:ext>
                </a:extLst>
              </p:cNvPr>
              <p:cNvSpPr>
                <a:spLocks/>
              </p:cNvSpPr>
              <p:nvPr/>
            </p:nvSpPr>
            <p:spPr bwMode="auto">
              <a:xfrm>
                <a:off x="5972175" y="1597025"/>
                <a:ext cx="604838" cy="560387"/>
              </a:xfrm>
              <a:custGeom>
                <a:avLst/>
                <a:gdLst>
                  <a:gd name="T0" fmla="*/ 250 w 254"/>
                  <a:gd name="T1" fmla="*/ 82 h 235"/>
                  <a:gd name="T2" fmla="*/ 225 w 254"/>
                  <a:gd name="T3" fmla="*/ 59 h 235"/>
                  <a:gd name="T4" fmla="*/ 223 w 254"/>
                  <a:gd name="T5" fmla="*/ 51 h 235"/>
                  <a:gd name="T6" fmla="*/ 184 w 254"/>
                  <a:gd name="T7" fmla="*/ 29 h 235"/>
                  <a:gd name="T8" fmla="*/ 183 w 254"/>
                  <a:gd name="T9" fmla="*/ 30 h 235"/>
                  <a:gd name="T10" fmla="*/ 163 w 254"/>
                  <a:gd name="T11" fmla="*/ 9 h 235"/>
                  <a:gd name="T12" fmla="*/ 122 w 254"/>
                  <a:gd name="T13" fmla="*/ 10 h 235"/>
                  <a:gd name="T14" fmla="*/ 119 w 254"/>
                  <a:gd name="T15" fmla="*/ 9 h 235"/>
                  <a:gd name="T16" fmla="*/ 72 w 254"/>
                  <a:gd name="T17" fmla="*/ 26 h 235"/>
                  <a:gd name="T18" fmla="*/ 70 w 254"/>
                  <a:gd name="T19" fmla="*/ 28 h 235"/>
                  <a:gd name="T20" fmla="*/ 32 w 254"/>
                  <a:gd name="T21" fmla="*/ 49 h 235"/>
                  <a:gd name="T22" fmla="*/ 28 w 254"/>
                  <a:gd name="T23" fmla="*/ 68 h 235"/>
                  <a:gd name="T24" fmla="*/ 11 w 254"/>
                  <a:gd name="T25" fmla="*/ 85 h 235"/>
                  <a:gd name="T26" fmla="*/ 13 w 254"/>
                  <a:gd name="T27" fmla="*/ 120 h 235"/>
                  <a:gd name="T28" fmla="*/ 13 w 254"/>
                  <a:gd name="T29" fmla="*/ 121 h 235"/>
                  <a:gd name="T30" fmla="*/ 8 w 254"/>
                  <a:gd name="T31" fmla="*/ 129 h 235"/>
                  <a:gd name="T32" fmla="*/ 24 w 254"/>
                  <a:gd name="T33" fmla="*/ 177 h 235"/>
                  <a:gd name="T34" fmla="*/ 34 w 254"/>
                  <a:gd name="T35" fmla="*/ 205 h 235"/>
                  <a:gd name="T36" fmla="*/ 45 w 254"/>
                  <a:gd name="T37" fmla="*/ 208 h 235"/>
                  <a:gd name="T38" fmla="*/ 46 w 254"/>
                  <a:gd name="T39" fmla="*/ 209 h 235"/>
                  <a:gd name="T40" fmla="*/ 94 w 254"/>
                  <a:gd name="T41" fmla="*/ 229 h 235"/>
                  <a:gd name="T42" fmla="*/ 108 w 254"/>
                  <a:gd name="T43" fmla="*/ 221 h 235"/>
                  <a:gd name="T44" fmla="*/ 119 w 254"/>
                  <a:gd name="T45" fmla="*/ 205 h 235"/>
                  <a:gd name="T46" fmla="*/ 121 w 254"/>
                  <a:gd name="T47" fmla="*/ 182 h 235"/>
                  <a:gd name="T48" fmla="*/ 147 w 254"/>
                  <a:gd name="T49" fmla="*/ 195 h 235"/>
                  <a:gd name="T50" fmla="*/ 164 w 254"/>
                  <a:gd name="T51" fmla="*/ 169 h 235"/>
                  <a:gd name="T52" fmla="*/ 187 w 254"/>
                  <a:gd name="T53" fmla="*/ 167 h 235"/>
                  <a:gd name="T54" fmla="*/ 201 w 254"/>
                  <a:gd name="T55" fmla="*/ 159 h 235"/>
                  <a:gd name="T56" fmla="*/ 218 w 254"/>
                  <a:gd name="T57" fmla="*/ 163 h 235"/>
                  <a:gd name="T58" fmla="*/ 249 w 254"/>
                  <a:gd name="T59" fmla="*/ 134 h 235"/>
                  <a:gd name="T60" fmla="*/ 248 w 254"/>
                  <a:gd name="T61" fmla="*/ 107 h 235"/>
                  <a:gd name="T62" fmla="*/ 250 w 254"/>
                  <a:gd name="T63" fmla="*/ 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4" h="235">
                    <a:moveTo>
                      <a:pt x="250" y="82"/>
                    </a:moveTo>
                    <a:cubicBezTo>
                      <a:pt x="247" y="69"/>
                      <a:pt x="236" y="61"/>
                      <a:pt x="225" y="59"/>
                    </a:cubicBezTo>
                    <a:cubicBezTo>
                      <a:pt x="225" y="56"/>
                      <a:pt x="225" y="54"/>
                      <a:pt x="223" y="51"/>
                    </a:cubicBezTo>
                    <a:cubicBezTo>
                      <a:pt x="219" y="34"/>
                      <a:pt x="200" y="24"/>
                      <a:pt x="184" y="29"/>
                    </a:cubicBezTo>
                    <a:cubicBezTo>
                      <a:pt x="183" y="30"/>
                      <a:pt x="183" y="30"/>
                      <a:pt x="183" y="30"/>
                    </a:cubicBezTo>
                    <a:cubicBezTo>
                      <a:pt x="179" y="21"/>
                      <a:pt x="172" y="14"/>
                      <a:pt x="163" y="9"/>
                    </a:cubicBezTo>
                    <a:cubicBezTo>
                      <a:pt x="149" y="2"/>
                      <a:pt x="133" y="3"/>
                      <a:pt x="122" y="10"/>
                    </a:cubicBezTo>
                    <a:cubicBezTo>
                      <a:pt x="121" y="10"/>
                      <a:pt x="121" y="9"/>
                      <a:pt x="119" y="9"/>
                    </a:cubicBezTo>
                    <a:cubicBezTo>
                      <a:pt x="102" y="0"/>
                      <a:pt x="80" y="8"/>
                      <a:pt x="72" y="26"/>
                    </a:cubicBezTo>
                    <a:cubicBezTo>
                      <a:pt x="70" y="27"/>
                      <a:pt x="70" y="28"/>
                      <a:pt x="70" y="28"/>
                    </a:cubicBezTo>
                    <a:cubicBezTo>
                      <a:pt x="55" y="27"/>
                      <a:pt x="39" y="34"/>
                      <a:pt x="32" y="49"/>
                    </a:cubicBezTo>
                    <a:cubicBezTo>
                      <a:pt x="29" y="55"/>
                      <a:pt x="28" y="62"/>
                      <a:pt x="28" y="68"/>
                    </a:cubicBezTo>
                    <a:cubicBezTo>
                      <a:pt x="21" y="71"/>
                      <a:pt x="14" y="77"/>
                      <a:pt x="11" y="85"/>
                    </a:cubicBezTo>
                    <a:cubicBezTo>
                      <a:pt x="5" y="97"/>
                      <a:pt x="6" y="111"/>
                      <a:pt x="13" y="120"/>
                    </a:cubicBezTo>
                    <a:cubicBezTo>
                      <a:pt x="13" y="121"/>
                      <a:pt x="13" y="121"/>
                      <a:pt x="13" y="121"/>
                    </a:cubicBezTo>
                    <a:cubicBezTo>
                      <a:pt x="11" y="124"/>
                      <a:pt x="10" y="126"/>
                      <a:pt x="8" y="129"/>
                    </a:cubicBezTo>
                    <a:cubicBezTo>
                      <a:pt x="0" y="147"/>
                      <a:pt x="7" y="168"/>
                      <a:pt x="24" y="177"/>
                    </a:cubicBezTo>
                    <a:cubicBezTo>
                      <a:pt x="19" y="188"/>
                      <a:pt x="24" y="201"/>
                      <a:pt x="34" y="205"/>
                    </a:cubicBezTo>
                    <a:cubicBezTo>
                      <a:pt x="38" y="208"/>
                      <a:pt x="41" y="208"/>
                      <a:pt x="45" y="208"/>
                    </a:cubicBezTo>
                    <a:cubicBezTo>
                      <a:pt x="46" y="208"/>
                      <a:pt x="46" y="209"/>
                      <a:pt x="46" y="209"/>
                    </a:cubicBezTo>
                    <a:cubicBezTo>
                      <a:pt x="55" y="226"/>
                      <a:pt x="75" y="235"/>
                      <a:pt x="94" y="229"/>
                    </a:cubicBezTo>
                    <a:cubicBezTo>
                      <a:pt x="100" y="228"/>
                      <a:pt x="104" y="224"/>
                      <a:pt x="108" y="221"/>
                    </a:cubicBezTo>
                    <a:cubicBezTo>
                      <a:pt x="123" y="221"/>
                      <a:pt x="122" y="213"/>
                      <a:pt x="119" y="205"/>
                    </a:cubicBezTo>
                    <a:cubicBezTo>
                      <a:pt x="122" y="198"/>
                      <a:pt x="123" y="190"/>
                      <a:pt x="121" y="182"/>
                    </a:cubicBezTo>
                    <a:cubicBezTo>
                      <a:pt x="129" y="169"/>
                      <a:pt x="138" y="194"/>
                      <a:pt x="147" y="195"/>
                    </a:cubicBezTo>
                    <a:cubicBezTo>
                      <a:pt x="157" y="197"/>
                      <a:pt x="158" y="187"/>
                      <a:pt x="164" y="169"/>
                    </a:cubicBezTo>
                    <a:cubicBezTo>
                      <a:pt x="169" y="152"/>
                      <a:pt x="170" y="163"/>
                      <a:pt x="187" y="167"/>
                    </a:cubicBezTo>
                    <a:cubicBezTo>
                      <a:pt x="198" y="170"/>
                      <a:pt x="200" y="164"/>
                      <a:pt x="201" y="159"/>
                    </a:cubicBezTo>
                    <a:cubicBezTo>
                      <a:pt x="206" y="161"/>
                      <a:pt x="211" y="163"/>
                      <a:pt x="218" y="163"/>
                    </a:cubicBezTo>
                    <a:cubicBezTo>
                      <a:pt x="232" y="160"/>
                      <a:pt x="244" y="149"/>
                      <a:pt x="249" y="134"/>
                    </a:cubicBezTo>
                    <a:cubicBezTo>
                      <a:pt x="253" y="122"/>
                      <a:pt x="251" y="115"/>
                      <a:pt x="248" y="107"/>
                    </a:cubicBezTo>
                    <a:cubicBezTo>
                      <a:pt x="251" y="100"/>
                      <a:pt x="254" y="91"/>
                      <a:pt x="250" y="8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92" name="Freeform 253">
                <a:extLst>
                  <a:ext uri="{FF2B5EF4-FFF2-40B4-BE49-F238E27FC236}">
                    <a16:creationId xmlns:a16="http://schemas.microsoft.com/office/drawing/2014/main" id="{3D26691C-6519-4CEA-A6E1-E0981B9AA8EC}"/>
                  </a:ext>
                </a:extLst>
              </p:cNvPr>
              <p:cNvSpPr>
                <a:spLocks/>
              </p:cNvSpPr>
              <p:nvPr/>
            </p:nvSpPr>
            <p:spPr bwMode="auto">
              <a:xfrm>
                <a:off x="6146800" y="2200275"/>
                <a:ext cx="323850" cy="881062"/>
              </a:xfrm>
              <a:custGeom>
                <a:avLst/>
                <a:gdLst>
                  <a:gd name="T0" fmla="*/ 39 w 136"/>
                  <a:gd name="T1" fmla="*/ 2 h 370"/>
                  <a:gd name="T2" fmla="*/ 0 w 136"/>
                  <a:gd name="T3" fmla="*/ 6 h 370"/>
                  <a:gd name="T4" fmla="*/ 32 w 136"/>
                  <a:gd name="T5" fmla="*/ 370 h 370"/>
                  <a:gd name="T6" fmla="*/ 136 w 136"/>
                  <a:gd name="T7" fmla="*/ 315 h 370"/>
                  <a:gd name="T8" fmla="*/ 112 w 136"/>
                  <a:gd name="T9" fmla="*/ 89 h 370"/>
                  <a:gd name="T10" fmla="*/ 60 w 136"/>
                  <a:gd name="T11" fmla="*/ 8 h 370"/>
                  <a:gd name="T12" fmla="*/ 39 w 136"/>
                  <a:gd name="T13" fmla="*/ 2 h 370"/>
                </a:gdLst>
                <a:ahLst/>
                <a:cxnLst>
                  <a:cxn ang="0">
                    <a:pos x="T0" y="T1"/>
                  </a:cxn>
                  <a:cxn ang="0">
                    <a:pos x="T2" y="T3"/>
                  </a:cxn>
                  <a:cxn ang="0">
                    <a:pos x="T4" y="T5"/>
                  </a:cxn>
                  <a:cxn ang="0">
                    <a:pos x="T6" y="T7"/>
                  </a:cxn>
                  <a:cxn ang="0">
                    <a:pos x="T8" y="T9"/>
                  </a:cxn>
                  <a:cxn ang="0">
                    <a:pos x="T10" y="T11"/>
                  </a:cxn>
                  <a:cxn ang="0">
                    <a:pos x="T12" y="T13"/>
                  </a:cxn>
                </a:cxnLst>
                <a:rect l="0" t="0" r="r" b="b"/>
                <a:pathLst>
                  <a:path w="136" h="370">
                    <a:moveTo>
                      <a:pt x="39" y="2"/>
                    </a:moveTo>
                    <a:cubicBezTo>
                      <a:pt x="0" y="6"/>
                      <a:pt x="0" y="6"/>
                      <a:pt x="0" y="6"/>
                    </a:cubicBezTo>
                    <a:cubicBezTo>
                      <a:pt x="32" y="370"/>
                      <a:pt x="32" y="370"/>
                      <a:pt x="32" y="370"/>
                    </a:cubicBezTo>
                    <a:cubicBezTo>
                      <a:pt x="85" y="355"/>
                      <a:pt x="136" y="315"/>
                      <a:pt x="136" y="315"/>
                    </a:cubicBezTo>
                    <a:cubicBezTo>
                      <a:pt x="111" y="272"/>
                      <a:pt x="118" y="118"/>
                      <a:pt x="112" y="89"/>
                    </a:cubicBezTo>
                    <a:cubicBezTo>
                      <a:pt x="106" y="61"/>
                      <a:pt x="78" y="14"/>
                      <a:pt x="60" y="8"/>
                    </a:cubicBezTo>
                    <a:cubicBezTo>
                      <a:pt x="43" y="2"/>
                      <a:pt x="60" y="0"/>
                      <a:pt x="39"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93" name="Freeform 254">
                <a:extLst>
                  <a:ext uri="{FF2B5EF4-FFF2-40B4-BE49-F238E27FC236}">
                    <a16:creationId xmlns:a16="http://schemas.microsoft.com/office/drawing/2014/main" id="{C5D12D1E-5C5F-4E4F-902C-9E697B9406A1}"/>
                  </a:ext>
                </a:extLst>
              </p:cNvPr>
              <p:cNvSpPr>
                <a:spLocks/>
              </p:cNvSpPr>
              <p:nvPr/>
            </p:nvSpPr>
            <p:spPr bwMode="auto">
              <a:xfrm>
                <a:off x="5983288" y="2211387"/>
                <a:ext cx="406400" cy="927100"/>
              </a:xfrm>
              <a:custGeom>
                <a:avLst/>
                <a:gdLst>
                  <a:gd name="T0" fmla="*/ 166 w 170"/>
                  <a:gd name="T1" fmla="*/ 129 h 389"/>
                  <a:gd name="T2" fmla="*/ 77 w 170"/>
                  <a:gd name="T3" fmla="*/ 0 h 389"/>
                  <a:gd name="T4" fmla="*/ 60 w 170"/>
                  <a:gd name="T5" fmla="*/ 1 h 389"/>
                  <a:gd name="T6" fmla="*/ 2 w 170"/>
                  <a:gd name="T7" fmla="*/ 76 h 389"/>
                  <a:gd name="T8" fmla="*/ 5 w 170"/>
                  <a:gd name="T9" fmla="*/ 348 h 389"/>
                  <a:gd name="T10" fmla="*/ 138 w 170"/>
                  <a:gd name="T11" fmla="*/ 336 h 389"/>
                  <a:gd name="T12" fmla="*/ 166 w 170"/>
                  <a:gd name="T13" fmla="*/ 129 h 389"/>
                </a:gdLst>
                <a:ahLst/>
                <a:cxnLst>
                  <a:cxn ang="0">
                    <a:pos x="T0" y="T1"/>
                  </a:cxn>
                  <a:cxn ang="0">
                    <a:pos x="T2" y="T3"/>
                  </a:cxn>
                  <a:cxn ang="0">
                    <a:pos x="T4" y="T5"/>
                  </a:cxn>
                  <a:cxn ang="0">
                    <a:pos x="T6" y="T7"/>
                  </a:cxn>
                  <a:cxn ang="0">
                    <a:pos x="T8" y="T9"/>
                  </a:cxn>
                  <a:cxn ang="0">
                    <a:pos x="T10" y="T11"/>
                  </a:cxn>
                  <a:cxn ang="0">
                    <a:pos x="T12" y="T13"/>
                  </a:cxn>
                </a:cxnLst>
                <a:rect l="0" t="0" r="r" b="b"/>
                <a:pathLst>
                  <a:path w="170" h="389">
                    <a:moveTo>
                      <a:pt x="166" y="129"/>
                    </a:moveTo>
                    <a:cubicBezTo>
                      <a:pt x="154" y="103"/>
                      <a:pt x="53" y="6"/>
                      <a:pt x="77" y="0"/>
                    </a:cubicBezTo>
                    <a:cubicBezTo>
                      <a:pt x="71" y="0"/>
                      <a:pt x="66" y="1"/>
                      <a:pt x="60" y="1"/>
                    </a:cubicBezTo>
                    <a:cubicBezTo>
                      <a:pt x="9" y="6"/>
                      <a:pt x="0" y="69"/>
                      <a:pt x="2" y="76"/>
                    </a:cubicBezTo>
                    <a:cubicBezTo>
                      <a:pt x="0" y="129"/>
                      <a:pt x="9" y="320"/>
                      <a:pt x="5" y="348"/>
                    </a:cubicBezTo>
                    <a:cubicBezTo>
                      <a:pt x="0" y="376"/>
                      <a:pt x="105" y="389"/>
                      <a:pt x="138" y="336"/>
                    </a:cubicBezTo>
                    <a:cubicBezTo>
                      <a:pt x="164" y="294"/>
                      <a:pt x="170" y="140"/>
                      <a:pt x="166" y="129"/>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94" name="Freeform 255">
                <a:extLst>
                  <a:ext uri="{FF2B5EF4-FFF2-40B4-BE49-F238E27FC236}">
                    <a16:creationId xmlns:a16="http://schemas.microsoft.com/office/drawing/2014/main" id="{ED7B2C78-F4B0-4D0B-A692-0B8760FAA1A9}"/>
                  </a:ext>
                </a:extLst>
              </p:cNvPr>
              <p:cNvSpPr>
                <a:spLocks noEditPoints="1"/>
              </p:cNvSpPr>
              <p:nvPr/>
            </p:nvSpPr>
            <p:spPr bwMode="auto">
              <a:xfrm>
                <a:off x="5983288" y="2366962"/>
                <a:ext cx="7938" cy="676275"/>
              </a:xfrm>
              <a:custGeom>
                <a:avLst/>
                <a:gdLst>
                  <a:gd name="T0" fmla="*/ 3 w 3"/>
                  <a:gd name="T1" fmla="*/ 284 h 284"/>
                  <a:gd name="T2" fmla="*/ 3 w 3"/>
                  <a:gd name="T3" fmla="*/ 284 h 284"/>
                  <a:gd name="T4" fmla="*/ 0 w 3"/>
                  <a:gd name="T5" fmla="*/ 11 h 284"/>
                  <a:gd name="T6" fmla="*/ 0 w 3"/>
                  <a:gd name="T7" fmla="*/ 11 h 284"/>
                  <a:gd name="T8" fmla="*/ 1 w 3"/>
                  <a:gd name="T9" fmla="*/ 0 h 284"/>
                  <a:gd name="T10" fmla="*/ 0 w 3"/>
                  <a:gd name="T11" fmla="*/ 11 h 284"/>
                  <a:gd name="T12" fmla="*/ 1 w 3"/>
                  <a:gd name="T13" fmla="*/ 0 h 284"/>
                  <a:gd name="T14" fmla="*/ 1 w 3"/>
                  <a:gd name="T15" fmla="*/ 0 h 284"/>
                  <a:gd name="T16" fmla="*/ 1 w 3"/>
                  <a:gd name="T1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84">
                    <a:moveTo>
                      <a:pt x="3" y="284"/>
                    </a:moveTo>
                    <a:cubicBezTo>
                      <a:pt x="3" y="284"/>
                      <a:pt x="3" y="284"/>
                      <a:pt x="3" y="284"/>
                    </a:cubicBezTo>
                    <a:moveTo>
                      <a:pt x="0" y="11"/>
                    </a:moveTo>
                    <a:cubicBezTo>
                      <a:pt x="0" y="11"/>
                      <a:pt x="0" y="11"/>
                      <a:pt x="0" y="11"/>
                    </a:cubicBezTo>
                    <a:moveTo>
                      <a:pt x="1" y="0"/>
                    </a:moveTo>
                    <a:cubicBezTo>
                      <a:pt x="0" y="5"/>
                      <a:pt x="0" y="10"/>
                      <a:pt x="0" y="11"/>
                    </a:cubicBezTo>
                    <a:cubicBezTo>
                      <a:pt x="0" y="10"/>
                      <a:pt x="0" y="5"/>
                      <a:pt x="1" y="0"/>
                    </a:cubicBezTo>
                    <a:moveTo>
                      <a:pt x="1" y="0"/>
                    </a:move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95" name="Freeform 256">
                <a:extLst>
                  <a:ext uri="{FF2B5EF4-FFF2-40B4-BE49-F238E27FC236}">
                    <a16:creationId xmlns:a16="http://schemas.microsoft.com/office/drawing/2014/main" id="{2ADDFDAF-0F00-4158-A153-23AE94A9FDE2}"/>
                  </a:ext>
                </a:extLst>
              </p:cNvPr>
              <p:cNvSpPr>
                <a:spLocks/>
              </p:cNvSpPr>
              <p:nvPr/>
            </p:nvSpPr>
            <p:spPr bwMode="auto">
              <a:xfrm>
                <a:off x="6165850" y="2081212"/>
                <a:ext cx="223838" cy="347662"/>
              </a:xfrm>
              <a:custGeom>
                <a:avLst/>
                <a:gdLst>
                  <a:gd name="T0" fmla="*/ 66 w 94"/>
                  <a:gd name="T1" fmla="*/ 39 h 146"/>
                  <a:gd name="T2" fmla="*/ 10 w 94"/>
                  <a:gd name="T3" fmla="*/ 0 h 146"/>
                  <a:gd name="T4" fmla="*/ 0 w 94"/>
                  <a:gd name="T5" fmla="*/ 67 h 146"/>
                  <a:gd name="T6" fmla="*/ 79 w 94"/>
                  <a:gd name="T7" fmla="*/ 142 h 146"/>
                  <a:gd name="T8" fmla="*/ 66 w 94"/>
                  <a:gd name="T9" fmla="*/ 39 h 146"/>
                </a:gdLst>
                <a:ahLst/>
                <a:cxnLst>
                  <a:cxn ang="0">
                    <a:pos x="T0" y="T1"/>
                  </a:cxn>
                  <a:cxn ang="0">
                    <a:pos x="T2" y="T3"/>
                  </a:cxn>
                  <a:cxn ang="0">
                    <a:pos x="T4" y="T5"/>
                  </a:cxn>
                  <a:cxn ang="0">
                    <a:pos x="T6" y="T7"/>
                  </a:cxn>
                  <a:cxn ang="0">
                    <a:pos x="T8" y="T9"/>
                  </a:cxn>
                </a:cxnLst>
                <a:rect l="0" t="0" r="r" b="b"/>
                <a:pathLst>
                  <a:path w="94" h="146">
                    <a:moveTo>
                      <a:pt x="66" y="39"/>
                    </a:moveTo>
                    <a:cubicBezTo>
                      <a:pt x="10" y="0"/>
                      <a:pt x="10" y="0"/>
                      <a:pt x="10" y="0"/>
                    </a:cubicBezTo>
                    <a:cubicBezTo>
                      <a:pt x="0" y="67"/>
                      <a:pt x="0" y="67"/>
                      <a:pt x="0" y="67"/>
                    </a:cubicBezTo>
                    <a:cubicBezTo>
                      <a:pt x="0" y="67"/>
                      <a:pt x="64" y="146"/>
                      <a:pt x="79" y="142"/>
                    </a:cubicBezTo>
                    <a:cubicBezTo>
                      <a:pt x="94" y="137"/>
                      <a:pt x="66" y="39"/>
                      <a:pt x="66" y="39"/>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96" name="Rectangle 257">
                <a:extLst>
                  <a:ext uri="{FF2B5EF4-FFF2-40B4-BE49-F238E27FC236}">
                    <a16:creationId xmlns:a16="http://schemas.microsoft.com/office/drawing/2014/main" id="{5609896E-44B3-4478-8D1E-C65F6484872F}"/>
                  </a:ext>
                </a:extLst>
              </p:cNvPr>
              <p:cNvSpPr>
                <a:spLocks noChangeArrowheads="1"/>
              </p:cNvSpPr>
              <p:nvPr/>
            </p:nvSpPr>
            <p:spPr bwMode="auto">
              <a:xfrm>
                <a:off x="6184900" y="2081212"/>
                <a:ext cx="6350" cy="6350"/>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97" name="Freeform 258">
                <a:extLst>
                  <a:ext uri="{FF2B5EF4-FFF2-40B4-BE49-F238E27FC236}">
                    <a16:creationId xmlns:a16="http://schemas.microsoft.com/office/drawing/2014/main" id="{439AA0F8-2BCE-4E56-B31D-40CB5BCA548B}"/>
                  </a:ext>
                </a:extLst>
              </p:cNvPr>
              <p:cNvSpPr>
                <a:spLocks/>
              </p:cNvSpPr>
              <p:nvPr/>
            </p:nvSpPr>
            <p:spPr bwMode="auto">
              <a:xfrm>
                <a:off x="6184900" y="1857375"/>
                <a:ext cx="334963" cy="354012"/>
              </a:xfrm>
              <a:custGeom>
                <a:avLst/>
                <a:gdLst>
                  <a:gd name="T0" fmla="*/ 137 w 141"/>
                  <a:gd name="T1" fmla="*/ 85 h 149"/>
                  <a:gd name="T2" fmla="*/ 131 w 141"/>
                  <a:gd name="T3" fmla="*/ 45 h 149"/>
                  <a:gd name="T4" fmla="*/ 132 w 141"/>
                  <a:gd name="T5" fmla="*/ 38 h 149"/>
                  <a:gd name="T6" fmla="*/ 99 w 141"/>
                  <a:gd name="T7" fmla="*/ 22 h 149"/>
                  <a:gd name="T8" fmla="*/ 89 w 141"/>
                  <a:gd name="T9" fmla="*/ 0 h 149"/>
                  <a:gd name="T10" fmla="*/ 83 w 141"/>
                  <a:gd name="T11" fmla="*/ 19 h 149"/>
                  <a:gd name="T12" fmla="*/ 81 w 141"/>
                  <a:gd name="T13" fmla="*/ 20 h 149"/>
                  <a:gd name="T14" fmla="*/ 75 w 141"/>
                  <a:gd name="T15" fmla="*/ 38 h 149"/>
                  <a:gd name="T16" fmla="*/ 72 w 141"/>
                  <a:gd name="T17" fmla="*/ 51 h 149"/>
                  <a:gd name="T18" fmla="*/ 62 w 141"/>
                  <a:gd name="T19" fmla="*/ 49 h 149"/>
                  <a:gd name="T20" fmla="*/ 50 w 141"/>
                  <a:gd name="T21" fmla="*/ 30 h 149"/>
                  <a:gd name="T22" fmla="*/ 31 w 141"/>
                  <a:gd name="T23" fmla="*/ 61 h 149"/>
                  <a:gd name="T24" fmla="*/ 0 w 141"/>
                  <a:gd name="T25" fmla="*/ 94 h 149"/>
                  <a:gd name="T26" fmla="*/ 72 w 141"/>
                  <a:gd name="T27" fmla="*/ 141 h 149"/>
                  <a:gd name="T28" fmla="*/ 93 w 141"/>
                  <a:gd name="T29" fmla="*/ 141 h 149"/>
                  <a:gd name="T30" fmla="*/ 120 w 141"/>
                  <a:gd name="T31" fmla="*/ 92 h 149"/>
                  <a:gd name="T32" fmla="*/ 137 w 141"/>
                  <a:gd name="T33" fmla="*/ 8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 h="149">
                    <a:moveTo>
                      <a:pt x="137" y="85"/>
                    </a:moveTo>
                    <a:cubicBezTo>
                      <a:pt x="137" y="83"/>
                      <a:pt x="128" y="50"/>
                      <a:pt x="131" y="45"/>
                    </a:cubicBezTo>
                    <a:cubicBezTo>
                      <a:pt x="131" y="43"/>
                      <a:pt x="132" y="40"/>
                      <a:pt x="132" y="38"/>
                    </a:cubicBezTo>
                    <a:cubicBezTo>
                      <a:pt x="116" y="37"/>
                      <a:pt x="105" y="30"/>
                      <a:pt x="99" y="22"/>
                    </a:cubicBezTo>
                    <a:cubicBezTo>
                      <a:pt x="91" y="12"/>
                      <a:pt x="89" y="3"/>
                      <a:pt x="89" y="0"/>
                    </a:cubicBezTo>
                    <a:cubicBezTo>
                      <a:pt x="83" y="19"/>
                      <a:pt x="83" y="19"/>
                      <a:pt x="83" y="19"/>
                    </a:cubicBezTo>
                    <a:cubicBezTo>
                      <a:pt x="81" y="20"/>
                      <a:pt x="81" y="20"/>
                      <a:pt x="81" y="20"/>
                    </a:cubicBezTo>
                    <a:cubicBezTo>
                      <a:pt x="80" y="24"/>
                      <a:pt x="78" y="31"/>
                      <a:pt x="75" y="38"/>
                    </a:cubicBezTo>
                    <a:cubicBezTo>
                      <a:pt x="74" y="44"/>
                      <a:pt x="72" y="50"/>
                      <a:pt x="72" y="51"/>
                    </a:cubicBezTo>
                    <a:cubicBezTo>
                      <a:pt x="68" y="58"/>
                      <a:pt x="62" y="49"/>
                      <a:pt x="62" y="49"/>
                    </a:cubicBezTo>
                    <a:cubicBezTo>
                      <a:pt x="62" y="49"/>
                      <a:pt x="58" y="37"/>
                      <a:pt x="50" y="30"/>
                    </a:cubicBezTo>
                    <a:cubicBezTo>
                      <a:pt x="41" y="32"/>
                      <a:pt x="34" y="52"/>
                      <a:pt x="31" y="61"/>
                    </a:cubicBezTo>
                    <a:cubicBezTo>
                      <a:pt x="32" y="65"/>
                      <a:pt x="20" y="96"/>
                      <a:pt x="0" y="94"/>
                    </a:cubicBezTo>
                    <a:cubicBezTo>
                      <a:pt x="19" y="122"/>
                      <a:pt x="56" y="134"/>
                      <a:pt x="72" y="141"/>
                    </a:cubicBezTo>
                    <a:cubicBezTo>
                      <a:pt x="90" y="149"/>
                      <a:pt x="93" y="141"/>
                      <a:pt x="93" y="141"/>
                    </a:cubicBezTo>
                    <a:cubicBezTo>
                      <a:pt x="120" y="92"/>
                      <a:pt x="120" y="92"/>
                      <a:pt x="120" y="92"/>
                    </a:cubicBezTo>
                    <a:cubicBezTo>
                      <a:pt x="141" y="98"/>
                      <a:pt x="138" y="89"/>
                      <a:pt x="137" y="85"/>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98" name="Freeform 259">
                <a:extLst>
                  <a:ext uri="{FF2B5EF4-FFF2-40B4-BE49-F238E27FC236}">
                    <a16:creationId xmlns:a16="http://schemas.microsoft.com/office/drawing/2014/main" id="{229FFC87-6317-44EB-83F1-AD7C061CB291}"/>
                  </a:ext>
                </a:extLst>
              </p:cNvPr>
              <p:cNvSpPr>
                <a:spLocks/>
              </p:cNvSpPr>
              <p:nvPr/>
            </p:nvSpPr>
            <p:spPr bwMode="auto">
              <a:xfrm>
                <a:off x="6389688" y="2081212"/>
                <a:ext cx="57150" cy="68262"/>
              </a:xfrm>
              <a:custGeom>
                <a:avLst/>
                <a:gdLst>
                  <a:gd name="T0" fmla="*/ 24 w 24"/>
                  <a:gd name="T1" fmla="*/ 13 h 29"/>
                  <a:gd name="T2" fmla="*/ 0 w 24"/>
                  <a:gd name="T3" fmla="*/ 0 h 29"/>
                  <a:gd name="T4" fmla="*/ 15 w 24"/>
                  <a:gd name="T5" fmla="*/ 29 h 29"/>
                  <a:gd name="T6" fmla="*/ 24 w 24"/>
                  <a:gd name="T7" fmla="*/ 13 h 29"/>
                </a:gdLst>
                <a:ahLst/>
                <a:cxnLst>
                  <a:cxn ang="0">
                    <a:pos x="T0" y="T1"/>
                  </a:cxn>
                  <a:cxn ang="0">
                    <a:pos x="T2" y="T3"/>
                  </a:cxn>
                  <a:cxn ang="0">
                    <a:pos x="T4" y="T5"/>
                  </a:cxn>
                  <a:cxn ang="0">
                    <a:pos x="T6" y="T7"/>
                  </a:cxn>
                </a:cxnLst>
                <a:rect l="0" t="0" r="r" b="b"/>
                <a:pathLst>
                  <a:path w="24" h="29">
                    <a:moveTo>
                      <a:pt x="24" y="13"/>
                    </a:moveTo>
                    <a:cubicBezTo>
                      <a:pt x="0" y="0"/>
                      <a:pt x="0" y="0"/>
                      <a:pt x="0" y="0"/>
                    </a:cubicBezTo>
                    <a:cubicBezTo>
                      <a:pt x="0" y="0"/>
                      <a:pt x="2" y="23"/>
                      <a:pt x="15" y="29"/>
                    </a:cubicBezTo>
                    <a:lnTo>
                      <a:pt x="24" y="13"/>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699" name="Freeform 260">
                <a:extLst>
                  <a:ext uri="{FF2B5EF4-FFF2-40B4-BE49-F238E27FC236}">
                    <a16:creationId xmlns:a16="http://schemas.microsoft.com/office/drawing/2014/main" id="{9EE53FA2-9BD1-4C13-8BEC-9B8836E4E478}"/>
                  </a:ext>
                </a:extLst>
              </p:cNvPr>
              <p:cNvSpPr>
                <a:spLocks/>
              </p:cNvSpPr>
              <p:nvPr/>
            </p:nvSpPr>
            <p:spPr bwMode="auto">
              <a:xfrm>
                <a:off x="6403975" y="2087562"/>
                <a:ext cx="42863" cy="50800"/>
              </a:xfrm>
              <a:custGeom>
                <a:avLst/>
                <a:gdLst>
                  <a:gd name="T0" fmla="*/ 18 w 18"/>
                  <a:gd name="T1" fmla="*/ 10 h 21"/>
                  <a:gd name="T2" fmla="*/ 17 w 18"/>
                  <a:gd name="T3" fmla="*/ 10 h 21"/>
                  <a:gd name="T4" fmla="*/ 0 w 18"/>
                  <a:gd name="T5" fmla="*/ 0 h 21"/>
                  <a:gd name="T6" fmla="*/ 11 w 18"/>
                  <a:gd name="T7" fmla="*/ 21 h 21"/>
                </a:gdLst>
                <a:ahLst/>
                <a:cxnLst>
                  <a:cxn ang="0">
                    <a:pos x="T0" y="T1"/>
                  </a:cxn>
                  <a:cxn ang="0">
                    <a:pos x="T2" y="T3"/>
                  </a:cxn>
                  <a:cxn ang="0">
                    <a:pos x="T4" y="T5"/>
                  </a:cxn>
                  <a:cxn ang="0">
                    <a:pos x="T6" y="T7"/>
                  </a:cxn>
                </a:cxnLst>
                <a:rect l="0" t="0" r="r" b="b"/>
                <a:pathLst>
                  <a:path w="18" h="21">
                    <a:moveTo>
                      <a:pt x="18" y="10"/>
                    </a:moveTo>
                    <a:cubicBezTo>
                      <a:pt x="17" y="10"/>
                      <a:pt x="17" y="10"/>
                      <a:pt x="17" y="10"/>
                    </a:cubicBezTo>
                    <a:cubicBezTo>
                      <a:pt x="0" y="0"/>
                      <a:pt x="0" y="0"/>
                      <a:pt x="0" y="0"/>
                    </a:cubicBezTo>
                    <a:cubicBezTo>
                      <a:pt x="0" y="0"/>
                      <a:pt x="3" y="17"/>
                      <a:pt x="1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00" name="Freeform 261">
                <a:extLst>
                  <a:ext uri="{FF2B5EF4-FFF2-40B4-BE49-F238E27FC236}">
                    <a16:creationId xmlns:a16="http://schemas.microsoft.com/office/drawing/2014/main" id="{2470D44E-B35C-467E-8A19-506CF08B754A}"/>
                  </a:ext>
                </a:extLst>
              </p:cNvPr>
              <p:cNvSpPr>
                <a:spLocks/>
              </p:cNvSpPr>
              <p:nvPr/>
            </p:nvSpPr>
            <p:spPr bwMode="auto">
              <a:xfrm>
                <a:off x="6184900" y="2049462"/>
                <a:ext cx="211138" cy="155575"/>
              </a:xfrm>
              <a:custGeom>
                <a:avLst/>
                <a:gdLst>
                  <a:gd name="T0" fmla="*/ 89 w 89"/>
                  <a:gd name="T1" fmla="*/ 64 h 65"/>
                  <a:gd name="T2" fmla="*/ 58 w 89"/>
                  <a:gd name="T3" fmla="*/ 49 h 65"/>
                  <a:gd name="T4" fmla="*/ 23 w 89"/>
                  <a:gd name="T5" fmla="*/ 0 h 65"/>
                  <a:gd name="T6" fmla="*/ 0 w 89"/>
                  <a:gd name="T7" fmla="*/ 13 h 65"/>
                  <a:gd name="T8" fmla="*/ 72 w 89"/>
                  <a:gd name="T9" fmla="*/ 61 h 65"/>
                  <a:gd name="T10" fmla="*/ 89 w 89"/>
                  <a:gd name="T11" fmla="*/ 64 h 65"/>
                </a:gdLst>
                <a:ahLst/>
                <a:cxnLst>
                  <a:cxn ang="0">
                    <a:pos x="T0" y="T1"/>
                  </a:cxn>
                  <a:cxn ang="0">
                    <a:pos x="T2" y="T3"/>
                  </a:cxn>
                  <a:cxn ang="0">
                    <a:pos x="T4" y="T5"/>
                  </a:cxn>
                  <a:cxn ang="0">
                    <a:pos x="T6" y="T7"/>
                  </a:cxn>
                  <a:cxn ang="0">
                    <a:pos x="T8" y="T9"/>
                  </a:cxn>
                  <a:cxn ang="0">
                    <a:pos x="T10" y="T11"/>
                  </a:cxn>
                </a:cxnLst>
                <a:rect l="0" t="0" r="r" b="b"/>
                <a:pathLst>
                  <a:path w="89" h="65">
                    <a:moveTo>
                      <a:pt x="89" y="64"/>
                    </a:moveTo>
                    <a:cubicBezTo>
                      <a:pt x="75" y="59"/>
                      <a:pt x="65" y="54"/>
                      <a:pt x="58" y="49"/>
                    </a:cubicBezTo>
                    <a:cubicBezTo>
                      <a:pt x="40" y="35"/>
                      <a:pt x="29" y="17"/>
                      <a:pt x="23" y="0"/>
                    </a:cubicBezTo>
                    <a:cubicBezTo>
                      <a:pt x="18" y="8"/>
                      <a:pt x="10" y="14"/>
                      <a:pt x="0" y="13"/>
                    </a:cubicBezTo>
                    <a:cubicBezTo>
                      <a:pt x="19" y="42"/>
                      <a:pt x="57" y="54"/>
                      <a:pt x="72" y="61"/>
                    </a:cubicBezTo>
                    <a:cubicBezTo>
                      <a:pt x="81" y="65"/>
                      <a:pt x="87" y="65"/>
                      <a:pt x="89" y="64"/>
                    </a:cubicBezTo>
                    <a:close/>
                  </a:path>
                </a:pathLst>
              </a:custGeom>
              <a:solidFill>
                <a:srgbClr val="81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01" name="Freeform 262">
                <a:extLst>
                  <a:ext uri="{FF2B5EF4-FFF2-40B4-BE49-F238E27FC236}">
                    <a16:creationId xmlns:a16="http://schemas.microsoft.com/office/drawing/2014/main" id="{5A81FD41-22A9-4D1F-AC7E-B2E69541CFBC}"/>
                  </a:ext>
                </a:extLst>
              </p:cNvPr>
              <p:cNvSpPr>
                <a:spLocks/>
              </p:cNvSpPr>
              <p:nvPr/>
            </p:nvSpPr>
            <p:spPr bwMode="auto">
              <a:xfrm>
                <a:off x="6408738" y="1982787"/>
                <a:ext cx="38100" cy="36512"/>
              </a:xfrm>
              <a:custGeom>
                <a:avLst/>
                <a:gdLst>
                  <a:gd name="T0" fmla="*/ 15 w 16"/>
                  <a:gd name="T1" fmla="*/ 9 h 15"/>
                  <a:gd name="T2" fmla="*/ 6 w 16"/>
                  <a:gd name="T3" fmla="*/ 14 h 15"/>
                  <a:gd name="T4" fmla="*/ 1 w 16"/>
                  <a:gd name="T5" fmla="*/ 6 h 15"/>
                  <a:gd name="T6" fmla="*/ 10 w 16"/>
                  <a:gd name="T7" fmla="*/ 1 h 15"/>
                  <a:gd name="T8" fmla="*/ 15 w 16"/>
                  <a:gd name="T9" fmla="*/ 9 h 15"/>
                </a:gdLst>
                <a:ahLst/>
                <a:cxnLst>
                  <a:cxn ang="0">
                    <a:pos x="T0" y="T1"/>
                  </a:cxn>
                  <a:cxn ang="0">
                    <a:pos x="T2" y="T3"/>
                  </a:cxn>
                  <a:cxn ang="0">
                    <a:pos x="T4" y="T5"/>
                  </a:cxn>
                  <a:cxn ang="0">
                    <a:pos x="T6" y="T7"/>
                  </a:cxn>
                  <a:cxn ang="0">
                    <a:pos x="T8" y="T9"/>
                  </a:cxn>
                </a:cxnLst>
                <a:rect l="0" t="0" r="r" b="b"/>
                <a:pathLst>
                  <a:path w="16" h="15">
                    <a:moveTo>
                      <a:pt x="15" y="9"/>
                    </a:moveTo>
                    <a:cubicBezTo>
                      <a:pt x="14" y="13"/>
                      <a:pt x="10" y="15"/>
                      <a:pt x="6" y="14"/>
                    </a:cubicBezTo>
                    <a:cubicBezTo>
                      <a:pt x="3" y="13"/>
                      <a:pt x="0" y="9"/>
                      <a:pt x="1" y="6"/>
                    </a:cubicBezTo>
                    <a:cubicBezTo>
                      <a:pt x="3" y="2"/>
                      <a:pt x="6" y="0"/>
                      <a:pt x="10" y="1"/>
                    </a:cubicBezTo>
                    <a:cubicBezTo>
                      <a:pt x="14" y="1"/>
                      <a:pt x="16" y="4"/>
                      <a:pt x="15" y="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02" name="Freeform 263">
                <a:extLst>
                  <a:ext uri="{FF2B5EF4-FFF2-40B4-BE49-F238E27FC236}">
                    <a16:creationId xmlns:a16="http://schemas.microsoft.com/office/drawing/2014/main" id="{353FE12D-28E7-4737-AA42-E0126164DD24}"/>
                  </a:ext>
                </a:extLst>
              </p:cNvPr>
              <p:cNvSpPr>
                <a:spLocks noEditPoints="1"/>
              </p:cNvSpPr>
              <p:nvPr/>
            </p:nvSpPr>
            <p:spPr bwMode="auto">
              <a:xfrm>
                <a:off x="6142038" y="1666875"/>
                <a:ext cx="428625" cy="258762"/>
              </a:xfrm>
              <a:custGeom>
                <a:avLst/>
                <a:gdLst>
                  <a:gd name="T0" fmla="*/ 270 w 270"/>
                  <a:gd name="T1" fmla="*/ 163 h 163"/>
                  <a:gd name="T2" fmla="*/ 270 w 270"/>
                  <a:gd name="T3" fmla="*/ 163 h 163"/>
                  <a:gd name="T4" fmla="*/ 270 w 270"/>
                  <a:gd name="T5" fmla="*/ 163 h 163"/>
                  <a:gd name="T6" fmla="*/ 270 w 270"/>
                  <a:gd name="T7" fmla="*/ 163 h 163"/>
                  <a:gd name="T8" fmla="*/ 270 w 270"/>
                  <a:gd name="T9" fmla="*/ 163 h 163"/>
                  <a:gd name="T10" fmla="*/ 270 w 270"/>
                  <a:gd name="T11" fmla="*/ 163 h 163"/>
                  <a:gd name="T12" fmla="*/ 270 w 270"/>
                  <a:gd name="T13" fmla="*/ 163 h 163"/>
                  <a:gd name="T14" fmla="*/ 270 w 270"/>
                  <a:gd name="T15" fmla="*/ 163 h 163"/>
                  <a:gd name="T16" fmla="*/ 270 w 270"/>
                  <a:gd name="T17" fmla="*/ 163 h 163"/>
                  <a:gd name="T18" fmla="*/ 270 w 270"/>
                  <a:gd name="T19" fmla="*/ 163 h 163"/>
                  <a:gd name="T20" fmla="*/ 270 w 270"/>
                  <a:gd name="T21" fmla="*/ 163 h 163"/>
                  <a:gd name="T22" fmla="*/ 270 w 270"/>
                  <a:gd name="T23" fmla="*/ 163 h 163"/>
                  <a:gd name="T24" fmla="*/ 270 w 270"/>
                  <a:gd name="T25" fmla="*/ 163 h 163"/>
                  <a:gd name="T26" fmla="*/ 270 w 270"/>
                  <a:gd name="T27" fmla="*/ 163 h 163"/>
                  <a:gd name="T28" fmla="*/ 270 w 270"/>
                  <a:gd name="T29" fmla="*/ 162 h 163"/>
                  <a:gd name="T30" fmla="*/ 270 w 270"/>
                  <a:gd name="T31" fmla="*/ 162 h 163"/>
                  <a:gd name="T32" fmla="*/ 270 w 270"/>
                  <a:gd name="T33" fmla="*/ 162 h 163"/>
                  <a:gd name="T34" fmla="*/ 270 w 270"/>
                  <a:gd name="T35" fmla="*/ 162 h 163"/>
                  <a:gd name="T36" fmla="*/ 270 w 270"/>
                  <a:gd name="T37" fmla="*/ 162 h 163"/>
                  <a:gd name="T38" fmla="*/ 270 w 270"/>
                  <a:gd name="T39" fmla="*/ 162 h 163"/>
                  <a:gd name="T40" fmla="*/ 270 w 270"/>
                  <a:gd name="T41" fmla="*/ 162 h 163"/>
                  <a:gd name="T42" fmla="*/ 270 w 270"/>
                  <a:gd name="T43" fmla="*/ 162 h 163"/>
                  <a:gd name="T44" fmla="*/ 270 w 270"/>
                  <a:gd name="T45" fmla="*/ 162 h 163"/>
                  <a:gd name="T46" fmla="*/ 270 w 270"/>
                  <a:gd name="T47" fmla="*/ 162 h 163"/>
                  <a:gd name="T48" fmla="*/ 270 w 270"/>
                  <a:gd name="T49" fmla="*/ 162 h 163"/>
                  <a:gd name="T50" fmla="*/ 270 w 270"/>
                  <a:gd name="T51" fmla="*/ 162 h 163"/>
                  <a:gd name="T52" fmla="*/ 0 w 270"/>
                  <a:gd name="T53" fmla="*/ 0 h 163"/>
                  <a:gd name="T54" fmla="*/ 0 w 270"/>
                  <a:gd name="T55" fmla="*/ 1 h 163"/>
                  <a:gd name="T56" fmla="*/ 0 w 270"/>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163">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2"/>
                    </a:moveTo>
                    <a:lnTo>
                      <a:pt x="270" y="162"/>
                    </a:lnTo>
                    <a:close/>
                    <a:moveTo>
                      <a:pt x="270" y="162"/>
                    </a:moveTo>
                    <a:lnTo>
                      <a:pt x="270" y="162"/>
                    </a:lnTo>
                    <a:close/>
                    <a:moveTo>
                      <a:pt x="270" y="162"/>
                    </a:moveTo>
                    <a:lnTo>
                      <a:pt x="270" y="162"/>
                    </a:lnTo>
                    <a:close/>
                    <a:moveTo>
                      <a:pt x="270" y="162"/>
                    </a:moveTo>
                    <a:lnTo>
                      <a:pt x="270" y="162"/>
                    </a:lnTo>
                    <a:close/>
                    <a:moveTo>
                      <a:pt x="270" y="162"/>
                    </a:moveTo>
                    <a:lnTo>
                      <a:pt x="270" y="162"/>
                    </a:lnTo>
                    <a:close/>
                    <a:moveTo>
                      <a:pt x="270" y="162"/>
                    </a:moveTo>
                    <a:lnTo>
                      <a:pt x="270" y="162"/>
                    </a:lnTo>
                    <a:close/>
                    <a:moveTo>
                      <a:pt x="0" y="0"/>
                    </a:moveTo>
                    <a:lnTo>
                      <a:pt x="0" y="1"/>
                    </a:lnTo>
                    <a:lnTo>
                      <a:pt x="0" y="0"/>
                    </a:lnTo>
                    <a:close/>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03" name="Freeform 264">
                <a:extLst>
                  <a:ext uri="{FF2B5EF4-FFF2-40B4-BE49-F238E27FC236}">
                    <a16:creationId xmlns:a16="http://schemas.microsoft.com/office/drawing/2014/main" id="{F9A7FF85-4B82-4227-AFC1-11A3E84DEE3E}"/>
                  </a:ext>
                </a:extLst>
              </p:cNvPr>
              <p:cNvSpPr>
                <a:spLocks noEditPoints="1"/>
              </p:cNvSpPr>
              <p:nvPr/>
            </p:nvSpPr>
            <p:spPr bwMode="auto">
              <a:xfrm>
                <a:off x="6142038" y="1666875"/>
                <a:ext cx="428625" cy="258762"/>
              </a:xfrm>
              <a:custGeom>
                <a:avLst/>
                <a:gdLst>
                  <a:gd name="T0" fmla="*/ 270 w 270"/>
                  <a:gd name="T1" fmla="*/ 163 h 163"/>
                  <a:gd name="T2" fmla="*/ 270 w 270"/>
                  <a:gd name="T3" fmla="*/ 163 h 163"/>
                  <a:gd name="T4" fmla="*/ 270 w 270"/>
                  <a:gd name="T5" fmla="*/ 163 h 163"/>
                  <a:gd name="T6" fmla="*/ 270 w 270"/>
                  <a:gd name="T7" fmla="*/ 163 h 163"/>
                  <a:gd name="T8" fmla="*/ 270 w 270"/>
                  <a:gd name="T9" fmla="*/ 163 h 163"/>
                  <a:gd name="T10" fmla="*/ 270 w 270"/>
                  <a:gd name="T11" fmla="*/ 163 h 163"/>
                  <a:gd name="T12" fmla="*/ 270 w 270"/>
                  <a:gd name="T13" fmla="*/ 163 h 163"/>
                  <a:gd name="T14" fmla="*/ 270 w 270"/>
                  <a:gd name="T15" fmla="*/ 163 h 163"/>
                  <a:gd name="T16" fmla="*/ 270 w 270"/>
                  <a:gd name="T17" fmla="*/ 163 h 163"/>
                  <a:gd name="T18" fmla="*/ 270 w 270"/>
                  <a:gd name="T19" fmla="*/ 163 h 163"/>
                  <a:gd name="T20" fmla="*/ 270 w 270"/>
                  <a:gd name="T21" fmla="*/ 163 h 163"/>
                  <a:gd name="T22" fmla="*/ 270 w 270"/>
                  <a:gd name="T23" fmla="*/ 163 h 163"/>
                  <a:gd name="T24" fmla="*/ 270 w 270"/>
                  <a:gd name="T25" fmla="*/ 163 h 163"/>
                  <a:gd name="T26" fmla="*/ 270 w 270"/>
                  <a:gd name="T27" fmla="*/ 163 h 163"/>
                  <a:gd name="T28" fmla="*/ 270 w 270"/>
                  <a:gd name="T29" fmla="*/ 162 h 163"/>
                  <a:gd name="T30" fmla="*/ 270 w 270"/>
                  <a:gd name="T31" fmla="*/ 162 h 163"/>
                  <a:gd name="T32" fmla="*/ 270 w 270"/>
                  <a:gd name="T33" fmla="*/ 162 h 163"/>
                  <a:gd name="T34" fmla="*/ 270 w 270"/>
                  <a:gd name="T35" fmla="*/ 162 h 163"/>
                  <a:gd name="T36" fmla="*/ 270 w 270"/>
                  <a:gd name="T37" fmla="*/ 162 h 163"/>
                  <a:gd name="T38" fmla="*/ 270 w 270"/>
                  <a:gd name="T39" fmla="*/ 162 h 163"/>
                  <a:gd name="T40" fmla="*/ 270 w 270"/>
                  <a:gd name="T41" fmla="*/ 162 h 163"/>
                  <a:gd name="T42" fmla="*/ 270 w 270"/>
                  <a:gd name="T43" fmla="*/ 162 h 163"/>
                  <a:gd name="T44" fmla="*/ 270 w 270"/>
                  <a:gd name="T45" fmla="*/ 162 h 163"/>
                  <a:gd name="T46" fmla="*/ 270 w 270"/>
                  <a:gd name="T47" fmla="*/ 162 h 163"/>
                  <a:gd name="T48" fmla="*/ 270 w 270"/>
                  <a:gd name="T49" fmla="*/ 162 h 163"/>
                  <a:gd name="T50" fmla="*/ 270 w 270"/>
                  <a:gd name="T51" fmla="*/ 162 h 163"/>
                  <a:gd name="T52" fmla="*/ 0 w 270"/>
                  <a:gd name="T53" fmla="*/ 0 h 163"/>
                  <a:gd name="T54" fmla="*/ 0 w 270"/>
                  <a:gd name="T55" fmla="*/ 1 h 163"/>
                  <a:gd name="T56" fmla="*/ 0 w 270"/>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163">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2"/>
                    </a:moveTo>
                    <a:lnTo>
                      <a:pt x="270" y="162"/>
                    </a:lnTo>
                    <a:moveTo>
                      <a:pt x="270" y="162"/>
                    </a:moveTo>
                    <a:lnTo>
                      <a:pt x="270" y="162"/>
                    </a:lnTo>
                    <a:moveTo>
                      <a:pt x="270" y="162"/>
                    </a:moveTo>
                    <a:lnTo>
                      <a:pt x="270" y="162"/>
                    </a:lnTo>
                    <a:moveTo>
                      <a:pt x="270" y="162"/>
                    </a:moveTo>
                    <a:lnTo>
                      <a:pt x="270" y="162"/>
                    </a:lnTo>
                    <a:moveTo>
                      <a:pt x="270" y="162"/>
                    </a:moveTo>
                    <a:lnTo>
                      <a:pt x="270" y="162"/>
                    </a:lnTo>
                    <a:moveTo>
                      <a:pt x="270" y="162"/>
                    </a:moveTo>
                    <a:lnTo>
                      <a:pt x="270" y="162"/>
                    </a:lnTo>
                    <a:moveTo>
                      <a:pt x="0" y="0"/>
                    </a:move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04" name="Freeform 265">
                <a:extLst>
                  <a:ext uri="{FF2B5EF4-FFF2-40B4-BE49-F238E27FC236}">
                    <a16:creationId xmlns:a16="http://schemas.microsoft.com/office/drawing/2014/main" id="{B199832C-84DC-4B4D-9847-B282D82C5BC1}"/>
                  </a:ext>
                </a:extLst>
              </p:cNvPr>
              <p:cNvSpPr>
                <a:spLocks/>
              </p:cNvSpPr>
              <p:nvPr/>
            </p:nvSpPr>
            <p:spPr bwMode="auto">
              <a:xfrm>
                <a:off x="6142038" y="1609725"/>
                <a:ext cx="434975" cy="377825"/>
              </a:xfrm>
              <a:custGeom>
                <a:avLst/>
                <a:gdLst>
                  <a:gd name="T0" fmla="*/ 73 w 183"/>
                  <a:gd name="T1" fmla="*/ 0 h 159"/>
                  <a:gd name="T2" fmla="*/ 51 w 183"/>
                  <a:gd name="T3" fmla="*/ 6 h 159"/>
                  <a:gd name="T4" fmla="*/ 49 w 183"/>
                  <a:gd name="T5" fmla="*/ 5 h 159"/>
                  <a:gd name="T6" fmla="*/ 34 w 183"/>
                  <a:gd name="T7" fmla="*/ 1 h 159"/>
                  <a:gd name="T8" fmla="*/ 1 w 183"/>
                  <a:gd name="T9" fmla="*/ 21 h 159"/>
                  <a:gd name="T10" fmla="*/ 0 w 183"/>
                  <a:gd name="T11" fmla="*/ 22 h 159"/>
                  <a:gd name="T12" fmla="*/ 0 w 183"/>
                  <a:gd name="T13" fmla="*/ 24 h 159"/>
                  <a:gd name="T14" fmla="*/ 9 w 183"/>
                  <a:gd name="T15" fmla="*/ 22 h 159"/>
                  <a:gd name="T16" fmla="*/ 26 w 183"/>
                  <a:gd name="T17" fmla="*/ 26 h 159"/>
                  <a:gd name="T18" fmla="*/ 27 w 183"/>
                  <a:gd name="T19" fmla="*/ 27 h 159"/>
                  <a:gd name="T20" fmla="*/ 49 w 183"/>
                  <a:gd name="T21" fmla="*/ 22 h 159"/>
                  <a:gd name="T22" fmla="*/ 68 w 183"/>
                  <a:gd name="T23" fmla="*/ 26 h 159"/>
                  <a:gd name="T24" fmla="*/ 88 w 183"/>
                  <a:gd name="T25" fmla="*/ 47 h 159"/>
                  <a:gd name="T26" fmla="*/ 89 w 183"/>
                  <a:gd name="T27" fmla="*/ 47 h 159"/>
                  <a:gd name="T28" fmla="*/ 98 w 183"/>
                  <a:gd name="T29" fmla="*/ 46 h 159"/>
                  <a:gd name="T30" fmla="*/ 130 w 183"/>
                  <a:gd name="T31" fmla="*/ 68 h 159"/>
                  <a:gd name="T32" fmla="*/ 131 w 183"/>
                  <a:gd name="T33" fmla="*/ 77 h 159"/>
                  <a:gd name="T34" fmla="*/ 157 w 183"/>
                  <a:gd name="T35" fmla="*/ 99 h 159"/>
                  <a:gd name="T36" fmla="*/ 153 w 183"/>
                  <a:gd name="T37" fmla="*/ 126 h 159"/>
                  <a:gd name="T38" fmla="*/ 156 w 183"/>
                  <a:gd name="T39" fmla="*/ 152 h 159"/>
                  <a:gd name="T40" fmla="*/ 152 w 183"/>
                  <a:gd name="T41" fmla="*/ 159 h 159"/>
                  <a:gd name="T42" fmla="*/ 179 w 183"/>
                  <a:gd name="T43" fmla="*/ 132 h 159"/>
                  <a:gd name="T44" fmla="*/ 179 w 183"/>
                  <a:gd name="T45" fmla="*/ 131 h 159"/>
                  <a:gd name="T46" fmla="*/ 182 w 183"/>
                  <a:gd name="T47" fmla="*/ 119 h 159"/>
                  <a:gd name="T48" fmla="*/ 178 w 183"/>
                  <a:gd name="T49" fmla="*/ 104 h 159"/>
                  <a:gd name="T50" fmla="*/ 183 w 183"/>
                  <a:gd name="T51" fmla="*/ 87 h 159"/>
                  <a:gd name="T52" fmla="*/ 180 w 183"/>
                  <a:gd name="T53" fmla="*/ 78 h 159"/>
                  <a:gd name="T54" fmla="*/ 155 w 183"/>
                  <a:gd name="T55" fmla="*/ 55 h 159"/>
                  <a:gd name="T56" fmla="*/ 153 w 183"/>
                  <a:gd name="T57" fmla="*/ 47 h 159"/>
                  <a:gd name="T58" fmla="*/ 123 w 183"/>
                  <a:gd name="T59" fmla="*/ 24 h 159"/>
                  <a:gd name="T60" fmla="*/ 114 w 183"/>
                  <a:gd name="T61" fmla="*/ 25 h 159"/>
                  <a:gd name="T62" fmla="*/ 112 w 183"/>
                  <a:gd name="T63" fmla="*/ 26 h 159"/>
                  <a:gd name="T64" fmla="*/ 92 w 183"/>
                  <a:gd name="T65" fmla="*/ 5 h 159"/>
                  <a:gd name="T66" fmla="*/ 73 w 183"/>
                  <a:gd name="T6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159">
                    <a:moveTo>
                      <a:pt x="73" y="0"/>
                    </a:moveTo>
                    <a:cubicBezTo>
                      <a:pt x="66" y="0"/>
                      <a:pt x="58" y="2"/>
                      <a:pt x="51" y="6"/>
                    </a:cubicBezTo>
                    <a:cubicBezTo>
                      <a:pt x="50" y="6"/>
                      <a:pt x="50" y="5"/>
                      <a:pt x="49" y="5"/>
                    </a:cubicBezTo>
                    <a:cubicBezTo>
                      <a:pt x="44" y="2"/>
                      <a:pt x="39" y="1"/>
                      <a:pt x="34" y="1"/>
                    </a:cubicBezTo>
                    <a:cubicBezTo>
                      <a:pt x="20" y="1"/>
                      <a:pt x="7" y="8"/>
                      <a:pt x="1" y="21"/>
                    </a:cubicBezTo>
                    <a:cubicBezTo>
                      <a:pt x="0" y="21"/>
                      <a:pt x="0" y="22"/>
                      <a:pt x="0" y="22"/>
                    </a:cubicBezTo>
                    <a:cubicBezTo>
                      <a:pt x="0" y="24"/>
                      <a:pt x="0" y="24"/>
                      <a:pt x="0" y="24"/>
                    </a:cubicBezTo>
                    <a:cubicBezTo>
                      <a:pt x="2" y="24"/>
                      <a:pt x="6" y="22"/>
                      <a:pt x="9" y="22"/>
                    </a:cubicBezTo>
                    <a:cubicBezTo>
                      <a:pt x="15" y="22"/>
                      <a:pt x="20" y="24"/>
                      <a:pt x="26" y="26"/>
                    </a:cubicBezTo>
                    <a:cubicBezTo>
                      <a:pt x="26" y="27"/>
                      <a:pt x="27" y="27"/>
                      <a:pt x="27" y="27"/>
                    </a:cubicBezTo>
                    <a:cubicBezTo>
                      <a:pt x="34" y="24"/>
                      <a:pt x="41" y="22"/>
                      <a:pt x="49" y="22"/>
                    </a:cubicBezTo>
                    <a:cubicBezTo>
                      <a:pt x="55" y="22"/>
                      <a:pt x="62" y="24"/>
                      <a:pt x="68" y="26"/>
                    </a:cubicBezTo>
                    <a:cubicBezTo>
                      <a:pt x="77" y="31"/>
                      <a:pt x="84" y="39"/>
                      <a:pt x="88" y="47"/>
                    </a:cubicBezTo>
                    <a:cubicBezTo>
                      <a:pt x="89" y="47"/>
                      <a:pt x="89" y="47"/>
                      <a:pt x="89" y="47"/>
                    </a:cubicBezTo>
                    <a:cubicBezTo>
                      <a:pt x="92" y="46"/>
                      <a:pt x="96" y="46"/>
                      <a:pt x="98" y="46"/>
                    </a:cubicBezTo>
                    <a:cubicBezTo>
                      <a:pt x="112" y="46"/>
                      <a:pt x="125" y="54"/>
                      <a:pt x="130" y="68"/>
                    </a:cubicBezTo>
                    <a:cubicBezTo>
                      <a:pt x="130" y="71"/>
                      <a:pt x="131" y="74"/>
                      <a:pt x="131" y="77"/>
                    </a:cubicBezTo>
                    <a:cubicBezTo>
                      <a:pt x="143" y="79"/>
                      <a:pt x="152" y="87"/>
                      <a:pt x="157" y="99"/>
                    </a:cubicBezTo>
                    <a:cubicBezTo>
                      <a:pt x="159" y="108"/>
                      <a:pt x="158" y="118"/>
                      <a:pt x="153" y="126"/>
                    </a:cubicBezTo>
                    <a:cubicBezTo>
                      <a:pt x="157" y="133"/>
                      <a:pt x="159" y="141"/>
                      <a:pt x="156" y="152"/>
                    </a:cubicBezTo>
                    <a:cubicBezTo>
                      <a:pt x="155" y="154"/>
                      <a:pt x="153" y="157"/>
                      <a:pt x="152" y="159"/>
                    </a:cubicBezTo>
                    <a:cubicBezTo>
                      <a:pt x="164" y="154"/>
                      <a:pt x="173" y="145"/>
                      <a:pt x="179" y="132"/>
                    </a:cubicBezTo>
                    <a:cubicBezTo>
                      <a:pt x="179" y="131"/>
                      <a:pt x="179" y="131"/>
                      <a:pt x="179" y="131"/>
                    </a:cubicBezTo>
                    <a:cubicBezTo>
                      <a:pt x="182" y="126"/>
                      <a:pt x="182" y="123"/>
                      <a:pt x="182" y="119"/>
                    </a:cubicBezTo>
                    <a:cubicBezTo>
                      <a:pt x="182" y="113"/>
                      <a:pt x="180" y="108"/>
                      <a:pt x="178" y="104"/>
                    </a:cubicBezTo>
                    <a:cubicBezTo>
                      <a:pt x="180" y="99"/>
                      <a:pt x="183" y="93"/>
                      <a:pt x="183" y="87"/>
                    </a:cubicBezTo>
                    <a:cubicBezTo>
                      <a:pt x="183" y="84"/>
                      <a:pt x="182" y="80"/>
                      <a:pt x="180" y="78"/>
                    </a:cubicBezTo>
                    <a:cubicBezTo>
                      <a:pt x="177" y="65"/>
                      <a:pt x="166" y="57"/>
                      <a:pt x="155" y="55"/>
                    </a:cubicBezTo>
                    <a:cubicBezTo>
                      <a:pt x="155" y="52"/>
                      <a:pt x="155" y="50"/>
                      <a:pt x="153" y="47"/>
                    </a:cubicBezTo>
                    <a:cubicBezTo>
                      <a:pt x="150" y="33"/>
                      <a:pt x="137" y="24"/>
                      <a:pt x="123" y="24"/>
                    </a:cubicBezTo>
                    <a:cubicBezTo>
                      <a:pt x="119" y="24"/>
                      <a:pt x="117" y="25"/>
                      <a:pt x="114" y="25"/>
                    </a:cubicBezTo>
                    <a:cubicBezTo>
                      <a:pt x="112" y="26"/>
                      <a:pt x="112" y="26"/>
                      <a:pt x="112" y="26"/>
                    </a:cubicBezTo>
                    <a:cubicBezTo>
                      <a:pt x="109" y="17"/>
                      <a:pt x="102" y="9"/>
                      <a:pt x="92" y="5"/>
                    </a:cubicBezTo>
                    <a:cubicBezTo>
                      <a:pt x="85" y="1"/>
                      <a:pt x="80" y="0"/>
                      <a:pt x="73" y="0"/>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05" name="Freeform 266">
                <a:extLst>
                  <a:ext uri="{FF2B5EF4-FFF2-40B4-BE49-F238E27FC236}">
                    <a16:creationId xmlns:a16="http://schemas.microsoft.com/office/drawing/2014/main" id="{6943E969-42C0-4324-B021-6EDA03254BC7}"/>
                  </a:ext>
                </a:extLst>
              </p:cNvPr>
              <p:cNvSpPr>
                <a:spLocks noEditPoints="1"/>
              </p:cNvSpPr>
              <p:nvPr/>
            </p:nvSpPr>
            <p:spPr bwMode="auto">
              <a:xfrm>
                <a:off x="6434138" y="3113087"/>
                <a:ext cx="406400" cy="1019175"/>
              </a:xfrm>
              <a:custGeom>
                <a:avLst/>
                <a:gdLst>
                  <a:gd name="T0" fmla="*/ 161 w 170"/>
                  <a:gd name="T1" fmla="*/ 416 h 428"/>
                  <a:gd name="T2" fmla="*/ 165 w 170"/>
                  <a:gd name="T3" fmla="*/ 418 h 428"/>
                  <a:gd name="T4" fmla="*/ 168 w 170"/>
                  <a:gd name="T5" fmla="*/ 428 h 428"/>
                  <a:gd name="T6" fmla="*/ 165 w 170"/>
                  <a:gd name="T7" fmla="*/ 418 h 428"/>
                  <a:gd name="T8" fmla="*/ 161 w 170"/>
                  <a:gd name="T9" fmla="*/ 416 h 428"/>
                  <a:gd name="T10" fmla="*/ 0 w 170"/>
                  <a:gd name="T11" fmla="*/ 0 h 428"/>
                  <a:gd name="T12" fmla="*/ 0 w 170"/>
                  <a:gd name="T13" fmla="*/ 0 h 428"/>
                  <a:gd name="T14" fmla="*/ 40 w 170"/>
                  <a:gd name="T15" fmla="*/ 97 h 428"/>
                  <a:gd name="T16" fmla="*/ 52 w 170"/>
                  <a:gd name="T17" fmla="*/ 121 h 428"/>
                  <a:gd name="T18" fmla="*/ 55 w 170"/>
                  <a:gd name="T19" fmla="*/ 149 h 428"/>
                  <a:gd name="T20" fmla="*/ 73 w 170"/>
                  <a:gd name="T21" fmla="*/ 325 h 428"/>
                  <a:gd name="T22" fmla="*/ 58 w 170"/>
                  <a:gd name="T23" fmla="*/ 328 h 428"/>
                  <a:gd name="T24" fmla="*/ 73 w 170"/>
                  <a:gd name="T25" fmla="*/ 325 h 428"/>
                  <a:gd name="T26" fmla="*/ 81 w 170"/>
                  <a:gd name="T27" fmla="*/ 384 h 428"/>
                  <a:gd name="T28" fmla="*/ 138 w 170"/>
                  <a:gd name="T29" fmla="*/ 410 h 428"/>
                  <a:gd name="T30" fmla="*/ 81 w 170"/>
                  <a:gd name="T31" fmla="*/ 384 h 428"/>
                  <a:gd name="T32" fmla="*/ 73 w 170"/>
                  <a:gd name="T33" fmla="*/ 325 h 428"/>
                  <a:gd name="T34" fmla="*/ 55 w 170"/>
                  <a:gd name="T35" fmla="*/ 149 h 428"/>
                  <a:gd name="T36" fmla="*/ 52 w 170"/>
                  <a:gd name="T37" fmla="*/ 121 h 428"/>
                  <a:gd name="T38" fmla="*/ 40 w 170"/>
                  <a:gd name="T39" fmla="*/ 97 h 428"/>
                  <a:gd name="T40" fmla="*/ 0 w 170"/>
                  <a:gd name="T41"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0" h="428">
                    <a:moveTo>
                      <a:pt x="161" y="416"/>
                    </a:moveTo>
                    <a:cubicBezTo>
                      <a:pt x="163" y="417"/>
                      <a:pt x="164" y="417"/>
                      <a:pt x="165" y="418"/>
                    </a:cubicBezTo>
                    <a:cubicBezTo>
                      <a:pt x="168" y="422"/>
                      <a:pt x="170" y="424"/>
                      <a:pt x="168" y="428"/>
                    </a:cubicBezTo>
                    <a:cubicBezTo>
                      <a:pt x="170" y="424"/>
                      <a:pt x="168" y="422"/>
                      <a:pt x="165" y="418"/>
                    </a:cubicBezTo>
                    <a:cubicBezTo>
                      <a:pt x="164" y="417"/>
                      <a:pt x="163" y="417"/>
                      <a:pt x="161" y="416"/>
                    </a:cubicBezTo>
                    <a:moveTo>
                      <a:pt x="0" y="0"/>
                    </a:moveTo>
                    <a:cubicBezTo>
                      <a:pt x="0" y="0"/>
                      <a:pt x="0" y="0"/>
                      <a:pt x="0" y="0"/>
                    </a:cubicBezTo>
                    <a:cubicBezTo>
                      <a:pt x="40" y="97"/>
                      <a:pt x="40" y="97"/>
                      <a:pt x="40" y="97"/>
                    </a:cubicBezTo>
                    <a:cubicBezTo>
                      <a:pt x="40" y="97"/>
                      <a:pt x="48" y="109"/>
                      <a:pt x="52" y="121"/>
                    </a:cubicBezTo>
                    <a:cubicBezTo>
                      <a:pt x="55" y="134"/>
                      <a:pt x="55" y="149"/>
                      <a:pt x="55" y="149"/>
                    </a:cubicBezTo>
                    <a:cubicBezTo>
                      <a:pt x="73" y="325"/>
                      <a:pt x="73" y="325"/>
                      <a:pt x="73" y="325"/>
                    </a:cubicBezTo>
                    <a:cubicBezTo>
                      <a:pt x="58" y="328"/>
                      <a:pt x="58" y="328"/>
                      <a:pt x="58" y="328"/>
                    </a:cubicBezTo>
                    <a:cubicBezTo>
                      <a:pt x="73" y="325"/>
                      <a:pt x="73" y="325"/>
                      <a:pt x="73" y="325"/>
                    </a:cubicBezTo>
                    <a:cubicBezTo>
                      <a:pt x="81" y="384"/>
                      <a:pt x="81" y="384"/>
                      <a:pt x="81" y="384"/>
                    </a:cubicBezTo>
                    <a:cubicBezTo>
                      <a:pt x="91" y="388"/>
                      <a:pt x="117" y="400"/>
                      <a:pt x="138" y="410"/>
                    </a:cubicBezTo>
                    <a:cubicBezTo>
                      <a:pt x="117" y="400"/>
                      <a:pt x="91" y="388"/>
                      <a:pt x="81" y="384"/>
                    </a:cubicBezTo>
                    <a:cubicBezTo>
                      <a:pt x="73" y="325"/>
                      <a:pt x="73" y="325"/>
                      <a:pt x="73" y="325"/>
                    </a:cubicBezTo>
                    <a:cubicBezTo>
                      <a:pt x="55" y="149"/>
                      <a:pt x="55" y="149"/>
                      <a:pt x="55" y="149"/>
                    </a:cubicBezTo>
                    <a:cubicBezTo>
                      <a:pt x="55" y="149"/>
                      <a:pt x="55" y="134"/>
                      <a:pt x="52" y="121"/>
                    </a:cubicBezTo>
                    <a:cubicBezTo>
                      <a:pt x="48" y="109"/>
                      <a:pt x="40" y="97"/>
                      <a:pt x="40" y="97"/>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06" name="Freeform 267">
                <a:extLst>
                  <a:ext uri="{FF2B5EF4-FFF2-40B4-BE49-F238E27FC236}">
                    <a16:creationId xmlns:a16="http://schemas.microsoft.com/office/drawing/2014/main" id="{98384F1A-0A27-4585-AC86-ADD74D51A8D8}"/>
                  </a:ext>
                </a:extLst>
              </p:cNvPr>
              <p:cNvSpPr>
                <a:spLocks/>
              </p:cNvSpPr>
              <p:nvPr/>
            </p:nvSpPr>
            <p:spPr bwMode="auto">
              <a:xfrm>
                <a:off x="6353175" y="3000374"/>
                <a:ext cx="255588" cy="895350"/>
              </a:xfrm>
              <a:custGeom>
                <a:avLst/>
                <a:gdLst>
                  <a:gd name="T0" fmla="*/ 15 w 107"/>
                  <a:gd name="T1" fmla="*/ 0 h 376"/>
                  <a:gd name="T2" fmla="*/ 0 w 107"/>
                  <a:gd name="T3" fmla="*/ 8 h 376"/>
                  <a:gd name="T4" fmla="*/ 59 w 107"/>
                  <a:gd name="T5" fmla="*/ 155 h 376"/>
                  <a:gd name="T6" fmla="*/ 70 w 107"/>
                  <a:gd name="T7" fmla="*/ 178 h 376"/>
                  <a:gd name="T8" fmla="*/ 74 w 107"/>
                  <a:gd name="T9" fmla="*/ 207 h 376"/>
                  <a:gd name="T10" fmla="*/ 92 w 107"/>
                  <a:gd name="T11" fmla="*/ 376 h 376"/>
                  <a:gd name="T12" fmla="*/ 107 w 107"/>
                  <a:gd name="T13" fmla="*/ 372 h 376"/>
                  <a:gd name="T14" fmla="*/ 89 w 107"/>
                  <a:gd name="T15" fmla="*/ 196 h 376"/>
                  <a:gd name="T16" fmla="*/ 86 w 107"/>
                  <a:gd name="T17" fmla="*/ 168 h 376"/>
                  <a:gd name="T18" fmla="*/ 74 w 107"/>
                  <a:gd name="T19" fmla="*/ 144 h 376"/>
                  <a:gd name="T20" fmla="*/ 34 w 107"/>
                  <a:gd name="T21" fmla="*/ 47 h 376"/>
                  <a:gd name="T22" fmla="*/ 28 w 107"/>
                  <a:gd name="T23" fmla="*/ 32 h 376"/>
                  <a:gd name="T24" fmla="*/ 20 w 107"/>
                  <a:gd name="T25" fmla="*/ 11 h 376"/>
                  <a:gd name="T26" fmla="*/ 15 w 107"/>
                  <a:gd name="T27"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376">
                    <a:moveTo>
                      <a:pt x="15" y="0"/>
                    </a:moveTo>
                    <a:cubicBezTo>
                      <a:pt x="10" y="2"/>
                      <a:pt x="6" y="6"/>
                      <a:pt x="0" y="8"/>
                    </a:cubicBezTo>
                    <a:cubicBezTo>
                      <a:pt x="59" y="155"/>
                      <a:pt x="59" y="155"/>
                      <a:pt x="59" y="155"/>
                    </a:cubicBezTo>
                    <a:cubicBezTo>
                      <a:pt x="59" y="155"/>
                      <a:pt x="67" y="166"/>
                      <a:pt x="70" y="178"/>
                    </a:cubicBezTo>
                    <a:cubicBezTo>
                      <a:pt x="75" y="190"/>
                      <a:pt x="74" y="207"/>
                      <a:pt x="74" y="207"/>
                    </a:cubicBezTo>
                    <a:cubicBezTo>
                      <a:pt x="92" y="376"/>
                      <a:pt x="92" y="376"/>
                      <a:pt x="92" y="376"/>
                    </a:cubicBezTo>
                    <a:cubicBezTo>
                      <a:pt x="107" y="372"/>
                      <a:pt x="107" y="372"/>
                      <a:pt x="107" y="372"/>
                    </a:cubicBezTo>
                    <a:cubicBezTo>
                      <a:pt x="89" y="196"/>
                      <a:pt x="89" y="196"/>
                      <a:pt x="89" y="196"/>
                    </a:cubicBezTo>
                    <a:cubicBezTo>
                      <a:pt x="89" y="196"/>
                      <a:pt x="89" y="181"/>
                      <a:pt x="86" y="168"/>
                    </a:cubicBezTo>
                    <a:cubicBezTo>
                      <a:pt x="82" y="156"/>
                      <a:pt x="74" y="144"/>
                      <a:pt x="74" y="144"/>
                    </a:cubicBezTo>
                    <a:cubicBezTo>
                      <a:pt x="34" y="47"/>
                      <a:pt x="34" y="47"/>
                      <a:pt x="34" y="47"/>
                    </a:cubicBezTo>
                    <a:cubicBezTo>
                      <a:pt x="28" y="32"/>
                      <a:pt x="28" y="32"/>
                      <a:pt x="28" y="32"/>
                    </a:cubicBezTo>
                    <a:cubicBezTo>
                      <a:pt x="20" y="11"/>
                      <a:pt x="20" y="11"/>
                      <a:pt x="20" y="11"/>
                    </a:cubicBezTo>
                    <a:cubicBezTo>
                      <a:pt x="15" y="0"/>
                      <a:pt x="15" y="0"/>
                      <a:pt x="15" y="0"/>
                    </a:cubicBezTo>
                  </a:path>
                </a:pathLst>
              </a:custGeom>
              <a:solidFill>
                <a:srgbClr val="3346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07" name="Freeform 268">
                <a:extLst>
                  <a:ext uri="{FF2B5EF4-FFF2-40B4-BE49-F238E27FC236}">
                    <a16:creationId xmlns:a16="http://schemas.microsoft.com/office/drawing/2014/main" id="{E79E8FB8-55E6-43F4-B16A-DBC19DDE6ED5}"/>
                  </a:ext>
                </a:extLst>
              </p:cNvPr>
              <p:cNvSpPr>
                <a:spLocks/>
              </p:cNvSpPr>
              <p:nvPr/>
            </p:nvSpPr>
            <p:spPr bwMode="auto">
              <a:xfrm>
                <a:off x="6727825" y="4086224"/>
                <a:ext cx="112713" cy="69850"/>
              </a:xfrm>
              <a:custGeom>
                <a:avLst/>
                <a:gdLst>
                  <a:gd name="T0" fmla="*/ 15 w 47"/>
                  <a:gd name="T1" fmla="*/ 0 h 29"/>
                  <a:gd name="T2" fmla="*/ 15 w 47"/>
                  <a:gd name="T3" fmla="*/ 0 h 29"/>
                  <a:gd name="T4" fmla="*/ 0 w 47"/>
                  <a:gd name="T5" fmla="*/ 10 h 29"/>
                  <a:gd name="T6" fmla="*/ 27 w 47"/>
                  <a:gd name="T7" fmla="*/ 18 h 29"/>
                  <a:gd name="T8" fmla="*/ 30 w 47"/>
                  <a:gd name="T9" fmla="*/ 29 h 29"/>
                  <a:gd name="T10" fmla="*/ 45 w 47"/>
                  <a:gd name="T11" fmla="*/ 18 h 29"/>
                  <a:gd name="T12" fmla="*/ 42 w 47"/>
                  <a:gd name="T13" fmla="*/ 9 h 29"/>
                  <a:gd name="T14" fmla="*/ 38 w 47"/>
                  <a:gd name="T15" fmla="*/ 6 h 29"/>
                  <a:gd name="T16" fmla="*/ 15 w 47"/>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9">
                    <a:moveTo>
                      <a:pt x="15" y="0"/>
                    </a:moveTo>
                    <a:cubicBezTo>
                      <a:pt x="15" y="0"/>
                      <a:pt x="15" y="0"/>
                      <a:pt x="15" y="0"/>
                    </a:cubicBezTo>
                    <a:cubicBezTo>
                      <a:pt x="0" y="10"/>
                      <a:pt x="0" y="10"/>
                      <a:pt x="0" y="10"/>
                    </a:cubicBezTo>
                    <a:cubicBezTo>
                      <a:pt x="11" y="12"/>
                      <a:pt x="21" y="15"/>
                      <a:pt x="27" y="18"/>
                    </a:cubicBezTo>
                    <a:cubicBezTo>
                      <a:pt x="31" y="22"/>
                      <a:pt x="31" y="26"/>
                      <a:pt x="30" y="29"/>
                    </a:cubicBezTo>
                    <a:cubicBezTo>
                      <a:pt x="38" y="26"/>
                      <a:pt x="44" y="22"/>
                      <a:pt x="45" y="18"/>
                    </a:cubicBezTo>
                    <a:cubicBezTo>
                      <a:pt x="47" y="15"/>
                      <a:pt x="45" y="12"/>
                      <a:pt x="42" y="9"/>
                    </a:cubicBezTo>
                    <a:cubicBezTo>
                      <a:pt x="41" y="8"/>
                      <a:pt x="40" y="8"/>
                      <a:pt x="38" y="6"/>
                    </a:cubicBezTo>
                    <a:cubicBezTo>
                      <a:pt x="33" y="4"/>
                      <a:pt x="24" y="2"/>
                      <a:pt x="15" y="0"/>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08" name="Freeform 269">
                <a:extLst>
                  <a:ext uri="{FF2B5EF4-FFF2-40B4-BE49-F238E27FC236}">
                    <a16:creationId xmlns:a16="http://schemas.microsoft.com/office/drawing/2014/main" id="{8B7BD3DF-166B-46C5-8A1A-A15CFA228C8F}"/>
                  </a:ext>
                </a:extLst>
              </p:cNvPr>
              <p:cNvSpPr>
                <a:spLocks/>
              </p:cNvSpPr>
              <p:nvPr/>
            </p:nvSpPr>
            <p:spPr bwMode="auto">
              <a:xfrm>
                <a:off x="6570663" y="3881437"/>
                <a:ext cx="193675" cy="231775"/>
              </a:xfrm>
              <a:custGeom>
                <a:avLst/>
                <a:gdLst>
                  <a:gd name="T0" fmla="*/ 16 w 81"/>
                  <a:gd name="T1" fmla="*/ 0 h 97"/>
                  <a:gd name="T2" fmla="*/ 0 w 81"/>
                  <a:gd name="T3" fmla="*/ 4 h 97"/>
                  <a:gd name="T4" fmla="*/ 0 w 81"/>
                  <a:gd name="T5" fmla="*/ 10 h 97"/>
                  <a:gd name="T6" fmla="*/ 9 w 81"/>
                  <a:gd name="T7" fmla="*/ 72 h 97"/>
                  <a:gd name="T8" fmla="*/ 66 w 81"/>
                  <a:gd name="T9" fmla="*/ 97 h 97"/>
                  <a:gd name="T10" fmla="*/ 81 w 81"/>
                  <a:gd name="T11" fmla="*/ 87 h 97"/>
                  <a:gd name="T12" fmla="*/ 24 w 81"/>
                  <a:gd name="T13" fmla="*/ 61 h 97"/>
                  <a:gd name="T14" fmla="*/ 16 w 81"/>
                  <a:gd name="T15" fmla="*/ 0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7">
                    <a:moveTo>
                      <a:pt x="16" y="0"/>
                    </a:moveTo>
                    <a:cubicBezTo>
                      <a:pt x="0" y="4"/>
                      <a:pt x="0" y="4"/>
                      <a:pt x="0" y="4"/>
                    </a:cubicBezTo>
                    <a:cubicBezTo>
                      <a:pt x="0" y="10"/>
                      <a:pt x="0" y="10"/>
                      <a:pt x="0" y="10"/>
                    </a:cubicBezTo>
                    <a:cubicBezTo>
                      <a:pt x="9" y="72"/>
                      <a:pt x="9" y="72"/>
                      <a:pt x="9" y="72"/>
                    </a:cubicBezTo>
                    <a:cubicBezTo>
                      <a:pt x="18" y="74"/>
                      <a:pt x="44" y="87"/>
                      <a:pt x="66" y="97"/>
                    </a:cubicBezTo>
                    <a:cubicBezTo>
                      <a:pt x="81" y="87"/>
                      <a:pt x="81" y="87"/>
                      <a:pt x="81" y="87"/>
                    </a:cubicBezTo>
                    <a:cubicBezTo>
                      <a:pt x="60" y="77"/>
                      <a:pt x="34" y="65"/>
                      <a:pt x="24" y="61"/>
                    </a:cubicBezTo>
                    <a:cubicBezTo>
                      <a:pt x="16" y="0"/>
                      <a:pt x="16" y="0"/>
                      <a:pt x="16" y="0"/>
                    </a:cubicBezTo>
                  </a:path>
                </a:pathLst>
              </a:custGeom>
              <a:solidFill>
                <a:srgbClr val="B186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09" name="Freeform 270">
                <a:extLst>
                  <a:ext uri="{FF2B5EF4-FFF2-40B4-BE49-F238E27FC236}">
                    <a16:creationId xmlns:a16="http://schemas.microsoft.com/office/drawing/2014/main" id="{27FF29E7-FF7B-4234-AAA3-7AF843AF99CF}"/>
                  </a:ext>
                </a:extLst>
              </p:cNvPr>
              <p:cNvSpPr>
                <a:spLocks/>
              </p:cNvSpPr>
              <p:nvPr/>
            </p:nvSpPr>
            <p:spPr bwMode="auto">
              <a:xfrm>
                <a:off x="6327775" y="2946399"/>
                <a:ext cx="61913" cy="73025"/>
              </a:xfrm>
              <a:custGeom>
                <a:avLst/>
                <a:gdLst>
                  <a:gd name="T0" fmla="*/ 17 w 26"/>
                  <a:gd name="T1" fmla="*/ 0 h 31"/>
                  <a:gd name="T2" fmla="*/ 1 w 26"/>
                  <a:gd name="T3" fmla="*/ 3 h 31"/>
                  <a:gd name="T4" fmla="*/ 0 w 26"/>
                  <a:gd name="T5" fmla="*/ 5 h 31"/>
                  <a:gd name="T6" fmla="*/ 11 w 26"/>
                  <a:gd name="T7" fmla="*/ 31 h 31"/>
                  <a:gd name="T8" fmla="*/ 26 w 26"/>
                  <a:gd name="T9" fmla="*/ 23 h 31"/>
                  <a:gd name="T10" fmla="*/ 17 w 26"/>
                  <a:gd name="T11" fmla="*/ 0 h 31"/>
                </a:gdLst>
                <a:ahLst/>
                <a:cxnLst>
                  <a:cxn ang="0">
                    <a:pos x="T0" y="T1"/>
                  </a:cxn>
                  <a:cxn ang="0">
                    <a:pos x="T2" y="T3"/>
                  </a:cxn>
                  <a:cxn ang="0">
                    <a:pos x="T4" y="T5"/>
                  </a:cxn>
                  <a:cxn ang="0">
                    <a:pos x="T6" y="T7"/>
                  </a:cxn>
                  <a:cxn ang="0">
                    <a:pos x="T8" y="T9"/>
                  </a:cxn>
                  <a:cxn ang="0">
                    <a:pos x="T10" y="T11"/>
                  </a:cxn>
                </a:cxnLst>
                <a:rect l="0" t="0" r="r" b="b"/>
                <a:pathLst>
                  <a:path w="26" h="31">
                    <a:moveTo>
                      <a:pt x="17" y="0"/>
                    </a:moveTo>
                    <a:cubicBezTo>
                      <a:pt x="1" y="3"/>
                      <a:pt x="1" y="3"/>
                      <a:pt x="1" y="3"/>
                    </a:cubicBezTo>
                    <a:cubicBezTo>
                      <a:pt x="0" y="4"/>
                      <a:pt x="0" y="5"/>
                      <a:pt x="0" y="5"/>
                    </a:cubicBezTo>
                    <a:cubicBezTo>
                      <a:pt x="11" y="31"/>
                      <a:pt x="11" y="31"/>
                      <a:pt x="11" y="31"/>
                    </a:cubicBezTo>
                    <a:cubicBezTo>
                      <a:pt x="17" y="29"/>
                      <a:pt x="22" y="25"/>
                      <a:pt x="26" y="23"/>
                    </a:cubicBezTo>
                    <a:cubicBezTo>
                      <a:pt x="17" y="0"/>
                      <a:pt x="17" y="0"/>
                      <a:pt x="1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10" name="Freeform 271">
                <a:extLst>
                  <a:ext uri="{FF2B5EF4-FFF2-40B4-BE49-F238E27FC236}">
                    <a16:creationId xmlns:a16="http://schemas.microsoft.com/office/drawing/2014/main" id="{792154A6-BC2C-4073-8099-14B915D7A972}"/>
                  </a:ext>
                </a:extLst>
              </p:cNvPr>
              <p:cNvSpPr>
                <a:spLocks/>
              </p:cNvSpPr>
              <p:nvPr/>
            </p:nvSpPr>
            <p:spPr bwMode="auto">
              <a:xfrm>
                <a:off x="6323013" y="2951162"/>
                <a:ext cx="4763" cy="6350"/>
              </a:xfrm>
              <a:custGeom>
                <a:avLst/>
                <a:gdLst>
                  <a:gd name="T0" fmla="*/ 2 w 2"/>
                  <a:gd name="T1" fmla="*/ 0 h 3"/>
                  <a:gd name="T2" fmla="*/ 0 w 2"/>
                  <a:gd name="T3" fmla="*/ 0 h 3"/>
                  <a:gd name="T4" fmla="*/ 1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1" y="3"/>
                      <a:pt x="1" y="3"/>
                      <a:pt x="1" y="3"/>
                    </a:cubicBezTo>
                    <a:cubicBezTo>
                      <a:pt x="1" y="3"/>
                      <a:pt x="1" y="2"/>
                      <a:pt x="2"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11" name="Freeform 272">
                <a:extLst>
                  <a:ext uri="{FF2B5EF4-FFF2-40B4-BE49-F238E27FC236}">
                    <a16:creationId xmlns:a16="http://schemas.microsoft.com/office/drawing/2014/main" id="{4B7A05F9-BE7A-46A9-9919-79FC64669157}"/>
                  </a:ext>
                </a:extLst>
              </p:cNvPr>
              <p:cNvSpPr>
                <a:spLocks/>
              </p:cNvSpPr>
              <p:nvPr/>
            </p:nvSpPr>
            <p:spPr bwMode="auto">
              <a:xfrm>
                <a:off x="5991225" y="2366962"/>
                <a:ext cx="280988" cy="733425"/>
              </a:xfrm>
              <a:custGeom>
                <a:avLst/>
                <a:gdLst>
                  <a:gd name="T0" fmla="*/ 1 w 118"/>
                  <a:gd name="T1" fmla="*/ 0 h 308"/>
                  <a:gd name="T2" fmla="*/ 1 w 118"/>
                  <a:gd name="T3" fmla="*/ 0 h 308"/>
                  <a:gd name="T4" fmla="*/ 0 w 118"/>
                  <a:gd name="T5" fmla="*/ 11 h 308"/>
                  <a:gd name="T6" fmla="*/ 0 w 118"/>
                  <a:gd name="T7" fmla="*/ 22 h 308"/>
                  <a:gd name="T8" fmla="*/ 5 w 118"/>
                  <a:gd name="T9" fmla="*/ 251 h 308"/>
                  <a:gd name="T10" fmla="*/ 4 w 118"/>
                  <a:gd name="T11" fmla="*/ 283 h 308"/>
                  <a:gd name="T12" fmla="*/ 4 w 118"/>
                  <a:gd name="T13" fmla="*/ 284 h 308"/>
                  <a:gd name="T14" fmla="*/ 6 w 118"/>
                  <a:gd name="T15" fmla="*/ 293 h 308"/>
                  <a:gd name="T16" fmla="*/ 55 w 118"/>
                  <a:gd name="T17" fmla="*/ 308 h 308"/>
                  <a:gd name="T18" fmla="*/ 118 w 118"/>
                  <a:gd name="T19" fmla="*/ 289 h 308"/>
                  <a:gd name="T20" fmla="*/ 71 w 118"/>
                  <a:gd name="T21" fmla="*/ 299 h 308"/>
                  <a:gd name="T22" fmla="*/ 20 w 118"/>
                  <a:gd name="T23" fmla="*/ 274 h 308"/>
                  <a:gd name="T24" fmla="*/ 11 w 118"/>
                  <a:gd name="T25" fmla="*/ 2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308">
                    <a:moveTo>
                      <a:pt x="1" y="0"/>
                    </a:moveTo>
                    <a:cubicBezTo>
                      <a:pt x="1" y="0"/>
                      <a:pt x="1" y="0"/>
                      <a:pt x="1" y="0"/>
                    </a:cubicBezTo>
                    <a:cubicBezTo>
                      <a:pt x="0" y="5"/>
                      <a:pt x="0" y="10"/>
                      <a:pt x="0" y="11"/>
                    </a:cubicBezTo>
                    <a:cubicBezTo>
                      <a:pt x="0" y="22"/>
                      <a:pt x="0" y="22"/>
                      <a:pt x="0" y="22"/>
                    </a:cubicBezTo>
                    <a:cubicBezTo>
                      <a:pt x="0" y="74"/>
                      <a:pt x="5" y="192"/>
                      <a:pt x="5" y="251"/>
                    </a:cubicBezTo>
                    <a:cubicBezTo>
                      <a:pt x="5" y="266"/>
                      <a:pt x="4" y="277"/>
                      <a:pt x="4" y="283"/>
                    </a:cubicBezTo>
                    <a:cubicBezTo>
                      <a:pt x="4" y="284"/>
                      <a:pt x="4" y="284"/>
                      <a:pt x="4" y="284"/>
                    </a:cubicBezTo>
                    <a:cubicBezTo>
                      <a:pt x="4" y="288"/>
                      <a:pt x="4" y="290"/>
                      <a:pt x="6" y="293"/>
                    </a:cubicBezTo>
                    <a:cubicBezTo>
                      <a:pt x="13" y="302"/>
                      <a:pt x="33" y="308"/>
                      <a:pt x="55" y="308"/>
                    </a:cubicBezTo>
                    <a:cubicBezTo>
                      <a:pt x="76" y="308"/>
                      <a:pt x="100" y="302"/>
                      <a:pt x="118" y="289"/>
                    </a:cubicBezTo>
                    <a:cubicBezTo>
                      <a:pt x="103" y="295"/>
                      <a:pt x="86" y="299"/>
                      <a:pt x="71" y="299"/>
                    </a:cubicBezTo>
                    <a:cubicBezTo>
                      <a:pt x="42" y="299"/>
                      <a:pt x="18" y="288"/>
                      <a:pt x="20" y="274"/>
                    </a:cubicBezTo>
                    <a:cubicBezTo>
                      <a:pt x="23" y="246"/>
                      <a:pt x="10" y="82"/>
                      <a:pt x="11" y="29"/>
                    </a:cubicBezTo>
                  </a:path>
                </a:pathLst>
              </a:custGeom>
              <a:solidFill>
                <a:srgbClr val="006C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12" name="Freeform 273">
                <a:extLst>
                  <a:ext uri="{FF2B5EF4-FFF2-40B4-BE49-F238E27FC236}">
                    <a16:creationId xmlns:a16="http://schemas.microsoft.com/office/drawing/2014/main" id="{3599327A-2D56-4DAD-AE76-32005C4929EC}"/>
                  </a:ext>
                </a:extLst>
              </p:cNvPr>
              <p:cNvSpPr>
                <a:spLocks/>
              </p:cNvSpPr>
              <p:nvPr/>
            </p:nvSpPr>
            <p:spPr bwMode="auto">
              <a:xfrm>
                <a:off x="5864225" y="3195637"/>
                <a:ext cx="612775" cy="504825"/>
              </a:xfrm>
              <a:custGeom>
                <a:avLst/>
                <a:gdLst>
                  <a:gd name="T0" fmla="*/ 51 w 386"/>
                  <a:gd name="T1" fmla="*/ 0 h 318"/>
                  <a:gd name="T2" fmla="*/ 386 w 386"/>
                  <a:gd name="T3" fmla="*/ 68 h 318"/>
                  <a:gd name="T4" fmla="*/ 335 w 386"/>
                  <a:gd name="T5" fmla="*/ 318 h 318"/>
                  <a:gd name="T6" fmla="*/ 0 w 386"/>
                  <a:gd name="T7" fmla="*/ 251 h 318"/>
                  <a:gd name="T8" fmla="*/ 51 w 386"/>
                  <a:gd name="T9" fmla="*/ 0 h 318"/>
                </a:gdLst>
                <a:ahLst/>
                <a:cxnLst>
                  <a:cxn ang="0">
                    <a:pos x="T0" y="T1"/>
                  </a:cxn>
                  <a:cxn ang="0">
                    <a:pos x="T2" y="T3"/>
                  </a:cxn>
                  <a:cxn ang="0">
                    <a:pos x="T4" y="T5"/>
                  </a:cxn>
                  <a:cxn ang="0">
                    <a:pos x="T6" y="T7"/>
                  </a:cxn>
                  <a:cxn ang="0">
                    <a:pos x="T8" y="T9"/>
                  </a:cxn>
                </a:cxnLst>
                <a:rect l="0" t="0" r="r" b="b"/>
                <a:pathLst>
                  <a:path w="386" h="318">
                    <a:moveTo>
                      <a:pt x="51" y="0"/>
                    </a:moveTo>
                    <a:lnTo>
                      <a:pt x="386" y="68"/>
                    </a:lnTo>
                    <a:lnTo>
                      <a:pt x="335" y="318"/>
                    </a:lnTo>
                    <a:lnTo>
                      <a:pt x="0" y="251"/>
                    </a:lnTo>
                    <a:lnTo>
                      <a:pt x="51" y="0"/>
                    </a:lnTo>
                    <a:close/>
                  </a:path>
                </a:pathLst>
              </a:custGeom>
              <a:solidFill>
                <a:srgbClr val="868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13" name="Freeform 274">
                <a:extLst>
                  <a:ext uri="{FF2B5EF4-FFF2-40B4-BE49-F238E27FC236}">
                    <a16:creationId xmlns:a16="http://schemas.microsoft.com/office/drawing/2014/main" id="{3C7D9BCF-7FD7-4DCE-AB27-6B1AEDC9369D}"/>
                  </a:ext>
                </a:extLst>
              </p:cNvPr>
              <p:cNvSpPr>
                <a:spLocks/>
              </p:cNvSpPr>
              <p:nvPr/>
            </p:nvSpPr>
            <p:spPr bwMode="auto">
              <a:xfrm>
                <a:off x="6281738" y="3279774"/>
                <a:ext cx="195263" cy="420687"/>
              </a:xfrm>
              <a:custGeom>
                <a:avLst/>
                <a:gdLst>
                  <a:gd name="T0" fmla="*/ 123 w 123"/>
                  <a:gd name="T1" fmla="*/ 15 h 265"/>
                  <a:gd name="T2" fmla="*/ 102 w 123"/>
                  <a:gd name="T3" fmla="*/ 10 h 265"/>
                  <a:gd name="T4" fmla="*/ 51 w 123"/>
                  <a:gd name="T5" fmla="*/ 0 h 265"/>
                  <a:gd name="T6" fmla="*/ 0 w 123"/>
                  <a:gd name="T7" fmla="*/ 252 h 265"/>
                  <a:gd name="T8" fmla="*/ 72 w 123"/>
                  <a:gd name="T9" fmla="*/ 265 h 265"/>
                  <a:gd name="T10" fmla="*/ 123 w 123"/>
                  <a:gd name="T11" fmla="*/ 15 h 265"/>
                </a:gdLst>
                <a:ahLst/>
                <a:cxnLst>
                  <a:cxn ang="0">
                    <a:pos x="T0" y="T1"/>
                  </a:cxn>
                  <a:cxn ang="0">
                    <a:pos x="T2" y="T3"/>
                  </a:cxn>
                  <a:cxn ang="0">
                    <a:pos x="T4" y="T5"/>
                  </a:cxn>
                  <a:cxn ang="0">
                    <a:pos x="T6" y="T7"/>
                  </a:cxn>
                  <a:cxn ang="0">
                    <a:pos x="T8" y="T9"/>
                  </a:cxn>
                  <a:cxn ang="0">
                    <a:pos x="T10" y="T11"/>
                  </a:cxn>
                </a:cxnLst>
                <a:rect l="0" t="0" r="r" b="b"/>
                <a:pathLst>
                  <a:path w="123" h="265">
                    <a:moveTo>
                      <a:pt x="123" y="15"/>
                    </a:moveTo>
                    <a:lnTo>
                      <a:pt x="102" y="10"/>
                    </a:lnTo>
                    <a:lnTo>
                      <a:pt x="51" y="0"/>
                    </a:lnTo>
                    <a:lnTo>
                      <a:pt x="0" y="252"/>
                    </a:lnTo>
                    <a:lnTo>
                      <a:pt x="72" y="265"/>
                    </a:lnTo>
                    <a:lnTo>
                      <a:pt x="123" y="15"/>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14" name="Freeform 275">
                <a:extLst>
                  <a:ext uri="{FF2B5EF4-FFF2-40B4-BE49-F238E27FC236}">
                    <a16:creationId xmlns:a16="http://schemas.microsoft.com/office/drawing/2014/main" id="{58F8C38F-DFDA-45F3-9072-68DC325F7DB1}"/>
                  </a:ext>
                </a:extLst>
              </p:cNvPr>
              <p:cNvSpPr>
                <a:spLocks/>
              </p:cNvSpPr>
              <p:nvPr/>
            </p:nvSpPr>
            <p:spPr bwMode="auto">
              <a:xfrm>
                <a:off x="6108700" y="3146424"/>
                <a:ext cx="196850" cy="125412"/>
              </a:xfrm>
              <a:custGeom>
                <a:avLst/>
                <a:gdLst>
                  <a:gd name="T0" fmla="*/ 96 w 124"/>
                  <a:gd name="T1" fmla="*/ 76 h 79"/>
                  <a:gd name="T2" fmla="*/ 105 w 124"/>
                  <a:gd name="T3" fmla="*/ 36 h 79"/>
                  <a:gd name="T4" fmla="*/ 21 w 124"/>
                  <a:gd name="T5" fmla="*/ 18 h 79"/>
                  <a:gd name="T6" fmla="*/ 13 w 124"/>
                  <a:gd name="T7" fmla="*/ 57 h 79"/>
                  <a:gd name="T8" fmla="*/ 0 w 124"/>
                  <a:gd name="T9" fmla="*/ 54 h 79"/>
                  <a:gd name="T10" fmla="*/ 10 w 124"/>
                  <a:gd name="T11" fmla="*/ 0 h 79"/>
                  <a:gd name="T12" fmla="*/ 124 w 124"/>
                  <a:gd name="T13" fmla="*/ 22 h 79"/>
                  <a:gd name="T14" fmla="*/ 112 w 124"/>
                  <a:gd name="T15" fmla="*/ 79 h 79"/>
                  <a:gd name="T16" fmla="*/ 96 w 124"/>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79">
                    <a:moveTo>
                      <a:pt x="96" y="76"/>
                    </a:moveTo>
                    <a:lnTo>
                      <a:pt x="105" y="36"/>
                    </a:lnTo>
                    <a:lnTo>
                      <a:pt x="21" y="18"/>
                    </a:lnTo>
                    <a:lnTo>
                      <a:pt x="13" y="57"/>
                    </a:lnTo>
                    <a:lnTo>
                      <a:pt x="0" y="54"/>
                    </a:lnTo>
                    <a:lnTo>
                      <a:pt x="10" y="0"/>
                    </a:lnTo>
                    <a:lnTo>
                      <a:pt x="124" y="22"/>
                    </a:lnTo>
                    <a:lnTo>
                      <a:pt x="112" y="79"/>
                    </a:lnTo>
                    <a:lnTo>
                      <a:pt x="96" y="76"/>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15" name="Freeform 276">
                <a:extLst>
                  <a:ext uri="{FF2B5EF4-FFF2-40B4-BE49-F238E27FC236}">
                    <a16:creationId xmlns:a16="http://schemas.microsoft.com/office/drawing/2014/main" id="{300BDFF6-B618-4060-A7FE-CDDD5B45A210}"/>
                  </a:ext>
                </a:extLst>
              </p:cNvPr>
              <p:cNvSpPr>
                <a:spLocks/>
              </p:cNvSpPr>
              <p:nvPr/>
            </p:nvSpPr>
            <p:spPr bwMode="auto">
              <a:xfrm>
                <a:off x="6067425" y="2933699"/>
                <a:ext cx="203200" cy="209550"/>
              </a:xfrm>
              <a:custGeom>
                <a:avLst/>
                <a:gdLst>
                  <a:gd name="T0" fmla="*/ 45 w 85"/>
                  <a:gd name="T1" fmla="*/ 0 h 88"/>
                  <a:gd name="T2" fmla="*/ 73 w 85"/>
                  <a:gd name="T3" fmla="*/ 68 h 88"/>
                  <a:gd name="T4" fmla="*/ 49 w 85"/>
                  <a:gd name="T5" fmla="*/ 88 h 88"/>
                  <a:gd name="T6" fmla="*/ 0 w 85"/>
                  <a:gd name="T7" fmla="*/ 15 h 88"/>
                  <a:gd name="T8" fmla="*/ 45 w 85"/>
                  <a:gd name="T9" fmla="*/ 0 h 88"/>
                </a:gdLst>
                <a:ahLst/>
                <a:cxnLst>
                  <a:cxn ang="0">
                    <a:pos x="T0" y="T1"/>
                  </a:cxn>
                  <a:cxn ang="0">
                    <a:pos x="T2" y="T3"/>
                  </a:cxn>
                  <a:cxn ang="0">
                    <a:pos x="T4" y="T5"/>
                  </a:cxn>
                  <a:cxn ang="0">
                    <a:pos x="T6" y="T7"/>
                  </a:cxn>
                  <a:cxn ang="0">
                    <a:pos x="T8" y="T9"/>
                  </a:cxn>
                </a:cxnLst>
                <a:rect l="0" t="0" r="r" b="b"/>
                <a:pathLst>
                  <a:path w="85" h="88">
                    <a:moveTo>
                      <a:pt x="45" y="0"/>
                    </a:moveTo>
                    <a:cubicBezTo>
                      <a:pt x="45" y="0"/>
                      <a:pt x="59" y="49"/>
                      <a:pt x="73" y="68"/>
                    </a:cubicBezTo>
                    <a:cubicBezTo>
                      <a:pt x="85" y="86"/>
                      <a:pt x="49" y="88"/>
                      <a:pt x="49" y="88"/>
                    </a:cubicBezTo>
                    <a:cubicBezTo>
                      <a:pt x="0" y="15"/>
                      <a:pt x="0" y="15"/>
                      <a:pt x="0" y="15"/>
                    </a:cubicBezTo>
                    <a:cubicBezTo>
                      <a:pt x="45" y="0"/>
                      <a:pt x="45" y="0"/>
                      <a:pt x="45" y="0"/>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16" name="Freeform 277">
                <a:extLst>
                  <a:ext uri="{FF2B5EF4-FFF2-40B4-BE49-F238E27FC236}">
                    <a16:creationId xmlns:a16="http://schemas.microsoft.com/office/drawing/2014/main" id="{6B03C135-7961-4373-B17E-32C0D4E238CC}"/>
                  </a:ext>
                </a:extLst>
              </p:cNvPr>
              <p:cNvSpPr>
                <a:spLocks/>
              </p:cNvSpPr>
              <p:nvPr/>
            </p:nvSpPr>
            <p:spPr bwMode="auto">
              <a:xfrm>
                <a:off x="6156325" y="3090862"/>
                <a:ext cx="133350" cy="150812"/>
              </a:xfrm>
              <a:custGeom>
                <a:avLst/>
                <a:gdLst>
                  <a:gd name="T0" fmla="*/ 35 w 56"/>
                  <a:gd name="T1" fmla="*/ 2 h 63"/>
                  <a:gd name="T2" fmla="*/ 35 w 56"/>
                  <a:gd name="T3" fmla="*/ 2 h 63"/>
                  <a:gd name="T4" fmla="*/ 28 w 56"/>
                  <a:gd name="T5" fmla="*/ 1 h 63"/>
                  <a:gd name="T6" fmla="*/ 6 w 56"/>
                  <a:gd name="T7" fmla="*/ 10 h 63"/>
                  <a:gd name="T8" fmla="*/ 2 w 56"/>
                  <a:gd name="T9" fmla="*/ 20 h 63"/>
                  <a:gd name="T10" fmla="*/ 7 w 56"/>
                  <a:gd name="T11" fmla="*/ 24 h 63"/>
                  <a:gd name="T12" fmla="*/ 3 w 56"/>
                  <a:gd name="T13" fmla="*/ 34 h 63"/>
                  <a:gd name="T14" fmla="*/ 12 w 56"/>
                  <a:gd name="T15" fmla="*/ 38 h 63"/>
                  <a:gd name="T16" fmla="*/ 10 w 56"/>
                  <a:gd name="T17" fmla="*/ 47 h 63"/>
                  <a:gd name="T18" fmla="*/ 19 w 56"/>
                  <a:gd name="T19" fmla="*/ 51 h 63"/>
                  <a:gd name="T20" fmla="*/ 23 w 56"/>
                  <a:gd name="T21" fmla="*/ 49 h 63"/>
                  <a:gd name="T22" fmla="*/ 20 w 56"/>
                  <a:gd name="T23" fmla="*/ 57 h 63"/>
                  <a:gd name="T24" fmla="*/ 30 w 56"/>
                  <a:gd name="T25" fmla="*/ 61 h 63"/>
                  <a:gd name="T26" fmla="*/ 49 w 56"/>
                  <a:gd name="T27" fmla="*/ 53 h 63"/>
                  <a:gd name="T28" fmla="*/ 53 w 56"/>
                  <a:gd name="T29" fmla="*/ 45 h 63"/>
                  <a:gd name="T30" fmla="*/ 35 w 56"/>
                  <a:gd name="T31" fmla="*/ 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63">
                    <a:moveTo>
                      <a:pt x="35" y="2"/>
                    </a:moveTo>
                    <a:cubicBezTo>
                      <a:pt x="35" y="2"/>
                      <a:pt x="35" y="2"/>
                      <a:pt x="35" y="2"/>
                    </a:cubicBezTo>
                    <a:cubicBezTo>
                      <a:pt x="33" y="0"/>
                      <a:pt x="30" y="0"/>
                      <a:pt x="28" y="1"/>
                    </a:cubicBezTo>
                    <a:cubicBezTo>
                      <a:pt x="6" y="10"/>
                      <a:pt x="6" y="10"/>
                      <a:pt x="6" y="10"/>
                    </a:cubicBezTo>
                    <a:cubicBezTo>
                      <a:pt x="1" y="12"/>
                      <a:pt x="0" y="16"/>
                      <a:pt x="2" y="20"/>
                    </a:cubicBezTo>
                    <a:cubicBezTo>
                      <a:pt x="3" y="23"/>
                      <a:pt x="5" y="23"/>
                      <a:pt x="7" y="24"/>
                    </a:cubicBezTo>
                    <a:cubicBezTo>
                      <a:pt x="3" y="25"/>
                      <a:pt x="1" y="30"/>
                      <a:pt x="3" y="34"/>
                    </a:cubicBezTo>
                    <a:cubicBezTo>
                      <a:pt x="4" y="37"/>
                      <a:pt x="8" y="38"/>
                      <a:pt x="12" y="38"/>
                    </a:cubicBezTo>
                    <a:cubicBezTo>
                      <a:pt x="9" y="41"/>
                      <a:pt x="9" y="43"/>
                      <a:pt x="10" y="47"/>
                    </a:cubicBezTo>
                    <a:cubicBezTo>
                      <a:pt x="12" y="50"/>
                      <a:pt x="15" y="53"/>
                      <a:pt x="19" y="51"/>
                    </a:cubicBezTo>
                    <a:cubicBezTo>
                      <a:pt x="23" y="49"/>
                      <a:pt x="23" y="49"/>
                      <a:pt x="23" y="49"/>
                    </a:cubicBezTo>
                    <a:cubicBezTo>
                      <a:pt x="20" y="51"/>
                      <a:pt x="19" y="54"/>
                      <a:pt x="20" y="57"/>
                    </a:cubicBezTo>
                    <a:cubicBezTo>
                      <a:pt x="22" y="62"/>
                      <a:pt x="27" y="63"/>
                      <a:pt x="30" y="61"/>
                    </a:cubicBezTo>
                    <a:cubicBezTo>
                      <a:pt x="49" y="53"/>
                      <a:pt x="49" y="53"/>
                      <a:pt x="49" y="53"/>
                    </a:cubicBezTo>
                    <a:cubicBezTo>
                      <a:pt x="51" y="52"/>
                      <a:pt x="54" y="47"/>
                      <a:pt x="53" y="45"/>
                    </a:cubicBezTo>
                    <a:cubicBezTo>
                      <a:pt x="56" y="28"/>
                      <a:pt x="35" y="2"/>
                      <a:pt x="35" y="2"/>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17" name="Freeform 278">
                <a:extLst>
                  <a:ext uri="{FF2B5EF4-FFF2-40B4-BE49-F238E27FC236}">
                    <a16:creationId xmlns:a16="http://schemas.microsoft.com/office/drawing/2014/main" id="{065D53D5-88C5-42FF-9253-B9E5C91CDF27}"/>
                  </a:ext>
                </a:extLst>
              </p:cNvPr>
              <p:cNvSpPr>
                <a:spLocks noEditPoints="1"/>
              </p:cNvSpPr>
              <p:nvPr/>
            </p:nvSpPr>
            <p:spPr bwMode="auto">
              <a:xfrm>
                <a:off x="6083300" y="2320925"/>
                <a:ext cx="79375" cy="436562"/>
              </a:xfrm>
              <a:custGeom>
                <a:avLst/>
                <a:gdLst>
                  <a:gd name="T0" fmla="*/ 0 w 33"/>
                  <a:gd name="T1" fmla="*/ 163 h 183"/>
                  <a:gd name="T2" fmla="*/ 0 w 33"/>
                  <a:gd name="T3" fmla="*/ 163 h 183"/>
                  <a:gd name="T4" fmla="*/ 10 w 33"/>
                  <a:gd name="T5" fmla="*/ 183 h 183"/>
                  <a:gd name="T6" fmla="*/ 0 w 33"/>
                  <a:gd name="T7" fmla="*/ 163 h 183"/>
                  <a:gd name="T8" fmla="*/ 20 w 33"/>
                  <a:gd name="T9" fmla="*/ 2 h 183"/>
                  <a:gd name="T10" fmla="*/ 16 w 33"/>
                  <a:gd name="T11" fmla="*/ 0 h 183"/>
                  <a:gd name="T12" fmla="*/ 4 w 33"/>
                  <a:gd name="T13" fmla="*/ 56 h 183"/>
                  <a:gd name="T14" fmla="*/ 23 w 33"/>
                  <a:gd name="T15" fmla="*/ 56 h 183"/>
                  <a:gd name="T16" fmla="*/ 30 w 33"/>
                  <a:gd name="T17" fmla="*/ 28 h 183"/>
                  <a:gd name="T18" fmla="*/ 20 w 33"/>
                  <a:gd name="T19" fmla="*/ 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183">
                    <a:moveTo>
                      <a:pt x="0" y="163"/>
                    </a:moveTo>
                    <a:cubicBezTo>
                      <a:pt x="0" y="163"/>
                      <a:pt x="0" y="163"/>
                      <a:pt x="0" y="163"/>
                    </a:cubicBezTo>
                    <a:cubicBezTo>
                      <a:pt x="10" y="183"/>
                      <a:pt x="10" y="183"/>
                      <a:pt x="10" y="183"/>
                    </a:cubicBezTo>
                    <a:cubicBezTo>
                      <a:pt x="0" y="163"/>
                      <a:pt x="0" y="163"/>
                      <a:pt x="0" y="163"/>
                    </a:cubicBezTo>
                    <a:moveTo>
                      <a:pt x="20" y="2"/>
                    </a:moveTo>
                    <a:cubicBezTo>
                      <a:pt x="18" y="0"/>
                      <a:pt x="16" y="0"/>
                      <a:pt x="16" y="0"/>
                    </a:cubicBezTo>
                    <a:cubicBezTo>
                      <a:pt x="4" y="56"/>
                      <a:pt x="4" y="56"/>
                      <a:pt x="4" y="56"/>
                    </a:cubicBezTo>
                    <a:cubicBezTo>
                      <a:pt x="23" y="56"/>
                      <a:pt x="23" y="56"/>
                      <a:pt x="23" y="56"/>
                    </a:cubicBezTo>
                    <a:cubicBezTo>
                      <a:pt x="26" y="42"/>
                      <a:pt x="29" y="31"/>
                      <a:pt x="30" y="28"/>
                    </a:cubicBezTo>
                    <a:cubicBezTo>
                      <a:pt x="33" y="18"/>
                      <a:pt x="24" y="7"/>
                      <a:pt x="20" y="2"/>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18" name="Freeform 279">
                <a:extLst>
                  <a:ext uri="{FF2B5EF4-FFF2-40B4-BE49-F238E27FC236}">
                    <a16:creationId xmlns:a16="http://schemas.microsoft.com/office/drawing/2014/main" id="{1822FDE5-F939-485D-8B2F-E1E4D4598779}"/>
                  </a:ext>
                </a:extLst>
              </p:cNvPr>
              <p:cNvSpPr>
                <a:spLocks/>
              </p:cNvSpPr>
              <p:nvPr/>
            </p:nvSpPr>
            <p:spPr bwMode="auto">
              <a:xfrm>
                <a:off x="5900738" y="2324100"/>
                <a:ext cx="323850" cy="741362"/>
              </a:xfrm>
              <a:custGeom>
                <a:avLst/>
                <a:gdLst>
                  <a:gd name="T0" fmla="*/ 27 w 136"/>
                  <a:gd name="T1" fmla="*/ 58 h 311"/>
                  <a:gd name="T2" fmla="*/ 2 w 136"/>
                  <a:gd name="T3" fmla="*/ 154 h 311"/>
                  <a:gd name="T4" fmla="*/ 2 w 136"/>
                  <a:gd name="T5" fmla="*/ 175 h 311"/>
                  <a:gd name="T6" fmla="*/ 7 w 136"/>
                  <a:gd name="T7" fmla="*/ 186 h 311"/>
                  <a:gd name="T8" fmla="*/ 18 w 136"/>
                  <a:gd name="T9" fmla="*/ 202 h 311"/>
                  <a:gd name="T10" fmla="*/ 89 w 136"/>
                  <a:gd name="T11" fmla="*/ 311 h 311"/>
                  <a:gd name="T12" fmla="*/ 136 w 136"/>
                  <a:gd name="T13" fmla="*/ 275 h 311"/>
                  <a:gd name="T14" fmla="*/ 77 w 136"/>
                  <a:gd name="T15" fmla="*/ 161 h 311"/>
                  <a:gd name="T16" fmla="*/ 101 w 136"/>
                  <a:gd name="T17" fmla="*/ 54 h 311"/>
                  <a:gd name="T18" fmla="*/ 43 w 136"/>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311">
                    <a:moveTo>
                      <a:pt x="27" y="58"/>
                    </a:moveTo>
                    <a:cubicBezTo>
                      <a:pt x="2" y="154"/>
                      <a:pt x="2" y="154"/>
                      <a:pt x="2" y="154"/>
                    </a:cubicBezTo>
                    <a:cubicBezTo>
                      <a:pt x="0" y="161"/>
                      <a:pt x="0" y="167"/>
                      <a:pt x="2" y="175"/>
                    </a:cubicBezTo>
                    <a:cubicBezTo>
                      <a:pt x="3" y="178"/>
                      <a:pt x="5" y="182"/>
                      <a:pt x="7" y="186"/>
                    </a:cubicBezTo>
                    <a:cubicBezTo>
                      <a:pt x="18" y="202"/>
                      <a:pt x="18" y="202"/>
                      <a:pt x="18" y="202"/>
                    </a:cubicBezTo>
                    <a:cubicBezTo>
                      <a:pt x="89" y="311"/>
                      <a:pt x="89" y="311"/>
                      <a:pt x="89" y="311"/>
                    </a:cubicBezTo>
                    <a:cubicBezTo>
                      <a:pt x="136" y="275"/>
                      <a:pt x="136" y="275"/>
                      <a:pt x="136" y="275"/>
                    </a:cubicBezTo>
                    <a:cubicBezTo>
                      <a:pt x="77" y="161"/>
                      <a:pt x="77" y="161"/>
                      <a:pt x="77" y="161"/>
                    </a:cubicBezTo>
                    <a:cubicBezTo>
                      <a:pt x="101" y="54"/>
                      <a:pt x="101" y="54"/>
                      <a:pt x="101" y="54"/>
                    </a:cubicBezTo>
                    <a:cubicBezTo>
                      <a:pt x="27" y="58"/>
                      <a:pt x="43" y="0"/>
                      <a:pt x="43" y="0"/>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19" name="Freeform 280">
                <a:extLst>
                  <a:ext uri="{FF2B5EF4-FFF2-40B4-BE49-F238E27FC236}">
                    <a16:creationId xmlns:a16="http://schemas.microsoft.com/office/drawing/2014/main" id="{596B55E6-67F7-4371-B702-5D83E93CE569}"/>
                  </a:ext>
                </a:extLst>
              </p:cNvPr>
              <p:cNvSpPr>
                <a:spLocks/>
              </p:cNvSpPr>
              <p:nvPr/>
            </p:nvSpPr>
            <p:spPr bwMode="auto">
              <a:xfrm>
                <a:off x="6038850" y="2454275"/>
                <a:ext cx="180975" cy="544512"/>
              </a:xfrm>
              <a:custGeom>
                <a:avLst/>
                <a:gdLst>
                  <a:gd name="T0" fmla="*/ 42 w 76"/>
                  <a:gd name="T1" fmla="*/ 0 h 228"/>
                  <a:gd name="T2" fmla="*/ 23 w 76"/>
                  <a:gd name="T3" fmla="*/ 0 h 228"/>
                  <a:gd name="T4" fmla="*/ 0 w 76"/>
                  <a:gd name="T5" fmla="*/ 99 h 228"/>
                  <a:gd name="T6" fmla="*/ 65 w 76"/>
                  <a:gd name="T7" fmla="*/ 228 h 228"/>
                  <a:gd name="T8" fmla="*/ 76 w 76"/>
                  <a:gd name="T9" fmla="*/ 219 h 228"/>
                  <a:gd name="T10" fmla="*/ 52 w 76"/>
                  <a:gd name="T11" fmla="*/ 174 h 228"/>
                  <a:gd name="T12" fmla="*/ 44 w 76"/>
                  <a:gd name="T13" fmla="*/ 158 h 228"/>
                  <a:gd name="T14" fmla="*/ 33 w 76"/>
                  <a:gd name="T15" fmla="*/ 135 h 228"/>
                  <a:gd name="T16" fmla="*/ 29 w 76"/>
                  <a:gd name="T17" fmla="*/ 127 h 228"/>
                  <a:gd name="T18" fmla="*/ 18 w 76"/>
                  <a:gd name="T19" fmla="*/ 106 h 228"/>
                  <a:gd name="T20" fmla="*/ 42 w 76"/>
                  <a:gd name="T21"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228">
                    <a:moveTo>
                      <a:pt x="42" y="0"/>
                    </a:moveTo>
                    <a:cubicBezTo>
                      <a:pt x="23" y="0"/>
                      <a:pt x="23" y="0"/>
                      <a:pt x="23" y="0"/>
                    </a:cubicBezTo>
                    <a:cubicBezTo>
                      <a:pt x="0" y="99"/>
                      <a:pt x="0" y="99"/>
                      <a:pt x="0" y="99"/>
                    </a:cubicBezTo>
                    <a:cubicBezTo>
                      <a:pt x="65" y="228"/>
                      <a:pt x="65" y="228"/>
                      <a:pt x="65" y="228"/>
                    </a:cubicBezTo>
                    <a:cubicBezTo>
                      <a:pt x="76" y="219"/>
                      <a:pt x="76" y="219"/>
                      <a:pt x="76" y="219"/>
                    </a:cubicBezTo>
                    <a:cubicBezTo>
                      <a:pt x="52" y="174"/>
                      <a:pt x="52" y="174"/>
                      <a:pt x="52" y="174"/>
                    </a:cubicBezTo>
                    <a:cubicBezTo>
                      <a:pt x="44" y="158"/>
                      <a:pt x="44" y="158"/>
                      <a:pt x="44" y="158"/>
                    </a:cubicBezTo>
                    <a:cubicBezTo>
                      <a:pt x="33" y="135"/>
                      <a:pt x="33" y="135"/>
                      <a:pt x="33" y="135"/>
                    </a:cubicBezTo>
                    <a:cubicBezTo>
                      <a:pt x="29" y="127"/>
                      <a:pt x="29" y="127"/>
                      <a:pt x="29" y="127"/>
                    </a:cubicBezTo>
                    <a:cubicBezTo>
                      <a:pt x="18" y="106"/>
                      <a:pt x="18" y="106"/>
                      <a:pt x="18" y="106"/>
                    </a:cubicBezTo>
                    <a:cubicBezTo>
                      <a:pt x="18" y="106"/>
                      <a:pt x="33" y="39"/>
                      <a:pt x="42"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20" name="Freeform 281">
                <a:extLst>
                  <a:ext uri="{FF2B5EF4-FFF2-40B4-BE49-F238E27FC236}">
                    <a16:creationId xmlns:a16="http://schemas.microsoft.com/office/drawing/2014/main" id="{F7673C1F-4E93-4677-9BAC-6519D1BCDD63}"/>
                  </a:ext>
                </a:extLst>
              </p:cNvPr>
              <p:cNvSpPr>
                <a:spLocks/>
              </p:cNvSpPr>
              <p:nvPr/>
            </p:nvSpPr>
            <p:spPr bwMode="auto">
              <a:xfrm>
                <a:off x="6851650" y="2143125"/>
                <a:ext cx="506413" cy="292100"/>
              </a:xfrm>
              <a:custGeom>
                <a:avLst/>
                <a:gdLst>
                  <a:gd name="T0" fmla="*/ 189 w 212"/>
                  <a:gd name="T1" fmla="*/ 121 h 123"/>
                  <a:gd name="T2" fmla="*/ 187 w 212"/>
                  <a:gd name="T3" fmla="*/ 123 h 123"/>
                  <a:gd name="T4" fmla="*/ 1 w 212"/>
                  <a:gd name="T5" fmla="*/ 123 h 123"/>
                  <a:gd name="T6" fmla="*/ 0 w 212"/>
                  <a:gd name="T7" fmla="*/ 121 h 123"/>
                  <a:gd name="T8" fmla="*/ 23 w 212"/>
                  <a:gd name="T9" fmla="*/ 2 h 123"/>
                  <a:gd name="T10" fmla="*/ 24 w 212"/>
                  <a:gd name="T11" fmla="*/ 0 h 123"/>
                  <a:gd name="T12" fmla="*/ 210 w 212"/>
                  <a:gd name="T13" fmla="*/ 0 h 123"/>
                  <a:gd name="T14" fmla="*/ 212 w 212"/>
                  <a:gd name="T15" fmla="*/ 2 h 123"/>
                  <a:gd name="T16" fmla="*/ 189 w 212"/>
                  <a:gd name="T17" fmla="*/ 12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23">
                    <a:moveTo>
                      <a:pt x="189" y="121"/>
                    </a:moveTo>
                    <a:cubicBezTo>
                      <a:pt x="189" y="122"/>
                      <a:pt x="188" y="123"/>
                      <a:pt x="187" y="123"/>
                    </a:cubicBezTo>
                    <a:cubicBezTo>
                      <a:pt x="1" y="123"/>
                      <a:pt x="1" y="123"/>
                      <a:pt x="1" y="123"/>
                    </a:cubicBezTo>
                    <a:cubicBezTo>
                      <a:pt x="0" y="123"/>
                      <a:pt x="0" y="122"/>
                      <a:pt x="0" y="121"/>
                    </a:cubicBezTo>
                    <a:cubicBezTo>
                      <a:pt x="23" y="2"/>
                      <a:pt x="23" y="2"/>
                      <a:pt x="23" y="2"/>
                    </a:cubicBezTo>
                    <a:cubicBezTo>
                      <a:pt x="23" y="1"/>
                      <a:pt x="24" y="0"/>
                      <a:pt x="24" y="0"/>
                    </a:cubicBezTo>
                    <a:cubicBezTo>
                      <a:pt x="210" y="0"/>
                      <a:pt x="210" y="0"/>
                      <a:pt x="210" y="0"/>
                    </a:cubicBezTo>
                    <a:cubicBezTo>
                      <a:pt x="211" y="0"/>
                      <a:pt x="212" y="1"/>
                      <a:pt x="212" y="2"/>
                    </a:cubicBezTo>
                    <a:cubicBezTo>
                      <a:pt x="189" y="121"/>
                      <a:pt x="189" y="121"/>
                      <a:pt x="189" y="12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21" name="Freeform 282">
                <a:extLst>
                  <a:ext uri="{FF2B5EF4-FFF2-40B4-BE49-F238E27FC236}">
                    <a16:creationId xmlns:a16="http://schemas.microsoft.com/office/drawing/2014/main" id="{94A7C090-328E-4139-96EF-FCB7AF9C470B}"/>
                  </a:ext>
                </a:extLst>
              </p:cNvPr>
              <p:cNvSpPr>
                <a:spLocks/>
              </p:cNvSpPr>
              <p:nvPr/>
            </p:nvSpPr>
            <p:spPr bwMode="auto">
              <a:xfrm>
                <a:off x="6894513" y="2173287"/>
                <a:ext cx="417513" cy="231775"/>
              </a:xfrm>
              <a:custGeom>
                <a:avLst/>
                <a:gdLst>
                  <a:gd name="T0" fmla="*/ 158 w 175"/>
                  <a:gd name="T1" fmla="*/ 94 h 97"/>
                  <a:gd name="T2" fmla="*/ 156 w 175"/>
                  <a:gd name="T3" fmla="*/ 97 h 97"/>
                  <a:gd name="T4" fmla="*/ 2 w 175"/>
                  <a:gd name="T5" fmla="*/ 97 h 97"/>
                  <a:gd name="T6" fmla="*/ 0 w 175"/>
                  <a:gd name="T7" fmla="*/ 94 h 97"/>
                  <a:gd name="T8" fmla="*/ 17 w 175"/>
                  <a:gd name="T9" fmla="*/ 3 h 97"/>
                  <a:gd name="T10" fmla="*/ 20 w 175"/>
                  <a:gd name="T11" fmla="*/ 0 h 97"/>
                  <a:gd name="T12" fmla="*/ 173 w 175"/>
                  <a:gd name="T13" fmla="*/ 0 h 97"/>
                  <a:gd name="T14" fmla="*/ 175 w 175"/>
                  <a:gd name="T15" fmla="*/ 3 h 97"/>
                  <a:gd name="T16" fmla="*/ 158 w 175"/>
                  <a:gd name="T17"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7">
                    <a:moveTo>
                      <a:pt x="158" y="94"/>
                    </a:moveTo>
                    <a:cubicBezTo>
                      <a:pt x="158" y="95"/>
                      <a:pt x="156" y="97"/>
                      <a:pt x="156" y="97"/>
                    </a:cubicBezTo>
                    <a:cubicBezTo>
                      <a:pt x="2" y="97"/>
                      <a:pt x="2" y="97"/>
                      <a:pt x="2" y="97"/>
                    </a:cubicBezTo>
                    <a:cubicBezTo>
                      <a:pt x="1" y="97"/>
                      <a:pt x="0" y="95"/>
                      <a:pt x="0" y="94"/>
                    </a:cubicBezTo>
                    <a:cubicBezTo>
                      <a:pt x="17" y="3"/>
                      <a:pt x="17" y="3"/>
                      <a:pt x="17" y="3"/>
                    </a:cubicBezTo>
                    <a:cubicBezTo>
                      <a:pt x="17" y="2"/>
                      <a:pt x="18" y="0"/>
                      <a:pt x="20" y="0"/>
                    </a:cubicBezTo>
                    <a:cubicBezTo>
                      <a:pt x="173" y="0"/>
                      <a:pt x="173" y="0"/>
                      <a:pt x="173" y="0"/>
                    </a:cubicBezTo>
                    <a:cubicBezTo>
                      <a:pt x="174" y="0"/>
                      <a:pt x="175" y="2"/>
                      <a:pt x="175" y="3"/>
                    </a:cubicBezTo>
                    <a:cubicBezTo>
                      <a:pt x="158" y="94"/>
                      <a:pt x="158" y="94"/>
                      <a:pt x="158" y="94"/>
                    </a:cubicBezTo>
                  </a:path>
                </a:pathLst>
              </a:custGeom>
              <a:solidFill>
                <a:srgbClr val="5E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pic>
            <p:nvPicPr>
              <p:cNvPr id="722" name="Picture 283">
                <a:extLst>
                  <a:ext uri="{FF2B5EF4-FFF2-40B4-BE49-F238E27FC236}">
                    <a16:creationId xmlns:a16="http://schemas.microsoft.com/office/drawing/2014/main" id="{807F3BD6-6C2A-41E9-8ED4-122D4B7787F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894513" y="2195512"/>
                <a:ext cx="407988" cy="214312"/>
              </a:xfrm>
              <a:prstGeom prst="rect">
                <a:avLst/>
              </a:prstGeom>
              <a:solidFill>
                <a:srgbClr val="7FBB42"/>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723" name="Freeform 284">
                <a:extLst>
                  <a:ext uri="{FF2B5EF4-FFF2-40B4-BE49-F238E27FC236}">
                    <a16:creationId xmlns:a16="http://schemas.microsoft.com/office/drawing/2014/main" id="{3D854F09-EA00-41B8-BC6C-ED971DC8FDCF}"/>
                  </a:ext>
                </a:extLst>
              </p:cNvPr>
              <p:cNvSpPr>
                <a:spLocks/>
              </p:cNvSpPr>
              <p:nvPr/>
            </p:nvSpPr>
            <p:spPr bwMode="auto">
              <a:xfrm>
                <a:off x="6985000" y="2219325"/>
                <a:ext cx="9525" cy="1587"/>
              </a:xfrm>
              <a:custGeom>
                <a:avLst/>
                <a:gdLst>
                  <a:gd name="T0" fmla="*/ 0 w 4"/>
                  <a:gd name="T1" fmla="*/ 0 h 1"/>
                  <a:gd name="T2" fmla="*/ 1 w 4"/>
                  <a:gd name="T3" fmla="*/ 0 h 1"/>
                  <a:gd name="T4" fmla="*/ 4 w 4"/>
                  <a:gd name="T5" fmla="*/ 1 h 1"/>
                  <a:gd name="T6" fmla="*/ 3 w 4"/>
                  <a:gd name="T7" fmla="*/ 1 h 1"/>
                  <a:gd name="T8" fmla="*/ 2 w 4"/>
                  <a:gd name="T9" fmla="*/ 1 h 1"/>
                  <a:gd name="T10" fmla="*/ 1 w 4"/>
                  <a:gd name="T11" fmla="*/ 1 h 1"/>
                  <a:gd name="T12" fmla="*/ 0 w 4"/>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4" h="1">
                    <a:moveTo>
                      <a:pt x="0" y="0"/>
                    </a:moveTo>
                    <a:cubicBezTo>
                      <a:pt x="1" y="0"/>
                      <a:pt x="1" y="0"/>
                      <a:pt x="1" y="0"/>
                    </a:cubicBezTo>
                    <a:cubicBezTo>
                      <a:pt x="2" y="1"/>
                      <a:pt x="3" y="1"/>
                      <a:pt x="4" y="1"/>
                    </a:cubicBezTo>
                    <a:cubicBezTo>
                      <a:pt x="3" y="1"/>
                      <a:pt x="3" y="1"/>
                      <a:pt x="3" y="1"/>
                    </a:cubicBezTo>
                    <a:cubicBezTo>
                      <a:pt x="3" y="1"/>
                      <a:pt x="2" y="1"/>
                      <a:pt x="2" y="1"/>
                    </a:cubicBezTo>
                    <a:cubicBezTo>
                      <a:pt x="1" y="1"/>
                      <a:pt x="1" y="1"/>
                      <a:pt x="1" y="1"/>
                    </a:cubicBezTo>
                    <a:cubicBezTo>
                      <a:pt x="1" y="0"/>
                      <a:pt x="1" y="0"/>
                      <a:pt x="0" y="0"/>
                    </a:cubicBez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24" name="Freeform 285">
                <a:extLst>
                  <a:ext uri="{FF2B5EF4-FFF2-40B4-BE49-F238E27FC236}">
                    <a16:creationId xmlns:a16="http://schemas.microsoft.com/office/drawing/2014/main" id="{494BDD80-7721-4781-BCCE-847136AE475D}"/>
                  </a:ext>
                </a:extLst>
              </p:cNvPr>
              <p:cNvSpPr>
                <a:spLocks/>
              </p:cNvSpPr>
              <p:nvPr/>
            </p:nvSpPr>
            <p:spPr bwMode="auto">
              <a:xfrm>
                <a:off x="6994525" y="22209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25" name="Freeform 286">
                <a:extLst>
                  <a:ext uri="{FF2B5EF4-FFF2-40B4-BE49-F238E27FC236}">
                    <a16:creationId xmlns:a16="http://schemas.microsoft.com/office/drawing/2014/main" id="{0F6EF960-E7CA-4EFD-8758-0FFFE4567CC6}"/>
                  </a:ext>
                </a:extLst>
              </p:cNvPr>
              <p:cNvSpPr>
                <a:spLocks/>
              </p:cNvSpPr>
              <p:nvPr/>
            </p:nvSpPr>
            <p:spPr bwMode="auto">
              <a:xfrm>
                <a:off x="7002463" y="2211387"/>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26" name="Freeform 287">
                <a:extLst>
                  <a:ext uri="{FF2B5EF4-FFF2-40B4-BE49-F238E27FC236}">
                    <a16:creationId xmlns:a16="http://schemas.microsoft.com/office/drawing/2014/main" id="{AB038B8E-DBB6-4D0E-A53C-932C675FB892}"/>
                  </a:ext>
                </a:extLst>
              </p:cNvPr>
              <p:cNvSpPr>
                <a:spLocks/>
              </p:cNvSpPr>
              <p:nvPr/>
            </p:nvSpPr>
            <p:spPr bwMode="auto">
              <a:xfrm>
                <a:off x="6994525" y="22209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27" name="Freeform 288">
                <a:extLst>
                  <a:ext uri="{FF2B5EF4-FFF2-40B4-BE49-F238E27FC236}">
                    <a16:creationId xmlns:a16="http://schemas.microsoft.com/office/drawing/2014/main" id="{572DB1E0-96CC-48F6-BEF4-AACC2605CB4B}"/>
                  </a:ext>
                </a:extLst>
              </p:cNvPr>
              <p:cNvSpPr>
                <a:spLocks/>
              </p:cNvSpPr>
              <p:nvPr/>
            </p:nvSpPr>
            <p:spPr bwMode="auto">
              <a:xfrm>
                <a:off x="7002463" y="221138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28" name="Freeform 289">
                <a:extLst>
                  <a:ext uri="{FF2B5EF4-FFF2-40B4-BE49-F238E27FC236}">
                    <a16:creationId xmlns:a16="http://schemas.microsoft.com/office/drawing/2014/main" id="{30CFB140-AD5E-45D8-800B-D25A310D03FA}"/>
                  </a:ext>
                </a:extLst>
              </p:cNvPr>
              <p:cNvSpPr>
                <a:spLocks/>
              </p:cNvSpPr>
              <p:nvPr/>
            </p:nvSpPr>
            <p:spPr bwMode="auto">
              <a:xfrm>
                <a:off x="6994525" y="221932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29" name="Rectangle 290">
                <a:extLst>
                  <a:ext uri="{FF2B5EF4-FFF2-40B4-BE49-F238E27FC236}">
                    <a16:creationId xmlns:a16="http://schemas.microsoft.com/office/drawing/2014/main" id="{7C7E7C47-6A7E-4F94-94E0-B6EA92C15BF9}"/>
                  </a:ext>
                </a:extLst>
              </p:cNvPr>
              <p:cNvSpPr>
                <a:spLocks noChangeArrowheads="1"/>
              </p:cNvSpPr>
              <p:nvPr/>
            </p:nvSpPr>
            <p:spPr bwMode="auto">
              <a:xfrm>
                <a:off x="7002463" y="2214562"/>
                <a:ext cx="1588" cy="1587"/>
              </a:xfrm>
              <a:prstGeom prst="rect">
                <a:avLst/>
              </a:prstGeom>
              <a:solidFill>
                <a:srgbClr val="E1E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30" name="Freeform 291">
                <a:extLst>
                  <a:ext uri="{FF2B5EF4-FFF2-40B4-BE49-F238E27FC236}">
                    <a16:creationId xmlns:a16="http://schemas.microsoft.com/office/drawing/2014/main" id="{241EF332-A207-4E77-9F90-A01AE3161E68}"/>
                  </a:ext>
                </a:extLst>
              </p:cNvPr>
              <p:cNvSpPr>
                <a:spLocks/>
              </p:cNvSpPr>
              <p:nvPr/>
            </p:nvSpPr>
            <p:spPr bwMode="auto">
              <a:xfrm>
                <a:off x="7002463" y="221456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31" name="Freeform 292">
                <a:extLst>
                  <a:ext uri="{FF2B5EF4-FFF2-40B4-BE49-F238E27FC236}">
                    <a16:creationId xmlns:a16="http://schemas.microsoft.com/office/drawing/2014/main" id="{B7592AEB-C065-4E96-BBBB-D210C8B78090}"/>
                  </a:ext>
                </a:extLst>
              </p:cNvPr>
              <p:cNvSpPr>
                <a:spLocks noEditPoints="1"/>
              </p:cNvSpPr>
              <p:nvPr/>
            </p:nvSpPr>
            <p:spPr bwMode="auto">
              <a:xfrm>
                <a:off x="6951663" y="2178050"/>
                <a:ext cx="19050" cy="22225"/>
              </a:xfrm>
              <a:custGeom>
                <a:avLst/>
                <a:gdLst>
                  <a:gd name="T0" fmla="*/ 7 w 8"/>
                  <a:gd name="T1" fmla="*/ 9 h 9"/>
                  <a:gd name="T2" fmla="*/ 7 w 8"/>
                  <a:gd name="T3" fmla="*/ 9 h 9"/>
                  <a:gd name="T4" fmla="*/ 6 w 8"/>
                  <a:gd name="T5" fmla="*/ 9 h 9"/>
                  <a:gd name="T6" fmla="*/ 6 w 8"/>
                  <a:gd name="T7" fmla="*/ 9 h 9"/>
                  <a:gd name="T8" fmla="*/ 6 w 8"/>
                  <a:gd name="T9" fmla="*/ 9 h 9"/>
                  <a:gd name="T10" fmla="*/ 6 w 8"/>
                  <a:gd name="T11" fmla="*/ 9 h 9"/>
                  <a:gd name="T12" fmla="*/ 5 w 8"/>
                  <a:gd name="T13" fmla="*/ 9 h 9"/>
                  <a:gd name="T14" fmla="*/ 4 w 8"/>
                  <a:gd name="T15" fmla="*/ 9 h 9"/>
                  <a:gd name="T16" fmla="*/ 4 w 8"/>
                  <a:gd name="T17" fmla="*/ 9 h 9"/>
                  <a:gd name="T18" fmla="*/ 3 w 8"/>
                  <a:gd name="T19" fmla="*/ 9 h 9"/>
                  <a:gd name="T20" fmla="*/ 0 w 8"/>
                  <a:gd name="T21" fmla="*/ 4 h 9"/>
                  <a:gd name="T22" fmla="*/ 0 w 8"/>
                  <a:gd name="T23" fmla="*/ 4 h 9"/>
                  <a:gd name="T24" fmla="*/ 0 w 8"/>
                  <a:gd name="T25" fmla="*/ 3 h 9"/>
                  <a:gd name="T26" fmla="*/ 3 w 8"/>
                  <a:gd name="T27" fmla="*/ 1 h 9"/>
                  <a:gd name="T28" fmla="*/ 3 w 8"/>
                  <a:gd name="T29" fmla="*/ 1 h 9"/>
                  <a:gd name="T30" fmla="*/ 5 w 8"/>
                  <a:gd name="T31" fmla="*/ 1 h 9"/>
                  <a:gd name="T32" fmla="*/ 8 w 8"/>
                  <a:gd name="T33" fmla="*/ 5 h 9"/>
                  <a:gd name="T34" fmla="*/ 8 w 8"/>
                  <a:gd name="T35" fmla="*/ 6 h 9"/>
                  <a:gd name="T36" fmla="*/ 8 w 8"/>
                  <a:gd name="T37" fmla="*/ 6 h 9"/>
                  <a:gd name="T38" fmla="*/ 8 w 8"/>
                  <a:gd name="T39" fmla="*/ 7 h 9"/>
                  <a:gd name="T40" fmla="*/ 8 w 8"/>
                  <a:gd name="T41" fmla="*/ 7 h 9"/>
                  <a:gd name="T42" fmla="*/ 8 w 8"/>
                  <a:gd name="T43" fmla="*/ 7 h 9"/>
                  <a:gd name="T44" fmla="*/ 8 w 8"/>
                  <a:gd name="T45" fmla="*/ 7 h 9"/>
                  <a:gd name="T46" fmla="*/ 8 w 8"/>
                  <a:gd name="T47" fmla="*/ 7 h 9"/>
                  <a:gd name="T48" fmla="*/ 8 w 8"/>
                  <a:gd name="T49" fmla="*/ 7 h 9"/>
                  <a:gd name="T50" fmla="*/ 8 w 8"/>
                  <a:gd name="T51" fmla="*/ 7 h 9"/>
                  <a:gd name="T52" fmla="*/ 8 w 8"/>
                  <a:gd name="T53" fmla="*/ 7 h 9"/>
                  <a:gd name="T54" fmla="*/ 8 w 8"/>
                  <a:gd name="T55" fmla="*/ 8 h 9"/>
                  <a:gd name="T56" fmla="*/ 7 w 8"/>
                  <a:gd name="T57" fmla="*/ 9 h 9"/>
                  <a:gd name="T58" fmla="*/ 1 w 8"/>
                  <a:gd name="T59" fmla="*/ 5 h 9"/>
                  <a:gd name="T60" fmla="*/ 1 w 8"/>
                  <a:gd name="T61" fmla="*/ 6 h 9"/>
                  <a:gd name="T62" fmla="*/ 5 w 8"/>
                  <a:gd name="T63" fmla="*/ 8 h 9"/>
                  <a:gd name="T64" fmla="*/ 5 w 8"/>
                  <a:gd name="T65" fmla="*/ 8 h 9"/>
                  <a:gd name="T66" fmla="*/ 7 w 8"/>
                  <a:gd name="T67" fmla="*/ 8 h 9"/>
                  <a:gd name="T68" fmla="*/ 7 w 8"/>
                  <a:gd name="T69" fmla="*/ 6 h 9"/>
                  <a:gd name="T70" fmla="*/ 7 w 8"/>
                  <a:gd name="T71" fmla="*/ 5 h 9"/>
                  <a:gd name="T72" fmla="*/ 7 w 8"/>
                  <a:gd name="T73" fmla="*/ 4 h 9"/>
                  <a:gd name="T74" fmla="*/ 3 w 8"/>
                  <a:gd name="T75" fmla="*/ 2 h 9"/>
                  <a:gd name="T76" fmla="*/ 3 w 8"/>
                  <a:gd name="T77" fmla="*/ 1 h 9"/>
                  <a:gd name="T78" fmla="*/ 1 w 8"/>
                  <a:gd name="T79" fmla="*/ 2 h 9"/>
                  <a:gd name="T80" fmla="*/ 1 w 8"/>
                  <a:gd name="T81" fmla="*/ 4 h 9"/>
                  <a:gd name="T82" fmla="*/ 1 w 8"/>
                  <a:gd name="T83" fmla="*/ 4 h 9"/>
                  <a:gd name="T84" fmla="*/ 1 w 8"/>
                  <a:gd name="T8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 h="9">
                    <a:moveTo>
                      <a:pt x="7" y="9"/>
                    </a:moveTo>
                    <a:cubicBezTo>
                      <a:pt x="7" y="9"/>
                      <a:pt x="7" y="9"/>
                      <a:pt x="7" y="9"/>
                    </a:cubicBezTo>
                    <a:cubicBezTo>
                      <a:pt x="6" y="9"/>
                      <a:pt x="6" y="9"/>
                      <a:pt x="6" y="9"/>
                    </a:cubicBezTo>
                    <a:cubicBezTo>
                      <a:pt x="6" y="9"/>
                      <a:pt x="6" y="9"/>
                      <a:pt x="6" y="9"/>
                    </a:cubicBezTo>
                    <a:cubicBezTo>
                      <a:pt x="6" y="9"/>
                      <a:pt x="6" y="9"/>
                      <a:pt x="6" y="9"/>
                    </a:cubicBezTo>
                    <a:cubicBezTo>
                      <a:pt x="6" y="9"/>
                      <a:pt x="6" y="9"/>
                      <a:pt x="6" y="9"/>
                    </a:cubicBezTo>
                    <a:cubicBezTo>
                      <a:pt x="6" y="9"/>
                      <a:pt x="5" y="9"/>
                      <a:pt x="5" y="9"/>
                    </a:cubicBezTo>
                    <a:cubicBezTo>
                      <a:pt x="4" y="9"/>
                      <a:pt x="4" y="9"/>
                      <a:pt x="4" y="9"/>
                    </a:cubicBezTo>
                    <a:cubicBezTo>
                      <a:pt x="4" y="9"/>
                      <a:pt x="4" y="9"/>
                      <a:pt x="4" y="9"/>
                    </a:cubicBezTo>
                    <a:cubicBezTo>
                      <a:pt x="4" y="9"/>
                      <a:pt x="3" y="9"/>
                      <a:pt x="3" y="9"/>
                    </a:cubicBezTo>
                    <a:cubicBezTo>
                      <a:pt x="1" y="8"/>
                      <a:pt x="0" y="6"/>
                      <a:pt x="0" y="4"/>
                    </a:cubicBezTo>
                    <a:cubicBezTo>
                      <a:pt x="0" y="4"/>
                      <a:pt x="0" y="4"/>
                      <a:pt x="0" y="4"/>
                    </a:cubicBezTo>
                    <a:cubicBezTo>
                      <a:pt x="0" y="4"/>
                      <a:pt x="0" y="3"/>
                      <a:pt x="0" y="3"/>
                    </a:cubicBezTo>
                    <a:cubicBezTo>
                      <a:pt x="0" y="1"/>
                      <a:pt x="2" y="0"/>
                      <a:pt x="3" y="1"/>
                    </a:cubicBezTo>
                    <a:cubicBezTo>
                      <a:pt x="3" y="1"/>
                      <a:pt x="3" y="1"/>
                      <a:pt x="3" y="1"/>
                    </a:cubicBezTo>
                    <a:cubicBezTo>
                      <a:pt x="5" y="1"/>
                      <a:pt x="5" y="1"/>
                      <a:pt x="5" y="1"/>
                    </a:cubicBezTo>
                    <a:cubicBezTo>
                      <a:pt x="7" y="1"/>
                      <a:pt x="8" y="3"/>
                      <a:pt x="8" y="5"/>
                    </a:cubicBezTo>
                    <a:cubicBezTo>
                      <a:pt x="8" y="6"/>
                      <a:pt x="8" y="6"/>
                      <a:pt x="8" y="6"/>
                    </a:cubicBezTo>
                    <a:cubicBezTo>
                      <a:pt x="8" y="6"/>
                      <a:pt x="8" y="6"/>
                      <a:pt x="8" y="6"/>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8"/>
                      <a:pt x="8" y="8"/>
                      <a:pt x="8" y="8"/>
                    </a:cubicBezTo>
                    <a:cubicBezTo>
                      <a:pt x="8" y="8"/>
                      <a:pt x="7" y="9"/>
                      <a:pt x="7" y="9"/>
                    </a:cubicBezTo>
                    <a:close/>
                    <a:moveTo>
                      <a:pt x="1" y="5"/>
                    </a:moveTo>
                    <a:cubicBezTo>
                      <a:pt x="1" y="6"/>
                      <a:pt x="1" y="6"/>
                      <a:pt x="1" y="6"/>
                    </a:cubicBezTo>
                    <a:cubicBezTo>
                      <a:pt x="1" y="7"/>
                      <a:pt x="3" y="8"/>
                      <a:pt x="5" y="8"/>
                    </a:cubicBezTo>
                    <a:cubicBezTo>
                      <a:pt x="5" y="8"/>
                      <a:pt x="5" y="8"/>
                      <a:pt x="5" y="8"/>
                    </a:cubicBezTo>
                    <a:cubicBezTo>
                      <a:pt x="6" y="9"/>
                      <a:pt x="7" y="8"/>
                      <a:pt x="7" y="8"/>
                    </a:cubicBezTo>
                    <a:cubicBezTo>
                      <a:pt x="8" y="7"/>
                      <a:pt x="8" y="6"/>
                      <a:pt x="7" y="6"/>
                    </a:cubicBezTo>
                    <a:cubicBezTo>
                      <a:pt x="7" y="5"/>
                      <a:pt x="7" y="5"/>
                      <a:pt x="7" y="5"/>
                    </a:cubicBezTo>
                    <a:cubicBezTo>
                      <a:pt x="7" y="4"/>
                      <a:pt x="7" y="4"/>
                      <a:pt x="7" y="4"/>
                    </a:cubicBezTo>
                    <a:cubicBezTo>
                      <a:pt x="7" y="2"/>
                      <a:pt x="5" y="1"/>
                      <a:pt x="3" y="2"/>
                    </a:cubicBezTo>
                    <a:cubicBezTo>
                      <a:pt x="3" y="1"/>
                      <a:pt x="3" y="1"/>
                      <a:pt x="3" y="1"/>
                    </a:cubicBezTo>
                    <a:cubicBezTo>
                      <a:pt x="3" y="1"/>
                      <a:pt x="2" y="1"/>
                      <a:pt x="1" y="2"/>
                    </a:cubicBezTo>
                    <a:cubicBezTo>
                      <a:pt x="1" y="2"/>
                      <a:pt x="0" y="3"/>
                      <a:pt x="1" y="4"/>
                    </a:cubicBezTo>
                    <a:cubicBezTo>
                      <a:pt x="1" y="4"/>
                      <a:pt x="1" y="4"/>
                      <a:pt x="1" y="4"/>
                    </a:cubicBezTo>
                    <a:lnTo>
                      <a:pt x="1" y="5"/>
                    </a:lnTo>
                    <a:close/>
                  </a:path>
                </a:pathLst>
              </a:custGeom>
              <a:solidFill>
                <a:srgbClr val="03A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sp>
            <p:nvSpPr>
              <p:cNvPr id="732" name="Freeform 293">
                <a:extLst>
                  <a:ext uri="{FF2B5EF4-FFF2-40B4-BE49-F238E27FC236}">
                    <a16:creationId xmlns:a16="http://schemas.microsoft.com/office/drawing/2014/main" id="{A8C9DB87-411C-46EF-8B56-5E6345B40299}"/>
                  </a:ext>
                </a:extLst>
              </p:cNvPr>
              <p:cNvSpPr>
                <a:spLocks/>
              </p:cNvSpPr>
              <p:nvPr/>
            </p:nvSpPr>
            <p:spPr bwMode="auto">
              <a:xfrm>
                <a:off x="6956425" y="2182812"/>
                <a:ext cx="9525" cy="12700"/>
              </a:xfrm>
              <a:custGeom>
                <a:avLst/>
                <a:gdLst>
                  <a:gd name="T0" fmla="*/ 4 w 4"/>
                  <a:gd name="T1" fmla="*/ 4 h 5"/>
                  <a:gd name="T2" fmla="*/ 3 w 4"/>
                  <a:gd name="T3" fmla="*/ 5 h 5"/>
                  <a:gd name="T4" fmla="*/ 1 w 4"/>
                  <a:gd name="T5" fmla="*/ 5 h 5"/>
                  <a:gd name="T6" fmla="*/ 0 w 4"/>
                  <a:gd name="T7" fmla="*/ 4 h 5"/>
                  <a:gd name="T8" fmla="*/ 1 w 4"/>
                  <a:gd name="T9" fmla="*/ 4 h 5"/>
                  <a:gd name="T10" fmla="*/ 1 w 4"/>
                  <a:gd name="T11" fmla="*/ 4 h 5"/>
                  <a:gd name="T12" fmla="*/ 1 w 4"/>
                  <a:gd name="T13" fmla="*/ 4 h 5"/>
                  <a:gd name="T14" fmla="*/ 3 w 4"/>
                  <a:gd name="T15" fmla="*/ 4 h 5"/>
                  <a:gd name="T16" fmla="*/ 3 w 4"/>
                  <a:gd name="T17" fmla="*/ 4 h 5"/>
                  <a:gd name="T18" fmla="*/ 3 w 4"/>
                  <a:gd name="T19" fmla="*/ 4 h 5"/>
                  <a:gd name="T20" fmla="*/ 2 w 4"/>
                  <a:gd name="T21" fmla="*/ 3 h 5"/>
                  <a:gd name="T22" fmla="*/ 1 w 4"/>
                  <a:gd name="T23" fmla="*/ 3 h 5"/>
                  <a:gd name="T24" fmla="*/ 0 w 4"/>
                  <a:gd name="T25" fmla="*/ 2 h 5"/>
                  <a:gd name="T26" fmla="*/ 1 w 4"/>
                  <a:gd name="T27" fmla="*/ 1 h 5"/>
                  <a:gd name="T28" fmla="*/ 3 w 4"/>
                  <a:gd name="T29" fmla="*/ 1 h 5"/>
                  <a:gd name="T30" fmla="*/ 4 w 4"/>
                  <a:gd name="T31" fmla="*/ 2 h 5"/>
                  <a:gd name="T32" fmla="*/ 4 w 4"/>
                  <a:gd name="T33" fmla="*/ 2 h 5"/>
                  <a:gd name="T34" fmla="*/ 3 w 4"/>
                  <a:gd name="T35" fmla="*/ 2 h 5"/>
                  <a:gd name="T36" fmla="*/ 3 w 4"/>
                  <a:gd name="T37" fmla="*/ 2 h 5"/>
                  <a:gd name="T38" fmla="*/ 1 w 4"/>
                  <a:gd name="T39" fmla="*/ 1 h 5"/>
                  <a:gd name="T40" fmla="*/ 1 w 4"/>
                  <a:gd name="T41" fmla="*/ 2 h 5"/>
                  <a:gd name="T42" fmla="*/ 2 w 4"/>
                  <a:gd name="T43" fmla="*/ 2 h 5"/>
                  <a:gd name="T44" fmla="*/ 3 w 4"/>
                  <a:gd name="T45" fmla="*/ 3 h 5"/>
                  <a:gd name="T46" fmla="*/ 4 w 4"/>
                  <a:gd name="T47" fmla="*/ 3 h 5"/>
                  <a:gd name="T48" fmla="*/ 4 w 4"/>
                  <a:gd name="T4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5">
                    <a:moveTo>
                      <a:pt x="4" y="4"/>
                    </a:moveTo>
                    <a:cubicBezTo>
                      <a:pt x="4" y="4"/>
                      <a:pt x="4" y="5"/>
                      <a:pt x="3" y="5"/>
                    </a:cubicBezTo>
                    <a:cubicBezTo>
                      <a:pt x="2" y="5"/>
                      <a:pt x="1" y="5"/>
                      <a:pt x="1" y="5"/>
                    </a:cubicBezTo>
                    <a:cubicBezTo>
                      <a:pt x="0" y="4"/>
                      <a:pt x="0" y="4"/>
                      <a:pt x="0" y="4"/>
                    </a:cubicBezTo>
                    <a:cubicBezTo>
                      <a:pt x="1" y="4"/>
                      <a:pt x="1" y="4"/>
                      <a:pt x="1" y="4"/>
                    </a:cubicBezTo>
                    <a:cubicBezTo>
                      <a:pt x="1" y="4"/>
                      <a:pt x="1" y="4"/>
                      <a:pt x="1" y="4"/>
                    </a:cubicBezTo>
                    <a:cubicBezTo>
                      <a:pt x="1" y="4"/>
                      <a:pt x="1" y="4"/>
                      <a:pt x="1" y="4"/>
                    </a:cubicBezTo>
                    <a:cubicBezTo>
                      <a:pt x="2" y="4"/>
                      <a:pt x="2" y="5"/>
                      <a:pt x="3" y="4"/>
                    </a:cubicBezTo>
                    <a:cubicBezTo>
                      <a:pt x="3" y="4"/>
                      <a:pt x="3" y="4"/>
                      <a:pt x="3" y="4"/>
                    </a:cubicBezTo>
                    <a:cubicBezTo>
                      <a:pt x="3" y="4"/>
                      <a:pt x="3" y="4"/>
                      <a:pt x="3" y="4"/>
                    </a:cubicBezTo>
                    <a:cubicBezTo>
                      <a:pt x="2" y="3"/>
                      <a:pt x="2" y="3"/>
                      <a:pt x="2" y="3"/>
                    </a:cubicBezTo>
                    <a:cubicBezTo>
                      <a:pt x="1" y="3"/>
                      <a:pt x="1" y="3"/>
                      <a:pt x="1" y="3"/>
                    </a:cubicBezTo>
                    <a:cubicBezTo>
                      <a:pt x="1" y="3"/>
                      <a:pt x="0" y="3"/>
                      <a:pt x="0" y="2"/>
                    </a:cubicBezTo>
                    <a:cubicBezTo>
                      <a:pt x="0" y="1"/>
                      <a:pt x="0" y="1"/>
                      <a:pt x="1" y="1"/>
                    </a:cubicBezTo>
                    <a:cubicBezTo>
                      <a:pt x="2" y="0"/>
                      <a:pt x="3" y="0"/>
                      <a:pt x="3" y="1"/>
                    </a:cubicBezTo>
                    <a:cubicBezTo>
                      <a:pt x="4" y="2"/>
                      <a:pt x="4" y="2"/>
                      <a:pt x="4" y="2"/>
                    </a:cubicBezTo>
                    <a:cubicBezTo>
                      <a:pt x="4" y="2"/>
                      <a:pt x="4" y="2"/>
                      <a:pt x="4" y="2"/>
                    </a:cubicBezTo>
                    <a:cubicBezTo>
                      <a:pt x="3" y="2"/>
                      <a:pt x="3" y="2"/>
                      <a:pt x="3" y="2"/>
                    </a:cubicBezTo>
                    <a:cubicBezTo>
                      <a:pt x="3" y="2"/>
                      <a:pt x="3" y="2"/>
                      <a:pt x="3" y="2"/>
                    </a:cubicBezTo>
                    <a:cubicBezTo>
                      <a:pt x="3" y="1"/>
                      <a:pt x="2" y="1"/>
                      <a:pt x="1" y="1"/>
                    </a:cubicBezTo>
                    <a:cubicBezTo>
                      <a:pt x="1" y="2"/>
                      <a:pt x="1" y="2"/>
                      <a:pt x="1" y="2"/>
                    </a:cubicBezTo>
                    <a:cubicBezTo>
                      <a:pt x="2" y="2"/>
                      <a:pt x="2" y="2"/>
                      <a:pt x="2" y="2"/>
                    </a:cubicBezTo>
                    <a:cubicBezTo>
                      <a:pt x="2" y="2"/>
                      <a:pt x="2" y="2"/>
                      <a:pt x="3" y="3"/>
                    </a:cubicBezTo>
                    <a:cubicBezTo>
                      <a:pt x="4" y="3"/>
                      <a:pt x="4" y="3"/>
                      <a:pt x="4" y="3"/>
                    </a:cubicBezTo>
                    <a:lnTo>
                      <a:pt x="4" y="4"/>
                    </a:lnTo>
                    <a:close/>
                  </a:path>
                </a:pathLst>
              </a:custGeom>
              <a:solidFill>
                <a:srgbClr val="03A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505050"/>
                  </a:solidFill>
                  <a:latin typeface="Times New Roman" charset="0"/>
                  <a:ea typeface="ＭＳ Ｐゴシック" charset="0"/>
                </a:endParaRPr>
              </a:p>
            </p:txBody>
          </p:sp>
        </p:grpSp>
        <p:grpSp>
          <p:nvGrpSpPr>
            <p:cNvPr id="623" name="Group 622">
              <a:extLst>
                <a:ext uri="{FF2B5EF4-FFF2-40B4-BE49-F238E27FC236}">
                  <a16:creationId xmlns:a16="http://schemas.microsoft.com/office/drawing/2014/main" id="{03891725-16AF-4E96-A354-7BAF553032A1}"/>
                </a:ext>
              </a:extLst>
            </p:cNvPr>
            <p:cNvGrpSpPr/>
            <p:nvPr/>
          </p:nvGrpSpPr>
          <p:grpSpPr>
            <a:xfrm>
              <a:off x="9555436" y="2400232"/>
              <a:ext cx="1129427" cy="633510"/>
              <a:chOff x="6391393" y="1624932"/>
              <a:chExt cx="1350970" cy="757777"/>
            </a:xfrm>
          </p:grpSpPr>
          <p:sp>
            <p:nvSpPr>
              <p:cNvPr id="673" name="Freeform 119">
                <a:extLst>
                  <a:ext uri="{FF2B5EF4-FFF2-40B4-BE49-F238E27FC236}">
                    <a16:creationId xmlns:a16="http://schemas.microsoft.com/office/drawing/2014/main" id="{1C66DB6D-EB08-4F5B-83F9-837CAC19242A}"/>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674" name="Freeform 120">
                <a:extLst>
                  <a:ext uri="{FF2B5EF4-FFF2-40B4-BE49-F238E27FC236}">
                    <a16:creationId xmlns:a16="http://schemas.microsoft.com/office/drawing/2014/main" id="{57914D38-D77A-42FF-B261-680DD30C2B2F}"/>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grpSp>
          <p:nvGrpSpPr>
            <p:cNvPr id="667" name="Group 666">
              <a:extLst>
                <a:ext uri="{FF2B5EF4-FFF2-40B4-BE49-F238E27FC236}">
                  <a16:creationId xmlns:a16="http://schemas.microsoft.com/office/drawing/2014/main" id="{35A68331-DFB1-4E30-9843-8DDFA4787876}"/>
                </a:ext>
              </a:extLst>
            </p:cNvPr>
            <p:cNvGrpSpPr/>
            <p:nvPr/>
          </p:nvGrpSpPr>
          <p:grpSpPr>
            <a:xfrm>
              <a:off x="8233541" y="3238355"/>
              <a:ext cx="1129427" cy="633510"/>
              <a:chOff x="6391393" y="1624932"/>
              <a:chExt cx="1350970" cy="757777"/>
            </a:xfrm>
          </p:grpSpPr>
          <p:sp>
            <p:nvSpPr>
              <p:cNvPr id="671" name="Freeform 119">
                <a:extLst>
                  <a:ext uri="{FF2B5EF4-FFF2-40B4-BE49-F238E27FC236}">
                    <a16:creationId xmlns:a16="http://schemas.microsoft.com/office/drawing/2014/main" id="{881AD493-DFD4-4B46-A05E-8ED6D9CCB3AD}"/>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672" name="Freeform 120">
                <a:extLst>
                  <a:ext uri="{FF2B5EF4-FFF2-40B4-BE49-F238E27FC236}">
                    <a16:creationId xmlns:a16="http://schemas.microsoft.com/office/drawing/2014/main" id="{F8C3157E-C86C-4BB9-8FC0-33D5F89042DD}"/>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grpSp>
          <p:nvGrpSpPr>
            <p:cNvPr id="668" name="Group 667">
              <a:extLst>
                <a:ext uri="{FF2B5EF4-FFF2-40B4-BE49-F238E27FC236}">
                  <a16:creationId xmlns:a16="http://schemas.microsoft.com/office/drawing/2014/main" id="{AA2199A9-0023-4B58-943A-E9DB3269D9C6}"/>
                </a:ext>
              </a:extLst>
            </p:cNvPr>
            <p:cNvGrpSpPr/>
            <p:nvPr/>
          </p:nvGrpSpPr>
          <p:grpSpPr>
            <a:xfrm>
              <a:off x="10566509" y="3408024"/>
              <a:ext cx="1129427" cy="633510"/>
              <a:chOff x="6391393" y="1624932"/>
              <a:chExt cx="1350970" cy="757777"/>
            </a:xfrm>
          </p:grpSpPr>
          <p:sp>
            <p:nvSpPr>
              <p:cNvPr id="669" name="Freeform 119">
                <a:extLst>
                  <a:ext uri="{FF2B5EF4-FFF2-40B4-BE49-F238E27FC236}">
                    <a16:creationId xmlns:a16="http://schemas.microsoft.com/office/drawing/2014/main" id="{FCA14C1B-874A-4180-B1C1-C2AA65922741}"/>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670" name="Freeform 120">
                <a:extLst>
                  <a:ext uri="{FF2B5EF4-FFF2-40B4-BE49-F238E27FC236}">
                    <a16:creationId xmlns:a16="http://schemas.microsoft.com/office/drawing/2014/main" id="{FD380AFB-2FED-4AA5-9C54-22CEC8A7921E}"/>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grpSp>
      <p:grpSp>
        <p:nvGrpSpPr>
          <p:cNvPr id="390" name="Group 389">
            <a:extLst>
              <a:ext uri="{FF2B5EF4-FFF2-40B4-BE49-F238E27FC236}">
                <a16:creationId xmlns:a16="http://schemas.microsoft.com/office/drawing/2014/main" id="{09ED0DF4-A327-4E43-AE43-C9A044E798A4}"/>
              </a:ext>
            </a:extLst>
          </p:cNvPr>
          <p:cNvGrpSpPr/>
          <p:nvPr/>
        </p:nvGrpSpPr>
        <p:grpSpPr>
          <a:xfrm>
            <a:off x="10052458" y="146014"/>
            <a:ext cx="2033626" cy="1015650"/>
            <a:chOff x="10052458" y="146014"/>
            <a:chExt cx="2033626" cy="1015650"/>
          </a:xfrm>
        </p:grpSpPr>
        <p:pic>
          <p:nvPicPr>
            <p:cNvPr id="391" name="Picture 390">
              <a:extLst>
                <a:ext uri="{FF2B5EF4-FFF2-40B4-BE49-F238E27FC236}">
                  <a16:creationId xmlns:a16="http://schemas.microsoft.com/office/drawing/2014/main" id="{B374D94B-62F9-434F-B4D6-CCB6197C5AFE}"/>
                </a:ext>
              </a:extLst>
            </p:cNvPr>
            <p:cNvPicPr>
              <a:picLocks noChangeAspect="1"/>
            </p:cNvPicPr>
            <p:nvPr/>
          </p:nvPicPr>
          <p:blipFill>
            <a:blip r:embed="rId22"/>
            <a:stretch>
              <a:fillRect/>
            </a:stretch>
          </p:blipFill>
          <p:spPr>
            <a:xfrm>
              <a:off x="10052458" y="146014"/>
              <a:ext cx="2033626" cy="1015650"/>
            </a:xfrm>
            <a:prstGeom prst="rect">
              <a:avLst/>
            </a:prstGeom>
          </p:spPr>
        </p:pic>
        <p:sp>
          <p:nvSpPr>
            <p:cNvPr id="395" name="Rectangle 394">
              <a:extLst>
                <a:ext uri="{FF2B5EF4-FFF2-40B4-BE49-F238E27FC236}">
                  <a16:creationId xmlns:a16="http://schemas.microsoft.com/office/drawing/2014/main" id="{F52798D8-AA5E-4EAE-98FF-D2C61B76CA2C}"/>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810491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9320416C-472E-4919-AC86-E352C0202750}"/>
              </a:ext>
            </a:extLst>
          </p:cNvPr>
          <p:cNvSpPr/>
          <p:nvPr/>
        </p:nvSpPr>
        <p:spPr>
          <a:xfrm>
            <a:off x="0" y="1270610"/>
            <a:ext cx="12192000" cy="535278"/>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192"/>
            <a:endParaRPr lang="en-US" sz="2400" dirty="0">
              <a:solidFill>
                <a:schemeClr val="bg1"/>
              </a:solidFill>
              <a:latin typeface="Segoe UI Semibold"/>
            </a:endParaRPr>
          </a:p>
        </p:txBody>
      </p:sp>
      <p:sp>
        <p:nvSpPr>
          <p:cNvPr id="12" name="Rectangle 11">
            <a:extLst>
              <a:ext uri="{FF2B5EF4-FFF2-40B4-BE49-F238E27FC236}">
                <a16:creationId xmlns:a16="http://schemas.microsoft.com/office/drawing/2014/main" id="{57C62CE6-0AE0-4196-9341-AEB38158DE1C}"/>
              </a:ext>
            </a:extLst>
          </p:cNvPr>
          <p:cNvSpPr/>
          <p:nvPr/>
        </p:nvSpPr>
        <p:spPr>
          <a:xfrm>
            <a:off x="3604676" y="1230473"/>
            <a:ext cx="4982647" cy="615553"/>
          </a:xfrm>
          <a:prstGeom prst="rect">
            <a:avLst/>
          </a:prstGeom>
          <a:solidFill>
            <a:schemeClr val="bg1"/>
          </a:solidFill>
        </p:spPr>
        <p:txBody>
          <a:bodyPr wrap="none" tIns="91440" bIns="91440" anchor="ctr">
            <a:spAutoFit/>
          </a:bodyPr>
          <a:lstStyle/>
          <a:p>
            <a:pPr lvl="0" algn="ctr" defTabSz="932742">
              <a:spcBef>
                <a:spcPct val="0"/>
              </a:spcBef>
            </a:pPr>
            <a:r>
              <a:rPr lang="en-US" sz="2800" dirty="0">
                <a:ln w="3175">
                  <a:noFill/>
                </a:ln>
                <a:gradFill>
                  <a:gsLst>
                    <a:gs pos="1250">
                      <a:schemeClr val="tx1"/>
                    </a:gs>
                    <a:gs pos="100000">
                      <a:schemeClr val="tx1"/>
                    </a:gs>
                  </a:gsLst>
                  <a:lin ang="5400000" scaled="0"/>
                </a:gradFill>
                <a:latin typeface="+mj-lt"/>
                <a:cs typeface="Segoe UI" pitchFamily="34" charset="0"/>
              </a:rPr>
              <a:t>WVD Licensing Requirements</a:t>
            </a:r>
          </a:p>
        </p:txBody>
      </p:sp>
      <p:sp>
        <p:nvSpPr>
          <p:cNvPr id="16" name="Rectangle 15">
            <a:extLst>
              <a:ext uri="{FF2B5EF4-FFF2-40B4-BE49-F238E27FC236}">
                <a16:creationId xmlns:a16="http://schemas.microsoft.com/office/drawing/2014/main" id="{CA72F22B-055E-4494-8B46-8DAAAB23E883}"/>
              </a:ext>
            </a:extLst>
          </p:cNvPr>
          <p:cNvSpPr/>
          <p:nvPr/>
        </p:nvSpPr>
        <p:spPr bwMode="auto">
          <a:xfrm>
            <a:off x="576687" y="2556296"/>
            <a:ext cx="8010636" cy="3712742"/>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91440" numCol="1" spcCol="0" rtlCol="0" fromWordArt="0" anchor="t" anchorCtr="0" forceAA="0" compatLnSpc="1">
            <a:prstTxWarp prst="textNoShape">
              <a:avLst/>
            </a:prstTxWarp>
            <a:noAutofit/>
          </a:bodyPr>
          <a:lstStyle/>
          <a:p>
            <a:pPr lvl="0" eaLnBrk="0" fontAlgn="base" hangingPunct="0">
              <a:spcBef>
                <a:spcPts val="900"/>
              </a:spcBef>
            </a:pPr>
            <a:r>
              <a:rPr lang="en-US" altLang="en-US" sz="1600" dirty="0">
                <a:solidFill>
                  <a:schemeClr val="tx1"/>
                </a:solidFill>
              </a:rPr>
              <a:t>Customers are eligible to access Windows 10 and Windows 7 with Windows Virtual Desktop (WVD) if they have one of the following licenses*:</a:t>
            </a:r>
          </a:p>
          <a:p>
            <a:pPr marL="531813" lvl="1" indent="-285750" eaLnBrk="0" fontAlgn="base" hangingPunct="0">
              <a:spcBef>
                <a:spcPts val="200"/>
              </a:spcBef>
              <a:spcAft>
                <a:spcPts val="400"/>
              </a:spcAft>
              <a:buFont typeface="Symbol" panose="05050102010706020507" pitchFamily="18" charset="2"/>
              <a:buChar char="-"/>
            </a:pPr>
            <a:r>
              <a:rPr lang="en-US" altLang="en-US" sz="1400" dirty="0">
                <a:solidFill>
                  <a:schemeClr val="tx1"/>
                </a:solidFill>
              </a:rPr>
              <a:t>Microsoft 365 E3/A3</a:t>
            </a:r>
          </a:p>
          <a:p>
            <a:pPr marL="531813" lvl="1" indent="-285750" eaLnBrk="0" fontAlgn="base" hangingPunct="0">
              <a:spcBef>
                <a:spcPts val="200"/>
              </a:spcBef>
              <a:spcAft>
                <a:spcPts val="400"/>
              </a:spcAft>
              <a:buFont typeface="Symbol" panose="05050102010706020507" pitchFamily="18" charset="2"/>
              <a:buChar char="-"/>
            </a:pPr>
            <a:r>
              <a:rPr lang="en-US" altLang="en-US" sz="1400" dirty="0">
                <a:solidFill>
                  <a:schemeClr val="tx1"/>
                </a:solidFill>
              </a:rPr>
              <a:t>Microsoft 365 E5/A5</a:t>
            </a:r>
          </a:p>
          <a:p>
            <a:pPr marL="531813" lvl="1" indent="-285750" eaLnBrk="0" fontAlgn="base" hangingPunct="0">
              <a:spcBef>
                <a:spcPts val="200"/>
              </a:spcBef>
              <a:spcAft>
                <a:spcPts val="400"/>
              </a:spcAft>
              <a:buFont typeface="Symbol" panose="05050102010706020507" pitchFamily="18" charset="2"/>
              <a:buChar char="-"/>
            </a:pPr>
            <a:r>
              <a:rPr lang="en-US" altLang="en-US" sz="1400" dirty="0">
                <a:solidFill>
                  <a:schemeClr val="tx1"/>
                </a:solidFill>
              </a:rPr>
              <a:t>Microsoft 365 F1</a:t>
            </a:r>
          </a:p>
          <a:p>
            <a:pPr marL="531813" lvl="1" indent="-285750" eaLnBrk="0" fontAlgn="base" hangingPunct="0">
              <a:spcBef>
                <a:spcPts val="200"/>
              </a:spcBef>
              <a:spcAft>
                <a:spcPts val="400"/>
              </a:spcAft>
              <a:buFont typeface="Symbol" panose="05050102010706020507" pitchFamily="18" charset="2"/>
              <a:buChar char="-"/>
            </a:pPr>
            <a:r>
              <a:rPr lang="en-US" altLang="en-US" sz="1400" dirty="0">
                <a:solidFill>
                  <a:schemeClr val="tx1"/>
                </a:solidFill>
              </a:rPr>
              <a:t>Microsoft 365 Business</a:t>
            </a:r>
          </a:p>
          <a:p>
            <a:pPr marL="531813" lvl="1" indent="-285750" eaLnBrk="0" fontAlgn="base" hangingPunct="0">
              <a:spcBef>
                <a:spcPts val="200"/>
              </a:spcBef>
              <a:spcAft>
                <a:spcPts val="400"/>
              </a:spcAft>
              <a:buFont typeface="Symbol" panose="05050102010706020507" pitchFamily="18" charset="2"/>
              <a:buChar char="-"/>
            </a:pPr>
            <a:r>
              <a:rPr lang="en-US" altLang="en-US" sz="1400" dirty="0">
                <a:solidFill>
                  <a:schemeClr val="tx1"/>
                </a:solidFill>
              </a:rPr>
              <a:t>Windows 10 Enterprise E3/E5</a:t>
            </a:r>
          </a:p>
          <a:p>
            <a:pPr marL="531813" lvl="1" indent="-285750" eaLnBrk="0" fontAlgn="base" hangingPunct="0">
              <a:spcBef>
                <a:spcPts val="200"/>
              </a:spcBef>
              <a:spcAft>
                <a:spcPts val="400"/>
              </a:spcAft>
              <a:buFont typeface="Symbol" panose="05050102010706020507" pitchFamily="18" charset="2"/>
              <a:buChar char="-"/>
            </a:pPr>
            <a:r>
              <a:rPr lang="en-US" altLang="en-US" sz="1400" dirty="0">
                <a:solidFill>
                  <a:schemeClr val="tx1"/>
                </a:solidFill>
              </a:rPr>
              <a:t>Windows 10 Education A3/A5</a:t>
            </a:r>
          </a:p>
          <a:p>
            <a:pPr marL="531813" lvl="1" indent="-285750" eaLnBrk="0" fontAlgn="base" hangingPunct="0">
              <a:spcBef>
                <a:spcPts val="200"/>
              </a:spcBef>
              <a:spcAft>
                <a:spcPts val="400"/>
              </a:spcAft>
              <a:buFont typeface="Symbol" panose="05050102010706020507" pitchFamily="18" charset="2"/>
              <a:buChar char="-"/>
            </a:pPr>
            <a:r>
              <a:rPr lang="en-US" altLang="en-US" sz="1400" dirty="0">
                <a:solidFill>
                  <a:schemeClr val="tx1"/>
                </a:solidFill>
              </a:rPr>
              <a:t>Windows 10 VDA per user</a:t>
            </a:r>
          </a:p>
          <a:p>
            <a:pPr marL="0" lvl="1" eaLnBrk="0" fontAlgn="base" hangingPunct="0">
              <a:spcBef>
                <a:spcPts val="900"/>
              </a:spcBef>
            </a:pPr>
            <a:r>
              <a:rPr lang="en-US" altLang="en-US" sz="1400" i="1" dirty="0">
                <a:solidFill>
                  <a:schemeClr val="tx1"/>
                </a:solidFill>
              </a:rPr>
              <a:t>*Customers can access Windows Virtual Desktop from their non-Windows Pro endpoints if they have a Microsoft 365 E3/E5, Microsoft 365 A3/A5 or Windows 10 VDA per user license.</a:t>
            </a: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p:txBody>
          <a:bodyPr/>
          <a:lstStyle/>
          <a:p>
            <a:r>
              <a:rPr lang="en-US" dirty="0"/>
              <a:t>Many customers are already eligible for WVD</a:t>
            </a:r>
          </a:p>
        </p:txBody>
      </p:sp>
      <p:sp>
        <p:nvSpPr>
          <p:cNvPr id="4" name="Rectangle 3">
            <a:extLst>
              <a:ext uri="{FF2B5EF4-FFF2-40B4-BE49-F238E27FC236}">
                <a16:creationId xmlns:a16="http://schemas.microsoft.com/office/drawing/2014/main" id="{3CE45C01-DF9B-4239-9442-9C9F90E86628}"/>
              </a:ext>
            </a:extLst>
          </p:cNvPr>
          <p:cNvSpPr/>
          <p:nvPr/>
        </p:nvSpPr>
        <p:spPr>
          <a:xfrm>
            <a:off x="8777287" y="2556296"/>
            <a:ext cx="2831683" cy="3712742"/>
          </a:xfrm>
          <a:prstGeom prst="rect">
            <a:avLst/>
          </a:prstGeom>
          <a:ln w="6350">
            <a:solidFill>
              <a:schemeClr val="bg1">
                <a:lumMod val="75000"/>
              </a:schemeClr>
            </a:solidFill>
          </a:ln>
        </p:spPr>
        <p:txBody>
          <a:bodyPr wrap="square" lIns="91440" tIns="137160" rIns="91440" bIns="91440">
            <a:noAutofit/>
          </a:bodyPr>
          <a:lstStyle/>
          <a:p>
            <a:pPr lvl="0" eaLnBrk="0" fontAlgn="base" hangingPunct="0">
              <a:spcBef>
                <a:spcPts val="900"/>
              </a:spcBef>
            </a:pPr>
            <a:r>
              <a:rPr lang="en-US" altLang="en-US" sz="1600" dirty="0"/>
              <a:t>Customers are eligible to access Windows Server 2012 R2 and newer desktops and apps if they have an RDS CAL license with active Software Assurance (SA)</a:t>
            </a:r>
          </a:p>
        </p:txBody>
      </p:sp>
      <p:sp>
        <p:nvSpPr>
          <p:cNvPr id="9" name="Title 1">
            <a:extLst>
              <a:ext uri="{FF2B5EF4-FFF2-40B4-BE49-F238E27FC236}">
                <a16:creationId xmlns:a16="http://schemas.microsoft.com/office/drawing/2014/main" id="{2A3AC712-39C7-4E79-9A84-1262717BD2B4}"/>
              </a:ext>
            </a:extLst>
          </p:cNvPr>
          <p:cNvSpPr txBox="1">
            <a:spLocks/>
          </p:cNvSpPr>
          <p:nvPr/>
        </p:nvSpPr>
        <p:spPr>
          <a:xfrm>
            <a:off x="576688" y="2052744"/>
            <a:ext cx="1162178" cy="369332"/>
          </a:xfrm>
          <a:prstGeom prst="rect">
            <a:avLst/>
          </a:prstGeom>
        </p:spPr>
        <p:txBody>
          <a:bodyPr vert="horz" wrap="square" lIns="0" tIns="0" rIns="0" bIns="0" rtlCol="0" anchor="ctr">
            <a:sp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algn="ctr" defTabSz="914192">
              <a:lnSpc>
                <a:spcPct val="100000"/>
              </a:lnSpc>
              <a:defRPr/>
            </a:pPr>
            <a:r>
              <a:rPr lang="en-US" sz="2400" spc="0" dirty="0">
                <a:solidFill>
                  <a:schemeClr val="tx1"/>
                </a:solidFill>
              </a:rPr>
              <a:t>CLIENT</a:t>
            </a:r>
          </a:p>
        </p:txBody>
      </p:sp>
      <p:sp>
        <p:nvSpPr>
          <p:cNvPr id="10" name="Title 1">
            <a:extLst>
              <a:ext uri="{FF2B5EF4-FFF2-40B4-BE49-F238E27FC236}">
                <a16:creationId xmlns:a16="http://schemas.microsoft.com/office/drawing/2014/main" id="{6C41E78E-241E-48BB-AFD5-28DDFFEC88D2}"/>
              </a:ext>
            </a:extLst>
          </p:cNvPr>
          <p:cNvSpPr txBox="1">
            <a:spLocks/>
          </p:cNvSpPr>
          <p:nvPr/>
        </p:nvSpPr>
        <p:spPr>
          <a:xfrm>
            <a:off x="8777287" y="2052744"/>
            <a:ext cx="1243930" cy="369332"/>
          </a:xfrm>
          <a:prstGeom prst="rect">
            <a:avLst/>
          </a:prstGeom>
        </p:spPr>
        <p:txBody>
          <a:bodyPr vert="horz" wrap="square" lIns="0" tIns="0" rIns="0" bIns="0" rtlCol="0" anchor="ctr">
            <a:sp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algn="ctr" defTabSz="914192">
              <a:lnSpc>
                <a:spcPct val="100000"/>
              </a:lnSpc>
              <a:defRPr/>
            </a:pPr>
            <a:r>
              <a:rPr lang="en-US" sz="2400" spc="0" dirty="0">
                <a:solidFill>
                  <a:schemeClr val="tx1"/>
                </a:solidFill>
              </a:rPr>
              <a:t>SERVER</a:t>
            </a:r>
          </a:p>
        </p:txBody>
      </p:sp>
      <p:sp>
        <p:nvSpPr>
          <p:cNvPr id="13" name="Freeform: Shape 12">
            <a:extLst>
              <a:ext uri="{FF2B5EF4-FFF2-40B4-BE49-F238E27FC236}">
                <a16:creationId xmlns:a16="http://schemas.microsoft.com/office/drawing/2014/main" id="{92B6495A-3C7D-4BE6-8236-52EF71A8740F}"/>
              </a:ext>
            </a:extLst>
          </p:cNvPr>
          <p:cNvSpPr/>
          <p:nvPr/>
        </p:nvSpPr>
        <p:spPr>
          <a:xfrm>
            <a:off x="576687" y="2508538"/>
            <a:ext cx="1097280" cy="91440"/>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accent1"/>
          </a:solidFill>
          <a:ln w="635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192"/>
            <a:endParaRPr lang="en-US" sz="2400" dirty="0">
              <a:solidFill>
                <a:schemeClr val="bg1"/>
              </a:solidFill>
              <a:latin typeface="Segoe UI Semibold"/>
            </a:endParaRPr>
          </a:p>
        </p:txBody>
      </p:sp>
      <p:sp>
        <p:nvSpPr>
          <p:cNvPr id="14" name="Freeform: Shape 13">
            <a:extLst>
              <a:ext uri="{FF2B5EF4-FFF2-40B4-BE49-F238E27FC236}">
                <a16:creationId xmlns:a16="http://schemas.microsoft.com/office/drawing/2014/main" id="{62EF3A24-75D5-4131-9BB8-0DD005D603DB}"/>
              </a:ext>
            </a:extLst>
          </p:cNvPr>
          <p:cNvSpPr/>
          <p:nvPr/>
        </p:nvSpPr>
        <p:spPr>
          <a:xfrm>
            <a:off x="8777287" y="2508538"/>
            <a:ext cx="1097280" cy="91440"/>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accent1"/>
          </a:solidFill>
          <a:ln w="635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192"/>
            <a:endParaRPr lang="en-US" sz="2400" dirty="0">
              <a:solidFill>
                <a:schemeClr val="bg1"/>
              </a:solidFill>
              <a:latin typeface="Segoe UI Semibold"/>
            </a:endParaRPr>
          </a:p>
        </p:txBody>
      </p:sp>
    </p:spTree>
    <p:extLst>
      <p:ext uri="{BB962C8B-B14F-4D97-AF65-F5344CB8AC3E}">
        <p14:creationId xmlns:p14="http://schemas.microsoft.com/office/powerpoint/2010/main" val="276075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7BB07D3A-E8F5-4497-A0A3-C20D4DA87156}"/>
              </a:ext>
            </a:extLst>
          </p:cNvPr>
          <p:cNvSpPr txBox="1">
            <a:spLocks/>
          </p:cNvSpPr>
          <p:nvPr/>
        </p:nvSpPr>
        <p:spPr bwMode="auto">
          <a:xfrm>
            <a:off x="744873" y="1201275"/>
            <a:ext cx="2111012" cy="769441"/>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0" marR="0" lvl="0" indent="0"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chemeClr val="tx1"/>
                </a:solidFill>
                <a:effectLst/>
                <a:uLnTx/>
                <a:uFillTx/>
                <a:latin typeface="+mn-lt"/>
                <a:ea typeface="+mn-ea"/>
                <a:cs typeface="Segoe UI" panose="020B0502040204020203" pitchFamily="34" charset="0"/>
              </a:rPr>
              <a:t>Virtualization endpoints only</a:t>
            </a:r>
            <a:br>
              <a:rPr kumimoji="0" lang="en-US" sz="1800" b="0" i="0" u="none" strike="noStrike" kern="1200" cap="none" spc="0" normalizeH="0" baseline="0" noProof="0" dirty="0">
                <a:ln w="3175">
                  <a:noFill/>
                </a:ln>
                <a:solidFill>
                  <a:schemeClr val="tx1"/>
                </a:solidFill>
                <a:effectLst/>
                <a:uLnTx/>
                <a:uFillTx/>
                <a:latin typeface="+mn-lt"/>
                <a:ea typeface="+mn-ea"/>
                <a:cs typeface="Segoe UI" panose="020B0502040204020203" pitchFamily="34" charset="0"/>
              </a:rPr>
            </a:br>
            <a:r>
              <a:rPr kumimoji="0" lang="en-US" sz="1400" b="0" i="0" u="none" strike="noStrike" kern="1200" cap="none" spc="0" normalizeH="0" baseline="0" noProof="0" dirty="0">
                <a:ln w="3175">
                  <a:noFill/>
                </a:ln>
                <a:solidFill>
                  <a:schemeClr val="accent1"/>
                </a:solidFill>
                <a:effectLst/>
                <a:uLnTx/>
                <a:uFillTx/>
                <a:latin typeface="Segoe UI" panose="020B0502040204020203" pitchFamily="34" charset="0"/>
                <a:ea typeface="+mn-ea"/>
                <a:cs typeface="Segoe UI" panose="020B0502040204020203" pitchFamily="34" charset="0"/>
              </a:rPr>
              <a:t>Burst-to-Azure (cloud)</a:t>
            </a:r>
          </a:p>
        </p:txBody>
      </p:sp>
      <p:sp>
        <p:nvSpPr>
          <p:cNvPr id="16" name="Title 3">
            <a:extLst>
              <a:ext uri="{FF2B5EF4-FFF2-40B4-BE49-F238E27FC236}">
                <a16:creationId xmlns:a16="http://schemas.microsoft.com/office/drawing/2014/main" id="{8E0A060F-93F0-4FCB-8B28-625CC1BDD41C}"/>
              </a:ext>
            </a:extLst>
          </p:cNvPr>
          <p:cNvSpPr txBox="1">
            <a:spLocks/>
          </p:cNvSpPr>
          <p:nvPr/>
        </p:nvSpPr>
        <p:spPr bwMode="auto">
          <a:xfrm>
            <a:off x="5411072" y="1201275"/>
            <a:ext cx="2111012" cy="769441"/>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0" marR="0" lvl="0" indent="0"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chemeClr val="tx1"/>
                </a:solidFill>
                <a:effectLst/>
                <a:uLnTx/>
                <a:uFillTx/>
                <a:latin typeface="+mn-lt"/>
                <a:ea typeface="+mn-ea"/>
                <a:cs typeface="Segoe UI" panose="020B0502040204020203" pitchFamily="34" charset="0"/>
              </a:rPr>
              <a:t>Brand new virtualization env</a:t>
            </a:r>
            <a:br>
              <a:rPr kumimoji="0" lang="en-US" sz="1800" b="0" i="0" u="none" strike="noStrike" kern="1200" cap="none" spc="0" normalizeH="0" baseline="0" noProof="0" dirty="0">
                <a:ln w="3175">
                  <a:noFill/>
                </a:ln>
                <a:solidFill>
                  <a:schemeClr val="tx1"/>
                </a:solidFill>
                <a:effectLst/>
                <a:uLnTx/>
                <a:uFillTx/>
                <a:latin typeface="+mn-lt"/>
                <a:ea typeface="+mn-ea"/>
                <a:cs typeface="Segoe UI" panose="020B0502040204020203" pitchFamily="34" charset="0"/>
              </a:rPr>
            </a:br>
            <a:r>
              <a:rPr kumimoji="0" lang="en-US" sz="1400" b="0" i="0" u="none" strike="noStrike" kern="1200" cap="none" spc="0" normalizeH="0" baseline="0" noProof="0" dirty="0">
                <a:ln w="3175">
                  <a:noFill/>
                </a:ln>
                <a:solidFill>
                  <a:schemeClr val="accent1"/>
                </a:solidFill>
                <a:effectLst/>
                <a:uLnTx/>
                <a:uFillTx/>
                <a:latin typeface="+mn-lt"/>
                <a:ea typeface="+mn-ea"/>
                <a:cs typeface="Segoe UI" panose="020B0502040204020203" pitchFamily="34" charset="0"/>
              </a:rPr>
              <a:t>Lift and shift </a:t>
            </a:r>
          </a:p>
        </p:txBody>
      </p:sp>
      <p:sp>
        <p:nvSpPr>
          <p:cNvPr id="17" name="Title 3">
            <a:extLst>
              <a:ext uri="{FF2B5EF4-FFF2-40B4-BE49-F238E27FC236}">
                <a16:creationId xmlns:a16="http://schemas.microsoft.com/office/drawing/2014/main" id="{76DEA15B-7F44-4951-9C7D-EBE7BFDDF6DD}"/>
              </a:ext>
            </a:extLst>
          </p:cNvPr>
          <p:cNvSpPr txBox="1">
            <a:spLocks/>
          </p:cNvSpPr>
          <p:nvPr/>
        </p:nvSpPr>
        <p:spPr bwMode="auto">
          <a:xfrm>
            <a:off x="9835930" y="1201275"/>
            <a:ext cx="2111012" cy="984885"/>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0" marR="0" lvl="0" indent="0"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chemeClr val="tx1"/>
                </a:solidFill>
                <a:effectLst/>
                <a:uLnTx/>
                <a:uFillTx/>
                <a:latin typeface="+mn-lt"/>
                <a:ea typeface="+mn-ea"/>
                <a:cs typeface="Segoe UI" panose="020B0502040204020203" pitchFamily="34" charset="0"/>
              </a:rPr>
              <a:t>Windows Virtual Desktop</a:t>
            </a:r>
            <a:br>
              <a:rPr lang="en-US" sz="2000" spc="0" dirty="0">
                <a:solidFill>
                  <a:schemeClr val="tx1"/>
                </a:solidFill>
                <a:latin typeface="+mn-lt"/>
              </a:rPr>
            </a:br>
            <a:r>
              <a:rPr kumimoji="0" lang="en-US" sz="1400" b="0" i="0" u="none" strike="noStrike" kern="1200" cap="none" spc="0" normalizeH="0" baseline="0" noProof="0" dirty="0">
                <a:ln w="3175">
                  <a:noFill/>
                </a:ln>
                <a:solidFill>
                  <a:schemeClr val="accent1"/>
                </a:solidFill>
                <a:effectLst/>
                <a:uLnTx/>
                <a:uFillTx/>
                <a:latin typeface="+mn-lt"/>
                <a:ea typeface="+mn-ea"/>
                <a:cs typeface="Segoe UI" panose="020B0502040204020203" pitchFamily="34" charset="0"/>
              </a:rPr>
              <a:t>Lift and shift and </a:t>
            </a:r>
            <a:r>
              <a:rPr kumimoji="0" lang="en-US" sz="1400" b="1" i="0" u="none" strike="noStrike" kern="1200" cap="none" spc="0" normalizeH="0" baseline="0" noProof="0" dirty="0">
                <a:ln w="3175">
                  <a:noFill/>
                </a:ln>
                <a:solidFill>
                  <a:schemeClr val="accent1"/>
                </a:solidFill>
                <a:effectLst/>
                <a:uLnTx/>
                <a:uFillTx/>
                <a:latin typeface="+mn-lt"/>
                <a:ea typeface="+mn-ea"/>
                <a:cs typeface="Segoe UI" panose="020B0502040204020203" pitchFamily="34" charset="0"/>
              </a:rPr>
              <a:t>Modernize </a:t>
            </a:r>
          </a:p>
        </p:txBody>
      </p:sp>
      <p:grpSp>
        <p:nvGrpSpPr>
          <p:cNvPr id="9" name="Group 8">
            <a:extLst>
              <a:ext uri="{FF2B5EF4-FFF2-40B4-BE49-F238E27FC236}">
                <a16:creationId xmlns:a16="http://schemas.microsoft.com/office/drawing/2014/main" id="{B45B656F-08FD-4482-9DB4-05DD93F5080F}"/>
              </a:ext>
            </a:extLst>
          </p:cNvPr>
          <p:cNvGrpSpPr/>
          <p:nvPr/>
        </p:nvGrpSpPr>
        <p:grpSpPr>
          <a:xfrm>
            <a:off x="586250" y="1272540"/>
            <a:ext cx="125881" cy="1586775"/>
            <a:chOff x="586250" y="1272540"/>
            <a:chExt cx="125881" cy="1586775"/>
          </a:xfrm>
        </p:grpSpPr>
        <p:sp>
          <p:nvSpPr>
            <p:cNvPr id="8" name="Isosceles Triangle 7">
              <a:extLst>
                <a:ext uri="{FF2B5EF4-FFF2-40B4-BE49-F238E27FC236}">
                  <a16:creationId xmlns:a16="http://schemas.microsoft.com/office/drawing/2014/main" id="{0FEAE656-1D37-4986-89FA-062DD247C67E}"/>
                </a:ext>
              </a:extLst>
            </p:cNvPr>
            <p:cNvSpPr/>
            <p:nvPr/>
          </p:nvSpPr>
          <p:spPr bwMode="auto">
            <a:xfrm rot="5400000">
              <a:off x="576180" y="1302321"/>
              <a:ext cx="146022" cy="125881"/>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4751FA15-BF35-4B3C-B4EF-7DFEF8516D39}"/>
                </a:ext>
              </a:extLst>
            </p:cNvPr>
            <p:cNvCxnSpPr>
              <a:cxnSpLocks/>
            </p:cNvCxnSpPr>
            <p:nvPr/>
          </p:nvCxnSpPr>
          <p:spPr>
            <a:xfrm flipV="1">
              <a:off x="586722" y="1272540"/>
              <a:ext cx="0" cy="1586775"/>
            </a:xfrm>
            <a:prstGeom prst="line">
              <a:avLst/>
            </a:prstGeom>
            <a:ln w="12700">
              <a:solidFill>
                <a:schemeClr val="tx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1A6362A3-EC0E-47E3-8445-545D868C5C06}"/>
              </a:ext>
            </a:extLst>
          </p:cNvPr>
          <p:cNvGrpSpPr/>
          <p:nvPr/>
        </p:nvGrpSpPr>
        <p:grpSpPr>
          <a:xfrm>
            <a:off x="5251555" y="1272540"/>
            <a:ext cx="125881" cy="1586775"/>
            <a:chOff x="586250" y="1272540"/>
            <a:chExt cx="125881" cy="1586775"/>
          </a:xfrm>
        </p:grpSpPr>
        <p:sp>
          <p:nvSpPr>
            <p:cNvPr id="24" name="Isosceles Triangle 23">
              <a:extLst>
                <a:ext uri="{FF2B5EF4-FFF2-40B4-BE49-F238E27FC236}">
                  <a16:creationId xmlns:a16="http://schemas.microsoft.com/office/drawing/2014/main" id="{B99CFCBA-DDFE-444E-A44B-F25DB85107D4}"/>
                </a:ext>
              </a:extLst>
            </p:cNvPr>
            <p:cNvSpPr/>
            <p:nvPr/>
          </p:nvSpPr>
          <p:spPr bwMode="auto">
            <a:xfrm rot="5400000">
              <a:off x="576180" y="1302321"/>
              <a:ext cx="146022" cy="125881"/>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5" name="Straight Connector 24">
              <a:extLst>
                <a:ext uri="{FF2B5EF4-FFF2-40B4-BE49-F238E27FC236}">
                  <a16:creationId xmlns:a16="http://schemas.microsoft.com/office/drawing/2014/main" id="{EEFAB7EB-42D0-4827-A1C0-EBD7F6713574}"/>
                </a:ext>
              </a:extLst>
            </p:cNvPr>
            <p:cNvCxnSpPr>
              <a:cxnSpLocks/>
            </p:cNvCxnSpPr>
            <p:nvPr/>
          </p:nvCxnSpPr>
          <p:spPr>
            <a:xfrm flipV="1">
              <a:off x="586722" y="1272540"/>
              <a:ext cx="0" cy="1586775"/>
            </a:xfrm>
            <a:prstGeom prst="line">
              <a:avLst/>
            </a:prstGeom>
            <a:ln w="12700">
              <a:solidFill>
                <a:schemeClr val="tx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2C25DABD-7682-45D9-BC5E-54E6BD93F0CD}"/>
              </a:ext>
            </a:extLst>
          </p:cNvPr>
          <p:cNvGrpSpPr/>
          <p:nvPr/>
        </p:nvGrpSpPr>
        <p:grpSpPr>
          <a:xfrm>
            <a:off x="9638196" y="1272540"/>
            <a:ext cx="125881" cy="1586775"/>
            <a:chOff x="586250" y="1272540"/>
            <a:chExt cx="125881" cy="1586775"/>
          </a:xfrm>
        </p:grpSpPr>
        <p:sp>
          <p:nvSpPr>
            <p:cNvPr id="27" name="Isosceles Triangle 26">
              <a:extLst>
                <a:ext uri="{FF2B5EF4-FFF2-40B4-BE49-F238E27FC236}">
                  <a16:creationId xmlns:a16="http://schemas.microsoft.com/office/drawing/2014/main" id="{D8D68BA4-7D04-42B1-BBAA-39F0A3B85CDB}"/>
                </a:ext>
              </a:extLst>
            </p:cNvPr>
            <p:cNvSpPr/>
            <p:nvPr/>
          </p:nvSpPr>
          <p:spPr bwMode="auto">
            <a:xfrm rot="5400000">
              <a:off x="576180" y="1302321"/>
              <a:ext cx="146022" cy="125881"/>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6E380880-0667-4FBA-B630-B54C84F1D20E}"/>
                </a:ext>
              </a:extLst>
            </p:cNvPr>
            <p:cNvCxnSpPr>
              <a:cxnSpLocks/>
            </p:cNvCxnSpPr>
            <p:nvPr/>
          </p:nvCxnSpPr>
          <p:spPr>
            <a:xfrm flipV="1">
              <a:off x="586722" y="1272540"/>
              <a:ext cx="0" cy="1586775"/>
            </a:xfrm>
            <a:prstGeom prst="line">
              <a:avLst/>
            </a:prstGeom>
            <a:ln w="12700">
              <a:solidFill>
                <a:schemeClr val="tx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 name="Rectangle 3">
            <a:extLst>
              <a:ext uri="{FF2B5EF4-FFF2-40B4-BE49-F238E27FC236}">
                <a16:creationId xmlns:a16="http://schemas.microsoft.com/office/drawing/2014/main" id="{94ADF07C-D3EB-4A23-962E-EBE2ABCF7A30}"/>
              </a:ext>
            </a:extLst>
          </p:cNvPr>
          <p:cNvSpPr/>
          <p:nvPr/>
        </p:nvSpPr>
        <p:spPr bwMode="auto">
          <a:xfrm>
            <a:off x="0" y="3429000"/>
            <a:ext cx="12192000" cy="34290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3EA3AD60-2BAF-4EF1-99D2-B8ADAEBF30D1}"/>
              </a:ext>
            </a:extLst>
          </p:cNvPr>
          <p:cNvSpPr>
            <a:spLocks noGrp="1"/>
          </p:cNvSpPr>
          <p:nvPr>
            <p:ph type="title"/>
          </p:nvPr>
        </p:nvSpPr>
        <p:spPr/>
        <p:txBody>
          <a:bodyPr/>
          <a:lstStyle/>
          <a:p>
            <a:r>
              <a:rPr lang="en-US" dirty="0"/>
              <a:t>All discounts and benefits of Azure apply to WVD</a:t>
            </a:r>
          </a:p>
        </p:txBody>
      </p:sp>
      <p:sp>
        <p:nvSpPr>
          <p:cNvPr id="43" name="Freeform 6">
            <a:extLst>
              <a:ext uri="{FF2B5EF4-FFF2-40B4-BE49-F238E27FC236}">
                <a16:creationId xmlns:a16="http://schemas.microsoft.com/office/drawing/2014/main" id="{8D0AB70E-4673-44F9-A54F-5EED508C8013}"/>
              </a:ext>
            </a:extLst>
          </p:cNvPr>
          <p:cNvSpPr>
            <a:spLocks/>
          </p:cNvSpPr>
          <p:nvPr/>
        </p:nvSpPr>
        <p:spPr bwMode="auto">
          <a:xfrm>
            <a:off x="0" y="2499106"/>
            <a:ext cx="12192000" cy="1196594"/>
          </a:xfrm>
          <a:custGeom>
            <a:avLst/>
            <a:gdLst>
              <a:gd name="T0" fmla="*/ 0 w 5464"/>
              <a:gd name="T1" fmla="*/ 586 h 1184"/>
              <a:gd name="T2" fmla="*/ 0 w 5464"/>
              <a:gd name="T3" fmla="*/ 1184 h 1184"/>
              <a:gd name="T4" fmla="*/ 5464 w 5464"/>
              <a:gd name="T5" fmla="*/ 1184 h 1184"/>
              <a:gd name="T6" fmla="*/ 5464 w 5464"/>
              <a:gd name="T7" fmla="*/ 924 h 1184"/>
              <a:gd name="T8" fmla="*/ 5464 w 5464"/>
              <a:gd name="T9" fmla="*/ 393 h 1184"/>
              <a:gd name="T10" fmla="*/ 4676 w 5464"/>
              <a:gd name="T11" fmla="*/ 0 h 1184"/>
              <a:gd name="T12" fmla="*/ 3340 w 5464"/>
              <a:gd name="T13" fmla="*/ 268 h 1184"/>
              <a:gd name="T14" fmla="*/ 2156 w 5464"/>
              <a:gd name="T15" fmla="*/ 416 h 1184"/>
              <a:gd name="T16" fmla="*/ 928 w 5464"/>
              <a:gd name="T17" fmla="*/ 356 h 1184"/>
              <a:gd name="T18" fmla="*/ 0 w 5464"/>
              <a:gd name="T19" fmla="*/ 466 h 1184"/>
              <a:gd name="T20" fmla="*/ 0 w 5464"/>
              <a:gd name="T21" fmla="*/ 586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64" h="1184">
                <a:moveTo>
                  <a:pt x="0" y="586"/>
                </a:moveTo>
                <a:cubicBezTo>
                  <a:pt x="0" y="1184"/>
                  <a:pt x="0" y="1184"/>
                  <a:pt x="0" y="1184"/>
                </a:cubicBezTo>
                <a:cubicBezTo>
                  <a:pt x="5464" y="1184"/>
                  <a:pt x="5464" y="1184"/>
                  <a:pt x="5464" y="1184"/>
                </a:cubicBezTo>
                <a:cubicBezTo>
                  <a:pt x="5464" y="924"/>
                  <a:pt x="5464" y="924"/>
                  <a:pt x="5464" y="924"/>
                </a:cubicBezTo>
                <a:cubicBezTo>
                  <a:pt x="5464" y="393"/>
                  <a:pt x="5464" y="393"/>
                  <a:pt x="5464" y="393"/>
                </a:cubicBezTo>
                <a:cubicBezTo>
                  <a:pt x="5226" y="187"/>
                  <a:pt x="4937" y="0"/>
                  <a:pt x="4676" y="0"/>
                </a:cubicBezTo>
                <a:cubicBezTo>
                  <a:pt x="4266" y="0"/>
                  <a:pt x="3980" y="404"/>
                  <a:pt x="3340" y="268"/>
                </a:cubicBezTo>
                <a:cubicBezTo>
                  <a:pt x="2776" y="148"/>
                  <a:pt x="2552" y="232"/>
                  <a:pt x="2156" y="416"/>
                </a:cubicBezTo>
                <a:cubicBezTo>
                  <a:pt x="1849" y="559"/>
                  <a:pt x="1536" y="536"/>
                  <a:pt x="928" y="356"/>
                </a:cubicBezTo>
                <a:cubicBezTo>
                  <a:pt x="438" y="211"/>
                  <a:pt x="109" y="391"/>
                  <a:pt x="0" y="466"/>
                </a:cubicBezTo>
                <a:lnTo>
                  <a:pt x="0" y="586"/>
                </a:lnTo>
                <a:close/>
              </a:path>
            </a:pathLst>
          </a:custGeom>
          <a:solidFill>
            <a:schemeClr val="bg1"/>
          </a:solidFill>
          <a:ln w="12700" cap="flat" cmpd="sng" algn="ctr">
            <a:noFill/>
            <a:prstDash val="sysDash"/>
          </a:ln>
          <a:effectLst>
            <a:outerShdw blurRad="342900" dist="63500" dir="2700000" algn="tl" rotWithShape="0">
              <a:prstClr val="black">
                <a:alpha val="12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 name="Oval 2">
            <a:extLst>
              <a:ext uri="{FF2B5EF4-FFF2-40B4-BE49-F238E27FC236}">
                <a16:creationId xmlns:a16="http://schemas.microsoft.com/office/drawing/2014/main" id="{BBFB2256-BAC8-43B1-B55C-D6E9CCBC9BF0}"/>
              </a:ext>
            </a:extLst>
          </p:cNvPr>
          <p:cNvSpPr/>
          <p:nvPr/>
        </p:nvSpPr>
        <p:spPr bwMode="auto">
          <a:xfrm>
            <a:off x="533382" y="4042359"/>
            <a:ext cx="1638318" cy="163831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14">
              <a:defRPr/>
            </a:pPr>
            <a:r>
              <a:rPr lang="en-US" sz="1600" kern="0" dirty="0">
                <a:ln w="3175">
                  <a:noFill/>
                </a:ln>
                <a:solidFill>
                  <a:srgbClr val="FFFFFF"/>
                </a:solidFill>
                <a:cs typeface="Segoe UI Semibold" panose="020B0702040204020203" pitchFamily="34" charset="0"/>
              </a:rPr>
              <a:t>Azure Hybrid User Benefit</a:t>
            </a:r>
            <a:endParaRPr lang="en-US" sz="1600" dirty="0">
              <a:solidFill>
                <a:srgbClr val="FFFFFF"/>
              </a:solidFill>
              <a:cs typeface="Segoe UI Semibold" panose="020B0702040204020203" pitchFamily="34" charset="0"/>
            </a:endParaRPr>
          </a:p>
        </p:txBody>
      </p:sp>
      <p:sp>
        <p:nvSpPr>
          <p:cNvPr id="10" name="Oval 9">
            <a:extLst>
              <a:ext uri="{FF2B5EF4-FFF2-40B4-BE49-F238E27FC236}">
                <a16:creationId xmlns:a16="http://schemas.microsoft.com/office/drawing/2014/main" id="{6F12ADA4-B147-40BD-BA6E-ABE0CE61E37F}"/>
              </a:ext>
            </a:extLst>
          </p:cNvPr>
          <p:cNvSpPr/>
          <p:nvPr/>
        </p:nvSpPr>
        <p:spPr bwMode="auto">
          <a:xfrm>
            <a:off x="3011579" y="4343400"/>
            <a:ext cx="2080162" cy="2080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14">
              <a:defRPr/>
            </a:pPr>
            <a:r>
              <a:rPr lang="en-US" sz="1600" kern="0" dirty="0">
                <a:ln w="3175">
                  <a:noFill/>
                </a:ln>
                <a:solidFill>
                  <a:srgbClr val="FFFFFF"/>
                </a:solidFill>
                <a:cs typeface="Segoe UI Semibold" panose="020B0702040204020203" pitchFamily="34" charset="0"/>
              </a:rPr>
              <a:t>Azure Consumption based Incentive Programs</a:t>
            </a:r>
            <a:endParaRPr lang="en-US" sz="1600" dirty="0">
              <a:solidFill>
                <a:srgbClr val="FFFFFF"/>
              </a:solidFill>
              <a:cs typeface="Segoe UI Semibold" panose="020B0702040204020203" pitchFamily="34" charset="0"/>
            </a:endParaRPr>
          </a:p>
        </p:txBody>
      </p:sp>
      <p:sp>
        <p:nvSpPr>
          <p:cNvPr id="11" name="Oval 10">
            <a:extLst>
              <a:ext uri="{FF2B5EF4-FFF2-40B4-BE49-F238E27FC236}">
                <a16:creationId xmlns:a16="http://schemas.microsoft.com/office/drawing/2014/main" id="{24145DF1-1B81-4293-8C58-377749E20DAC}"/>
              </a:ext>
            </a:extLst>
          </p:cNvPr>
          <p:cNvSpPr/>
          <p:nvPr/>
        </p:nvSpPr>
        <p:spPr bwMode="auto">
          <a:xfrm>
            <a:off x="8297075" y="3950133"/>
            <a:ext cx="1341121" cy="13411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14">
              <a:defRPr/>
            </a:pPr>
            <a:r>
              <a:rPr lang="en-US" sz="1600" kern="0" dirty="0">
                <a:ln w="3175">
                  <a:noFill/>
                </a:ln>
                <a:solidFill>
                  <a:srgbClr val="FFFFFF"/>
                </a:solidFill>
                <a:cs typeface="Segoe UI Semibold" panose="020B0702040204020203" pitchFamily="34" charset="0"/>
              </a:rPr>
              <a:t>Reserved Instances</a:t>
            </a:r>
            <a:endParaRPr lang="en-US" sz="1600" dirty="0">
              <a:solidFill>
                <a:srgbClr val="FFFFFF"/>
              </a:solidFill>
              <a:cs typeface="Segoe UI Semibold" panose="020B0702040204020203" pitchFamily="34" charset="0"/>
            </a:endParaRPr>
          </a:p>
        </p:txBody>
      </p:sp>
      <p:sp>
        <p:nvSpPr>
          <p:cNvPr id="12" name="Oval 11">
            <a:extLst>
              <a:ext uri="{FF2B5EF4-FFF2-40B4-BE49-F238E27FC236}">
                <a16:creationId xmlns:a16="http://schemas.microsoft.com/office/drawing/2014/main" id="{B3708814-30C1-4CC1-AC67-F474563665B3}"/>
              </a:ext>
            </a:extLst>
          </p:cNvPr>
          <p:cNvSpPr/>
          <p:nvPr/>
        </p:nvSpPr>
        <p:spPr bwMode="auto">
          <a:xfrm>
            <a:off x="5931620" y="5029888"/>
            <a:ext cx="1525576" cy="152557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14">
              <a:defRPr/>
            </a:pPr>
            <a:r>
              <a:rPr lang="en-US" sz="1600" kern="0" dirty="0">
                <a:ln w="3175">
                  <a:noFill/>
                </a:ln>
                <a:solidFill>
                  <a:srgbClr val="FFFFFF"/>
                </a:solidFill>
                <a:cs typeface="Segoe UI Semibold" panose="020B0702040204020203" pitchFamily="34" charset="0"/>
              </a:rPr>
              <a:t>CSP Margins &amp; Rebates</a:t>
            </a:r>
            <a:endParaRPr lang="en-US" sz="1600" dirty="0">
              <a:solidFill>
                <a:srgbClr val="FFFFFF"/>
              </a:solidFill>
              <a:cs typeface="Segoe UI Semibold" panose="020B0702040204020203" pitchFamily="34" charset="0"/>
            </a:endParaRPr>
          </a:p>
        </p:txBody>
      </p:sp>
      <p:sp>
        <p:nvSpPr>
          <p:cNvPr id="13" name="Oval 12">
            <a:extLst>
              <a:ext uri="{FF2B5EF4-FFF2-40B4-BE49-F238E27FC236}">
                <a16:creationId xmlns:a16="http://schemas.microsoft.com/office/drawing/2014/main" id="{51E718D8-1ECE-474E-A123-89206D37FCA2}"/>
              </a:ext>
            </a:extLst>
          </p:cNvPr>
          <p:cNvSpPr/>
          <p:nvPr/>
        </p:nvSpPr>
        <p:spPr bwMode="auto">
          <a:xfrm>
            <a:off x="10478075" y="4654147"/>
            <a:ext cx="1244500" cy="12444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14">
              <a:defRPr/>
            </a:pPr>
            <a:r>
              <a:rPr lang="en-US" sz="1600" kern="0" dirty="0">
                <a:ln w="3175">
                  <a:noFill/>
                </a:ln>
                <a:solidFill>
                  <a:srgbClr val="FFFFFF"/>
                </a:solidFill>
                <a:cs typeface="Segoe UI Semibold" panose="020B0702040204020203" pitchFamily="34" charset="0"/>
              </a:rPr>
              <a:t>DPOR</a:t>
            </a:r>
            <a:endParaRPr lang="en-US" sz="1600" dirty="0">
              <a:solidFill>
                <a:srgbClr val="FFFFFF"/>
              </a:solidFill>
              <a:cs typeface="Segoe UI Semibold" panose="020B0702040204020203" pitchFamily="34" charset="0"/>
            </a:endParaRPr>
          </a:p>
        </p:txBody>
      </p:sp>
    </p:spTree>
    <p:extLst>
      <p:ext uri="{BB962C8B-B14F-4D97-AF65-F5344CB8AC3E}">
        <p14:creationId xmlns:p14="http://schemas.microsoft.com/office/powerpoint/2010/main" val="153488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par>
                                <p:cTn id="8" presetID="22" presetClass="entr" presetSubtype="8" fill="hold" grpId="0" nodeType="withEffect">
                                  <p:stCondLst>
                                    <p:cond delay="25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500"/>
                                        <p:tgtEl>
                                          <p:spTgt spid="15"/>
                                        </p:tgtEl>
                                      </p:cBhvr>
                                    </p:animEffect>
                                  </p:childTnLst>
                                </p:cTn>
                              </p:par>
                              <p:par>
                                <p:cTn id="11" presetID="42" presetClass="path" presetSubtype="0" decel="100000" fill="hold" grpId="1" nodeType="withEffect">
                                  <p:stCondLst>
                                    <p:cond delay="250"/>
                                  </p:stCondLst>
                                  <p:childTnLst>
                                    <p:animMotion origin="layout" path="M -3.125E-6 -4.44444E-6 L 0.01628 -0.00138 " pathEditMode="relative" rAng="0" ptsTypes="AA">
                                      <p:cBhvr>
                                        <p:cTn id="12" dur="750" spd="-100000" fill="hold"/>
                                        <p:tgtEl>
                                          <p:spTgt spid="15"/>
                                        </p:tgtEl>
                                        <p:attrNameLst>
                                          <p:attrName>ppt_x</p:attrName>
                                          <p:attrName>ppt_y</p:attrName>
                                        </p:attrNameLst>
                                      </p:cBhvr>
                                      <p:rCtr x="80700" y="-6900"/>
                                    </p:animMotion>
                                  </p:childTnLst>
                                </p:cTn>
                              </p:par>
                            </p:childTnLst>
                          </p:cTn>
                        </p:par>
                        <p:par>
                          <p:cTn id="13" fill="hold">
                            <p:stCondLst>
                              <p:cond delay="1000"/>
                            </p:stCondLst>
                            <p:childTnLst>
                              <p:par>
                                <p:cTn id="14" presetID="22" presetClass="entr" presetSubtype="4" fill="hold"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wipe(down)">
                                      <p:cBhvr>
                                        <p:cTn id="16" dur="500"/>
                                        <p:tgtEl>
                                          <p:spTgt spid="23"/>
                                        </p:tgtEl>
                                      </p:cBhvr>
                                    </p:animEffect>
                                  </p:childTnLst>
                                </p:cTn>
                              </p:par>
                              <p:par>
                                <p:cTn id="17" presetID="22" presetClass="entr" presetSubtype="8" fill="hold" grpId="0" nodeType="withEffect">
                                  <p:stCondLst>
                                    <p:cond delay="250"/>
                                  </p:stCondLst>
                                  <p:childTnLst>
                                    <p:set>
                                      <p:cBhvr>
                                        <p:cTn id="18" dur="1" fill="hold">
                                          <p:stCondLst>
                                            <p:cond delay="0"/>
                                          </p:stCondLst>
                                        </p:cTn>
                                        <p:tgtEl>
                                          <p:spTgt spid="16"/>
                                        </p:tgtEl>
                                        <p:attrNameLst>
                                          <p:attrName>style.visibility</p:attrName>
                                        </p:attrNameLst>
                                      </p:cBhvr>
                                      <p:to>
                                        <p:strVal val="visible"/>
                                      </p:to>
                                    </p:set>
                                    <p:animEffect transition="in" filter="wipe(left)">
                                      <p:cBhvr>
                                        <p:cTn id="19" dur="500"/>
                                        <p:tgtEl>
                                          <p:spTgt spid="16"/>
                                        </p:tgtEl>
                                      </p:cBhvr>
                                    </p:animEffect>
                                  </p:childTnLst>
                                </p:cTn>
                              </p:par>
                              <p:par>
                                <p:cTn id="20" presetID="42" presetClass="path" presetSubtype="0" decel="100000" fill="hold" grpId="1" nodeType="withEffect">
                                  <p:stCondLst>
                                    <p:cond delay="250"/>
                                  </p:stCondLst>
                                  <p:childTnLst>
                                    <p:animMotion origin="layout" path="M -3.125E-6 -4.44444E-6 L 0.01628 -0.00138 " pathEditMode="relative" rAng="0" ptsTypes="AA">
                                      <p:cBhvr>
                                        <p:cTn id="21" dur="750" spd="-100000" fill="hold"/>
                                        <p:tgtEl>
                                          <p:spTgt spid="16"/>
                                        </p:tgtEl>
                                        <p:attrNameLst>
                                          <p:attrName>ppt_x</p:attrName>
                                          <p:attrName>ppt_y</p:attrName>
                                        </p:attrNameLst>
                                      </p:cBhvr>
                                      <p:rCtr x="80700" y="-6900"/>
                                    </p:animMotion>
                                  </p:childTnLst>
                                </p:cTn>
                              </p:par>
                            </p:childTnLst>
                          </p:cTn>
                        </p:par>
                        <p:par>
                          <p:cTn id="22" fill="hold">
                            <p:stCondLst>
                              <p:cond delay="2000"/>
                            </p:stCondLst>
                            <p:childTnLst>
                              <p:par>
                                <p:cTn id="23" presetID="22" presetClass="entr" presetSubtype="4" fill="hold" nodeType="after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wipe(down)">
                                      <p:cBhvr>
                                        <p:cTn id="25" dur="500"/>
                                        <p:tgtEl>
                                          <p:spTgt spid="26"/>
                                        </p:tgtEl>
                                      </p:cBhvr>
                                    </p:animEffect>
                                  </p:childTnLst>
                                </p:cTn>
                              </p:par>
                              <p:par>
                                <p:cTn id="26" presetID="22" presetClass="entr" presetSubtype="8" fill="hold" grpId="0" nodeType="withEffect">
                                  <p:stCondLst>
                                    <p:cond delay="250"/>
                                  </p:stCondLst>
                                  <p:childTnLst>
                                    <p:set>
                                      <p:cBhvr>
                                        <p:cTn id="27" dur="1" fill="hold">
                                          <p:stCondLst>
                                            <p:cond delay="0"/>
                                          </p:stCondLst>
                                        </p:cTn>
                                        <p:tgtEl>
                                          <p:spTgt spid="17"/>
                                        </p:tgtEl>
                                        <p:attrNameLst>
                                          <p:attrName>style.visibility</p:attrName>
                                        </p:attrNameLst>
                                      </p:cBhvr>
                                      <p:to>
                                        <p:strVal val="visible"/>
                                      </p:to>
                                    </p:set>
                                    <p:animEffect transition="in" filter="wipe(left)">
                                      <p:cBhvr>
                                        <p:cTn id="28" dur="500"/>
                                        <p:tgtEl>
                                          <p:spTgt spid="17"/>
                                        </p:tgtEl>
                                      </p:cBhvr>
                                    </p:animEffect>
                                  </p:childTnLst>
                                </p:cTn>
                              </p:par>
                              <p:par>
                                <p:cTn id="29" presetID="42" presetClass="path" presetSubtype="0" decel="100000" fill="hold" grpId="1" nodeType="withEffect">
                                  <p:stCondLst>
                                    <p:cond delay="250"/>
                                  </p:stCondLst>
                                  <p:childTnLst>
                                    <p:animMotion origin="layout" path="M -3.125E-6 -4.44444E-6 L 0.01628 -0.00138 " pathEditMode="relative" rAng="0" ptsTypes="AA">
                                      <p:cBhvr>
                                        <p:cTn id="30" dur="750" spd="-100000" fill="hold"/>
                                        <p:tgtEl>
                                          <p:spTgt spid="17"/>
                                        </p:tgtEl>
                                        <p:attrNameLst>
                                          <p:attrName>ppt_x</p:attrName>
                                          <p:attrName>ppt_y</p:attrName>
                                        </p:attrNameLst>
                                      </p:cBhvr>
                                      <p:rCtr x="80700" y="-69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P spid="16" grpId="0"/>
      <p:bldP spid="16" grpId="1"/>
      <p:bldP spid="17" grpId="0"/>
      <p:bldP spid="17" grpId="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B8A52F-2065-4654-9C6F-0E27231BCE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6" name="think-cell Slide" r:id="rId6" imgW="503" imgH="503" progId="TCLayout.ActiveDocument.1">
                  <p:embed/>
                </p:oleObj>
              </mc:Choice>
              <mc:Fallback>
                <p:oleObj name="think-cell Slide" r:id="rId6" imgW="503" imgH="503" progId="TCLayout.ActiveDocument.1">
                  <p:embed/>
                  <p:pic>
                    <p:nvPicPr>
                      <p:cNvPr id="6" name="Object 5" hidden="1">
                        <a:extLst>
                          <a:ext uri="{FF2B5EF4-FFF2-40B4-BE49-F238E27FC236}">
                            <a16:creationId xmlns:a16="http://schemas.microsoft.com/office/drawing/2014/main" id="{7FB8A52F-2065-4654-9C6F-0E27231BCE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4AC8536-B91C-4391-AC6A-8F0178108044}"/>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24" name="Rectangle 123">
            <a:extLst>
              <a:ext uri="{FF2B5EF4-FFF2-40B4-BE49-F238E27FC236}">
                <a16:creationId xmlns:a16="http://schemas.microsoft.com/office/drawing/2014/main" id="{EA9D104F-145B-4C5C-8317-BC1344208EAD}"/>
              </a:ext>
            </a:extLst>
          </p:cNvPr>
          <p:cNvSpPr/>
          <p:nvPr/>
        </p:nvSpPr>
        <p:spPr bwMode="auto">
          <a:xfrm>
            <a:off x="7872369" y="1641193"/>
            <a:ext cx="3750947" cy="284630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F5CF71D6-0975-44C2-9FA6-6B7FFDC59B0F}"/>
              </a:ext>
            </a:extLst>
          </p:cNvPr>
          <p:cNvSpPr/>
          <p:nvPr/>
        </p:nvSpPr>
        <p:spPr bwMode="auto">
          <a:xfrm>
            <a:off x="593906" y="1641193"/>
            <a:ext cx="2911188" cy="284630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B2872E07-E1BB-447F-9C88-0576531695FE}"/>
              </a:ext>
            </a:extLst>
          </p:cNvPr>
          <p:cNvSpPr>
            <a:spLocks noGrp="1"/>
          </p:cNvSpPr>
          <p:nvPr>
            <p:ph type="title"/>
          </p:nvPr>
        </p:nvSpPr>
        <p:spPr/>
        <p:txBody>
          <a:bodyPr/>
          <a:lstStyle/>
          <a:p>
            <a:r>
              <a:rPr lang="en-US" dirty="0"/>
              <a:t>Azure Enhances Productivity</a:t>
            </a:r>
          </a:p>
        </p:txBody>
      </p:sp>
      <p:grpSp>
        <p:nvGrpSpPr>
          <p:cNvPr id="170" name="Group 169">
            <a:extLst>
              <a:ext uri="{FF2B5EF4-FFF2-40B4-BE49-F238E27FC236}">
                <a16:creationId xmlns:a16="http://schemas.microsoft.com/office/drawing/2014/main" id="{B6BB53E7-5027-4FC3-AE54-1B57693B2AFE}"/>
              </a:ext>
            </a:extLst>
          </p:cNvPr>
          <p:cNvGrpSpPr/>
          <p:nvPr/>
        </p:nvGrpSpPr>
        <p:grpSpPr>
          <a:xfrm>
            <a:off x="588263" y="6201858"/>
            <a:ext cx="11018519" cy="271613"/>
            <a:chOff x="1618090" y="3660825"/>
            <a:chExt cx="8946294" cy="277059"/>
          </a:xfrm>
        </p:grpSpPr>
        <p:cxnSp>
          <p:nvCxnSpPr>
            <p:cNvPr id="171" name="Straight Connector 170">
              <a:extLst>
                <a:ext uri="{FF2B5EF4-FFF2-40B4-BE49-F238E27FC236}">
                  <a16:creationId xmlns:a16="http://schemas.microsoft.com/office/drawing/2014/main" id="{60D41D08-981C-4F46-9DAF-CA8AA5396A25}"/>
                </a:ext>
              </a:extLst>
            </p:cNvPr>
            <p:cNvCxnSpPr>
              <a:cxnSpLocks/>
            </p:cNvCxnSpPr>
            <p:nvPr/>
          </p:nvCxnSpPr>
          <p:spPr>
            <a:xfrm>
              <a:off x="1618090" y="3799354"/>
              <a:ext cx="8946294" cy="0"/>
            </a:xfrm>
            <a:prstGeom prst="line">
              <a:avLst/>
            </a:prstGeom>
            <a:noFill/>
            <a:ln w="19050" cap="flat" cmpd="sng" algn="ctr">
              <a:solidFill>
                <a:schemeClr val="tx1"/>
              </a:solidFill>
              <a:prstDash val="solid"/>
              <a:miter lim="800000"/>
              <a:headEnd type="triangle" w="lg" len="lg"/>
              <a:tailEnd type="triangle" w="lg" len="lg"/>
            </a:ln>
            <a:effectLst/>
          </p:spPr>
        </p:cxnSp>
        <p:sp>
          <p:nvSpPr>
            <p:cNvPr id="172" name="Text Placeholder 3">
              <a:extLst>
                <a:ext uri="{FF2B5EF4-FFF2-40B4-BE49-F238E27FC236}">
                  <a16:creationId xmlns:a16="http://schemas.microsoft.com/office/drawing/2014/main" id="{A06D2B36-AE06-4E08-8760-1DDFED82B489}"/>
                </a:ext>
              </a:extLst>
            </p:cNvPr>
            <p:cNvSpPr txBox="1">
              <a:spLocks/>
            </p:cNvSpPr>
            <p:nvPr/>
          </p:nvSpPr>
          <p:spPr>
            <a:xfrm>
              <a:off x="3006742" y="3660825"/>
              <a:ext cx="6168989" cy="277059"/>
            </a:xfrm>
            <a:prstGeom prst="rect">
              <a:avLst/>
            </a:prstGeom>
            <a:solidFill>
              <a:schemeClr val="bg1"/>
            </a:solidFill>
            <a:ln>
              <a:noFill/>
            </a:ln>
          </p:spPr>
          <p:txBody>
            <a:bodyPr vert="horz" wrap="square" lIns="0" tIns="0" rIns="0" bIns="0" rtlCol="0" anchor="b">
              <a:spAutoFit/>
            </a:bodyPr>
            <a:lstStyle>
              <a:lvl1pPr marL="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rgbClr val="0078D7"/>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78508">
                <a:lnSpc>
                  <a:spcPct val="100000"/>
                </a:lnSpc>
                <a:spcBef>
                  <a:spcPts val="0"/>
                </a:spcBef>
                <a:buClrTx/>
                <a:defRPr/>
              </a:pPr>
              <a:r>
                <a:rPr lang="en-US" sz="1765" dirty="0">
                  <a:solidFill>
                    <a:srgbClr val="282828"/>
                  </a:solidFill>
                  <a:latin typeface="Segoe UI Semibold"/>
                  <a:cs typeface="Segoe UI Semibold" panose="020B0702040204020203" pitchFamily="34" charset="0"/>
                </a:rPr>
                <a:t>Unified Management </a:t>
              </a:r>
              <a:r>
                <a:rPr lang="en-US" sz="1765" kern="0" dirty="0">
                  <a:solidFill>
                    <a:srgbClr val="282828"/>
                  </a:solidFill>
                  <a:latin typeface="Segoe UI Semibold"/>
                  <a:cs typeface="Segoe UI Semibold" panose="020B0702040204020203" pitchFamily="34" charset="0"/>
                </a:rPr>
                <a:t>• </a:t>
              </a:r>
              <a:r>
                <a:rPr lang="en-US" sz="1765" dirty="0">
                  <a:solidFill>
                    <a:srgbClr val="282828"/>
                  </a:solidFill>
                  <a:latin typeface="Segoe UI Semibold"/>
                  <a:cs typeface="Segoe UI Semibold" panose="020B0702040204020203" pitchFamily="34" charset="0"/>
                </a:rPr>
                <a:t>Security </a:t>
              </a:r>
              <a:r>
                <a:rPr lang="en-US" sz="1765" kern="0" dirty="0">
                  <a:solidFill>
                    <a:srgbClr val="282828"/>
                  </a:solidFill>
                  <a:latin typeface="Segoe UI Semibold"/>
                  <a:cs typeface="Segoe UI Semibold" panose="020B0702040204020203" pitchFamily="34" charset="0"/>
                </a:rPr>
                <a:t>• </a:t>
              </a:r>
              <a:r>
                <a:rPr lang="en-US" sz="1765" dirty="0">
                  <a:solidFill>
                    <a:srgbClr val="282828"/>
                  </a:solidFill>
                  <a:latin typeface="Segoe UI Semibold"/>
                  <a:cs typeface="Segoe UI Semibold" panose="020B0702040204020203" pitchFamily="34" charset="0"/>
                </a:rPr>
                <a:t>Governance </a:t>
              </a:r>
              <a:r>
                <a:rPr lang="en-US" sz="1765" kern="0" dirty="0">
                  <a:solidFill>
                    <a:srgbClr val="282828"/>
                  </a:solidFill>
                  <a:latin typeface="Segoe UI Semibold"/>
                  <a:cs typeface="Segoe UI Semibold" panose="020B0702040204020203" pitchFamily="34" charset="0"/>
                </a:rPr>
                <a:t>• </a:t>
              </a:r>
              <a:r>
                <a:rPr lang="en-US" sz="1765" dirty="0">
                  <a:solidFill>
                    <a:srgbClr val="282828"/>
                  </a:solidFill>
                  <a:latin typeface="Segoe UI Semibold"/>
                  <a:cs typeface="Segoe UI Semibold" panose="020B0702040204020203" pitchFamily="34" charset="0"/>
                </a:rPr>
                <a:t>Tools </a:t>
              </a:r>
              <a:r>
                <a:rPr lang="en-US" sz="1765" kern="0" dirty="0">
                  <a:solidFill>
                    <a:srgbClr val="282828"/>
                  </a:solidFill>
                  <a:latin typeface="Segoe UI Semibold"/>
                  <a:cs typeface="Segoe UI Semibold" panose="020B0702040204020203" pitchFamily="34" charset="0"/>
                </a:rPr>
                <a:t>• </a:t>
              </a:r>
              <a:r>
                <a:rPr lang="en-US" sz="1765" dirty="0">
                  <a:solidFill>
                    <a:srgbClr val="282828"/>
                  </a:solidFill>
                  <a:latin typeface="Segoe UI Semibold"/>
                  <a:cs typeface="Segoe UI Semibold" panose="020B0702040204020203" pitchFamily="34" charset="0"/>
                </a:rPr>
                <a:t>DevOps</a:t>
              </a:r>
            </a:p>
          </p:txBody>
        </p:sp>
      </p:grpSp>
      <p:sp>
        <p:nvSpPr>
          <p:cNvPr id="41" name="Text Placeholder 3">
            <a:extLst>
              <a:ext uri="{FF2B5EF4-FFF2-40B4-BE49-F238E27FC236}">
                <a16:creationId xmlns:a16="http://schemas.microsoft.com/office/drawing/2014/main" id="{D7F0A0B5-4322-4408-8472-B6E6E52163CB}"/>
              </a:ext>
            </a:extLst>
          </p:cNvPr>
          <p:cNvSpPr txBox="1">
            <a:spLocks/>
          </p:cNvSpPr>
          <p:nvPr/>
        </p:nvSpPr>
        <p:spPr>
          <a:xfrm>
            <a:off x="7872370" y="1207707"/>
            <a:ext cx="3750947" cy="430887"/>
          </a:xfrm>
          <a:prstGeom prst="rect">
            <a:avLst/>
          </a:prstGeom>
          <a:solidFill>
            <a:schemeClr val="accent1"/>
          </a:solidFill>
        </p:spPr>
        <p:txBody>
          <a:bodyPr vert="horz" wrap="square" lIns="91440" tIns="45720" rIns="91440" bIns="45720" rtlCol="0" anchor="b">
            <a:noAutofit/>
          </a:bodyPr>
          <a:lstStyle>
            <a:lvl1pPr marL="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rgbClr val="0078D7"/>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78508">
              <a:lnSpc>
                <a:spcPct val="100000"/>
              </a:lnSpc>
              <a:spcBef>
                <a:spcPts val="0"/>
              </a:spcBef>
              <a:buClrTx/>
              <a:defRPr/>
            </a:pPr>
            <a:r>
              <a:rPr lang="en-US" sz="2200" dirty="0">
                <a:solidFill>
                  <a:schemeClr val="bg1"/>
                </a:solidFill>
                <a:latin typeface="Segoe UI Semibold"/>
                <a:cs typeface="Segoe UI Semibold" panose="020B0702040204020203" pitchFamily="34" charset="0"/>
              </a:rPr>
              <a:t>Code</a:t>
            </a:r>
          </a:p>
        </p:txBody>
      </p:sp>
      <p:sp>
        <p:nvSpPr>
          <p:cNvPr id="187" name="Text Placeholder 3">
            <a:extLst>
              <a:ext uri="{FF2B5EF4-FFF2-40B4-BE49-F238E27FC236}">
                <a16:creationId xmlns:a16="http://schemas.microsoft.com/office/drawing/2014/main" id="{00F560B6-BDA6-4A2F-8044-83F4C5FCF5C9}"/>
              </a:ext>
            </a:extLst>
          </p:cNvPr>
          <p:cNvSpPr txBox="1">
            <a:spLocks/>
          </p:cNvSpPr>
          <p:nvPr/>
        </p:nvSpPr>
        <p:spPr>
          <a:xfrm>
            <a:off x="593907" y="1207557"/>
            <a:ext cx="2911188" cy="430887"/>
          </a:xfrm>
          <a:prstGeom prst="rect">
            <a:avLst/>
          </a:prstGeom>
          <a:solidFill>
            <a:schemeClr val="accent1"/>
          </a:solidFill>
        </p:spPr>
        <p:txBody>
          <a:bodyPr vert="horz" wrap="square" lIns="91440" tIns="45720" rIns="91440" bIns="45720" rtlCol="0" anchor="b">
            <a:no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400"/>
              </a:spcAft>
              <a:buClr>
                <a:srgbClr val="0078D7"/>
              </a:buClr>
              <a:buSzPct val="90000"/>
              <a:buFont typeface="Arial" pitchFamily="34" charset="0"/>
              <a:buNone/>
              <a:tabLst/>
              <a:defRPr lang="en-US" sz="1400" kern="1200" spc="0" baseline="0" dirty="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78508">
              <a:spcBef>
                <a:spcPts val="0"/>
              </a:spcBef>
              <a:spcAft>
                <a:spcPts val="0"/>
              </a:spcAft>
              <a:buClrTx/>
              <a:defRPr/>
            </a:pPr>
            <a:r>
              <a:rPr lang="en-US" sz="2200" dirty="0">
                <a:solidFill>
                  <a:schemeClr val="bg1"/>
                </a:solidFill>
                <a:latin typeface="Segoe UI Semibold" panose="020B0702040204020203" pitchFamily="34" charset="0"/>
                <a:cs typeface="Segoe UI Semibold" panose="020B0702040204020203" pitchFamily="34" charset="0"/>
              </a:rPr>
              <a:t>Infrastructure</a:t>
            </a:r>
          </a:p>
        </p:txBody>
      </p:sp>
      <p:sp>
        <p:nvSpPr>
          <p:cNvPr id="178" name="TextBox 177">
            <a:extLst>
              <a:ext uri="{FF2B5EF4-FFF2-40B4-BE49-F238E27FC236}">
                <a16:creationId xmlns:a16="http://schemas.microsoft.com/office/drawing/2014/main" id="{D33DEF3C-AA26-4C93-81FC-01B56C92CA96}"/>
              </a:ext>
            </a:extLst>
          </p:cNvPr>
          <p:cNvSpPr txBox="1"/>
          <p:nvPr/>
        </p:nvSpPr>
        <p:spPr>
          <a:xfrm>
            <a:off x="873454" y="1890486"/>
            <a:ext cx="919419" cy="374846"/>
          </a:xfrm>
          <a:prstGeom prst="rect">
            <a:avLst/>
          </a:prstGeom>
          <a:noFill/>
        </p:spPr>
        <p:txBody>
          <a:bodyPr wrap="none" lIns="91440" tIns="91440" rIns="91440" bIns="91440" rtlCol="0">
            <a:noAutofit/>
          </a:bodyPr>
          <a:lstStyle/>
          <a:p>
            <a:pPr defTabSz="914320">
              <a:lnSpc>
                <a:spcPct val="90000"/>
              </a:lnSpc>
              <a:spcAft>
                <a:spcPts val="600"/>
              </a:spcAft>
              <a:defRPr/>
            </a:pPr>
            <a:r>
              <a:rPr lang="en-US" sz="1373" dirty="0">
                <a:solidFill>
                  <a:srgbClr val="000000"/>
                </a:solidFill>
                <a:latin typeface="Segoe UI Semibold" panose="020B0702040204020203" pitchFamily="34" charset="0"/>
                <a:cs typeface="Segoe UI Semibold" panose="020B0702040204020203" pitchFamily="34" charset="0"/>
              </a:rPr>
              <a:t>Compute</a:t>
            </a:r>
          </a:p>
        </p:txBody>
      </p:sp>
      <p:sp>
        <p:nvSpPr>
          <p:cNvPr id="181" name="TextBox 180">
            <a:extLst>
              <a:ext uri="{FF2B5EF4-FFF2-40B4-BE49-F238E27FC236}">
                <a16:creationId xmlns:a16="http://schemas.microsoft.com/office/drawing/2014/main" id="{F3E085C2-ECC1-4AC6-BB33-E68386137785}"/>
              </a:ext>
            </a:extLst>
          </p:cNvPr>
          <p:cNvSpPr txBox="1"/>
          <p:nvPr/>
        </p:nvSpPr>
        <p:spPr>
          <a:xfrm>
            <a:off x="873454" y="2751241"/>
            <a:ext cx="1128129" cy="374846"/>
          </a:xfrm>
          <a:prstGeom prst="rect">
            <a:avLst/>
          </a:prstGeom>
          <a:noFill/>
        </p:spPr>
        <p:txBody>
          <a:bodyPr wrap="none" lIns="91440" tIns="91440" rIns="91440" bIns="91440" rtlCol="0">
            <a:noAutofit/>
          </a:bodyPr>
          <a:lstStyle/>
          <a:p>
            <a:pPr defTabSz="914320">
              <a:lnSpc>
                <a:spcPct val="90000"/>
              </a:lnSpc>
              <a:spcAft>
                <a:spcPts val="600"/>
              </a:spcAft>
              <a:defRPr/>
            </a:pPr>
            <a:r>
              <a:rPr lang="en-US" sz="1373" dirty="0">
                <a:solidFill>
                  <a:srgbClr val="000000"/>
                </a:solidFill>
                <a:latin typeface="Segoe UI Semibold" panose="020B0702040204020203" pitchFamily="34" charset="0"/>
                <a:cs typeface="Segoe UI Semibold" panose="020B0702040204020203" pitchFamily="34" charset="0"/>
              </a:rPr>
              <a:t>Networking</a:t>
            </a:r>
          </a:p>
        </p:txBody>
      </p:sp>
      <p:sp>
        <p:nvSpPr>
          <p:cNvPr id="182" name="TextBox 181">
            <a:extLst>
              <a:ext uri="{FF2B5EF4-FFF2-40B4-BE49-F238E27FC236}">
                <a16:creationId xmlns:a16="http://schemas.microsoft.com/office/drawing/2014/main" id="{B2CBC718-9619-4C67-B4E8-7C2D6D2A8903}"/>
              </a:ext>
            </a:extLst>
          </p:cNvPr>
          <p:cNvSpPr txBox="1"/>
          <p:nvPr/>
        </p:nvSpPr>
        <p:spPr>
          <a:xfrm>
            <a:off x="873454" y="3616104"/>
            <a:ext cx="800540" cy="374846"/>
          </a:xfrm>
          <a:prstGeom prst="rect">
            <a:avLst/>
          </a:prstGeom>
          <a:noFill/>
        </p:spPr>
        <p:txBody>
          <a:bodyPr wrap="none" lIns="91440" tIns="91440" rIns="91440" bIns="91440" rtlCol="0">
            <a:noAutofit/>
          </a:bodyPr>
          <a:lstStyle/>
          <a:p>
            <a:pPr defTabSz="914320">
              <a:lnSpc>
                <a:spcPct val="90000"/>
              </a:lnSpc>
              <a:spcAft>
                <a:spcPts val="600"/>
              </a:spcAft>
              <a:defRPr/>
            </a:pPr>
            <a:r>
              <a:rPr lang="en-US" sz="1373" dirty="0">
                <a:solidFill>
                  <a:srgbClr val="000000"/>
                </a:solidFill>
                <a:latin typeface="Segoe UI Semibold" panose="020B0702040204020203" pitchFamily="34" charset="0"/>
                <a:cs typeface="Segoe UI Semibold" panose="020B0702040204020203" pitchFamily="34" charset="0"/>
              </a:rPr>
              <a:t>Storage</a:t>
            </a:r>
          </a:p>
        </p:txBody>
      </p:sp>
      <p:sp>
        <p:nvSpPr>
          <p:cNvPr id="8" name="Rectangle 7">
            <a:extLst>
              <a:ext uri="{FF2B5EF4-FFF2-40B4-BE49-F238E27FC236}">
                <a16:creationId xmlns:a16="http://schemas.microsoft.com/office/drawing/2014/main" id="{2B3D0761-09FC-49FB-A2E0-235F49AEDCFC}"/>
              </a:ext>
            </a:extLst>
          </p:cNvPr>
          <p:cNvSpPr/>
          <p:nvPr/>
        </p:nvSpPr>
        <p:spPr>
          <a:xfrm>
            <a:off x="593906" y="4565839"/>
            <a:ext cx="2911188" cy="1527103"/>
          </a:xfrm>
          <a:prstGeom prst="rect">
            <a:avLst/>
          </a:prstGeom>
          <a:ln w="6350">
            <a:solidFill>
              <a:schemeClr val="bg1">
                <a:lumMod val="75000"/>
              </a:schemeClr>
            </a:solidFill>
          </a:ln>
        </p:spPr>
        <p:txBody>
          <a:bodyPr wrap="square">
            <a:noAutofit/>
          </a:bodyPr>
          <a:lstStyle/>
          <a:p>
            <a:r>
              <a:rPr lang="en-US" sz="1200" dirty="0"/>
              <a:t>Azure IaaS offers a purpose-built, flexible IT infrastructure designed to fit your company’s needs</a:t>
            </a:r>
          </a:p>
        </p:txBody>
      </p:sp>
      <p:grpSp>
        <p:nvGrpSpPr>
          <p:cNvPr id="258" name="Group 257">
            <a:extLst>
              <a:ext uri="{FF2B5EF4-FFF2-40B4-BE49-F238E27FC236}">
                <a16:creationId xmlns:a16="http://schemas.microsoft.com/office/drawing/2014/main" id="{061B934F-1ED6-4158-8B43-0BBCE27ACEF3}"/>
              </a:ext>
            </a:extLst>
          </p:cNvPr>
          <p:cNvGrpSpPr/>
          <p:nvPr/>
        </p:nvGrpSpPr>
        <p:grpSpPr>
          <a:xfrm>
            <a:off x="7842881" y="1892445"/>
            <a:ext cx="1273509" cy="982353"/>
            <a:chOff x="1478965" y="2540444"/>
            <a:chExt cx="1770805" cy="1348188"/>
          </a:xfrm>
        </p:grpSpPr>
        <p:sp>
          <p:nvSpPr>
            <p:cNvPr id="259" name="Rectangle 258">
              <a:extLst>
                <a:ext uri="{FF2B5EF4-FFF2-40B4-BE49-F238E27FC236}">
                  <a16:creationId xmlns:a16="http://schemas.microsoft.com/office/drawing/2014/main" id="{6D61CCF4-DA1A-4A25-84B0-C9041424EB2C}"/>
                </a:ext>
              </a:extLst>
            </p:cNvPr>
            <p:cNvSpPr/>
            <p:nvPr/>
          </p:nvSpPr>
          <p:spPr bwMode="auto">
            <a:xfrm>
              <a:off x="1478965" y="3598676"/>
              <a:ext cx="1770805" cy="289956"/>
            </a:xfrm>
            <a:prstGeom prst="rect">
              <a:avLst/>
            </a:prstGeom>
            <a:noFill/>
            <a:ln>
              <a:noFill/>
            </a:ln>
          </p:spPr>
          <p:txBody>
            <a:bodyPr wrap="square" lIns="0" tIns="0" rIns="0" bIns="0" rtlCol="0" anchor="t">
              <a:spAutoFit/>
            </a:bodyPr>
            <a:lstStyle/>
            <a:p>
              <a:pPr algn="ctr" defTabSz="895963">
                <a:spcBef>
                  <a:spcPts val="300"/>
                </a:spcBef>
                <a:defRPr/>
              </a:pPr>
              <a:r>
                <a:rPr lang="en-US" sz="1373" kern="0" dirty="0"/>
                <a:t>Containers</a:t>
              </a:r>
            </a:p>
          </p:txBody>
        </p:sp>
        <p:pic>
          <p:nvPicPr>
            <p:cNvPr id="260" name="Graphic 259">
              <a:extLst>
                <a:ext uri="{FF2B5EF4-FFF2-40B4-BE49-F238E27FC236}">
                  <a16:creationId xmlns:a16="http://schemas.microsoft.com/office/drawing/2014/main" id="{91761CD7-AF61-4D08-ACB7-FE04F201F82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96818" y="2540444"/>
              <a:ext cx="949862" cy="949862"/>
            </a:xfrm>
            <a:prstGeom prst="rect">
              <a:avLst/>
            </a:prstGeom>
          </p:spPr>
        </p:pic>
      </p:grpSp>
      <p:grpSp>
        <p:nvGrpSpPr>
          <p:cNvPr id="261" name="Group 260">
            <a:extLst>
              <a:ext uri="{FF2B5EF4-FFF2-40B4-BE49-F238E27FC236}">
                <a16:creationId xmlns:a16="http://schemas.microsoft.com/office/drawing/2014/main" id="{622495E5-5494-4DF1-A9A4-9C9142DCE88A}"/>
              </a:ext>
            </a:extLst>
          </p:cNvPr>
          <p:cNvGrpSpPr/>
          <p:nvPr/>
        </p:nvGrpSpPr>
        <p:grpSpPr>
          <a:xfrm>
            <a:off x="8766446" y="1947101"/>
            <a:ext cx="1735995" cy="927696"/>
            <a:chOff x="4053422" y="2867849"/>
            <a:chExt cx="1770805" cy="946298"/>
          </a:xfrm>
        </p:grpSpPr>
        <p:sp>
          <p:nvSpPr>
            <p:cNvPr id="262" name="Rectangle 261">
              <a:extLst>
                <a:ext uri="{FF2B5EF4-FFF2-40B4-BE49-F238E27FC236}">
                  <a16:creationId xmlns:a16="http://schemas.microsoft.com/office/drawing/2014/main" id="{9AC815F8-481A-43F9-A97B-C38601A01D85}"/>
                </a:ext>
              </a:extLst>
            </p:cNvPr>
            <p:cNvSpPr/>
            <p:nvPr/>
          </p:nvSpPr>
          <p:spPr bwMode="auto">
            <a:xfrm>
              <a:off x="4053422" y="3598676"/>
              <a:ext cx="1770805" cy="215471"/>
            </a:xfrm>
            <a:prstGeom prst="rect">
              <a:avLst/>
            </a:prstGeom>
            <a:noFill/>
            <a:ln>
              <a:noFill/>
            </a:ln>
          </p:spPr>
          <p:txBody>
            <a:bodyPr wrap="square" lIns="0" tIns="0" rIns="0" bIns="0" rtlCol="0" anchor="t">
              <a:spAutoFit/>
            </a:bodyPr>
            <a:lstStyle/>
            <a:p>
              <a:pPr algn="ctr" defTabSz="895963">
                <a:spcBef>
                  <a:spcPts val="300"/>
                </a:spcBef>
                <a:defRPr/>
              </a:pPr>
              <a:r>
                <a:rPr lang="sv-SE" sz="1373" kern="0" dirty="0"/>
                <a:t>Microservices</a:t>
              </a:r>
            </a:p>
          </p:txBody>
        </p:sp>
        <p:pic>
          <p:nvPicPr>
            <p:cNvPr id="263" name="Picture 262">
              <a:extLst>
                <a:ext uri="{FF2B5EF4-FFF2-40B4-BE49-F238E27FC236}">
                  <a16:creationId xmlns:a16="http://schemas.microsoft.com/office/drawing/2014/main" id="{EFB1B18A-50F8-4104-B795-01960AC5A676}"/>
                </a:ext>
              </a:extLst>
            </p:cNvPr>
            <p:cNvPicPr>
              <a:picLocks noChangeAspect="1"/>
            </p:cNvPicPr>
            <p:nvPr/>
          </p:nvPicPr>
          <p:blipFill>
            <a:blip r:embed="rId10"/>
            <a:stretch>
              <a:fillRect/>
            </a:stretch>
          </p:blipFill>
          <p:spPr>
            <a:xfrm>
              <a:off x="4673294" y="2867849"/>
              <a:ext cx="594360" cy="594360"/>
            </a:xfrm>
            <a:prstGeom prst="rect">
              <a:avLst/>
            </a:prstGeom>
          </p:spPr>
        </p:pic>
      </p:grpSp>
      <p:grpSp>
        <p:nvGrpSpPr>
          <p:cNvPr id="264" name="Group 263">
            <a:extLst>
              <a:ext uri="{FF2B5EF4-FFF2-40B4-BE49-F238E27FC236}">
                <a16:creationId xmlns:a16="http://schemas.microsoft.com/office/drawing/2014/main" id="{7CD37F4E-199D-4F5A-A5A6-C1D985144FA1}"/>
              </a:ext>
            </a:extLst>
          </p:cNvPr>
          <p:cNvGrpSpPr/>
          <p:nvPr/>
        </p:nvGrpSpPr>
        <p:grpSpPr>
          <a:xfrm>
            <a:off x="7611638" y="3277991"/>
            <a:ext cx="1735995" cy="951970"/>
            <a:chOff x="9154078" y="2745180"/>
            <a:chExt cx="1770805" cy="971059"/>
          </a:xfrm>
        </p:grpSpPr>
        <p:sp>
          <p:nvSpPr>
            <p:cNvPr id="265" name="Rectangle 264">
              <a:extLst>
                <a:ext uri="{FF2B5EF4-FFF2-40B4-BE49-F238E27FC236}">
                  <a16:creationId xmlns:a16="http://schemas.microsoft.com/office/drawing/2014/main" id="{29814AAA-26D2-4AB6-B5F3-B46DDDA6E434}"/>
                </a:ext>
              </a:extLst>
            </p:cNvPr>
            <p:cNvSpPr/>
            <p:nvPr/>
          </p:nvSpPr>
          <p:spPr bwMode="auto">
            <a:xfrm>
              <a:off x="9154078" y="3500767"/>
              <a:ext cx="1770805" cy="215472"/>
            </a:xfrm>
            <a:prstGeom prst="rect">
              <a:avLst/>
            </a:prstGeom>
            <a:noFill/>
            <a:ln>
              <a:noFill/>
            </a:ln>
          </p:spPr>
          <p:txBody>
            <a:bodyPr wrap="square" lIns="0" tIns="0" rIns="0" bIns="0" rtlCol="0" anchor="t">
              <a:spAutoFit/>
            </a:bodyPr>
            <a:lstStyle/>
            <a:p>
              <a:pPr algn="ctr" defTabSz="895963">
                <a:spcBef>
                  <a:spcPts val="300"/>
                </a:spcBef>
                <a:defRPr/>
              </a:pPr>
              <a:r>
                <a:rPr lang="en-US" sz="1373" kern="0" dirty="0"/>
                <a:t>Event-driven</a:t>
              </a:r>
            </a:p>
          </p:txBody>
        </p:sp>
        <p:pic>
          <p:nvPicPr>
            <p:cNvPr id="266" name="Picture 265">
              <a:extLst>
                <a:ext uri="{FF2B5EF4-FFF2-40B4-BE49-F238E27FC236}">
                  <a16:creationId xmlns:a16="http://schemas.microsoft.com/office/drawing/2014/main" id="{A4E8FE38-94C0-4440-8FDB-6DA339D17656}"/>
                </a:ext>
              </a:extLst>
            </p:cNvPr>
            <p:cNvPicPr>
              <a:picLocks noChangeAspect="1"/>
            </p:cNvPicPr>
            <p:nvPr/>
          </p:nvPicPr>
          <p:blipFill>
            <a:blip r:embed="rId11"/>
            <a:stretch>
              <a:fillRect/>
            </a:stretch>
          </p:blipFill>
          <p:spPr>
            <a:xfrm>
              <a:off x="9742300" y="2745180"/>
              <a:ext cx="594360" cy="594360"/>
            </a:xfrm>
            <a:prstGeom prst="rect">
              <a:avLst/>
            </a:prstGeom>
          </p:spPr>
        </p:pic>
      </p:grpSp>
      <p:grpSp>
        <p:nvGrpSpPr>
          <p:cNvPr id="267" name="Group 266">
            <a:extLst>
              <a:ext uri="{FF2B5EF4-FFF2-40B4-BE49-F238E27FC236}">
                <a16:creationId xmlns:a16="http://schemas.microsoft.com/office/drawing/2014/main" id="{A145B7B8-F60A-4310-8734-731CF20EED77}"/>
              </a:ext>
            </a:extLst>
          </p:cNvPr>
          <p:cNvGrpSpPr/>
          <p:nvPr/>
        </p:nvGrpSpPr>
        <p:grpSpPr>
          <a:xfrm>
            <a:off x="8845354" y="3253329"/>
            <a:ext cx="1578177" cy="998508"/>
            <a:chOff x="9716909" y="2720125"/>
            <a:chExt cx="1609617" cy="1018400"/>
          </a:xfrm>
        </p:grpSpPr>
        <p:pic>
          <p:nvPicPr>
            <p:cNvPr id="268" name="Picture 267">
              <a:extLst>
                <a:ext uri="{FF2B5EF4-FFF2-40B4-BE49-F238E27FC236}">
                  <a16:creationId xmlns:a16="http://schemas.microsoft.com/office/drawing/2014/main" id="{50C15C10-6135-4C2E-AAED-096D5F9A5546}"/>
                </a:ext>
              </a:extLst>
            </p:cNvPr>
            <p:cNvPicPr>
              <a:picLocks noChangeAspect="1"/>
            </p:cNvPicPr>
            <p:nvPr/>
          </p:nvPicPr>
          <p:blipFill>
            <a:blip r:embed="rId12"/>
            <a:stretch>
              <a:fillRect/>
            </a:stretch>
          </p:blipFill>
          <p:spPr>
            <a:xfrm>
              <a:off x="10224538" y="2720125"/>
              <a:ext cx="594360" cy="594360"/>
            </a:xfrm>
            <a:prstGeom prst="rect">
              <a:avLst/>
            </a:prstGeom>
          </p:spPr>
        </p:pic>
        <p:sp>
          <p:nvSpPr>
            <p:cNvPr id="269" name="Rectangle 268">
              <a:extLst>
                <a:ext uri="{FF2B5EF4-FFF2-40B4-BE49-F238E27FC236}">
                  <a16:creationId xmlns:a16="http://schemas.microsoft.com/office/drawing/2014/main" id="{9CA79931-A95A-4339-821B-5BF810C88B3A}"/>
                </a:ext>
              </a:extLst>
            </p:cNvPr>
            <p:cNvSpPr/>
            <p:nvPr/>
          </p:nvSpPr>
          <p:spPr bwMode="auto">
            <a:xfrm>
              <a:off x="9716909" y="3523081"/>
              <a:ext cx="1609617" cy="215444"/>
            </a:xfrm>
            <a:prstGeom prst="rect">
              <a:avLst/>
            </a:prstGeom>
            <a:noFill/>
            <a:ln>
              <a:noFill/>
            </a:ln>
          </p:spPr>
          <p:txBody>
            <a:bodyPr wrap="square" lIns="0" tIns="0" rIns="0" bIns="0" rtlCol="0" anchor="t">
              <a:spAutoFit/>
            </a:bodyPr>
            <a:lstStyle/>
            <a:p>
              <a:pPr algn="ctr" defTabSz="895963">
                <a:spcBef>
                  <a:spcPts val="300"/>
                </a:spcBef>
                <a:defRPr/>
              </a:pPr>
              <a:r>
                <a:rPr lang="en-US" sz="1373" kern="0" dirty="0"/>
                <a:t>AI</a:t>
              </a:r>
            </a:p>
          </p:txBody>
        </p:sp>
      </p:grpSp>
      <p:grpSp>
        <p:nvGrpSpPr>
          <p:cNvPr id="270" name="Group 269">
            <a:extLst>
              <a:ext uri="{FF2B5EF4-FFF2-40B4-BE49-F238E27FC236}">
                <a16:creationId xmlns:a16="http://schemas.microsoft.com/office/drawing/2014/main" id="{4516384C-7AD1-4DBA-B1D2-8973AE1D65AF}"/>
              </a:ext>
            </a:extLst>
          </p:cNvPr>
          <p:cNvGrpSpPr/>
          <p:nvPr/>
        </p:nvGrpSpPr>
        <p:grpSpPr>
          <a:xfrm>
            <a:off x="10229604" y="1826535"/>
            <a:ext cx="1434706" cy="1060651"/>
            <a:chOff x="6532588" y="3133511"/>
            <a:chExt cx="1463288" cy="1081785"/>
          </a:xfrm>
        </p:grpSpPr>
        <p:sp>
          <p:nvSpPr>
            <p:cNvPr id="271" name="Rectangle 270">
              <a:extLst>
                <a:ext uri="{FF2B5EF4-FFF2-40B4-BE49-F238E27FC236}">
                  <a16:creationId xmlns:a16="http://schemas.microsoft.com/office/drawing/2014/main" id="{5B8D21F1-B329-45DF-AD9F-E186E4CBF08A}"/>
                </a:ext>
              </a:extLst>
            </p:cNvPr>
            <p:cNvSpPr/>
            <p:nvPr/>
          </p:nvSpPr>
          <p:spPr bwMode="auto">
            <a:xfrm>
              <a:off x="6532588" y="3784326"/>
              <a:ext cx="1463288" cy="430970"/>
            </a:xfrm>
            <a:prstGeom prst="rect">
              <a:avLst/>
            </a:prstGeom>
            <a:noFill/>
            <a:ln>
              <a:noFill/>
            </a:ln>
          </p:spPr>
          <p:txBody>
            <a:bodyPr wrap="square" lIns="0" tIns="0" rIns="0" bIns="0" rtlCol="0" anchor="t">
              <a:spAutoFit/>
            </a:bodyPr>
            <a:lstStyle/>
            <a:p>
              <a:pPr algn="ctr" defTabSz="895963">
                <a:spcBef>
                  <a:spcPts val="300"/>
                </a:spcBef>
                <a:defRPr/>
              </a:pPr>
              <a:r>
                <a:rPr lang="sv-SE" sz="1373" kern="0" dirty="0"/>
                <a:t>Integration services</a:t>
              </a:r>
            </a:p>
          </p:txBody>
        </p:sp>
        <p:grpSp>
          <p:nvGrpSpPr>
            <p:cNvPr id="272" name="Group 271">
              <a:extLst>
                <a:ext uri="{FF2B5EF4-FFF2-40B4-BE49-F238E27FC236}">
                  <a16:creationId xmlns:a16="http://schemas.microsoft.com/office/drawing/2014/main" id="{06AECF3C-C22C-43DE-AC3A-B29D3C34DD8B}"/>
                </a:ext>
              </a:extLst>
            </p:cNvPr>
            <p:cNvGrpSpPr/>
            <p:nvPr/>
          </p:nvGrpSpPr>
          <p:grpSpPr>
            <a:xfrm>
              <a:off x="6981451" y="3133511"/>
              <a:ext cx="559899" cy="569562"/>
              <a:chOff x="5120926" y="3847586"/>
              <a:chExt cx="898985" cy="914499"/>
            </a:xfrm>
          </p:grpSpPr>
          <p:sp>
            <p:nvSpPr>
              <p:cNvPr id="273" name="Oval 272">
                <a:extLst>
                  <a:ext uri="{FF2B5EF4-FFF2-40B4-BE49-F238E27FC236}">
                    <a16:creationId xmlns:a16="http://schemas.microsoft.com/office/drawing/2014/main" id="{272F8B36-1526-4C12-9A94-09285A650661}"/>
                  </a:ext>
                </a:extLst>
              </p:cNvPr>
              <p:cNvSpPr/>
              <p:nvPr/>
            </p:nvSpPr>
            <p:spPr>
              <a:xfrm>
                <a:off x="5242788" y="3974230"/>
                <a:ext cx="658290" cy="658289"/>
              </a:xfrm>
              <a:prstGeom prst="ellipse">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01"/>
                <a:endParaRPr lang="en-US" dirty="0">
                  <a:solidFill>
                    <a:schemeClr val="tx1"/>
                  </a:solidFill>
                </a:endParaRPr>
              </a:p>
            </p:txBody>
          </p:sp>
          <p:grpSp>
            <p:nvGrpSpPr>
              <p:cNvPr id="274" name="Group 273">
                <a:extLst>
                  <a:ext uri="{FF2B5EF4-FFF2-40B4-BE49-F238E27FC236}">
                    <a16:creationId xmlns:a16="http://schemas.microsoft.com/office/drawing/2014/main" id="{7AE04A8D-6F04-472B-98CA-219DF42778E9}"/>
                  </a:ext>
                </a:extLst>
              </p:cNvPr>
              <p:cNvGrpSpPr/>
              <p:nvPr/>
            </p:nvGrpSpPr>
            <p:grpSpPr>
              <a:xfrm>
                <a:off x="5120926" y="3847586"/>
                <a:ext cx="898985" cy="914499"/>
                <a:chOff x="5120926" y="3847586"/>
                <a:chExt cx="898985" cy="914499"/>
              </a:xfrm>
            </p:grpSpPr>
            <p:sp>
              <p:nvSpPr>
                <p:cNvPr id="275" name="Rectangle 274">
                  <a:extLst>
                    <a:ext uri="{FF2B5EF4-FFF2-40B4-BE49-F238E27FC236}">
                      <a16:creationId xmlns:a16="http://schemas.microsoft.com/office/drawing/2014/main" id="{62235265-1B00-4C1C-BBF8-AF8295BC5BFB}"/>
                    </a:ext>
                  </a:extLst>
                </p:cNvPr>
                <p:cNvSpPr/>
                <p:nvPr/>
              </p:nvSpPr>
              <p:spPr bwMode="auto">
                <a:xfrm>
                  <a:off x="5435251" y="3847586"/>
                  <a:ext cx="270334" cy="2703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sp>
              <p:nvSpPr>
                <p:cNvPr id="276" name="Rectangle 275">
                  <a:extLst>
                    <a:ext uri="{FF2B5EF4-FFF2-40B4-BE49-F238E27FC236}">
                      <a16:creationId xmlns:a16="http://schemas.microsoft.com/office/drawing/2014/main" id="{754B6F76-9771-481B-828A-AAF89F395057}"/>
                    </a:ext>
                  </a:extLst>
                </p:cNvPr>
                <p:cNvSpPr/>
                <p:nvPr/>
              </p:nvSpPr>
              <p:spPr bwMode="auto">
                <a:xfrm>
                  <a:off x="5435251" y="4491750"/>
                  <a:ext cx="270334" cy="27033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sp>
              <p:nvSpPr>
                <p:cNvPr id="277" name="Rectangle 276">
                  <a:extLst>
                    <a:ext uri="{FF2B5EF4-FFF2-40B4-BE49-F238E27FC236}">
                      <a16:creationId xmlns:a16="http://schemas.microsoft.com/office/drawing/2014/main" id="{1D269273-A2A4-49ED-BBF1-4A39238A7043}"/>
                    </a:ext>
                  </a:extLst>
                </p:cNvPr>
                <p:cNvSpPr/>
                <p:nvPr/>
              </p:nvSpPr>
              <p:spPr bwMode="auto">
                <a:xfrm>
                  <a:off x="5749577" y="4169647"/>
                  <a:ext cx="270334" cy="27033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sp>
              <p:nvSpPr>
                <p:cNvPr id="278" name="Rectangle 277">
                  <a:extLst>
                    <a:ext uri="{FF2B5EF4-FFF2-40B4-BE49-F238E27FC236}">
                      <a16:creationId xmlns:a16="http://schemas.microsoft.com/office/drawing/2014/main" id="{E3AB5627-87A1-44A6-9207-BB8A28E9E8B6}"/>
                    </a:ext>
                  </a:extLst>
                </p:cNvPr>
                <p:cNvSpPr/>
                <p:nvPr/>
              </p:nvSpPr>
              <p:spPr bwMode="auto">
                <a:xfrm>
                  <a:off x="5120926" y="4169689"/>
                  <a:ext cx="270334" cy="27033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grpSp>
        </p:grpSp>
      </p:grpSp>
      <p:grpSp>
        <p:nvGrpSpPr>
          <p:cNvPr id="279" name="Group 278">
            <a:extLst>
              <a:ext uri="{FF2B5EF4-FFF2-40B4-BE49-F238E27FC236}">
                <a16:creationId xmlns:a16="http://schemas.microsoft.com/office/drawing/2014/main" id="{B4FE5CD0-18D5-4B64-8525-09529D32B627}"/>
              </a:ext>
            </a:extLst>
          </p:cNvPr>
          <p:cNvGrpSpPr/>
          <p:nvPr/>
        </p:nvGrpSpPr>
        <p:grpSpPr>
          <a:xfrm>
            <a:off x="10229604" y="3150178"/>
            <a:ext cx="1434706" cy="1107393"/>
            <a:chOff x="674598" y="2639829"/>
            <a:chExt cx="1770579" cy="1409699"/>
          </a:xfrm>
        </p:grpSpPr>
        <p:grpSp>
          <p:nvGrpSpPr>
            <p:cNvPr id="280" name="Group 279">
              <a:extLst>
                <a:ext uri="{FF2B5EF4-FFF2-40B4-BE49-F238E27FC236}">
                  <a16:creationId xmlns:a16="http://schemas.microsoft.com/office/drawing/2014/main" id="{3F33B6A5-F838-4F8E-81A3-DBF3788ACEBE}"/>
                </a:ext>
              </a:extLst>
            </p:cNvPr>
            <p:cNvGrpSpPr/>
            <p:nvPr/>
          </p:nvGrpSpPr>
          <p:grpSpPr>
            <a:xfrm>
              <a:off x="674598" y="2639829"/>
              <a:ext cx="1770579" cy="1409699"/>
              <a:chOff x="6573130" y="2639720"/>
              <a:chExt cx="1770805" cy="1409879"/>
            </a:xfrm>
          </p:grpSpPr>
          <p:sp>
            <p:nvSpPr>
              <p:cNvPr id="282" name="Rectangle 281">
                <a:extLst>
                  <a:ext uri="{FF2B5EF4-FFF2-40B4-BE49-F238E27FC236}">
                    <a16:creationId xmlns:a16="http://schemas.microsoft.com/office/drawing/2014/main" id="{48847DFB-267F-4653-9A73-38F59B653F20}"/>
                  </a:ext>
                </a:extLst>
              </p:cNvPr>
              <p:cNvSpPr/>
              <p:nvPr/>
            </p:nvSpPr>
            <p:spPr bwMode="auto">
              <a:xfrm>
                <a:off x="6573130" y="3511626"/>
                <a:ext cx="1770805" cy="537973"/>
              </a:xfrm>
              <a:prstGeom prst="rect">
                <a:avLst/>
              </a:prstGeom>
              <a:noFill/>
              <a:ln>
                <a:noFill/>
              </a:ln>
            </p:spPr>
            <p:txBody>
              <a:bodyPr wrap="square" lIns="0" tIns="0" rIns="0" bIns="0" rtlCol="0" anchor="t">
                <a:spAutoFit/>
              </a:bodyPr>
              <a:lstStyle/>
              <a:p>
                <a:pPr algn="ctr" defTabSz="895963">
                  <a:spcBef>
                    <a:spcPts val="300"/>
                  </a:spcBef>
                  <a:defRPr/>
                </a:pPr>
                <a:r>
                  <a:rPr lang="en-US" sz="1373" kern="0" dirty="0"/>
                  <a:t>Web &amp; Mobile development</a:t>
                </a:r>
              </a:p>
            </p:txBody>
          </p:sp>
          <p:pic>
            <p:nvPicPr>
              <p:cNvPr id="283" name="Picture 282">
                <a:extLst>
                  <a:ext uri="{FF2B5EF4-FFF2-40B4-BE49-F238E27FC236}">
                    <a16:creationId xmlns:a16="http://schemas.microsoft.com/office/drawing/2014/main" id="{B97EC079-489D-48B3-97CC-9CFCF669A43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925155" y="2639720"/>
                <a:ext cx="699820" cy="699820"/>
              </a:xfrm>
              <a:prstGeom prst="rect">
                <a:avLst/>
              </a:prstGeom>
            </p:spPr>
          </p:pic>
        </p:grpSp>
        <p:pic>
          <p:nvPicPr>
            <p:cNvPr id="281" name="Picture 280">
              <a:extLst>
                <a:ext uri="{FF2B5EF4-FFF2-40B4-BE49-F238E27FC236}">
                  <a16:creationId xmlns:a16="http://schemas.microsoft.com/office/drawing/2014/main" id="{C56DA234-46F8-47A6-AB07-A8A5DC4C867B}"/>
                </a:ext>
              </a:extLst>
            </p:cNvPr>
            <p:cNvPicPr>
              <a:picLocks noChangeAspect="1"/>
            </p:cNvPicPr>
            <p:nvPr/>
          </p:nvPicPr>
          <p:blipFill>
            <a:blip r:embed="rId14"/>
            <a:stretch>
              <a:fillRect/>
            </a:stretch>
          </p:blipFill>
          <p:spPr>
            <a:xfrm>
              <a:off x="1822883" y="2764835"/>
              <a:ext cx="252052" cy="504940"/>
            </a:xfrm>
            <a:prstGeom prst="rect">
              <a:avLst/>
            </a:prstGeom>
          </p:spPr>
        </p:pic>
      </p:grpSp>
      <p:sp>
        <p:nvSpPr>
          <p:cNvPr id="121" name="Rectangle 120">
            <a:extLst>
              <a:ext uri="{FF2B5EF4-FFF2-40B4-BE49-F238E27FC236}">
                <a16:creationId xmlns:a16="http://schemas.microsoft.com/office/drawing/2014/main" id="{50D5B3A9-040B-440E-BD73-AFB887E44724}"/>
              </a:ext>
            </a:extLst>
          </p:cNvPr>
          <p:cNvSpPr/>
          <p:nvPr/>
        </p:nvSpPr>
        <p:spPr bwMode="auto">
          <a:xfrm>
            <a:off x="3705863" y="1641193"/>
            <a:ext cx="3967536" cy="284630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1" name="Text Placeholder 3">
            <a:extLst>
              <a:ext uri="{FF2B5EF4-FFF2-40B4-BE49-F238E27FC236}">
                <a16:creationId xmlns:a16="http://schemas.microsoft.com/office/drawing/2014/main" id="{DB2D255B-8674-482B-8E89-F00590844164}"/>
              </a:ext>
            </a:extLst>
          </p:cNvPr>
          <p:cNvSpPr txBox="1">
            <a:spLocks/>
          </p:cNvSpPr>
          <p:nvPr/>
        </p:nvSpPr>
        <p:spPr>
          <a:xfrm>
            <a:off x="3703956" y="1207707"/>
            <a:ext cx="3969554" cy="430887"/>
          </a:xfrm>
          <a:prstGeom prst="rect">
            <a:avLst/>
          </a:prstGeom>
          <a:solidFill>
            <a:schemeClr val="accent1"/>
          </a:solidFill>
        </p:spPr>
        <p:txBody>
          <a:bodyPr vert="horz" wrap="square" lIns="91440" tIns="45720" rIns="91440" bIns="45720" rtlCol="0" anchor="b">
            <a:noAutofit/>
          </a:bodyPr>
          <a:lstStyle>
            <a:lvl1pPr marL="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rgbClr val="0078D7"/>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78508">
              <a:lnSpc>
                <a:spcPct val="100000"/>
              </a:lnSpc>
              <a:spcBef>
                <a:spcPts val="0"/>
              </a:spcBef>
              <a:buClrTx/>
              <a:defRPr/>
            </a:pPr>
            <a:r>
              <a:rPr lang="en-US" sz="2200" dirty="0">
                <a:solidFill>
                  <a:schemeClr val="bg1"/>
                </a:solidFill>
                <a:latin typeface="Segoe UI Semibold"/>
                <a:cs typeface="Segoe UI Semibold" panose="020B0702040204020203" pitchFamily="34" charset="0"/>
              </a:rPr>
              <a:t>Data</a:t>
            </a:r>
          </a:p>
        </p:txBody>
      </p:sp>
      <p:grpSp>
        <p:nvGrpSpPr>
          <p:cNvPr id="217" name="Group 216">
            <a:extLst>
              <a:ext uri="{FF2B5EF4-FFF2-40B4-BE49-F238E27FC236}">
                <a16:creationId xmlns:a16="http://schemas.microsoft.com/office/drawing/2014/main" id="{6BADB29A-CD01-4297-AE21-367105B2F574}"/>
              </a:ext>
            </a:extLst>
          </p:cNvPr>
          <p:cNvGrpSpPr/>
          <p:nvPr/>
        </p:nvGrpSpPr>
        <p:grpSpPr>
          <a:xfrm>
            <a:off x="6509057" y="1860410"/>
            <a:ext cx="787852" cy="1090594"/>
            <a:chOff x="4397870" y="2706257"/>
            <a:chExt cx="1256343" cy="1900418"/>
          </a:xfrm>
        </p:grpSpPr>
        <p:sp>
          <p:nvSpPr>
            <p:cNvPr id="218" name="Title 1">
              <a:extLst>
                <a:ext uri="{FF2B5EF4-FFF2-40B4-BE49-F238E27FC236}">
                  <a16:creationId xmlns:a16="http://schemas.microsoft.com/office/drawing/2014/main" id="{800B8773-858A-4381-A65A-8E46364F55AC}"/>
                </a:ext>
              </a:extLst>
            </p:cNvPr>
            <p:cNvSpPr txBox="1">
              <a:spLocks/>
            </p:cNvSpPr>
            <p:nvPr/>
          </p:nvSpPr>
          <p:spPr>
            <a:xfrm>
              <a:off x="4434384" y="3953378"/>
              <a:ext cx="1219829" cy="653297"/>
            </a:xfrm>
            <a:prstGeom prst="rect">
              <a:avLst/>
            </a:prstGeom>
            <a:noFill/>
          </p:spPr>
          <p:txBody>
            <a:bodyPr wrap="none" tIns="89629" bIns="89629"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287">
                <a:defRPr/>
              </a:pPr>
              <a:r>
                <a:rPr lang="en-US" sz="1400" spc="0" dirty="0">
                  <a:solidFill>
                    <a:schemeClr val="tx1"/>
                  </a:solidFill>
                  <a:latin typeface="+mn-lt"/>
                  <a:cs typeface="Segoe UI Semibold" panose="020B0702040204020203" pitchFamily="34" charset="0"/>
                </a:rPr>
                <a:t>MySQL</a:t>
              </a:r>
            </a:p>
          </p:txBody>
        </p:sp>
        <p:pic>
          <p:nvPicPr>
            <p:cNvPr id="219" name="Graphic 218">
              <a:extLst>
                <a:ext uri="{FF2B5EF4-FFF2-40B4-BE49-F238E27FC236}">
                  <a16:creationId xmlns:a16="http://schemas.microsoft.com/office/drawing/2014/main" id="{1DA53F18-D32A-4CAA-92D9-FCF1211D7F7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397870" y="2706257"/>
              <a:ext cx="1222516" cy="1222516"/>
            </a:xfrm>
            <a:prstGeom prst="rect">
              <a:avLst/>
            </a:prstGeom>
          </p:spPr>
        </p:pic>
      </p:grpSp>
      <p:grpSp>
        <p:nvGrpSpPr>
          <p:cNvPr id="220" name="Group 219">
            <a:extLst>
              <a:ext uri="{FF2B5EF4-FFF2-40B4-BE49-F238E27FC236}">
                <a16:creationId xmlns:a16="http://schemas.microsoft.com/office/drawing/2014/main" id="{06156958-536E-4706-821B-31E11D45047D}"/>
              </a:ext>
            </a:extLst>
          </p:cNvPr>
          <p:cNvGrpSpPr/>
          <p:nvPr/>
        </p:nvGrpSpPr>
        <p:grpSpPr>
          <a:xfrm>
            <a:off x="3934818" y="1792999"/>
            <a:ext cx="793808" cy="1158005"/>
            <a:chOff x="371051" y="2706258"/>
            <a:chExt cx="1395811" cy="1900417"/>
          </a:xfrm>
        </p:grpSpPr>
        <p:sp>
          <p:nvSpPr>
            <p:cNvPr id="221" name="Title 1">
              <a:extLst>
                <a:ext uri="{FF2B5EF4-FFF2-40B4-BE49-F238E27FC236}">
                  <a16:creationId xmlns:a16="http://schemas.microsoft.com/office/drawing/2014/main" id="{D39DB689-A5E2-4CED-8F32-AD09AA873FA7}"/>
                </a:ext>
              </a:extLst>
            </p:cNvPr>
            <p:cNvSpPr txBox="1">
              <a:spLocks/>
            </p:cNvSpPr>
            <p:nvPr/>
          </p:nvSpPr>
          <p:spPr>
            <a:xfrm>
              <a:off x="371051" y="3991409"/>
              <a:ext cx="1395811" cy="615266"/>
            </a:xfrm>
            <a:prstGeom prst="rect">
              <a:avLst/>
            </a:prstGeom>
            <a:noFill/>
          </p:spPr>
          <p:txBody>
            <a:bodyPr wrap="none" tIns="89629" bIns="89629"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287">
                <a:defRPr/>
              </a:pPr>
              <a:r>
                <a:rPr lang="en-US" sz="1400" spc="0" dirty="0">
                  <a:solidFill>
                    <a:schemeClr val="tx1"/>
                  </a:solidFill>
                  <a:latin typeface="+mn-lt"/>
                  <a:cs typeface="Segoe UI Semibold" panose="020B0702040204020203" pitchFamily="34" charset="0"/>
                </a:rPr>
                <a:t>SQL DB</a:t>
              </a:r>
            </a:p>
          </p:txBody>
        </p:sp>
        <p:pic>
          <p:nvPicPr>
            <p:cNvPr id="222" name="Graphic 221">
              <a:extLst>
                <a:ext uri="{FF2B5EF4-FFF2-40B4-BE49-F238E27FC236}">
                  <a16:creationId xmlns:a16="http://schemas.microsoft.com/office/drawing/2014/main" id="{4283B127-217E-4522-BAA4-5AA0B382CA8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29756" y="2706258"/>
              <a:ext cx="1247872" cy="1247870"/>
            </a:xfrm>
            <a:prstGeom prst="rect">
              <a:avLst/>
            </a:prstGeom>
          </p:spPr>
        </p:pic>
      </p:grpSp>
      <p:grpSp>
        <p:nvGrpSpPr>
          <p:cNvPr id="223" name="Group 222">
            <a:extLst>
              <a:ext uri="{FF2B5EF4-FFF2-40B4-BE49-F238E27FC236}">
                <a16:creationId xmlns:a16="http://schemas.microsoft.com/office/drawing/2014/main" id="{EF42F498-60AD-4759-9E79-503929AFA50C}"/>
              </a:ext>
            </a:extLst>
          </p:cNvPr>
          <p:cNvGrpSpPr/>
          <p:nvPr/>
        </p:nvGrpSpPr>
        <p:grpSpPr>
          <a:xfrm>
            <a:off x="4969930" y="3303992"/>
            <a:ext cx="1159356" cy="1053702"/>
            <a:chOff x="7840506" y="2742547"/>
            <a:chExt cx="2078135" cy="1864128"/>
          </a:xfrm>
        </p:grpSpPr>
        <p:sp>
          <p:nvSpPr>
            <p:cNvPr id="224" name="Title 1">
              <a:extLst>
                <a:ext uri="{FF2B5EF4-FFF2-40B4-BE49-F238E27FC236}">
                  <a16:creationId xmlns:a16="http://schemas.microsoft.com/office/drawing/2014/main" id="{9E6AB981-643B-412A-88A2-0FE201209DF9}"/>
                </a:ext>
              </a:extLst>
            </p:cNvPr>
            <p:cNvSpPr txBox="1">
              <a:spLocks/>
            </p:cNvSpPr>
            <p:nvPr/>
          </p:nvSpPr>
          <p:spPr>
            <a:xfrm>
              <a:off x="7840506" y="3943417"/>
              <a:ext cx="2078135" cy="663258"/>
            </a:xfrm>
            <a:prstGeom prst="rect">
              <a:avLst/>
            </a:prstGeom>
            <a:noFill/>
          </p:spPr>
          <p:txBody>
            <a:bodyPr wrap="none" tIns="89629" bIns="89629"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287">
                <a:defRPr/>
              </a:pPr>
              <a:r>
                <a:rPr lang="en-US" sz="1400" spc="0" dirty="0">
                  <a:solidFill>
                    <a:schemeClr val="tx1"/>
                  </a:solidFill>
                  <a:latin typeface="+mn-lt"/>
                  <a:cs typeface="Segoe UI Semibold" panose="020B0702040204020203" pitchFamily="34" charset="0"/>
                </a:rPr>
                <a:t>Redis Cache</a:t>
              </a:r>
            </a:p>
          </p:txBody>
        </p:sp>
        <p:pic>
          <p:nvPicPr>
            <p:cNvPr id="225" name="Graphic 224">
              <a:extLst>
                <a:ext uri="{FF2B5EF4-FFF2-40B4-BE49-F238E27FC236}">
                  <a16:creationId xmlns:a16="http://schemas.microsoft.com/office/drawing/2014/main" id="{56CCE561-214C-46F3-AAB3-37F3BD4FEA8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250137" y="2742547"/>
              <a:ext cx="1212181" cy="1212181"/>
            </a:xfrm>
            <a:prstGeom prst="rect">
              <a:avLst/>
            </a:prstGeom>
          </p:spPr>
        </p:pic>
      </p:grpSp>
      <p:grpSp>
        <p:nvGrpSpPr>
          <p:cNvPr id="226" name="Group 225">
            <a:extLst>
              <a:ext uri="{FF2B5EF4-FFF2-40B4-BE49-F238E27FC236}">
                <a16:creationId xmlns:a16="http://schemas.microsoft.com/office/drawing/2014/main" id="{3E234252-BAEC-4272-9406-1F146EBB8AC1}"/>
              </a:ext>
            </a:extLst>
          </p:cNvPr>
          <p:cNvGrpSpPr/>
          <p:nvPr/>
        </p:nvGrpSpPr>
        <p:grpSpPr>
          <a:xfrm>
            <a:off x="4964672" y="1874106"/>
            <a:ext cx="1169872" cy="1076898"/>
            <a:chOff x="2244758" y="2966493"/>
            <a:chExt cx="1645383" cy="1640182"/>
          </a:xfrm>
        </p:grpSpPr>
        <p:sp>
          <p:nvSpPr>
            <p:cNvPr id="227" name="Title 1">
              <a:extLst>
                <a:ext uri="{FF2B5EF4-FFF2-40B4-BE49-F238E27FC236}">
                  <a16:creationId xmlns:a16="http://schemas.microsoft.com/office/drawing/2014/main" id="{8908D2B0-C423-40C3-9EBA-FB93367E524E}"/>
                </a:ext>
              </a:extLst>
            </p:cNvPr>
            <p:cNvSpPr txBox="1">
              <a:spLocks/>
            </p:cNvSpPr>
            <p:nvPr/>
          </p:nvSpPr>
          <p:spPr>
            <a:xfrm>
              <a:off x="2244758" y="4035667"/>
              <a:ext cx="1645383" cy="571008"/>
            </a:xfrm>
            <a:prstGeom prst="rect">
              <a:avLst/>
            </a:prstGeom>
            <a:noFill/>
          </p:spPr>
          <p:txBody>
            <a:bodyPr wrap="none" tIns="89629" bIns="89629"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287">
                <a:defRPr/>
              </a:pPr>
              <a:r>
                <a:rPr lang="en-US" sz="1400" spc="0" dirty="0">
                  <a:solidFill>
                    <a:schemeClr val="tx1"/>
                  </a:solidFill>
                  <a:latin typeface="+mn-lt"/>
                  <a:cs typeface="Segoe UI Semibold" panose="020B0702040204020203" pitchFamily="34" charset="0"/>
                </a:rPr>
                <a:t>PostgreSQL </a:t>
              </a:r>
            </a:p>
          </p:txBody>
        </p:sp>
        <p:pic>
          <p:nvPicPr>
            <p:cNvPr id="228" name="Picture 227">
              <a:extLst>
                <a:ext uri="{FF2B5EF4-FFF2-40B4-BE49-F238E27FC236}">
                  <a16:creationId xmlns:a16="http://schemas.microsoft.com/office/drawing/2014/main" id="{91D51374-DBEB-4440-AFEE-99E40712AEC1}"/>
                </a:ext>
              </a:extLst>
            </p:cNvPr>
            <p:cNvPicPr>
              <a:picLocks noChangeAspect="1"/>
            </p:cNvPicPr>
            <p:nvPr/>
          </p:nvPicPr>
          <p:blipFill rotWithShape="1">
            <a:blip r:embed="rId21"/>
            <a:srcRect l="5625" t="3852" r="4118" b="4813"/>
            <a:stretch/>
          </p:blipFill>
          <p:spPr>
            <a:xfrm>
              <a:off x="2543445" y="2966493"/>
              <a:ext cx="975813" cy="1033751"/>
            </a:xfrm>
            <a:prstGeom prst="ellipse">
              <a:avLst/>
            </a:prstGeom>
            <a:solidFill>
              <a:schemeClr val="accent1"/>
            </a:solidFill>
          </p:spPr>
        </p:pic>
      </p:grpSp>
      <p:grpSp>
        <p:nvGrpSpPr>
          <p:cNvPr id="229" name="Group 228">
            <a:extLst>
              <a:ext uri="{FF2B5EF4-FFF2-40B4-BE49-F238E27FC236}">
                <a16:creationId xmlns:a16="http://schemas.microsoft.com/office/drawing/2014/main" id="{D662F025-D763-4C22-BB46-E7CF10CD539F}"/>
              </a:ext>
            </a:extLst>
          </p:cNvPr>
          <p:cNvGrpSpPr/>
          <p:nvPr/>
        </p:nvGrpSpPr>
        <p:grpSpPr>
          <a:xfrm>
            <a:off x="3888331" y="3091880"/>
            <a:ext cx="886782" cy="1265814"/>
            <a:chOff x="6063970" y="2696415"/>
            <a:chExt cx="1513166" cy="1910260"/>
          </a:xfrm>
        </p:grpSpPr>
        <p:sp>
          <p:nvSpPr>
            <p:cNvPr id="230" name="Title 1">
              <a:extLst>
                <a:ext uri="{FF2B5EF4-FFF2-40B4-BE49-F238E27FC236}">
                  <a16:creationId xmlns:a16="http://schemas.microsoft.com/office/drawing/2014/main" id="{36234B62-AAC6-4B06-9EFD-02D8F9412BED}"/>
                </a:ext>
              </a:extLst>
            </p:cNvPr>
            <p:cNvSpPr txBox="1">
              <a:spLocks/>
            </p:cNvSpPr>
            <p:nvPr/>
          </p:nvSpPr>
          <p:spPr>
            <a:xfrm>
              <a:off x="6063970" y="4040895"/>
              <a:ext cx="1513166" cy="565780"/>
            </a:xfrm>
            <a:prstGeom prst="rect">
              <a:avLst/>
            </a:prstGeom>
            <a:noFill/>
          </p:spPr>
          <p:txBody>
            <a:bodyPr wrap="none" tIns="89629" bIns="89629"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287">
                <a:defRPr/>
              </a:pPr>
              <a:r>
                <a:rPr lang="en-US" sz="1400" spc="0" dirty="0">
                  <a:solidFill>
                    <a:schemeClr val="tx1"/>
                  </a:solidFill>
                  <a:latin typeface="+mn-lt"/>
                  <a:cs typeface="Segoe UI Semibold" panose="020B0702040204020203" pitchFamily="34" charset="0"/>
                </a:rPr>
                <a:t>MariaDB</a:t>
              </a:r>
            </a:p>
          </p:txBody>
        </p:sp>
        <p:grpSp>
          <p:nvGrpSpPr>
            <p:cNvPr id="231" name="Group 230">
              <a:extLst>
                <a:ext uri="{FF2B5EF4-FFF2-40B4-BE49-F238E27FC236}">
                  <a16:creationId xmlns:a16="http://schemas.microsoft.com/office/drawing/2014/main" id="{59ED7081-999A-44E3-B95C-5935D84D159D}"/>
                </a:ext>
              </a:extLst>
            </p:cNvPr>
            <p:cNvGrpSpPr/>
            <p:nvPr/>
          </p:nvGrpSpPr>
          <p:grpSpPr>
            <a:xfrm>
              <a:off x="6326686" y="2696415"/>
              <a:ext cx="935494" cy="1232448"/>
              <a:chOff x="6643067" y="1819338"/>
              <a:chExt cx="957971" cy="1262060"/>
            </a:xfrm>
          </p:grpSpPr>
          <p:sp>
            <p:nvSpPr>
              <p:cNvPr id="232" name="Freeform: Shape 231">
                <a:extLst>
                  <a:ext uri="{FF2B5EF4-FFF2-40B4-BE49-F238E27FC236}">
                    <a16:creationId xmlns:a16="http://schemas.microsoft.com/office/drawing/2014/main" id="{AC3640BF-94C4-4D5E-B3CE-891F84E25BC5}"/>
                  </a:ext>
                </a:extLst>
              </p:cNvPr>
              <p:cNvSpPr/>
              <p:nvPr/>
            </p:nvSpPr>
            <p:spPr>
              <a:xfrm>
                <a:off x="6643067" y="1990300"/>
                <a:ext cx="480396" cy="1091006"/>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14501"/>
                <a:endParaRPr lang="en-US" sz="1400" dirty="0"/>
              </a:p>
            </p:txBody>
          </p:sp>
          <p:sp>
            <p:nvSpPr>
              <p:cNvPr id="233" name="Freeform: Shape 232">
                <a:extLst>
                  <a:ext uri="{FF2B5EF4-FFF2-40B4-BE49-F238E27FC236}">
                    <a16:creationId xmlns:a16="http://schemas.microsoft.com/office/drawing/2014/main" id="{6F84947A-35BD-445A-9CB2-A7882BF4737E}"/>
                  </a:ext>
                </a:extLst>
              </p:cNvPr>
              <p:cNvSpPr/>
              <p:nvPr/>
            </p:nvSpPr>
            <p:spPr>
              <a:xfrm>
                <a:off x="7109470" y="1998298"/>
                <a:ext cx="491568" cy="1083100"/>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14501"/>
                <a:endParaRPr lang="en-US" sz="1400" dirty="0"/>
              </a:p>
            </p:txBody>
          </p:sp>
          <p:sp>
            <p:nvSpPr>
              <p:cNvPr id="234" name="Freeform: Shape 233">
                <a:extLst>
                  <a:ext uri="{FF2B5EF4-FFF2-40B4-BE49-F238E27FC236}">
                    <a16:creationId xmlns:a16="http://schemas.microsoft.com/office/drawing/2014/main" id="{A38E8C85-E077-4DC8-AF9A-F4DF80BFA214}"/>
                  </a:ext>
                </a:extLst>
              </p:cNvPr>
              <p:cNvSpPr/>
              <p:nvPr/>
            </p:nvSpPr>
            <p:spPr>
              <a:xfrm>
                <a:off x="6643067" y="1819338"/>
                <a:ext cx="949620" cy="359920"/>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14501"/>
                <a:endParaRPr lang="en-US" sz="1400" dirty="0"/>
              </a:p>
            </p:txBody>
          </p:sp>
          <p:sp>
            <p:nvSpPr>
              <p:cNvPr id="235" name="Freeform: Shape 234">
                <a:extLst>
                  <a:ext uri="{FF2B5EF4-FFF2-40B4-BE49-F238E27FC236}">
                    <a16:creationId xmlns:a16="http://schemas.microsoft.com/office/drawing/2014/main" id="{1E8D296E-A2EF-4DDE-9900-12E301FCC63C}"/>
                  </a:ext>
                </a:extLst>
              </p:cNvPr>
              <p:cNvSpPr/>
              <p:nvPr/>
            </p:nvSpPr>
            <p:spPr>
              <a:xfrm>
                <a:off x="6738029" y="1866578"/>
                <a:ext cx="759696" cy="23619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14501"/>
                <a:endParaRPr lang="en-US" sz="1400" dirty="0"/>
              </a:p>
            </p:txBody>
          </p:sp>
          <p:sp>
            <p:nvSpPr>
              <p:cNvPr id="236" name="Freeform: Shape 235">
                <a:extLst>
                  <a:ext uri="{FF2B5EF4-FFF2-40B4-BE49-F238E27FC236}">
                    <a16:creationId xmlns:a16="http://schemas.microsoft.com/office/drawing/2014/main" id="{C323229D-B6F6-4DAB-8C8D-D90A397B7385}"/>
                  </a:ext>
                </a:extLst>
              </p:cNvPr>
              <p:cNvSpPr/>
              <p:nvPr/>
            </p:nvSpPr>
            <p:spPr>
              <a:xfrm>
                <a:off x="6738029" y="1866578"/>
                <a:ext cx="759696" cy="191207"/>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14501"/>
                <a:endParaRPr lang="en-US" sz="1400" dirty="0"/>
              </a:p>
            </p:txBody>
          </p:sp>
          <p:sp>
            <p:nvSpPr>
              <p:cNvPr id="237" name="Freeform: Shape 236">
                <a:extLst>
                  <a:ext uri="{FF2B5EF4-FFF2-40B4-BE49-F238E27FC236}">
                    <a16:creationId xmlns:a16="http://schemas.microsoft.com/office/drawing/2014/main" id="{ACB98721-0334-4CCE-8760-325C8042A39E}"/>
                  </a:ext>
                </a:extLst>
              </p:cNvPr>
              <p:cNvSpPr/>
              <p:nvPr/>
            </p:nvSpPr>
            <p:spPr>
              <a:xfrm>
                <a:off x="6715685" y="2298594"/>
                <a:ext cx="793212" cy="539879"/>
              </a:xfrm>
              <a:custGeom>
                <a:avLst/>
                <a:gdLst>
                  <a:gd name="connsiteX0" fmla="*/ 9776 w 793212"/>
                  <a:gd name="connsiteY0" fmla="*/ 460866 h 539879"/>
                  <a:gd name="connsiteX1" fmla="*/ 60832 w 793212"/>
                  <a:gd name="connsiteY1" fmla="*/ 443095 h 539879"/>
                  <a:gd name="connsiteX2" fmla="*/ 123618 w 793212"/>
                  <a:gd name="connsiteY2" fmla="*/ 437134 h 539879"/>
                  <a:gd name="connsiteX3" fmla="*/ 174674 w 793212"/>
                  <a:gd name="connsiteY3" fmla="*/ 399567 h 539879"/>
                  <a:gd name="connsiteX4" fmla="*/ 310079 w 793212"/>
                  <a:gd name="connsiteY4" fmla="*/ 298340 h 539879"/>
                  <a:gd name="connsiteX5" fmla="*/ 529944 w 793212"/>
                  <a:gd name="connsiteY5" fmla="*/ 195538 h 539879"/>
                  <a:gd name="connsiteX6" fmla="*/ 698753 w 793212"/>
                  <a:gd name="connsiteY6" fmla="*/ 31549 h 539879"/>
                  <a:gd name="connsiteX7" fmla="*/ 779191 w 793212"/>
                  <a:gd name="connsiteY7" fmla="*/ 9842 h 539879"/>
                  <a:gd name="connsiteX8" fmla="*/ 789023 w 793212"/>
                  <a:gd name="connsiteY8" fmla="*/ 54831 h 539879"/>
                  <a:gd name="connsiteX9" fmla="*/ 781202 w 793212"/>
                  <a:gd name="connsiteY9" fmla="*/ 62705 h 539879"/>
                  <a:gd name="connsiteX10" fmla="*/ 732045 w 793212"/>
                  <a:gd name="connsiteY10" fmla="*/ 115455 h 539879"/>
                  <a:gd name="connsiteX11" fmla="*/ 683000 w 793212"/>
                  <a:gd name="connsiteY11" fmla="*/ 227930 h 539879"/>
                  <a:gd name="connsiteX12" fmla="*/ 600551 w 793212"/>
                  <a:gd name="connsiteY12" fmla="*/ 411714 h 539879"/>
                  <a:gd name="connsiteX13" fmla="*/ 590720 w 793212"/>
                  <a:gd name="connsiteY13" fmla="*/ 415651 h 539879"/>
                  <a:gd name="connsiteX14" fmla="*/ 582899 w 793212"/>
                  <a:gd name="connsiteY14" fmla="*/ 427461 h 539879"/>
                  <a:gd name="connsiteX15" fmla="*/ 567147 w 793212"/>
                  <a:gd name="connsiteY15" fmla="*/ 415651 h 539879"/>
                  <a:gd name="connsiteX16" fmla="*/ 541674 w 793212"/>
                  <a:gd name="connsiteY16" fmla="*/ 457154 h 539879"/>
                  <a:gd name="connsiteX17" fmla="*/ 421911 w 793212"/>
                  <a:gd name="connsiteY17" fmla="*/ 530263 h 539879"/>
                  <a:gd name="connsiteX18" fmla="*/ 480787 w 793212"/>
                  <a:gd name="connsiteY18" fmla="*/ 382021 h 539879"/>
                  <a:gd name="connsiteX19" fmla="*/ 463135 w 793212"/>
                  <a:gd name="connsiteY19" fmla="*/ 425436 h 539879"/>
                  <a:gd name="connsiteX20" fmla="*/ 427832 w 793212"/>
                  <a:gd name="connsiteY20" fmla="*/ 451080 h 539879"/>
                  <a:gd name="connsiteX21" fmla="*/ 211989 w 793212"/>
                  <a:gd name="connsiteY21" fmla="*/ 451080 h 539879"/>
                  <a:gd name="connsiteX22" fmla="*/ 100269 w 793212"/>
                  <a:gd name="connsiteY22" fmla="*/ 512379 h 539879"/>
                  <a:gd name="connsiteX23" fmla="*/ 25640 w 793212"/>
                  <a:gd name="connsiteY23" fmla="*/ 508443 h 539879"/>
                  <a:gd name="connsiteX24" fmla="*/ 53123 w 793212"/>
                  <a:gd name="connsiteY24" fmla="*/ 476837 h 539879"/>
                  <a:gd name="connsiteX25" fmla="*/ 9776 w 793212"/>
                  <a:gd name="connsiteY25" fmla="*/ 460866 h 53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3212" h="539879">
                    <a:moveTo>
                      <a:pt x="9776" y="460866"/>
                    </a:moveTo>
                    <a:cubicBezTo>
                      <a:pt x="9776" y="460866"/>
                      <a:pt x="48989" y="443095"/>
                      <a:pt x="60832" y="443095"/>
                    </a:cubicBezTo>
                    <a:cubicBezTo>
                      <a:pt x="60832" y="443095"/>
                      <a:pt x="103955" y="437134"/>
                      <a:pt x="123618" y="437134"/>
                    </a:cubicBezTo>
                    <a:cubicBezTo>
                      <a:pt x="143281" y="437134"/>
                      <a:pt x="160598" y="421387"/>
                      <a:pt x="174674" y="399567"/>
                    </a:cubicBezTo>
                    <a:cubicBezTo>
                      <a:pt x="188751" y="377747"/>
                      <a:pt x="245281" y="312624"/>
                      <a:pt x="310079" y="298340"/>
                    </a:cubicBezTo>
                    <a:cubicBezTo>
                      <a:pt x="374876" y="284055"/>
                      <a:pt x="474978" y="268646"/>
                      <a:pt x="529944" y="195538"/>
                    </a:cubicBezTo>
                    <a:cubicBezTo>
                      <a:pt x="584910" y="122429"/>
                      <a:pt x="614292" y="35486"/>
                      <a:pt x="698753" y="31549"/>
                    </a:cubicBezTo>
                    <a:cubicBezTo>
                      <a:pt x="783213" y="27613"/>
                      <a:pt x="755618" y="9842"/>
                      <a:pt x="779191" y="9842"/>
                    </a:cubicBezTo>
                    <a:cubicBezTo>
                      <a:pt x="802764" y="9842"/>
                      <a:pt x="789023" y="54831"/>
                      <a:pt x="789023" y="54831"/>
                    </a:cubicBezTo>
                    <a:cubicBezTo>
                      <a:pt x="789023" y="54831"/>
                      <a:pt x="781202" y="60793"/>
                      <a:pt x="781202" y="62705"/>
                    </a:cubicBezTo>
                    <a:cubicBezTo>
                      <a:pt x="781202" y="64617"/>
                      <a:pt x="775058" y="89361"/>
                      <a:pt x="732045" y="115455"/>
                    </a:cubicBezTo>
                    <a:cubicBezTo>
                      <a:pt x="689033" y="141550"/>
                      <a:pt x="687357" y="202399"/>
                      <a:pt x="683000" y="227930"/>
                    </a:cubicBezTo>
                    <a:cubicBezTo>
                      <a:pt x="678643" y="253462"/>
                      <a:pt x="639876" y="378084"/>
                      <a:pt x="600551" y="411714"/>
                    </a:cubicBezTo>
                    <a:lnTo>
                      <a:pt x="590720" y="415651"/>
                    </a:lnTo>
                    <a:cubicBezTo>
                      <a:pt x="590720" y="415651"/>
                      <a:pt x="586809" y="425549"/>
                      <a:pt x="582899" y="427461"/>
                    </a:cubicBezTo>
                    <a:cubicBezTo>
                      <a:pt x="578989" y="429373"/>
                      <a:pt x="569158" y="419588"/>
                      <a:pt x="567147" y="415651"/>
                    </a:cubicBezTo>
                    <a:cubicBezTo>
                      <a:pt x="565136" y="411714"/>
                      <a:pt x="547484" y="449393"/>
                      <a:pt x="541674" y="457154"/>
                    </a:cubicBezTo>
                    <a:cubicBezTo>
                      <a:pt x="515820" y="499562"/>
                      <a:pt x="471215" y="526791"/>
                      <a:pt x="421911" y="530263"/>
                    </a:cubicBezTo>
                    <a:cubicBezTo>
                      <a:pt x="421911" y="530263"/>
                      <a:pt x="486708" y="421612"/>
                      <a:pt x="480787" y="382021"/>
                    </a:cubicBezTo>
                    <a:cubicBezTo>
                      <a:pt x="473526" y="395886"/>
                      <a:pt x="467614" y="410425"/>
                      <a:pt x="463135" y="425436"/>
                    </a:cubicBezTo>
                    <a:cubicBezTo>
                      <a:pt x="463135" y="433309"/>
                      <a:pt x="449394" y="449168"/>
                      <a:pt x="427832" y="451080"/>
                    </a:cubicBezTo>
                    <a:cubicBezTo>
                      <a:pt x="406270" y="452993"/>
                      <a:pt x="268854" y="419475"/>
                      <a:pt x="211989" y="451080"/>
                    </a:cubicBezTo>
                    <a:cubicBezTo>
                      <a:pt x="155123" y="482686"/>
                      <a:pt x="131550" y="510355"/>
                      <a:pt x="100269" y="512379"/>
                    </a:cubicBezTo>
                    <a:cubicBezTo>
                      <a:pt x="68987" y="514404"/>
                      <a:pt x="37482" y="514404"/>
                      <a:pt x="25640" y="508443"/>
                    </a:cubicBezTo>
                    <a:cubicBezTo>
                      <a:pt x="25640" y="508443"/>
                      <a:pt x="51112" y="480774"/>
                      <a:pt x="53123" y="476837"/>
                    </a:cubicBezTo>
                    <a:cubicBezTo>
                      <a:pt x="52899" y="476725"/>
                      <a:pt x="15362" y="484598"/>
                      <a:pt x="9776" y="460866"/>
                    </a:cubicBezTo>
                    <a:close/>
                  </a:path>
                </a:pathLst>
              </a:custGeom>
              <a:solidFill>
                <a:srgbClr val="FFFFFF"/>
              </a:solidFill>
              <a:ln w="11113" cap="flat">
                <a:noFill/>
                <a:prstDash val="solid"/>
                <a:miter/>
              </a:ln>
            </p:spPr>
            <p:txBody>
              <a:bodyPr rtlCol="0" anchor="ctr"/>
              <a:lstStyle/>
              <a:p>
                <a:pPr defTabSz="914501"/>
                <a:endParaRPr lang="en-US" sz="1400" dirty="0"/>
              </a:p>
            </p:txBody>
          </p:sp>
          <p:sp>
            <p:nvSpPr>
              <p:cNvPr id="238" name="Freeform: Shape 237">
                <a:extLst>
                  <a:ext uri="{FF2B5EF4-FFF2-40B4-BE49-F238E27FC236}">
                    <a16:creationId xmlns:a16="http://schemas.microsoft.com/office/drawing/2014/main" id="{C945E72D-69F7-4914-9FD5-D6220F6B4C17}"/>
                  </a:ext>
                </a:extLst>
              </p:cNvPr>
              <p:cNvSpPr/>
              <p:nvPr/>
            </p:nvSpPr>
            <p:spPr>
              <a:xfrm>
                <a:off x="7458786" y="2316815"/>
                <a:ext cx="44688" cy="44990"/>
              </a:xfrm>
              <a:custGeom>
                <a:avLst/>
                <a:gdLst>
                  <a:gd name="connsiteX0" fmla="*/ 40000 w 44688"/>
                  <a:gd name="connsiteY0" fmla="*/ 43472 h 44989"/>
                  <a:gd name="connsiteX1" fmla="*/ 45921 w 44688"/>
                  <a:gd name="connsiteY1" fmla="*/ 37510 h 44989"/>
                  <a:gd name="connsiteX2" fmla="*/ 10618 w 44688"/>
                  <a:gd name="connsiteY2" fmla="*/ 9842 h 44989"/>
                  <a:gd name="connsiteX3" fmla="*/ 10618 w 44688"/>
                  <a:gd name="connsiteY3" fmla="*/ 17715 h 44989"/>
                  <a:gd name="connsiteX4" fmla="*/ 40000 w 44688"/>
                  <a:gd name="connsiteY4" fmla="*/ 43472 h 44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88" h="44989">
                    <a:moveTo>
                      <a:pt x="40000" y="43472"/>
                    </a:moveTo>
                    <a:lnTo>
                      <a:pt x="45921" y="37510"/>
                    </a:lnTo>
                    <a:cubicBezTo>
                      <a:pt x="45921" y="37510"/>
                      <a:pt x="18438" y="29637"/>
                      <a:pt x="10618" y="9842"/>
                    </a:cubicBezTo>
                    <a:cubicBezTo>
                      <a:pt x="9495" y="12344"/>
                      <a:pt x="9495" y="15212"/>
                      <a:pt x="10618" y="17715"/>
                    </a:cubicBezTo>
                    <a:cubicBezTo>
                      <a:pt x="18950" y="27858"/>
                      <a:pt x="28875" y="36558"/>
                      <a:pt x="40000" y="43472"/>
                    </a:cubicBezTo>
                    <a:close/>
                  </a:path>
                </a:pathLst>
              </a:custGeom>
              <a:solidFill>
                <a:schemeClr val="accent1"/>
              </a:solidFill>
              <a:ln w="11113" cap="flat">
                <a:noFill/>
                <a:prstDash val="solid"/>
                <a:miter/>
              </a:ln>
            </p:spPr>
            <p:txBody>
              <a:bodyPr rtlCol="0" anchor="ctr"/>
              <a:lstStyle/>
              <a:p>
                <a:pPr defTabSz="914501"/>
                <a:endParaRPr lang="en-US" sz="1400" dirty="0"/>
              </a:p>
            </p:txBody>
          </p:sp>
          <p:sp>
            <p:nvSpPr>
              <p:cNvPr id="239" name="Freeform: Shape 238">
                <a:extLst>
                  <a:ext uri="{FF2B5EF4-FFF2-40B4-BE49-F238E27FC236}">
                    <a16:creationId xmlns:a16="http://schemas.microsoft.com/office/drawing/2014/main" id="{7E353D58-4C5F-42D4-BEE6-5D76ACFA8032}"/>
                  </a:ext>
                </a:extLst>
              </p:cNvPr>
              <p:cNvSpPr/>
              <p:nvPr/>
            </p:nvSpPr>
            <p:spPr>
              <a:xfrm>
                <a:off x="7367236" y="2347916"/>
                <a:ext cx="55860" cy="44990"/>
              </a:xfrm>
              <a:custGeom>
                <a:avLst/>
                <a:gdLst>
                  <a:gd name="connsiteX0" fmla="*/ 9776 w 55860"/>
                  <a:gd name="connsiteY0" fmla="*/ 32391 h 44989"/>
                  <a:gd name="connsiteX1" fmla="*/ 47090 w 55860"/>
                  <a:gd name="connsiteY1" fmla="*/ 10683 h 44989"/>
                  <a:gd name="connsiteX2" fmla="*/ 35553 w 55860"/>
                  <a:gd name="connsiteY2" fmla="*/ 37200 h 44989"/>
                  <a:gd name="connsiteX3" fmla="*/ 31337 w 55860"/>
                  <a:gd name="connsiteY3" fmla="*/ 38352 h 44989"/>
                  <a:gd name="connsiteX4" fmla="*/ 9776 w 55860"/>
                  <a:gd name="connsiteY4" fmla="*/ 32391 h 44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60" h="44989">
                    <a:moveTo>
                      <a:pt x="9776" y="32391"/>
                    </a:moveTo>
                    <a:cubicBezTo>
                      <a:pt x="9776" y="32391"/>
                      <a:pt x="21506" y="4722"/>
                      <a:pt x="47090" y="10683"/>
                    </a:cubicBezTo>
                    <a:cubicBezTo>
                      <a:pt x="51178" y="21213"/>
                      <a:pt x="46012" y="33085"/>
                      <a:pt x="35553" y="37200"/>
                    </a:cubicBezTo>
                    <a:cubicBezTo>
                      <a:pt x="34193" y="37735"/>
                      <a:pt x="32780" y="38121"/>
                      <a:pt x="31337" y="38352"/>
                    </a:cubicBezTo>
                    <a:cubicBezTo>
                      <a:pt x="23642" y="39419"/>
                      <a:pt x="15850" y="37265"/>
                      <a:pt x="9776" y="32391"/>
                    </a:cubicBezTo>
                    <a:close/>
                  </a:path>
                </a:pathLst>
              </a:custGeom>
              <a:solidFill>
                <a:schemeClr val="accent1"/>
              </a:solidFill>
              <a:ln w="11113" cap="flat">
                <a:noFill/>
                <a:prstDash val="solid"/>
                <a:miter/>
              </a:ln>
            </p:spPr>
            <p:txBody>
              <a:bodyPr rtlCol="0" anchor="ctr"/>
              <a:lstStyle/>
              <a:p>
                <a:pPr defTabSz="914501"/>
                <a:endParaRPr lang="en-US" sz="1400" dirty="0"/>
              </a:p>
            </p:txBody>
          </p:sp>
          <p:sp>
            <p:nvSpPr>
              <p:cNvPr id="240" name="Freeform: Shape 239">
                <a:extLst>
                  <a:ext uri="{FF2B5EF4-FFF2-40B4-BE49-F238E27FC236}">
                    <a16:creationId xmlns:a16="http://schemas.microsoft.com/office/drawing/2014/main" id="{E045808D-C0C8-470B-827A-C7AF40325D5C}"/>
                  </a:ext>
                </a:extLst>
              </p:cNvPr>
              <p:cNvSpPr/>
              <p:nvPr/>
            </p:nvSpPr>
            <p:spPr>
              <a:xfrm>
                <a:off x="7436921" y="2341644"/>
                <a:ext cx="22344" cy="44990"/>
              </a:xfrm>
              <a:custGeom>
                <a:avLst/>
                <a:gdLst>
                  <a:gd name="connsiteX0" fmla="*/ 28461 w 22344"/>
                  <a:gd name="connsiteY0" fmla="*/ 4921 h 44989"/>
                  <a:gd name="connsiteX1" fmla="*/ 4888 w 22344"/>
                  <a:gd name="connsiteY1" fmla="*/ 46424 h 44989"/>
                </a:gdLst>
                <a:ahLst/>
                <a:cxnLst>
                  <a:cxn ang="0">
                    <a:pos x="connsiteX0" y="connsiteY0"/>
                  </a:cxn>
                  <a:cxn ang="0">
                    <a:pos x="connsiteX1" y="connsiteY1"/>
                  </a:cxn>
                </a:cxnLst>
                <a:rect l="l" t="t" r="r" b="b"/>
                <a:pathLst>
                  <a:path w="22344" h="44989">
                    <a:moveTo>
                      <a:pt x="28461" y="4921"/>
                    </a:moveTo>
                    <a:cubicBezTo>
                      <a:pt x="28461" y="4921"/>
                      <a:pt x="6899" y="34614"/>
                      <a:pt x="4888" y="46424"/>
                    </a:cubicBezTo>
                  </a:path>
                </a:pathLst>
              </a:custGeom>
              <a:solidFill>
                <a:schemeClr val="accent1"/>
              </a:solidFill>
              <a:ln w="5556" cap="flat">
                <a:solidFill>
                  <a:schemeClr val="accent1"/>
                </a:solidFill>
                <a:prstDash val="solid"/>
                <a:miter/>
              </a:ln>
            </p:spPr>
            <p:txBody>
              <a:bodyPr rtlCol="0" anchor="ctr"/>
              <a:lstStyle/>
              <a:p>
                <a:pPr defTabSz="914501"/>
                <a:endParaRPr lang="en-US" sz="1400" dirty="0"/>
              </a:p>
            </p:txBody>
          </p:sp>
          <p:sp>
            <p:nvSpPr>
              <p:cNvPr id="241" name="Freeform: Shape 240">
                <a:extLst>
                  <a:ext uri="{FF2B5EF4-FFF2-40B4-BE49-F238E27FC236}">
                    <a16:creationId xmlns:a16="http://schemas.microsoft.com/office/drawing/2014/main" id="{751B7C37-06FD-4395-B77C-CFB0CB73AE35}"/>
                  </a:ext>
                </a:extLst>
              </p:cNvPr>
              <p:cNvSpPr/>
              <p:nvPr/>
            </p:nvSpPr>
            <p:spPr>
              <a:xfrm>
                <a:off x="7448651" y="2347492"/>
                <a:ext cx="22344" cy="44990"/>
              </a:xfrm>
              <a:custGeom>
                <a:avLst/>
                <a:gdLst>
                  <a:gd name="connsiteX0" fmla="*/ 20640 w 22344"/>
                  <a:gd name="connsiteY0" fmla="*/ 4921 h 44989"/>
                  <a:gd name="connsiteX1" fmla="*/ 4888 w 22344"/>
                  <a:gd name="connsiteY1" fmla="*/ 42487 h 44989"/>
                </a:gdLst>
                <a:ahLst/>
                <a:cxnLst>
                  <a:cxn ang="0">
                    <a:pos x="connsiteX0" y="connsiteY0"/>
                  </a:cxn>
                  <a:cxn ang="0">
                    <a:pos x="connsiteX1" y="connsiteY1"/>
                  </a:cxn>
                </a:cxnLst>
                <a:rect l="l" t="t" r="r" b="b"/>
                <a:pathLst>
                  <a:path w="22344" h="44989">
                    <a:moveTo>
                      <a:pt x="20640" y="4921"/>
                    </a:moveTo>
                    <a:cubicBezTo>
                      <a:pt x="14443" y="17019"/>
                      <a:pt x="9177" y="29578"/>
                      <a:pt x="4888" y="42487"/>
                    </a:cubicBezTo>
                  </a:path>
                </a:pathLst>
              </a:custGeom>
              <a:solidFill>
                <a:schemeClr val="accent1"/>
              </a:solidFill>
              <a:ln w="5556" cap="flat">
                <a:solidFill>
                  <a:schemeClr val="accent1"/>
                </a:solidFill>
                <a:prstDash val="solid"/>
                <a:miter/>
              </a:ln>
            </p:spPr>
            <p:txBody>
              <a:bodyPr rtlCol="0" anchor="ctr"/>
              <a:lstStyle/>
              <a:p>
                <a:pPr defTabSz="914501"/>
                <a:endParaRPr lang="en-US" sz="1400" dirty="0"/>
              </a:p>
            </p:txBody>
          </p:sp>
          <p:sp>
            <p:nvSpPr>
              <p:cNvPr id="242" name="Freeform: Shape 241">
                <a:extLst>
                  <a:ext uri="{FF2B5EF4-FFF2-40B4-BE49-F238E27FC236}">
                    <a16:creationId xmlns:a16="http://schemas.microsoft.com/office/drawing/2014/main" id="{FC5693EB-2150-47CA-8287-53EA51999301}"/>
                  </a:ext>
                </a:extLst>
              </p:cNvPr>
              <p:cNvSpPr/>
              <p:nvPr/>
            </p:nvSpPr>
            <p:spPr>
              <a:xfrm>
                <a:off x="7460494" y="2347492"/>
                <a:ext cx="11172" cy="44990"/>
              </a:xfrm>
              <a:custGeom>
                <a:avLst/>
                <a:gdLst>
                  <a:gd name="connsiteX0" fmla="*/ 10809 w 11172"/>
                  <a:gd name="connsiteY0" fmla="*/ 4921 h 44989"/>
                  <a:gd name="connsiteX1" fmla="*/ 4888 w 11172"/>
                  <a:gd name="connsiteY1" fmla="*/ 42487 h 44989"/>
                </a:gdLst>
                <a:ahLst/>
                <a:cxnLst>
                  <a:cxn ang="0">
                    <a:pos x="connsiteX0" y="connsiteY0"/>
                  </a:cxn>
                  <a:cxn ang="0">
                    <a:pos x="connsiteX1" y="connsiteY1"/>
                  </a:cxn>
                </a:cxnLst>
                <a:rect l="l" t="t" r="r" b="b"/>
                <a:pathLst>
                  <a:path w="11172" h="44989">
                    <a:moveTo>
                      <a:pt x="10809" y="4921"/>
                    </a:moveTo>
                    <a:cubicBezTo>
                      <a:pt x="6881" y="17050"/>
                      <a:pt x="4882" y="29729"/>
                      <a:pt x="4888" y="42487"/>
                    </a:cubicBezTo>
                  </a:path>
                </a:pathLst>
              </a:custGeom>
              <a:solidFill>
                <a:schemeClr val="accent1"/>
              </a:solidFill>
              <a:ln w="5556" cap="flat">
                <a:solidFill>
                  <a:schemeClr val="accent1"/>
                </a:solidFill>
                <a:prstDash val="solid"/>
                <a:miter/>
              </a:ln>
            </p:spPr>
            <p:txBody>
              <a:bodyPr rtlCol="0" anchor="ctr"/>
              <a:lstStyle/>
              <a:p>
                <a:pPr defTabSz="914501"/>
                <a:endParaRPr lang="en-US" sz="1400" dirty="0"/>
              </a:p>
            </p:txBody>
          </p:sp>
          <p:sp>
            <p:nvSpPr>
              <p:cNvPr id="243" name="Freeform: Shape 242">
                <a:extLst>
                  <a:ext uri="{FF2B5EF4-FFF2-40B4-BE49-F238E27FC236}">
                    <a16:creationId xmlns:a16="http://schemas.microsoft.com/office/drawing/2014/main" id="{709B2298-A8F7-4B08-BDD8-3446A03D7E25}"/>
                  </a:ext>
                </a:extLst>
              </p:cNvPr>
              <p:cNvSpPr/>
              <p:nvPr/>
            </p:nvSpPr>
            <p:spPr>
              <a:xfrm>
                <a:off x="7300468" y="2676509"/>
                <a:ext cx="78204" cy="78732"/>
              </a:xfrm>
              <a:custGeom>
                <a:avLst/>
                <a:gdLst>
                  <a:gd name="connsiteX0" fmla="*/ 47161 w 78204"/>
                  <a:gd name="connsiteY0" fmla="*/ 9842 h 78732"/>
                  <a:gd name="connsiteX1" fmla="*/ 9846 w 78204"/>
                  <a:gd name="connsiteY1" fmla="*/ 54831 h 78732"/>
                  <a:gd name="connsiteX2" fmla="*/ 74644 w 78204"/>
                  <a:gd name="connsiteY2" fmla="*/ 78564 h 78732"/>
                  <a:gd name="connsiteX3" fmla="*/ 47161 w 78204"/>
                  <a:gd name="connsiteY3" fmla="*/ 9842 h 78732"/>
                </a:gdLst>
                <a:ahLst/>
                <a:cxnLst>
                  <a:cxn ang="0">
                    <a:pos x="connsiteX0" y="connsiteY0"/>
                  </a:cxn>
                  <a:cxn ang="0">
                    <a:pos x="connsiteX1" y="connsiteY1"/>
                  </a:cxn>
                  <a:cxn ang="0">
                    <a:pos x="connsiteX2" y="connsiteY2"/>
                  </a:cxn>
                  <a:cxn ang="0">
                    <a:pos x="connsiteX3" y="connsiteY3"/>
                  </a:cxn>
                </a:cxnLst>
                <a:rect l="l" t="t" r="r" b="b"/>
                <a:pathLst>
                  <a:path w="78204" h="78732">
                    <a:moveTo>
                      <a:pt x="47161" y="9842"/>
                    </a:moveTo>
                    <a:cubicBezTo>
                      <a:pt x="47161" y="9842"/>
                      <a:pt x="11857" y="43584"/>
                      <a:pt x="9846" y="54831"/>
                    </a:cubicBezTo>
                    <a:cubicBezTo>
                      <a:pt x="7835" y="66079"/>
                      <a:pt x="49060" y="84525"/>
                      <a:pt x="74644" y="78564"/>
                    </a:cubicBezTo>
                    <a:cubicBezTo>
                      <a:pt x="74644" y="79014"/>
                      <a:pt x="47161" y="17715"/>
                      <a:pt x="47161" y="9842"/>
                    </a:cubicBezTo>
                    <a:close/>
                  </a:path>
                </a:pathLst>
              </a:custGeom>
              <a:solidFill>
                <a:srgbClr val="FFFFFF"/>
              </a:solidFill>
              <a:ln w="11113" cap="flat">
                <a:noFill/>
                <a:prstDash val="solid"/>
                <a:miter/>
              </a:ln>
            </p:spPr>
            <p:txBody>
              <a:bodyPr rtlCol="0" anchor="ctr"/>
              <a:lstStyle/>
              <a:p>
                <a:pPr defTabSz="914501"/>
                <a:endParaRPr lang="en-US" sz="1400" dirty="0"/>
              </a:p>
            </p:txBody>
          </p:sp>
        </p:grpSp>
      </p:grpSp>
      <p:grpSp>
        <p:nvGrpSpPr>
          <p:cNvPr id="244" name="Group 243">
            <a:extLst>
              <a:ext uri="{FF2B5EF4-FFF2-40B4-BE49-F238E27FC236}">
                <a16:creationId xmlns:a16="http://schemas.microsoft.com/office/drawing/2014/main" id="{05A4779A-67FA-4AF2-A6FC-0B067108DBCC}"/>
              </a:ext>
            </a:extLst>
          </p:cNvPr>
          <p:cNvGrpSpPr/>
          <p:nvPr/>
        </p:nvGrpSpPr>
        <p:grpSpPr>
          <a:xfrm>
            <a:off x="6347382" y="3437190"/>
            <a:ext cx="1111203" cy="920504"/>
            <a:chOff x="9848731" y="2599216"/>
            <a:chExt cx="2497119" cy="2007459"/>
          </a:xfrm>
        </p:grpSpPr>
        <p:grpSp>
          <p:nvGrpSpPr>
            <p:cNvPr id="245" name="Group 244">
              <a:extLst>
                <a:ext uri="{FF2B5EF4-FFF2-40B4-BE49-F238E27FC236}">
                  <a16:creationId xmlns:a16="http://schemas.microsoft.com/office/drawing/2014/main" id="{C7892C20-48C2-4567-9F30-6D23C4519CF8}"/>
                </a:ext>
              </a:extLst>
            </p:cNvPr>
            <p:cNvGrpSpPr/>
            <p:nvPr/>
          </p:nvGrpSpPr>
          <p:grpSpPr>
            <a:xfrm>
              <a:off x="9848731" y="3789064"/>
              <a:ext cx="2497119" cy="817611"/>
              <a:chOff x="9848731" y="3789064"/>
              <a:chExt cx="2497119" cy="817611"/>
            </a:xfrm>
            <a:solidFill>
              <a:schemeClr val="accent1"/>
            </a:solidFill>
          </p:grpSpPr>
          <p:sp>
            <p:nvSpPr>
              <p:cNvPr id="256" name="Title 1">
                <a:extLst>
                  <a:ext uri="{FF2B5EF4-FFF2-40B4-BE49-F238E27FC236}">
                    <a16:creationId xmlns:a16="http://schemas.microsoft.com/office/drawing/2014/main" id="{670B6F02-6554-4A03-8842-5A65A7842086}"/>
                  </a:ext>
                </a:extLst>
              </p:cNvPr>
              <p:cNvSpPr txBox="1">
                <a:spLocks/>
              </p:cNvSpPr>
              <p:nvPr/>
            </p:nvSpPr>
            <p:spPr>
              <a:xfrm>
                <a:off x="9848731" y="3789064"/>
                <a:ext cx="2497119" cy="817611"/>
              </a:xfrm>
              <a:prstGeom prst="rect">
                <a:avLst/>
              </a:prstGeom>
              <a:noFill/>
            </p:spPr>
            <p:txBody>
              <a:bodyPr wrap="none" tIns="89629" bIns="89629"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287">
                  <a:defRPr/>
                </a:pPr>
                <a:r>
                  <a:rPr lang="en-US" sz="1400" spc="0" dirty="0">
                    <a:solidFill>
                      <a:schemeClr val="tx1"/>
                    </a:solidFill>
                    <a:latin typeface="+mn-lt"/>
                    <a:cs typeface="Segoe UI Semibold" panose="020B0702040204020203" pitchFamily="34" charset="0"/>
                  </a:rPr>
                  <a:t>Cosmos DB</a:t>
                </a:r>
              </a:p>
            </p:txBody>
          </p:sp>
        </p:grpSp>
        <p:grpSp>
          <p:nvGrpSpPr>
            <p:cNvPr id="246" name="Graphic 59">
              <a:extLst>
                <a:ext uri="{FF2B5EF4-FFF2-40B4-BE49-F238E27FC236}">
                  <a16:creationId xmlns:a16="http://schemas.microsoft.com/office/drawing/2014/main" id="{9C377BEF-6E30-4DF7-AA99-74905D218738}"/>
                </a:ext>
              </a:extLst>
            </p:cNvPr>
            <p:cNvGrpSpPr/>
            <p:nvPr/>
          </p:nvGrpSpPr>
          <p:grpSpPr>
            <a:xfrm>
              <a:off x="10339533" y="2599216"/>
              <a:ext cx="1427253" cy="1430840"/>
              <a:chOff x="10339533" y="2599216"/>
              <a:chExt cx="1427253" cy="1430840"/>
            </a:xfrm>
          </p:grpSpPr>
          <p:sp>
            <p:nvSpPr>
              <p:cNvPr id="247" name="Freeform: Shape 246">
                <a:extLst>
                  <a:ext uri="{FF2B5EF4-FFF2-40B4-BE49-F238E27FC236}">
                    <a16:creationId xmlns:a16="http://schemas.microsoft.com/office/drawing/2014/main" id="{5038DC8D-EC86-4B13-B9F2-450EEDAB5716}"/>
                  </a:ext>
                </a:extLst>
              </p:cNvPr>
              <p:cNvSpPr/>
              <p:nvPr/>
            </p:nvSpPr>
            <p:spPr>
              <a:xfrm>
                <a:off x="10524577" y="2783247"/>
                <a:ext cx="1012171" cy="1012171"/>
              </a:xfrm>
              <a:custGeom>
                <a:avLst/>
                <a:gdLst>
                  <a:gd name="connsiteX0" fmla="*/ 353972 w 1012170"/>
                  <a:gd name="connsiteY0" fmla="*/ 855457 h 1012170"/>
                  <a:gd name="connsiteX1" fmla="*/ 625418 w 1012170"/>
                  <a:gd name="connsiteY1" fmla="*/ 625418 h 1012170"/>
                  <a:gd name="connsiteX2" fmla="*/ 855457 w 1012170"/>
                  <a:gd name="connsiteY2" fmla="*/ 353972 h 1012170"/>
                  <a:gd name="connsiteX3" fmla="*/ 533402 w 1012170"/>
                  <a:gd name="connsiteY3" fmla="*/ 165340 h 1012170"/>
                  <a:gd name="connsiteX4" fmla="*/ 165340 w 1012170"/>
                  <a:gd name="connsiteY4" fmla="*/ 533402 h 1012170"/>
                  <a:gd name="connsiteX5" fmla="*/ 353972 w 1012170"/>
                  <a:gd name="connsiteY5" fmla="*/ 855457 h 101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2170" h="1012170">
                    <a:moveTo>
                      <a:pt x="353972" y="855457"/>
                    </a:moveTo>
                    <a:cubicBezTo>
                      <a:pt x="432185" y="800247"/>
                      <a:pt x="524201" y="722034"/>
                      <a:pt x="625418" y="625418"/>
                    </a:cubicBezTo>
                    <a:cubicBezTo>
                      <a:pt x="726635" y="524201"/>
                      <a:pt x="800247" y="432185"/>
                      <a:pt x="855457" y="353972"/>
                    </a:cubicBezTo>
                    <a:cubicBezTo>
                      <a:pt x="795647" y="243554"/>
                      <a:pt x="671426" y="165340"/>
                      <a:pt x="533402" y="165340"/>
                    </a:cubicBezTo>
                    <a:cubicBezTo>
                      <a:pt x="330968" y="165340"/>
                      <a:pt x="165340" y="330968"/>
                      <a:pt x="165340" y="533402"/>
                    </a:cubicBezTo>
                    <a:cubicBezTo>
                      <a:pt x="165340" y="671426"/>
                      <a:pt x="243554" y="791046"/>
                      <a:pt x="353972" y="855457"/>
                    </a:cubicBezTo>
                    <a:close/>
                  </a:path>
                </a:pathLst>
              </a:custGeom>
              <a:solidFill>
                <a:srgbClr val="B8D432"/>
              </a:solidFill>
              <a:ln w="45641" cap="flat">
                <a:noFill/>
                <a:prstDash val="solid"/>
                <a:miter/>
              </a:ln>
            </p:spPr>
            <p:txBody>
              <a:bodyPr rtlCol="0" anchor="ctr"/>
              <a:lstStyle/>
              <a:p>
                <a:pPr defTabSz="914501"/>
                <a:endParaRPr lang="en-US" sz="1400" dirty="0"/>
              </a:p>
            </p:txBody>
          </p:sp>
          <p:sp>
            <p:nvSpPr>
              <p:cNvPr id="248" name="Freeform: Shape 247">
                <a:extLst>
                  <a:ext uri="{FF2B5EF4-FFF2-40B4-BE49-F238E27FC236}">
                    <a16:creationId xmlns:a16="http://schemas.microsoft.com/office/drawing/2014/main" id="{EBED5060-F783-4A71-A0C6-6D11BABB86C3}"/>
                  </a:ext>
                </a:extLst>
              </p:cNvPr>
              <p:cNvSpPr/>
              <p:nvPr/>
            </p:nvSpPr>
            <p:spPr>
              <a:xfrm>
                <a:off x="10883437" y="3142107"/>
                <a:ext cx="690116" cy="690116"/>
              </a:xfrm>
              <a:custGeom>
                <a:avLst/>
                <a:gdLst>
                  <a:gd name="connsiteX0" fmla="*/ 363174 w 690116"/>
                  <a:gd name="connsiteY0" fmla="*/ 363174 h 690116"/>
                  <a:gd name="connsiteX1" fmla="*/ 165340 w 690116"/>
                  <a:gd name="connsiteY1" fmla="*/ 542604 h 690116"/>
                  <a:gd name="connsiteX2" fmla="*/ 174542 w 690116"/>
                  <a:gd name="connsiteY2" fmla="*/ 542604 h 690116"/>
                  <a:gd name="connsiteX3" fmla="*/ 542604 w 690116"/>
                  <a:gd name="connsiteY3" fmla="*/ 174542 h 690116"/>
                  <a:gd name="connsiteX4" fmla="*/ 542604 w 690116"/>
                  <a:gd name="connsiteY4" fmla="*/ 165340 h 690116"/>
                  <a:gd name="connsiteX5" fmla="*/ 363174 w 690116"/>
                  <a:gd name="connsiteY5" fmla="*/ 363174 h 69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116" h="690116">
                    <a:moveTo>
                      <a:pt x="363174" y="363174"/>
                    </a:moveTo>
                    <a:cubicBezTo>
                      <a:pt x="298763" y="427585"/>
                      <a:pt x="229751" y="487395"/>
                      <a:pt x="165340" y="542604"/>
                    </a:cubicBezTo>
                    <a:cubicBezTo>
                      <a:pt x="169941" y="542604"/>
                      <a:pt x="169941" y="542604"/>
                      <a:pt x="174542" y="542604"/>
                    </a:cubicBezTo>
                    <a:cubicBezTo>
                      <a:pt x="376976" y="542604"/>
                      <a:pt x="542604" y="376976"/>
                      <a:pt x="542604" y="174542"/>
                    </a:cubicBezTo>
                    <a:cubicBezTo>
                      <a:pt x="542604" y="169941"/>
                      <a:pt x="542604" y="169941"/>
                      <a:pt x="542604" y="165340"/>
                    </a:cubicBezTo>
                    <a:cubicBezTo>
                      <a:pt x="487395" y="234352"/>
                      <a:pt x="427585" y="298763"/>
                      <a:pt x="363174" y="363174"/>
                    </a:cubicBezTo>
                    <a:close/>
                  </a:path>
                </a:pathLst>
              </a:custGeom>
              <a:solidFill>
                <a:schemeClr val="accent1"/>
              </a:solidFill>
              <a:ln w="45641" cap="flat">
                <a:noFill/>
                <a:prstDash val="solid"/>
                <a:miter/>
              </a:ln>
            </p:spPr>
            <p:txBody>
              <a:bodyPr rtlCol="0" anchor="ctr"/>
              <a:lstStyle/>
              <a:p>
                <a:pPr defTabSz="914501"/>
                <a:endParaRPr lang="en-US" sz="1400" dirty="0"/>
              </a:p>
            </p:txBody>
          </p:sp>
          <p:sp>
            <p:nvSpPr>
              <p:cNvPr id="249" name="Freeform: Shape 248">
                <a:extLst>
                  <a:ext uri="{FF2B5EF4-FFF2-40B4-BE49-F238E27FC236}">
                    <a16:creationId xmlns:a16="http://schemas.microsoft.com/office/drawing/2014/main" id="{2DAE2A5B-7D70-43D2-8334-C53003CB2791}"/>
                  </a:ext>
                </a:extLst>
              </p:cNvPr>
              <p:cNvSpPr/>
              <p:nvPr/>
            </p:nvSpPr>
            <p:spPr>
              <a:xfrm>
                <a:off x="10339533" y="2603816"/>
                <a:ext cx="1426240" cy="1426240"/>
              </a:xfrm>
              <a:custGeom>
                <a:avLst/>
                <a:gdLst>
                  <a:gd name="connsiteX0" fmla="*/ 1242935 w 1426240"/>
                  <a:gd name="connsiteY0" fmla="*/ 188344 h 1426240"/>
                  <a:gd name="connsiteX1" fmla="*/ 1173923 w 1426240"/>
                  <a:gd name="connsiteY1" fmla="*/ 165340 h 1426240"/>
                  <a:gd name="connsiteX2" fmla="*/ 838067 w 1426240"/>
                  <a:gd name="connsiteY2" fmla="*/ 317166 h 1426240"/>
                  <a:gd name="connsiteX3" fmla="*/ 888675 w 1426240"/>
                  <a:gd name="connsiteY3" fmla="*/ 335569 h 1426240"/>
                  <a:gd name="connsiteX4" fmla="*/ 1178524 w 1426240"/>
                  <a:gd name="connsiteY4" fmla="*/ 211348 h 1426240"/>
                  <a:gd name="connsiteX5" fmla="*/ 1215330 w 1426240"/>
                  <a:gd name="connsiteY5" fmla="*/ 220550 h 1426240"/>
                  <a:gd name="connsiteX6" fmla="*/ 847268 w 1426240"/>
                  <a:gd name="connsiteY6" fmla="*/ 837054 h 1426240"/>
                  <a:gd name="connsiteX7" fmla="*/ 258369 w 1426240"/>
                  <a:gd name="connsiteY7" fmla="*/ 1214317 h 1426240"/>
                  <a:gd name="connsiteX8" fmla="*/ 221563 w 1426240"/>
                  <a:gd name="connsiteY8" fmla="*/ 1205116 h 1426240"/>
                  <a:gd name="connsiteX9" fmla="*/ 336582 w 1426240"/>
                  <a:gd name="connsiteY9" fmla="*/ 887662 h 1426240"/>
                  <a:gd name="connsiteX10" fmla="*/ 318179 w 1426240"/>
                  <a:gd name="connsiteY10" fmla="*/ 837054 h 1426240"/>
                  <a:gd name="connsiteX11" fmla="*/ 189357 w 1426240"/>
                  <a:gd name="connsiteY11" fmla="*/ 1241922 h 1426240"/>
                  <a:gd name="connsiteX12" fmla="*/ 258369 w 1426240"/>
                  <a:gd name="connsiteY12" fmla="*/ 1264926 h 1426240"/>
                  <a:gd name="connsiteX13" fmla="*/ 874873 w 1426240"/>
                  <a:gd name="connsiteY13" fmla="*/ 873860 h 1426240"/>
                  <a:gd name="connsiteX14" fmla="*/ 1242935 w 1426240"/>
                  <a:gd name="connsiteY14" fmla="*/ 188344 h 142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6240" h="1426240">
                    <a:moveTo>
                      <a:pt x="1242935" y="188344"/>
                    </a:moveTo>
                    <a:cubicBezTo>
                      <a:pt x="1229133" y="174542"/>
                      <a:pt x="1206129" y="165340"/>
                      <a:pt x="1173923" y="165340"/>
                    </a:cubicBezTo>
                    <a:cubicBezTo>
                      <a:pt x="1095710" y="165340"/>
                      <a:pt x="976090" y="220550"/>
                      <a:pt x="838067" y="317166"/>
                    </a:cubicBezTo>
                    <a:cubicBezTo>
                      <a:pt x="856470" y="321767"/>
                      <a:pt x="874873" y="330968"/>
                      <a:pt x="888675" y="335569"/>
                    </a:cubicBezTo>
                    <a:cubicBezTo>
                      <a:pt x="1017497" y="252755"/>
                      <a:pt x="1118714" y="211348"/>
                      <a:pt x="1178524" y="211348"/>
                    </a:cubicBezTo>
                    <a:cubicBezTo>
                      <a:pt x="1187726" y="211348"/>
                      <a:pt x="1206129" y="211348"/>
                      <a:pt x="1215330" y="220550"/>
                    </a:cubicBezTo>
                    <a:cubicBezTo>
                      <a:pt x="1256737" y="261957"/>
                      <a:pt x="1169322" y="514999"/>
                      <a:pt x="847268" y="837054"/>
                    </a:cubicBezTo>
                    <a:cubicBezTo>
                      <a:pt x="594226" y="1085495"/>
                      <a:pt x="364187" y="1214317"/>
                      <a:pt x="258369" y="1214317"/>
                    </a:cubicBezTo>
                    <a:cubicBezTo>
                      <a:pt x="249167" y="1214317"/>
                      <a:pt x="230764" y="1214317"/>
                      <a:pt x="221563" y="1205116"/>
                    </a:cubicBezTo>
                    <a:cubicBezTo>
                      <a:pt x="193958" y="1177511"/>
                      <a:pt x="221563" y="1057891"/>
                      <a:pt x="336582" y="887662"/>
                    </a:cubicBezTo>
                    <a:cubicBezTo>
                      <a:pt x="327381" y="869259"/>
                      <a:pt x="322780" y="855457"/>
                      <a:pt x="318179" y="837054"/>
                    </a:cubicBezTo>
                    <a:cubicBezTo>
                      <a:pt x="184757" y="1021085"/>
                      <a:pt x="129547" y="1182112"/>
                      <a:pt x="189357" y="1241922"/>
                    </a:cubicBezTo>
                    <a:cubicBezTo>
                      <a:pt x="203160" y="1255724"/>
                      <a:pt x="226163" y="1264926"/>
                      <a:pt x="258369" y="1264926"/>
                    </a:cubicBezTo>
                    <a:cubicBezTo>
                      <a:pt x="387191" y="1264926"/>
                      <a:pt x="635632" y="1113100"/>
                      <a:pt x="874873" y="873860"/>
                    </a:cubicBezTo>
                    <a:cubicBezTo>
                      <a:pt x="1164722" y="579410"/>
                      <a:pt x="1330350" y="275759"/>
                      <a:pt x="1242935" y="188344"/>
                    </a:cubicBezTo>
                    <a:close/>
                  </a:path>
                </a:pathLst>
              </a:custGeom>
              <a:solidFill>
                <a:schemeClr val="tx2"/>
              </a:solidFill>
              <a:ln w="45641" cap="flat">
                <a:noFill/>
                <a:prstDash val="solid"/>
                <a:miter/>
              </a:ln>
            </p:spPr>
            <p:txBody>
              <a:bodyPr rtlCol="0" anchor="ctr"/>
              <a:lstStyle/>
              <a:p>
                <a:pPr defTabSz="914501"/>
                <a:endParaRPr lang="en-US" sz="1400" dirty="0"/>
              </a:p>
            </p:txBody>
          </p:sp>
          <p:sp>
            <p:nvSpPr>
              <p:cNvPr id="250" name="Freeform: Shape 249">
                <a:extLst>
                  <a:ext uri="{FF2B5EF4-FFF2-40B4-BE49-F238E27FC236}">
                    <a16:creationId xmlns:a16="http://schemas.microsoft.com/office/drawing/2014/main" id="{5CC16A32-913E-4079-84AF-BA847962E5F3}"/>
                  </a:ext>
                </a:extLst>
              </p:cNvPr>
              <p:cNvSpPr/>
              <p:nvPr/>
            </p:nvSpPr>
            <p:spPr>
              <a:xfrm>
                <a:off x="10340546" y="2599216"/>
                <a:ext cx="690116" cy="690116"/>
              </a:xfrm>
              <a:custGeom>
                <a:avLst/>
                <a:gdLst>
                  <a:gd name="connsiteX0" fmla="*/ 349371 w 690116"/>
                  <a:gd name="connsiteY0" fmla="*/ 165340 h 690116"/>
                  <a:gd name="connsiteX1" fmla="*/ 165340 w 690116"/>
                  <a:gd name="connsiteY1" fmla="*/ 349371 h 690116"/>
                  <a:gd name="connsiteX2" fmla="*/ 349371 w 690116"/>
                  <a:gd name="connsiteY2" fmla="*/ 533402 h 690116"/>
                  <a:gd name="connsiteX3" fmla="*/ 533402 w 690116"/>
                  <a:gd name="connsiteY3" fmla="*/ 349371 h 690116"/>
                  <a:gd name="connsiteX4" fmla="*/ 349371 w 690116"/>
                  <a:gd name="connsiteY4" fmla="*/ 165340 h 690116"/>
                  <a:gd name="connsiteX5" fmla="*/ 349371 w 690116"/>
                  <a:gd name="connsiteY5" fmla="*/ 165340 h 69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116" h="690116">
                    <a:moveTo>
                      <a:pt x="349371" y="165340"/>
                    </a:moveTo>
                    <a:cubicBezTo>
                      <a:pt x="349371" y="266557"/>
                      <a:pt x="266557" y="349371"/>
                      <a:pt x="165340" y="349371"/>
                    </a:cubicBezTo>
                    <a:cubicBezTo>
                      <a:pt x="266557" y="349371"/>
                      <a:pt x="349371" y="432185"/>
                      <a:pt x="349371" y="533402"/>
                    </a:cubicBezTo>
                    <a:cubicBezTo>
                      <a:pt x="349371" y="432185"/>
                      <a:pt x="432185" y="349371"/>
                      <a:pt x="533402" y="349371"/>
                    </a:cubicBezTo>
                    <a:cubicBezTo>
                      <a:pt x="432185" y="349371"/>
                      <a:pt x="349371" y="266557"/>
                      <a:pt x="349371" y="165340"/>
                    </a:cubicBezTo>
                    <a:lnTo>
                      <a:pt x="349371" y="165340"/>
                    </a:lnTo>
                    <a:close/>
                  </a:path>
                </a:pathLst>
              </a:custGeom>
              <a:solidFill>
                <a:schemeClr val="tx2"/>
              </a:solidFill>
              <a:ln w="45641" cap="flat">
                <a:noFill/>
                <a:prstDash val="solid"/>
                <a:miter/>
              </a:ln>
            </p:spPr>
            <p:txBody>
              <a:bodyPr rtlCol="0" anchor="ctr"/>
              <a:lstStyle/>
              <a:p>
                <a:pPr defTabSz="914501"/>
                <a:endParaRPr lang="en-US" sz="1400" dirty="0"/>
              </a:p>
            </p:txBody>
          </p:sp>
          <p:sp>
            <p:nvSpPr>
              <p:cNvPr id="251" name="Freeform: Shape 250">
                <a:extLst>
                  <a:ext uri="{FF2B5EF4-FFF2-40B4-BE49-F238E27FC236}">
                    <a16:creationId xmlns:a16="http://schemas.microsoft.com/office/drawing/2014/main" id="{3A762913-A403-4C7D-81AE-9D8DD1101B12}"/>
                  </a:ext>
                </a:extLst>
              </p:cNvPr>
              <p:cNvSpPr/>
              <p:nvPr/>
            </p:nvSpPr>
            <p:spPr>
              <a:xfrm>
                <a:off x="11168685" y="3427355"/>
                <a:ext cx="598101" cy="598101"/>
              </a:xfrm>
              <a:custGeom>
                <a:avLst/>
                <a:gdLst>
                  <a:gd name="connsiteX0" fmla="*/ 303364 w 598100"/>
                  <a:gd name="connsiteY0" fmla="*/ 165340 h 598100"/>
                  <a:gd name="connsiteX1" fmla="*/ 165340 w 598100"/>
                  <a:gd name="connsiteY1" fmla="*/ 303364 h 598100"/>
                  <a:gd name="connsiteX2" fmla="*/ 303364 w 598100"/>
                  <a:gd name="connsiteY2" fmla="*/ 441387 h 598100"/>
                  <a:gd name="connsiteX3" fmla="*/ 441387 w 598100"/>
                  <a:gd name="connsiteY3" fmla="*/ 303364 h 598100"/>
                  <a:gd name="connsiteX4" fmla="*/ 303364 w 598100"/>
                  <a:gd name="connsiteY4" fmla="*/ 165340 h 598100"/>
                  <a:gd name="connsiteX5" fmla="*/ 303364 w 598100"/>
                  <a:gd name="connsiteY5" fmla="*/ 165340 h 59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8100" h="598100">
                    <a:moveTo>
                      <a:pt x="303364" y="165340"/>
                    </a:moveTo>
                    <a:cubicBezTo>
                      <a:pt x="303364" y="243554"/>
                      <a:pt x="243554" y="303364"/>
                      <a:pt x="165340" y="303364"/>
                    </a:cubicBezTo>
                    <a:cubicBezTo>
                      <a:pt x="243554" y="303364"/>
                      <a:pt x="303364" y="363174"/>
                      <a:pt x="303364" y="441387"/>
                    </a:cubicBezTo>
                    <a:cubicBezTo>
                      <a:pt x="303364" y="363174"/>
                      <a:pt x="363174" y="303364"/>
                      <a:pt x="441387" y="303364"/>
                    </a:cubicBezTo>
                    <a:cubicBezTo>
                      <a:pt x="363174" y="303364"/>
                      <a:pt x="303364" y="243554"/>
                      <a:pt x="303364" y="165340"/>
                    </a:cubicBezTo>
                    <a:lnTo>
                      <a:pt x="303364" y="165340"/>
                    </a:lnTo>
                    <a:close/>
                  </a:path>
                </a:pathLst>
              </a:custGeom>
              <a:solidFill>
                <a:schemeClr val="tx2"/>
              </a:solidFill>
              <a:ln w="45641" cap="flat">
                <a:noFill/>
                <a:prstDash val="solid"/>
                <a:miter/>
              </a:ln>
            </p:spPr>
            <p:txBody>
              <a:bodyPr rtlCol="0" anchor="ctr"/>
              <a:lstStyle/>
              <a:p>
                <a:pPr defTabSz="914501"/>
                <a:endParaRPr lang="en-US" sz="1400" dirty="0"/>
              </a:p>
            </p:txBody>
          </p:sp>
          <p:sp>
            <p:nvSpPr>
              <p:cNvPr id="252" name="Freeform: Shape 251">
                <a:extLst>
                  <a:ext uri="{FF2B5EF4-FFF2-40B4-BE49-F238E27FC236}">
                    <a16:creationId xmlns:a16="http://schemas.microsoft.com/office/drawing/2014/main" id="{67A69EA0-C2C9-4916-B8F5-5FEB175754C5}"/>
                  </a:ext>
                </a:extLst>
              </p:cNvPr>
              <p:cNvSpPr/>
              <p:nvPr/>
            </p:nvSpPr>
            <p:spPr>
              <a:xfrm>
                <a:off x="10524577" y="3082297"/>
                <a:ext cx="644109" cy="644109"/>
              </a:xfrm>
              <a:custGeom>
                <a:avLst/>
                <a:gdLst>
                  <a:gd name="connsiteX0" fmla="*/ 376976 w 644108"/>
                  <a:gd name="connsiteY0" fmla="*/ 289561 h 644108"/>
                  <a:gd name="connsiteX1" fmla="*/ 363174 w 644108"/>
                  <a:gd name="connsiteY1" fmla="*/ 289561 h 644108"/>
                  <a:gd name="connsiteX2" fmla="*/ 367774 w 644108"/>
                  <a:gd name="connsiteY2" fmla="*/ 266557 h 644108"/>
                  <a:gd name="connsiteX3" fmla="*/ 266557 w 644108"/>
                  <a:gd name="connsiteY3" fmla="*/ 165340 h 644108"/>
                  <a:gd name="connsiteX4" fmla="*/ 174542 w 644108"/>
                  <a:gd name="connsiteY4" fmla="*/ 165340 h 644108"/>
                  <a:gd name="connsiteX5" fmla="*/ 165340 w 644108"/>
                  <a:gd name="connsiteY5" fmla="*/ 234352 h 644108"/>
                  <a:gd name="connsiteX6" fmla="*/ 271158 w 644108"/>
                  <a:gd name="connsiteY6" fmla="*/ 491995 h 644108"/>
                  <a:gd name="connsiteX7" fmla="*/ 381577 w 644108"/>
                  <a:gd name="connsiteY7" fmla="*/ 491995 h 644108"/>
                  <a:gd name="connsiteX8" fmla="*/ 482794 w 644108"/>
                  <a:gd name="connsiteY8" fmla="*/ 390778 h 644108"/>
                  <a:gd name="connsiteX9" fmla="*/ 376976 w 644108"/>
                  <a:gd name="connsiteY9" fmla="*/ 289561 h 64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4108" h="644108">
                    <a:moveTo>
                      <a:pt x="376976" y="289561"/>
                    </a:moveTo>
                    <a:lnTo>
                      <a:pt x="363174" y="289561"/>
                    </a:lnTo>
                    <a:cubicBezTo>
                      <a:pt x="363174" y="280360"/>
                      <a:pt x="367774" y="275759"/>
                      <a:pt x="367774" y="266557"/>
                    </a:cubicBezTo>
                    <a:cubicBezTo>
                      <a:pt x="367774" y="211348"/>
                      <a:pt x="321767" y="165340"/>
                      <a:pt x="266557" y="165340"/>
                    </a:cubicBezTo>
                    <a:lnTo>
                      <a:pt x="174542" y="165340"/>
                    </a:lnTo>
                    <a:cubicBezTo>
                      <a:pt x="169941" y="188344"/>
                      <a:pt x="165340" y="211348"/>
                      <a:pt x="165340" y="234352"/>
                    </a:cubicBezTo>
                    <a:cubicBezTo>
                      <a:pt x="165340" y="335569"/>
                      <a:pt x="206747" y="422984"/>
                      <a:pt x="271158" y="491995"/>
                    </a:cubicBezTo>
                    <a:lnTo>
                      <a:pt x="381577" y="491995"/>
                    </a:lnTo>
                    <a:cubicBezTo>
                      <a:pt x="436786" y="491995"/>
                      <a:pt x="482794" y="445988"/>
                      <a:pt x="482794" y="390778"/>
                    </a:cubicBezTo>
                    <a:cubicBezTo>
                      <a:pt x="478193" y="335569"/>
                      <a:pt x="432185" y="289561"/>
                      <a:pt x="376976" y="289561"/>
                    </a:cubicBezTo>
                    <a:close/>
                  </a:path>
                </a:pathLst>
              </a:custGeom>
              <a:solidFill>
                <a:schemeClr val="bg1"/>
              </a:solidFill>
              <a:ln w="45641" cap="flat">
                <a:noFill/>
                <a:prstDash val="solid"/>
                <a:miter/>
              </a:ln>
            </p:spPr>
            <p:txBody>
              <a:bodyPr rtlCol="0" anchor="ctr"/>
              <a:lstStyle/>
              <a:p>
                <a:pPr defTabSz="914501"/>
                <a:endParaRPr lang="en-US" sz="1400" dirty="0"/>
              </a:p>
            </p:txBody>
          </p:sp>
          <p:sp>
            <p:nvSpPr>
              <p:cNvPr id="253" name="Freeform: Shape 252">
                <a:extLst>
                  <a:ext uri="{FF2B5EF4-FFF2-40B4-BE49-F238E27FC236}">
                    <a16:creationId xmlns:a16="http://schemas.microsoft.com/office/drawing/2014/main" id="{154C2907-F364-4E00-BC2F-80537CB9A634}"/>
                  </a:ext>
                </a:extLst>
              </p:cNvPr>
              <p:cNvSpPr/>
              <p:nvPr/>
            </p:nvSpPr>
            <p:spPr>
              <a:xfrm>
                <a:off x="10984654" y="3201917"/>
                <a:ext cx="368062" cy="368062"/>
              </a:xfrm>
              <a:custGeom>
                <a:avLst/>
                <a:gdLst>
                  <a:gd name="connsiteX0" fmla="*/ 165340 w 368062"/>
                  <a:gd name="connsiteY0" fmla="*/ 206747 h 368062"/>
                  <a:gd name="connsiteX1" fmla="*/ 165340 w 368062"/>
                  <a:gd name="connsiteY1" fmla="*/ 206747 h 368062"/>
                  <a:gd name="connsiteX2" fmla="*/ 206747 w 368062"/>
                  <a:gd name="connsiteY2" fmla="*/ 165340 h 368062"/>
                  <a:gd name="connsiteX3" fmla="*/ 165340 w 368062"/>
                  <a:gd name="connsiteY3" fmla="*/ 206747 h 368062"/>
                </a:gdLst>
                <a:ahLst/>
                <a:cxnLst>
                  <a:cxn ang="0">
                    <a:pos x="connsiteX0" y="connsiteY0"/>
                  </a:cxn>
                  <a:cxn ang="0">
                    <a:pos x="connsiteX1" y="connsiteY1"/>
                  </a:cxn>
                  <a:cxn ang="0">
                    <a:pos x="connsiteX2" y="connsiteY2"/>
                  </a:cxn>
                  <a:cxn ang="0">
                    <a:pos x="connsiteX3" y="connsiteY3"/>
                  </a:cxn>
                </a:cxnLst>
                <a:rect l="l" t="t" r="r" b="b"/>
                <a:pathLst>
                  <a:path w="368062" h="368062">
                    <a:moveTo>
                      <a:pt x="165340" y="206747"/>
                    </a:moveTo>
                    <a:cubicBezTo>
                      <a:pt x="165340" y="206747"/>
                      <a:pt x="165340" y="206747"/>
                      <a:pt x="165340" y="206747"/>
                    </a:cubicBezTo>
                    <a:cubicBezTo>
                      <a:pt x="179143" y="192945"/>
                      <a:pt x="192945" y="179143"/>
                      <a:pt x="206747" y="165340"/>
                    </a:cubicBezTo>
                    <a:cubicBezTo>
                      <a:pt x="188344" y="174542"/>
                      <a:pt x="174542" y="188344"/>
                      <a:pt x="165340" y="206747"/>
                    </a:cubicBezTo>
                    <a:close/>
                  </a:path>
                </a:pathLst>
              </a:custGeom>
              <a:solidFill>
                <a:schemeClr val="accent1"/>
              </a:solidFill>
              <a:ln w="45641" cap="flat">
                <a:noFill/>
                <a:prstDash val="solid"/>
                <a:miter/>
              </a:ln>
            </p:spPr>
            <p:txBody>
              <a:bodyPr rtlCol="0" anchor="ctr"/>
              <a:lstStyle/>
              <a:p>
                <a:pPr defTabSz="914501"/>
                <a:endParaRPr lang="en-US" sz="1400" dirty="0"/>
              </a:p>
            </p:txBody>
          </p:sp>
          <p:sp>
            <p:nvSpPr>
              <p:cNvPr id="254" name="Freeform: Shape 253">
                <a:extLst>
                  <a:ext uri="{FF2B5EF4-FFF2-40B4-BE49-F238E27FC236}">
                    <a16:creationId xmlns:a16="http://schemas.microsoft.com/office/drawing/2014/main" id="{02147E65-78FE-4171-8A1D-3FF93A55A44B}"/>
                  </a:ext>
                </a:extLst>
              </p:cNvPr>
              <p:cNvSpPr/>
              <p:nvPr/>
            </p:nvSpPr>
            <p:spPr>
              <a:xfrm>
                <a:off x="10952449" y="3188115"/>
                <a:ext cx="598101" cy="598101"/>
              </a:xfrm>
              <a:custGeom>
                <a:avLst/>
                <a:gdLst>
                  <a:gd name="connsiteX0" fmla="*/ 294162 w 598100"/>
                  <a:gd name="connsiteY0" fmla="*/ 317166 h 598100"/>
                  <a:gd name="connsiteX1" fmla="*/ 165340 w 598100"/>
                  <a:gd name="connsiteY1" fmla="*/ 436786 h 598100"/>
                  <a:gd name="connsiteX2" fmla="*/ 225150 w 598100"/>
                  <a:gd name="connsiteY2" fmla="*/ 459790 h 598100"/>
                  <a:gd name="connsiteX3" fmla="*/ 257356 w 598100"/>
                  <a:gd name="connsiteY3" fmla="*/ 459790 h 598100"/>
                  <a:gd name="connsiteX4" fmla="*/ 473592 w 598100"/>
                  <a:gd name="connsiteY4" fmla="*/ 165340 h 598100"/>
                  <a:gd name="connsiteX5" fmla="*/ 432185 w 598100"/>
                  <a:gd name="connsiteY5" fmla="*/ 165340 h 598100"/>
                  <a:gd name="connsiteX6" fmla="*/ 294162 w 598100"/>
                  <a:gd name="connsiteY6" fmla="*/ 317166 h 59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100" h="598100">
                    <a:moveTo>
                      <a:pt x="294162" y="317166"/>
                    </a:moveTo>
                    <a:cubicBezTo>
                      <a:pt x="252755" y="358573"/>
                      <a:pt x="206747" y="399980"/>
                      <a:pt x="165340" y="436786"/>
                    </a:cubicBezTo>
                    <a:cubicBezTo>
                      <a:pt x="179143" y="450588"/>
                      <a:pt x="202147" y="459790"/>
                      <a:pt x="225150" y="459790"/>
                    </a:cubicBezTo>
                    <a:lnTo>
                      <a:pt x="257356" y="459790"/>
                    </a:lnTo>
                    <a:cubicBezTo>
                      <a:pt x="372375" y="409181"/>
                      <a:pt x="455189" y="298763"/>
                      <a:pt x="473592" y="165340"/>
                    </a:cubicBezTo>
                    <a:lnTo>
                      <a:pt x="432185" y="165340"/>
                    </a:lnTo>
                    <a:cubicBezTo>
                      <a:pt x="386178" y="220550"/>
                      <a:pt x="344771" y="271158"/>
                      <a:pt x="294162" y="317166"/>
                    </a:cubicBezTo>
                    <a:close/>
                  </a:path>
                </a:pathLst>
              </a:custGeom>
              <a:solidFill>
                <a:srgbClr val="B8D432"/>
              </a:solidFill>
              <a:ln w="45641" cap="flat">
                <a:noFill/>
                <a:prstDash val="solid"/>
                <a:miter/>
              </a:ln>
            </p:spPr>
            <p:txBody>
              <a:bodyPr rtlCol="0" anchor="ctr"/>
              <a:lstStyle/>
              <a:p>
                <a:pPr defTabSz="914501"/>
                <a:endParaRPr lang="en-US" sz="1400" dirty="0"/>
              </a:p>
            </p:txBody>
          </p:sp>
          <p:sp>
            <p:nvSpPr>
              <p:cNvPr id="255" name="Freeform: Shape 254">
                <a:extLst>
                  <a:ext uri="{FF2B5EF4-FFF2-40B4-BE49-F238E27FC236}">
                    <a16:creationId xmlns:a16="http://schemas.microsoft.com/office/drawing/2014/main" id="{CEF5125B-8603-41A1-BAA3-6E567E6E2E35}"/>
                  </a:ext>
                </a:extLst>
              </p:cNvPr>
              <p:cNvSpPr/>
              <p:nvPr/>
            </p:nvSpPr>
            <p:spPr>
              <a:xfrm>
                <a:off x="10819026" y="2815452"/>
                <a:ext cx="690116" cy="598101"/>
              </a:xfrm>
              <a:custGeom>
                <a:avLst/>
                <a:gdLst>
                  <a:gd name="connsiteX0" fmla="*/ 271158 w 690116"/>
                  <a:gd name="connsiteY0" fmla="*/ 464391 h 598100"/>
                  <a:gd name="connsiteX1" fmla="*/ 450588 w 690116"/>
                  <a:gd name="connsiteY1" fmla="*/ 464391 h 598100"/>
                  <a:gd name="connsiteX2" fmla="*/ 561007 w 690116"/>
                  <a:gd name="connsiteY2" fmla="*/ 321767 h 598100"/>
                  <a:gd name="connsiteX3" fmla="*/ 399980 w 690116"/>
                  <a:gd name="connsiteY3" fmla="*/ 165340 h 598100"/>
                  <a:gd name="connsiteX4" fmla="*/ 376976 w 690116"/>
                  <a:gd name="connsiteY4" fmla="*/ 165340 h 598100"/>
                  <a:gd name="connsiteX5" fmla="*/ 307964 w 690116"/>
                  <a:gd name="connsiteY5" fmla="*/ 234352 h 598100"/>
                  <a:gd name="connsiteX6" fmla="*/ 312565 w 690116"/>
                  <a:gd name="connsiteY6" fmla="*/ 252755 h 598100"/>
                  <a:gd name="connsiteX7" fmla="*/ 271158 w 690116"/>
                  <a:gd name="connsiteY7" fmla="*/ 252755 h 598100"/>
                  <a:gd name="connsiteX8" fmla="*/ 165340 w 690116"/>
                  <a:gd name="connsiteY8" fmla="*/ 358573 h 598100"/>
                  <a:gd name="connsiteX9" fmla="*/ 271158 w 690116"/>
                  <a:gd name="connsiteY9" fmla="*/ 464391 h 59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0116" h="598100">
                    <a:moveTo>
                      <a:pt x="271158" y="464391"/>
                    </a:moveTo>
                    <a:lnTo>
                      <a:pt x="450588" y="464391"/>
                    </a:lnTo>
                    <a:cubicBezTo>
                      <a:pt x="496596" y="413782"/>
                      <a:pt x="533402" y="367774"/>
                      <a:pt x="561007" y="321767"/>
                    </a:cubicBezTo>
                    <a:cubicBezTo>
                      <a:pt x="524201" y="252755"/>
                      <a:pt x="468992" y="202147"/>
                      <a:pt x="399980" y="165340"/>
                    </a:cubicBezTo>
                    <a:lnTo>
                      <a:pt x="376976" y="165340"/>
                    </a:lnTo>
                    <a:cubicBezTo>
                      <a:pt x="340170" y="165340"/>
                      <a:pt x="307964" y="197546"/>
                      <a:pt x="307964" y="234352"/>
                    </a:cubicBezTo>
                    <a:cubicBezTo>
                      <a:pt x="307964" y="238953"/>
                      <a:pt x="307964" y="248154"/>
                      <a:pt x="312565" y="252755"/>
                    </a:cubicBezTo>
                    <a:lnTo>
                      <a:pt x="271158" y="252755"/>
                    </a:lnTo>
                    <a:cubicBezTo>
                      <a:pt x="211348" y="252755"/>
                      <a:pt x="165340" y="298763"/>
                      <a:pt x="165340" y="358573"/>
                    </a:cubicBezTo>
                    <a:cubicBezTo>
                      <a:pt x="165340" y="418383"/>
                      <a:pt x="211348" y="464391"/>
                      <a:pt x="271158" y="464391"/>
                    </a:cubicBezTo>
                    <a:close/>
                  </a:path>
                </a:pathLst>
              </a:custGeom>
              <a:solidFill>
                <a:schemeClr val="bg1"/>
              </a:solidFill>
              <a:ln w="45641" cap="flat">
                <a:noFill/>
                <a:prstDash val="solid"/>
                <a:miter/>
              </a:ln>
            </p:spPr>
            <p:txBody>
              <a:bodyPr rtlCol="0" anchor="ctr"/>
              <a:lstStyle/>
              <a:p>
                <a:pPr defTabSz="914501"/>
                <a:endParaRPr lang="en-US" sz="1400" dirty="0"/>
              </a:p>
            </p:txBody>
          </p:sp>
        </p:grpSp>
      </p:grpSp>
      <p:grpSp>
        <p:nvGrpSpPr>
          <p:cNvPr id="10" name="Group 9">
            <a:extLst>
              <a:ext uri="{FF2B5EF4-FFF2-40B4-BE49-F238E27FC236}">
                <a16:creationId xmlns:a16="http://schemas.microsoft.com/office/drawing/2014/main" id="{18AA2EE8-2071-4FB4-BC60-190A26852918}"/>
              </a:ext>
            </a:extLst>
          </p:cNvPr>
          <p:cNvGrpSpPr/>
          <p:nvPr/>
        </p:nvGrpSpPr>
        <p:grpSpPr>
          <a:xfrm>
            <a:off x="3703956" y="4565840"/>
            <a:ext cx="3967536" cy="1527106"/>
            <a:chOff x="3691956" y="4565840"/>
            <a:chExt cx="3967536" cy="1527106"/>
          </a:xfrm>
        </p:grpSpPr>
        <p:sp>
          <p:nvSpPr>
            <p:cNvPr id="7" name="Rectangle 6">
              <a:extLst>
                <a:ext uri="{FF2B5EF4-FFF2-40B4-BE49-F238E27FC236}">
                  <a16:creationId xmlns:a16="http://schemas.microsoft.com/office/drawing/2014/main" id="{307BD9D6-8A45-4866-83C2-E5D5D275D1F8}"/>
                </a:ext>
              </a:extLst>
            </p:cNvPr>
            <p:cNvSpPr/>
            <p:nvPr/>
          </p:nvSpPr>
          <p:spPr bwMode="auto">
            <a:xfrm>
              <a:off x="3691956" y="4565840"/>
              <a:ext cx="3967536" cy="1527106"/>
            </a:xfrm>
            <a:prstGeom prst="rect">
              <a:avLst/>
            </a:prstGeom>
            <a:ln w="6350">
              <a:solidFill>
                <a:schemeClr val="bg1">
                  <a:lumMod val="75000"/>
                </a:schemeClr>
              </a:solidFill>
            </a:ln>
          </p:spPr>
          <p:txBody>
            <a:bodyPr wrap="square">
              <a:noAutofit/>
            </a:bodyPr>
            <a:lstStyle/>
            <a:p>
              <a:endParaRPr lang="en-US" sz="1200" dirty="0"/>
            </a:p>
          </p:txBody>
        </p:sp>
        <p:sp>
          <p:nvSpPr>
            <p:cNvPr id="257" name="Rectangle 256">
              <a:extLst>
                <a:ext uri="{FF2B5EF4-FFF2-40B4-BE49-F238E27FC236}">
                  <a16:creationId xmlns:a16="http://schemas.microsoft.com/office/drawing/2014/main" id="{1CCD315A-5E43-4CBE-BB7F-FE823A7B486D}"/>
                </a:ext>
              </a:extLst>
            </p:cNvPr>
            <p:cNvSpPr/>
            <p:nvPr/>
          </p:nvSpPr>
          <p:spPr>
            <a:xfrm>
              <a:off x="3691956" y="4565840"/>
              <a:ext cx="1793791" cy="1473249"/>
            </a:xfrm>
            <a:prstGeom prst="rect">
              <a:avLst/>
            </a:prstGeom>
            <a:ln w="6350">
              <a:noFill/>
            </a:ln>
          </p:spPr>
          <p:txBody>
            <a:bodyPr wrap="square">
              <a:noAutofit/>
            </a:bodyPr>
            <a:lstStyle/>
            <a:p>
              <a:r>
                <a:rPr lang="en-US" sz="1200" b="1" dirty="0"/>
                <a:t>Intelligent</a:t>
              </a:r>
            </a:p>
            <a:p>
              <a:pPr marL="228600" lvl="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Intelligent Protection</a:t>
              </a:r>
            </a:p>
            <a:p>
              <a:pPr marL="228600" lvl="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Intelligent Performance </a:t>
              </a:r>
            </a:p>
            <a:p>
              <a:r>
                <a:rPr lang="en-US" sz="1200" b="1" dirty="0"/>
                <a:t>Flexible</a:t>
              </a:r>
            </a:p>
            <a:p>
              <a:pPr marL="22860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Hyperscale</a:t>
              </a:r>
            </a:p>
            <a:p>
              <a:pPr marL="22860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Elastic scaling</a:t>
              </a:r>
            </a:p>
            <a:p>
              <a:pPr marL="22860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Resource governance</a:t>
              </a:r>
            </a:p>
          </p:txBody>
        </p:sp>
        <p:sp>
          <p:nvSpPr>
            <p:cNvPr id="284" name="Rectangle 283">
              <a:extLst>
                <a:ext uri="{FF2B5EF4-FFF2-40B4-BE49-F238E27FC236}">
                  <a16:creationId xmlns:a16="http://schemas.microsoft.com/office/drawing/2014/main" id="{5F4013A2-34BC-4029-8FE5-B1F64F142983}"/>
                </a:ext>
              </a:extLst>
            </p:cNvPr>
            <p:cNvSpPr/>
            <p:nvPr/>
          </p:nvSpPr>
          <p:spPr>
            <a:xfrm>
              <a:off x="5558840" y="4565840"/>
              <a:ext cx="2031450" cy="1470645"/>
            </a:xfrm>
            <a:prstGeom prst="rect">
              <a:avLst/>
            </a:prstGeom>
            <a:ln w="6350">
              <a:noFill/>
            </a:ln>
          </p:spPr>
          <p:txBody>
            <a:bodyPr wrap="square">
              <a:noAutofit/>
            </a:bodyPr>
            <a:lstStyle/>
            <a:p>
              <a:r>
                <a:rPr lang="en-US" sz="1200" b="1" dirty="0"/>
                <a:t>Trusted</a:t>
              </a:r>
            </a:p>
            <a:p>
              <a:pPr marL="22860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Always Encrypted (secure enclave)</a:t>
              </a:r>
            </a:p>
            <a:p>
              <a:pPr marL="22860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Business Continuity, HA/DR</a:t>
              </a:r>
            </a:p>
            <a:p>
              <a:pPr marL="22860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Industry Compliance certifications</a:t>
              </a:r>
            </a:p>
            <a:p>
              <a:pPr marL="22860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Enterprise security isolation</a:t>
              </a:r>
            </a:p>
            <a:p>
              <a:pPr marL="285750" lvl="0" indent="-285750" defTabSz="914102" fontAlgn="base">
                <a:spcBef>
                  <a:spcPct val="0"/>
                </a:spcBef>
                <a:spcAft>
                  <a:spcPts val="600"/>
                </a:spcAft>
                <a:buFont typeface="Arial" panose="020B0604020202020204" pitchFamily="34" charset="0"/>
                <a:buChar char="•"/>
                <a:defRPr/>
              </a:pPr>
              <a:endParaRPr lang="en-US" sz="1200" dirty="0"/>
            </a:p>
          </p:txBody>
        </p:sp>
      </p:grpSp>
      <p:sp>
        <p:nvSpPr>
          <p:cNvPr id="9" name="Rectangle 8">
            <a:extLst>
              <a:ext uri="{FF2B5EF4-FFF2-40B4-BE49-F238E27FC236}">
                <a16:creationId xmlns:a16="http://schemas.microsoft.com/office/drawing/2014/main" id="{5C6C234D-6CC0-4DE1-9357-1C57AC2FD48F}"/>
              </a:ext>
            </a:extLst>
          </p:cNvPr>
          <p:cNvSpPr/>
          <p:nvPr/>
        </p:nvSpPr>
        <p:spPr>
          <a:xfrm>
            <a:off x="7872369" y="4565840"/>
            <a:ext cx="3750947" cy="1527106"/>
          </a:xfrm>
          <a:prstGeom prst="rect">
            <a:avLst/>
          </a:prstGeom>
          <a:ln w="6350">
            <a:solidFill>
              <a:schemeClr val="bg1">
                <a:lumMod val="75000"/>
              </a:schemeClr>
            </a:solidFill>
          </a:ln>
        </p:spPr>
        <p:txBody>
          <a:bodyPr wrap="square">
            <a:noAutofit/>
          </a:bodyPr>
          <a:lstStyle/>
          <a:p>
            <a:r>
              <a:rPr lang="en-US" sz="1200" dirty="0"/>
              <a:t>Azure is a turn-key delivery platform for modern applications that offers a broad range of managed services for all application scenarios, allowing you to choose the best approach for your cloud-native applications.</a:t>
            </a:r>
          </a:p>
        </p:txBody>
      </p:sp>
      <p:grpSp>
        <p:nvGrpSpPr>
          <p:cNvPr id="126" name="Graphic 65">
            <a:extLst>
              <a:ext uri="{FF2B5EF4-FFF2-40B4-BE49-F238E27FC236}">
                <a16:creationId xmlns:a16="http://schemas.microsoft.com/office/drawing/2014/main" id="{38886FA0-E199-40DE-80DE-856BE7247E22}"/>
              </a:ext>
            </a:extLst>
          </p:cNvPr>
          <p:cNvGrpSpPr/>
          <p:nvPr/>
        </p:nvGrpSpPr>
        <p:grpSpPr>
          <a:xfrm>
            <a:off x="2417826" y="1829570"/>
            <a:ext cx="496678" cy="496678"/>
            <a:chOff x="1008987" y="2150687"/>
            <a:chExt cx="650756" cy="650756"/>
          </a:xfrm>
        </p:grpSpPr>
        <p:sp>
          <p:nvSpPr>
            <p:cNvPr id="127" name="Freeform: Shape 126">
              <a:extLst>
                <a:ext uri="{FF2B5EF4-FFF2-40B4-BE49-F238E27FC236}">
                  <a16:creationId xmlns:a16="http://schemas.microsoft.com/office/drawing/2014/main" id="{4F03E552-5F87-42C1-98AF-77F5A05C4C8C}"/>
                </a:ext>
              </a:extLst>
            </p:cNvPr>
            <p:cNvSpPr/>
            <p:nvPr/>
          </p:nvSpPr>
          <p:spPr>
            <a:xfrm>
              <a:off x="1418703" y="2155633"/>
              <a:ext cx="169197" cy="156181"/>
            </a:xfrm>
            <a:custGeom>
              <a:avLst/>
              <a:gdLst>
                <a:gd name="connsiteX0" fmla="*/ 162949 w 169196"/>
                <a:gd name="connsiteY0" fmla="*/ 147331 h 156181"/>
                <a:gd name="connsiteX1" fmla="*/ 13275 w 169196"/>
                <a:gd name="connsiteY1" fmla="*/ 13275 h 156181"/>
                <a:gd name="connsiteX2" fmla="*/ 67939 w 169196"/>
                <a:gd name="connsiteY2" fmla="*/ 147331 h 156181"/>
                <a:gd name="connsiteX3" fmla="*/ 162949 w 169196"/>
                <a:gd name="connsiteY3" fmla="*/ 147331 h 156181"/>
              </a:gdLst>
              <a:ahLst/>
              <a:cxnLst>
                <a:cxn ang="0">
                  <a:pos x="connsiteX0" y="connsiteY0"/>
                </a:cxn>
                <a:cxn ang="0">
                  <a:pos x="connsiteX1" y="connsiteY1"/>
                </a:cxn>
                <a:cxn ang="0">
                  <a:pos x="connsiteX2" y="connsiteY2"/>
                </a:cxn>
                <a:cxn ang="0">
                  <a:pos x="connsiteX3" y="connsiteY3"/>
                </a:cxn>
              </a:cxnLst>
              <a:rect l="l" t="t" r="r" b="b"/>
              <a:pathLst>
                <a:path w="169196" h="156181">
                  <a:moveTo>
                    <a:pt x="162949" y="147331"/>
                  </a:moveTo>
                  <a:cubicBezTo>
                    <a:pt x="134316" y="83557"/>
                    <a:pt x="79653" y="35401"/>
                    <a:pt x="13275" y="13275"/>
                  </a:cubicBezTo>
                  <a:cubicBezTo>
                    <a:pt x="38004" y="44512"/>
                    <a:pt x="57527" y="91366"/>
                    <a:pt x="67939" y="147331"/>
                  </a:cubicBezTo>
                  <a:lnTo>
                    <a:pt x="162949" y="147331"/>
                  </a:lnTo>
                  <a:close/>
                </a:path>
              </a:pathLst>
            </a:custGeom>
            <a:solidFill>
              <a:srgbClr val="0078D4"/>
            </a:solidFill>
            <a:ln w="12954" cap="flat">
              <a:noFill/>
              <a:prstDash val="solid"/>
              <a:miter/>
            </a:ln>
          </p:spPr>
          <p:txBody>
            <a:bodyPr rtlCol="0" anchor="ctr"/>
            <a:lstStyle/>
            <a:p>
              <a:pPr defTabSz="914501"/>
              <a:endParaRPr lang="en-US" dirty="0">
                <a:solidFill>
                  <a:srgbClr val="3C3C41"/>
                </a:solidFill>
                <a:latin typeface="Segoe UI"/>
              </a:endParaRPr>
            </a:p>
          </p:txBody>
        </p:sp>
        <p:sp>
          <p:nvSpPr>
            <p:cNvPr id="128" name="Freeform: Shape 127">
              <a:extLst>
                <a:ext uri="{FF2B5EF4-FFF2-40B4-BE49-F238E27FC236}">
                  <a16:creationId xmlns:a16="http://schemas.microsoft.com/office/drawing/2014/main" id="{094D58DD-AE55-4FC0-B009-1AEB7DE7DE69}"/>
                </a:ext>
              </a:extLst>
            </p:cNvPr>
            <p:cNvSpPr/>
            <p:nvPr/>
          </p:nvSpPr>
          <p:spPr>
            <a:xfrm>
              <a:off x="1236491" y="2142618"/>
              <a:ext cx="221257" cy="169197"/>
            </a:xfrm>
            <a:custGeom>
              <a:avLst/>
              <a:gdLst>
                <a:gd name="connsiteX0" fmla="*/ 216311 w 221257"/>
                <a:gd name="connsiteY0" fmla="*/ 160346 h 169196"/>
                <a:gd name="connsiteX1" fmla="*/ 114793 w 221257"/>
                <a:gd name="connsiteY1" fmla="*/ 13275 h 169196"/>
                <a:gd name="connsiteX2" fmla="*/ 13275 w 221257"/>
                <a:gd name="connsiteY2" fmla="*/ 160346 h 169196"/>
                <a:gd name="connsiteX3" fmla="*/ 216311 w 221257"/>
                <a:gd name="connsiteY3" fmla="*/ 160346 h 169196"/>
              </a:gdLst>
              <a:ahLst/>
              <a:cxnLst>
                <a:cxn ang="0">
                  <a:pos x="connsiteX0" y="connsiteY0"/>
                </a:cxn>
                <a:cxn ang="0">
                  <a:pos x="connsiteX1" y="connsiteY1"/>
                </a:cxn>
                <a:cxn ang="0">
                  <a:pos x="connsiteX2" y="connsiteY2"/>
                </a:cxn>
                <a:cxn ang="0">
                  <a:pos x="connsiteX3" y="connsiteY3"/>
                </a:cxn>
              </a:cxnLst>
              <a:rect l="l" t="t" r="r" b="b"/>
              <a:pathLst>
                <a:path w="221257" h="169196">
                  <a:moveTo>
                    <a:pt x="216311" y="160346"/>
                  </a:moveTo>
                  <a:cubicBezTo>
                    <a:pt x="198090" y="73145"/>
                    <a:pt x="159045" y="13275"/>
                    <a:pt x="114793" y="13275"/>
                  </a:cubicBezTo>
                  <a:cubicBezTo>
                    <a:pt x="70542" y="13275"/>
                    <a:pt x="30195" y="73145"/>
                    <a:pt x="13275" y="160346"/>
                  </a:cubicBezTo>
                  <a:lnTo>
                    <a:pt x="216311" y="160346"/>
                  </a:lnTo>
                  <a:close/>
                </a:path>
              </a:pathLst>
            </a:custGeom>
            <a:solidFill>
              <a:schemeClr val="tx1">
                <a:lumMod val="75000"/>
              </a:schemeClr>
            </a:solidFill>
            <a:ln w="12954" cap="flat">
              <a:noFill/>
              <a:prstDash val="solid"/>
              <a:miter/>
            </a:ln>
          </p:spPr>
          <p:txBody>
            <a:bodyPr rtlCol="0" anchor="ctr"/>
            <a:lstStyle/>
            <a:p>
              <a:pPr defTabSz="914501"/>
              <a:endParaRPr lang="en-US" dirty="0">
                <a:solidFill>
                  <a:srgbClr val="3C3C41"/>
                </a:solidFill>
                <a:latin typeface="Segoe UI"/>
              </a:endParaRPr>
            </a:p>
          </p:txBody>
        </p:sp>
        <p:sp>
          <p:nvSpPr>
            <p:cNvPr id="129" name="Freeform: Shape 128">
              <a:extLst>
                <a:ext uri="{FF2B5EF4-FFF2-40B4-BE49-F238E27FC236}">
                  <a16:creationId xmlns:a16="http://schemas.microsoft.com/office/drawing/2014/main" id="{C7E5C71D-0A9E-4CA0-9AB7-0C4332ED4B11}"/>
                </a:ext>
              </a:extLst>
            </p:cNvPr>
            <p:cNvSpPr/>
            <p:nvPr/>
          </p:nvSpPr>
          <p:spPr>
            <a:xfrm>
              <a:off x="1107642" y="2155633"/>
              <a:ext cx="169197" cy="156181"/>
            </a:xfrm>
            <a:custGeom>
              <a:avLst/>
              <a:gdLst>
                <a:gd name="connsiteX0" fmla="*/ 108286 w 169196"/>
                <a:gd name="connsiteY0" fmla="*/ 147331 h 156181"/>
                <a:gd name="connsiteX1" fmla="*/ 162949 w 169196"/>
                <a:gd name="connsiteY1" fmla="*/ 13275 h 156181"/>
                <a:gd name="connsiteX2" fmla="*/ 13275 w 169196"/>
                <a:gd name="connsiteY2" fmla="*/ 147331 h 156181"/>
                <a:gd name="connsiteX3" fmla="*/ 108286 w 169196"/>
                <a:gd name="connsiteY3" fmla="*/ 147331 h 156181"/>
              </a:gdLst>
              <a:ahLst/>
              <a:cxnLst>
                <a:cxn ang="0">
                  <a:pos x="connsiteX0" y="connsiteY0"/>
                </a:cxn>
                <a:cxn ang="0">
                  <a:pos x="connsiteX1" y="connsiteY1"/>
                </a:cxn>
                <a:cxn ang="0">
                  <a:pos x="connsiteX2" y="connsiteY2"/>
                </a:cxn>
                <a:cxn ang="0">
                  <a:pos x="connsiteX3" y="connsiteY3"/>
                </a:cxn>
              </a:cxnLst>
              <a:rect l="l" t="t" r="r" b="b"/>
              <a:pathLst>
                <a:path w="169196" h="156181">
                  <a:moveTo>
                    <a:pt x="108286" y="147331"/>
                  </a:moveTo>
                  <a:cubicBezTo>
                    <a:pt x="118698" y="91366"/>
                    <a:pt x="138221" y="44512"/>
                    <a:pt x="162949" y="13275"/>
                  </a:cubicBezTo>
                  <a:cubicBezTo>
                    <a:pt x="96572" y="35401"/>
                    <a:pt x="41909" y="84859"/>
                    <a:pt x="13275" y="147331"/>
                  </a:cubicBezTo>
                  <a:lnTo>
                    <a:pt x="108286" y="147331"/>
                  </a:lnTo>
                  <a:close/>
                </a:path>
              </a:pathLst>
            </a:custGeom>
            <a:solidFill>
              <a:schemeClr val="tx1">
                <a:lumMod val="75000"/>
              </a:schemeClr>
            </a:solidFill>
            <a:ln w="12954" cap="flat">
              <a:noFill/>
              <a:prstDash val="solid"/>
              <a:miter/>
            </a:ln>
          </p:spPr>
          <p:txBody>
            <a:bodyPr rtlCol="0" anchor="ctr"/>
            <a:lstStyle/>
            <a:p>
              <a:pPr defTabSz="914501"/>
              <a:endParaRPr lang="en-US" dirty="0">
                <a:solidFill>
                  <a:srgbClr val="3C3C41"/>
                </a:solidFill>
                <a:latin typeface="Segoe UI"/>
              </a:endParaRPr>
            </a:p>
          </p:txBody>
        </p:sp>
        <p:sp>
          <p:nvSpPr>
            <p:cNvPr id="130" name="Freeform: Shape 129">
              <a:extLst>
                <a:ext uri="{FF2B5EF4-FFF2-40B4-BE49-F238E27FC236}">
                  <a16:creationId xmlns:a16="http://schemas.microsoft.com/office/drawing/2014/main" id="{DB253F53-B9EF-4B52-B8EE-30C13298DD9C}"/>
                </a:ext>
              </a:extLst>
            </p:cNvPr>
            <p:cNvSpPr/>
            <p:nvPr/>
          </p:nvSpPr>
          <p:spPr>
            <a:xfrm>
              <a:off x="1084214" y="2322226"/>
              <a:ext cx="130151" cy="91106"/>
            </a:xfrm>
            <a:custGeom>
              <a:avLst/>
              <a:gdLst>
                <a:gd name="connsiteX0" fmla="*/ 126507 w 130151"/>
                <a:gd name="connsiteY0" fmla="*/ 13275 h 91105"/>
                <a:gd name="connsiteX1" fmla="*/ 23688 w 130151"/>
                <a:gd name="connsiteY1" fmla="*/ 13275 h 91105"/>
                <a:gd name="connsiteX2" fmla="*/ 13275 w 130151"/>
                <a:gd name="connsiteY2" fmla="*/ 86160 h 91105"/>
                <a:gd name="connsiteX3" fmla="*/ 122602 w 130151"/>
                <a:gd name="connsiteY3" fmla="*/ 86160 h 91105"/>
                <a:gd name="connsiteX4" fmla="*/ 126507 w 130151"/>
                <a:gd name="connsiteY4" fmla="*/ 13275 h 91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151" h="91105">
                  <a:moveTo>
                    <a:pt x="126507" y="13275"/>
                  </a:moveTo>
                  <a:lnTo>
                    <a:pt x="23688" y="13275"/>
                  </a:lnTo>
                  <a:cubicBezTo>
                    <a:pt x="17180" y="36703"/>
                    <a:pt x="13275" y="61431"/>
                    <a:pt x="13275" y="86160"/>
                  </a:cubicBezTo>
                  <a:lnTo>
                    <a:pt x="122602" y="86160"/>
                  </a:lnTo>
                  <a:cubicBezTo>
                    <a:pt x="122602" y="61431"/>
                    <a:pt x="123904" y="36703"/>
                    <a:pt x="126507" y="13275"/>
                  </a:cubicBezTo>
                  <a:close/>
                </a:path>
              </a:pathLst>
            </a:custGeom>
            <a:solidFill>
              <a:schemeClr val="tx1">
                <a:lumMod val="75000"/>
              </a:schemeClr>
            </a:solidFill>
            <a:ln w="12954" cap="flat">
              <a:noFill/>
              <a:prstDash val="solid"/>
              <a:miter/>
            </a:ln>
          </p:spPr>
          <p:txBody>
            <a:bodyPr rtlCol="0" anchor="ctr"/>
            <a:lstStyle/>
            <a:p>
              <a:pPr defTabSz="914501"/>
              <a:endParaRPr lang="en-US" dirty="0">
                <a:solidFill>
                  <a:srgbClr val="3C3C41"/>
                </a:solidFill>
                <a:latin typeface="Segoe UI"/>
              </a:endParaRPr>
            </a:p>
          </p:txBody>
        </p:sp>
        <p:sp>
          <p:nvSpPr>
            <p:cNvPr id="131" name="Freeform: Shape 130">
              <a:extLst>
                <a:ext uri="{FF2B5EF4-FFF2-40B4-BE49-F238E27FC236}">
                  <a16:creationId xmlns:a16="http://schemas.microsoft.com/office/drawing/2014/main" id="{6C491BBD-F57E-4112-95F8-9303ECDE3720}"/>
                </a:ext>
              </a:extLst>
            </p:cNvPr>
            <p:cNvSpPr/>
            <p:nvPr/>
          </p:nvSpPr>
          <p:spPr>
            <a:xfrm>
              <a:off x="1050375" y="2428950"/>
              <a:ext cx="416484" cy="247287"/>
            </a:xfrm>
            <a:custGeom>
              <a:avLst/>
              <a:gdLst>
                <a:gd name="connsiteX0" fmla="*/ 13275 w 416483"/>
                <a:gd name="connsiteY0" fmla="*/ 241040 h 247287"/>
                <a:gd name="connsiteX1" fmla="*/ 13275 w 416483"/>
                <a:gd name="connsiteY1" fmla="*/ 241040 h 247287"/>
                <a:gd name="connsiteX2" fmla="*/ 411538 w 416483"/>
                <a:gd name="connsiteY2" fmla="*/ 241040 h 247287"/>
                <a:gd name="connsiteX3" fmla="*/ 411538 w 416483"/>
                <a:gd name="connsiteY3" fmla="*/ 13275 h 247287"/>
                <a:gd name="connsiteX4" fmla="*/ 13275 w 416483"/>
                <a:gd name="connsiteY4" fmla="*/ 13275 h 247287"/>
                <a:gd name="connsiteX5" fmla="*/ 13275 w 416483"/>
                <a:gd name="connsiteY5" fmla="*/ 241040 h 247287"/>
                <a:gd name="connsiteX6" fmla="*/ 13275 w 416483"/>
                <a:gd name="connsiteY6" fmla="*/ 241040 h 24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483" h="247287">
                  <a:moveTo>
                    <a:pt x="13275" y="241040"/>
                  </a:moveTo>
                  <a:lnTo>
                    <a:pt x="13275" y="241040"/>
                  </a:lnTo>
                  <a:lnTo>
                    <a:pt x="411538" y="241040"/>
                  </a:lnTo>
                  <a:lnTo>
                    <a:pt x="411538" y="13275"/>
                  </a:lnTo>
                  <a:lnTo>
                    <a:pt x="13275" y="13275"/>
                  </a:lnTo>
                  <a:lnTo>
                    <a:pt x="13275" y="241040"/>
                  </a:lnTo>
                  <a:lnTo>
                    <a:pt x="13275" y="241040"/>
                  </a:lnTo>
                  <a:close/>
                </a:path>
              </a:pathLst>
            </a:custGeom>
            <a:solidFill>
              <a:srgbClr val="0078D4"/>
            </a:solidFill>
            <a:ln w="12954" cap="flat">
              <a:noFill/>
              <a:prstDash val="solid"/>
              <a:miter/>
            </a:ln>
          </p:spPr>
          <p:txBody>
            <a:bodyPr rtlCol="0" anchor="ctr"/>
            <a:lstStyle/>
            <a:p>
              <a:pPr defTabSz="914501"/>
              <a:endParaRPr lang="en-US" dirty="0">
                <a:solidFill>
                  <a:srgbClr val="3C3C41"/>
                </a:solidFill>
                <a:latin typeface="Segoe UI"/>
              </a:endParaRPr>
            </a:p>
          </p:txBody>
        </p:sp>
        <p:sp>
          <p:nvSpPr>
            <p:cNvPr id="132" name="Freeform: Shape 131">
              <a:extLst>
                <a:ext uri="{FF2B5EF4-FFF2-40B4-BE49-F238E27FC236}">
                  <a16:creationId xmlns:a16="http://schemas.microsoft.com/office/drawing/2014/main" id="{48064B5C-F37B-4C2E-BC84-97F1D217B344}"/>
                </a:ext>
              </a:extLst>
            </p:cNvPr>
            <p:cNvSpPr/>
            <p:nvPr/>
          </p:nvSpPr>
          <p:spPr>
            <a:xfrm>
              <a:off x="1138878" y="2693157"/>
              <a:ext cx="247287" cy="117136"/>
            </a:xfrm>
            <a:custGeom>
              <a:avLst/>
              <a:gdLst>
                <a:gd name="connsiteX0" fmla="*/ 101778 w 247287"/>
                <a:gd name="connsiteY0" fmla="*/ 13275 h 117136"/>
                <a:gd name="connsiteX1" fmla="*/ 101778 w 247287"/>
                <a:gd name="connsiteY1" fmla="*/ 13275 h 117136"/>
                <a:gd name="connsiteX2" fmla="*/ 101778 w 247287"/>
                <a:gd name="connsiteY2" fmla="*/ 58828 h 117136"/>
                <a:gd name="connsiteX3" fmla="*/ 13275 w 247287"/>
                <a:gd name="connsiteY3" fmla="*/ 58828 h 117136"/>
                <a:gd name="connsiteX4" fmla="*/ 13275 w 247287"/>
                <a:gd name="connsiteY4" fmla="*/ 104381 h 117136"/>
                <a:gd name="connsiteX5" fmla="*/ 234532 w 247287"/>
                <a:gd name="connsiteY5" fmla="*/ 104381 h 117136"/>
                <a:gd name="connsiteX6" fmla="*/ 234532 w 247287"/>
                <a:gd name="connsiteY6" fmla="*/ 58828 h 117136"/>
                <a:gd name="connsiteX7" fmla="*/ 146030 w 247287"/>
                <a:gd name="connsiteY7" fmla="*/ 58828 h 117136"/>
                <a:gd name="connsiteX8" fmla="*/ 146030 w 247287"/>
                <a:gd name="connsiteY8" fmla="*/ 13275 h 117136"/>
                <a:gd name="connsiteX9" fmla="*/ 101778 w 247287"/>
                <a:gd name="connsiteY9" fmla="*/ 13275 h 117136"/>
                <a:gd name="connsiteX10" fmla="*/ 101778 w 247287"/>
                <a:gd name="connsiteY10" fmla="*/ 13275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287" h="117136">
                  <a:moveTo>
                    <a:pt x="101778" y="13275"/>
                  </a:moveTo>
                  <a:lnTo>
                    <a:pt x="101778" y="13275"/>
                  </a:lnTo>
                  <a:lnTo>
                    <a:pt x="101778" y="58828"/>
                  </a:lnTo>
                  <a:lnTo>
                    <a:pt x="13275" y="58828"/>
                  </a:lnTo>
                  <a:lnTo>
                    <a:pt x="13275" y="104381"/>
                  </a:lnTo>
                  <a:lnTo>
                    <a:pt x="234532" y="104381"/>
                  </a:lnTo>
                  <a:lnTo>
                    <a:pt x="234532" y="58828"/>
                  </a:lnTo>
                  <a:lnTo>
                    <a:pt x="146030" y="58828"/>
                  </a:lnTo>
                  <a:lnTo>
                    <a:pt x="146030" y="13275"/>
                  </a:lnTo>
                  <a:lnTo>
                    <a:pt x="101778" y="13275"/>
                  </a:lnTo>
                  <a:lnTo>
                    <a:pt x="101778" y="13275"/>
                  </a:lnTo>
                  <a:close/>
                </a:path>
              </a:pathLst>
            </a:custGeom>
            <a:solidFill>
              <a:srgbClr val="0078D4"/>
            </a:solidFill>
            <a:ln w="12954" cap="flat">
              <a:noFill/>
              <a:prstDash val="solid"/>
              <a:miter/>
            </a:ln>
          </p:spPr>
          <p:txBody>
            <a:bodyPr rtlCol="0" anchor="ctr"/>
            <a:lstStyle/>
            <a:p>
              <a:pPr defTabSz="914501"/>
              <a:endParaRPr lang="en-US" dirty="0">
                <a:solidFill>
                  <a:srgbClr val="3C3C41"/>
                </a:solidFill>
                <a:latin typeface="Segoe UI"/>
              </a:endParaRPr>
            </a:p>
          </p:txBody>
        </p:sp>
        <p:sp>
          <p:nvSpPr>
            <p:cNvPr id="133" name="Freeform: Shape 132">
              <a:extLst>
                <a:ext uri="{FF2B5EF4-FFF2-40B4-BE49-F238E27FC236}">
                  <a16:creationId xmlns:a16="http://schemas.microsoft.com/office/drawing/2014/main" id="{9EFA730E-B580-4C24-B16E-9D989B31CB62}"/>
                </a:ext>
              </a:extLst>
            </p:cNvPr>
            <p:cNvSpPr/>
            <p:nvPr/>
          </p:nvSpPr>
          <p:spPr>
            <a:xfrm>
              <a:off x="1226079" y="2322226"/>
              <a:ext cx="247287" cy="91106"/>
            </a:xfrm>
            <a:custGeom>
              <a:avLst/>
              <a:gdLst>
                <a:gd name="connsiteX0" fmla="*/ 231929 w 247287"/>
                <a:gd name="connsiteY0" fmla="*/ 13275 h 91105"/>
                <a:gd name="connsiteX1" fmla="*/ 18481 w 247287"/>
                <a:gd name="connsiteY1" fmla="*/ 13275 h 91105"/>
                <a:gd name="connsiteX2" fmla="*/ 13275 w 247287"/>
                <a:gd name="connsiteY2" fmla="*/ 86160 h 91105"/>
                <a:gd name="connsiteX3" fmla="*/ 235834 w 247287"/>
                <a:gd name="connsiteY3" fmla="*/ 86160 h 91105"/>
                <a:gd name="connsiteX4" fmla="*/ 231929 w 247287"/>
                <a:gd name="connsiteY4" fmla="*/ 13275 h 91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287" h="91105">
                  <a:moveTo>
                    <a:pt x="231929" y="13275"/>
                  </a:moveTo>
                  <a:lnTo>
                    <a:pt x="18481" y="13275"/>
                  </a:lnTo>
                  <a:cubicBezTo>
                    <a:pt x="15878" y="36703"/>
                    <a:pt x="13275" y="61431"/>
                    <a:pt x="13275" y="86160"/>
                  </a:cubicBezTo>
                  <a:lnTo>
                    <a:pt x="235834" y="86160"/>
                  </a:lnTo>
                  <a:cubicBezTo>
                    <a:pt x="235834" y="61431"/>
                    <a:pt x="234532" y="36703"/>
                    <a:pt x="231929" y="13275"/>
                  </a:cubicBezTo>
                  <a:close/>
                </a:path>
              </a:pathLst>
            </a:custGeom>
            <a:solidFill>
              <a:schemeClr val="tx1">
                <a:lumMod val="75000"/>
              </a:schemeClr>
            </a:solidFill>
            <a:ln w="12954" cap="flat">
              <a:noFill/>
              <a:prstDash val="solid"/>
              <a:miter/>
            </a:ln>
          </p:spPr>
          <p:txBody>
            <a:bodyPr rtlCol="0" anchor="ctr"/>
            <a:lstStyle/>
            <a:p>
              <a:pPr defTabSz="914501"/>
              <a:endParaRPr lang="en-US" dirty="0">
                <a:solidFill>
                  <a:srgbClr val="3C3C41"/>
                </a:solidFill>
                <a:latin typeface="Segoe UI"/>
              </a:endParaRPr>
            </a:p>
          </p:txBody>
        </p:sp>
        <p:sp>
          <p:nvSpPr>
            <p:cNvPr id="134" name="Freeform: Shape 133">
              <a:extLst>
                <a:ext uri="{FF2B5EF4-FFF2-40B4-BE49-F238E27FC236}">
                  <a16:creationId xmlns:a16="http://schemas.microsoft.com/office/drawing/2014/main" id="{3AD8E52C-C7C1-414B-ACC7-22553E56E3D4}"/>
                </a:ext>
              </a:extLst>
            </p:cNvPr>
            <p:cNvSpPr/>
            <p:nvPr/>
          </p:nvSpPr>
          <p:spPr>
            <a:xfrm>
              <a:off x="1477271" y="2322226"/>
              <a:ext cx="130151" cy="169197"/>
            </a:xfrm>
            <a:custGeom>
              <a:avLst/>
              <a:gdLst>
                <a:gd name="connsiteX0" fmla="*/ 116095 w 130151"/>
                <a:gd name="connsiteY0" fmla="*/ 13275 h 169196"/>
                <a:gd name="connsiteX1" fmla="*/ 13275 w 130151"/>
                <a:gd name="connsiteY1" fmla="*/ 13275 h 169196"/>
                <a:gd name="connsiteX2" fmla="*/ 17180 w 130151"/>
                <a:gd name="connsiteY2" fmla="*/ 86160 h 169196"/>
                <a:gd name="connsiteX3" fmla="*/ 17180 w 130151"/>
                <a:gd name="connsiteY3" fmla="*/ 159045 h 169196"/>
                <a:gd name="connsiteX4" fmla="*/ 116095 w 130151"/>
                <a:gd name="connsiteY4" fmla="*/ 159045 h 169196"/>
                <a:gd name="connsiteX5" fmla="*/ 126507 w 130151"/>
                <a:gd name="connsiteY5" fmla="*/ 86160 h 169196"/>
                <a:gd name="connsiteX6" fmla="*/ 116095 w 130151"/>
                <a:gd name="connsiteY6" fmla="*/ 13275 h 16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151" h="169196">
                  <a:moveTo>
                    <a:pt x="116095" y="13275"/>
                  </a:moveTo>
                  <a:lnTo>
                    <a:pt x="13275" y="13275"/>
                  </a:lnTo>
                  <a:cubicBezTo>
                    <a:pt x="15878" y="36703"/>
                    <a:pt x="17180" y="61431"/>
                    <a:pt x="17180" y="86160"/>
                  </a:cubicBezTo>
                  <a:lnTo>
                    <a:pt x="17180" y="159045"/>
                  </a:lnTo>
                  <a:lnTo>
                    <a:pt x="116095" y="159045"/>
                  </a:lnTo>
                  <a:cubicBezTo>
                    <a:pt x="122602" y="135618"/>
                    <a:pt x="126507" y="110889"/>
                    <a:pt x="126507" y="86160"/>
                  </a:cubicBezTo>
                  <a:cubicBezTo>
                    <a:pt x="126507" y="61431"/>
                    <a:pt x="123904" y="36703"/>
                    <a:pt x="116095" y="13275"/>
                  </a:cubicBezTo>
                  <a:close/>
                </a:path>
              </a:pathLst>
            </a:custGeom>
            <a:solidFill>
              <a:srgbClr val="0078D4"/>
            </a:solidFill>
            <a:ln w="12954" cap="flat">
              <a:noFill/>
              <a:prstDash val="solid"/>
              <a:miter/>
            </a:ln>
          </p:spPr>
          <p:txBody>
            <a:bodyPr rtlCol="0" anchor="ctr"/>
            <a:lstStyle/>
            <a:p>
              <a:pPr defTabSz="914501"/>
              <a:endParaRPr lang="en-US" dirty="0">
                <a:solidFill>
                  <a:srgbClr val="3C3C41"/>
                </a:solidFill>
                <a:latin typeface="Segoe UI"/>
              </a:endParaRPr>
            </a:p>
          </p:txBody>
        </p:sp>
        <p:sp>
          <p:nvSpPr>
            <p:cNvPr id="135" name="Freeform: Shape 134">
              <a:extLst>
                <a:ext uri="{FF2B5EF4-FFF2-40B4-BE49-F238E27FC236}">
                  <a16:creationId xmlns:a16="http://schemas.microsoft.com/office/drawing/2014/main" id="{8D4F32D0-63FF-48D8-B4C9-C7CE772B07A8}"/>
                </a:ext>
              </a:extLst>
            </p:cNvPr>
            <p:cNvSpPr/>
            <p:nvPr/>
          </p:nvSpPr>
          <p:spPr>
            <a:xfrm>
              <a:off x="1481176" y="2501835"/>
              <a:ext cx="104121" cy="117136"/>
            </a:xfrm>
            <a:custGeom>
              <a:avLst/>
              <a:gdLst>
                <a:gd name="connsiteX0" fmla="*/ 13275 w 104120"/>
                <a:gd name="connsiteY0" fmla="*/ 13275 h 117136"/>
                <a:gd name="connsiteX1" fmla="*/ 13275 w 104120"/>
                <a:gd name="connsiteY1" fmla="*/ 116095 h 117136"/>
                <a:gd name="connsiteX2" fmla="*/ 99175 w 104120"/>
                <a:gd name="connsiteY2" fmla="*/ 13275 h 117136"/>
                <a:gd name="connsiteX3" fmla="*/ 13275 w 104120"/>
                <a:gd name="connsiteY3" fmla="*/ 13275 h 117136"/>
              </a:gdLst>
              <a:ahLst/>
              <a:cxnLst>
                <a:cxn ang="0">
                  <a:pos x="connsiteX0" y="connsiteY0"/>
                </a:cxn>
                <a:cxn ang="0">
                  <a:pos x="connsiteX1" y="connsiteY1"/>
                </a:cxn>
                <a:cxn ang="0">
                  <a:pos x="connsiteX2" y="connsiteY2"/>
                </a:cxn>
                <a:cxn ang="0">
                  <a:pos x="connsiteX3" y="connsiteY3"/>
                </a:cxn>
              </a:cxnLst>
              <a:rect l="l" t="t" r="r" b="b"/>
              <a:pathLst>
                <a:path w="104120" h="117136">
                  <a:moveTo>
                    <a:pt x="13275" y="13275"/>
                  </a:moveTo>
                  <a:lnTo>
                    <a:pt x="13275" y="116095"/>
                  </a:lnTo>
                  <a:cubicBezTo>
                    <a:pt x="51019" y="90065"/>
                    <a:pt x="79653" y="54924"/>
                    <a:pt x="99175" y="13275"/>
                  </a:cubicBezTo>
                  <a:cubicBezTo>
                    <a:pt x="99175" y="13275"/>
                    <a:pt x="13275" y="13275"/>
                    <a:pt x="13275" y="13275"/>
                  </a:cubicBezTo>
                  <a:close/>
                </a:path>
              </a:pathLst>
            </a:custGeom>
            <a:solidFill>
              <a:srgbClr val="0078D4"/>
            </a:solidFill>
            <a:ln w="12954" cap="flat">
              <a:noFill/>
              <a:prstDash val="solid"/>
              <a:miter/>
            </a:ln>
          </p:spPr>
          <p:txBody>
            <a:bodyPr rtlCol="0" anchor="ctr"/>
            <a:lstStyle/>
            <a:p>
              <a:pPr defTabSz="914501"/>
              <a:endParaRPr lang="en-US" dirty="0">
                <a:solidFill>
                  <a:srgbClr val="3C3C41"/>
                </a:solidFill>
                <a:latin typeface="Segoe UI"/>
              </a:endParaRPr>
            </a:p>
          </p:txBody>
        </p:sp>
      </p:grpSp>
      <p:grpSp>
        <p:nvGrpSpPr>
          <p:cNvPr id="136" name="Graphic 66">
            <a:extLst>
              <a:ext uri="{FF2B5EF4-FFF2-40B4-BE49-F238E27FC236}">
                <a16:creationId xmlns:a16="http://schemas.microsoft.com/office/drawing/2014/main" id="{3A329289-88B5-45BF-884A-9E851FF0F558}"/>
              </a:ext>
            </a:extLst>
          </p:cNvPr>
          <p:cNvGrpSpPr/>
          <p:nvPr/>
        </p:nvGrpSpPr>
        <p:grpSpPr>
          <a:xfrm>
            <a:off x="2430330" y="2690325"/>
            <a:ext cx="496678" cy="496678"/>
            <a:chOff x="1008987" y="3596472"/>
            <a:chExt cx="650756" cy="650756"/>
          </a:xfrm>
          <a:solidFill>
            <a:schemeClr val="tx2"/>
          </a:solidFill>
        </p:grpSpPr>
        <p:sp>
          <p:nvSpPr>
            <p:cNvPr id="137" name="Freeform: Shape 136">
              <a:extLst>
                <a:ext uri="{FF2B5EF4-FFF2-40B4-BE49-F238E27FC236}">
                  <a16:creationId xmlns:a16="http://schemas.microsoft.com/office/drawing/2014/main" id="{271B6301-197C-4DA3-B1B0-43EDF41141B6}"/>
                </a:ext>
              </a:extLst>
            </p:cNvPr>
            <p:cNvSpPr/>
            <p:nvPr/>
          </p:nvSpPr>
          <p:spPr>
            <a:xfrm>
              <a:off x="1207468" y="3860028"/>
              <a:ext cx="247287" cy="156181"/>
            </a:xfrm>
            <a:custGeom>
              <a:avLst/>
              <a:gdLst>
                <a:gd name="connsiteX0" fmla="*/ 215400 w 247287"/>
                <a:gd name="connsiteY0" fmla="*/ 151626 h 156181"/>
                <a:gd name="connsiteX1" fmla="*/ 125596 w 247287"/>
                <a:gd name="connsiteY1" fmla="*/ 64425 h 156181"/>
                <a:gd name="connsiteX2" fmla="*/ 37093 w 247287"/>
                <a:gd name="connsiteY2" fmla="*/ 151626 h 156181"/>
                <a:gd name="connsiteX3" fmla="*/ 9761 w 247287"/>
                <a:gd name="connsiteY3" fmla="*/ 124294 h 156181"/>
                <a:gd name="connsiteX4" fmla="*/ 125596 w 247287"/>
                <a:gd name="connsiteY4" fmla="*/ 9761 h 156181"/>
                <a:gd name="connsiteX5" fmla="*/ 242732 w 247287"/>
                <a:gd name="connsiteY5" fmla="*/ 124294 h 15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287" h="156181">
                  <a:moveTo>
                    <a:pt x="215400" y="151626"/>
                  </a:moveTo>
                  <a:lnTo>
                    <a:pt x="125596" y="64425"/>
                  </a:lnTo>
                  <a:lnTo>
                    <a:pt x="37093" y="151626"/>
                  </a:lnTo>
                  <a:lnTo>
                    <a:pt x="9761" y="124294"/>
                  </a:lnTo>
                  <a:lnTo>
                    <a:pt x="125596" y="9761"/>
                  </a:lnTo>
                  <a:lnTo>
                    <a:pt x="242732" y="124294"/>
                  </a:lnTo>
                  <a:close/>
                </a:path>
              </a:pathLst>
            </a:custGeom>
            <a:solidFill>
              <a:schemeClr val="tx1">
                <a:lumMod val="75000"/>
              </a:schemeClr>
            </a:solidFill>
            <a:ln w="9525" cap="flat">
              <a:noFill/>
              <a:prstDash val="solid"/>
              <a:miter/>
            </a:ln>
          </p:spPr>
          <p:txBody>
            <a:bodyPr rtlCol="0" anchor="ctr"/>
            <a:lstStyle/>
            <a:p>
              <a:pPr defTabSz="914501"/>
              <a:endParaRPr lang="en-US" dirty="0">
                <a:solidFill>
                  <a:srgbClr val="3C3C41"/>
                </a:solidFill>
                <a:latin typeface="Segoe UI"/>
              </a:endParaRPr>
            </a:p>
          </p:txBody>
        </p:sp>
        <p:sp>
          <p:nvSpPr>
            <p:cNvPr id="138" name="Freeform: Shape 137">
              <a:extLst>
                <a:ext uri="{FF2B5EF4-FFF2-40B4-BE49-F238E27FC236}">
                  <a16:creationId xmlns:a16="http://schemas.microsoft.com/office/drawing/2014/main" id="{8CAF4902-308E-40FF-B338-0A3A8AA57DEA}"/>
                </a:ext>
              </a:extLst>
            </p:cNvPr>
            <p:cNvSpPr/>
            <p:nvPr/>
          </p:nvSpPr>
          <p:spPr>
            <a:xfrm>
              <a:off x="1259528" y="3594520"/>
              <a:ext cx="143166" cy="143166"/>
            </a:xfrm>
            <a:custGeom>
              <a:avLst/>
              <a:gdLst>
                <a:gd name="connsiteX0" fmla="*/ 74837 w 143166"/>
                <a:gd name="connsiteY0" fmla="*/ 134706 h 143166"/>
                <a:gd name="connsiteX1" fmla="*/ 74837 w 143166"/>
                <a:gd name="connsiteY1" fmla="*/ 134706 h 143166"/>
                <a:gd name="connsiteX2" fmla="*/ 138611 w 143166"/>
                <a:gd name="connsiteY2" fmla="*/ 72234 h 143166"/>
                <a:gd name="connsiteX3" fmla="*/ 100867 w 143166"/>
                <a:gd name="connsiteY3" fmla="*/ 14967 h 143166"/>
                <a:gd name="connsiteX4" fmla="*/ 74837 w 143166"/>
                <a:gd name="connsiteY4" fmla="*/ 9761 h 143166"/>
                <a:gd name="connsiteX5" fmla="*/ 48807 w 143166"/>
                <a:gd name="connsiteY5" fmla="*/ 14967 h 143166"/>
                <a:gd name="connsiteX6" fmla="*/ 9761 w 143166"/>
                <a:gd name="connsiteY6" fmla="*/ 72234 h 143166"/>
                <a:gd name="connsiteX7" fmla="*/ 74837 w 143166"/>
                <a:gd name="connsiteY7" fmla="*/ 134706 h 143166"/>
                <a:gd name="connsiteX8" fmla="*/ 74837 w 143166"/>
                <a:gd name="connsiteY8" fmla="*/ 134706 h 143166"/>
                <a:gd name="connsiteX9" fmla="*/ 74837 w 143166"/>
                <a:gd name="connsiteY9" fmla="*/ 134706 h 143166"/>
                <a:gd name="connsiteX10" fmla="*/ 74837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4837" y="134706"/>
                  </a:moveTo>
                  <a:lnTo>
                    <a:pt x="74837" y="134706"/>
                  </a:lnTo>
                  <a:cubicBezTo>
                    <a:pt x="109978" y="134706"/>
                    <a:pt x="138611" y="107375"/>
                    <a:pt x="138611" y="72234"/>
                  </a:cubicBezTo>
                  <a:cubicBezTo>
                    <a:pt x="138611" y="46204"/>
                    <a:pt x="122993" y="25379"/>
                    <a:pt x="100867" y="14967"/>
                  </a:cubicBezTo>
                  <a:cubicBezTo>
                    <a:pt x="93058" y="11063"/>
                    <a:pt x="83948" y="9761"/>
                    <a:pt x="74837" y="9761"/>
                  </a:cubicBezTo>
                  <a:cubicBezTo>
                    <a:pt x="65726" y="9761"/>
                    <a:pt x="56616" y="11063"/>
                    <a:pt x="48807" y="14967"/>
                  </a:cubicBezTo>
                  <a:cubicBezTo>
                    <a:pt x="25379" y="25379"/>
                    <a:pt x="9761" y="46204"/>
                    <a:pt x="9761" y="72234"/>
                  </a:cubicBezTo>
                  <a:cubicBezTo>
                    <a:pt x="9761" y="107375"/>
                    <a:pt x="38395" y="134706"/>
                    <a:pt x="74837" y="134706"/>
                  </a:cubicBezTo>
                  <a:lnTo>
                    <a:pt x="74837" y="134706"/>
                  </a:lnTo>
                  <a:lnTo>
                    <a:pt x="74837" y="134706"/>
                  </a:lnTo>
                  <a:lnTo>
                    <a:pt x="74837" y="134706"/>
                  </a:lnTo>
                  <a:close/>
                </a:path>
              </a:pathLst>
            </a:custGeom>
            <a:grpFill/>
            <a:ln w="9525" cap="flat">
              <a:noFill/>
              <a:prstDash val="solid"/>
              <a:miter/>
            </a:ln>
          </p:spPr>
          <p:txBody>
            <a:bodyPr rtlCol="0" anchor="ctr"/>
            <a:lstStyle/>
            <a:p>
              <a:pPr defTabSz="914501"/>
              <a:endParaRPr lang="en-US" dirty="0">
                <a:solidFill>
                  <a:srgbClr val="3C3C41"/>
                </a:solidFill>
                <a:latin typeface="Segoe UI"/>
              </a:endParaRPr>
            </a:p>
          </p:txBody>
        </p:sp>
        <p:sp>
          <p:nvSpPr>
            <p:cNvPr id="139" name="Freeform: Shape 138">
              <a:extLst>
                <a:ext uri="{FF2B5EF4-FFF2-40B4-BE49-F238E27FC236}">
                  <a16:creationId xmlns:a16="http://schemas.microsoft.com/office/drawing/2014/main" id="{AE5DED7B-7E97-4931-A060-06736730C096}"/>
                </a:ext>
              </a:extLst>
            </p:cNvPr>
            <p:cNvSpPr/>
            <p:nvPr/>
          </p:nvSpPr>
          <p:spPr>
            <a:xfrm>
              <a:off x="1226990" y="3735083"/>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3687"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defTabSz="914501"/>
              <a:endParaRPr lang="en-US" dirty="0">
                <a:solidFill>
                  <a:srgbClr val="3C3C41"/>
                </a:solidFill>
                <a:latin typeface="Segoe UI"/>
              </a:endParaRPr>
            </a:p>
          </p:txBody>
        </p:sp>
        <p:sp>
          <p:nvSpPr>
            <p:cNvPr id="140" name="Freeform: Shape 139">
              <a:extLst>
                <a:ext uri="{FF2B5EF4-FFF2-40B4-BE49-F238E27FC236}">
                  <a16:creationId xmlns:a16="http://schemas.microsoft.com/office/drawing/2014/main" id="{DE0F5FD8-6094-41CA-B217-D473975042E0}"/>
                </a:ext>
              </a:extLst>
            </p:cNvPr>
            <p:cNvSpPr/>
            <p:nvPr/>
          </p:nvSpPr>
          <p:spPr>
            <a:xfrm>
              <a:off x="1081221" y="3992782"/>
              <a:ext cx="143166" cy="143166"/>
            </a:xfrm>
            <a:custGeom>
              <a:avLst/>
              <a:gdLst>
                <a:gd name="connsiteX0" fmla="*/ 73535 w 143166"/>
                <a:gd name="connsiteY0" fmla="*/ 134706 h 143166"/>
                <a:gd name="connsiteX1" fmla="*/ 73535 w 143166"/>
                <a:gd name="connsiteY1" fmla="*/ 134706 h 143166"/>
                <a:gd name="connsiteX2" fmla="*/ 137310 w 143166"/>
                <a:gd name="connsiteY2" fmla="*/ 72234 h 143166"/>
                <a:gd name="connsiteX3" fmla="*/ 99566 w 143166"/>
                <a:gd name="connsiteY3" fmla="*/ 14967 h 143166"/>
                <a:gd name="connsiteX4" fmla="*/ 73535 w 143166"/>
                <a:gd name="connsiteY4" fmla="*/ 9761 h 143166"/>
                <a:gd name="connsiteX5" fmla="*/ 47505 w 143166"/>
                <a:gd name="connsiteY5" fmla="*/ 14967 h 143166"/>
                <a:gd name="connsiteX6" fmla="*/ 9761 w 143166"/>
                <a:gd name="connsiteY6" fmla="*/ 72234 h 143166"/>
                <a:gd name="connsiteX7" fmla="*/ 73535 w 143166"/>
                <a:gd name="connsiteY7" fmla="*/ 134706 h 143166"/>
                <a:gd name="connsiteX8" fmla="*/ 73535 w 143166"/>
                <a:gd name="connsiteY8" fmla="*/ 134706 h 143166"/>
                <a:gd name="connsiteX9" fmla="*/ 73535 w 143166"/>
                <a:gd name="connsiteY9" fmla="*/ 134706 h 143166"/>
                <a:gd name="connsiteX10" fmla="*/ 73535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3535" y="134706"/>
                  </a:moveTo>
                  <a:lnTo>
                    <a:pt x="73535" y="134706"/>
                  </a:lnTo>
                  <a:cubicBezTo>
                    <a:pt x="108676" y="134706"/>
                    <a:pt x="137310" y="107375"/>
                    <a:pt x="137310" y="72234"/>
                  </a:cubicBezTo>
                  <a:cubicBezTo>
                    <a:pt x="137310" y="46204"/>
                    <a:pt x="121691" y="25379"/>
                    <a:pt x="99566" y="14967"/>
                  </a:cubicBezTo>
                  <a:cubicBezTo>
                    <a:pt x="91757" y="11063"/>
                    <a:pt x="82646" y="9761"/>
                    <a:pt x="73535" y="9761"/>
                  </a:cubicBezTo>
                  <a:cubicBezTo>
                    <a:pt x="64425" y="9761"/>
                    <a:pt x="55314" y="11063"/>
                    <a:pt x="47505" y="14967"/>
                  </a:cubicBezTo>
                  <a:cubicBezTo>
                    <a:pt x="25379" y="25379"/>
                    <a:pt x="9761" y="46204"/>
                    <a:pt x="9761" y="72234"/>
                  </a:cubicBezTo>
                  <a:cubicBezTo>
                    <a:pt x="9761" y="106073"/>
                    <a:pt x="38395" y="134706"/>
                    <a:pt x="73535" y="134706"/>
                  </a:cubicBezTo>
                  <a:lnTo>
                    <a:pt x="73535" y="134706"/>
                  </a:lnTo>
                  <a:lnTo>
                    <a:pt x="73535" y="134706"/>
                  </a:lnTo>
                  <a:lnTo>
                    <a:pt x="73535" y="134706"/>
                  </a:lnTo>
                  <a:close/>
                </a:path>
              </a:pathLst>
            </a:custGeom>
            <a:grpFill/>
            <a:ln w="9525" cap="flat">
              <a:noFill/>
              <a:prstDash val="solid"/>
              <a:miter/>
            </a:ln>
          </p:spPr>
          <p:txBody>
            <a:bodyPr rtlCol="0" anchor="ctr"/>
            <a:lstStyle/>
            <a:p>
              <a:pPr defTabSz="914501"/>
              <a:endParaRPr lang="en-US" dirty="0">
                <a:solidFill>
                  <a:srgbClr val="3C3C41"/>
                </a:solidFill>
                <a:latin typeface="Segoe UI"/>
              </a:endParaRPr>
            </a:p>
          </p:txBody>
        </p:sp>
        <p:sp>
          <p:nvSpPr>
            <p:cNvPr id="141" name="Freeform: Shape 140">
              <a:extLst>
                <a:ext uri="{FF2B5EF4-FFF2-40B4-BE49-F238E27FC236}">
                  <a16:creationId xmlns:a16="http://schemas.microsoft.com/office/drawing/2014/main" id="{CE69AF3A-A123-4EE2-A031-8A067C57D6EF}"/>
                </a:ext>
              </a:extLst>
            </p:cNvPr>
            <p:cNvSpPr/>
            <p:nvPr/>
          </p:nvSpPr>
          <p:spPr>
            <a:xfrm>
              <a:off x="1047382" y="4132044"/>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4988"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defTabSz="914501"/>
              <a:endParaRPr lang="en-US" dirty="0">
                <a:solidFill>
                  <a:srgbClr val="3C3C41"/>
                </a:solidFill>
                <a:latin typeface="Segoe UI"/>
              </a:endParaRPr>
            </a:p>
          </p:txBody>
        </p:sp>
        <p:sp>
          <p:nvSpPr>
            <p:cNvPr id="142" name="Freeform: Shape 141">
              <a:extLst>
                <a:ext uri="{FF2B5EF4-FFF2-40B4-BE49-F238E27FC236}">
                  <a16:creationId xmlns:a16="http://schemas.microsoft.com/office/drawing/2014/main" id="{6307B33E-D686-4E3F-83CB-681770C14533}"/>
                </a:ext>
              </a:extLst>
            </p:cNvPr>
            <p:cNvSpPr/>
            <p:nvPr/>
          </p:nvSpPr>
          <p:spPr>
            <a:xfrm>
              <a:off x="1439137" y="3992782"/>
              <a:ext cx="143166" cy="143166"/>
            </a:xfrm>
            <a:custGeom>
              <a:avLst/>
              <a:gdLst>
                <a:gd name="connsiteX0" fmla="*/ 73535 w 143166"/>
                <a:gd name="connsiteY0" fmla="*/ 134706 h 143166"/>
                <a:gd name="connsiteX1" fmla="*/ 73535 w 143166"/>
                <a:gd name="connsiteY1" fmla="*/ 134706 h 143166"/>
                <a:gd name="connsiteX2" fmla="*/ 137310 w 143166"/>
                <a:gd name="connsiteY2" fmla="*/ 72234 h 143166"/>
                <a:gd name="connsiteX3" fmla="*/ 99566 w 143166"/>
                <a:gd name="connsiteY3" fmla="*/ 14967 h 143166"/>
                <a:gd name="connsiteX4" fmla="*/ 73535 w 143166"/>
                <a:gd name="connsiteY4" fmla="*/ 9761 h 143166"/>
                <a:gd name="connsiteX5" fmla="*/ 47505 w 143166"/>
                <a:gd name="connsiteY5" fmla="*/ 14967 h 143166"/>
                <a:gd name="connsiteX6" fmla="*/ 9761 w 143166"/>
                <a:gd name="connsiteY6" fmla="*/ 72234 h 143166"/>
                <a:gd name="connsiteX7" fmla="*/ 73535 w 143166"/>
                <a:gd name="connsiteY7" fmla="*/ 134706 h 143166"/>
                <a:gd name="connsiteX8" fmla="*/ 73535 w 143166"/>
                <a:gd name="connsiteY8" fmla="*/ 134706 h 143166"/>
                <a:gd name="connsiteX9" fmla="*/ 73535 w 143166"/>
                <a:gd name="connsiteY9" fmla="*/ 134706 h 143166"/>
                <a:gd name="connsiteX10" fmla="*/ 73535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3535" y="134706"/>
                  </a:moveTo>
                  <a:lnTo>
                    <a:pt x="73535" y="134706"/>
                  </a:lnTo>
                  <a:cubicBezTo>
                    <a:pt x="108676" y="134706"/>
                    <a:pt x="137310" y="107375"/>
                    <a:pt x="137310" y="72234"/>
                  </a:cubicBezTo>
                  <a:cubicBezTo>
                    <a:pt x="137310" y="46204"/>
                    <a:pt x="121691" y="25379"/>
                    <a:pt x="99566" y="14967"/>
                  </a:cubicBezTo>
                  <a:cubicBezTo>
                    <a:pt x="91757" y="11063"/>
                    <a:pt x="82646" y="9761"/>
                    <a:pt x="73535" y="9761"/>
                  </a:cubicBezTo>
                  <a:cubicBezTo>
                    <a:pt x="64425" y="9761"/>
                    <a:pt x="55314" y="11063"/>
                    <a:pt x="47505" y="14967"/>
                  </a:cubicBezTo>
                  <a:cubicBezTo>
                    <a:pt x="25379" y="25379"/>
                    <a:pt x="9761" y="46204"/>
                    <a:pt x="9761" y="72234"/>
                  </a:cubicBezTo>
                  <a:cubicBezTo>
                    <a:pt x="9761" y="106073"/>
                    <a:pt x="38395" y="134706"/>
                    <a:pt x="73535" y="134706"/>
                  </a:cubicBezTo>
                  <a:lnTo>
                    <a:pt x="73535" y="134706"/>
                  </a:lnTo>
                  <a:lnTo>
                    <a:pt x="73535" y="134706"/>
                  </a:lnTo>
                  <a:lnTo>
                    <a:pt x="73535" y="134706"/>
                  </a:lnTo>
                  <a:close/>
                </a:path>
              </a:pathLst>
            </a:custGeom>
            <a:grpFill/>
            <a:ln w="9525" cap="flat">
              <a:noFill/>
              <a:prstDash val="solid"/>
              <a:miter/>
            </a:ln>
          </p:spPr>
          <p:txBody>
            <a:bodyPr rtlCol="0" anchor="ctr"/>
            <a:lstStyle/>
            <a:p>
              <a:pPr defTabSz="914501"/>
              <a:endParaRPr lang="en-US" dirty="0">
                <a:solidFill>
                  <a:srgbClr val="3C3C41"/>
                </a:solidFill>
                <a:latin typeface="Segoe UI"/>
              </a:endParaRPr>
            </a:p>
          </p:txBody>
        </p:sp>
        <p:sp>
          <p:nvSpPr>
            <p:cNvPr id="143" name="Freeform: Shape 142">
              <a:extLst>
                <a:ext uri="{FF2B5EF4-FFF2-40B4-BE49-F238E27FC236}">
                  <a16:creationId xmlns:a16="http://schemas.microsoft.com/office/drawing/2014/main" id="{D77DA20B-8B8D-4D04-B257-DF44CEA0F457}"/>
                </a:ext>
              </a:extLst>
            </p:cNvPr>
            <p:cNvSpPr/>
            <p:nvPr/>
          </p:nvSpPr>
          <p:spPr>
            <a:xfrm>
              <a:off x="1405297" y="4132044"/>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4988"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defTabSz="914501"/>
              <a:endParaRPr lang="en-US" dirty="0">
                <a:solidFill>
                  <a:srgbClr val="3C3C41"/>
                </a:solidFill>
                <a:latin typeface="Segoe UI"/>
              </a:endParaRPr>
            </a:p>
          </p:txBody>
        </p:sp>
      </p:grpSp>
      <p:grpSp>
        <p:nvGrpSpPr>
          <p:cNvPr id="144" name="Group 143">
            <a:extLst>
              <a:ext uri="{FF2B5EF4-FFF2-40B4-BE49-F238E27FC236}">
                <a16:creationId xmlns:a16="http://schemas.microsoft.com/office/drawing/2014/main" id="{F76E610F-363E-459F-97F8-8B3B9F885132}"/>
              </a:ext>
            </a:extLst>
          </p:cNvPr>
          <p:cNvGrpSpPr/>
          <p:nvPr/>
        </p:nvGrpSpPr>
        <p:grpSpPr>
          <a:xfrm>
            <a:off x="2418693" y="3629778"/>
            <a:ext cx="451014" cy="347498"/>
            <a:chOff x="2621280" y="2235200"/>
            <a:chExt cx="4531360" cy="3840480"/>
          </a:xfrm>
        </p:grpSpPr>
        <p:sp>
          <p:nvSpPr>
            <p:cNvPr id="145" name="Rectangle: Rounded Corners 144">
              <a:extLst>
                <a:ext uri="{FF2B5EF4-FFF2-40B4-BE49-F238E27FC236}">
                  <a16:creationId xmlns:a16="http://schemas.microsoft.com/office/drawing/2014/main" id="{5154BCF9-B833-4997-9526-E42FBF54051F}"/>
                </a:ext>
              </a:extLst>
            </p:cNvPr>
            <p:cNvSpPr/>
            <p:nvPr/>
          </p:nvSpPr>
          <p:spPr bwMode="auto">
            <a:xfrm>
              <a:off x="2621280" y="2235200"/>
              <a:ext cx="4531360" cy="3840480"/>
            </a:xfrm>
            <a:prstGeom prst="roundRect">
              <a:avLst>
                <a:gd name="adj" fmla="val 635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6" name="Rectangle: Top Corners Rounded 145">
              <a:extLst>
                <a:ext uri="{FF2B5EF4-FFF2-40B4-BE49-F238E27FC236}">
                  <a16:creationId xmlns:a16="http://schemas.microsoft.com/office/drawing/2014/main" id="{FA9D0C64-E53C-4686-A0FE-C644C83007D2}"/>
                </a:ext>
              </a:extLst>
            </p:cNvPr>
            <p:cNvSpPr/>
            <p:nvPr/>
          </p:nvSpPr>
          <p:spPr bwMode="auto">
            <a:xfrm>
              <a:off x="2621280" y="2235200"/>
              <a:ext cx="4531360" cy="690880"/>
            </a:xfrm>
            <a:prstGeom prst="round2SameRect">
              <a:avLst>
                <a:gd name="adj1" fmla="val 31373"/>
                <a:gd name="adj2"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Rectangle 146">
              <a:extLst>
                <a:ext uri="{FF2B5EF4-FFF2-40B4-BE49-F238E27FC236}">
                  <a16:creationId xmlns:a16="http://schemas.microsoft.com/office/drawing/2014/main" id="{C5D6ABF7-AF2E-4455-909A-28C4E7FF1215}"/>
                </a:ext>
              </a:extLst>
            </p:cNvPr>
            <p:cNvSpPr/>
            <p:nvPr/>
          </p:nvSpPr>
          <p:spPr bwMode="auto">
            <a:xfrm>
              <a:off x="2940631"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764AEB37-D98A-484B-9922-C19D64CFC23C}"/>
                </a:ext>
              </a:extLst>
            </p:cNvPr>
            <p:cNvSpPr/>
            <p:nvPr/>
          </p:nvSpPr>
          <p:spPr bwMode="auto">
            <a:xfrm>
              <a:off x="4360490"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extLst>
                <a:ext uri="{FF2B5EF4-FFF2-40B4-BE49-F238E27FC236}">
                  <a16:creationId xmlns:a16="http://schemas.microsoft.com/office/drawing/2014/main" id="{E2A740E1-17EE-43BF-855C-61D0636DE459}"/>
                </a:ext>
              </a:extLst>
            </p:cNvPr>
            <p:cNvSpPr/>
            <p:nvPr/>
          </p:nvSpPr>
          <p:spPr bwMode="auto">
            <a:xfrm>
              <a:off x="5780348"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extLst>
                <a:ext uri="{FF2B5EF4-FFF2-40B4-BE49-F238E27FC236}">
                  <a16:creationId xmlns:a16="http://schemas.microsoft.com/office/drawing/2014/main" id="{A3ABB2C1-F892-44C6-8A01-62C872E30EF1}"/>
                </a:ext>
              </a:extLst>
            </p:cNvPr>
            <p:cNvSpPr/>
            <p:nvPr/>
          </p:nvSpPr>
          <p:spPr bwMode="auto">
            <a:xfrm>
              <a:off x="2940631" y="4186848"/>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7269CA61-BAD6-43C3-B7DE-186767ECC9FC}"/>
                </a:ext>
              </a:extLst>
            </p:cNvPr>
            <p:cNvSpPr/>
            <p:nvPr/>
          </p:nvSpPr>
          <p:spPr bwMode="auto">
            <a:xfrm>
              <a:off x="4360490" y="4186848"/>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2" name="Rectangle 151">
              <a:extLst>
                <a:ext uri="{FF2B5EF4-FFF2-40B4-BE49-F238E27FC236}">
                  <a16:creationId xmlns:a16="http://schemas.microsoft.com/office/drawing/2014/main" id="{EB313724-A9E6-4C4A-AC25-07AD72359991}"/>
                </a:ext>
              </a:extLst>
            </p:cNvPr>
            <p:cNvSpPr/>
            <p:nvPr/>
          </p:nvSpPr>
          <p:spPr bwMode="auto">
            <a:xfrm>
              <a:off x="5780348" y="4186848"/>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3" name="Rectangle 152">
              <a:extLst>
                <a:ext uri="{FF2B5EF4-FFF2-40B4-BE49-F238E27FC236}">
                  <a16:creationId xmlns:a16="http://schemas.microsoft.com/office/drawing/2014/main" id="{3FEEED93-D9A0-4769-A8BF-15BA05691E35}"/>
                </a:ext>
              </a:extLst>
            </p:cNvPr>
            <p:cNvSpPr/>
            <p:nvPr/>
          </p:nvSpPr>
          <p:spPr bwMode="auto">
            <a:xfrm>
              <a:off x="2940631"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4" name="Rectangle 153">
              <a:extLst>
                <a:ext uri="{FF2B5EF4-FFF2-40B4-BE49-F238E27FC236}">
                  <a16:creationId xmlns:a16="http://schemas.microsoft.com/office/drawing/2014/main" id="{410503E7-4DDA-48F0-922E-2E0D2DC1BA76}"/>
                </a:ext>
              </a:extLst>
            </p:cNvPr>
            <p:cNvSpPr/>
            <p:nvPr/>
          </p:nvSpPr>
          <p:spPr bwMode="auto">
            <a:xfrm>
              <a:off x="4360490"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5" name="Rectangle 154">
              <a:extLst>
                <a:ext uri="{FF2B5EF4-FFF2-40B4-BE49-F238E27FC236}">
                  <a16:creationId xmlns:a16="http://schemas.microsoft.com/office/drawing/2014/main" id="{0B476585-F363-4201-BA17-F05B3922C5A5}"/>
                </a:ext>
              </a:extLst>
            </p:cNvPr>
            <p:cNvSpPr/>
            <p:nvPr/>
          </p:nvSpPr>
          <p:spPr bwMode="auto">
            <a:xfrm>
              <a:off x="5780348"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1968036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6835FA-6880-4CDD-8EF6-1FCBE27D97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0" name="think-cell Slide" r:id="rId6" imgW="503" imgH="503" progId="TCLayout.ActiveDocument.1">
                  <p:embed/>
                </p:oleObj>
              </mc:Choice>
              <mc:Fallback>
                <p:oleObj name="think-cell Slide" r:id="rId6" imgW="503" imgH="503" progId="TCLayout.ActiveDocument.1">
                  <p:embed/>
                  <p:pic>
                    <p:nvPicPr>
                      <p:cNvPr id="4" name="Object 3" hidden="1">
                        <a:extLst>
                          <a:ext uri="{FF2B5EF4-FFF2-40B4-BE49-F238E27FC236}">
                            <a16:creationId xmlns:a16="http://schemas.microsoft.com/office/drawing/2014/main" id="{5E6835FA-6880-4CDD-8EF6-1FCBE27D972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B648E7B-509D-4F28-BD03-A2B24312B287}"/>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1" name="Rectangle 20">
            <a:extLst>
              <a:ext uri="{FF2B5EF4-FFF2-40B4-BE49-F238E27FC236}">
                <a16:creationId xmlns:a16="http://schemas.microsoft.com/office/drawing/2014/main" id="{F5392DCF-8EA9-4B15-B5C3-AD00FF1A1C66}"/>
              </a:ext>
            </a:extLst>
          </p:cNvPr>
          <p:cNvSpPr/>
          <p:nvPr/>
        </p:nvSpPr>
        <p:spPr bwMode="auto">
          <a:xfrm>
            <a:off x="588263" y="3505200"/>
            <a:ext cx="5290417" cy="151281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6AC45769-84E5-455F-B704-5F1F4F7C6444}"/>
              </a:ext>
            </a:extLst>
          </p:cNvPr>
          <p:cNvSpPr>
            <a:spLocks noGrp="1"/>
          </p:cNvSpPr>
          <p:nvPr>
            <p:ph type="title"/>
          </p:nvPr>
        </p:nvSpPr>
        <p:spPr/>
        <p:txBody>
          <a:bodyPr/>
          <a:lstStyle/>
          <a:p>
            <a:r>
              <a:rPr lang="en-US" dirty="0"/>
              <a:t>Microsoft is Your Trusted Technology Partner</a:t>
            </a:r>
          </a:p>
        </p:txBody>
      </p:sp>
      <p:grpSp>
        <p:nvGrpSpPr>
          <p:cNvPr id="11" name="Group 10">
            <a:extLst>
              <a:ext uri="{FF2B5EF4-FFF2-40B4-BE49-F238E27FC236}">
                <a16:creationId xmlns:a16="http://schemas.microsoft.com/office/drawing/2014/main" id="{1CBA0A5E-54A1-407B-8366-820944EC7003}"/>
              </a:ext>
            </a:extLst>
          </p:cNvPr>
          <p:cNvGrpSpPr/>
          <p:nvPr/>
        </p:nvGrpSpPr>
        <p:grpSpPr>
          <a:xfrm>
            <a:off x="1582860" y="2132028"/>
            <a:ext cx="4295818" cy="911675"/>
            <a:chOff x="1493411" y="2009103"/>
            <a:chExt cx="3948109" cy="837883"/>
          </a:xfrm>
        </p:grpSpPr>
        <p:sp>
          <p:nvSpPr>
            <p:cNvPr id="18" name="microsoft">
              <a:extLst>
                <a:ext uri="{FF2B5EF4-FFF2-40B4-BE49-F238E27FC236}">
                  <a16:creationId xmlns:a16="http://schemas.microsoft.com/office/drawing/2014/main" id="{0292E47D-A9D0-47DE-BFBB-4547708B7D92}"/>
                </a:ext>
              </a:extLst>
            </p:cNvPr>
            <p:cNvSpPr/>
            <p:nvPr/>
          </p:nvSpPr>
          <p:spPr>
            <a:xfrm>
              <a:off x="1493411" y="2009103"/>
              <a:ext cx="2522800" cy="346570"/>
            </a:xfrm>
            <a:prstGeom prst="rect">
              <a:avLst/>
            </a:prstGeom>
          </p:spPr>
          <p:txBody>
            <a:bodyPr wrap="square" lIns="0" anchor="t" anchorCtr="0">
              <a:spAutoFit/>
            </a:bodyPr>
            <a:lstStyle/>
            <a:p>
              <a:pPr defTabSz="914113" fontAlgn="base">
                <a:spcBef>
                  <a:spcPct val="0"/>
                </a:spcBef>
                <a:spcAft>
                  <a:spcPts val="1200"/>
                </a:spcAft>
                <a:defRPr/>
              </a:pPr>
              <a:r>
                <a:rPr lang="en-US" dirty="0">
                  <a:ln w="3175">
                    <a:noFill/>
                  </a:ln>
                  <a:latin typeface="+mj-lt"/>
                  <a:cs typeface="Segoe UI" pitchFamily="34" charset="0"/>
                </a:rPr>
                <a:t>Microsoft mission</a:t>
              </a:r>
            </a:p>
          </p:txBody>
        </p:sp>
        <p:sp>
          <p:nvSpPr>
            <p:cNvPr id="19" name="Rectangle 18">
              <a:extLst>
                <a:ext uri="{FF2B5EF4-FFF2-40B4-BE49-F238E27FC236}">
                  <a16:creationId xmlns:a16="http://schemas.microsoft.com/office/drawing/2014/main" id="{38BC5CD3-974C-4BC3-925F-3BDD8A1C1941}"/>
                </a:ext>
              </a:extLst>
            </p:cNvPr>
            <p:cNvSpPr/>
            <p:nvPr/>
          </p:nvSpPr>
          <p:spPr>
            <a:xfrm>
              <a:off x="1493411" y="2309543"/>
              <a:ext cx="3948109" cy="537443"/>
            </a:xfrm>
            <a:prstGeom prst="rect">
              <a:avLst/>
            </a:prstGeom>
            <a:noFill/>
          </p:spPr>
          <p:txBody>
            <a:bodyPr wrap="square" lIns="0" anchor="t" anchorCtr="0">
              <a:spAutoFit/>
            </a:bodyPr>
            <a:lstStyle/>
            <a:p>
              <a:pPr defTabSz="914113" fontAlgn="base">
                <a:spcBef>
                  <a:spcPct val="0"/>
                </a:spcBef>
                <a:spcAft>
                  <a:spcPts val="1200"/>
                </a:spcAft>
                <a:defRPr/>
              </a:pPr>
              <a:r>
                <a:rPr lang="en-US" sz="1600" i="1" dirty="0">
                  <a:ln w="3175">
                    <a:noFill/>
                  </a:ln>
                  <a:cs typeface="Segoe UI Light" panose="020B0502040204020203" pitchFamily="34" charset="0"/>
                </a:rPr>
                <a:t>“Empower every person and every organization on the planet to achieve more”</a:t>
              </a:r>
            </a:p>
          </p:txBody>
        </p:sp>
      </p:grpSp>
      <p:sp>
        <p:nvSpPr>
          <p:cNvPr id="20" name="TextBox 19">
            <a:extLst>
              <a:ext uri="{FF2B5EF4-FFF2-40B4-BE49-F238E27FC236}">
                <a16:creationId xmlns:a16="http://schemas.microsoft.com/office/drawing/2014/main" id="{B601C817-ECF9-4584-A84B-CD71506EAC28}"/>
              </a:ext>
            </a:extLst>
          </p:cNvPr>
          <p:cNvSpPr txBox="1"/>
          <p:nvPr/>
        </p:nvSpPr>
        <p:spPr>
          <a:xfrm>
            <a:off x="6313323" y="1999567"/>
            <a:ext cx="5296066" cy="1515158"/>
          </a:xfrm>
          <a:prstGeom prst="rect">
            <a:avLst/>
          </a:prstGeom>
          <a:noFill/>
          <a:ln w="6350">
            <a:noFill/>
          </a:ln>
        </p:spPr>
        <p:txBody>
          <a:bodyPr wrap="square" lIns="0" rIns="0" rtlCol="0" anchor="t" anchorCtr="0">
            <a:noAutofit/>
          </a:bodyPr>
          <a:lstStyle/>
          <a:p>
            <a:pPr defTabSz="914113" fontAlgn="base">
              <a:spcBef>
                <a:spcPts val="600"/>
              </a:spcBef>
              <a:spcAft>
                <a:spcPts val="200"/>
              </a:spcAft>
              <a:defRPr/>
            </a:pPr>
            <a:r>
              <a:rPr lang="en-US" dirty="0">
                <a:ln w="3175">
                  <a:noFill/>
                </a:ln>
                <a:latin typeface="+mj-lt"/>
                <a:cs typeface="Segoe UI" pitchFamily="34" charset="0"/>
              </a:rPr>
              <a:t>Shared IP Innovation Principles: </a:t>
            </a:r>
          </a:p>
          <a:p>
            <a:pPr defTabSz="914411" fontAlgn="base">
              <a:spcBef>
                <a:spcPct val="0"/>
              </a:spcBef>
              <a:buClr>
                <a:srgbClr val="505050"/>
              </a:buClr>
              <a:buSzPct val="100000"/>
              <a:tabLst>
                <a:tab pos="119064" algn="l"/>
              </a:tabLst>
              <a:defRPr/>
            </a:pPr>
            <a:r>
              <a:rPr lang="en-US" sz="1400" kern="0" dirty="0">
                <a:ea typeface="Segoe UI"/>
                <a:cs typeface="Segoe UI Light" panose="020B0502040204020203" pitchFamily="34" charset="0"/>
              </a:rPr>
              <a:t>Microsoft’s policies give customers peace of mind and clarity when innovating with us</a:t>
            </a:r>
            <a:endParaRPr lang="en-US" sz="1400" kern="0" dirty="0">
              <a:ea typeface="Segoe UI"/>
              <a:cs typeface="Segoe UI" panose="020B0502040204020203" pitchFamily="34" charset="0"/>
            </a:endParaRPr>
          </a:p>
          <a:p>
            <a:pPr defTabSz="914113" fontAlgn="base">
              <a:spcBef>
                <a:spcPts val="600"/>
              </a:spcBef>
              <a:spcAft>
                <a:spcPts val="200"/>
              </a:spcAft>
              <a:defRPr/>
            </a:pPr>
            <a:r>
              <a:rPr lang="en-US" dirty="0">
                <a:ln w="3175">
                  <a:noFill/>
                </a:ln>
                <a:latin typeface="+mj-lt"/>
                <a:cs typeface="Segoe UI" pitchFamily="34" charset="0"/>
              </a:rPr>
              <a:t>Azure IP Advantage: </a:t>
            </a:r>
          </a:p>
          <a:p>
            <a:pPr defTabSz="914411" fontAlgn="base">
              <a:spcBef>
                <a:spcPct val="0"/>
              </a:spcBef>
              <a:spcAft>
                <a:spcPts val="1200"/>
              </a:spcAft>
              <a:buClr>
                <a:srgbClr val="505050"/>
              </a:buClr>
              <a:buSzPct val="100000"/>
              <a:tabLst>
                <a:tab pos="119064" algn="l"/>
              </a:tabLst>
              <a:defRPr/>
            </a:pPr>
            <a:r>
              <a:rPr lang="en-US" sz="1400" dirty="0"/>
              <a:t>Microsoft offers best-in-industry protection against IP risks</a:t>
            </a:r>
          </a:p>
        </p:txBody>
      </p:sp>
      <p:grpSp>
        <p:nvGrpSpPr>
          <p:cNvPr id="59" name="Group 58">
            <a:extLst>
              <a:ext uri="{FF2B5EF4-FFF2-40B4-BE49-F238E27FC236}">
                <a16:creationId xmlns:a16="http://schemas.microsoft.com/office/drawing/2014/main" id="{4CF34546-CF61-4FBD-805B-30193FE93FEB}"/>
              </a:ext>
            </a:extLst>
          </p:cNvPr>
          <p:cNvGrpSpPr>
            <a:grpSpLocks noChangeAspect="1"/>
          </p:cNvGrpSpPr>
          <p:nvPr/>
        </p:nvGrpSpPr>
        <p:grpSpPr>
          <a:xfrm>
            <a:off x="588262" y="2145480"/>
            <a:ext cx="883469" cy="883469"/>
            <a:chOff x="5626000" y="291512"/>
            <a:chExt cx="6274975" cy="6274975"/>
          </a:xfrm>
        </p:grpSpPr>
        <p:pic>
          <p:nvPicPr>
            <p:cNvPr id="60" name="Picture 59">
              <a:extLst>
                <a:ext uri="{FF2B5EF4-FFF2-40B4-BE49-F238E27FC236}">
                  <a16:creationId xmlns:a16="http://schemas.microsoft.com/office/drawing/2014/main" id="{57686490-C5DC-4AD1-A3A7-12E363D8EF36}"/>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5626000" y="291512"/>
              <a:ext cx="2994059" cy="2994059"/>
            </a:xfrm>
            <a:prstGeom prst="rect">
              <a:avLst/>
            </a:prstGeom>
          </p:spPr>
        </p:pic>
        <p:pic>
          <p:nvPicPr>
            <p:cNvPr id="61" name="Picture 60">
              <a:extLst>
                <a:ext uri="{FF2B5EF4-FFF2-40B4-BE49-F238E27FC236}">
                  <a16:creationId xmlns:a16="http://schemas.microsoft.com/office/drawing/2014/main" id="{364667E3-903D-4765-BE6A-ACA16CCE75F9}"/>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8906916" y="3572428"/>
              <a:ext cx="2994059" cy="2994059"/>
            </a:xfrm>
            <a:prstGeom prst="rect">
              <a:avLst/>
            </a:prstGeom>
          </p:spPr>
        </p:pic>
        <p:pic>
          <p:nvPicPr>
            <p:cNvPr id="62" name="Picture 61">
              <a:extLst>
                <a:ext uri="{FF2B5EF4-FFF2-40B4-BE49-F238E27FC236}">
                  <a16:creationId xmlns:a16="http://schemas.microsoft.com/office/drawing/2014/main" id="{98F6BFD9-3A43-49E2-8736-CA8961FC6D91}"/>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5626001" y="3572428"/>
              <a:ext cx="2994059" cy="2994059"/>
            </a:xfrm>
            <a:prstGeom prst="rect">
              <a:avLst/>
            </a:prstGeom>
          </p:spPr>
        </p:pic>
        <p:pic>
          <p:nvPicPr>
            <p:cNvPr id="63" name="Picture 62">
              <a:extLst>
                <a:ext uri="{FF2B5EF4-FFF2-40B4-BE49-F238E27FC236}">
                  <a16:creationId xmlns:a16="http://schemas.microsoft.com/office/drawing/2014/main" id="{3CAB4796-89D7-4E3D-9FC4-0D27BF35F47D}"/>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8906916" y="291513"/>
              <a:ext cx="2994059" cy="2994059"/>
            </a:xfrm>
            <a:prstGeom prst="rect">
              <a:avLst/>
            </a:prstGeom>
          </p:spPr>
        </p:pic>
        <p:grpSp>
          <p:nvGrpSpPr>
            <p:cNvPr id="64" name="Group 63">
              <a:extLst>
                <a:ext uri="{FF2B5EF4-FFF2-40B4-BE49-F238E27FC236}">
                  <a16:creationId xmlns:a16="http://schemas.microsoft.com/office/drawing/2014/main" id="{CABCB64F-FEC7-499D-82DC-E9EA5AC769DF}"/>
                </a:ext>
              </a:extLst>
            </p:cNvPr>
            <p:cNvGrpSpPr/>
            <p:nvPr/>
          </p:nvGrpSpPr>
          <p:grpSpPr>
            <a:xfrm>
              <a:off x="5626000" y="291512"/>
              <a:ext cx="6274975" cy="6274975"/>
              <a:chOff x="5626000" y="291512"/>
              <a:chExt cx="6274975" cy="6274975"/>
            </a:xfrm>
          </p:grpSpPr>
          <p:sp>
            <p:nvSpPr>
              <p:cNvPr id="65" name="Rectangle 64">
                <a:extLst>
                  <a:ext uri="{FF2B5EF4-FFF2-40B4-BE49-F238E27FC236}">
                    <a16:creationId xmlns:a16="http://schemas.microsoft.com/office/drawing/2014/main" id="{47407CA7-A576-478B-9D3C-4347D603F50F}"/>
                  </a:ext>
                </a:extLst>
              </p:cNvPr>
              <p:cNvSpPr/>
              <p:nvPr/>
            </p:nvSpPr>
            <p:spPr bwMode="auto">
              <a:xfrm>
                <a:off x="5626000" y="291512"/>
                <a:ext cx="2994059" cy="2994059"/>
              </a:xfrm>
              <a:prstGeom prst="rect">
                <a:avLst/>
              </a:prstGeom>
              <a:solidFill>
                <a:srgbClr val="F25022">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30DB9F29-B474-4AAA-99E1-1F89F89F2BB8}"/>
                  </a:ext>
                </a:extLst>
              </p:cNvPr>
              <p:cNvSpPr/>
              <p:nvPr/>
            </p:nvSpPr>
            <p:spPr bwMode="auto">
              <a:xfrm>
                <a:off x="8906916" y="291513"/>
                <a:ext cx="2994059" cy="2994059"/>
              </a:xfrm>
              <a:prstGeom prst="rect">
                <a:avLst/>
              </a:prstGeom>
              <a:solidFill>
                <a:srgbClr val="7FBA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4E2AD0EA-08B2-4FE0-B131-C236DA8BB67F}"/>
                  </a:ext>
                </a:extLst>
              </p:cNvPr>
              <p:cNvSpPr/>
              <p:nvPr/>
            </p:nvSpPr>
            <p:spPr bwMode="auto">
              <a:xfrm>
                <a:off x="5626001" y="3572428"/>
                <a:ext cx="2994059" cy="2994059"/>
              </a:xfrm>
              <a:prstGeom prst="rect">
                <a:avLst/>
              </a:prstGeom>
              <a:solidFill>
                <a:srgbClr val="00A4EF">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F560FD11-7172-402E-95C1-6F8F05EE8A4F}"/>
                  </a:ext>
                </a:extLst>
              </p:cNvPr>
              <p:cNvSpPr/>
              <p:nvPr/>
            </p:nvSpPr>
            <p:spPr bwMode="auto">
              <a:xfrm>
                <a:off x="8906916" y="3572428"/>
                <a:ext cx="2994059" cy="2994059"/>
              </a:xfrm>
              <a:prstGeom prst="rect">
                <a:avLst/>
              </a:prstGeom>
              <a:solidFill>
                <a:srgbClr val="FFB9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73" name="Content Placeholder 4">
            <a:extLst>
              <a:ext uri="{FF2B5EF4-FFF2-40B4-BE49-F238E27FC236}">
                <a16:creationId xmlns:a16="http://schemas.microsoft.com/office/drawing/2014/main" id="{A6CFEE74-50F1-4DF0-B8AD-183BA183AB83}"/>
              </a:ext>
            </a:extLst>
          </p:cNvPr>
          <p:cNvSpPr txBox="1">
            <a:spLocks/>
          </p:cNvSpPr>
          <p:nvPr/>
        </p:nvSpPr>
        <p:spPr bwMode="auto">
          <a:xfrm>
            <a:off x="588263" y="5152937"/>
            <a:ext cx="5290417" cy="1116893"/>
          </a:xfrm>
          <a:prstGeom prst="rect">
            <a:avLst/>
          </a:prstGeom>
          <a:solidFill>
            <a:schemeClr val="bg1">
              <a:lumMod val="95000"/>
            </a:schemeClr>
          </a:solidFill>
          <a:ln w="15875">
            <a:noFill/>
            <a:headEnd/>
            <a:tailEnd/>
          </a:ln>
        </p:spPr>
        <p:style>
          <a:lnRef idx="2">
            <a:schemeClr val="accent2"/>
          </a:lnRef>
          <a:fillRef idx="1">
            <a:schemeClr val="lt1"/>
          </a:fillRef>
          <a:effectRef idx="0">
            <a:schemeClr val="accent2"/>
          </a:effectRef>
          <a:fontRef idx="minor">
            <a:schemeClr val="dk1"/>
          </a:fontRef>
        </p:style>
        <p:txBody>
          <a:bodyPr vert="horz" wrap="square" lIns="91440" tIns="91335" rIns="91440" bIns="91335" numCol="1" rtlCol="0" anchor="t" anchorCtr="0" compatLnSpc="1">
            <a:prstTxWarp prst="textNoShape">
              <a:avLst/>
            </a:prstTxWarp>
            <a:noAutofit/>
          </a:bodyPr>
          <a:lstStyle>
            <a:lvl1pPr marL="0" indent="0" algn="l" defTabSz="1027627" rtl="0" eaLnBrk="1" fontAlgn="base" hangingPunct="1">
              <a:spcBef>
                <a:spcPts val="0"/>
              </a:spcBef>
              <a:spcAft>
                <a:spcPts val="294"/>
              </a:spcAft>
              <a:buClrTx/>
              <a:buFontTx/>
              <a:buNone/>
              <a:defRPr sz="1800" b="0" cap="none" spc="0" baseline="0">
                <a:ln>
                  <a:noFill/>
                </a:ln>
                <a:solidFill>
                  <a:schemeClr val="tx2"/>
                </a:solidFill>
                <a:effectLst/>
                <a:latin typeface="+mn-lt"/>
                <a:ea typeface="+mn-ea"/>
                <a:cs typeface="+mn-cs"/>
              </a:defRPr>
            </a:lvl1pPr>
            <a:lvl2pPr marL="447688" marR="0" indent="-223845" algn="l" defTabSz="1027627" rtl="0" eaLnBrk="1" fontAlgn="base" latinLnBrk="0" hangingPunct="1">
              <a:lnSpc>
                <a:spcPct val="100000"/>
              </a:lnSpc>
              <a:spcBef>
                <a:spcPts val="0"/>
              </a:spcBef>
              <a:spcAft>
                <a:spcPts val="294"/>
              </a:spcAft>
              <a:buClrTx/>
              <a:buSzTx/>
              <a:buFont typeface="Arial" panose="020B0604020202020204" pitchFamily="34" charset="0"/>
              <a:buChar char="•"/>
              <a:tabLst/>
              <a:defRPr sz="1600" b="0">
                <a:solidFill>
                  <a:schemeClr val="tx2"/>
                </a:solidFill>
                <a:latin typeface="+mn-lt"/>
                <a:cs typeface="+mn-cs"/>
              </a:defRPr>
            </a:lvl2pPr>
            <a:lvl3pPr marL="671533" indent="-223845" algn="l" defTabSz="1027627" rtl="0" eaLnBrk="1" fontAlgn="base" hangingPunct="1">
              <a:spcBef>
                <a:spcPts val="0"/>
              </a:spcBef>
              <a:spcAft>
                <a:spcPts val="294"/>
              </a:spcAft>
              <a:buClrTx/>
              <a:buFont typeface="Arial" pitchFamily="34" charset="0"/>
              <a:buChar char="•"/>
              <a:defRPr sz="1400" b="0">
                <a:solidFill>
                  <a:schemeClr val="tx2"/>
                </a:solidFill>
                <a:latin typeface="+mn-lt"/>
                <a:cs typeface="+mn-cs"/>
              </a:defRPr>
            </a:lvl3pPr>
            <a:lvl4pPr marL="895376" indent="-223845" algn="l" defTabSz="1027627" rtl="0" eaLnBrk="1" fontAlgn="base" hangingPunct="1">
              <a:spcBef>
                <a:spcPts val="0"/>
              </a:spcBef>
              <a:spcAft>
                <a:spcPts val="294"/>
              </a:spcAft>
              <a:buClrTx/>
              <a:buFont typeface="Arial" panose="020B0604020202020204" pitchFamily="34" charset="0"/>
              <a:buChar char="•"/>
              <a:defRPr sz="1200" b="0">
                <a:solidFill>
                  <a:schemeClr val="tx2"/>
                </a:solidFill>
                <a:latin typeface="+mn-lt"/>
                <a:cs typeface="+mn-cs"/>
              </a:defRPr>
            </a:lvl4pPr>
            <a:lvl5pPr marL="1119220" indent="-223845" algn="l" defTabSz="1027627" rtl="0" eaLnBrk="1" fontAlgn="base" hangingPunct="1">
              <a:spcBef>
                <a:spcPts val="0"/>
              </a:spcBef>
              <a:spcAft>
                <a:spcPts val="294"/>
              </a:spcAft>
              <a:buClrTx/>
              <a:buFont typeface="Arial" pitchFamily="34" charset="0"/>
              <a:buChar char="•"/>
              <a:defRPr sz="1100" b="0">
                <a:solidFill>
                  <a:schemeClr val="tx2"/>
                </a:solidFill>
                <a:latin typeface="+mn-lt"/>
                <a:cs typeface="+mn-cs"/>
              </a:defRPr>
            </a:lvl5pPr>
            <a:lvl6pPr marL="2838829"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67327"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895820"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4316"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defTabSz="1027639">
              <a:spcAft>
                <a:spcPts val="600"/>
              </a:spcAft>
              <a:defRPr/>
            </a:pPr>
            <a:r>
              <a:rPr lang="en-US" sz="1400" dirty="0">
                <a:solidFill>
                  <a:schemeClr val="tx1"/>
                </a:solidFill>
              </a:rPr>
              <a:t>“No customer wants to be dependent on a provider that sells them technology on one end and competes with them on the other. Getting this equation right is key to their success going forward. </a:t>
            </a:r>
            <a:r>
              <a:rPr lang="en-US" sz="1400" dirty="0">
                <a:solidFill>
                  <a:schemeClr val="accent1"/>
                </a:solidFill>
                <a:latin typeface="+mj-lt"/>
              </a:rPr>
              <a:t>Microsoft is uniquely positioned to help</a:t>
            </a:r>
            <a:r>
              <a:rPr lang="en-US" sz="1400" dirty="0">
                <a:solidFill>
                  <a:schemeClr val="tx1"/>
                </a:solidFill>
              </a:rPr>
              <a:t>.”</a:t>
            </a:r>
          </a:p>
        </p:txBody>
      </p:sp>
      <p:sp>
        <p:nvSpPr>
          <p:cNvPr id="74" name="Text Placeholder 5">
            <a:extLst>
              <a:ext uri="{FF2B5EF4-FFF2-40B4-BE49-F238E27FC236}">
                <a16:creationId xmlns:a16="http://schemas.microsoft.com/office/drawing/2014/main" id="{83AB9E73-77A0-41A9-9C5A-7A17450BD8A7}"/>
              </a:ext>
            </a:extLst>
          </p:cNvPr>
          <p:cNvSpPr txBox="1">
            <a:spLocks/>
          </p:cNvSpPr>
          <p:nvPr/>
        </p:nvSpPr>
        <p:spPr>
          <a:xfrm>
            <a:off x="2125319" y="4318393"/>
            <a:ext cx="3624873" cy="649196"/>
          </a:xfrm>
          <a:prstGeom prst="rect">
            <a:avLst/>
          </a:prstGeom>
        </p:spPr>
        <p:txBody>
          <a:bodyPr vert="horz" wrap="square" lIns="0" tIns="91335" rIns="146137" bIns="91335" rtlCol="0" anchor="t" anchorCtr="0">
            <a:spAutoFit/>
          </a:bodyPr>
          <a:lstStyle>
            <a:lvl1pPr marL="0" indent="0" algn="l" defTabSz="1027627" rtl="0" eaLnBrk="1" fontAlgn="base" hangingPunct="1">
              <a:spcBef>
                <a:spcPts val="0"/>
              </a:spcBef>
              <a:spcAft>
                <a:spcPts val="294"/>
              </a:spcAft>
              <a:buClrTx/>
              <a:buFontTx/>
              <a:buNone/>
              <a:defRPr lang="en-US" sz="1961" b="0" cap="none" spc="-100" baseline="0" dirty="0" smtClean="0">
                <a:ln w="3175">
                  <a:noFill/>
                </a:ln>
                <a:solidFill>
                  <a:schemeClr val="tx1"/>
                </a:solidFill>
                <a:effectLst/>
                <a:latin typeface="+mn-lt"/>
                <a:ea typeface="+mn-ea"/>
                <a:cs typeface="Segoe UI" pitchFamily="34" charset="0"/>
              </a:defRPr>
            </a:lvl1pPr>
            <a:lvl2pPr marL="447688" marR="0" indent="-223845" algn="l" defTabSz="1027627" rtl="0" eaLnBrk="1" fontAlgn="base" latinLnBrk="0" hangingPunct="1">
              <a:lnSpc>
                <a:spcPct val="100000"/>
              </a:lnSpc>
              <a:spcBef>
                <a:spcPts val="0"/>
              </a:spcBef>
              <a:spcAft>
                <a:spcPts val="294"/>
              </a:spcAft>
              <a:buClrTx/>
              <a:buSzTx/>
              <a:buFont typeface="Arial" panose="020B0604020202020204" pitchFamily="34" charset="0"/>
              <a:buChar char="•"/>
              <a:tabLst/>
              <a:defRPr lang="en-US" sz="1568" b="0" dirty="0" smtClean="0">
                <a:solidFill>
                  <a:schemeClr val="tx2"/>
                </a:solidFill>
                <a:latin typeface="+mn-lt"/>
                <a:cs typeface="+mn-cs"/>
              </a:defRPr>
            </a:lvl2pPr>
            <a:lvl3pPr marL="671533" indent="-223845" algn="l" defTabSz="1027627" rtl="0" eaLnBrk="1" fontAlgn="base" hangingPunct="1">
              <a:spcBef>
                <a:spcPts val="0"/>
              </a:spcBef>
              <a:spcAft>
                <a:spcPts val="294"/>
              </a:spcAft>
              <a:buClrTx/>
              <a:buFont typeface="Arial" pitchFamily="34" charset="0"/>
              <a:buChar char="•"/>
              <a:defRPr lang="en-US" sz="1568" b="0" dirty="0" smtClean="0">
                <a:solidFill>
                  <a:schemeClr val="tx2"/>
                </a:solidFill>
                <a:latin typeface="+mn-lt"/>
                <a:cs typeface="+mn-cs"/>
              </a:defRPr>
            </a:lvl3pPr>
            <a:lvl4pPr marL="895376" indent="-223845" algn="l" defTabSz="1027627" rtl="0" eaLnBrk="1" fontAlgn="base" hangingPunct="1">
              <a:spcBef>
                <a:spcPts val="0"/>
              </a:spcBef>
              <a:spcAft>
                <a:spcPts val="294"/>
              </a:spcAft>
              <a:buClrTx/>
              <a:buFont typeface="Arial" panose="020B0604020202020204" pitchFamily="34" charset="0"/>
              <a:buChar char="•"/>
              <a:defRPr lang="en-US" sz="1372" b="0" dirty="0" smtClean="0">
                <a:solidFill>
                  <a:schemeClr val="tx2"/>
                </a:solidFill>
                <a:latin typeface="+mn-lt"/>
                <a:cs typeface="+mn-cs"/>
              </a:defRPr>
            </a:lvl4pPr>
            <a:lvl5pPr marL="1119220" indent="-223845" algn="l" defTabSz="1027627" rtl="0" eaLnBrk="1" fontAlgn="base" hangingPunct="1">
              <a:spcBef>
                <a:spcPts val="0"/>
              </a:spcBef>
              <a:spcAft>
                <a:spcPts val="294"/>
              </a:spcAft>
              <a:buClrTx/>
              <a:buFont typeface="Arial" pitchFamily="34" charset="0"/>
              <a:buChar char="•"/>
              <a:defRPr lang="en-US" sz="1372" b="0" dirty="0">
                <a:solidFill>
                  <a:schemeClr val="tx2"/>
                </a:solidFill>
                <a:latin typeface="+mn-lt"/>
                <a:cs typeface="+mn-cs"/>
              </a:defRPr>
            </a:lvl5pPr>
            <a:lvl6pPr marL="2838829"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67327"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895820"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4316"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defTabSz="1027639">
              <a:lnSpc>
                <a:spcPct val="90000"/>
              </a:lnSpc>
              <a:spcAft>
                <a:spcPts val="600"/>
              </a:spcAft>
              <a:defRPr/>
            </a:pPr>
            <a:r>
              <a:rPr lang="en-US" sz="1400" b="1" kern="0" spc="0" dirty="0"/>
              <a:t>Satya Nadella</a:t>
            </a:r>
            <a:r>
              <a:rPr lang="en-US" sz="1400" kern="0" spc="0" dirty="0"/>
              <a:t>, Microsoft CEO </a:t>
            </a:r>
          </a:p>
          <a:p>
            <a:pPr defTabSz="1027639">
              <a:lnSpc>
                <a:spcPct val="90000"/>
              </a:lnSpc>
              <a:spcAft>
                <a:spcPts val="600"/>
              </a:spcAft>
              <a:defRPr/>
            </a:pPr>
            <a:r>
              <a:rPr lang="en-US" sz="1400" i="1" kern="0" spc="0" dirty="0"/>
              <a:t>October 2018</a:t>
            </a:r>
          </a:p>
        </p:txBody>
      </p:sp>
      <p:sp>
        <p:nvSpPr>
          <p:cNvPr id="8" name="Rectangle 7">
            <a:extLst>
              <a:ext uri="{FF2B5EF4-FFF2-40B4-BE49-F238E27FC236}">
                <a16:creationId xmlns:a16="http://schemas.microsoft.com/office/drawing/2014/main" id="{B93E9DEC-AC38-4F87-9CC4-998096E077B3}"/>
              </a:ext>
            </a:extLst>
          </p:cNvPr>
          <p:cNvSpPr/>
          <p:nvPr/>
        </p:nvSpPr>
        <p:spPr>
          <a:xfrm>
            <a:off x="588263" y="1445726"/>
            <a:ext cx="3512372" cy="461665"/>
          </a:xfrm>
          <a:prstGeom prst="rect">
            <a:avLst/>
          </a:prstGeom>
        </p:spPr>
        <p:txBody>
          <a:bodyPr wrap="none" lIns="0">
            <a:spAutoFit/>
          </a:bodyPr>
          <a:lstStyle/>
          <a:p>
            <a:pPr defTabSz="914411">
              <a:defRPr/>
            </a:pPr>
            <a:r>
              <a:rPr lang="en-US" sz="2400" dirty="0">
                <a:solidFill>
                  <a:schemeClr val="tx2"/>
                </a:solidFill>
                <a:latin typeface="+mj-lt"/>
              </a:rPr>
              <a:t>Trusted business partner</a:t>
            </a:r>
          </a:p>
        </p:txBody>
      </p:sp>
      <p:sp>
        <p:nvSpPr>
          <p:cNvPr id="10" name="Rectangle 9">
            <a:extLst>
              <a:ext uri="{FF2B5EF4-FFF2-40B4-BE49-F238E27FC236}">
                <a16:creationId xmlns:a16="http://schemas.microsoft.com/office/drawing/2014/main" id="{D4D0D5C5-91C6-45AD-9853-E15C1BD9642B}"/>
              </a:ext>
            </a:extLst>
          </p:cNvPr>
          <p:cNvSpPr/>
          <p:nvPr/>
        </p:nvSpPr>
        <p:spPr>
          <a:xfrm>
            <a:off x="6313323" y="1445726"/>
            <a:ext cx="3813416" cy="461665"/>
          </a:xfrm>
          <a:prstGeom prst="rect">
            <a:avLst/>
          </a:prstGeom>
        </p:spPr>
        <p:txBody>
          <a:bodyPr wrap="none" lIns="0">
            <a:spAutoFit/>
          </a:bodyPr>
          <a:lstStyle/>
          <a:p>
            <a:pPr defTabSz="914411">
              <a:defRPr/>
            </a:pPr>
            <a:r>
              <a:rPr lang="en-US" sz="2400" dirty="0">
                <a:solidFill>
                  <a:schemeClr val="tx2"/>
                </a:solidFill>
                <a:latin typeface="+mj-lt"/>
              </a:rPr>
              <a:t>Trusted innovation partner</a:t>
            </a:r>
          </a:p>
        </p:txBody>
      </p:sp>
      <p:grpSp>
        <p:nvGrpSpPr>
          <p:cNvPr id="24" name="Group 23">
            <a:extLst>
              <a:ext uri="{FF2B5EF4-FFF2-40B4-BE49-F238E27FC236}">
                <a16:creationId xmlns:a16="http://schemas.microsoft.com/office/drawing/2014/main" id="{FABCB1FD-8260-469B-9A6C-F0B7A1F7BF3A}"/>
              </a:ext>
            </a:extLst>
          </p:cNvPr>
          <p:cNvGrpSpPr/>
          <p:nvPr/>
        </p:nvGrpSpPr>
        <p:grpSpPr>
          <a:xfrm>
            <a:off x="6315825" y="3505200"/>
            <a:ext cx="5290417" cy="1512813"/>
            <a:chOff x="6315825" y="3505200"/>
            <a:chExt cx="5290417" cy="1512813"/>
          </a:xfrm>
        </p:grpSpPr>
        <p:sp>
          <p:nvSpPr>
            <p:cNvPr id="53" name="Rectangle 52">
              <a:extLst>
                <a:ext uri="{FF2B5EF4-FFF2-40B4-BE49-F238E27FC236}">
                  <a16:creationId xmlns:a16="http://schemas.microsoft.com/office/drawing/2014/main" id="{53DE4C82-8650-464A-88D2-AD13B0243A04}"/>
                </a:ext>
              </a:extLst>
            </p:cNvPr>
            <p:cNvSpPr/>
            <p:nvPr/>
          </p:nvSpPr>
          <p:spPr>
            <a:xfrm>
              <a:off x="10241374" y="4332156"/>
              <a:ext cx="1049216" cy="521984"/>
            </a:xfrm>
            <a:prstGeom prst="rect">
              <a:avLst/>
            </a:prstGeom>
          </p:spPr>
          <p:txBody>
            <a:bodyPr wrap="square" lIns="90219" tIns="45108" rIns="90219" bIns="45108">
              <a:spAutoFit/>
            </a:bodyPr>
            <a:lstStyle/>
            <a:p>
              <a:pPr algn="ctr" defTabSz="914411" fontAlgn="base">
                <a:defRPr/>
              </a:pPr>
              <a:r>
                <a:rPr lang="en-US" sz="1400" kern="0" dirty="0">
                  <a:cs typeface="Segoe UI Semibold" panose="020B0702040204020203" pitchFamily="34" charset="0"/>
                </a:rPr>
                <a:t>Springing License</a:t>
              </a:r>
              <a:endParaRPr lang="en-US" sz="1100" kern="0" baseline="50000" dirty="0">
                <a:cs typeface="Segoe UI Semibold" panose="020B0702040204020203" pitchFamily="34" charset="0"/>
              </a:endParaRPr>
            </a:p>
          </p:txBody>
        </p:sp>
        <p:sp>
          <p:nvSpPr>
            <p:cNvPr id="39" name="Rectangle 38">
              <a:extLst>
                <a:ext uri="{FF2B5EF4-FFF2-40B4-BE49-F238E27FC236}">
                  <a16:creationId xmlns:a16="http://schemas.microsoft.com/office/drawing/2014/main" id="{9A9636FB-2512-4585-BB12-5937A62439A6}"/>
                </a:ext>
              </a:extLst>
            </p:cNvPr>
            <p:cNvSpPr/>
            <p:nvPr/>
          </p:nvSpPr>
          <p:spPr>
            <a:xfrm>
              <a:off x="8178383" y="4332156"/>
              <a:ext cx="1660733" cy="530570"/>
            </a:xfrm>
            <a:prstGeom prst="rect">
              <a:avLst/>
            </a:prstGeom>
          </p:spPr>
          <p:txBody>
            <a:bodyPr wrap="square" lIns="90219" tIns="45108" rIns="90219" bIns="45108">
              <a:spAutoFit/>
            </a:bodyPr>
            <a:lstStyle/>
            <a:p>
              <a:pPr algn="ctr" defTabSz="914411" fontAlgn="base">
                <a:defRPr/>
              </a:pPr>
              <a:r>
                <a:rPr lang="en-US" sz="1400" kern="0" dirty="0">
                  <a:cs typeface="Segoe UI Semibold" panose="020B0702040204020203" pitchFamily="34" charset="0"/>
                </a:rPr>
                <a:t>Uncapped Indemnification</a:t>
              </a:r>
            </a:p>
          </p:txBody>
        </p:sp>
        <p:sp>
          <p:nvSpPr>
            <p:cNvPr id="47" name="Rectangle 46">
              <a:extLst>
                <a:ext uri="{FF2B5EF4-FFF2-40B4-BE49-F238E27FC236}">
                  <a16:creationId xmlns:a16="http://schemas.microsoft.com/office/drawing/2014/main" id="{E09B69B7-54B0-43E7-AA4D-9EC1A6CB2E0D}"/>
                </a:ext>
              </a:extLst>
            </p:cNvPr>
            <p:cNvSpPr/>
            <p:nvPr/>
          </p:nvSpPr>
          <p:spPr>
            <a:xfrm>
              <a:off x="6602003" y="4332156"/>
              <a:ext cx="1203595" cy="310835"/>
            </a:xfrm>
            <a:prstGeom prst="rect">
              <a:avLst/>
            </a:prstGeom>
          </p:spPr>
          <p:txBody>
            <a:bodyPr wrap="square" lIns="90219" tIns="45108" rIns="90219" bIns="45108">
              <a:spAutoFit/>
            </a:bodyPr>
            <a:lstStyle/>
            <a:p>
              <a:pPr algn="ctr" defTabSz="914411" fontAlgn="base">
                <a:defRPr/>
              </a:pPr>
              <a:r>
                <a:rPr lang="en-US" sz="1400" kern="0" dirty="0">
                  <a:cs typeface="Segoe UI Semibold" panose="020B0702040204020203" pitchFamily="34" charset="0"/>
                </a:rPr>
                <a:t>Patent Pick</a:t>
              </a:r>
              <a:endParaRPr lang="en-US" sz="1200" kern="0" baseline="50000" dirty="0"/>
            </a:p>
          </p:txBody>
        </p:sp>
        <p:sp>
          <p:nvSpPr>
            <p:cNvPr id="46" name="Rectangle 45">
              <a:extLst>
                <a:ext uri="{FF2B5EF4-FFF2-40B4-BE49-F238E27FC236}">
                  <a16:creationId xmlns:a16="http://schemas.microsoft.com/office/drawing/2014/main" id="{2336A64A-8C34-48C7-BF5D-1E835A9323B1}"/>
                </a:ext>
              </a:extLst>
            </p:cNvPr>
            <p:cNvSpPr/>
            <p:nvPr/>
          </p:nvSpPr>
          <p:spPr bwMode="auto">
            <a:xfrm>
              <a:off x="6315825" y="3505200"/>
              <a:ext cx="5290417" cy="151281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13" title="Icon of a cloud">
              <a:extLst>
                <a:ext uri="{FF2B5EF4-FFF2-40B4-BE49-F238E27FC236}">
                  <a16:creationId xmlns:a16="http://schemas.microsoft.com/office/drawing/2014/main" id="{692CE22C-041C-44D3-87A9-2037A8211803}"/>
                </a:ext>
              </a:extLst>
            </p:cNvPr>
            <p:cNvSpPr>
              <a:spLocks noChangeAspect="1"/>
            </p:cNvSpPr>
            <p:nvPr/>
          </p:nvSpPr>
          <p:spPr bwMode="auto">
            <a:xfrm>
              <a:off x="8663123" y="3756661"/>
              <a:ext cx="691254" cy="379194"/>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22" name="Group 21">
              <a:extLst>
                <a:ext uri="{FF2B5EF4-FFF2-40B4-BE49-F238E27FC236}">
                  <a16:creationId xmlns:a16="http://schemas.microsoft.com/office/drawing/2014/main" id="{A1899A9B-D382-47BD-9CAB-1D3D6124AB9B}"/>
                </a:ext>
              </a:extLst>
            </p:cNvPr>
            <p:cNvGrpSpPr/>
            <p:nvPr/>
          </p:nvGrpSpPr>
          <p:grpSpPr>
            <a:xfrm>
              <a:off x="6986107" y="3714486"/>
              <a:ext cx="435388" cy="463544"/>
              <a:chOff x="6061440" y="3982490"/>
              <a:chExt cx="343544" cy="365760"/>
            </a:xfrm>
          </p:grpSpPr>
          <p:sp>
            <p:nvSpPr>
              <p:cNvPr id="49" name="Shield_EA18" title="Icon of a shield">
                <a:extLst>
                  <a:ext uri="{FF2B5EF4-FFF2-40B4-BE49-F238E27FC236}">
                    <a16:creationId xmlns:a16="http://schemas.microsoft.com/office/drawing/2014/main" id="{5DE486AC-D1F4-478B-B1B8-AB45341D7B5B}"/>
                  </a:ext>
                </a:extLst>
              </p:cNvPr>
              <p:cNvSpPr>
                <a:spLocks noChangeAspect="1"/>
              </p:cNvSpPr>
              <p:nvPr/>
            </p:nvSpPr>
            <p:spPr bwMode="auto">
              <a:xfrm>
                <a:off x="6061440" y="3982490"/>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50" name="Lock" title="Icon of a padlock">
                <a:extLst>
                  <a:ext uri="{FF2B5EF4-FFF2-40B4-BE49-F238E27FC236}">
                    <a16:creationId xmlns:a16="http://schemas.microsoft.com/office/drawing/2014/main" id="{77BA6B1D-6D6D-4015-9936-86BF2D2FB746}"/>
                  </a:ext>
                </a:extLst>
              </p:cNvPr>
              <p:cNvSpPr>
                <a:spLocks noChangeAspect="1" noEditPoints="1"/>
              </p:cNvSpPr>
              <p:nvPr/>
            </p:nvSpPr>
            <p:spPr bwMode="auto">
              <a:xfrm>
                <a:off x="6177554" y="4076691"/>
                <a:ext cx="111316" cy="155581"/>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54" name="Trackers_EADF" title="Icon of a clipboard with a checklist on it">
              <a:extLst>
                <a:ext uri="{FF2B5EF4-FFF2-40B4-BE49-F238E27FC236}">
                  <a16:creationId xmlns:a16="http://schemas.microsoft.com/office/drawing/2014/main" id="{9A01F9D4-3661-4F47-BB8D-CF66959A7AC6}"/>
                </a:ext>
              </a:extLst>
            </p:cNvPr>
            <p:cNvSpPr>
              <a:spLocks noChangeAspect="1" noEditPoints="1"/>
            </p:cNvSpPr>
            <p:nvPr/>
          </p:nvSpPr>
          <p:spPr bwMode="auto">
            <a:xfrm>
              <a:off x="10596004" y="3714486"/>
              <a:ext cx="339956" cy="46354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6" name="Straight Connector 25">
            <a:extLst>
              <a:ext uri="{FF2B5EF4-FFF2-40B4-BE49-F238E27FC236}">
                <a16:creationId xmlns:a16="http://schemas.microsoft.com/office/drawing/2014/main" id="{9D9195D1-1576-4EAA-8573-08F3B0E8C751}"/>
              </a:ext>
            </a:extLst>
          </p:cNvPr>
          <p:cNvCxnSpPr>
            <a:cxnSpLocks/>
          </p:cNvCxnSpPr>
          <p:nvPr/>
        </p:nvCxnSpPr>
        <p:spPr>
          <a:xfrm flipV="1">
            <a:off x="588263" y="1921570"/>
            <a:ext cx="5290417"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619F005-A2E9-4E01-B1FC-729EBA142157}"/>
              </a:ext>
            </a:extLst>
          </p:cNvPr>
          <p:cNvCxnSpPr>
            <a:cxnSpLocks/>
          </p:cNvCxnSpPr>
          <p:nvPr/>
        </p:nvCxnSpPr>
        <p:spPr>
          <a:xfrm flipV="1">
            <a:off x="6315825" y="1921570"/>
            <a:ext cx="5290417"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BA682000-78C2-4B93-876F-BEE5BCB59CC2}"/>
              </a:ext>
            </a:extLst>
          </p:cNvPr>
          <p:cNvPicPr>
            <a:picLocks noChangeAspect="1"/>
          </p:cNvPicPr>
          <p:nvPr/>
        </p:nvPicPr>
        <p:blipFill>
          <a:blip r:embed="rId9"/>
          <a:stretch>
            <a:fillRect/>
          </a:stretch>
        </p:blipFill>
        <p:spPr>
          <a:xfrm>
            <a:off x="588263" y="3645432"/>
            <a:ext cx="1305352" cy="1372581"/>
          </a:xfrm>
          <a:prstGeom prst="rect">
            <a:avLst/>
          </a:prstGeom>
        </p:spPr>
      </p:pic>
    </p:spTree>
    <p:extLst>
      <p:ext uri="{BB962C8B-B14F-4D97-AF65-F5344CB8AC3E}">
        <p14:creationId xmlns:p14="http://schemas.microsoft.com/office/powerpoint/2010/main" val="1884923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04055C-00BB-4FEA-9F7A-42879630A737}"/>
              </a:ext>
            </a:extLst>
          </p:cNvPr>
          <p:cNvGraphicFramePr>
            <a:graphicFrameLocks noChangeAspect="1"/>
          </p:cNvGraphicFramePr>
          <p:nvPr>
            <p:custDataLst>
              <p:tags r:id="rId2"/>
            </p:custDataLst>
            <p:extLst>
              <p:ext uri="{D42A27DB-BD31-4B8C-83A1-F6EECF244321}">
                <p14:modId xmlns:p14="http://schemas.microsoft.com/office/powerpoint/2010/main" val="3663420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4" name="think-cell Slide" r:id="rId5" imgW="377" imgH="377" progId="TCLayout.ActiveDocument.1">
                  <p:embed/>
                </p:oleObj>
              </mc:Choice>
              <mc:Fallback>
                <p:oleObj name="think-cell Slide" r:id="rId5" imgW="377" imgH="377" progId="TCLayout.ActiveDocument.1">
                  <p:embed/>
                  <p:pic>
                    <p:nvPicPr>
                      <p:cNvPr id="4" name="Object 3" hidden="1">
                        <a:extLst>
                          <a:ext uri="{FF2B5EF4-FFF2-40B4-BE49-F238E27FC236}">
                            <a16:creationId xmlns:a16="http://schemas.microsoft.com/office/drawing/2014/main" id="{9D04055C-00BB-4FEA-9F7A-42879630A7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8A27F6C-1BCA-4FA1-ADC0-0100CBCD9709}"/>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31DF1E8C-2775-4D5A-9D85-351C957FF98C}"/>
              </a:ext>
            </a:extLst>
          </p:cNvPr>
          <p:cNvSpPr>
            <a:spLocks noGrp="1"/>
          </p:cNvSpPr>
          <p:nvPr>
            <p:ph type="title"/>
          </p:nvPr>
        </p:nvSpPr>
        <p:spPr>
          <a:xfrm>
            <a:off x="588263" y="457200"/>
            <a:ext cx="11018520" cy="430887"/>
          </a:xfrm>
        </p:spPr>
        <p:txBody>
          <a:bodyPr/>
          <a:lstStyle/>
          <a:p>
            <a:r>
              <a:rPr lang="en-US" dirty="0"/>
              <a:t>Microsoft is committed to WVD as the future of the Windows platform</a:t>
            </a:r>
          </a:p>
        </p:txBody>
      </p:sp>
      <p:sp>
        <p:nvSpPr>
          <p:cNvPr id="17" name="Rectangle 16">
            <a:extLst>
              <a:ext uri="{FF2B5EF4-FFF2-40B4-BE49-F238E27FC236}">
                <a16:creationId xmlns:a16="http://schemas.microsoft.com/office/drawing/2014/main" id="{D463E940-1684-4160-AA02-13E5EE1EDCBD}"/>
              </a:ext>
            </a:extLst>
          </p:cNvPr>
          <p:cNvSpPr/>
          <p:nvPr/>
        </p:nvSpPr>
        <p:spPr>
          <a:xfrm>
            <a:off x="1112519" y="1796547"/>
            <a:ext cx="7571127" cy="740465"/>
          </a:xfrm>
          <a:prstGeom prst="rect">
            <a:avLst/>
          </a:prstGeom>
          <a:solidFill>
            <a:schemeClr val="accent1"/>
          </a:solidFill>
        </p:spPr>
        <p:txBody>
          <a:bodyPr wrap="square" lIns="91440" tIns="45720" rIns="91440" bIns="45720" anchor="ctr">
            <a:noAutofit/>
          </a:bodyPr>
          <a:lstStyle/>
          <a:p>
            <a:r>
              <a:rPr lang="en-US" dirty="0">
                <a:solidFill>
                  <a:schemeClr val="bg1"/>
                </a:solidFill>
              </a:rPr>
              <a:t>Broad availability and rapid global rollout of the WVD Service</a:t>
            </a:r>
          </a:p>
        </p:txBody>
      </p:sp>
      <p:sp>
        <p:nvSpPr>
          <p:cNvPr id="18" name="Rectangle 17">
            <a:extLst>
              <a:ext uri="{FF2B5EF4-FFF2-40B4-BE49-F238E27FC236}">
                <a16:creationId xmlns:a16="http://schemas.microsoft.com/office/drawing/2014/main" id="{056525F3-A12E-472A-95AD-A832E6D6938C}"/>
              </a:ext>
            </a:extLst>
          </p:cNvPr>
          <p:cNvSpPr/>
          <p:nvPr/>
        </p:nvSpPr>
        <p:spPr>
          <a:xfrm>
            <a:off x="1112519" y="2611059"/>
            <a:ext cx="7571127" cy="740465"/>
          </a:xfrm>
          <a:prstGeom prst="rect">
            <a:avLst/>
          </a:prstGeom>
          <a:solidFill>
            <a:schemeClr val="accent4"/>
          </a:solidFill>
        </p:spPr>
        <p:txBody>
          <a:bodyPr wrap="square" lIns="91440" tIns="45720" rIns="91440" bIns="45720" anchor="ctr">
            <a:noAutofit/>
          </a:bodyPr>
          <a:lstStyle/>
          <a:p>
            <a:r>
              <a:rPr lang="en-US" dirty="0">
                <a:solidFill>
                  <a:schemeClr val="bg1"/>
                </a:solidFill>
              </a:rPr>
              <a:t>Compelling infrastructure and licensing pricing to end customers </a:t>
            </a:r>
          </a:p>
        </p:txBody>
      </p:sp>
      <p:sp>
        <p:nvSpPr>
          <p:cNvPr id="19" name="Rectangle 18">
            <a:extLst>
              <a:ext uri="{FF2B5EF4-FFF2-40B4-BE49-F238E27FC236}">
                <a16:creationId xmlns:a16="http://schemas.microsoft.com/office/drawing/2014/main" id="{4DF5C680-2D1F-4F16-848D-12696EB12B03}"/>
              </a:ext>
            </a:extLst>
          </p:cNvPr>
          <p:cNvSpPr/>
          <p:nvPr/>
        </p:nvSpPr>
        <p:spPr>
          <a:xfrm>
            <a:off x="1112519" y="3425570"/>
            <a:ext cx="7571127" cy="740465"/>
          </a:xfrm>
          <a:prstGeom prst="rect">
            <a:avLst/>
          </a:prstGeom>
          <a:solidFill>
            <a:schemeClr val="accent3"/>
          </a:solidFill>
        </p:spPr>
        <p:txBody>
          <a:bodyPr wrap="square" lIns="91440" tIns="45720" rIns="91440" bIns="45720" anchor="ctr">
            <a:noAutofit/>
          </a:bodyPr>
          <a:lstStyle/>
          <a:p>
            <a:r>
              <a:rPr lang="en-US" dirty="0">
                <a:solidFill>
                  <a:schemeClr val="bg1"/>
                </a:solidFill>
              </a:rPr>
              <a:t>Plan to support wide range of devices, including mobile and thin client running other operating systems</a:t>
            </a:r>
          </a:p>
        </p:txBody>
      </p:sp>
      <p:sp>
        <p:nvSpPr>
          <p:cNvPr id="20" name="Rectangle 19">
            <a:extLst>
              <a:ext uri="{FF2B5EF4-FFF2-40B4-BE49-F238E27FC236}">
                <a16:creationId xmlns:a16="http://schemas.microsoft.com/office/drawing/2014/main" id="{D3C74A31-68EF-4013-AB42-F01BADB4E5FA}"/>
              </a:ext>
            </a:extLst>
          </p:cNvPr>
          <p:cNvSpPr/>
          <p:nvPr/>
        </p:nvSpPr>
        <p:spPr>
          <a:xfrm>
            <a:off x="1112519" y="4240082"/>
            <a:ext cx="7571127" cy="740465"/>
          </a:xfrm>
          <a:prstGeom prst="rect">
            <a:avLst/>
          </a:prstGeom>
          <a:solidFill>
            <a:schemeClr val="accent1"/>
          </a:solidFill>
        </p:spPr>
        <p:txBody>
          <a:bodyPr wrap="square" lIns="91440" tIns="45720" rIns="91440" bIns="45720" anchor="ctr">
            <a:noAutofit/>
          </a:bodyPr>
          <a:lstStyle/>
          <a:p>
            <a:r>
              <a:rPr lang="en-US" dirty="0">
                <a:solidFill>
                  <a:schemeClr val="bg1"/>
                </a:solidFill>
              </a:rPr>
              <a:t>Rapid innovation/integration with Microsoft and Azure products e.g., Teams, Microsoft Defender ATP</a:t>
            </a:r>
          </a:p>
        </p:txBody>
      </p:sp>
      <p:sp>
        <p:nvSpPr>
          <p:cNvPr id="21" name="Rectangle 20">
            <a:extLst>
              <a:ext uri="{FF2B5EF4-FFF2-40B4-BE49-F238E27FC236}">
                <a16:creationId xmlns:a16="http://schemas.microsoft.com/office/drawing/2014/main" id="{CD6D968D-C8B5-4981-962E-03EA920E894D}"/>
              </a:ext>
            </a:extLst>
          </p:cNvPr>
          <p:cNvSpPr/>
          <p:nvPr/>
        </p:nvSpPr>
        <p:spPr>
          <a:xfrm>
            <a:off x="1112519" y="5054594"/>
            <a:ext cx="7571127" cy="740465"/>
          </a:xfrm>
          <a:prstGeom prst="rect">
            <a:avLst/>
          </a:prstGeom>
          <a:solidFill>
            <a:schemeClr val="accent5"/>
          </a:solidFill>
        </p:spPr>
        <p:txBody>
          <a:bodyPr wrap="square" lIns="91440" tIns="45720" rIns="91440" bIns="45720" anchor="ctr">
            <a:noAutofit/>
          </a:bodyPr>
          <a:lstStyle/>
          <a:p>
            <a:r>
              <a:rPr lang="en-US" dirty="0">
                <a:solidFill>
                  <a:schemeClr val="bg1"/>
                </a:solidFill>
              </a:rPr>
              <a:t>Wide partner ecosystem to build on/integrate with WVD</a:t>
            </a:r>
          </a:p>
        </p:txBody>
      </p:sp>
      <p:sp>
        <p:nvSpPr>
          <p:cNvPr id="24" name="Rectangle 23">
            <a:extLst>
              <a:ext uri="{FF2B5EF4-FFF2-40B4-BE49-F238E27FC236}">
                <a16:creationId xmlns:a16="http://schemas.microsoft.com/office/drawing/2014/main" id="{46EA9D9A-93CD-411A-9E8D-52A035A11CDC}"/>
              </a:ext>
            </a:extLst>
          </p:cNvPr>
          <p:cNvSpPr/>
          <p:nvPr/>
        </p:nvSpPr>
        <p:spPr>
          <a:xfrm>
            <a:off x="584200" y="1796547"/>
            <a:ext cx="528320" cy="740465"/>
          </a:xfrm>
          <a:prstGeom prst="rect">
            <a:avLst/>
          </a:prstGeom>
          <a:solidFill>
            <a:schemeClr val="accent1">
              <a:lumMod val="75000"/>
            </a:schemeClr>
          </a:solidFill>
        </p:spPr>
        <p:txBody>
          <a:bodyPr wrap="square" lIns="91440" tIns="45720" rIns="91440" bIns="45720" anchor="ctr">
            <a:noAutofit/>
          </a:bodyPr>
          <a:lstStyle/>
          <a:p>
            <a:pPr algn="ctr"/>
            <a:r>
              <a:rPr lang="en-US" sz="3200" dirty="0">
                <a:solidFill>
                  <a:schemeClr val="bg1"/>
                </a:solidFill>
              </a:rPr>
              <a:t>1</a:t>
            </a:r>
          </a:p>
        </p:txBody>
      </p:sp>
      <p:sp>
        <p:nvSpPr>
          <p:cNvPr id="25" name="Rectangle 24">
            <a:extLst>
              <a:ext uri="{FF2B5EF4-FFF2-40B4-BE49-F238E27FC236}">
                <a16:creationId xmlns:a16="http://schemas.microsoft.com/office/drawing/2014/main" id="{95F8836E-B8B6-4881-8D07-6B7E36327EC8}"/>
              </a:ext>
            </a:extLst>
          </p:cNvPr>
          <p:cNvSpPr/>
          <p:nvPr/>
        </p:nvSpPr>
        <p:spPr>
          <a:xfrm>
            <a:off x="584200" y="2611059"/>
            <a:ext cx="528320" cy="740465"/>
          </a:xfrm>
          <a:prstGeom prst="rect">
            <a:avLst/>
          </a:prstGeom>
          <a:solidFill>
            <a:schemeClr val="accent4">
              <a:lumMod val="75000"/>
            </a:schemeClr>
          </a:solidFill>
        </p:spPr>
        <p:txBody>
          <a:bodyPr wrap="square" lIns="91440" tIns="45720" rIns="91440" bIns="45720" anchor="ctr">
            <a:noAutofit/>
          </a:bodyPr>
          <a:lstStyle/>
          <a:p>
            <a:pPr algn="ctr"/>
            <a:r>
              <a:rPr lang="en-US" sz="3200" dirty="0">
                <a:solidFill>
                  <a:schemeClr val="bg1"/>
                </a:solidFill>
              </a:rPr>
              <a:t>2</a:t>
            </a:r>
          </a:p>
        </p:txBody>
      </p:sp>
      <p:sp>
        <p:nvSpPr>
          <p:cNvPr id="26" name="Rectangle 25">
            <a:extLst>
              <a:ext uri="{FF2B5EF4-FFF2-40B4-BE49-F238E27FC236}">
                <a16:creationId xmlns:a16="http://schemas.microsoft.com/office/drawing/2014/main" id="{400228CB-0E88-4AC1-974C-27C1D2FEED5A}"/>
              </a:ext>
            </a:extLst>
          </p:cNvPr>
          <p:cNvSpPr/>
          <p:nvPr/>
        </p:nvSpPr>
        <p:spPr>
          <a:xfrm>
            <a:off x="584200" y="3425570"/>
            <a:ext cx="528320" cy="740465"/>
          </a:xfrm>
          <a:prstGeom prst="rect">
            <a:avLst/>
          </a:prstGeom>
          <a:solidFill>
            <a:schemeClr val="accent3">
              <a:lumMod val="75000"/>
            </a:schemeClr>
          </a:solidFill>
        </p:spPr>
        <p:txBody>
          <a:bodyPr wrap="square" lIns="91440" tIns="45720" rIns="91440" bIns="45720" anchor="ctr">
            <a:noAutofit/>
          </a:bodyPr>
          <a:lstStyle/>
          <a:p>
            <a:pPr algn="ctr"/>
            <a:r>
              <a:rPr lang="en-US" sz="3200" dirty="0">
                <a:solidFill>
                  <a:schemeClr val="bg1"/>
                </a:solidFill>
              </a:rPr>
              <a:t>3</a:t>
            </a:r>
          </a:p>
        </p:txBody>
      </p:sp>
      <p:sp>
        <p:nvSpPr>
          <p:cNvPr id="27" name="Rectangle 26">
            <a:extLst>
              <a:ext uri="{FF2B5EF4-FFF2-40B4-BE49-F238E27FC236}">
                <a16:creationId xmlns:a16="http://schemas.microsoft.com/office/drawing/2014/main" id="{F591B5DC-1404-4B1D-8397-6F46A3F03B17}"/>
              </a:ext>
            </a:extLst>
          </p:cNvPr>
          <p:cNvSpPr/>
          <p:nvPr/>
        </p:nvSpPr>
        <p:spPr>
          <a:xfrm>
            <a:off x="584200" y="4240082"/>
            <a:ext cx="528320" cy="740465"/>
          </a:xfrm>
          <a:prstGeom prst="rect">
            <a:avLst/>
          </a:prstGeom>
          <a:solidFill>
            <a:schemeClr val="accent1">
              <a:lumMod val="75000"/>
            </a:schemeClr>
          </a:solidFill>
        </p:spPr>
        <p:txBody>
          <a:bodyPr wrap="square" lIns="91440" tIns="45720" rIns="91440" bIns="45720" anchor="ctr">
            <a:noAutofit/>
          </a:bodyPr>
          <a:lstStyle/>
          <a:p>
            <a:pPr algn="ctr"/>
            <a:r>
              <a:rPr lang="en-US" sz="3200" dirty="0">
                <a:solidFill>
                  <a:schemeClr val="bg1"/>
                </a:solidFill>
              </a:rPr>
              <a:t>4</a:t>
            </a:r>
          </a:p>
        </p:txBody>
      </p:sp>
      <p:sp>
        <p:nvSpPr>
          <p:cNvPr id="28" name="Rectangle 27">
            <a:extLst>
              <a:ext uri="{FF2B5EF4-FFF2-40B4-BE49-F238E27FC236}">
                <a16:creationId xmlns:a16="http://schemas.microsoft.com/office/drawing/2014/main" id="{676F4E5C-737E-4C8B-AD64-09191CD916E9}"/>
              </a:ext>
            </a:extLst>
          </p:cNvPr>
          <p:cNvSpPr/>
          <p:nvPr/>
        </p:nvSpPr>
        <p:spPr>
          <a:xfrm>
            <a:off x="584200" y="5054594"/>
            <a:ext cx="528320" cy="740465"/>
          </a:xfrm>
          <a:prstGeom prst="rect">
            <a:avLst/>
          </a:prstGeom>
          <a:solidFill>
            <a:schemeClr val="accent5">
              <a:lumMod val="75000"/>
            </a:schemeClr>
          </a:solidFill>
        </p:spPr>
        <p:txBody>
          <a:bodyPr wrap="square" lIns="91440" tIns="45720" rIns="91440" bIns="45720" anchor="ctr">
            <a:noAutofit/>
          </a:bodyPr>
          <a:lstStyle/>
          <a:p>
            <a:pPr algn="ctr"/>
            <a:r>
              <a:rPr lang="en-US" sz="3200" dirty="0">
                <a:solidFill>
                  <a:schemeClr val="bg1"/>
                </a:solidFill>
              </a:rPr>
              <a:t>5</a:t>
            </a:r>
          </a:p>
        </p:txBody>
      </p:sp>
      <p:grpSp>
        <p:nvGrpSpPr>
          <p:cNvPr id="83" name="Group 82">
            <a:extLst>
              <a:ext uri="{FF2B5EF4-FFF2-40B4-BE49-F238E27FC236}">
                <a16:creationId xmlns:a16="http://schemas.microsoft.com/office/drawing/2014/main" id="{93DB6862-3744-4D01-BFF4-4DAC075A709B}"/>
              </a:ext>
            </a:extLst>
          </p:cNvPr>
          <p:cNvGrpSpPr/>
          <p:nvPr/>
        </p:nvGrpSpPr>
        <p:grpSpPr>
          <a:xfrm>
            <a:off x="9620327" y="1796547"/>
            <a:ext cx="1986456" cy="3998512"/>
            <a:chOff x="2947" y="1133494"/>
            <a:chExt cx="3016479" cy="5560994"/>
          </a:xfrm>
        </p:grpSpPr>
        <p:grpSp>
          <p:nvGrpSpPr>
            <p:cNvPr id="84" name="Group 83">
              <a:extLst>
                <a:ext uri="{FF2B5EF4-FFF2-40B4-BE49-F238E27FC236}">
                  <a16:creationId xmlns:a16="http://schemas.microsoft.com/office/drawing/2014/main" id="{9A13F044-5721-48E7-ACB7-D9494E2F7164}"/>
                </a:ext>
              </a:extLst>
            </p:cNvPr>
            <p:cNvGrpSpPr/>
            <p:nvPr/>
          </p:nvGrpSpPr>
          <p:grpSpPr>
            <a:xfrm>
              <a:off x="425222" y="3519500"/>
              <a:ext cx="1623928" cy="3174988"/>
              <a:chOff x="425222" y="3519500"/>
              <a:chExt cx="1623928" cy="3174988"/>
            </a:xfrm>
          </p:grpSpPr>
          <p:sp>
            <p:nvSpPr>
              <p:cNvPr id="105" name="Rectangle 104">
                <a:extLst>
                  <a:ext uri="{FF2B5EF4-FFF2-40B4-BE49-F238E27FC236}">
                    <a16:creationId xmlns:a16="http://schemas.microsoft.com/office/drawing/2014/main" id="{C9B9C7F6-52B9-41B1-B983-98AE2884F7B4}"/>
                  </a:ext>
                </a:extLst>
              </p:cNvPr>
              <p:cNvSpPr/>
              <p:nvPr/>
            </p:nvSpPr>
            <p:spPr bwMode="auto">
              <a:xfrm>
                <a:off x="1226909" y="3694554"/>
                <a:ext cx="822241" cy="2923734"/>
              </a:xfrm>
              <a:prstGeom prst="rect">
                <a:avLst/>
              </a:prstGeom>
              <a:solidFill>
                <a:sysClr val="window" lastClr="FFFFFF">
                  <a:lumMod val="8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6" name="Rectangle 105">
                <a:extLst>
                  <a:ext uri="{FF2B5EF4-FFF2-40B4-BE49-F238E27FC236}">
                    <a16:creationId xmlns:a16="http://schemas.microsoft.com/office/drawing/2014/main" id="{205FB10D-6003-4500-8C49-3F5EB0D533B7}"/>
                  </a:ext>
                </a:extLst>
              </p:cNvPr>
              <p:cNvSpPr/>
              <p:nvPr/>
            </p:nvSpPr>
            <p:spPr bwMode="auto">
              <a:xfrm>
                <a:off x="425222" y="4564062"/>
                <a:ext cx="1011238" cy="2130426"/>
              </a:xfrm>
              <a:prstGeom prst="rect">
                <a:avLst/>
              </a:prstGeom>
              <a:solidFill>
                <a:sysClr val="window" lastClr="FFFFFF">
                  <a:lumMod val="8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7" name="Rectangle 22">
                <a:extLst>
                  <a:ext uri="{FF2B5EF4-FFF2-40B4-BE49-F238E27FC236}">
                    <a16:creationId xmlns:a16="http://schemas.microsoft.com/office/drawing/2014/main" id="{70C130F9-B381-41DF-985B-55637BDF0119}"/>
                  </a:ext>
                </a:extLst>
              </p:cNvPr>
              <p:cNvSpPr>
                <a:spLocks noChangeArrowheads="1"/>
              </p:cNvSpPr>
              <p:nvPr/>
            </p:nvSpPr>
            <p:spPr bwMode="auto">
              <a:xfrm>
                <a:off x="1772780" y="3519500"/>
                <a:ext cx="139700" cy="180975"/>
              </a:xfrm>
              <a:prstGeom prst="rect">
                <a:avLst/>
              </a:prstGeom>
              <a:solidFill>
                <a:sysClr val="window" lastClr="FFFFFF">
                  <a:lumMod val="85000"/>
                </a:sys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8" name="Rectangle 23">
                <a:extLst>
                  <a:ext uri="{FF2B5EF4-FFF2-40B4-BE49-F238E27FC236}">
                    <a16:creationId xmlns:a16="http://schemas.microsoft.com/office/drawing/2014/main" id="{5319D8AD-84F6-463B-9588-1D284E5DCE88}"/>
                  </a:ext>
                </a:extLst>
              </p:cNvPr>
              <p:cNvSpPr>
                <a:spLocks noChangeArrowheads="1"/>
              </p:cNvSpPr>
              <p:nvPr/>
            </p:nvSpPr>
            <p:spPr bwMode="auto">
              <a:xfrm>
                <a:off x="1585455" y="3519500"/>
                <a:ext cx="139700" cy="180975"/>
              </a:xfrm>
              <a:prstGeom prst="rect">
                <a:avLst/>
              </a:prstGeom>
              <a:solidFill>
                <a:sysClr val="window" lastClr="FFFFFF">
                  <a:lumMod val="85000"/>
                </a:sys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grpSp>
        <p:sp>
          <p:nvSpPr>
            <p:cNvPr id="85" name="Rectangle 6">
              <a:extLst>
                <a:ext uri="{FF2B5EF4-FFF2-40B4-BE49-F238E27FC236}">
                  <a16:creationId xmlns:a16="http://schemas.microsoft.com/office/drawing/2014/main" id="{AEA86ED2-2E82-4A99-9822-08E0460B188B}"/>
                </a:ext>
              </a:extLst>
            </p:cNvPr>
            <p:cNvSpPr>
              <a:spLocks noChangeArrowheads="1"/>
            </p:cNvSpPr>
            <p:nvPr/>
          </p:nvSpPr>
          <p:spPr bwMode="auto">
            <a:xfrm>
              <a:off x="2947" y="5770563"/>
              <a:ext cx="1058863" cy="923925"/>
            </a:xfrm>
            <a:prstGeom prst="rect">
              <a:avLst/>
            </a:prstGeom>
            <a:solidFill>
              <a:srgbClr val="ED7D3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86" name="Rectangle 7">
              <a:extLst>
                <a:ext uri="{FF2B5EF4-FFF2-40B4-BE49-F238E27FC236}">
                  <a16:creationId xmlns:a16="http://schemas.microsoft.com/office/drawing/2014/main" id="{943FF997-0B19-4DD1-931B-C31F4F42D281}"/>
                </a:ext>
              </a:extLst>
            </p:cNvPr>
            <p:cNvSpPr>
              <a:spLocks noChangeArrowheads="1"/>
            </p:cNvSpPr>
            <p:nvPr/>
          </p:nvSpPr>
          <p:spPr bwMode="auto">
            <a:xfrm>
              <a:off x="2947" y="5726113"/>
              <a:ext cx="1116013" cy="44450"/>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87" name="Rectangle 8">
              <a:extLst>
                <a:ext uri="{FF2B5EF4-FFF2-40B4-BE49-F238E27FC236}">
                  <a16:creationId xmlns:a16="http://schemas.microsoft.com/office/drawing/2014/main" id="{9D92DC12-600C-46FD-BC33-B4599B5211B9}"/>
                </a:ext>
              </a:extLst>
            </p:cNvPr>
            <p:cNvSpPr>
              <a:spLocks noChangeArrowheads="1"/>
            </p:cNvSpPr>
            <p:nvPr/>
          </p:nvSpPr>
          <p:spPr bwMode="auto">
            <a:xfrm>
              <a:off x="536347" y="6399213"/>
              <a:ext cx="152400" cy="295275"/>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88" name="Rectangle 9">
              <a:extLst>
                <a:ext uri="{FF2B5EF4-FFF2-40B4-BE49-F238E27FC236}">
                  <a16:creationId xmlns:a16="http://schemas.microsoft.com/office/drawing/2014/main" id="{BE4EAF01-0045-4CF6-9A76-1078A8271445}"/>
                </a:ext>
              </a:extLst>
            </p:cNvPr>
            <p:cNvSpPr>
              <a:spLocks noChangeArrowheads="1"/>
            </p:cNvSpPr>
            <p:nvPr/>
          </p:nvSpPr>
          <p:spPr bwMode="auto">
            <a:xfrm>
              <a:off x="275997" y="6399213"/>
              <a:ext cx="149225" cy="295275"/>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89" name="Rectangle 10">
              <a:extLst>
                <a:ext uri="{FF2B5EF4-FFF2-40B4-BE49-F238E27FC236}">
                  <a16:creationId xmlns:a16="http://schemas.microsoft.com/office/drawing/2014/main" id="{AA1B3CFC-C63E-413B-BB7D-D3B306159823}"/>
                </a:ext>
              </a:extLst>
            </p:cNvPr>
            <p:cNvSpPr>
              <a:spLocks noChangeArrowheads="1"/>
            </p:cNvSpPr>
            <p:nvPr/>
          </p:nvSpPr>
          <p:spPr bwMode="auto">
            <a:xfrm>
              <a:off x="12472" y="5894388"/>
              <a:ext cx="941388" cy="149225"/>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0" name="Rectangle 11">
              <a:extLst>
                <a:ext uri="{FF2B5EF4-FFF2-40B4-BE49-F238E27FC236}">
                  <a16:creationId xmlns:a16="http://schemas.microsoft.com/office/drawing/2014/main" id="{1E07649C-8C89-4EB0-B474-104CEA6E5FD1}"/>
                </a:ext>
              </a:extLst>
            </p:cNvPr>
            <p:cNvSpPr>
              <a:spLocks noChangeArrowheads="1"/>
            </p:cNvSpPr>
            <p:nvPr/>
          </p:nvSpPr>
          <p:spPr bwMode="auto">
            <a:xfrm>
              <a:off x="12472" y="6154738"/>
              <a:ext cx="941388" cy="152400"/>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1" name="Rectangle 12">
              <a:extLst>
                <a:ext uri="{FF2B5EF4-FFF2-40B4-BE49-F238E27FC236}">
                  <a16:creationId xmlns:a16="http://schemas.microsoft.com/office/drawing/2014/main" id="{511015C9-BBF0-415D-86D6-28668EEDC705}"/>
                </a:ext>
              </a:extLst>
            </p:cNvPr>
            <p:cNvSpPr>
              <a:spLocks noChangeArrowheads="1"/>
            </p:cNvSpPr>
            <p:nvPr/>
          </p:nvSpPr>
          <p:spPr bwMode="auto">
            <a:xfrm>
              <a:off x="1187449" y="5246916"/>
              <a:ext cx="1163638" cy="1447571"/>
            </a:xfrm>
            <a:prstGeom prst="rect">
              <a:avLst/>
            </a:prstGeom>
            <a:solidFill>
              <a:srgbClr val="ED7D3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2" name="Rectangle 13">
              <a:extLst>
                <a:ext uri="{FF2B5EF4-FFF2-40B4-BE49-F238E27FC236}">
                  <a16:creationId xmlns:a16="http://schemas.microsoft.com/office/drawing/2014/main" id="{1674FC1F-77C9-4F3A-9FFA-CD232AEA46A2}"/>
                </a:ext>
              </a:extLst>
            </p:cNvPr>
            <p:cNvSpPr>
              <a:spLocks noChangeArrowheads="1"/>
            </p:cNvSpPr>
            <p:nvPr/>
          </p:nvSpPr>
          <p:spPr bwMode="auto">
            <a:xfrm>
              <a:off x="1127124" y="5203146"/>
              <a:ext cx="1281113" cy="44450"/>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3" name="Rectangle 14">
              <a:extLst>
                <a:ext uri="{FF2B5EF4-FFF2-40B4-BE49-F238E27FC236}">
                  <a16:creationId xmlns:a16="http://schemas.microsoft.com/office/drawing/2014/main" id="{57B50D95-AE64-40B0-8D9A-63F78FDD4CA7}"/>
                </a:ext>
              </a:extLst>
            </p:cNvPr>
            <p:cNvSpPr>
              <a:spLocks noChangeArrowheads="1"/>
            </p:cNvSpPr>
            <p:nvPr/>
          </p:nvSpPr>
          <p:spPr bwMode="auto">
            <a:xfrm>
              <a:off x="1827211" y="6399213"/>
              <a:ext cx="152400" cy="295275"/>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4" name="Rectangle 15">
              <a:extLst>
                <a:ext uri="{FF2B5EF4-FFF2-40B4-BE49-F238E27FC236}">
                  <a16:creationId xmlns:a16="http://schemas.microsoft.com/office/drawing/2014/main" id="{18A33F0A-C4B6-44F6-B41B-96D6BBE7F7ED}"/>
                </a:ext>
              </a:extLst>
            </p:cNvPr>
            <p:cNvSpPr>
              <a:spLocks noChangeArrowheads="1"/>
            </p:cNvSpPr>
            <p:nvPr/>
          </p:nvSpPr>
          <p:spPr bwMode="auto">
            <a:xfrm>
              <a:off x="1562099" y="6399213"/>
              <a:ext cx="152400" cy="295275"/>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5" name="Rectangle 16">
              <a:extLst>
                <a:ext uri="{FF2B5EF4-FFF2-40B4-BE49-F238E27FC236}">
                  <a16:creationId xmlns:a16="http://schemas.microsoft.com/office/drawing/2014/main" id="{A1F49C3A-6260-41A7-949A-F596278E51EA}"/>
                </a:ext>
              </a:extLst>
            </p:cNvPr>
            <p:cNvSpPr>
              <a:spLocks noChangeArrowheads="1"/>
            </p:cNvSpPr>
            <p:nvPr/>
          </p:nvSpPr>
          <p:spPr bwMode="auto">
            <a:xfrm>
              <a:off x="1301749" y="5372101"/>
              <a:ext cx="941388" cy="152400"/>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6" name="Rectangle 17">
              <a:extLst>
                <a:ext uri="{FF2B5EF4-FFF2-40B4-BE49-F238E27FC236}">
                  <a16:creationId xmlns:a16="http://schemas.microsoft.com/office/drawing/2014/main" id="{1C02E159-87F1-4440-A7A9-A2FD5CCC47AD}"/>
                </a:ext>
              </a:extLst>
            </p:cNvPr>
            <p:cNvSpPr>
              <a:spLocks noChangeArrowheads="1"/>
            </p:cNvSpPr>
            <p:nvPr/>
          </p:nvSpPr>
          <p:spPr bwMode="auto">
            <a:xfrm>
              <a:off x="1301749" y="5630863"/>
              <a:ext cx="941388" cy="152400"/>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7" name="Rectangle 18">
              <a:extLst>
                <a:ext uri="{FF2B5EF4-FFF2-40B4-BE49-F238E27FC236}">
                  <a16:creationId xmlns:a16="http://schemas.microsoft.com/office/drawing/2014/main" id="{98710FF1-A9CB-4FB3-A63B-6E23F91D6836}"/>
                </a:ext>
              </a:extLst>
            </p:cNvPr>
            <p:cNvSpPr>
              <a:spLocks noChangeArrowheads="1"/>
            </p:cNvSpPr>
            <p:nvPr/>
          </p:nvSpPr>
          <p:spPr bwMode="auto">
            <a:xfrm>
              <a:off x="1301749" y="5894388"/>
              <a:ext cx="941388" cy="149225"/>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8" name="Rectangle 19">
              <a:extLst>
                <a:ext uri="{FF2B5EF4-FFF2-40B4-BE49-F238E27FC236}">
                  <a16:creationId xmlns:a16="http://schemas.microsoft.com/office/drawing/2014/main" id="{E466CBD5-DE56-48C0-9A11-D7A17A1B0E45}"/>
                </a:ext>
              </a:extLst>
            </p:cNvPr>
            <p:cNvSpPr>
              <a:spLocks noChangeArrowheads="1"/>
            </p:cNvSpPr>
            <p:nvPr/>
          </p:nvSpPr>
          <p:spPr bwMode="auto">
            <a:xfrm>
              <a:off x="1301749" y="6154738"/>
              <a:ext cx="941388" cy="152400"/>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9" name="Rectangle 22">
              <a:extLst>
                <a:ext uri="{FF2B5EF4-FFF2-40B4-BE49-F238E27FC236}">
                  <a16:creationId xmlns:a16="http://schemas.microsoft.com/office/drawing/2014/main" id="{4C787A22-A6C3-4EF8-BC5F-F26894A3BB46}"/>
                </a:ext>
              </a:extLst>
            </p:cNvPr>
            <p:cNvSpPr>
              <a:spLocks noChangeArrowheads="1"/>
            </p:cNvSpPr>
            <p:nvPr/>
          </p:nvSpPr>
          <p:spPr bwMode="auto">
            <a:xfrm>
              <a:off x="2020886" y="5022171"/>
              <a:ext cx="139700" cy="180975"/>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0" name="Rectangle 23">
              <a:extLst>
                <a:ext uri="{FF2B5EF4-FFF2-40B4-BE49-F238E27FC236}">
                  <a16:creationId xmlns:a16="http://schemas.microsoft.com/office/drawing/2014/main" id="{8B767200-59CE-465F-83F9-F97C33B2244F}"/>
                </a:ext>
              </a:extLst>
            </p:cNvPr>
            <p:cNvSpPr>
              <a:spLocks noChangeArrowheads="1"/>
            </p:cNvSpPr>
            <p:nvPr/>
          </p:nvSpPr>
          <p:spPr bwMode="auto">
            <a:xfrm>
              <a:off x="1833561" y="5022171"/>
              <a:ext cx="139700" cy="180975"/>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1" name="Rectangle 24">
              <a:extLst>
                <a:ext uri="{FF2B5EF4-FFF2-40B4-BE49-F238E27FC236}">
                  <a16:creationId xmlns:a16="http://schemas.microsoft.com/office/drawing/2014/main" id="{79E2568B-F00D-4759-B20E-F58FD203A2F5}"/>
                </a:ext>
              </a:extLst>
            </p:cNvPr>
            <p:cNvSpPr>
              <a:spLocks noChangeArrowheads="1"/>
            </p:cNvSpPr>
            <p:nvPr/>
          </p:nvSpPr>
          <p:spPr bwMode="auto">
            <a:xfrm>
              <a:off x="2105026" y="6618288"/>
              <a:ext cx="914400" cy="76200"/>
            </a:xfrm>
            <a:prstGeom prst="rect">
              <a:avLst/>
            </a:prstGeom>
            <a:solidFill>
              <a:srgbClr val="E7E6E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2" name="Freeform 25">
              <a:extLst>
                <a:ext uri="{FF2B5EF4-FFF2-40B4-BE49-F238E27FC236}">
                  <a16:creationId xmlns:a16="http://schemas.microsoft.com/office/drawing/2014/main" id="{D0540FA7-C870-4E13-8CBB-6BE6B897C42A}"/>
                </a:ext>
              </a:extLst>
            </p:cNvPr>
            <p:cNvSpPr>
              <a:spLocks/>
            </p:cNvSpPr>
            <p:nvPr/>
          </p:nvSpPr>
          <p:spPr bwMode="auto">
            <a:xfrm>
              <a:off x="242172" y="1133494"/>
              <a:ext cx="1452563" cy="947737"/>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3" name="Freeform 26">
              <a:extLst>
                <a:ext uri="{FF2B5EF4-FFF2-40B4-BE49-F238E27FC236}">
                  <a16:creationId xmlns:a16="http://schemas.microsoft.com/office/drawing/2014/main" id="{D6E826FD-4982-4B7F-9368-2A1F9C32016A}"/>
                </a:ext>
              </a:extLst>
            </p:cNvPr>
            <p:cNvSpPr>
              <a:spLocks/>
            </p:cNvSpPr>
            <p:nvPr/>
          </p:nvSpPr>
          <p:spPr bwMode="auto">
            <a:xfrm flipH="1">
              <a:off x="231323" y="1743094"/>
              <a:ext cx="1616301" cy="4538662"/>
            </a:xfrm>
            <a:custGeom>
              <a:avLst/>
              <a:gdLst>
                <a:gd name="T0" fmla="*/ 6 w 516"/>
                <a:gd name="T1" fmla="*/ 1419 h 1431"/>
                <a:gd name="T2" fmla="*/ 223 w 516"/>
                <a:gd name="T3" fmla="*/ 1149 h 1431"/>
                <a:gd name="T4" fmla="*/ 353 w 516"/>
                <a:gd name="T5" fmla="*/ 42 h 1431"/>
                <a:gd name="T6" fmla="*/ 278 w 516"/>
                <a:gd name="T7" fmla="*/ 44 h 1431"/>
                <a:gd name="T8" fmla="*/ 39 w 516"/>
                <a:gd name="T9" fmla="*/ 6 h 1431"/>
                <a:gd name="T10" fmla="*/ 45 w 516"/>
                <a:gd name="T11" fmla="*/ 0 h 1431"/>
                <a:gd name="T12" fmla="*/ 51 w 516"/>
                <a:gd name="T13" fmla="*/ 6 h 1431"/>
                <a:gd name="T14" fmla="*/ 278 w 516"/>
                <a:gd name="T15" fmla="*/ 33 h 1431"/>
                <a:gd name="T16" fmla="*/ 504 w 516"/>
                <a:gd name="T17" fmla="*/ 6 h 1431"/>
                <a:gd name="T18" fmla="*/ 510 w 516"/>
                <a:gd name="T19" fmla="*/ 0 h 1431"/>
                <a:gd name="T20" fmla="*/ 516 w 516"/>
                <a:gd name="T21" fmla="*/ 6 h 1431"/>
                <a:gd name="T22" fmla="*/ 365 w 516"/>
                <a:gd name="T23" fmla="*/ 42 h 1431"/>
                <a:gd name="T24" fmla="*/ 233 w 516"/>
                <a:gd name="T25" fmla="*/ 1152 h 1431"/>
                <a:gd name="T26" fmla="*/ 6 w 516"/>
                <a:gd name="T27" fmla="*/ 1431 h 1431"/>
                <a:gd name="T28" fmla="*/ 0 w 516"/>
                <a:gd name="T29" fmla="*/ 1425 h 1431"/>
                <a:gd name="T30" fmla="*/ 6 w 516"/>
                <a:gd name="T31" fmla="*/ 1419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6" h="1431">
                  <a:moveTo>
                    <a:pt x="6" y="1419"/>
                  </a:moveTo>
                  <a:cubicBezTo>
                    <a:pt x="87" y="1419"/>
                    <a:pt x="164" y="1323"/>
                    <a:pt x="223" y="1149"/>
                  </a:cubicBezTo>
                  <a:cubicBezTo>
                    <a:pt x="281" y="973"/>
                    <a:pt x="353" y="291"/>
                    <a:pt x="353" y="42"/>
                  </a:cubicBezTo>
                  <a:cubicBezTo>
                    <a:pt x="313" y="44"/>
                    <a:pt x="281" y="44"/>
                    <a:pt x="278" y="44"/>
                  </a:cubicBezTo>
                  <a:cubicBezTo>
                    <a:pt x="268" y="44"/>
                    <a:pt x="39" y="44"/>
                    <a:pt x="39" y="6"/>
                  </a:cubicBezTo>
                  <a:cubicBezTo>
                    <a:pt x="39" y="3"/>
                    <a:pt x="42" y="0"/>
                    <a:pt x="45" y="0"/>
                  </a:cubicBezTo>
                  <a:cubicBezTo>
                    <a:pt x="48" y="0"/>
                    <a:pt x="51" y="2"/>
                    <a:pt x="51" y="6"/>
                  </a:cubicBezTo>
                  <a:cubicBezTo>
                    <a:pt x="55" y="15"/>
                    <a:pt x="134" y="33"/>
                    <a:pt x="278" y="33"/>
                  </a:cubicBezTo>
                  <a:cubicBezTo>
                    <a:pt x="422" y="33"/>
                    <a:pt x="501" y="15"/>
                    <a:pt x="504" y="6"/>
                  </a:cubicBezTo>
                  <a:cubicBezTo>
                    <a:pt x="504" y="3"/>
                    <a:pt x="507" y="0"/>
                    <a:pt x="510" y="0"/>
                  </a:cubicBezTo>
                  <a:cubicBezTo>
                    <a:pt x="513" y="0"/>
                    <a:pt x="516" y="3"/>
                    <a:pt x="516" y="6"/>
                  </a:cubicBezTo>
                  <a:cubicBezTo>
                    <a:pt x="516" y="29"/>
                    <a:pt x="433" y="38"/>
                    <a:pt x="365" y="42"/>
                  </a:cubicBezTo>
                  <a:cubicBezTo>
                    <a:pt x="364" y="292"/>
                    <a:pt x="293" y="976"/>
                    <a:pt x="233" y="1152"/>
                  </a:cubicBezTo>
                  <a:cubicBezTo>
                    <a:pt x="173" y="1332"/>
                    <a:pt x="93" y="1431"/>
                    <a:pt x="6" y="1431"/>
                  </a:cubicBezTo>
                  <a:cubicBezTo>
                    <a:pt x="3" y="1431"/>
                    <a:pt x="0" y="1428"/>
                    <a:pt x="0" y="1425"/>
                  </a:cubicBezTo>
                  <a:cubicBezTo>
                    <a:pt x="0" y="1422"/>
                    <a:pt x="3" y="1419"/>
                    <a:pt x="6" y="1419"/>
                  </a:cubicBezTo>
                  <a:close/>
                </a:path>
              </a:pathLst>
            </a:custGeom>
            <a:solidFill>
              <a:srgbClr val="5B9BD5">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4" name="Freeform 25">
              <a:extLst>
                <a:ext uri="{FF2B5EF4-FFF2-40B4-BE49-F238E27FC236}">
                  <a16:creationId xmlns:a16="http://schemas.microsoft.com/office/drawing/2014/main" id="{DC91C89A-EB3D-44C1-B691-05AF0CED8300}"/>
                </a:ext>
              </a:extLst>
            </p:cNvPr>
            <p:cNvSpPr>
              <a:spLocks/>
            </p:cNvSpPr>
            <p:nvPr/>
          </p:nvSpPr>
          <p:spPr bwMode="auto">
            <a:xfrm>
              <a:off x="1217962" y="2195743"/>
              <a:ext cx="790731" cy="515919"/>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grpSp>
    </p:spTree>
    <p:extLst>
      <p:ext uri="{BB962C8B-B14F-4D97-AF65-F5344CB8AC3E}">
        <p14:creationId xmlns:p14="http://schemas.microsoft.com/office/powerpoint/2010/main" val="1290335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014116-03E1-4727-816D-77AAD9DA7EA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8" name="think-cell Slide" r:id="rId4" imgW="503" imgH="503" progId="TCLayout.ActiveDocument.1">
                  <p:embed/>
                </p:oleObj>
              </mc:Choice>
              <mc:Fallback>
                <p:oleObj name="think-cell Slide" r:id="rId4" imgW="503" imgH="503" progId="TCLayout.ActiveDocument.1">
                  <p:embed/>
                  <p:pic>
                    <p:nvPicPr>
                      <p:cNvPr id="3" name="Object 2" hidden="1">
                        <a:extLst>
                          <a:ext uri="{FF2B5EF4-FFF2-40B4-BE49-F238E27FC236}">
                            <a16:creationId xmlns:a16="http://schemas.microsoft.com/office/drawing/2014/main" id="{C3014116-03E1-4727-816D-77AAD9DA7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D076FF-4442-4364-9D7F-B2CE1108FF59}"/>
              </a:ext>
            </a:extLst>
          </p:cNvPr>
          <p:cNvSpPr>
            <a:spLocks noGrp="1"/>
          </p:cNvSpPr>
          <p:nvPr>
            <p:ph type="title"/>
          </p:nvPr>
        </p:nvSpPr>
        <p:spPr/>
        <p:txBody>
          <a:bodyPr/>
          <a:lstStyle/>
          <a:p>
            <a:r>
              <a:rPr lang="en-US" altLang="zh-CN" dirty="0"/>
              <a:t>Calculation Backups</a:t>
            </a:r>
            <a:endParaRPr lang="en-US" dirty="0"/>
          </a:p>
        </p:txBody>
      </p:sp>
    </p:spTree>
    <p:extLst>
      <p:ext uri="{BB962C8B-B14F-4D97-AF65-F5344CB8AC3E}">
        <p14:creationId xmlns:p14="http://schemas.microsoft.com/office/powerpoint/2010/main" val="151687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5335CC-7DF4-4258-B718-3A31C3EBA4D0}"/>
              </a:ext>
            </a:extLst>
          </p:cNvPr>
          <p:cNvGraphicFramePr>
            <a:graphicFrameLocks noChangeAspect="1"/>
          </p:cNvGraphicFramePr>
          <p:nvPr>
            <p:custDataLst>
              <p:tags r:id="rId2"/>
            </p:custDataLst>
            <p:extLst>
              <p:ext uri="{D42A27DB-BD31-4B8C-83A1-F6EECF244321}">
                <p14:modId xmlns:p14="http://schemas.microsoft.com/office/powerpoint/2010/main" val="3327911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2" name="think-cell Slide" r:id="rId14" imgW="425" imgH="424" progId="TCLayout.ActiveDocument.1">
                  <p:embed/>
                </p:oleObj>
              </mc:Choice>
              <mc:Fallback>
                <p:oleObj name="think-cell Slide" r:id="rId14" imgW="425" imgH="424" progId="TCLayout.ActiveDocument.1">
                  <p:embed/>
                  <p:pic>
                    <p:nvPicPr>
                      <p:cNvPr id="4" name="Object 3" hidden="1">
                        <a:extLst>
                          <a:ext uri="{FF2B5EF4-FFF2-40B4-BE49-F238E27FC236}">
                            <a16:creationId xmlns:a16="http://schemas.microsoft.com/office/drawing/2014/main" id="{E75335CC-7DF4-4258-B718-3A31C3EBA4D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DFB8D2A-E961-4B78-8CE7-A72CBE33AF45}"/>
              </a:ext>
            </a:extLst>
          </p:cNvPr>
          <p:cNvSpPr/>
          <p:nvPr>
            <p:custDataLst>
              <p:tags r:id="rId3"/>
            </p:custDataLst>
          </p:nvPr>
        </p:nvSpPr>
        <p:spPr bwMode="auto">
          <a:xfrm>
            <a:off x="0" y="0"/>
            <a:ext cx="158750" cy="1587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800" dirty="0">
              <a:solidFill>
                <a:schemeClr val="bg1"/>
              </a:solidFill>
              <a:latin typeface="Segoe UI Semibold" panose="020B0702040204020203" pitchFamily="34" charset="0"/>
              <a:cs typeface="Segoe UI" panose="020B0502040204020203" pitchFamily="34" charset="0"/>
              <a:sym typeface="Segoe UI Semibold" panose="020B0702040204020203" pitchFamily="34" charset="0"/>
            </a:endParaRPr>
          </a:p>
        </p:txBody>
      </p:sp>
      <p:grpSp>
        <p:nvGrpSpPr>
          <p:cNvPr id="29" name="Group 28">
            <a:extLst>
              <a:ext uri="{FF2B5EF4-FFF2-40B4-BE49-F238E27FC236}">
                <a16:creationId xmlns:a16="http://schemas.microsoft.com/office/drawing/2014/main" id="{067A9877-5DED-4CD0-AAF1-EA23B8C7B7B4}"/>
              </a:ext>
            </a:extLst>
          </p:cNvPr>
          <p:cNvGrpSpPr/>
          <p:nvPr/>
        </p:nvGrpSpPr>
        <p:grpSpPr>
          <a:xfrm rot="16200000" flipH="1">
            <a:off x="2965501" y="4246402"/>
            <a:ext cx="2784930" cy="1130150"/>
            <a:chOff x="317898" y="1956392"/>
            <a:chExt cx="12078587" cy="4901608"/>
          </a:xfrm>
        </p:grpSpPr>
        <p:pic>
          <p:nvPicPr>
            <p:cNvPr id="30" name="Graphic 29">
              <a:extLst>
                <a:ext uri="{FF2B5EF4-FFF2-40B4-BE49-F238E27FC236}">
                  <a16:creationId xmlns:a16="http://schemas.microsoft.com/office/drawing/2014/main" id="{71889F6A-509F-41C1-85CC-35048CA5853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17898" y="1956392"/>
              <a:ext cx="12078587" cy="3264775"/>
            </a:xfrm>
            <a:prstGeom prst="rect">
              <a:avLst/>
            </a:prstGeom>
          </p:spPr>
        </p:pic>
        <p:sp>
          <p:nvSpPr>
            <p:cNvPr id="31" name="Rectangle 30">
              <a:extLst>
                <a:ext uri="{FF2B5EF4-FFF2-40B4-BE49-F238E27FC236}">
                  <a16:creationId xmlns:a16="http://schemas.microsoft.com/office/drawing/2014/main" id="{D17C76E4-214A-40AA-BF79-470697F91DC5}"/>
                </a:ext>
              </a:extLst>
            </p:cNvPr>
            <p:cNvSpPr/>
            <p:nvPr/>
          </p:nvSpPr>
          <p:spPr bwMode="auto">
            <a:xfrm>
              <a:off x="3819646" y="5319184"/>
              <a:ext cx="1018572" cy="1538816"/>
            </a:xfrm>
            <a:prstGeom prst="rect">
              <a:avLst/>
            </a:prstGeom>
            <a:solidFill>
              <a:srgbClr val="5C2E9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63D674E8-B102-430C-8361-71AD8CAF6FB1}"/>
                </a:ext>
              </a:extLst>
            </p:cNvPr>
            <p:cNvSpPr/>
            <p:nvPr/>
          </p:nvSpPr>
          <p:spPr bwMode="auto">
            <a:xfrm>
              <a:off x="3847392" y="4455405"/>
              <a:ext cx="990826" cy="474564"/>
            </a:xfrm>
            <a:prstGeom prst="rect">
              <a:avLst/>
            </a:pr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E564A627-428E-4978-9D9B-0E330EEA5F58}"/>
                </a:ext>
              </a:extLst>
            </p:cNvPr>
            <p:cNvGrpSpPr/>
            <p:nvPr/>
          </p:nvGrpSpPr>
          <p:grpSpPr>
            <a:xfrm>
              <a:off x="3317570" y="2285091"/>
              <a:ext cx="1787420" cy="2248907"/>
              <a:chOff x="3978775" y="2517033"/>
              <a:chExt cx="1336490" cy="1681553"/>
            </a:xfrm>
          </p:grpSpPr>
          <p:sp>
            <p:nvSpPr>
              <p:cNvPr id="35" name="Rectangle: Rounded Corners 34">
                <a:extLst>
                  <a:ext uri="{FF2B5EF4-FFF2-40B4-BE49-F238E27FC236}">
                    <a16:creationId xmlns:a16="http://schemas.microsoft.com/office/drawing/2014/main" id="{D6F6F4E4-75F7-4CDF-B587-A288A30AF676}"/>
                  </a:ext>
                </a:extLst>
              </p:cNvPr>
              <p:cNvSpPr/>
              <p:nvPr/>
            </p:nvSpPr>
            <p:spPr bwMode="auto">
              <a:xfrm>
                <a:off x="4203382" y="2517033"/>
                <a:ext cx="278117" cy="915324"/>
              </a:xfrm>
              <a:prstGeom prst="roundRect">
                <a:avLst>
                  <a:gd name="adj" fmla="val 45481"/>
                </a:avLst>
              </a:pr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6" name="Rectangle: Rounded Corners 35">
                <a:extLst>
                  <a:ext uri="{FF2B5EF4-FFF2-40B4-BE49-F238E27FC236}">
                    <a16:creationId xmlns:a16="http://schemas.microsoft.com/office/drawing/2014/main" id="{B36C44D8-55FE-47D9-9372-5B8FB74712E2}"/>
                  </a:ext>
                </a:extLst>
              </p:cNvPr>
              <p:cNvSpPr/>
              <p:nvPr/>
            </p:nvSpPr>
            <p:spPr bwMode="auto">
              <a:xfrm>
                <a:off x="4520240" y="2610603"/>
                <a:ext cx="278117" cy="915324"/>
              </a:xfrm>
              <a:prstGeom prst="roundRect">
                <a:avLst>
                  <a:gd name="adj" fmla="val 45481"/>
                </a:avLst>
              </a:pr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Rectangle: Rounded Corners 36">
                <a:extLst>
                  <a:ext uri="{FF2B5EF4-FFF2-40B4-BE49-F238E27FC236}">
                    <a16:creationId xmlns:a16="http://schemas.microsoft.com/office/drawing/2014/main" id="{ADF76E63-DAAC-4C97-B766-21F926E070E8}"/>
                  </a:ext>
                </a:extLst>
              </p:cNvPr>
              <p:cNvSpPr/>
              <p:nvPr/>
            </p:nvSpPr>
            <p:spPr bwMode="auto">
              <a:xfrm>
                <a:off x="4837098" y="2683963"/>
                <a:ext cx="237822" cy="915324"/>
              </a:xfrm>
              <a:prstGeom prst="roundRect">
                <a:avLst>
                  <a:gd name="adj" fmla="val 45481"/>
                </a:avLst>
              </a:pr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 name="Rectangle: Rounded Corners 37">
                <a:extLst>
                  <a:ext uri="{FF2B5EF4-FFF2-40B4-BE49-F238E27FC236}">
                    <a16:creationId xmlns:a16="http://schemas.microsoft.com/office/drawing/2014/main" id="{8F310DE7-6359-4FD8-9604-B710B2DDFF40}"/>
                  </a:ext>
                </a:extLst>
              </p:cNvPr>
              <p:cNvSpPr/>
              <p:nvPr/>
            </p:nvSpPr>
            <p:spPr bwMode="auto">
              <a:xfrm>
                <a:off x="5126587" y="2797974"/>
                <a:ext cx="174619" cy="616557"/>
              </a:xfrm>
              <a:prstGeom prst="roundRect">
                <a:avLst>
                  <a:gd name="adj" fmla="val 45481"/>
                </a:avLst>
              </a:pr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 name="Freeform: Shape 38">
                <a:extLst>
                  <a:ext uri="{FF2B5EF4-FFF2-40B4-BE49-F238E27FC236}">
                    <a16:creationId xmlns:a16="http://schemas.microsoft.com/office/drawing/2014/main" id="{6FC58B8F-C1A8-4FA0-9C8F-3AD2814423EF}"/>
                  </a:ext>
                </a:extLst>
              </p:cNvPr>
              <p:cNvSpPr/>
              <p:nvPr/>
            </p:nvSpPr>
            <p:spPr bwMode="auto">
              <a:xfrm>
                <a:off x="3978775" y="2908266"/>
                <a:ext cx="1336490" cy="1290320"/>
              </a:xfrm>
              <a:custGeom>
                <a:avLst/>
                <a:gdLst>
                  <a:gd name="connsiteX0" fmla="*/ 25400 w 1320800"/>
                  <a:gd name="connsiteY0" fmla="*/ 294640 h 1290320"/>
                  <a:gd name="connsiteX1" fmla="*/ 0 w 1320800"/>
                  <a:gd name="connsiteY1" fmla="*/ 457200 h 1290320"/>
                  <a:gd name="connsiteX2" fmla="*/ 71120 w 1320800"/>
                  <a:gd name="connsiteY2" fmla="*/ 655320 h 1290320"/>
                  <a:gd name="connsiteX3" fmla="*/ 340360 w 1320800"/>
                  <a:gd name="connsiteY3" fmla="*/ 980440 h 1290320"/>
                  <a:gd name="connsiteX4" fmla="*/ 386080 w 1320800"/>
                  <a:gd name="connsiteY4" fmla="*/ 1290320 h 1290320"/>
                  <a:gd name="connsiteX5" fmla="*/ 1122680 w 1320800"/>
                  <a:gd name="connsiteY5" fmla="*/ 1290320 h 1290320"/>
                  <a:gd name="connsiteX6" fmla="*/ 1132840 w 1320800"/>
                  <a:gd name="connsiteY6" fmla="*/ 965200 h 1290320"/>
                  <a:gd name="connsiteX7" fmla="*/ 1320800 w 1320800"/>
                  <a:gd name="connsiteY7" fmla="*/ 574040 h 1290320"/>
                  <a:gd name="connsiteX8" fmla="*/ 1310640 w 1320800"/>
                  <a:gd name="connsiteY8" fmla="*/ 152400 h 1290320"/>
                  <a:gd name="connsiteX9" fmla="*/ 314960 w 1320800"/>
                  <a:gd name="connsiteY9" fmla="*/ 0 h 1290320"/>
                  <a:gd name="connsiteX10" fmla="*/ 274320 w 1320800"/>
                  <a:gd name="connsiteY10" fmla="*/ 350520 h 1290320"/>
                  <a:gd name="connsiteX11" fmla="*/ 25400 w 1320800"/>
                  <a:gd name="connsiteY11" fmla="*/ 294640 h 1290320"/>
                  <a:gd name="connsiteX0" fmla="*/ 25400 w 1320800"/>
                  <a:gd name="connsiteY0" fmla="*/ 294640 h 1290320"/>
                  <a:gd name="connsiteX1" fmla="*/ 0 w 1320800"/>
                  <a:gd name="connsiteY1" fmla="*/ 457200 h 1290320"/>
                  <a:gd name="connsiteX2" fmla="*/ 71120 w 1320800"/>
                  <a:gd name="connsiteY2" fmla="*/ 655320 h 1290320"/>
                  <a:gd name="connsiteX3" fmla="*/ 340360 w 1320800"/>
                  <a:gd name="connsiteY3" fmla="*/ 980440 h 1290320"/>
                  <a:gd name="connsiteX4" fmla="*/ 386080 w 1320800"/>
                  <a:gd name="connsiteY4" fmla="*/ 1290320 h 1290320"/>
                  <a:gd name="connsiteX5" fmla="*/ 1122680 w 1320800"/>
                  <a:gd name="connsiteY5" fmla="*/ 1290320 h 1290320"/>
                  <a:gd name="connsiteX6" fmla="*/ 1132840 w 1320800"/>
                  <a:gd name="connsiteY6" fmla="*/ 965200 h 1290320"/>
                  <a:gd name="connsiteX7" fmla="*/ 1320800 w 1320800"/>
                  <a:gd name="connsiteY7" fmla="*/ 574040 h 1290320"/>
                  <a:gd name="connsiteX8" fmla="*/ 1310640 w 1320800"/>
                  <a:gd name="connsiteY8" fmla="*/ 152400 h 1290320"/>
                  <a:gd name="connsiteX9" fmla="*/ 314960 w 1320800"/>
                  <a:gd name="connsiteY9" fmla="*/ 0 h 1290320"/>
                  <a:gd name="connsiteX10" fmla="*/ 274320 w 1320800"/>
                  <a:gd name="connsiteY10" fmla="*/ 350520 h 1290320"/>
                  <a:gd name="connsiteX11" fmla="*/ 25400 w 1320800"/>
                  <a:gd name="connsiteY11" fmla="*/ 294640 h 1290320"/>
                  <a:gd name="connsiteX0" fmla="*/ 32749 w 1328149"/>
                  <a:gd name="connsiteY0" fmla="*/ 294640 h 1290320"/>
                  <a:gd name="connsiteX1" fmla="*/ 7349 w 1328149"/>
                  <a:gd name="connsiteY1" fmla="*/ 457200 h 1290320"/>
                  <a:gd name="connsiteX2" fmla="*/ 78469 w 1328149"/>
                  <a:gd name="connsiteY2" fmla="*/ 655320 h 1290320"/>
                  <a:gd name="connsiteX3" fmla="*/ 347709 w 1328149"/>
                  <a:gd name="connsiteY3" fmla="*/ 980440 h 1290320"/>
                  <a:gd name="connsiteX4" fmla="*/ 393429 w 1328149"/>
                  <a:gd name="connsiteY4" fmla="*/ 1290320 h 1290320"/>
                  <a:gd name="connsiteX5" fmla="*/ 1130029 w 1328149"/>
                  <a:gd name="connsiteY5" fmla="*/ 1290320 h 1290320"/>
                  <a:gd name="connsiteX6" fmla="*/ 1140189 w 1328149"/>
                  <a:gd name="connsiteY6" fmla="*/ 965200 h 1290320"/>
                  <a:gd name="connsiteX7" fmla="*/ 1328149 w 1328149"/>
                  <a:gd name="connsiteY7" fmla="*/ 574040 h 1290320"/>
                  <a:gd name="connsiteX8" fmla="*/ 1317989 w 1328149"/>
                  <a:gd name="connsiteY8" fmla="*/ 152400 h 1290320"/>
                  <a:gd name="connsiteX9" fmla="*/ 322309 w 1328149"/>
                  <a:gd name="connsiteY9" fmla="*/ 0 h 1290320"/>
                  <a:gd name="connsiteX10" fmla="*/ 281669 w 1328149"/>
                  <a:gd name="connsiteY10" fmla="*/ 350520 h 1290320"/>
                  <a:gd name="connsiteX11" fmla="*/ 32749 w 1328149"/>
                  <a:gd name="connsiteY11" fmla="*/ 294640 h 1290320"/>
                  <a:gd name="connsiteX0" fmla="*/ 38964 w 1334364"/>
                  <a:gd name="connsiteY0" fmla="*/ 294640 h 1290320"/>
                  <a:gd name="connsiteX1" fmla="*/ 5944 w 1334364"/>
                  <a:gd name="connsiteY1" fmla="*/ 440055 h 1290320"/>
                  <a:gd name="connsiteX2" fmla="*/ 84684 w 1334364"/>
                  <a:gd name="connsiteY2" fmla="*/ 655320 h 1290320"/>
                  <a:gd name="connsiteX3" fmla="*/ 353924 w 1334364"/>
                  <a:gd name="connsiteY3" fmla="*/ 980440 h 1290320"/>
                  <a:gd name="connsiteX4" fmla="*/ 399644 w 1334364"/>
                  <a:gd name="connsiteY4" fmla="*/ 1290320 h 1290320"/>
                  <a:gd name="connsiteX5" fmla="*/ 1136244 w 1334364"/>
                  <a:gd name="connsiteY5" fmla="*/ 1290320 h 1290320"/>
                  <a:gd name="connsiteX6" fmla="*/ 1146404 w 1334364"/>
                  <a:gd name="connsiteY6" fmla="*/ 965200 h 1290320"/>
                  <a:gd name="connsiteX7" fmla="*/ 1334364 w 1334364"/>
                  <a:gd name="connsiteY7" fmla="*/ 574040 h 1290320"/>
                  <a:gd name="connsiteX8" fmla="*/ 1324204 w 1334364"/>
                  <a:gd name="connsiteY8" fmla="*/ 152400 h 1290320"/>
                  <a:gd name="connsiteX9" fmla="*/ 328524 w 1334364"/>
                  <a:gd name="connsiteY9" fmla="*/ 0 h 1290320"/>
                  <a:gd name="connsiteX10" fmla="*/ 287884 w 1334364"/>
                  <a:gd name="connsiteY10" fmla="*/ 350520 h 1290320"/>
                  <a:gd name="connsiteX11" fmla="*/ 38964 w 1334364"/>
                  <a:gd name="connsiteY11" fmla="*/ 294640 h 1290320"/>
                  <a:gd name="connsiteX0" fmla="*/ 38964 w 1334364"/>
                  <a:gd name="connsiteY0" fmla="*/ 294640 h 1290320"/>
                  <a:gd name="connsiteX1" fmla="*/ 5944 w 1334364"/>
                  <a:gd name="connsiteY1" fmla="*/ 440055 h 1290320"/>
                  <a:gd name="connsiteX2" fmla="*/ 84684 w 1334364"/>
                  <a:gd name="connsiteY2" fmla="*/ 655320 h 1290320"/>
                  <a:gd name="connsiteX3" fmla="*/ 353924 w 1334364"/>
                  <a:gd name="connsiteY3" fmla="*/ 980440 h 1290320"/>
                  <a:gd name="connsiteX4" fmla="*/ 399644 w 1334364"/>
                  <a:gd name="connsiteY4" fmla="*/ 1290320 h 1290320"/>
                  <a:gd name="connsiteX5" fmla="*/ 1136244 w 1334364"/>
                  <a:gd name="connsiteY5" fmla="*/ 1290320 h 1290320"/>
                  <a:gd name="connsiteX6" fmla="*/ 1146404 w 1334364"/>
                  <a:gd name="connsiteY6" fmla="*/ 965200 h 1290320"/>
                  <a:gd name="connsiteX7" fmla="*/ 1334364 w 1334364"/>
                  <a:gd name="connsiteY7" fmla="*/ 574040 h 1290320"/>
                  <a:gd name="connsiteX8" fmla="*/ 1324204 w 1334364"/>
                  <a:gd name="connsiteY8" fmla="*/ 152400 h 1290320"/>
                  <a:gd name="connsiteX9" fmla="*/ 328524 w 1334364"/>
                  <a:gd name="connsiteY9" fmla="*/ 0 h 1290320"/>
                  <a:gd name="connsiteX10" fmla="*/ 287884 w 1334364"/>
                  <a:gd name="connsiteY10" fmla="*/ 350520 h 1290320"/>
                  <a:gd name="connsiteX11" fmla="*/ 38964 w 1334364"/>
                  <a:gd name="connsiteY11" fmla="*/ 294640 h 1290320"/>
                  <a:gd name="connsiteX0" fmla="*/ 38964 w 1334364"/>
                  <a:gd name="connsiteY0" fmla="*/ 294640 h 1290320"/>
                  <a:gd name="connsiteX1" fmla="*/ 5944 w 1334364"/>
                  <a:gd name="connsiteY1" fmla="*/ 440055 h 1290320"/>
                  <a:gd name="connsiteX2" fmla="*/ 84684 w 1334364"/>
                  <a:gd name="connsiteY2" fmla="*/ 655320 h 1290320"/>
                  <a:gd name="connsiteX3" fmla="*/ 353924 w 1334364"/>
                  <a:gd name="connsiteY3" fmla="*/ 980440 h 1290320"/>
                  <a:gd name="connsiteX4" fmla="*/ 399644 w 1334364"/>
                  <a:gd name="connsiteY4" fmla="*/ 1290320 h 1290320"/>
                  <a:gd name="connsiteX5" fmla="*/ 1136244 w 1334364"/>
                  <a:gd name="connsiteY5" fmla="*/ 1290320 h 1290320"/>
                  <a:gd name="connsiteX6" fmla="*/ 1146404 w 1334364"/>
                  <a:gd name="connsiteY6" fmla="*/ 965200 h 1290320"/>
                  <a:gd name="connsiteX7" fmla="*/ 1334364 w 1334364"/>
                  <a:gd name="connsiteY7" fmla="*/ 574040 h 1290320"/>
                  <a:gd name="connsiteX8" fmla="*/ 1324204 w 1334364"/>
                  <a:gd name="connsiteY8" fmla="*/ 152400 h 1290320"/>
                  <a:gd name="connsiteX9" fmla="*/ 328524 w 1334364"/>
                  <a:gd name="connsiteY9" fmla="*/ 0 h 1290320"/>
                  <a:gd name="connsiteX10" fmla="*/ 287884 w 1334364"/>
                  <a:gd name="connsiteY10" fmla="*/ 350520 h 1290320"/>
                  <a:gd name="connsiteX11" fmla="*/ 38964 w 1334364"/>
                  <a:gd name="connsiteY11" fmla="*/ 294640 h 1290320"/>
                  <a:gd name="connsiteX0" fmla="*/ 38671 w 1334071"/>
                  <a:gd name="connsiteY0" fmla="*/ 294640 h 1290320"/>
                  <a:gd name="connsiteX1" fmla="*/ 5651 w 1334071"/>
                  <a:gd name="connsiteY1" fmla="*/ 440055 h 1290320"/>
                  <a:gd name="connsiteX2" fmla="*/ 86296 w 1334071"/>
                  <a:gd name="connsiteY2" fmla="*/ 672465 h 1290320"/>
                  <a:gd name="connsiteX3" fmla="*/ 353631 w 1334071"/>
                  <a:gd name="connsiteY3" fmla="*/ 980440 h 1290320"/>
                  <a:gd name="connsiteX4" fmla="*/ 399351 w 1334071"/>
                  <a:gd name="connsiteY4" fmla="*/ 1290320 h 1290320"/>
                  <a:gd name="connsiteX5" fmla="*/ 1135951 w 1334071"/>
                  <a:gd name="connsiteY5" fmla="*/ 1290320 h 1290320"/>
                  <a:gd name="connsiteX6" fmla="*/ 1146111 w 1334071"/>
                  <a:gd name="connsiteY6" fmla="*/ 965200 h 1290320"/>
                  <a:gd name="connsiteX7" fmla="*/ 1334071 w 1334071"/>
                  <a:gd name="connsiteY7" fmla="*/ 574040 h 1290320"/>
                  <a:gd name="connsiteX8" fmla="*/ 1323911 w 1334071"/>
                  <a:gd name="connsiteY8" fmla="*/ 152400 h 1290320"/>
                  <a:gd name="connsiteX9" fmla="*/ 328231 w 1334071"/>
                  <a:gd name="connsiteY9" fmla="*/ 0 h 1290320"/>
                  <a:gd name="connsiteX10" fmla="*/ 287591 w 1334071"/>
                  <a:gd name="connsiteY10" fmla="*/ 350520 h 1290320"/>
                  <a:gd name="connsiteX11" fmla="*/ 38671 w 1334071"/>
                  <a:gd name="connsiteY11" fmla="*/ 294640 h 1290320"/>
                  <a:gd name="connsiteX0" fmla="*/ 39504 w 1334904"/>
                  <a:gd name="connsiteY0" fmla="*/ 294640 h 1290320"/>
                  <a:gd name="connsiteX1" fmla="*/ 6484 w 1334904"/>
                  <a:gd name="connsiteY1" fmla="*/ 440055 h 1290320"/>
                  <a:gd name="connsiteX2" fmla="*/ 87129 w 1334904"/>
                  <a:gd name="connsiteY2" fmla="*/ 672465 h 1290320"/>
                  <a:gd name="connsiteX3" fmla="*/ 354464 w 1334904"/>
                  <a:gd name="connsiteY3" fmla="*/ 980440 h 1290320"/>
                  <a:gd name="connsiteX4" fmla="*/ 400184 w 1334904"/>
                  <a:gd name="connsiteY4" fmla="*/ 1290320 h 1290320"/>
                  <a:gd name="connsiteX5" fmla="*/ 1136784 w 1334904"/>
                  <a:gd name="connsiteY5" fmla="*/ 1290320 h 1290320"/>
                  <a:gd name="connsiteX6" fmla="*/ 1146944 w 1334904"/>
                  <a:gd name="connsiteY6" fmla="*/ 965200 h 1290320"/>
                  <a:gd name="connsiteX7" fmla="*/ 1334904 w 1334904"/>
                  <a:gd name="connsiteY7" fmla="*/ 574040 h 1290320"/>
                  <a:gd name="connsiteX8" fmla="*/ 1324744 w 1334904"/>
                  <a:gd name="connsiteY8" fmla="*/ 152400 h 1290320"/>
                  <a:gd name="connsiteX9" fmla="*/ 329064 w 1334904"/>
                  <a:gd name="connsiteY9" fmla="*/ 0 h 1290320"/>
                  <a:gd name="connsiteX10" fmla="*/ 288424 w 1334904"/>
                  <a:gd name="connsiteY10" fmla="*/ 350520 h 1290320"/>
                  <a:gd name="connsiteX11" fmla="*/ 39504 w 1334904"/>
                  <a:gd name="connsiteY11" fmla="*/ 294640 h 1290320"/>
                  <a:gd name="connsiteX0" fmla="*/ 39504 w 1334904"/>
                  <a:gd name="connsiteY0" fmla="*/ 294640 h 1290320"/>
                  <a:gd name="connsiteX1" fmla="*/ 6484 w 1334904"/>
                  <a:gd name="connsiteY1" fmla="*/ 440055 h 1290320"/>
                  <a:gd name="connsiteX2" fmla="*/ 87129 w 1334904"/>
                  <a:gd name="connsiteY2" fmla="*/ 672465 h 1290320"/>
                  <a:gd name="connsiteX3" fmla="*/ 354464 w 1334904"/>
                  <a:gd name="connsiteY3" fmla="*/ 980440 h 1290320"/>
                  <a:gd name="connsiteX4" fmla="*/ 400184 w 1334904"/>
                  <a:gd name="connsiteY4" fmla="*/ 1290320 h 1290320"/>
                  <a:gd name="connsiteX5" fmla="*/ 1136784 w 1334904"/>
                  <a:gd name="connsiteY5" fmla="*/ 1290320 h 1290320"/>
                  <a:gd name="connsiteX6" fmla="*/ 1146944 w 1334904"/>
                  <a:gd name="connsiteY6" fmla="*/ 965200 h 1290320"/>
                  <a:gd name="connsiteX7" fmla="*/ 1334904 w 1334904"/>
                  <a:gd name="connsiteY7" fmla="*/ 574040 h 1290320"/>
                  <a:gd name="connsiteX8" fmla="*/ 1324744 w 1334904"/>
                  <a:gd name="connsiteY8" fmla="*/ 152400 h 1290320"/>
                  <a:gd name="connsiteX9" fmla="*/ 329064 w 1334904"/>
                  <a:gd name="connsiteY9" fmla="*/ 0 h 1290320"/>
                  <a:gd name="connsiteX10" fmla="*/ 288424 w 1334904"/>
                  <a:gd name="connsiteY10" fmla="*/ 350520 h 1290320"/>
                  <a:gd name="connsiteX11" fmla="*/ 39504 w 1334904"/>
                  <a:gd name="connsiteY11" fmla="*/ 294640 h 1290320"/>
                  <a:gd name="connsiteX0" fmla="*/ 39504 w 1337264"/>
                  <a:gd name="connsiteY0" fmla="*/ 294640 h 1290320"/>
                  <a:gd name="connsiteX1" fmla="*/ 6484 w 1337264"/>
                  <a:gd name="connsiteY1" fmla="*/ 440055 h 1290320"/>
                  <a:gd name="connsiteX2" fmla="*/ 87129 w 1337264"/>
                  <a:gd name="connsiteY2" fmla="*/ 672465 h 1290320"/>
                  <a:gd name="connsiteX3" fmla="*/ 354464 w 1337264"/>
                  <a:gd name="connsiteY3" fmla="*/ 980440 h 1290320"/>
                  <a:gd name="connsiteX4" fmla="*/ 400184 w 1337264"/>
                  <a:gd name="connsiteY4" fmla="*/ 1290320 h 1290320"/>
                  <a:gd name="connsiteX5" fmla="*/ 1136784 w 1337264"/>
                  <a:gd name="connsiteY5" fmla="*/ 1290320 h 1290320"/>
                  <a:gd name="connsiteX6" fmla="*/ 1146944 w 1337264"/>
                  <a:gd name="connsiteY6" fmla="*/ 965200 h 1290320"/>
                  <a:gd name="connsiteX7" fmla="*/ 1334904 w 1337264"/>
                  <a:gd name="connsiteY7" fmla="*/ 574040 h 1290320"/>
                  <a:gd name="connsiteX8" fmla="*/ 1324744 w 1337264"/>
                  <a:gd name="connsiteY8" fmla="*/ 152400 h 1290320"/>
                  <a:gd name="connsiteX9" fmla="*/ 329064 w 1337264"/>
                  <a:gd name="connsiteY9" fmla="*/ 0 h 1290320"/>
                  <a:gd name="connsiteX10" fmla="*/ 288424 w 1337264"/>
                  <a:gd name="connsiteY10" fmla="*/ 350520 h 1290320"/>
                  <a:gd name="connsiteX11" fmla="*/ 39504 w 1337264"/>
                  <a:gd name="connsiteY11" fmla="*/ 294640 h 1290320"/>
                  <a:gd name="connsiteX0" fmla="*/ 39504 w 1336490"/>
                  <a:gd name="connsiteY0" fmla="*/ 294640 h 1290320"/>
                  <a:gd name="connsiteX1" fmla="*/ 6484 w 1336490"/>
                  <a:gd name="connsiteY1" fmla="*/ 440055 h 1290320"/>
                  <a:gd name="connsiteX2" fmla="*/ 87129 w 1336490"/>
                  <a:gd name="connsiteY2" fmla="*/ 672465 h 1290320"/>
                  <a:gd name="connsiteX3" fmla="*/ 354464 w 1336490"/>
                  <a:gd name="connsiteY3" fmla="*/ 980440 h 1290320"/>
                  <a:gd name="connsiteX4" fmla="*/ 400184 w 1336490"/>
                  <a:gd name="connsiteY4" fmla="*/ 1290320 h 1290320"/>
                  <a:gd name="connsiteX5" fmla="*/ 1136784 w 1336490"/>
                  <a:gd name="connsiteY5" fmla="*/ 1290320 h 1290320"/>
                  <a:gd name="connsiteX6" fmla="*/ 1146944 w 1336490"/>
                  <a:gd name="connsiteY6" fmla="*/ 965200 h 1290320"/>
                  <a:gd name="connsiteX7" fmla="*/ 1334904 w 1336490"/>
                  <a:gd name="connsiteY7" fmla="*/ 574040 h 1290320"/>
                  <a:gd name="connsiteX8" fmla="*/ 1314584 w 1336490"/>
                  <a:gd name="connsiteY8" fmla="*/ 127000 h 1290320"/>
                  <a:gd name="connsiteX9" fmla="*/ 329064 w 1336490"/>
                  <a:gd name="connsiteY9" fmla="*/ 0 h 1290320"/>
                  <a:gd name="connsiteX10" fmla="*/ 288424 w 1336490"/>
                  <a:gd name="connsiteY10" fmla="*/ 350520 h 1290320"/>
                  <a:gd name="connsiteX11" fmla="*/ 39504 w 1336490"/>
                  <a:gd name="connsiteY11" fmla="*/ 294640 h 1290320"/>
                  <a:gd name="connsiteX0" fmla="*/ 39504 w 1336490"/>
                  <a:gd name="connsiteY0" fmla="*/ 294640 h 1290320"/>
                  <a:gd name="connsiteX1" fmla="*/ 6484 w 1336490"/>
                  <a:gd name="connsiteY1" fmla="*/ 440055 h 1290320"/>
                  <a:gd name="connsiteX2" fmla="*/ 87129 w 1336490"/>
                  <a:gd name="connsiteY2" fmla="*/ 672465 h 1290320"/>
                  <a:gd name="connsiteX3" fmla="*/ 354464 w 1336490"/>
                  <a:gd name="connsiteY3" fmla="*/ 980440 h 1290320"/>
                  <a:gd name="connsiteX4" fmla="*/ 400184 w 1336490"/>
                  <a:gd name="connsiteY4" fmla="*/ 1290320 h 1290320"/>
                  <a:gd name="connsiteX5" fmla="*/ 1136784 w 1336490"/>
                  <a:gd name="connsiteY5" fmla="*/ 1290320 h 1290320"/>
                  <a:gd name="connsiteX6" fmla="*/ 1146944 w 1336490"/>
                  <a:gd name="connsiteY6" fmla="*/ 965200 h 1290320"/>
                  <a:gd name="connsiteX7" fmla="*/ 1334904 w 1336490"/>
                  <a:gd name="connsiteY7" fmla="*/ 574040 h 1290320"/>
                  <a:gd name="connsiteX8" fmla="*/ 1314584 w 1336490"/>
                  <a:gd name="connsiteY8" fmla="*/ 127000 h 1290320"/>
                  <a:gd name="connsiteX9" fmla="*/ 329064 w 1336490"/>
                  <a:gd name="connsiteY9" fmla="*/ 0 h 1290320"/>
                  <a:gd name="connsiteX10" fmla="*/ 237624 w 1336490"/>
                  <a:gd name="connsiteY10" fmla="*/ 345440 h 1290320"/>
                  <a:gd name="connsiteX11" fmla="*/ 39504 w 1336490"/>
                  <a:gd name="connsiteY11" fmla="*/ 294640 h 1290320"/>
                  <a:gd name="connsiteX0" fmla="*/ 39504 w 1336490"/>
                  <a:gd name="connsiteY0" fmla="*/ 294640 h 1290320"/>
                  <a:gd name="connsiteX1" fmla="*/ 6484 w 1336490"/>
                  <a:gd name="connsiteY1" fmla="*/ 440055 h 1290320"/>
                  <a:gd name="connsiteX2" fmla="*/ 87129 w 1336490"/>
                  <a:gd name="connsiteY2" fmla="*/ 672465 h 1290320"/>
                  <a:gd name="connsiteX3" fmla="*/ 354464 w 1336490"/>
                  <a:gd name="connsiteY3" fmla="*/ 980440 h 1290320"/>
                  <a:gd name="connsiteX4" fmla="*/ 400184 w 1336490"/>
                  <a:gd name="connsiteY4" fmla="*/ 1290320 h 1290320"/>
                  <a:gd name="connsiteX5" fmla="*/ 1136784 w 1336490"/>
                  <a:gd name="connsiteY5" fmla="*/ 1290320 h 1290320"/>
                  <a:gd name="connsiteX6" fmla="*/ 1146944 w 1336490"/>
                  <a:gd name="connsiteY6" fmla="*/ 965200 h 1290320"/>
                  <a:gd name="connsiteX7" fmla="*/ 1334904 w 1336490"/>
                  <a:gd name="connsiteY7" fmla="*/ 574040 h 1290320"/>
                  <a:gd name="connsiteX8" fmla="*/ 1314584 w 1336490"/>
                  <a:gd name="connsiteY8" fmla="*/ 127000 h 1290320"/>
                  <a:gd name="connsiteX9" fmla="*/ 329064 w 1336490"/>
                  <a:gd name="connsiteY9" fmla="*/ 0 h 1290320"/>
                  <a:gd name="connsiteX10" fmla="*/ 257944 w 1336490"/>
                  <a:gd name="connsiteY10" fmla="*/ 294640 h 1290320"/>
                  <a:gd name="connsiteX11" fmla="*/ 39504 w 1336490"/>
                  <a:gd name="connsiteY11" fmla="*/ 294640 h 129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6490" h="1290320">
                    <a:moveTo>
                      <a:pt x="39504" y="294640"/>
                    </a:moveTo>
                    <a:lnTo>
                      <a:pt x="6484" y="440055"/>
                    </a:lnTo>
                    <a:cubicBezTo>
                      <a:pt x="-7909" y="494665"/>
                      <a:pt x="-5158" y="594995"/>
                      <a:pt x="87129" y="672465"/>
                    </a:cubicBezTo>
                    <a:cubicBezTo>
                      <a:pt x="176876" y="780838"/>
                      <a:pt x="259002" y="856827"/>
                      <a:pt x="354464" y="980440"/>
                    </a:cubicBezTo>
                    <a:cubicBezTo>
                      <a:pt x="384944" y="1091353"/>
                      <a:pt x="384944" y="1187027"/>
                      <a:pt x="400184" y="1290320"/>
                    </a:cubicBezTo>
                    <a:lnTo>
                      <a:pt x="1136784" y="1290320"/>
                    </a:lnTo>
                    <a:lnTo>
                      <a:pt x="1146944" y="965200"/>
                    </a:lnTo>
                    <a:cubicBezTo>
                      <a:pt x="1209597" y="834813"/>
                      <a:pt x="1283681" y="738717"/>
                      <a:pt x="1334904" y="574040"/>
                    </a:cubicBezTo>
                    <a:cubicBezTo>
                      <a:pt x="1342947" y="425873"/>
                      <a:pt x="1317971" y="267547"/>
                      <a:pt x="1314584" y="127000"/>
                    </a:cubicBezTo>
                    <a:lnTo>
                      <a:pt x="329064" y="0"/>
                    </a:lnTo>
                    <a:lnTo>
                      <a:pt x="257944" y="294640"/>
                    </a:lnTo>
                    <a:lnTo>
                      <a:pt x="39504" y="294640"/>
                    </a:lnTo>
                    <a:close/>
                  </a:path>
                </a:pathLst>
              </a:cu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34" name="Rectangle: Top Corners Rounded 33">
              <a:extLst>
                <a:ext uri="{FF2B5EF4-FFF2-40B4-BE49-F238E27FC236}">
                  <a16:creationId xmlns:a16="http://schemas.microsoft.com/office/drawing/2014/main" id="{22302F18-F8AB-49D4-87C1-8F4378FEC8B4}"/>
                </a:ext>
              </a:extLst>
            </p:cNvPr>
            <p:cNvSpPr/>
            <p:nvPr/>
          </p:nvSpPr>
          <p:spPr bwMode="auto">
            <a:xfrm>
              <a:off x="3703899" y="4844623"/>
              <a:ext cx="1226916" cy="474561"/>
            </a:xfrm>
            <a:prstGeom prst="round2SameRect">
              <a:avLst>
                <a:gd name="adj1" fmla="val 23874"/>
                <a:gd name="adj2" fmla="val 0"/>
              </a:avLst>
            </a:prstGeom>
            <a:solidFill>
              <a:srgbClr val="5C2E91">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aphicFrame>
        <p:nvGraphicFramePr>
          <p:cNvPr id="176" name="Chart 175">
            <a:extLst>
              <a:ext uri="{FF2B5EF4-FFF2-40B4-BE49-F238E27FC236}">
                <a16:creationId xmlns:a16="http://schemas.microsoft.com/office/drawing/2014/main" id="{CC142149-0A4D-44FE-A10B-DF3261A38D97}"/>
              </a:ext>
            </a:extLst>
          </p:cNvPr>
          <p:cNvGraphicFramePr/>
          <p:nvPr>
            <p:custDataLst>
              <p:tags r:id="rId4"/>
            </p:custDataLst>
            <p:extLst>
              <p:ext uri="{D42A27DB-BD31-4B8C-83A1-F6EECF244321}">
                <p14:modId xmlns:p14="http://schemas.microsoft.com/office/powerpoint/2010/main" val="1163926788"/>
              </p:ext>
            </p:extLst>
          </p:nvPr>
        </p:nvGraphicFramePr>
        <p:xfrm>
          <a:off x="5356225" y="3549650"/>
          <a:ext cx="6296025" cy="1963738"/>
        </p:xfrm>
        <a:graphic>
          <a:graphicData uri="http://schemas.openxmlformats.org/drawingml/2006/chart">
            <c:chart xmlns:c="http://schemas.openxmlformats.org/drawingml/2006/chart" xmlns:r="http://schemas.openxmlformats.org/officeDocument/2006/relationships" r:id="rId18"/>
          </a:graphicData>
        </a:graphic>
      </p:graphicFrame>
      <p:sp>
        <p:nvSpPr>
          <p:cNvPr id="52" name="Text Placeholder 3">
            <a:extLst>
              <a:ext uri="{FF2B5EF4-FFF2-40B4-BE49-F238E27FC236}">
                <a16:creationId xmlns:a16="http://schemas.microsoft.com/office/drawing/2014/main" id="{C153963E-7B9E-4E21-AF59-B4927BF8736D}"/>
              </a:ext>
            </a:extLst>
          </p:cNvPr>
          <p:cNvSpPr>
            <a:spLocks noGrp="1"/>
          </p:cNvSpPr>
          <p:nvPr>
            <p:custDataLst>
              <p:tags r:id="rId5"/>
            </p:custDataLst>
          </p:nvPr>
        </p:nvSpPr>
        <p:spPr bwMode="gray">
          <a:xfrm>
            <a:off x="8986838" y="3729038"/>
            <a:ext cx="5651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00" dirty="0">
                <a:solidFill>
                  <a:schemeClr val="tx1"/>
                </a:solidFill>
                <a:cs typeface="+mn-cs"/>
                <a:sym typeface="+mn-lt"/>
              </a:rPr>
              <a:t>$</a:t>
            </a:r>
            <a:fld id="{2FD4291C-B778-45D1-976E-BF457271D04A}" type="datetime'''''''''''''40''''.''7''''''''''''''''''''''''1'''">
              <a:rPr lang="en-US" altLang="en-US" sz="1400" smtClean="0">
                <a:solidFill>
                  <a:schemeClr val="tx1"/>
                </a:solidFill>
                <a:cs typeface="+mn-cs"/>
                <a:sym typeface="+mn-lt"/>
              </a:rPr>
              <a:pPr marL="0" indent="0" algn="ctr">
                <a:spcBef>
                  <a:spcPct val="0"/>
                </a:spcBef>
                <a:spcAft>
                  <a:spcPct val="0"/>
                </a:spcAft>
                <a:buNone/>
              </a:pPr>
              <a:t>40.71</a:t>
            </a:fld>
            <a:endParaRPr lang="en-US" sz="1400" dirty="0">
              <a:solidFill>
                <a:schemeClr val="tx1"/>
              </a:solidFill>
              <a:cs typeface="+mn-cs"/>
              <a:sym typeface="+mn-lt"/>
            </a:endParaRPr>
          </a:p>
        </p:txBody>
      </p:sp>
      <p:sp>
        <p:nvSpPr>
          <p:cNvPr id="9" name="Text Placeholder 3">
            <a:extLst>
              <a:ext uri="{FF2B5EF4-FFF2-40B4-BE49-F238E27FC236}">
                <a16:creationId xmlns:a16="http://schemas.microsoft.com/office/drawing/2014/main" id="{0E733643-1A6B-42BF-9505-EBCC78A58A34}"/>
              </a:ext>
            </a:extLst>
          </p:cNvPr>
          <p:cNvSpPr>
            <a:spLocks noGrp="1"/>
          </p:cNvSpPr>
          <p:nvPr>
            <p:custDataLst>
              <p:tags r:id="rId6"/>
            </p:custDataLst>
          </p:nvPr>
        </p:nvSpPr>
        <p:spPr bwMode="auto">
          <a:xfrm>
            <a:off x="5678488" y="5548313"/>
            <a:ext cx="1052513"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04DE5D3-E50A-46F0-832C-F7E3660093BD}" type="datetime'W''ind''''''''''o''w''s'' ''1''0 mul''''t''i''-se''''s''sion'">
              <a:rPr lang="en-US" altLang="en-US" sz="1400" smtClean="0">
                <a:solidFill>
                  <a:schemeClr val="tx1"/>
                </a:solidFill>
                <a:cs typeface="+mn-cs"/>
                <a:sym typeface="+mn-lt"/>
              </a:rPr>
              <a:pPr/>
              <a:t>Windows 10 multi-session</a:t>
            </a:fld>
            <a:endParaRPr lang="en-US" sz="1400" dirty="0">
              <a:solidFill>
                <a:schemeClr val="tx1"/>
              </a:solidFill>
              <a:cs typeface="+mn-cs"/>
              <a:sym typeface="+mn-lt"/>
            </a:endParaRPr>
          </a:p>
        </p:txBody>
      </p:sp>
      <p:sp>
        <p:nvSpPr>
          <p:cNvPr id="21" name="Text Placeholder 3">
            <a:extLst>
              <a:ext uri="{FF2B5EF4-FFF2-40B4-BE49-F238E27FC236}">
                <a16:creationId xmlns:a16="http://schemas.microsoft.com/office/drawing/2014/main" id="{421B6564-8261-4D00-9F7C-95FFD2AD17B8}"/>
              </a:ext>
            </a:extLst>
          </p:cNvPr>
          <p:cNvSpPr>
            <a:spLocks noGrp="1"/>
          </p:cNvSpPr>
          <p:nvPr>
            <p:custDataLst>
              <p:tags r:id="rId7"/>
            </p:custDataLst>
          </p:nvPr>
        </p:nvSpPr>
        <p:spPr bwMode="auto">
          <a:xfrm>
            <a:off x="7096125" y="5548313"/>
            <a:ext cx="12842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3EB9890-DEA1-43E2-90B5-AA0F110226EA}" type="datetime'''Wi''''''nd''''o''''''ws'''''''' ''Se''r''''''''''v''er'">
              <a:rPr lang="en-US" altLang="en-US" sz="1400" smtClean="0">
                <a:solidFill>
                  <a:schemeClr val="tx1"/>
                </a:solidFill>
                <a:cs typeface="+mn-cs"/>
                <a:sym typeface="+mn-lt"/>
              </a:rPr>
              <a:pPr/>
              <a:t>Windows Server</a:t>
            </a:fld>
            <a:endParaRPr lang="en-US" sz="1400" dirty="0">
              <a:solidFill>
                <a:schemeClr val="tx1"/>
              </a:solidFill>
              <a:cs typeface="+mn-cs"/>
              <a:sym typeface="+mn-lt"/>
            </a:endParaRPr>
          </a:p>
        </p:txBody>
      </p:sp>
      <p:sp>
        <p:nvSpPr>
          <p:cNvPr id="55" name="Text Placeholder 3">
            <a:extLst>
              <a:ext uri="{FF2B5EF4-FFF2-40B4-BE49-F238E27FC236}">
                <a16:creationId xmlns:a16="http://schemas.microsoft.com/office/drawing/2014/main" id="{9E576349-D434-49F1-AB76-AB01750B4702}"/>
              </a:ext>
            </a:extLst>
          </p:cNvPr>
          <p:cNvSpPr>
            <a:spLocks noGrp="1"/>
          </p:cNvSpPr>
          <p:nvPr>
            <p:custDataLst>
              <p:tags r:id="rId8"/>
            </p:custDataLst>
          </p:nvPr>
        </p:nvSpPr>
        <p:spPr bwMode="gray">
          <a:xfrm>
            <a:off x="10520363" y="3394075"/>
            <a:ext cx="5651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00" dirty="0">
                <a:solidFill>
                  <a:schemeClr val="tx1"/>
                </a:solidFill>
                <a:cs typeface="+mn-cs"/>
                <a:sym typeface="+mn-lt"/>
              </a:rPr>
              <a:t>$</a:t>
            </a:r>
            <a:fld id="{FCFF4EFD-FB54-454F-B629-D065EF27664A}" type="datetime'''''''''''''''5''''0''''.0''''''''3'''''''''">
              <a:rPr lang="en-US" altLang="en-US" sz="1400" smtClean="0">
                <a:solidFill>
                  <a:schemeClr val="tx1"/>
                </a:solidFill>
                <a:cs typeface="+mn-cs"/>
                <a:sym typeface="+mn-lt"/>
              </a:rPr>
              <a:pPr marL="0" indent="0" algn="ctr">
                <a:spcBef>
                  <a:spcPct val="0"/>
                </a:spcBef>
                <a:spcAft>
                  <a:spcPct val="0"/>
                </a:spcAft>
                <a:buNone/>
              </a:pPr>
              <a:t>50.03</a:t>
            </a:fld>
            <a:endParaRPr lang="en-US" sz="1400" dirty="0">
              <a:solidFill>
                <a:schemeClr val="tx1"/>
              </a:solidFill>
              <a:cs typeface="+mn-cs"/>
              <a:sym typeface="+mn-lt"/>
            </a:endParaRPr>
          </a:p>
        </p:txBody>
      </p:sp>
      <p:sp>
        <p:nvSpPr>
          <p:cNvPr id="46" name="Text Placeholder 3">
            <a:extLst>
              <a:ext uri="{FF2B5EF4-FFF2-40B4-BE49-F238E27FC236}">
                <a16:creationId xmlns:a16="http://schemas.microsoft.com/office/drawing/2014/main" id="{3B2C9E65-EB4B-4CA6-8AFB-534E37330C89}"/>
              </a:ext>
            </a:extLst>
          </p:cNvPr>
          <p:cNvSpPr>
            <a:spLocks noGrp="1"/>
          </p:cNvSpPr>
          <p:nvPr>
            <p:custDataLst>
              <p:tags r:id="rId9"/>
            </p:custDataLst>
          </p:nvPr>
        </p:nvSpPr>
        <p:spPr bwMode="gray">
          <a:xfrm>
            <a:off x="5969000" y="4951413"/>
            <a:ext cx="4699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00" dirty="0">
                <a:solidFill>
                  <a:schemeClr val="tx1"/>
                </a:solidFill>
                <a:cs typeface="+mn-cs"/>
                <a:sym typeface="+mn-lt"/>
              </a:rPr>
              <a:t>$</a:t>
            </a:r>
            <a:fld id="{09DA9E0F-6D67-4F36-AB6F-0494131417B9}" type="datetime'''''''6''''''''''''''''''''''''''''''.''''''''''''7''0'''''">
              <a:rPr lang="en-US" altLang="en-US" sz="1400" smtClean="0">
                <a:solidFill>
                  <a:schemeClr val="tx1"/>
                </a:solidFill>
                <a:cs typeface="+mn-cs"/>
                <a:sym typeface="+mn-lt"/>
              </a:rPr>
              <a:pPr marL="0" indent="0" algn="ctr">
                <a:spcBef>
                  <a:spcPct val="0"/>
                </a:spcBef>
                <a:spcAft>
                  <a:spcPct val="0"/>
                </a:spcAft>
                <a:buNone/>
              </a:pPr>
              <a:t>6.70</a:t>
            </a:fld>
            <a:endParaRPr lang="en-US" sz="1400" dirty="0">
              <a:solidFill>
                <a:schemeClr val="tx1"/>
              </a:solidFill>
              <a:cs typeface="+mn-cs"/>
              <a:sym typeface="+mn-lt"/>
            </a:endParaRPr>
          </a:p>
        </p:txBody>
      </p:sp>
      <p:sp>
        <p:nvSpPr>
          <p:cNvPr id="23" name="Text Placeholder 3">
            <a:extLst>
              <a:ext uri="{FF2B5EF4-FFF2-40B4-BE49-F238E27FC236}">
                <a16:creationId xmlns:a16="http://schemas.microsoft.com/office/drawing/2014/main" id="{5D1482A4-B350-49AD-9CAD-75824C91B84C}"/>
              </a:ext>
            </a:extLst>
          </p:cNvPr>
          <p:cNvSpPr>
            <a:spLocks noGrp="1"/>
          </p:cNvSpPr>
          <p:nvPr>
            <p:custDataLst>
              <p:tags r:id="rId10"/>
            </p:custDataLst>
          </p:nvPr>
        </p:nvSpPr>
        <p:spPr bwMode="auto">
          <a:xfrm>
            <a:off x="8712200" y="5548313"/>
            <a:ext cx="1114425" cy="638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270C5C0-1E56-41BB-8BAF-0D94CB4DB0B7}" type="datetime'Windo''w''s 10 si''''n''gle-session'' (''poo''le''d)'''''''''">
              <a:rPr lang="en-US" altLang="en-US" sz="1400" smtClean="0">
                <a:solidFill>
                  <a:schemeClr val="tx1"/>
                </a:solidFill>
                <a:cs typeface="+mn-cs"/>
                <a:sym typeface="+mn-lt"/>
              </a:rPr>
              <a:pPr/>
              <a:t>Windows 10 single-session (pooled)</a:t>
            </a:fld>
            <a:endParaRPr lang="en-US" sz="1400" dirty="0">
              <a:solidFill>
                <a:schemeClr val="tx1"/>
              </a:solidFill>
              <a:cs typeface="+mn-cs"/>
              <a:sym typeface="+mn-lt"/>
            </a:endParaRPr>
          </a:p>
        </p:txBody>
      </p:sp>
      <p:sp>
        <p:nvSpPr>
          <p:cNvPr id="49" name="Text Placeholder 3">
            <a:extLst>
              <a:ext uri="{FF2B5EF4-FFF2-40B4-BE49-F238E27FC236}">
                <a16:creationId xmlns:a16="http://schemas.microsoft.com/office/drawing/2014/main" id="{CB469BDE-63AC-468E-B926-DD1E3EAE771E}"/>
              </a:ext>
            </a:extLst>
          </p:cNvPr>
          <p:cNvSpPr>
            <a:spLocks noGrp="1"/>
          </p:cNvSpPr>
          <p:nvPr>
            <p:custDataLst>
              <p:tags r:id="rId11"/>
            </p:custDataLst>
          </p:nvPr>
        </p:nvSpPr>
        <p:spPr bwMode="gray">
          <a:xfrm>
            <a:off x="7502525" y="4951413"/>
            <a:ext cx="4699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00" dirty="0">
                <a:solidFill>
                  <a:schemeClr val="tx1"/>
                </a:solidFill>
                <a:cs typeface="+mn-cs"/>
                <a:sym typeface="+mn-lt"/>
              </a:rPr>
              <a:t>$</a:t>
            </a:r>
            <a:fld id="{4E3B6726-2E8C-4138-88CE-229A15E343BE}" type="datetime'''6''''''.''''''7''''''''0'''''''''''''''''''''">
              <a:rPr lang="en-US" altLang="en-US" sz="1400" smtClean="0">
                <a:solidFill>
                  <a:schemeClr val="tx1"/>
                </a:solidFill>
                <a:cs typeface="+mn-cs"/>
                <a:sym typeface="+mn-lt"/>
              </a:rPr>
              <a:pPr marL="0" indent="0" algn="ctr">
                <a:spcBef>
                  <a:spcPct val="0"/>
                </a:spcBef>
                <a:spcAft>
                  <a:spcPct val="0"/>
                </a:spcAft>
                <a:buNone/>
              </a:pPr>
              <a:t>6.70</a:t>
            </a:fld>
            <a:endParaRPr lang="en-US" sz="1400" dirty="0">
              <a:solidFill>
                <a:schemeClr val="tx1"/>
              </a:solidFill>
              <a:cs typeface="+mn-cs"/>
              <a:sym typeface="+mn-lt"/>
            </a:endParaRPr>
          </a:p>
        </p:txBody>
      </p:sp>
      <p:sp>
        <p:nvSpPr>
          <p:cNvPr id="25" name="Text Placeholder 3">
            <a:extLst>
              <a:ext uri="{FF2B5EF4-FFF2-40B4-BE49-F238E27FC236}">
                <a16:creationId xmlns:a16="http://schemas.microsoft.com/office/drawing/2014/main" id="{9DDDB611-7A3D-4875-8E22-2F9E7EA7E766}"/>
              </a:ext>
            </a:extLst>
          </p:cNvPr>
          <p:cNvSpPr>
            <a:spLocks noGrp="1"/>
          </p:cNvSpPr>
          <p:nvPr>
            <p:custDataLst>
              <p:tags r:id="rId12"/>
            </p:custDataLst>
          </p:nvPr>
        </p:nvSpPr>
        <p:spPr bwMode="auto">
          <a:xfrm>
            <a:off x="10245725" y="5548313"/>
            <a:ext cx="1114425" cy="638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5A0970D-BD5A-4F1E-85FA-755A92649F61}" type="datetime'W''''''indows'' ''10 sin''g''le''-s''ess''i''on ''(personal)'">
              <a:rPr lang="en-US" altLang="en-US" sz="1400" smtClean="0">
                <a:solidFill>
                  <a:schemeClr val="tx1"/>
                </a:solidFill>
                <a:cs typeface="+mn-cs"/>
                <a:sym typeface="+mn-lt"/>
              </a:rPr>
              <a:pPr/>
              <a:t>Windows 10 single-session (personal)</a:t>
            </a:fld>
            <a:endParaRPr lang="en-US" sz="1400" dirty="0">
              <a:solidFill>
                <a:schemeClr val="tx1"/>
              </a:solidFill>
              <a:cs typeface="+mn-cs"/>
              <a:sym typeface="+mn-lt"/>
            </a:endParaRPr>
          </a:p>
        </p:txBody>
      </p:sp>
      <p:sp>
        <p:nvSpPr>
          <p:cNvPr id="60" name="microsoft">
            <a:extLst>
              <a:ext uri="{FF2B5EF4-FFF2-40B4-BE49-F238E27FC236}">
                <a16:creationId xmlns:a16="http://schemas.microsoft.com/office/drawing/2014/main" id="{1F8AF05C-5CF9-4C2A-A78D-8CC33A5122C5}"/>
              </a:ext>
            </a:extLst>
          </p:cNvPr>
          <p:cNvSpPr/>
          <p:nvPr/>
        </p:nvSpPr>
        <p:spPr>
          <a:xfrm>
            <a:off x="6986511" y="3179934"/>
            <a:ext cx="3024181" cy="246221"/>
          </a:xfrm>
          <a:prstGeom prst="rect">
            <a:avLst/>
          </a:prstGeom>
        </p:spPr>
        <p:txBody>
          <a:bodyPr wrap="square" lIns="0" tIns="0" rIns="0" bIns="0" anchor="t" anchorCtr="0">
            <a:noAutofit/>
          </a:bodyPr>
          <a:lstStyle/>
          <a:p>
            <a:pPr fontAlgn="base">
              <a:spcBef>
                <a:spcPct val="0"/>
              </a:spcBef>
              <a:spcAft>
                <a:spcPts val="1200"/>
              </a:spcAft>
              <a:defRPr/>
            </a:pPr>
            <a:r>
              <a:rPr lang="en-US" sz="1600" b="1" dirty="0">
                <a:solidFill>
                  <a:schemeClr val="accent1"/>
                </a:solidFill>
              </a:rPr>
              <a:t>WVD Cost</a:t>
            </a:r>
            <a:r>
              <a:rPr lang="en-US" sz="1600" b="1" baseline="30000" dirty="0">
                <a:solidFill>
                  <a:schemeClr val="accent1"/>
                </a:solidFill>
              </a:rPr>
              <a:t>*</a:t>
            </a:r>
            <a:r>
              <a:rPr lang="en-US" sz="1600" b="1" dirty="0">
                <a:solidFill>
                  <a:schemeClr val="accent1"/>
                </a:solidFill>
              </a:rPr>
              <a:t> Per User Per Month</a:t>
            </a:r>
          </a:p>
        </p:txBody>
      </p:sp>
      <p:sp>
        <p:nvSpPr>
          <p:cNvPr id="61" name="TextBox 60">
            <a:extLst>
              <a:ext uri="{FF2B5EF4-FFF2-40B4-BE49-F238E27FC236}">
                <a16:creationId xmlns:a16="http://schemas.microsoft.com/office/drawing/2014/main" id="{0BA8A4A1-2CBB-4C0C-8E39-9B181DF36016}"/>
              </a:ext>
            </a:extLst>
          </p:cNvPr>
          <p:cNvSpPr txBox="1"/>
          <p:nvPr/>
        </p:nvSpPr>
        <p:spPr>
          <a:xfrm>
            <a:off x="586637" y="6322283"/>
            <a:ext cx="11011413" cy="307777"/>
          </a:xfrm>
          <a:prstGeom prst="rect">
            <a:avLst/>
          </a:prstGeom>
          <a:noFill/>
        </p:spPr>
        <p:txBody>
          <a:bodyPr wrap="square" lIns="0" tIns="0" rIns="0" bIns="0" rtlCol="0" anchor="b">
            <a:noAutofit/>
          </a:bodyPr>
          <a:lstStyle/>
          <a:p>
            <a:r>
              <a:rPr lang="en-US" sz="1000" dirty="0"/>
              <a:t>Note: Results generated by WVD Solution Configurator, an excel-based tool for sizing WVD opportunities; figures are rounded for simplicity</a:t>
            </a:r>
          </a:p>
          <a:p>
            <a:r>
              <a:rPr lang="en-US" sz="1000" dirty="0"/>
              <a:t>*License cost not included; Many customers already own licenses that qualify them for WVD (e.g. Win10 E3/E5, M365 E3/E5, VDA) and incur no additional license cost for WVD</a:t>
            </a:r>
          </a:p>
        </p:txBody>
      </p:sp>
      <p:sp>
        <p:nvSpPr>
          <p:cNvPr id="10" name="Title 9">
            <a:extLst>
              <a:ext uri="{FF2B5EF4-FFF2-40B4-BE49-F238E27FC236}">
                <a16:creationId xmlns:a16="http://schemas.microsoft.com/office/drawing/2014/main" id="{1C68E093-A505-498C-BB6B-93AB32C878FB}"/>
              </a:ext>
            </a:extLst>
          </p:cNvPr>
          <p:cNvSpPr>
            <a:spLocks noGrp="1"/>
          </p:cNvSpPr>
          <p:nvPr>
            <p:ph type="title"/>
          </p:nvPr>
        </p:nvSpPr>
        <p:spPr/>
        <p:txBody>
          <a:bodyPr/>
          <a:lstStyle/>
          <a:p>
            <a:r>
              <a:rPr lang="en-US" dirty="0"/>
              <a:t>WVD Infrastructure Cost</a:t>
            </a:r>
            <a:r>
              <a:rPr lang="en-US" baseline="30000" dirty="0"/>
              <a:t>*</a:t>
            </a:r>
            <a:r>
              <a:rPr lang="en-US" dirty="0"/>
              <a:t> at a Glance</a:t>
            </a:r>
          </a:p>
        </p:txBody>
      </p:sp>
      <p:sp>
        <p:nvSpPr>
          <p:cNvPr id="24" name="Rectangle 23">
            <a:extLst>
              <a:ext uri="{FF2B5EF4-FFF2-40B4-BE49-F238E27FC236}">
                <a16:creationId xmlns:a16="http://schemas.microsoft.com/office/drawing/2014/main" id="{95996236-0021-4C5C-BF47-1B335D8E9782}"/>
              </a:ext>
            </a:extLst>
          </p:cNvPr>
          <p:cNvSpPr/>
          <p:nvPr/>
        </p:nvSpPr>
        <p:spPr bwMode="auto">
          <a:xfrm>
            <a:off x="584200" y="1436688"/>
            <a:ext cx="11025188" cy="1544012"/>
          </a:xfrm>
          <a:prstGeom prst="rect">
            <a:avLst/>
          </a:prstGeom>
          <a:solidFill>
            <a:schemeClr val="bg1"/>
          </a:solid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0" tIns="45720" rIns="91440" bIns="45720" numCol="1" spcCol="0" rtlCol="0" fromWordArt="0" anchor="t" anchorCtr="0" forceAA="0" compatLnSpc="1">
            <a:prstTxWarp prst="textNoShape">
              <a:avLst/>
            </a:prstTxWarp>
            <a:noAutofit/>
          </a:bodyPr>
          <a:lstStyle/>
          <a:p>
            <a:pPr lvl="0" defTabSz="932472" fontAlgn="base">
              <a:spcBef>
                <a:spcPts val="200"/>
              </a:spcBef>
            </a:pPr>
            <a:r>
              <a:rPr lang="en-US" sz="1600" b="1" dirty="0">
                <a:solidFill>
                  <a:schemeClr val="tx2"/>
                </a:solidFill>
                <a:ea typeface="Segoe UI" pitchFamily="34" charset="0"/>
                <a:cs typeface="Segoe UI" pitchFamily="34" charset="0"/>
              </a:rPr>
              <a:t>Customer Requirements</a:t>
            </a:r>
          </a:p>
          <a:p>
            <a:pPr marL="344488" lvl="0" indent="-176213" defTabSz="932472" fontAlgn="base">
              <a:spcBef>
                <a:spcPts val="200"/>
              </a:spcBef>
              <a:buFont typeface="Arial" panose="020B0604020202020204" pitchFamily="34" charset="0"/>
              <a:buChar char="•"/>
            </a:pPr>
            <a:r>
              <a:rPr lang="en-US" sz="1400" dirty="0">
                <a:solidFill>
                  <a:schemeClr val="tx1"/>
                </a:solidFill>
                <a:cs typeface="Segoe UI" pitchFamily="34" charset="0"/>
              </a:rPr>
              <a:t>User Type: Medium (Microsoft Office apps users)</a:t>
            </a:r>
          </a:p>
          <a:p>
            <a:pPr marL="344488" lvl="0" indent="-176213" defTabSz="932472" fontAlgn="base">
              <a:spcBef>
                <a:spcPts val="200"/>
              </a:spcBef>
              <a:buFont typeface="Arial" panose="020B0604020202020204" pitchFamily="34" charset="0"/>
              <a:buChar char="•"/>
            </a:pPr>
            <a:r>
              <a:rPr lang="en-US" sz="1400" dirty="0">
                <a:solidFill>
                  <a:schemeClr val="tx1"/>
                </a:solidFill>
                <a:cs typeface="Segoe UI" pitchFamily="34" charset="0"/>
              </a:rPr>
              <a:t># of Users: 1,000</a:t>
            </a:r>
          </a:p>
          <a:p>
            <a:pPr marL="344488" lvl="0" indent="-176213" defTabSz="932472" fontAlgn="base">
              <a:spcBef>
                <a:spcPts val="200"/>
              </a:spcBef>
              <a:buFont typeface="Arial" panose="020B0604020202020204" pitchFamily="34" charset="0"/>
              <a:buChar char="•"/>
            </a:pPr>
            <a:r>
              <a:rPr lang="en-US" sz="1400" dirty="0">
                <a:solidFill>
                  <a:schemeClr val="tx1"/>
                </a:solidFill>
                <a:cs typeface="Segoe UI" pitchFamily="34" charset="0"/>
              </a:rPr>
              <a:t>Peak Concurrency: 80%</a:t>
            </a:r>
          </a:p>
          <a:p>
            <a:pPr marL="344488" lvl="0" indent="-176213" defTabSz="932472" fontAlgn="base">
              <a:spcBef>
                <a:spcPts val="200"/>
              </a:spcBef>
              <a:buFont typeface="Arial" panose="020B0604020202020204" pitchFamily="34" charset="0"/>
              <a:buChar char="•"/>
            </a:pPr>
            <a:r>
              <a:rPr lang="en-US" sz="1400" dirty="0">
                <a:solidFill>
                  <a:schemeClr val="tx1"/>
                </a:solidFill>
                <a:cs typeface="Segoe UI" pitchFamily="34" charset="0"/>
              </a:rPr>
              <a:t>Profile Storage Requirement: 20GB / user</a:t>
            </a:r>
          </a:p>
          <a:p>
            <a:pPr marL="344488" lvl="0" indent="-176213" defTabSz="932472" fontAlgn="base">
              <a:spcBef>
                <a:spcPts val="200"/>
              </a:spcBef>
              <a:buFont typeface="Arial" panose="020B0604020202020204" pitchFamily="34" charset="0"/>
              <a:buChar char="•"/>
            </a:pPr>
            <a:r>
              <a:rPr lang="en-US" sz="1400" dirty="0">
                <a:solidFill>
                  <a:schemeClr val="tx1"/>
                </a:solidFill>
                <a:cs typeface="Segoe UI" pitchFamily="34" charset="0"/>
              </a:rPr>
              <a:t>Network egress: 100 kpbs / user</a:t>
            </a:r>
          </a:p>
        </p:txBody>
      </p:sp>
      <p:sp>
        <p:nvSpPr>
          <p:cNvPr id="27" name="TextBox 26">
            <a:extLst>
              <a:ext uri="{FF2B5EF4-FFF2-40B4-BE49-F238E27FC236}">
                <a16:creationId xmlns:a16="http://schemas.microsoft.com/office/drawing/2014/main" id="{6B49D2B8-DCDB-4A8F-80B7-FBC3F2117314}"/>
              </a:ext>
            </a:extLst>
          </p:cNvPr>
          <p:cNvSpPr txBox="1"/>
          <p:nvPr/>
        </p:nvSpPr>
        <p:spPr>
          <a:xfrm>
            <a:off x="766168" y="3179934"/>
            <a:ext cx="3024181" cy="246221"/>
          </a:xfrm>
          <a:prstGeom prst="rect">
            <a:avLst/>
          </a:prstGeom>
          <a:noFill/>
          <a:ln w="6350">
            <a:noFill/>
          </a:ln>
        </p:spPr>
        <p:txBody>
          <a:bodyPr wrap="square" lIns="0" tIns="0" rIns="0" bIns="0" rtlCol="0" anchor="ctr">
            <a:noAutofit/>
          </a:bodyPr>
          <a:lstStyle/>
          <a:p>
            <a:r>
              <a:rPr lang="en-US" sz="1600" b="1" dirty="0">
                <a:solidFill>
                  <a:schemeClr val="accent1"/>
                </a:solidFill>
              </a:rPr>
              <a:t>Key Infrastructure Assumptions</a:t>
            </a:r>
          </a:p>
        </p:txBody>
      </p:sp>
      <p:sp>
        <p:nvSpPr>
          <p:cNvPr id="40" name="Freeform: Shape 39">
            <a:extLst>
              <a:ext uri="{FF2B5EF4-FFF2-40B4-BE49-F238E27FC236}">
                <a16:creationId xmlns:a16="http://schemas.microsoft.com/office/drawing/2014/main" id="{DFCA120D-DA40-4BA2-ACF0-7334ADA5B853}"/>
              </a:ext>
            </a:extLst>
          </p:cNvPr>
          <p:cNvSpPr>
            <a:spLocks/>
          </p:cNvSpPr>
          <p:nvPr/>
        </p:nvSpPr>
        <p:spPr bwMode="auto">
          <a:xfrm>
            <a:off x="612121" y="2236653"/>
            <a:ext cx="1381572" cy="695325"/>
          </a:xfrm>
          <a:custGeom>
            <a:avLst/>
            <a:gdLst>
              <a:gd name="connsiteX0" fmla="*/ 0 w 1381572"/>
              <a:gd name="connsiteY0" fmla="*/ 0 h 682358"/>
              <a:gd name="connsiteX1" fmla="*/ 1381572 w 1381572"/>
              <a:gd name="connsiteY1" fmla="*/ 0 h 682358"/>
              <a:gd name="connsiteX2" fmla="*/ 1381572 w 1381572"/>
              <a:gd name="connsiteY2" fmla="*/ 62248 h 682358"/>
              <a:gd name="connsiteX3" fmla="*/ 1381572 w 1381572"/>
              <a:gd name="connsiteY3" fmla="*/ 253727 h 682358"/>
              <a:gd name="connsiteX4" fmla="*/ 1308259 w 1381572"/>
              <a:gd name="connsiteY4" fmla="*/ 373264 h 682358"/>
              <a:gd name="connsiteX5" fmla="*/ 765995 w 1381572"/>
              <a:gd name="connsiteY5" fmla="*/ 663901 h 682358"/>
              <a:gd name="connsiteX6" fmla="*/ 616841 w 1381572"/>
              <a:gd name="connsiteY6" fmla="*/ 663901 h 682358"/>
              <a:gd name="connsiteX7" fmla="*/ 74577 w 1381572"/>
              <a:gd name="connsiteY7" fmla="*/ 373264 h 682358"/>
              <a:gd name="connsiteX8" fmla="*/ 0 w 1381572"/>
              <a:gd name="connsiteY8" fmla="*/ 253727 h 682358"/>
              <a:gd name="connsiteX9" fmla="*/ 0 w 1381572"/>
              <a:gd name="connsiteY9" fmla="*/ 8997 h 682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1572" h="682358">
                <a:moveTo>
                  <a:pt x="0" y="0"/>
                </a:moveTo>
                <a:lnTo>
                  <a:pt x="1381572" y="0"/>
                </a:lnTo>
                <a:lnTo>
                  <a:pt x="1381572" y="62248"/>
                </a:lnTo>
                <a:cubicBezTo>
                  <a:pt x="1381572" y="117766"/>
                  <a:pt x="1381572" y="181215"/>
                  <a:pt x="1381572" y="253727"/>
                </a:cubicBezTo>
                <a:cubicBezTo>
                  <a:pt x="1381572" y="302948"/>
                  <a:pt x="1353764" y="348653"/>
                  <a:pt x="1308259" y="373264"/>
                </a:cubicBezTo>
                <a:cubicBezTo>
                  <a:pt x="1308259" y="373264"/>
                  <a:pt x="1308259" y="373264"/>
                  <a:pt x="765995" y="663901"/>
                </a:cubicBezTo>
                <a:cubicBezTo>
                  <a:pt x="719227" y="688511"/>
                  <a:pt x="662346" y="688511"/>
                  <a:pt x="616841" y="663901"/>
                </a:cubicBezTo>
                <a:cubicBezTo>
                  <a:pt x="616841" y="663901"/>
                  <a:pt x="616841" y="663901"/>
                  <a:pt x="74577" y="373264"/>
                </a:cubicBezTo>
                <a:cubicBezTo>
                  <a:pt x="29073" y="348653"/>
                  <a:pt x="0" y="302948"/>
                  <a:pt x="0" y="253727"/>
                </a:cubicBezTo>
                <a:cubicBezTo>
                  <a:pt x="0" y="253727"/>
                  <a:pt x="0" y="253727"/>
                  <a:pt x="0" y="8997"/>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dirty="0">
              <a:latin typeface="Segoe UI Semilight" panose="020B0402040204020203" pitchFamily="34" charset="0"/>
              <a:cs typeface="Segoe UI Semilight" panose="020B0402040204020203" pitchFamily="34" charset="0"/>
            </a:endParaRPr>
          </a:p>
        </p:txBody>
      </p:sp>
      <p:grpSp>
        <p:nvGrpSpPr>
          <p:cNvPr id="41" name="Group 40">
            <a:extLst>
              <a:ext uri="{FF2B5EF4-FFF2-40B4-BE49-F238E27FC236}">
                <a16:creationId xmlns:a16="http://schemas.microsoft.com/office/drawing/2014/main" id="{686052D7-2C14-4D6E-8178-AAEA66B2D957}"/>
              </a:ext>
            </a:extLst>
          </p:cNvPr>
          <p:cNvGrpSpPr/>
          <p:nvPr/>
        </p:nvGrpSpPr>
        <p:grpSpPr>
          <a:xfrm>
            <a:off x="743676" y="1637751"/>
            <a:ext cx="1066074" cy="1117718"/>
            <a:chOff x="680622" y="1571643"/>
            <a:chExt cx="1192182" cy="1249934"/>
          </a:xfrm>
        </p:grpSpPr>
        <p:sp>
          <p:nvSpPr>
            <p:cNvPr id="42" name="Freeform 403">
              <a:extLst>
                <a:ext uri="{FF2B5EF4-FFF2-40B4-BE49-F238E27FC236}">
                  <a16:creationId xmlns:a16="http://schemas.microsoft.com/office/drawing/2014/main" id="{95E24DAE-5A2A-4C06-8EE2-DB7C4B319CA6}"/>
                </a:ext>
              </a:extLst>
            </p:cNvPr>
            <p:cNvSpPr>
              <a:spLocks/>
            </p:cNvSpPr>
            <p:nvPr/>
          </p:nvSpPr>
          <p:spPr bwMode="auto">
            <a:xfrm>
              <a:off x="680622" y="1571643"/>
              <a:ext cx="1192182" cy="124993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grpSp>
          <p:nvGrpSpPr>
            <p:cNvPr id="43" name="Group 42">
              <a:extLst>
                <a:ext uri="{FF2B5EF4-FFF2-40B4-BE49-F238E27FC236}">
                  <a16:creationId xmlns:a16="http://schemas.microsoft.com/office/drawing/2014/main" id="{C854DBB2-2CEF-4F75-8F12-93D95A21F1FD}"/>
                </a:ext>
              </a:extLst>
            </p:cNvPr>
            <p:cNvGrpSpPr/>
            <p:nvPr/>
          </p:nvGrpSpPr>
          <p:grpSpPr>
            <a:xfrm>
              <a:off x="781841" y="1811039"/>
              <a:ext cx="989744" cy="666368"/>
              <a:chOff x="9258300" y="2510790"/>
              <a:chExt cx="2755900" cy="1855470"/>
            </a:xfrm>
          </p:grpSpPr>
          <p:sp>
            <p:nvSpPr>
              <p:cNvPr id="47" name="AutoShape 224">
                <a:extLst>
                  <a:ext uri="{FF2B5EF4-FFF2-40B4-BE49-F238E27FC236}">
                    <a16:creationId xmlns:a16="http://schemas.microsoft.com/office/drawing/2014/main" id="{5C11E866-434D-44A7-8BA2-D989934FA96E}"/>
                  </a:ext>
                </a:extLst>
              </p:cNvPr>
              <p:cNvSpPr>
                <a:spLocks noChangeAspect="1" noChangeArrowheads="1" noTextEdit="1"/>
              </p:cNvSpPr>
              <p:nvPr/>
            </p:nvSpPr>
            <p:spPr bwMode="auto">
              <a:xfrm>
                <a:off x="9258300" y="2510790"/>
                <a:ext cx="2752725" cy="183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8" name="Freeform 286">
                <a:extLst>
                  <a:ext uri="{FF2B5EF4-FFF2-40B4-BE49-F238E27FC236}">
                    <a16:creationId xmlns:a16="http://schemas.microsoft.com/office/drawing/2014/main" id="{C01DE2A7-DE7C-46F8-875B-64BD508393C2}"/>
                  </a:ext>
                </a:extLst>
              </p:cNvPr>
              <p:cNvSpPr>
                <a:spLocks/>
              </p:cNvSpPr>
              <p:nvPr/>
            </p:nvSpPr>
            <p:spPr bwMode="auto">
              <a:xfrm>
                <a:off x="10520363" y="3496628"/>
                <a:ext cx="211138" cy="84138"/>
              </a:xfrm>
              <a:custGeom>
                <a:avLst/>
                <a:gdLst>
                  <a:gd name="T0" fmla="*/ 0 w 133"/>
                  <a:gd name="T1" fmla="*/ 53 h 53"/>
                  <a:gd name="T2" fmla="*/ 133 w 133"/>
                  <a:gd name="T3" fmla="*/ 53 h 53"/>
                  <a:gd name="T4" fmla="*/ 133 w 133"/>
                  <a:gd name="T5" fmla="*/ 28 h 53"/>
                  <a:gd name="T6" fmla="*/ 0 w 133"/>
                  <a:gd name="T7" fmla="*/ 0 h 53"/>
                  <a:gd name="T8" fmla="*/ 0 w 133"/>
                  <a:gd name="T9" fmla="*/ 53 h 53"/>
                </a:gdLst>
                <a:ahLst/>
                <a:cxnLst>
                  <a:cxn ang="0">
                    <a:pos x="T0" y="T1"/>
                  </a:cxn>
                  <a:cxn ang="0">
                    <a:pos x="T2" y="T3"/>
                  </a:cxn>
                  <a:cxn ang="0">
                    <a:pos x="T4" y="T5"/>
                  </a:cxn>
                  <a:cxn ang="0">
                    <a:pos x="T6" y="T7"/>
                  </a:cxn>
                  <a:cxn ang="0">
                    <a:pos x="T8" y="T9"/>
                  </a:cxn>
                </a:cxnLst>
                <a:rect l="0" t="0" r="r" b="b"/>
                <a:pathLst>
                  <a:path w="133" h="53">
                    <a:moveTo>
                      <a:pt x="0" y="53"/>
                    </a:moveTo>
                    <a:lnTo>
                      <a:pt x="133" y="53"/>
                    </a:lnTo>
                    <a:lnTo>
                      <a:pt x="133" y="28"/>
                    </a:lnTo>
                    <a:lnTo>
                      <a:pt x="0" y="0"/>
                    </a:lnTo>
                    <a:lnTo>
                      <a:pt x="0"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nvGrpSpPr>
              <p:cNvPr id="50" name="Group 49">
                <a:extLst>
                  <a:ext uri="{FF2B5EF4-FFF2-40B4-BE49-F238E27FC236}">
                    <a16:creationId xmlns:a16="http://schemas.microsoft.com/office/drawing/2014/main" id="{4E191898-8CE0-4F4B-A5C6-80EED73697B1}"/>
                  </a:ext>
                </a:extLst>
              </p:cNvPr>
              <p:cNvGrpSpPr/>
              <p:nvPr/>
            </p:nvGrpSpPr>
            <p:grpSpPr>
              <a:xfrm>
                <a:off x="10621295" y="3302080"/>
                <a:ext cx="565607" cy="1056052"/>
                <a:chOff x="3119809" y="5200964"/>
                <a:chExt cx="401638" cy="766764"/>
              </a:xfrm>
            </p:grpSpPr>
            <p:grpSp>
              <p:nvGrpSpPr>
                <p:cNvPr id="124" name="Group 123">
                  <a:extLst>
                    <a:ext uri="{FF2B5EF4-FFF2-40B4-BE49-F238E27FC236}">
                      <a16:creationId xmlns:a16="http://schemas.microsoft.com/office/drawing/2014/main" id="{784C9594-754E-4635-A7F1-C6D2753E2E72}"/>
                    </a:ext>
                  </a:extLst>
                </p:cNvPr>
                <p:cNvGrpSpPr/>
                <p:nvPr/>
              </p:nvGrpSpPr>
              <p:grpSpPr>
                <a:xfrm>
                  <a:off x="3247180" y="5200964"/>
                  <a:ext cx="200026" cy="365126"/>
                  <a:chOff x="3321421" y="5200965"/>
                  <a:chExt cx="200026" cy="365126"/>
                </a:xfrm>
              </p:grpSpPr>
              <p:sp>
                <p:nvSpPr>
                  <p:cNvPr id="131" name="Freeform 76">
                    <a:extLst>
                      <a:ext uri="{FF2B5EF4-FFF2-40B4-BE49-F238E27FC236}">
                        <a16:creationId xmlns:a16="http://schemas.microsoft.com/office/drawing/2014/main" id="{DC0C7FA2-1FED-4029-BF23-1AF3342C73C5}"/>
                      </a:ext>
                    </a:extLst>
                  </p:cNvPr>
                  <p:cNvSpPr>
                    <a:spLocks/>
                  </p:cNvSpPr>
                  <p:nvPr/>
                </p:nvSpPr>
                <p:spPr bwMode="auto">
                  <a:xfrm flipH="1">
                    <a:off x="3438897" y="5297803"/>
                    <a:ext cx="34925" cy="268288"/>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132" name="Freeform 73">
                    <a:extLst>
                      <a:ext uri="{FF2B5EF4-FFF2-40B4-BE49-F238E27FC236}">
                        <a16:creationId xmlns:a16="http://schemas.microsoft.com/office/drawing/2014/main" id="{6965F9FF-587A-4347-BA20-17D17330E33B}"/>
                      </a:ext>
                    </a:extLst>
                  </p:cNvPr>
                  <p:cNvSpPr>
                    <a:spLocks/>
                  </p:cNvSpPr>
                  <p:nvPr/>
                </p:nvSpPr>
                <p:spPr bwMode="auto">
                  <a:xfrm flipH="1">
                    <a:off x="3321421" y="5200965"/>
                    <a:ext cx="71438" cy="225425"/>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133" name="Freeform 74">
                    <a:extLst>
                      <a:ext uri="{FF2B5EF4-FFF2-40B4-BE49-F238E27FC236}">
                        <a16:creationId xmlns:a16="http://schemas.microsoft.com/office/drawing/2014/main" id="{4257C3BE-9685-4E96-9094-8324D420A7ED}"/>
                      </a:ext>
                    </a:extLst>
                  </p:cNvPr>
                  <p:cNvSpPr>
                    <a:spLocks/>
                  </p:cNvSpPr>
                  <p:nvPr/>
                </p:nvSpPr>
                <p:spPr bwMode="auto">
                  <a:xfrm flipH="1">
                    <a:off x="3346822" y="5200965"/>
                    <a:ext cx="174625" cy="223838"/>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134" name="Freeform 75">
                    <a:extLst>
                      <a:ext uri="{FF2B5EF4-FFF2-40B4-BE49-F238E27FC236}">
                        <a16:creationId xmlns:a16="http://schemas.microsoft.com/office/drawing/2014/main" id="{CF6C1FD0-6DF3-4D85-B923-EE4F8340C6DD}"/>
                      </a:ext>
                    </a:extLst>
                  </p:cNvPr>
                  <p:cNvSpPr>
                    <a:spLocks/>
                  </p:cNvSpPr>
                  <p:nvPr/>
                </p:nvSpPr>
                <p:spPr bwMode="auto">
                  <a:xfrm flipH="1">
                    <a:off x="3346821" y="5200965"/>
                    <a:ext cx="61913" cy="223838"/>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grpSp>
            <p:sp>
              <p:nvSpPr>
                <p:cNvPr id="125" name="Freeform 67">
                  <a:extLst>
                    <a:ext uri="{FF2B5EF4-FFF2-40B4-BE49-F238E27FC236}">
                      <a16:creationId xmlns:a16="http://schemas.microsoft.com/office/drawing/2014/main" id="{E0D5D50E-FE05-4A40-AC3E-A5116323B266}"/>
                    </a:ext>
                  </a:extLst>
                </p:cNvPr>
                <p:cNvSpPr>
                  <a:spLocks/>
                </p:cNvSpPr>
                <p:nvPr/>
              </p:nvSpPr>
              <p:spPr bwMode="auto">
                <a:xfrm flipH="1">
                  <a:off x="3299196" y="5566090"/>
                  <a:ext cx="42863" cy="333375"/>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126" name="Freeform 68">
                  <a:extLst>
                    <a:ext uri="{FF2B5EF4-FFF2-40B4-BE49-F238E27FC236}">
                      <a16:creationId xmlns:a16="http://schemas.microsoft.com/office/drawing/2014/main" id="{EAA82576-D1E3-401C-8EFF-BE38207923EB}"/>
                    </a:ext>
                  </a:extLst>
                </p:cNvPr>
                <p:cNvSpPr>
                  <a:spLocks/>
                </p:cNvSpPr>
                <p:nvPr/>
              </p:nvSpPr>
              <p:spPr bwMode="auto">
                <a:xfrm flipH="1">
                  <a:off x="3119809" y="5524815"/>
                  <a:ext cx="401638" cy="63500"/>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127" name="Freeform 69">
                  <a:extLst>
                    <a:ext uri="{FF2B5EF4-FFF2-40B4-BE49-F238E27FC236}">
                      <a16:creationId xmlns:a16="http://schemas.microsoft.com/office/drawing/2014/main" id="{6C971BBA-EA79-4502-94E9-C866F5844C36}"/>
                    </a:ext>
                  </a:extLst>
                </p:cNvPr>
                <p:cNvSpPr>
                  <a:spLocks/>
                </p:cNvSpPr>
                <p:nvPr/>
              </p:nvSpPr>
              <p:spPr bwMode="auto">
                <a:xfrm flipH="1">
                  <a:off x="3119809" y="5524815"/>
                  <a:ext cx="360363" cy="63500"/>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128" name="Freeform 70">
                  <a:extLst>
                    <a:ext uri="{FF2B5EF4-FFF2-40B4-BE49-F238E27FC236}">
                      <a16:creationId xmlns:a16="http://schemas.microsoft.com/office/drawing/2014/main" id="{0747129B-4033-4440-8F47-1F27DC657D95}"/>
                    </a:ext>
                  </a:extLst>
                </p:cNvPr>
                <p:cNvSpPr>
                  <a:spLocks/>
                </p:cNvSpPr>
                <p:nvPr/>
              </p:nvSpPr>
              <p:spPr bwMode="auto">
                <a:xfrm flipH="1">
                  <a:off x="3170609" y="5832790"/>
                  <a:ext cx="298450" cy="101600"/>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129" name="Oval 71">
                  <a:extLst>
                    <a:ext uri="{FF2B5EF4-FFF2-40B4-BE49-F238E27FC236}">
                      <a16:creationId xmlns:a16="http://schemas.microsoft.com/office/drawing/2014/main" id="{54B7F99E-9E7B-4758-86BD-513E7CBFBF13}"/>
                    </a:ext>
                  </a:extLst>
                </p:cNvPr>
                <p:cNvSpPr>
                  <a:spLocks noChangeArrowheads="1"/>
                </p:cNvSpPr>
                <p:nvPr/>
              </p:nvSpPr>
              <p:spPr bwMode="auto">
                <a:xfrm flipH="1">
                  <a:off x="3419847" y="5918515"/>
                  <a:ext cx="47625" cy="492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130" name="Oval 72">
                  <a:extLst>
                    <a:ext uri="{FF2B5EF4-FFF2-40B4-BE49-F238E27FC236}">
                      <a16:creationId xmlns:a16="http://schemas.microsoft.com/office/drawing/2014/main" id="{4587DC31-46C4-40CE-9C78-282AC70D231D}"/>
                    </a:ext>
                  </a:extLst>
                </p:cNvPr>
                <p:cNvSpPr>
                  <a:spLocks noChangeArrowheads="1"/>
                </p:cNvSpPr>
                <p:nvPr/>
              </p:nvSpPr>
              <p:spPr bwMode="auto">
                <a:xfrm flipH="1">
                  <a:off x="3172197" y="5918515"/>
                  <a:ext cx="47625" cy="492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grpSp>
          <p:sp>
            <p:nvSpPr>
              <p:cNvPr id="51" name="Freeform 222">
                <a:extLst>
                  <a:ext uri="{FF2B5EF4-FFF2-40B4-BE49-F238E27FC236}">
                    <a16:creationId xmlns:a16="http://schemas.microsoft.com/office/drawing/2014/main" id="{4D9856FB-8CFA-475D-8CA7-4930E76DF50A}"/>
                  </a:ext>
                </a:extLst>
              </p:cNvPr>
              <p:cNvSpPr>
                <a:spLocks/>
              </p:cNvSpPr>
              <p:nvPr/>
            </p:nvSpPr>
            <p:spPr bwMode="auto">
              <a:xfrm>
                <a:off x="10202972" y="4266990"/>
                <a:ext cx="243989" cy="94399"/>
              </a:xfrm>
              <a:custGeom>
                <a:avLst/>
                <a:gdLst>
                  <a:gd name="T0" fmla="*/ 110 w 110"/>
                  <a:gd name="T1" fmla="*/ 44 h 44"/>
                  <a:gd name="T2" fmla="*/ 110 w 110"/>
                  <a:gd name="T3" fmla="*/ 0 h 44"/>
                  <a:gd name="T4" fmla="*/ 61 w 110"/>
                  <a:gd name="T5" fmla="*/ 0 h 44"/>
                  <a:gd name="T6" fmla="*/ 0 w 110"/>
                  <a:gd name="T7" fmla="*/ 44 h 44"/>
                  <a:gd name="T8" fmla="*/ 110 w 110"/>
                  <a:gd name="T9" fmla="*/ 44 h 44"/>
                </a:gdLst>
                <a:ahLst/>
                <a:cxnLst>
                  <a:cxn ang="0">
                    <a:pos x="T0" y="T1"/>
                  </a:cxn>
                  <a:cxn ang="0">
                    <a:pos x="T2" y="T3"/>
                  </a:cxn>
                  <a:cxn ang="0">
                    <a:pos x="T4" y="T5"/>
                  </a:cxn>
                  <a:cxn ang="0">
                    <a:pos x="T6" y="T7"/>
                  </a:cxn>
                  <a:cxn ang="0">
                    <a:pos x="T8" y="T9"/>
                  </a:cxn>
                </a:cxnLst>
                <a:rect l="0" t="0" r="r" b="b"/>
                <a:pathLst>
                  <a:path w="110" h="44">
                    <a:moveTo>
                      <a:pt x="110" y="44"/>
                    </a:moveTo>
                    <a:cubicBezTo>
                      <a:pt x="110" y="0"/>
                      <a:pt x="110" y="0"/>
                      <a:pt x="110" y="0"/>
                    </a:cubicBezTo>
                    <a:cubicBezTo>
                      <a:pt x="61" y="0"/>
                      <a:pt x="61" y="0"/>
                      <a:pt x="61" y="0"/>
                    </a:cubicBezTo>
                    <a:cubicBezTo>
                      <a:pt x="33" y="0"/>
                      <a:pt x="9" y="18"/>
                      <a:pt x="0" y="44"/>
                    </a:cubicBezTo>
                    <a:lnTo>
                      <a:pt x="11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53" name="Freeform 224">
                <a:extLst>
                  <a:ext uri="{FF2B5EF4-FFF2-40B4-BE49-F238E27FC236}">
                    <a16:creationId xmlns:a16="http://schemas.microsoft.com/office/drawing/2014/main" id="{B48F9DFF-BDA7-4683-98BA-C2FC6E6683BC}"/>
                  </a:ext>
                </a:extLst>
              </p:cNvPr>
              <p:cNvSpPr>
                <a:spLocks/>
              </p:cNvSpPr>
              <p:nvPr/>
            </p:nvSpPr>
            <p:spPr bwMode="auto">
              <a:xfrm>
                <a:off x="10331668" y="3550425"/>
                <a:ext cx="573773" cy="718680"/>
              </a:xfrm>
              <a:custGeom>
                <a:avLst/>
                <a:gdLst>
                  <a:gd name="T0" fmla="*/ 142 w 259"/>
                  <a:gd name="T1" fmla="*/ 0 h 303"/>
                  <a:gd name="T2" fmla="*/ 142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91 h 303"/>
                  <a:gd name="T20" fmla="*/ 180 w 259"/>
                  <a:gd name="T21" fmla="*/ 92 h 303"/>
                  <a:gd name="T22" fmla="*/ 182 w 259"/>
                  <a:gd name="T23" fmla="*/ 88 h 303"/>
                  <a:gd name="T24" fmla="*/ 259 w 259"/>
                  <a:gd name="T25" fmla="*/ 0 h 303"/>
                  <a:gd name="T26" fmla="*/ 142 w 259"/>
                  <a:gd name="T2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303">
                    <a:moveTo>
                      <a:pt x="142" y="0"/>
                    </a:moveTo>
                    <a:cubicBezTo>
                      <a:pt x="142" y="1"/>
                      <a:pt x="142" y="1"/>
                      <a:pt x="142"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91"/>
                      <a:pt x="67" y="91"/>
                      <a:pt x="67" y="91"/>
                    </a:cubicBezTo>
                    <a:cubicBezTo>
                      <a:pt x="180" y="92"/>
                      <a:pt x="180" y="92"/>
                      <a:pt x="180" y="92"/>
                    </a:cubicBezTo>
                    <a:cubicBezTo>
                      <a:pt x="181" y="87"/>
                      <a:pt x="182" y="88"/>
                      <a:pt x="182" y="88"/>
                    </a:cubicBezTo>
                    <a:cubicBezTo>
                      <a:pt x="225" y="88"/>
                      <a:pt x="259" y="43"/>
                      <a:pt x="259" y="0"/>
                    </a:cubicBezTo>
                    <a:lnTo>
                      <a:pt x="142" y="0"/>
                    </a:lnTo>
                    <a:close/>
                  </a:path>
                </a:pathLst>
              </a:custGeom>
              <a:solidFill>
                <a:srgbClr val="4D0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54" name="Freeform 225">
                <a:extLst>
                  <a:ext uri="{FF2B5EF4-FFF2-40B4-BE49-F238E27FC236}">
                    <a16:creationId xmlns:a16="http://schemas.microsoft.com/office/drawing/2014/main" id="{EAA21E16-0BC3-49D4-9E49-53C198A6D5E6}"/>
                  </a:ext>
                </a:extLst>
              </p:cNvPr>
              <p:cNvSpPr>
                <a:spLocks/>
              </p:cNvSpPr>
              <p:nvPr/>
            </p:nvSpPr>
            <p:spPr bwMode="auto">
              <a:xfrm>
                <a:off x="10519351" y="3560915"/>
                <a:ext cx="576454" cy="700559"/>
              </a:xfrm>
              <a:custGeom>
                <a:avLst/>
                <a:gdLst>
                  <a:gd name="T0" fmla="*/ 133 w 259"/>
                  <a:gd name="T1" fmla="*/ 0 h 303"/>
                  <a:gd name="T2" fmla="*/ 133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87 h 303"/>
                  <a:gd name="T20" fmla="*/ 182 w 259"/>
                  <a:gd name="T21" fmla="*/ 88 h 303"/>
                  <a:gd name="T22" fmla="*/ 259 w 259"/>
                  <a:gd name="T23" fmla="*/ 0 h 303"/>
                  <a:gd name="T24" fmla="*/ 133 w 259"/>
                  <a:gd name="T25"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303">
                    <a:moveTo>
                      <a:pt x="133" y="0"/>
                    </a:moveTo>
                    <a:cubicBezTo>
                      <a:pt x="133" y="1"/>
                      <a:pt x="133" y="1"/>
                      <a:pt x="133"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87"/>
                      <a:pt x="67" y="87"/>
                      <a:pt x="67" y="87"/>
                    </a:cubicBezTo>
                    <a:cubicBezTo>
                      <a:pt x="67" y="87"/>
                      <a:pt x="181" y="88"/>
                      <a:pt x="182" y="88"/>
                    </a:cubicBezTo>
                    <a:cubicBezTo>
                      <a:pt x="225" y="88"/>
                      <a:pt x="259" y="43"/>
                      <a:pt x="259" y="0"/>
                    </a:cubicBezTo>
                    <a:lnTo>
                      <a:pt x="133"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56" name="Freeform 226">
                <a:extLst>
                  <a:ext uri="{FF2B5EF4-FFF2-40B4-BE49-F238E27FC236}">
                    <a16:creationId xmlns:a16="http://schemas.microsoft.com/office/drawing/2014/main" id="{CA89AFF1-29CE-45C8-BD24-2BFCC26B8A24}"/>
                  </a:ext>
                </a:extLst>
              </p:cNvPr>
              <p:cNvSpPr>
                <a:spLocks/>
              </p:cNvSpPr>
              <p:nvPr/>
            </p:nvSpPr>
            <p:spPr bwMode="auto">
              <a:xfrm>
                <a:off x="10390655" y="4266990"/>
                <a:ext cx="241306" cy="94399"/>
              </a:xfrm>
              <a:custGeom>
                <a:avLst/>
                <a:gdLst>
                  <a:gd name="T0" fmla="*/ 109 w 109"/>
                  <a:gd name="T1" fmla="*/ 44 h 44"/>
                  <a:gd name="T2" fmla="*/ 109 w 109"/>
                  <a:gd name="T3" fmla="*/ 0 h 44"/>
                  <a:gd name="T4" fmla="*/ 61 w 109"/>
                  <a:gd name="T5" fmla="*/ 0 h 44"/>
                  <a:gd name="T6" fmla="*/ 0 w 109"/>
                  <a:gd name="T7" fmla="*/ 44 h 44"/>
                  <a:gd name="T8" fmla="*/ 109 w 109"/>
                  <a:gd name="T9" fmla="*/ 44 h 44"/>
                </a:gdLst>
                <a:ahLst/>
                <a:cxnLst>
                  <a:cxn ang="0">
                    <a:pos x="T0" y="T1"/>
                  </a:cxn>
                  <a:cxn ang="0">
                    <a:pos x="T2" y="T3"/>
                  </a:cxn>
                  <a:cxn ang="0">
                    <a:pos x="T4" y="T5"/>
                  </a:cxn>
                  <a:cxn ang="0">
                    <a:pos x="T6" y="T7"/>
                  </a:cxn>
                  <a:cxn ang="0">
                    <a:pos x="T8" y="T9"/>
                  </a:cxn>
                </a:cxnLst>
                <a:rect l="0" t="0" r="r" b="b"/>
                <a:pathLst>
                  <a:path w="109" h="44">
                    <a:moveTo>
                      <a:pt x="109" y="44"/>
                    </a:moveTo>
                    <a:cubicBezTo>
                      <a:pt x="109" y="0"/>
                      <a:pt x="109" y="0"/>
                      <a:pt x="109" y="0"/>
                    </a:cubicBezTo>
                    <a:cubicBezTo>
                      <a:pt x="61" y="0"/>
                      <a:pt x="61" y="0"/>
                      <a:pt x="61" y="0"/>
                    </a:cubicBezTo>
                    <a:cubicBezTo>
                      <a:pt x="33" y="0"/>
                      <a:pt x="9" y="18"/>
                      <a:pt x="0" y="44"/>
                    </a:cubicBezTo>
                    <a:lnTo>
                      <a:pt x="109"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57" name="Freeform 228">
                <a:extLst>
                  <a:ext uri="{FF2B5EF4-FFF2-40B4-BE49-F238E27FC236}">
                    <a16:creationId xmlns:a16="http://schemas.microsoft.com/office/drawing/2014/main" id="{099572D1-B9E1-445A-A093-34380B062A5B}"/>
                  </a:ext>
                </a:extLst>
              </p:cNvPr>
              <p:cNvSpPr>
                <a:spLocks/>
              </p:cNvSpPr>
              <p:nvPr/>
            </p:nvSpPr>
            <p:spPr bwMode="auto">
              <a:xfrm>
                <a:off x="10272682" y="3211501"/>
                <a:ext cx="541599" cy="362730"/>
              </a:xfrm>
              <a:custGeom>
                <a:avLst/>
                <a:gdLst>
                  <a:gd name="T0" fmla="*/ 243 w 243"/>
                  <a:gd name="T1" fmla="*/ 0 h 152"/>
                  <a:gd name="T2" fmla="*/ 188 w 243"/>
                  <a:gd name="T3" fmla="*/ 0 h 152"/>
                  <a:gd name="T4" fmla="*/ 188 w 243"/>
                  <a:gd name="T5" fmla="*/ 72 h 152"/>
                  <a:gd name="T6" fmla="*/ 183 w 243"/>
                  <a:gd name="T7" fmla="*/ 78 h 152"/>
                  <a:gd name="T8" fmla="*/ 77 w 243"/>
                  <a:gd name="T9" fmla="*/ 108 h 152"/>
                  <a:gd name="T10" fmla="*/ 0 w 243"/>
                  <a:gd name="T11" fmla="*/ 152 h 152"/>
                  <a:gd name="T12" fmla="*/ 77 w 243"/>
                  <a:gd name="T13" fmla="*/ 152 h 152"/>
                  <a:gd name="T14" fmla="*/ 216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8" y="0"/>
                      <a:pt x="188" y="0"/>
                      <a:pt x="188" y="0"/>
                    </a:cubicBezTo>
                    <a:cubicBezTo>
                      <a:pt x="188" y="72"/>
                      <a:pt x="188" y="72"/>
                      <a:pt x="188" y="72"/>
                    </a:cubicBezTo>
                    <a:cubicBezTo>
                      <a:pt x="188" y="75"/>
                      <a:pt x="186" y="78"/>
                      <a:pt x="183" y="78"/>
                    </a:cubicBezTo>
                    <a:cubicBezTo>
                      <a:pt x="77" y="108"/>
                      <a:pt x="77" y="108"/>
                      <a:pt x="77" y="108"/>
                    </a:cubicBezTo>
                    <a:cubicBezTo>
                      <a:pt x="4" y="108"/>
                      <a:pt x="0" y="152"/>
                      <a:pt x="0" y="152"/>
                    </a:cubicBezTo>
                    <a:cubicBezTo>
                      <a:pt x="77" y="152"/>
                      <a:pt x="77" y="152"/>
                      <a:pt x="77" y="152"/>
                    </a:cubicBezTo>
                    <a:cubicBezTo>
                      <a:pt x="216" y="125"/>
                      <a:pt x="216" y="125"/>
                      <a:pt x="216" y="125"/>
                    </a:cubicBezTo>
                    <a:cubicBezTo>
                      <a:pt x="231" y="123"/>
                      <a:pt x="243" y="110"/>
                      <a:pt x="243" y="94"/>
                    </a:cubicBezTo>
                    <a:lnTo>
                      <a:pt x="243"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58" name="Freeform 229">
                <a:extLst>
                  <a:ext uri="{FF2B5EF4-FFF2-40B4-BE49-F238E27FC236}">
                    <a16:creationId xmlns:a16="http://schemas.microsoft.com/office/drawing/2014/main" id="{6D34D9C4-FFCA-48CD-B9A7-9D7FE55A61EC}"/>
                  </a:ext>
                </a:extLst>
              </p:cNvPr>
              <p:cNvSpPr>
                <a:spLocks/>
              </p:cNvSpPr>
              <p:nvPr/>
            </p:nvSpPr>
            <p:spPr bwMode="auto">
              <a:xfrm>
                <a:off x="10830368" y="2831938"/>
                <a:ext cx="252030" cy="409067"/>
              </a:xfrm>
              <a:custGeom>
                <a:avLst/>
                <a:gdLst>
                  <a:gd name="T0" fmla="*/ 81 w 113"/>
                  <a:gd name="T1" fmla="*/ 60 h 189"/>
                  <a:gd name="T2" fmla="*/ 81 w 113"/>
                  <a:gd name="T3" fmla="*/ 0 h 189"/>
                  <a:gd name="T4" fmla="*/ 23 w 113"/>
                  <a:gd name="T5" fmla="*/ 0 h 189"/>
                  <a:gd name="T6" fmla="*/ 22 w 113"/>
                  <a:gd name="T7" fmla="*/ 59 h 189"/>
                  <a:gd name="T8" fmla="*/ 15 w 113"/>
                  <a:gd name="T9" fmla="*/ 64 h 189"/>
                  <a:gd name="T10" fmla="*/ 0 w 113"/>
                  <a:gd name="T11" fmla="*/ 64 h 189"/>
                  <a:gd name="T12" fmla="*/ 0 w 113"/>
                  <a:gd name="T13" fmla="*/ 189 h 189"/>
                  <a:gd name="T14" fmla="*/ 113 w 113"/>
                  <a:gd name="T15" fmla="*/ 189 h 189"/>
                  <a:gd name="T16" fmla="*/ 113 w 113"/>
                  <a:gd name="T17" fmla="*/ 64 h 189"/>
                  <a:gd name="T18" fmla="*/ 85 w 113"/>
                  <a:gd name="T19" fmla="*/ 64 h 189"/>
                  <a:gd name="T20" fmla="*/ 81 w 113"/>
                  <a:gd name="T21" fmla="*/ 6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89">
                    <a:moveTo>
                      <a:pt x="81" y="60"/>
                    </a:moveTo>
                    <a:cubicBezTo>
                      <a:pt x="81" y="0"/>
                      <a:pt x="81" y="0"/>
                      <a:pt x="81" y="0"/>
                    </a:cubicBezTo>
                    <a:cubicBezTo>
                      <a:pt x="23" y="0"/>
                      <a:pt x="23" y="0"/>
                      <a:pt x="23" y="0"/>
                    </a:cubicBezTo>
                    <a:cubicBezTo>
                      <a:pt x="22" y="59"/>
                      <a:pt x="22" y="59"/>
                      <a:pt x="22" y="59"/>
                    </a:cubicBezTo>
                    <a:cubicBezTo>
                      <a:pt x="21" y="62"/>
                      <a:pt x="18" y="64"/>
                      <a:pt x="15" y="64"/>
                    </a:cubicBezTo>
                    <a:cubicBezTo>
                      <a:pt x="0" y="64"/>
                      <a:pt x="0" y="64"/>
                      <a:pt x="0" y="64"/>
                    </a:cubicBezTo>
                    <a:cubicBezTo>
                      <a:pt x="0" y="189"/>
                      <a:pt x="0" y="189"/>
                      <a:pt x="0" y="189"/>
                    </a:cubicBezTo>
                    <a:cubicBezTo>
                      <a:pt x="113" y="189"/>
                      <a:pt x="113" y="189"/>
                      <a:pt x="113" y="189"/>
                    </a:cubicBezTo>
                    <a:cubicBezTo>
                      <a:pt x="113" y="64"/>
                      <a:pt x="113" y="64"/>
                      <a:pt x="113" y="64"/>
                    </a:cubicBezTo>
                    <a:cubicBezTo>
                      <a:pt x="85" y="64"/>
                      <a:pt x="85" y="64"/>
                      <a:pt x="85" y="64"/>
                    </a:cubicBezTo>
                    <a:cubicBezTo>
                      <a:pt x="83" y="64"/>
                      <a:pt x="81" y="62"/>
                      <a:pt x="81" y="60"/>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59" name="Freeform 230">
                <a:extLst>
                  <a:ext uri="{FF2B5EF4-FFF2-40B4-BE49-F238E27FC236}">
                    <a16:creationId xmlns:a16="http://schemas.microsoft.com/office/drawing/2014/main" id="{FE620B57-010E-4CFB-82BE-D566C35D122D}"/>
                  </a:ext>
                </a:extLst>
              </p:cNvPr>
              <p:cNvSpPr>
                <a:spLocks/>
              </p:cNvSpPr>
              <p:nvPr/>
            </p:nvSpPr>
            <p:spPr bwMode="auto">
              <a:xfrm>
                <a:off x="10878629" y="2831938"/>
                <a:ext cx="131379" cy="123245"/>
              </a:xfrm>
              <a:custGeom>
                <a:avLst/>
                <a:gdLst>
                  <a:gd name="T0" fmla="*/ 59 w 59"/>
                  <a:gd name="T1" fmla="*/ 36 h 57"/>
                  <a:gd name="T2" fmla="*/ 59 w 59"/>
                  <a:gd name="T3" fmla="*/ 0 h 57"/>
                  <a:gd name="T4" fmla="*/ 1 w 59"/>
                  <a:gd name="T5" fmla="*/ 0 h 57"/>
                  <a:gd name="T6" fmla="*/ 0 w 59"/>
                  <a:gd name="T7" fmla="*/ 57 h 57"/>
                  <a:gd name="T8" fmla="*/ 59 w 59"/>
                  <a:gd name="T9" fmla="*/ 36 h 57"/>
                </a:gdLst>
                <a:ahLst/>
                <a:cxnLst>
                  <a:cxn ang="0">
                    <a:pos x="T0" y="T1"/>
                  </a:cxn>
                  <a:cxn ang="0">
                    <a:pos x="T2" y="T3"/>
                  </a:cxn>
                  <a:cxn ang="0">
                    <a:pos x="T4" y="T5"/>
                  </a:cxn>
                  <a:cxn ang="0">
                    <a:pos x="T6" y="T7"/>
                  </a:cxn>
                  <a:cxn ang="0">
                    <a:pos x="T8" y="T9"/>
                  </a:cxn>
                </a:cxnLst>
                <a:rect l="0" t="0" r="r" b="b"/>
                <a:pathLst>
                  <a:path w="59" h="57">
                    <a:moveTo>
                      <a:pt x="59" y="36"/>
                    </a:moveTo>
                    <a:cubicBezTo>
                      <a:pt x="59" y="0"/>
                      <a:pt x="59" y="0"/>
                      <a:pt x="59" y="0"/>
                    </a:cubicBezTo>
                    <a:cubicBezTo>
                      <a:pt x="1" y="0"/>
                      <a:pt x="1" y="0"/>
                      <a:pt x="1" y="0"/>
                    </a:cubicBezTo>
                    <a:cubicBezTo>
                      <a:pt x="0" y="57"/>
                      <a:pt x="0" y="57"/>
                      <a:pt x="0" y="57"/>
                    </a:cubicBezTo>
                    <a:cubicBezTo>
                      <a:pt x="49" y="57"/>
                      <a:pt x="59" y="36"/>
                      <a:pt x="59" y="36"/>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62" name="Freeform 231">
                <a:extLst>
                  <a:ext uri="{FF2B5EF4-FFF2-40B4-BE49-F238E27FC236}">
                    <a16:creationId xmlns:a16="http://schemas.microsoft.com/office/drawing/2014/main" id="{3AD39845-6892-4565-B16D-4CC6650F8CBA}"/>
                  </a:ext>
                </a:extLst>
              </p:cNvPr>
              <p:cNvSpPr>
                <a:spLocks/>
              </p:cNvSpPr>
              <p:nvPr/>
            </p:nvSpPr>
            <p:spPr bwMode="auto">
              <a:xfrm>
                <a:off x="10830368" y="2968292"/>
                <a:ext cx="34856" cy="217646"/>
              </a:xfrm>
              <a:custGeom>
                <a:avLst/>
                <a:gdLst>
                  <a:gd name="T0" fmla="*/ 16 w 16"/>
                  <a:gd name="T1" fmla="*/ 0 h 101"/>
                  <a:gd name="T2" fmla="*/ 15 w 16"/>
                  <a:gd name="T3" fmla="*/ 1 h 101"/>
                  <a:gd name="T4" fmla="*/ 0 w 16"/>
                  <a:gd name="T5" fmla="*/ 1 h 101"/>
                  <a:gd name="T6" fmla="*/ 0 w 16"/>
                  <a:gd name="T7" fmla="*/ 96 h 101"/>
                  <a:gd name="T8" fmla="*/ 3 w 16"/>
                  <a:gd name="T9" fmla="*/ 101 h 101"/>
                  <a:gd name="T10" fmla="*/ 4 w 16"/>
                  <a:gd name="T11" fmla="*/ 101 h 101"/>
                  <a:gd name="T12" fmla="*/ 6 w 16"/>
                  <a:gd name="T13" fmla="*/ 100 h 101"/>
                  <a:gd name="T14" fmla="*/ 6 w 16"/>
                  <a:gd name="T15" fmla="*/ 98 h 101"/>
                  <a:gd name="T16" fmla="*/ 16 w 1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1">
                    <a:moveTo>
                      <a:pt x="16" y="0"/>
                    </a:moveTo>
                    <a:cubicBezTo>
                      <a:pt x="16" y="1"/>
                      <a:pt x="15" y="1"/>
                      <a:pt x="15" y="1"/>
                    </a:cubicBezTo>
                    <a:cubicBezTo>
                      <a:pt x="0" y="1"/>
                      <a:pt x="0" y="1"/>
                      <a:pt x="0" y="1"/>
                    </a:cubicBezTo>
                    <a:cubicBezTo>
                      <a:pt x="0" y="96"/>
                      <a:pt x="0" y="96"/>
                      <a:pt x="0" y="96"/>
                    </a:cubicBezTo>
                    <a:cubicBezTo>
                      <a:pt x="2" y="97"/>
                      <a:pt x="4" y="98"/>
                      <a:pt x="3" y="101"/>
                    </a:cubicBezTo>
                    <a:cubicBezTo>
                      <a:pt x="4" y="101"/>
                      <a:pt x="4" y="101"/>
                      <a:pt x="4" y="101"/>
                    </a:cubicBezTo>
                    <a:cubicBezTo>
                      <a:pt x="4" y="101"/>
                      <a:pt x="5" y="101"/>
                      <a:pt x="6" y="100"/>
                    </a:cubicBezTo>
                    <a:cubicBezTo>
                      <a:pt x="6" y="99"/>
                      <a:pt x="6" y="99"/>
                      <a:pt x="6" y="98"/>
                    </a:cubicBezTo>
                    <a:cubicBezTo>
                      <a:pt x="4" y="66"/>
                      <a:pt x="16" y="0"/>
                      <a:pt x="16" y="0"/>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64" name="Rectangle 232">
                <a:extLst>
                  <a:ext uri="{FF2B5EF4-FFF2-40B4-BE49-F238E27FC236}">
                    <a16:creationId xmlns:a16="http://schemas.microsoft.com/office/drawing/2014/main" id="{6E1E2315-0FCF-4BF9-BFF8-0D5328AC2190}"/>
                  </a:ext>
                </a:extLst>
              </p:cNvPr>
              <p:cNvSpPr>
                <a:spLocks noChangeArrowheads="1"/>
              </p:cNvSpPr>
              <p:nvPr/>
            </p:nvSpPr>
            <p:spPr bwMode="auto">
              <a:xfrm>
                <a:off x="10720439" y="3508470"/>
                <a:ext cx="375364" cy="65557"/>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65" name="Freeform 233">
                <a:extLst>
                  <a:ext uri="{FF2B5EF4-FFF2-40B4-BE49-F238E27FC236}">
                    <a16:creationId xmlns:a16="http://schemas.microsoft.com/office/drawing/2014/main" id="{43EC6D5A-9CB4-428F-86AB-BFF043070B59}"/>
                  </a:ext>
                </a:extLst>
              </p:cNvPr>
              <p:cNvSpPr>
                <a:spLocks/>
              </p:cNvSpPr>
              <p:nvPr/>
            </p:nvSpPr>
            <p:spPr bwMode="auto">
              <a:xfrm>
                <a:off x="10709714" y="3550427"/>
                <a:ext cx="388772" cy="186179"/>
              </a:xfrm>
              <a:custGeom>
                <a:avLst/>
                <a:gdLst>
                  <a:gd name="T0" fmla="*/ 0 w 174"/>
                  <a:gd name="T1" fmla="*/ 0 h 86"/>
                  <a:gd name="T2" fmla="*/ 174 w 174"/>
                  <a:gd name="T3" fmla="*/ 86 h 86"/>
                  <a:gd name="T4" fmla="*/ 174 w 174"/>
                  <a:gd name="T5" fmla="*/ 0 h 86"/>
                  <a:gd name="T6" fmla="*/ 0 w 174"/>
                  <a:gd name="T7" fmla="*/ 0 h 86"/>
                </a:gdLst>
                <a:ahLst/>
                <a:cxnLst>
                  <a:cxn ang="0">
                    <a:pos x="T0" y="T1"/>
                  </a:cxn>
                  <a:cxn ang="0">
                    <a:pos x="T2" y="T3"/>
                  </a:cxn>
                  <a:cxn ang="0">
                    <a:pos x="T4" y="T5"/>
                  </a:cxn>
                  <a:cxn ang="0">
                    <a:pos x="T6" y="T7"/>
                  </a:cxn>
                </a:cxnLst>
                <a:rect l="0" t="0" r="r" b="b"/>
                <a:pathLst>
                  <a:path w="174" h="86">
                    <a:moveTo>
                      <a:pt x="0" y="0"/>
                    </a:moveTo>
                    <a:cubicBezTo>
                      <a:pt x="0" y="0"/>
                      <a:pt x="72" y="86"/>
                      <a:pt x="174" y="86"/>
                    </a:cubicBezTo>
                    <a:cubicBezTo>
                      <a:pt x="174" y="0"/>
                      <a:pt x="174" y="0"/>
                      <a:pt x="17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66" name="Freeform 234">
                <a:extLst>
                  <a:ext uri="{FF2B5EF4-FFF2-40B4-BE49-F238E27FC236}">
                    <a16:creationId xmlns:a16="http://schemas.microsoft.com/office/drawing/2014/main" id="{71366003-C879-4064-980E-13027698CA58}"/>
                  </a:ext>
                </a:extLst>
              </p:cNvPr>
              <p:cNvSpPr>
                <a:spLocks/>
              </p:cNvSpPr>
              <p:nvPr/>
            </p:nvSpPr>
            <p:spPr bwMode="auto">
              <a:xfrm>
                <a:off x="10690946" y="2970917"/>
                <a:ext cx="525511" cy="579512"/>
              </a:xfrm>
              <a:custGeom>
                <a:avLst/>
                <a:gdLst>
                  <a:gd name="T0" fmla="*/ 174 w 237"/>
                  <a:gd name="T1" fmla="*/ 0 h 269"/>
                  <a:gd name="T2" fmla="*/ 148 w 237"/>
                  <a:gd name="T3" fmla="*/ 0 h 269"/>
                  <a:gd name="T4" fmla="*/ 69 w 237"/>
                  <a:gd name="T5" fmla="*/ 94 h 269"/>
                  <a:gd name="T6" fmla="*/ 72 w 237"/>
                  <a:gd name="T7" fmla="*/ 0 h 269"/>
                  <a:gd name="T8" fmla="*/ 67 w 237"/>
                  <a:gd name="T9" fmla="*/ 0 h 269"/>
                  <a:gd name="T10" fmla="*/ 0 w 237"/>
                  <a:gd name="T11" fmla="*/ 66 h 269"/>
                  <a:gd name="T12" fmla="*/ 0 w 237"/>
                  <a:gd name="T13" fmla="*/ 112 h 269"/>
                  <a:gd name="T14" fmla="*/ 13 w 237"/>
                  <a:gd name="T15" fmla="*/ 112 h 269"/>
                  <a:gd name="T16" fmla="*/ 13 w 237"/>
                  <a:gd name="T17" fmla="*/ 269 h 269"/>
                  <a:gd name="T18" fmla="*/ 183 w 237"/>
                  <a:gd name="T19" fmla="*/ 269 h 269"/>
                  <a:gd name="T20" fmla="*/ 183 w 237"/>
                  <a:gd name="T21" fmla="*/ 112 h 269"/>
                  <a:gd name="T22" fmla="*/ 237 w 237"/>
                  <a:gd name="T23" fmla="*/ 112 h 269"/>
                  <a:gd name="T24" fmla="*/ 237 w 237"/>
                  <a:gd name="T25" fmla="*/ 62 h 269"/>
                  <a:gd name="T26" fmla="*/ 174 w 237"/>
                  <a:gd name="T27"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69">
                    <a:moveTo>
                      <a:pt x="174" y="0"/>
                    </a:moveTo>
                    <a:cubicBezTo>
                      <a:pt x="148" y="0"/>
                      <a:pt x="148" y="0"/>
                      <a:pt x="148" y="0"/>
                    </a:cubicBezTo>
                    <a:cubicBezTo>
                      <a:pt x="127" y="37"/>
                      <a:pt x="102" y="70"/>
                      <a:pt x="69" y="94"/>
                    </a:cubicBezTo>
                    <a:cubicBezTo>
                      <a:pt x="63" y="64"/>
                      <a:pt x="66" y="33"/>
                      <a:pt x="72" y="0"/>
                    </a:cubicBezTo>
                    <a:cubicBezTo>
                      <a:pt x="67" y="0"/>
                      <a:pt x="67" y="0"/>
                      <a:pt x="67" y="0"/>
                    </a:cubicBezTo>
                    <a:cubicBezTo>
                      <a:pt x="30" y="0"/>
                      <a:pt x="0" y="30"/>
                      <a:pt x="0" y="66"/>
                    </a:cubicBezTo>
                    <a:cubicBezTo>
                      <a:pt x="0" y="112"/>
                      <a:pt x="0" y="112"/>
                      <a:pt x="0" y="112"/>
                    </a:cubicBezTo>
                    <a:cubicBezTo>
                      <a:pt x="13" y="112"/>
                      <a:pt x="13" y="112"/>
                      <a:pt x="13" y="112"/>
                    </a:cubicBezTo>
                    <a:cubicBezTo>
                      <a:pt x="13" y="210"/>
                      <a:pt x="13" y="269"/>
                      <a:pt x="13" y="269"/>
                    </a:cubicBezTo>
                    <a:cubicBezTo>
                      <a:pt x="183" y="269"/>
                      <a:pt x="183" y="269"/>
                      <a:pt x="183" y="269"/>
                    </a:cubicBezTo>
                    <a:cubicBezTo>
                      <a:pt x="183" y="112"/>
                      <a:pt x="183" y="112"/>
                      <a:pt x="183" y="112"/>
                    </a:cubicBezTo>
                    <a:cubicBezTo>
                      <a:pt x="237" y="112"/>
                      <a:pt x="237" y="112"/>
                      <a:pt x="237" y="112"/>
                    </a:cubicBezTo>
                    <a:cubicBezTo>
                      <a:pt x="237" y="62"/>
                      <a:pt x="237" y="62"/>
                      <a:pt x="237" y="62"/>
                    </a:cubicBezTo>
                    <a:cubicBezTo>
                      <a:pt x="236" y="28"/>
                      <a:pt x="208" y="0"/>
                      <a:pt x="174"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67" name="Freeform 235">
                <a:extLst>
                  <a:ext uri="{FF2B5EF4-FFF2-40B4-BE49-F238E27FC236}">
                    <a16:creationId xmlns:a16="http://schemas.microsoft.com/office/drawing/2014/main" id="{358DA15B-B132-4A9E-BE53-9968E4A0F724}"/>
                  </a:ext>
                </a:extLst>
              </p:cNvPr>
              <p:cNvSpPr>
                <a:spLocks/>
              </p:cNvSpPr>
              <p:nvPr/>
            </p:nvSpPr>
            <p:spPr bwMode="auto">
              <a:xfrm>
                <a:off x="10720439" y="3212161"/>
                <a:ext cx="168915" cy="338268"/>
              </a:xfrm>
              <a:custGeom>
                <a:avLst/>
                <a:gdLst>
                  <a:gd name="T0" fmla="*/ 0 w 76"/>
                  <a:gd name="T1" fmla="*/ 0 h 157"/>
                  <a:gd name="T2" fmla="*/ 0 w 76"/>
                  <a:gd name="T3" fmla="*/ 157 h 157"/>
                  <a:gd name="T4" fmla="*/ 76 w 76"/>
                  <a:gd name="T5" fmla="*/ 157 h 157"/>
                  <a:gd name="T6" fmla="*/ 0 w 76"/>
                  <a:gd name="T7" fmla="*/ 0 h 157"/>
                </a:gdLst>
                <a:ahLst/>
                <a:cxnLst>
                  <a:cxn ang="0">
                    <a:pos x="T0" y="T1"/>
                  </a:cxn>
                  <a:cxn ang="0">
                    <a:pos x="T2" y="T3"/>
                  </a:cxn>
                  <a:cxn ang="0">
                    <a:pos x="T4" y="T5"/>
                  </a:cxn>
                  <a:cxn ang="0">
                    <a:pos x="T6" y="T7"/>
                  </a:cxn>
                </a:cxnLst>
                <a:rect l="0" t="0" r="r" b="b"/>
                <a:pathLst>
                  <a:path w="76" h="157">
                    <a:moveTo>
                      <a:pt x="0" y="0"/>
                    </a:moveTo>
                    <a:cubicBezTo>
                      <a:pt x="0" y="98"/>
                      <a:pt x="0" y="157"/>
                      <a:pt x="0" y="157"/>
                    </a:cubicBezTo>
                    <a:cubicBezTo>
                      <a:pt x="76" y="157"/>
                      <a:pt x="76" y="157"/>
                      <a:pt x="76" y="157"/>
                    </a:cubicBezTo>
                    <a:lnTo>
                      <a:pt x="0" y="0"/>
                    </a:ln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68" name="Freeform 237">
                <a:extLst>
                  <a:ext uri="{FF2B5EF4-FFF2-40B4-BE49-F238E27FC236}">
                    <a16:creationId xmlns:a16="http://schemas.microsoft.com/office/drawing/2014/main" id="{5F7A162E-1F88-4A18-9C96-546B56589149}"/>
                  </a:ext>
                </a:extLst>
              </p:cNvPr>
              <p:cNvSpPr>
                <a:spLocks/>
              </p:cNvSpPr>
              <p:nvPr/>
            </p:nvSpPr>
            <p:spPr bwMode="auto">
              <a:xfrm>
                <a:off x="11098485" y="3212161"/>
                <a:ext cx="117973" cy="34090"/>
              </a:xfrm>
              <a:custGeom>
                <a:avLst/>
                <a:gdLst>
                  <a:gd name="T0" fmla="*/ 44 w 44"/>
                  <a:gd name="T1" fmla="*/ 13 h 13"/>
                  <a:gd name="T2" fmla="*/ 44 w 44"/>
                  <a:gd name="T3" fmla="*/ 0 h 13"/>
                  <a:gd name="T4" fmla="*/ 0 w 44"/>
                  <a:gd name="T5" fmla="*/ 0 h 13"/>
                  <a:gd name="T6" fmla="*/ 44 w 44"/>
                  <a:gd name="T7" fmla="*/ 13 h 13"/>
                </a:gdLst>
                <a:ahLst/>
                <a:cxnLst>
                  <a:cxn ang="0">
                    <a:pos x="T0" y="T1"/>
                  </a:cxn>
                  <a:cxn ang="0">
                    <a:pos x="T2" y="T3"/>
                  </a:cxn>
                  <a:cxn ang="0">
                    <a:pos x="T4" y="T5"/>
                  </a:cxn>
                  <a:cxn ang="0">
                    <a:pos x="T6" y="T7"/>
                  </a:cxn>
                </a:cxnLst>
                <a:rect l="0" t="0" r="r" b="b"/>
                <a:pathLst>
                  <a:path w="44" h="13">
                    <a:moveTo>
                      <a:pt x="44" y="13"/>
                    </a:moveTo>
                    <a:lnTo>
                      <a:pt x="44" y="0"/>
                    </a:lnTo>
                    <a:lnTo>
                      <a:pt x="0" y="0"/>
                    </a:lnTo>
                    <a:lnTo>
                      <a:pt x="44" y="13"/>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69" name="Oval 241">
                <a:extLst>
                  <a:ext uri="{FF2B5EF4-FFF2-40B4-BE49-F238E27FC236}">
                    <a16:creationId xmlns:a16="http://schemas.microsoft.com/office/drawing/2014/main" id="{FE47C12E-96A8-4D8D-A7FC-DB0A6FE00881}"/>
                  </a:ext>
                </a:extLst>
              </p:cNvPr>
              <p:cNvSpPr>
                <a:spLocks noChangeArrowheads="1"/>
              </p:cNvSpPr>
              <p:nvPr/>
            </p:nvSpPr>
            <p:spPr bwMode="auto">
              <a:xfrm>
                <a:off x="10779424" y="2721804"/>
                <a:ext cx="88479" cy="86534"/>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70" name="Oval 242">
                <a:extLst>
                  <a:ext uri="{FF2B5EF4-FFF2-40B4-BE49-F238E27FC236}">
                    <a16:creationId xmlns:a16="http://schemas.microsoft.com/office/drawing/2014/main" id="{DA8C6D9A-F567-4670-974E-B6B0A67A5D2D}"/>
                  </a:ext>
                </a:extLst>
              </p:cNvPr>
              <p:cNvSpPr>
                <a:spLocks noChangeArrowheads="1"/>
              </p:cNvSpPr>
              <p:nvPr/>
            </p:nvSpPr>
            <p:spPr bwMode="auto">
              <a:xfrm>
                <a:off x="10779424" y="2782117"/>
                <a:ext cx="26811" cy="26222"/>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71" name="Freeform 245">
                <a:extLst>
                  <a:ext uri="{FF2B5EF4-FFF2-40B4-BE49-F238E27FC236}">
                    <a16:creationId xmlns:a16="http://schemas.microsoft.com/office/drawing/2014/main" id="{EDF4AC4A-9B41-45E8-82A2-EE28DB0B593E}"/>
                  </a:ext>
                </a:extLst>
              </p:cNvPr>
              <p:cNvSpPr>
                <a:spLocks/>
              </p:cNvSpPr>
              <p:nvPr/>
            </p:nvSpPr>
            <p:spPr bwMode="auto">
              <a:xfrm>
                <a:off x="10760657" y="2593316"/>
                <a:ext cx="313699" cy="343512"/>
              </a:xfrm>
              <a:custGeom>
                <a:avLst/>
                <a:gdLst>
                  <a:gd name="T0" fmla="*/ 141 w 141"/>
                  <a:gd name="T1" fmla="*/ 28 h 159"/>
                  <a:gd name="T2" fmla="*/ 83 w 141"/>
                  <a:gd name="T3" fmla="*/ 1 h 159"/>
                  <a:gd name="T4" fmla="*/ 21 w 141"/>
                  <a:gd name="T5" fmla="*/ 105 h 159"/>
                  <a:gd name="T6" fmla="*/ 46 w 141"/>
                  <a:gd name="T7" fmla="*/ 142 h 159"/>
                  <a:gd name="T8" fmla="*/ 60 w 141"/>
                  <a:gd name="T9" fmla="*/ 152 h 159"/>
                  <a:gd name="T10" fmla="*/ 106 w 141"/>
                  <a:gd name="T11" fmla="*/ 146 h 159"/>
                  <a:gd name="T12" fmla="*/ 124 w 141"/>
                  <a:gd name="T13" fmla="*/ 132 h 159"/>
                  <a:gd name="T14" fmla="*/ 138 w 141"/>
                  <a:gd name="T15" fmla="*/ 103 h 159"/>
                  <a:gd name="T16" fmla="*/ 141 w 141"/>
                  <a:gd name="T17" fmla="*/ 2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59">
                    <a:moveTo>
                      <a:pt x="141" y="28"/>
                    </a:moveTo>
                    <a:cubicBezTo>
                      <a:pt x="127" y="11"/>
                      <a:pt x="105" y="0"/>
                      <a:pt x="83" y="1"/>
                    </a:cubicBezTo>
                    <a:cubicBezTo>
                      <a:pt x="31" y="1"/>
                      <a:pt x="0" y="58"/>
                      <a:pt x="21" y="105"/>
                    </a:cubicBezTo>
                    <a:cubicBezTo>
                      <a:pt x="27" y="120"/>
                      <a:pt x="34" y="132"/>
                      <a:pt x="46" y="142"/>
                    </a:cubicBezTo>
                    <a:cubicBezTo>
                      <a:pt x="50" y="146"/>
                      <a:pt x="55" y="150"/>
                      <a:pt x="60" y="152"/>
                    </a:cubicBezTo>
                    <a:cubicBezTo>
                      <a:pt x="77" y="159"/>
                      <a:pt x="92" y="154"/>
                      <a:pt x="106" y="146"/>
                    </a:cubicBezTo>
                    <a:cubicBezTo>
                      <a:pt x="112" y="142"/>
                      <a:pt x="118" y="137"/>
                      <a:pt x="124" y="132"/>
                    </a:cubicBezTo>
                    <a:cubicBezTo>
                      <a:pt x="133" y="125"/>
                      <a:pt x="138" y="114"/>
                      <a:pt x="138" y="103"/>
                    </a:cubicBezTo>
                    <a:lnTo>
                      <a:pt x="141" y="28"/>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72" name="Freeform 246">
                <a:extLst>
                  <a:ext uri="{FF2B5EF4-FFF2-40B4-BE49-F238E27FC236}">
                    <a16:creationId xmlns:a16="http://schemas.microsoft.com/office/drawing/2014/main" id="{5CFC3166-DA7E-443C-B443-04430CA30A9B}"/>
                  </a:ext>
                </a:extLst>
              </p:cNvPr>
              <p:cNvSpPr>
                <a:spLocks/>
              </p:cNvSpPr>
              <p:nvPr/>
            </p:nvSpPr>
            <p:spPr bwMode="auto">
              <a:xfrm>
                <a:off x="10795513" y="2609050"/>
                <a:ext cx="80436" cy="283199"/>
              </a:xfrm>
              <a:custGeom>
                <a:avLst/>
                <a:gdLst>
                  <a:gd name="T0" fmla="*/ 17 w 36"/>
                  <a:gd name="T1" fmla="*/ 42 h 131"/>
                  <a:gd name="T2" fmla="*/ 36 w 36"/>
                  <a:gd name="T3" fmla="*/ 0 h 131"/>
                  <a:gd name="T4" fmla="*/ 0 w 36"/>
                  <a:gd name="T5" fmla="*/ 66 h 131"/>
                  <a:gd name="T6" fmla="*/ 27 w 36"/>
                  <a:gd name="T7" fmla="*/ 131 h 131"/>
                  <a:gd name="T8" fmla="*/ 17 w 36"/>
                  <a:gd name="T9" fmla="*/ 42 h 131"/>
                </a:gdLst>
                <a:ahLst/>
                <a:cxnLst>
                  <a:cxn ang="0">
                    <a:pos x="T0" y="T1"/>
                  </a:cxn>
                  <a:cxn ang="0">
                    <a:pos x="T2" y="T3"/>
                  </a:cxn>
                  <a:cxn ang="0">
                    <a:pos x="T4" y="T5"/>
                  </a:cxn>
                  <a:cxn ang="0">
                    <a:pos x="T6" y="T7"/>
                  </a:cxn>
                  <a:cxn ang="0">
                    <a:pos x="T8" y="T9"/>
                  </a:cxn>
                </a:cxnLst>
                <a:rect l="0" t="0" r="r" b="b"/>
                <a:pathLst>
                  <a:path w="36" h="131">
                    <a:moveTo>
                      <a:pt x="17" y="42"/>
                    </a:moveTo>
                    <a:cubicBezTo>
                      <a:pt x="20" y="26"/>
                      <a:pt x="28" y="12"/>
                      <a:pt x="36" y="0"/>
                    </a:cubicBezTo>
                    <a:cubicBezTo>
                      <a:pt x="12" y="12"/>
                      <a:pt x="0" y="37"/>
                      <a:pt x="0" y="66"/>
                    </a:cubicBezTo>
                    <a:cubicBezTo>
                      <a:pt x="0" y="92"/>
                      <a:pt x="6" y="110"/>
                      <a:pt x="27" y="131"/>
                    </a:cubicBezTo>
                    <a:cubicBezTo>
                      <a:pt x="13" y="106"/>
                      <a:pt x="11" y="68"/>
                      <a:pt x="17" y="42"/>
                    </a:cubicBez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73" name="Freeform 247">
                <a:extLst>
                  <a:ext uri="{FF2B5EF4-FFF2-40B4-BE49-F238E27FC236}">
                    <a16:creationId xmlns:a16="http://schemas.microsoft.com/office/drawing/2014/main" id="{F905EEE6-2D38-426D-A0DE-356755143495}"/>
                  </a:ext>
                </a:extLst>
              </p:cNvPr>
              <p:cNvSpPr>
                <a:spLocks/>
              </p:cNvSpPr>
              <p:nvPr/>
            </p:nvSpPr>
            <p:spPr bwMode="auto">
              <a:xfrm>
                <a:off x="10787469" y="2551361"/>
                <a:ext cx="313699" cy="175689"/>
              </a:xfrm>
              <a:custGeom>
                <a:avLst/>
                <a:gdLst>
                  <a:gd name="T0" fmla="*/ 72 w 141"/>
                  <a:gd name="T1" fmla="*/ 0 h 82"/>
                  <a:gd name="T2" fmla="*/ 0 w 141"/>
                  <a:gd name="T3" fmla="*/ 75 h 82"/>
                  <a:gd name="T4" fmla="*/ 23 w 141"/>
                  <a:gd name="T5" fmla="*/ 81 h 82"/>
                  <a:gd name="T6" fmla="*/ 92 w 141"/>
                  <a:gd name="T7" fmla="*/ 28 h 82"/>
                  <a:gd name="T8" fmla="*/ 132 w 141"/>
                  <a:gd name="T9" fmla="*/ 80 h 82"/>
                  <a:gd name="T10" fmla="*/ 141 w 141"/>
                  <a:gd name="T11" fmla="*/ 74 h 82"/>
                  <a:gd name="T12" fmla="*/ 72 w 141"/>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41" h="82">
                    <a:moveTo>
                      <a:pt x="72" y="0"/>
                    </a:moveTo>
                    <a:cubicBezTo>
                      <a:pt x="33" y="0"/>
                      <a:pt x="1" y="33"/>
                      <a:pt x="0" y="75"/>
                    </a:cubicBezTo>
                    <a:cubicBezTo>
                      <a:pt x="9" y="79"/>
                      <a:pt x="13" y="81"/>
                      <a:pt x="23" y="81"/>
                    </a:cubicBezTo>
                    <a:cubicBezTo>
                      <a:pt x="55" y="81"/>
                      <a:pt x="82" y="59"/>
                      <a:pt x="92" y="28"/>
                    </a:cubicBezTo>
                    <a:cubicBezTo>
                      <a:pt x="99" y="48"/>
                      <a:pt x="107" y="70"/>
                      <a:pt x="132" y="80"/>
                    </a:cubicBezTo>
                    <a:cubicBezTo>
                      <a:pt x="135" y="82"/>
                      <a:pt x="138" y="73"/>
                      <a:pt x="141" y="74"/>
                    </a:cubicBezTo>
                    <a:cubicBezTo>
                      <a:pt x="139" y="33"/>
                      <a:pt x="112" y="0"/>
                      <a:pt x="7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74" name="Freeform 248">
                <a:extLst>
                  <a:ext uri="{FF2B5EF4-FFF2-40B4-BE49-F238E27FC236}">
                    <a16:creationId xmlns:a16="http://schemas.microsoft.com/office/drawing/2014/main" id="{0808185D-62D4-44CF-A59A-704ADC2C9012}"/>
                  </a:ext>
                </a:extLst>
              </p:cNvPr>
              <p:cNvSpPr>
                <a:spLocks/>
              </p:cNvSpPr>
              <p:nvPr/>
            </p:nvSpPr>
            <p:spPr bwMode="auto">
              <a:xfrm>
                <a:off x="10894718" y="2748027"/>
                <a:ext cx="18769" cy="68177"/>
              </a:xfrm>
              <a:custGeom>
                <a:avLst/>
                <a:gdLst>
                  <a:gd name="T0" fmla="*/ 8 w 8"/>
                  <a:gd name="T1" fmla="*/ 32 h 32"/>
                  <a:gd name="T2" fmla="*/ 8 w 8"/>
                  <a:gd name="T3" fmla="*/ 0 h 32"/>
                  <a:gd name="T4" fmla="*/ 2 w 8"/>
                  <a:gd name="T5" fmla="*/ 6 h 32"/>
                  <a:gd name="T6" fmla="*/ 0 w 8"/>
                  <a:gd name="T7" fmla="*/ 32 h 32"/>
                  <a:gd name="T8" fmla="*/ 8 w 8"/>
                  <a:gd name="T9" fmla="*/ 32 h 32"/>
                </a:gdLst>
                <a:ahLst/>
                <a:cxnLst>
                  <a:cxn ang="0">
                    <a:pos x="T0" y="T1"/>
                  </a:cxn>
                  <a:cxn ang="0">
                    <a:pos x="T2" y="T3"/>
                  </a:cxn>
                  <a:cxn ang="0">
                    <a:pos x="T4" y="T5"/>
                  </a:cxn>
                  <a:cxn ang="0">
                    <a:pos x="T6" y="T7"/>
                  </a:cxn>
                  <a:cxn ang="0">
                    <a:pos x="T8" y="T9"/>
                  </a:cxn>
                </a:cxnLst>
                <a:rect l="0" t="0" r="r" b="b"/>
                <a:pathLst>
                  <a:path w="8" h="32">
                    <a:moveTo>
                      <a:pt x="8" y="32"/>
                    </a:moveTo>
                    <a:cubicBezTo>
                      <a:pt x="8" y="0"/>
                      <a:pt x="8" y="0"/>
                      <a:pt x="8" y="0"/>
                    </a:cubicBezTo>
                    <a:cubicBezTo>
                      <a:pt x="5" y="0"/>
                      <a:pt x="3" y="3"/>
                      <a:pt x="2" y="6"/>
                    </a:cubicBezTo>
                    <a:cubicBezTo>
                      <a:pt x="0" y="32"/>
                      <a:pt x="0" y="32"/>
                      <a:pt x="0" y="32"/>
                    </a:cubicBezTo>
                    <a:lnTo>
                      <a:pt x="8" y="32"/>
                    </a:ln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75" name="Freeform 249">
                <a:extLst>
                  <a:ext uri="{FF2B5EF4-FFF2-40B4-BE49-F238E27FC236}">
                    <a16:creationId xmlns:a16="http://schemas.microsoft.com/office/drawing/2014/main" id="{79D4AEF6-8EBD-45C1-BB72-C0A497EEE6CC}"/>
                  </a:ext>
                </a:extLst>
              </p:cNvPr>
              <p:cNvSpPr>
                <a:spLocks/>
              </p:cNvSpPr>
              <p:nvPr/>
            </p:nvSpPr>
            <p:spPr bwMode="auto">
              <a:xfrm>
                <a:off x="10894718" y="2816204"/>
                <a:ext cx="53624" cy="13112"/>
              </a:xfrm>
              <a:custGeom>
                <a:avLst/>
                <a:gdLst>
                  <a:gd name="T0" fmla="*/ 0 w 24"/>
                  <a:gd name="T1" fmla="*/ 0 h 6"/>
                  <a:gd name="T2" fmla="*/ 12 w 24"/>
                  <a:gd name="T3" fmla="*/ 6 h 6"/>
                  <a:gd name="T4" fmla="*/ 24 w 24"/>
                  <a:gd name="T5" fmla="*/ 0 h 6"/>
                  <a:gd name="T6" fmla="*/ 0 w 24"/>
                  <a:gd name="T7" fmla="*/ 0 h 6"/>
                </a:gdLst>
                <a:ahLst/>
                <a:cxnLst>
                  <a:cxn ang="0">
                    <a:pos x="T0" y="T1"/>
                  </a:cxn>
                  <a:cxn ang="0">
                    <a:pos x="T2" y="T3"/>
                  </a:cxn>
                  <a:cxn ang="0">
                    <a:pos x="T4" y="T5"/>
                  </a:cxn>
                  <a:cxn ang="0">
                    <a:pos x="T6" y="T7"/>
                  </a:cxn>
                </a:cxnLst>
                <a:rect l="0" t="0" r="r" b="b"/>
                <a:pathLst>
                  <a:path w="24" h="6">
                    <a:moveTo>
                      <a:pt x="0" y="0"/>
                    </a:moveTo>
                    <a:cubicBezTo>
                      <a:pt x="3" y="4"/>
                      <a:pt x="7" y="6"/>
                      <a:pt x="12" y="6"/>
                    </a:cubicBezTo>
                    <a:cubicBezTo>
                      <a:pt x="17" y="6"/>
                      <a:pt x="22" y="4"/>
                      <a:pt x="24" y="0"/>
                    </a:cubicBezTo>
                    <a:lnTo>
                      <a:pt x="0"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76" name="Freeform 250">
                <a:extLst>
                  <a:ext uri="{FF2B5EF4-FFF2-40B4-BE49-F238E27FC236}">
                    <a16:creationId xmlns:a16="http://schemas.microsoft.com/office/drawing/2014/main" id="{3E0DC4E2-2B1F-4D24-ACEB-983D40877B6E}"/>
                  </a:ext>
                </a:extLst>
              </p:cNvPr>
              <p:cNvSpPr>
                <a:spLocks/>
              </p:cNvSpPr>
              <p:nvPr/>
            </p:nvSpPr>
            <p:spPr bwMode="auto">
              <a:xfrm>
                <a:off x="10870584" y="2839806"/>
                <a:ext cx="101884" cy="57689"/>
              </a:xfrm>
              <a:custGeom>
                <a:avLst/>
                <a:gdLst>
                  <a:gd name="T0" fmla="*/ 27 w 46"/>
                  <a:gd name="T1" fmla="*/ 0 h 26"/>
                  <a:gd name="T2" fmla="*/ 23 w 46"/>
                  <a:gd name="T3" fmla="*/ 4 h 26"/>
                  <a:gd name="T4" fmla="*/ 19 w 46"/>
                  <a:gd name="T5" fmla="*/ 0 h 26"/>
                  <a:gd name="T6" fmla="*/ 0 w 46"/>
                  <a:gd name="T7" fmla="*/ 4 h 26"/>
                  <a:gd name="T8" fmla="*/ 23 w 46"/>
                  <a:gd name="T9" fmla="*/ 26 h 26"/>
                  <a:gd name="T10" fmla="*/ 46 w 46"/>
                  <a:gd name="T11" fmla="*/ 4 h 26"/>
                  <a:gd name="T12" fmla="*/ 27 w 4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46" h="26">
                    <a:moveTo>
                      <a:pt x="27" y="0"/>
                    </a:moveTo>
                    <a:cubicBezTo>
                      <a:pt x="25" y="0"/>
                      <a:pt x="23" y="2"/>
                      <a:pt x="23" y="4"/>
                    </a:cubicBezTo>
                    <a:cubicBezTo>
                      <a:pt x="22" y="2"/>
                      <a:pt x="20" y="0"/>
                      <a:pt x="19" y="0"/>
                    </a:cubicBezTo>
                    <a:cubicBezTo>
                      <a:pt x="8" y="0"/>
                      <a:pt x="0" y="4"/>
                      <a:pt x="0" y="4"/>
                    </a:cubicBezTo>
                    <a:cubicBezTo>
                      <a:pt x="3" y="17"/>
                      <a:pt x="12" y="26"/>
                      <a:pt x="23" y="26"/>
                    </a:cubicBezTo>
                    <a:cubicBezTo>
                      <a:pt x="34" y="26"/>
                      <a:pt x="43" y="17"/>
                      <a:pt x="46" y="4"/>
                    </a:cubicBezTo>
                    <a:cubicBezTo>
                      <a:pt x="46" y="4"/>
                      <a:pt x="38" y="0"/>
                      <a:pt x="27" y="0"/>
                    </a:cubicBez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77" name="Freeform 251">
                <a:extLst>
                  <a:ext uri="{FF2B5EF4-FFF2-40B4-BE49-F238E27FC236}">
                    <a16:creationId xmlns:a16="http://schemas.microsoft.com/office/drawing/2014/main" id="{45C880D1-347C-4797-85BA-9DE9F9E5646F}"/>
                  </a:ext>
                </a:extLst>
              </p:cNvPr>
              <p:cNvSpPr>
                <a:spLocks/>
              </p:cNvSpPr>
              <p:nvPr/>
            </p:nvSpPr>
            <p:spPr bwMode="auto">
              <a:xfrm>
                <a:off x="10870584" y="2850294"/>
                <a:ext cx="101884" cy="36710"/>
              </a:xfrm>
              <a:custGeom>
                <a:avLst/>
                <a:gdLst>
                  <a:gd name="T0" fmla="*/ 0 w 46"/>
                  <a:gd name="T1" fmla="*/ 0 h 17"/>
                  <a:gd name="T2" fmla="*/ 23 w 46"/>
                  <a:gd name="T3" fmla="*/ 17 h 17"/>
                  <a:gd name="T4" fmla="*/ 46 w 46"/>
                  <a:gd name="T5" fmla="*/ 0 h 17"/>
                  <a:gd name="T6" fmla="*/ 0 w 46"/>
                  <a:gd name="T7" fmla="*/ 0 h 17"/>
                </a:gdLst>
                <a:ahLst/>
                <a:cxnLst>
                  <a:cxn ang="0">
                    <a:pos x="T0" y="T1"/>
                  </a:cxn>
                  <a:cxn ang="0">
                    <a:pos x="T2" y="T3"/>
                  </a:cxn>
                  <a:cxn ang="0">
                    <a:pos x="T4" y="T5"/>
                  </a:cxn>
                  <a:cxn ang="0">
                    <a:pos x="T6" y="T7"/>
                  </a:cxn>
                </a:cxnLst>
                <a:rect l="0" t="0" r="r" b="b"/>
                <a:pathLst>
                  <a:path w="46" h="17">
                    <a:moveTo>
                      <a:pt x="0" y="0"/>
                    </a:moveTo>
                    <a:cubicBezTo>
                      <a:pt x="3" y="10"/>
                      <a:pt x="12" y="17"/>
                      <a:pt x="23" y="17"/>
                    </a:cubicBezTo>
                    <a:cubicBezTo>
                      <a:pt x="34" y="17"/>
                      <a:pt x="43" y="10"/>
                      <a:pt x="46" y="0"/>
                    </a:cubicBezTo>
                    <a:lnTo>
                      <a:pt x="0"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78" name="Freeform 252">
                <a:extLst>
                  <a:ext uri="{FF2B5EF4-FFF2-40B4-BE49-F238E27FC236}">
                    <a16:creationId xmlns:a16="http://schemas.microsoft.com/office/drawing/2014/main" id="{8B4C3C8A-C7C3-4C6A-A20B-AB287CE9013B}"/>
                  </a:ext>
                </a:extLst>
              </p:cNvPr>
              <p:cNvSpPr>
                <a:spLocks/>
              </p:cNvSpPr>
              <p:nvPr/>
            </p:nvSpPr>
            <p:spPr bwMode="auto">
              <a:xfrm>
                <a:off x="10870584" y="2850294"/>
                <a:ext cx="101884" cy="26222"/>
              </a:xfrm>
              <a:custGeom>
                <a:avLst/>
                <a:gdLst>
                  <a:gd name="T0" fmla="*/ 0 w 46"/>
                  <a:gd name="T1" fmla="*/ 0 h 12"/>
                  <a:gd name="T2" fmla="*/ 23 w 46"/>
                  <a:gd name="T3" fmla="*/ 12 h 12"/>
                  <a:gd name="T4" fmla="*/ 46 w 46"/>
                  <a:gd name="T5" fmla="*/ 0 h 12"/>
                  <a:gd name="T6" fmla="*/ 0 w 46"/>
                  <a:gd name="T7" fmla="*/ 0 h 12"/>
                </a:gdLst>
                <a:ahLst/>
                <a:cxnLst>
                  <a:cxn ang="0">
                    <a:pos x="T0" y="T1"/>
                  </a:cxn>
                  <a:cxn ang="0">
                    <a:pos x="T2" y="T3"/>
                  </a:cxn>
                  <a:cxn ang="0">
                    <a:pos x="T4" y="T5"/>
                  </a:cxn>
                  <a:cxn ang="0">
                    <a:pos x="T6" y="T7"/>
                  </a:cxn>
                </a:cxnLst>
                <a:rect l="0" t="0" r="r" b="b"/>
                <a:pathLst>
                  <a:path w="46" h="12">
                    <a:moveTo>
                      <a:pt x="0" y="0"/>
                    </a:moveTo>
                    <a:cubicBezTo>
                      <a:pt x="3" y="7"/>
                      <a:pt x="12" y="12"/>
                      <a:pt x="23" y="12"/>
                    </a:cubicBezTo>
                    <a:cubicBezTo>
                      <a:pt x="34" y="12"/>
                      <a:pt x="43" y="7"/>
                      <a:pt x="46"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79" name="Oval 253">
                <a:extLst>
                  <a:ext uri="{FF2B5EF4-FFF2-40B4-BE49-F238E27FC236}">
                    <a16:creationId xmlns:a16="http://schemas.microsoft.com/office/drawing/2014/main" id="{6EE8449F-ACE8-4445-B1E5-533B2EA49B6E}"/>
                  </a:ext>
                </a:extLst>
              </p:cNvPr>
              <p:cNvSpPr>
                <a:spLocks noChangeArrowheads="1"/>
              </p:cNvSpPr>
              <p:nvPr/>
            </p:nvSpPr>
            <p:spPr bwMode="auto">
              <a:xfrm>
                <a:off x="10838410" y="2740161"/>
                <a:ext cx="26811" cy="236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80" name="Oval 254">
                <a:extLst>
                  <a:ext uri="{FF2B5EF4-FFF2-40B4-BE49-F238E27FC236}">
                    <a16:creationId xmlns:a16="http://schemas.microsoft.com/office/drawing/2014/main" id="{511B4E3A-49CE-4397-A9A9-2461D6652CFE}"/>
                  </a:ext>
                </a:extLst>
              </p:cNvPr>
              <p:cNvSpPr>
                <a:spLocks noChangeArrowheads="1"/>
              </p:cNvSpPr>
              <p:nvPr/>
            </p:nvSpPr>
            <p:spPr bwMode="auto">
              <a:xfrm>
                <a:off x="10969789" y="2740161"/>
                <a:ext cx="26811" cy="236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81" name="Freeform 45">
                <a:extLst>
                  <a:ext uri="{FF2B5EF4-FFF2-40B4-BE49-F238E27FC236}">
                    <a16:creationId xmlns:a16="http://schemas.microsoft.com/office/drawing/2014/main" id="{C06828DC-0134-4DE4-84E8-1C75B6B27C2A}"/>
                  </a:ext>
                </a:extLst>
              </p:cNvPr>
              <p:cNvSpPr>
                <a:spLocks/>
              </p:cNvSpPr>
              <p:nvPr/>
            </p:nvSpPr>
            <p:spPr bwMode="auto">
              <a:xfrm rot="194965">
                <a:off x="11077704" y="2980534"/>
                <a:ext cx="166615" cy="411782"/>
              </a:xfrm>
              <a:custGeom>
                <a:avLst/>
                <a:gdLst>
                  <a:gd name="T0" fmla="*/ 53 w 84"/>
                  <a:gd name="T1" fmla="*/ 213 h 213"/>
                  <a:gd name="T2" fmla="*/ 21 w 84"/>
                  <a:gd name="T3" fmla="*/ 183 h 213"/>
                  <a:gd name="T4" fmla="*/ 9 w 84"/>
                  <a:gd name="T5" fmla="*/ 73 h 213"/>
                  <a:gd name="T6" fmla="*/ 2 w 84"/>
                  <a:gd name="T7" fmla="*/ 39 h 213"/>
                  <a:gd name="T8" fmla="*/ 28 w 84"/>
                  <a:gd name="T9" fmla="*/ 3 h 213"/>
                  <a:gd name="T10" fmla="*/ 64 w 84"/>
                  <a:gd name="T11" fmla="*/ 29 h 213"/>
                  <a:gd name="T12" fmla="*/ 70 w 84"/>
                  <a:gd name="T13" fmla="*/ 61 h 213"/>
                  <a:gd name="T14" fmla="*/ 84 w 84"/>
                  <a:gd name="T15" fmla="*/ 181 h 213"/>
                  <a:gd name="T16" fmla="*/ 53 w 84"/>
                  <a:gd name="T17" fmla="*/ 213 h 213"/>
                  <a:gd name="T18" fmla="*/ 53 w 84"/>
                  <a:gd name="T19"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213">
                    <a:moveTo>
                      <a:pt x="53" y="213"/>
                    </a:moveTo>
                    <a:cubicBezTo>
                      <a:pt x="36" y="213"/>
                      <a:pt x="22" y="200"/>
                      <a:pt x="21" y="183"/>
                    </a:cubicBezTo>
                    <a:cubicBezTo>
                      <a:pt x="20" y="129"/>
                      <a:pt x="15" y="103"/>
                      <a:pt x="9" y="73"/>
                    </a:cubicBezTo>
                    <a:cubicBezTo>
                      <a:pt x="7" y="62"/>
                      <a:pt x="4" y="51"/>
                      <a:pt x="2" y="39"/>
                    </a:cubicBezTo>
                    <a:cubicBezTo>
                      <a:pt x="0" y="22"/>
                      <a:pt x="11" y="6"/>
                      <a:pt x="28" y="3"/>
                    </a:cubicBezTo>
                    <a:cubicBezTo>
                      <a:pt x="45" y="0"/>
                      <a:pt x="61" y="12"/>
                      <a:pt x="64" y="29"/>
                    </a:cubicBezTo>
                    <a:cubicBezTo>
                      <a:pt x="66" y="40"/>
                      <a:pt x="68" y="50"/>
                      <a:pt x="70" y="61"/>
                    </a:cubicBezTo>
                    <a:cubicBezTo>
                      <a:pt x="76" y="92"/>
                      <a:pt x="82" y="122"/>
                      <a:pt x="84" y="181"/>
                    </a:cubicBezTo>
                    <a:cubicBezTo>
                      <a:pt x="84" y="198"/>
                      <a:pt x="71" y="213"/>
                      <a:pt x="53" y="213"/>
                    </a:cubicBezTo>
                    <a:cubicBezTo>
                      <a:pt x="53" y="213"/>
                      <a:pt x="53" y="213"/>
                      <a:pt x="53" y="213"/>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2" name="Freeform 46">
                <a:extLst>
                  <a:ext uri="{FF2B5EF4-FFF2-40B4-BE49-F238E27FC236}">
                    <a16:creationId xmlns:a16="http://schemas.microsoft.com/office/drawing/2014/main" id="{A4619FDF-481E-4133-A47E-3242A18DFFD1}"/>
                  </a:ext>
                </a:extLst>
              </p:cNvPr>
              <p:cNvSpPr>
                <a:spLocks/>
              </p:cNvSpPr>
              <p:nvPr/>
            </p:nvSpPr>
            <p:spPr bwMode="auto">
              <a:xfrm rot="194965">
                <a:off x="11069074" y="3033202"/>
                <a:ext cx="180124" cy="213599"/>
              </a:xfrm>
              <a:custGeom>
                <a:avLst/>
                <a:gdLst>
                  <a:gd name="T0" fmla="*/ 15 w 91"/>
                  <a:gd name="T1" fmla="*/ 111 h 111"/>
                  <a:gd name="T2" fmla="*/ 0 w 91"/>
                  <a:gd name="T3" fmla="*/ 13 h 111"/>
                  <a:gd name="T4" fmla="*/ 76 w 91"/>
                  <a:gd name="T5" fmla="*/ 0 h 111"/>
                  <a:gd name="T6" fmla="*/ 91 w 91"/>
                  <a:gd name="T7" fmla="*/ 103 h 111"/>
                  <a:gd name="T8" fmla="*/ 15 w 91"/>
                  <a:gd name="T9" fmla="*/ 111 h 111"/>
                </a:gdLst>
                <a:ahLst/>
                <a:cxnLst>
                  <a:cxn ang="0">
                    <a:pos x="T0" y="T1"/>
                  </a:cxn>
                  <a:cxn ang="0">
                    <a:pos x="T2" y="T3"/>
                  </a:cxn>
                  <a:cxn ang="0">
                    <a:pos x="T4" y="T5"/>
                  </a:cxn>
                  <a:cxn ang="0">
                    <a:pos x="T6" y="T7"/>
                  </a:cxn>
                  <a:cxn ang="0">
                    <a:pos x="T8" y="T9"/>
                  </a:cxn>
                </a:cxnLst>
                <a:rect l="0" t="0" r="r" b="b"/>
                <a:pathLst>
                  <a:path w="91" h="111">
                    <a:moveTo>
                      <a:pt x="15" y="111"/>
                    </a:moveTo>
                    <a:cubicBezTo>
                      <a:pt x="11" y="78"/>
                      <a:pt x="2" y="20"/>
                      <a:pt x="0" y="13"/>
                    </a:cubicBezTo>
                    <a:cubicBezTo>
                      <a:pt x="76" y="0"/>
                      <a:pt x="76" y="0"/>
                      <a:pt x="76" y="0"/>
                    </a:cubicBezTo>
                    <a:cubicBezTo>
                      <a:pt x="77" y="7"/>
                      <a:pt x="87" y="68"/>
                      <a:pt x="91" y="103"/>
                    </a:cubicBezTo>
                    <a:lnTo>
                      <a:pt x="15" y="11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3" name="Freeform 47">
                <a:extLst>
                  <a:ext uri="{FF2B5EF4-FFF2-40B4-BE49-F238E27FC236}">
                    <a16:creationId xmlns:a16="http://schemas.microsoft.com/office/drawing/2014/main" id="{9B86D0F4-A1E3-44C6-BBE3-F133C5EDCB20}"/>
                  </a:ext>
                </a:extLst>
              </p:cNvPr>
              <p:cNvSpPr>
                <a:spLocks/>
              </p:cNvSpPr>
              <p:nvPr/>
            </p:nvSpPr>
            <p:spPr bwMode="auto">
              <a:xfrm rot="194965">
                <a:off x="11067706" y="2962122"/>
                <a:ext cx="166615" cy="165154"/>
              </a:xfrm>
              <a:custGeom>
                <a:avLst/>
                <a:gdLst>
                  <a:gd name="T0" fmla="*/ 5 w 85"/>
                  <a:gd name="T1" fmla="*/ 33 h 85"/>
                  <a:gd name="T2" fmla="*/ 32 w 85"/>
                  <a:gd name="T3" fmla="*/ 80 h 85"/>
                  <a:gd name="T4" fmla="*/ 80 w 85"/>
                  <a:gd name="T5" fmla="*/ 53 h 85"/>
                  <a:gd name="T6" fmla="*/ 52 w 85"/>
                  <a:gd name="T7" fmla="*/ 6 h 85"/>
                  <a:gd name="T8" fmla="*/ 5 w 85"/>
                  <a:gd name="T9" fmla="*/ 33 h 85"/>
                </a:gdLst>
                <a:ahLst/>
                <a:cxnLst>
                  <a:cxn ang="0">
                    <a:pos x="T0" y="T1"/>
                  </a:cxn>
                  <a:cxn ang="0">
                    <a:pos x="T2" y="T3"/>
                  </a:cxn>
                  <a:cxn ang="0">
                    <a:pos x="T4" y="T5"/>
                  </a:cxn>
                  <a:cxn ang="0">
                    <a:pos x="T6" y="T7"/>
                  </a:cxn>
                  <a:cxn ang="0">
                    <a:pos x="T8" y="T9"/>
                  </a:cxn>
                </a:cxnLst>
                <a:rect l="0" t="0" r="r" b="b"/>
                <a:pathLst>
                  <a:path w="85" h="85">
                    <a:moveTo>
                      <a:pt x="5" y="33"/>
                    </a:moveTo>
                    <a:cubicBezTo>
                      <a:pt x="0" y="53"/>
                      <a:pt x="12" y="74"/>
                      <a:pt x="32" y="80"/>
                    </a:cubicBezTo>
                    <a:cubicBezTo>
                      <a:pt x="53" y="85"/>
                      <a:pt x="74" y="73"/>
                      <a:pt x="80" y="53"/>
                    </a:cubicBezTo>
                    <a:cubicBezTo>
                      <a:pt x="85" y="32"/>
                      <a:pt x="73" y="11"/>
                      <a:pt x="52" y="6"/>
                    </a:cubicBezTo>
                    <a:cubicBezTo>
                      <a:pt x="32" y="0"/>
                      <a:pt x="10" y="12"/>
                      <a:pt x="5" y="3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4" name="Freeform 48">
                <a:extLst>
                  <a:ext uri="{FF2B5EF4-FFF2-40B4-BE49-F238E27FC236}">
                    <a16:creationId xmlns:a16="http://schemas.microsoft.com/office/drawing/2014/main" id="{82C14BFF-AF3D-447F-971D-5F2CF53C62E8}"/>
                  </a:ext>
                </a:extLst>
              </p:cNvPr>
              <p:cNvSpPr>
                <a:spLocks/>
              </p:cNvSpPr>
              <p:nvPr/>
            </p:nvSpPr>
            <p:spPr bwMode="auto">
              <a:xfrm rot="194965">
                <a:off x="11114768" y="3232489"/>
                <a:ext cx="121584" cy="30829"/>
              </a:xfrm>
              <a:custGeom>
                <a:avLst/>
                <a:gdLst>
                  <a:gd name="T0" fmla="*/ 0 w 54"/>
                  <a:gd name="T1" fmla="*/ 7 h 14"/>
                  <a:gd name="T2" fmla="*/ 53 w 54"/>
                  <a:gd name="T3" fmla="*/ 0 h 14"/>
                  <a:gd name="T4" fmla="*/ 54 w 54"/>
                  <a:gd name="T5" fmla="*/ 14 h 14"/>
                  <a:gd name="T6" fmla="*/ 0 w 54"/>
                  <a:gd name="T7" fmla="*/ 12 h 14"/>
                  <a:gd name="T8" fmla="*/ 0 w 54"/>
                  <a:gd name="T9" fmla="*/ 7 h 14"/>
                </a:gdLst>
                <a:ahLst/>
                <a:cxnLst>
                  <a:cxn ang="0">
                    <a:pos x="T0" y="T1"/>
                  </a:cxn>
                  <a:cxn ang="0">
                    <a:pos x="T2" y="T3"/>
                  </a:cxn>
                  <a:cxn ang="0">
                    <a:pos x="T4" y="T5"/>
                  </a:cxn>
                  <a:cxn ang="0">
                    <a:pos x="T6" y="T7"/>
                  </a:cxn>
                  <a:cxn ang="0">
                    <a:pos x="T8" y="T9"/>
                  </a:cxn>
                </a:cxnLst>
                <a:rect l="0" t="0" r="r" b="b"/>
                <a:pathLst>
                  <a:path w="54" h="14">
                    <a:moveTo>
                      <a:pt x="0" y="7"/>
                    </a:moveTo>
                    <a:lnTo>
                      <a:pt x="53" y="0"/>
                    </a:lnTo>
                    <a:lnTo>
                      <a:pt x="54" y="14"/>
                    </a:lnTo>
                    <a:lnTo>
                      <a:pt x="0" y="12"/>
                    </a:lnTo>
                    <a:lnTo>
                      <a:pt x="0" y="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5" name="Freeform 49">
                <a:extLst>
                  <a:ext uri="{FF2B5EF4-FFF2-40B4-BE49-F238E27FC236}">
                    <a16:creationId xmlns:a16="http://schemas.microsoft.com/office/drawing/2014/main" id="{52990B3B-08FA-409C-86E4-B761AEDE9E11}"/>
                  </a:ext>
                </a:extLst>
              </p:cNvPr>
              <p:cNvSpPr>
                <a:spLocks/>
              </p:cNvSpPr>
              <p:nvPr/>
            </p:nvSpPr>
            <p:spPr bwMode="auto">
              <a:xfrm rot="194965">
                <a:off x="11112632" y="2860347"/>
                <a:ext cx="132842" cy="532894"/>
              </a:xfrm>
              <a:custGeom>
                <a:avLst/>
                <a:gdLst>
                  <a:gd name="T0" fmla="*/ 65 w 67"/>
                  <a:gd name="T1" fmla="*/ 245 h 276"/>
                  <a:gd name="T2" fmla="*/ 21 w 67"/>
                  <a:gd name="T3" fmla="*/ 11 h 276"/>
                  <a:gd name="T4" fmla="*/ 2 w 67"/>
                  <a:gd name="T5" fmla="*/ 31 h 276"/>
                  <a:gd name="T6" fmla="*/ 0 w 67"/>
                  <a:gd name="T7" fmla="*/ 79 h 276"/>
                  <a:gd name="T8" fmla="*/ 11 w 67"/>
                  <a:gd name="T9" fmla="*/ 252 h 276"/>
                  <a:gd name="T10" fmla="*/ 42 w 67"/>
                  <a:gd name="T11" fmla="*/ 274 h 276"/>
                  <a:gd name="T12" fmla="*/ 65 w 67"/>
                  <a:gd name="T13" fmla="*/ 245 h 276"/>
                </a:gdLst>
                <a:ahLst/>
                <a:cxnLst>
                  <a:cxn ang="0">
                    <a:pos x="T0" y="T1"/>
                  </a:cxn>
                  <a:cxn ang="0">
                    <a:pos x="T2" y="T3"/>
                  </a:cxn>
                  <a:cxn ang="0">
                    <a:pos x="T4" y="T5"/>
                  </a:cxn>
                  <a:cxn ang="0">
                    <a:pos x="T6" y="T7"/>
                  </a:cxn>
                  <a:cxn ang="0">
                    <a:pos x="T8" y="T9"/>
                  </a:cxn>
                  <a:cxn ang="0">
                    <a:pos x="T10" y="T11"/>
                  </a:cxn>
                  <a:cxn ang="0">
                    <a:pos x="T12" y="T13"/>
                  </a:cxn>
                </a:cxnLst>
                <a:rect l="0" t="0" r="r" b="b"/>
                <a:pathLst>
                  <a:path w="67" h="276">
                    <a:moveTo>
                      <a:pt x="65" y="245"/>
                    </a:moveTo>
                    <a:cubicBezTo>
                      <a:pt x="26" y="0"/>
                      <a:pt x="21" y="11"/>
                      <a:pt x="21" y="11"/>
                    </a:cubicBezTo>
                    <a:cubicBezTo>
                      <a:pt x="19" y="6"/>
                      <a:pt x="8" y="20"/>
                      <a:pt x="2" y="31"/>
                    </a:cubicBezTo>
                    <a:cubicBezTo>
                      <a:pt x="16" y="43"/>
                      <a:pt x="15" y="68"/>
                      <a:pt x="0" y="79"/>
                    </a:cubicBezTo>
                    <a:cubicBezTo>
                      <a:pt x="11" y="252"/>
                      <a:pt x="11" y="252"/>
                      <a:pt x="11" y="252"/>
                    </a:cubicBezTo>
                    <a:cubicBezTo>
                      <a:pt x="13" y="266"/>
                      <a:pt x="27" y="276"/>
                      <a:pt x="42" y="274"/>
                    </a:cubicBezTo>
                    <a:cubicBezTo>
                      <a:pt x="57" y="272"/>
                      <a:pt x="67" y="260"/>
                      <a:pt x="65" y="245"/>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6" name="Freeform 50">
                <a:extLst>
                  <a:ext uri="{FF2B5EF4-FFF2-40B4-BE49-F238E27FC236}">
                    <a16:creationId xmlns:a16="http://schemas.microsoft.com/office/drawing/2014/main" id="{C1E2E90B-A283-4304-99E3-BC20E6016A79}"/>
                  </a:ext>
                </a:extLst>
              </p:cNvPr>
              <p:cNvSpPr>
                <a:spLocks noEditPoints="1"/>
              </p:cNvSpPr>
              <p:nvPr/>
            </p:nvSpPr>
            <p:spPr bwMode="auto">
              <a:xfrm rot="194965">
                <a:off x="11100998" y="2866944"/>
                <a:ext cx="155358" cy="532894"/>
              </a:xfrm>
              <a:custGeom>
                <a:avLst/>
                <a:gdLst>
                  <a:gd name="T0" fmla="*/ 43 w 78"/>
                  <a:gd name="T1" fmla="*/ 276 h 276"/>
                  <a:gd name="T2" fmla="*/ 24 w 78"/>
                  <a:gd name="T3" fmla="*/ 270 h 276"/>
                  <a:gd name="T4" fmla="*/ 11 w 78"/>
                  <a:gd name="T5" fmla="*/ 248 h 276"/>
                  <a:gd name="T6" fmla="*/ 0 w 78"/>
                  <a:gd name="T7" fmla="*/ 72 h 276"/>
                  <a:gd name="T8" fmla="*/ 2 w 78"/>
                  <a:gd name="T9" fmla="*/ 71 h 276"/>
                  <a:gd name="T10" fmla="*/ 12 w 78"/>
                  <a:gd name="T11" fmla="*/ 52 h 276"/>
                  <a:gd name="T12" fmla="*/ 4 w 78"/>
                  <a:gd name="T13" fmla="*/ 32 h 276"/>
                  <a:gd name="T14" fmla="*/ 0 w 78"/>
                  <a:gd name="T15" fmla="*/ 29 h 276"/>
                  <a:gd name="T16" fmla="*/ 2 w 78"/>
                  <a:gd name="T17" fmla="*/ 25 h 276"/>
                  <a:gd name="T18" fmla="*/ 25 w 78"/>
                  <a:gd name="T19" fmla="*/ 1 h 276"/>
                  <a:gd name="T20" fmla="*/ 29 w 78"/>
                  <a:gd name="T21" fmla="*/ 3 h 276"/>
                  <a:gd name="T22" fmla="*/ 40 w 78"/>
                  <a:gd name="T23" fmla="*/ 40 h 276"/>
                  <a:gd name="T24" fmla="*/ 75 w 78"/>
                  <a:gd name="T25" fmla="*/ 240 h 276"/>
                  <a:gd name="T26" fmla="*/ 75 w 78"/>
                  <a:gd name="T27" fmla="*/ 240 h 276"/>
                  <a:gd name="T28" fmla="*/ 48 w 78"/>
                  <a:gd name="T29" fmla="*/ 276 h 276"/>
                  <a:gd name="T30" fmla="*/ 43 w 78"/>
                  <a:gd name="T31" fmla="*/ 276 h 276"/>
                  <a:gd name="T32" fmla="*/ 11 w 78"/>
                  <a:gd name="T33" fmla="*/ 77 h 276"/>
                  <a:gd name="T34" fmla="*/ 22 w 78"/>
                  <a:gd name="T35" fmla="*/ 247 h 276"/>
                  <a:gd name="T36" fmla="*/ 30 w 78"/>
                  <a:gd name="T37" fmla="*/ 261 h 276"/>
                  <a:gd name="T38" fmla="*/ 46 w 78"/>
                  <a:gd name="T39" fmla="*/ 265 h 276"/>
                  <a:gd name="T40" fmla="*/ 65 w 78"/>
                  <a:gd name="T41" fmla="*/ 242 h 276"/>
                  <a:gd name="T42" fmla="*/ 25 w 78"/>
                  <a:gd name="T43" fmla="*/ 21 h 276"/>
                  <a:gd name="T44" fmla="*/ 24 w 78"/>
                  <a:gd name="T45" fmla="*/ 23 h 276"/>
                  <a:gd name="T46" fmla="*/ 22 w 78"/>
                  <a:gd name="T47" fmla="*/ 15 h 276"/>
                  <a:gd name="T48" fmla="*/ 14 w 78"/>
                  <a:gd name="T49" fmla="*/ 27 h 276"/>
                  <a:gd name="T50" fmla="*/ 22 w 78"/>
                  <a:gd name="T51" fmla="*/ 52 h 276"/>
                  <a:gd name="T52" fmla="*/ 11 w 78"/>
                  <a:gd name="T53" fmla="*/ 7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8" h="276">
                    <a:moveTo>
                      <a:pt x="43" y="276"/>
                    </a:moveTo>
                    <a:cubicBezTo>
                      <a:pt x="36" y="276"/>
                      <a:pt x="29" y="274"/>
                      <a:pt x="24" y="270"/>
                    </a:cubicBezTo>
                    <a:cubicBezTo>
                      <a:pt x="17" y="264"/>
                      <a:pt x="12" y="257"/>
                      <a:pt x="11" y="248"/>
                    </a:cubicBezTo>
                    <a:cubicBezTo>
                      <a:pt x="0" y="72"/>
                      <a:pt x="0" y="72"/>
                      <a:pt x="0" y="72"/>
                    </a:cubicBezTo>
                    <a:cubicBezTo>
                      <a:pt x="2" y="71"/>
                      <a:pt x="2" y="71"/>
                      <a:pt x="2" y="71"/>
                    </a:cubicBezTo>
                    <a:cubicBezTo>
                      <a:pt x="8" y="67"/>
                      <a:pt x="11" y="60"/>
                      <a:pt x="12" y="52"/>
                    </a:cubicBezTo>
                    <a:cubicBezTo>
                      <a:pt x="12" y="44"/>
                      <a:pt x="9" y="36"/>
                      <a:pt x="4" y="32"/>
                    </a:cubicBezTo>
                    <a:cubicBezTo>
                      <a:pt x="0" y="29"/>
                      <a:pt x="0" y="29"/>
                      <a:pt x="0" y="29"/>
                    </a:cubicBezTo>
                    <a:cubicBezTo>
                      <a:pt x="2" y="25"/>
                      <a:pt x="2" y="25"/>
                      <a:pt x="2" y="25"/>
                    </a:cubicBezTo>
                    <a:cubicBezTo>
                      <a:pt x="3" y="24"/>
                      <a:pt x="16" y="0"/>
                      <a:pt x="25" y="1"/>
                    </a:cubicBezTo>
                    <a:cubicBezTo>
                      <a:pt x="27" y="1"/>
                      <a:pt x="28" y="2"/>
                      <a:pt x="29" y="3"/>
                    </a:cubicBezTo>
                    <a:cubicBezTo>
                      <a:pt x="32" y="5"/>
                      <a:pt x="34" y="12"/>
                      <a:pt x="40" y="40"/>
                    </a:cubicBezTo>
                    <a:cubicBezTo>
                      <a:pt x="49" y="79"/>
                      <a:pt x="60" y="146"/>
                      <a:pt x="75" y="240"/>
                    </a:cubicBezTo>
                    <a:cubicBezTo>
                      <a:pt x="75" y="240"/>
                      <a:pt x="75" y="240"/>
                      <a:pt x="75" y="240"/>
                    </a:cubicBezTo>
                    <a:cubicBezTo>
                      <a:pt x="78" y="258"/>
                      <a:pt x="65" y="273"/>
                      <a:pt x="48" y="276"/>
                    </a:cubicBezTo>
                    <a:cubicBezTo>
                      <a:pt x="46" y="276"/>
                      <a:pt x="45" y="276"/>
                      <a:pt x="43" y="276"/>
                    </a:cubicBezTo>
                    <a:close/>
                    <a:moveTo>
                      <a:pt x="11" y="77"/>
                    </a:moveTo>
                    <a:cubicBezTo>
                      <a:pt x="22" y="247"/>
                      <a:pt x="22" y="247"/>
                      <a:pt x="22" y="247"/>
                    </a:cubicBezTo>
                    <a:cubicBezTo>
                      <a:pt x="22" y="253"/>
                      <a:pt x="25" y="258"/>
                      <a:pt x="30" y="261"/>
                    </a:cubicBezTo>
                    <a:cubicBezTo>
                      <a:pt x="35" y="264"/>
                      <a:pt x="40" y="266"/>
                      <a:pt x="46" y="265"/>
                    </a:cubicBezTo>
                    <a:cubicBezTo>
                      <a:pt x="58" y="263"/>
                      <a:pt x="66" y="253"/>
                      <a:pt x="65" y="242"/>
                    </a:cubicBezTo>
                    <a:cubicBezTo>
                      <a:pt x="41" y="92"/>
                      <a:pt x="30" y="39"/>
                      <a:pt x="25" y="21"/>
                    </a:cubicBezTo>
                    <a:cubicBezTo>
                      <a:pt x="24" y="23"/>
                      <a:pt x="24" y="23"/>
                      <a:pt x="24" y="23"/>
                    </a:cubicBezTo>
                    <a:cubicBezTo>
                      <a:pt x="22" y="15"/>
                      <a:pt x="22" y="15"/>
                      <a:pt x="22" y="15"/>
                    </a:cubicBezTo>
                    <a:cubicBezTo>
                      <a:pt x="19" y="18"/>
                      <a:pt x="16" y="22"/>
                      <a:pt x="14" y="27"/>
                    </a:cubicBezTo>
                    <a:cubicBezTo>
                      <a:pt x="20" y="33"/>
                      <a:pt x="23" y="42"/>
                      <a:pt x="22" y="52"/>
                    </a:cubicBezTo>
                    <a:cubicBezTo>
                      <a:pt x="22" y="62"/>
                      <a:pt x="18" y="71"/>
                      <a:pt x="11" y="77"/>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nvGrpSpPr>
              <p:cNvPr id="87" name="Group 86">
                <a:extLst>
                  <a:ext uri="{FF2B5EF4-FFF2-40B4-BE49-F238E27FC236}">
                    <a16:creationId xmlns:a16="http://schemas.microsoft.com/office/drawing/2014/main" id="{24614C06-BDDC-4C7E-A28F-5EA24CA30995}"/>
                  </a:ext>
                </a:extLst>
              </p:cNvPr>
              <p:cNvGrpSpPr/>
              <p:nvPr/>
            </p:nvGrpSpPr>
            <p:grpSpPr>
              <a:xfrm>
                <a:off x="11050905" y="2705100"/>
                <a:ext cx="89400" cy="180975"/>
                <a:chOff x="11016469" y="2714020"/>
                <a:chExt cx="123836" cy="206992"/>
              </a:xfrm>
              <a:solidFill>
                <a:srgbClr val="0078D8"/>
              </a:solidFill>
            </p:grpSpPr>
            <p:sp>
              <p:nvSpPr>
                <p:cNvPr id="103" name="Oval 243">
                  <a:extLst>
                    <a:ext uri="{FF2B5EF4-FFF2-40B4-BE49-F238E27FC236}">
                      <a16:creationId xmlns:a16="http://schemas.microsoft.com/office/drawing/2014/main" id="{322995B2-F647-4BDA-846E-16749240A348}"/>
                    </a:ext>
                  </a:extLst>
                </p:cNvPr>
                <p:cNvSpPr>
                  <a:spLocks noChangeArrowheads="1"/>
                </p:cNvSpPr>
                <p:nvPr/>
              </p:nvSpPr>
              <p:spPr bwMode="auto">
                <a:xfrm>
                  <a:off x="11020730" y="2744664"/>
                  <a:ext cx="88479" cy="865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104" name="Oval 244">
                  <a:extLst>
                    <a:ext uri="{FF2B5EF4-FFF2-40B4-BE49-F238E27FC236}">
                      <a16:creationId xmlns:a16="http://schemas.microsoft.com/office/drawing/2014/main" id="{AECB84DA-BD2D-4226-A82A-C4BCEE018D25}"/>
                    </a:ext>
                  </a:extLst>
                </p:cNvPr>
                <p:cNvSpPr>
                  <a:spLocks noChangeArrowheads="1"/>
                </p:cNvSpPr>
                <p:nvPr/>
              </p:nvSpPr>
              <p:spPr bwMode="auto">
                <a:xfrm>
                  <a:off x="11085079" y="2804977"/>
                  <a:ext cx="24131" cy="262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105" name="Freeform 27">
                  <a:extLst>
                    <a:ext uri="{FF2B5EF4-FFF2-40B4-BE49-F238E27FC236}">
                      <a16:creationId xmlns:a16="http://schemas.microsoft.com/office/drawing/2014/main" id="{B280ED28-E6E3-4707-A787-E906ADE4FF58}"/>
                    </a:ext>
                  </a:extLst>
                </p:cNvPr>
                <p:cNvSpPr>
                  <a:spLocks noEditPoints="1"/>
                </p:cNvSpPr>
                <p:nvPr/>
              </p:nvSpPr>
              <p:spPr bwMode="auto">
                <a:xfrm rot="194965">
                  <a:off x="11016469" y="2714020"/>
                  <a:ext cx="123836" cy="206992"/>
                </a:xfrm>
                <a:custGeom>
                  <a:avLst/>
                  <a:gdLst>
                    <a:gd name="T0" fmla="*/ 56 w 63"/>
                    <a:gd name="T1" fmla="*/ 0 h 107"/>
                    <a:gd name="T2" fmla="*/ 6 w 63"/>
                    <a:gd name="T3" fmla="*/ 0 h 107"/>
                    <a:gd name="T4" fmla="*/ 0 w 63"/>
                    <a:gd name="T5" fmla="*/ 7 h 107"/>
                    <a:gd name="T6" fmla="*/ 0 w 63"/>
                    <a:gd name="T7" fmla="*/ 100 h 107"/>
                    <a:gd name="T8" fmla="*/ 6 w 63"/>
                    <a:gd name="T9" fmla="*/ 107 h 107"/>
                    <a:gd name="T10" fmla="*/ 56 w 63"/>
                    <a:gd name="T11" fmla="*/ 107 h 107"/>
                    <a:gd name="T12" fmla="*/ 63 w 63"/>
                    <a:gd name="T13" fmla="*/ 100 h 107"/>
                    <a:gd name="T14" fmla="*/ 63 w 63"/>
                    <a:gd name="T15" fmla="*/ 7 h 107"/>
                    <a:gd name="T16" fmla="*/ 56 w 63"/>
                    <a:gd name="T17" fmla="*/ 0 h 107"/>
                    <a:gd name="T18" fmla="*/ 40 w 63"/>
                    <a:gd name="T19" fmla="*/ 97 h 107"/>
                    <a:gd name="T20" fmla="*/ 23 w 63"/>
                    <a:gd name="T21" fmla="*/ 97 h 107"/>
                    <a:gd name="T22" fmla="*/ 23 w 63"/>
                    <a:gd name="T23" fmla="*/ 90 h 107"/>
                    <a:gd name="T24" fmla="*/ 40 w 63"/>
                    <a:gd name="T25" fmla="*/ 90 h 107"/>
                    <a:gd name="T26" fmla="*/ 40 w 63"/>
                    <a:gd name="T27" fmla="*/ 97 h 107"/>
                    <a:gd name="T28" fmla="*/ 56 w 63"/>
                    <a:gd name="T29" fmla="*/ 80 h 107"/>
                    <a:gd name="T30" fmla="*/ 6 w 63"/>
                    <a:gd name="T31" fmla="*/ 80 h 107"/>
                    <a:gd name="T32" fmla="*/ 6 w 63"/>
                    <a:gd name="T33" fmla="*/ 7 h 107"/>
                    <a:gd name="T34" fmla="*/ 56 w 63"/>
                    <a:gd name="T35" fmla="*/ 7 h 107"/>
                    <a:gd name="T36" fmla="*/ 56 w 63"/>
                    <a:gd name="T37" fmla="*/ 8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3" h="107">
                      <a:moveTo>
                        <a:pt x="56" y="0"/>
                      </a:moveTo>
                      <a:cubicBezTo>
                        <a:pt x="6" y="0"/>
                        <a:pt x="6" y="0"/>
                        <a:pt x="6" y="0"/>
                      </a:cubicBezTo>
                      <a:cubicBezTo>
                        <a:pt x="3" y="0"/>
                        <a:pt x="0" y="3"/>
                        <a:pt x="0" y="7"/>
                      </a:cubicBezTo>
                      <a:cubicBezTo>
                        <a:pt x="0" y="100"/>
                        <a:pt x="0" y="100"/>
                        <a:pt x="0" y="100"/>
                      </a:cubicBezTo>
                      <a:cubicBezTo>
                        <a:pt x="0" y="104"/>
                        <a:pt x="3" y="107"/>
                        <a:pt x="6" y="107"/>
                      </a:cubicBezTo>
                      <a:cubicBezTo>
                        <a:pt x="56" y="107"/>
                        <a:pt x="56" y="107"/>
                        <a:pt x="56" y="107"/>
                      </a:cubicBezTo>
                      <a:cubicBezTo>
                        <a:pt x="60" y="107"/>
                        <a:pt x="63" y="104"/>
                        <a:pt x="63" y="100"/>
                      </a:cubicBezTo>
                      <a:cubicBezTo>
                        <a:pt x="63" y="7"/>
                        <a:pt x="63" y="7"/>
                        <a:pt x="63" y="7"/>
                      </a:cubicBezTo>
                      <a:cubicBezTo>
                        <a:pt x="63" y="3"/>
                        <a:pt x="60" y="0"/>
                        <a:pt x="56" y="0"/>
                      </a:cubicBezTo>
                      <a:close/>
                      <a:moveTo>
                        <a:pt x="40" y="97"/>
                      </a:moveTo>
                      <a:cubicBezTo>
                        <a:pt x="23" y="97"/>
                        <a:pt x="23" y="97"/>
                        <a:pt x="23" y="97"/>
                      </a:cubicBezTo>
                      <a:cubicBezTo>
                        <a:pt x="23" y="90"/>
                        <a:pt x="23" y="90"/>
                        <a:pt x="23" y="90"/>
                      </a:cubicBezTo>
                      <a:cubicBezTo>
                        <a:pt x="40" y="90"/>
                        <a:pt x="40" y="90"/>
                        <a:pt x="40" y="90"/>
                      </a:cubicBezTo>
                      <a:lnTo>
                        <a:pt x="40" y="97"/>
                      </a:lnTo>
                      <a:close/>
                      <a:moveTo>
                        <a:pt x="56" y="80"/>
                      </a:moveTo>
                      <a:cubicBezTo>
                        <a:pt x="6" y="80"/>
                        <a:pt x="6" y="80"/>
                        <a:pt x="6" y="80"/>
                      </a:cubicBezTo>
                      <a:cubicBezTo>
                        <a:pt x="6" y="7"/>
                        <a:pt x="6" y="7"/>
                        <a:pt x="6" y="7"/>
                      </a:cubicBezTo>
                      <a:cubicBezTo>
                        <a:pt x="56" y="7"/>
                        <a:pt x="56" y="7"/>
                        <a:pt x="56" y="7"/>
                      </a:cubicBezTo>
                      <a:lnTo>
                        <a:pt x="56"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6" name="Rectangle 28">
                  <a:extLst>
                    <a:ext uri="{FF2B5EF4-FFF2-40B4-BE49-F238E27FC236}">
                      <a16:creationId xmlns:a16="http://schemas.microsoft.com/office/drawing/2014/main" id="{3C4144D1-981A-4518-8C99-90C80CAF29C0}"/>
                    </a:ext>
                  </a:extLst>
                </p:cNvPr>
                <p:cNvSpPr>
                  <a:spLocks noChangeArrowheads="1"/>
                </p:cNvSpPr>
                <p:nvPr/>
              </p:nvSpPr>
              <p:spPr bwMode="auto">
                <a:xfrm rot="194965">
                  <a:off x="11028852" y="2727201"/>
                  <a:ext cx="99068" cy="14093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7" name="Rectangle 29">
                  <a:extLst>
                    <a:ext uri="{FF2B5EF4-FFF2-40B4-BE49-F238E27FC236}">
                      <a16:creationId xmlns:a16="http://schemas.microsoft.com/office/drawing/2014/main" id="{8F19479B-E31B-4D83-80F3-38FDBEA14396}"/>
                    </a:ext>
                  </a:extLst>
                </p:cNvPr>
                <p:cNvSpPr>
                  <a:spLocks noChangeArrowheads="1"/>
                </p:cNvSpPr>
                <p:nvPr/>
              </p:nvSpPr>
              <p:spPr bwMode="auto">
                <a:xfrm rot="194965">
                  <a:off x="11057131" y="2887859"/>
                  <a:ext cx="33774" cy="132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8" name="Rectangle 30">
                  <a:extLst>
                    <a:ext uri="{FF2B5EF4-FFF2-40B4-BE49-F238E27FC236}">
                      <a16:creationId xmlns:a16="http://schemas.microsoft.com/office/drawing/2014/main" id="{3BF44FA5-5B8B-44C1-8FD5-FDAD5A7F6C67}"/>
                    </a:ext>
                  </a:extLst>
                </p:cNvPr>
                <p:cNvSpPr>
                  <a:spLocks noChangeArrowheads="1"/>
                </p:cNvSpPr>
                <p:nvPr/>
              </p:nvSpPr>
              <p:spPr bwMode="auto">
                <a:xfrm rot="194965">
                  <a:off x="11100227" y="2801638"/>
                  <a:ext cx="18012"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9" name="Rectangle 31">
                  <a:extLst>
                    <a:ext uri="{FF2B5EF4-FFF2-40B4-BE49-F238E27FC236}">
                      <a16:creationId xmlns:a16="http://schemas.microsoft.com/office/drawing/2014/main" id="{D68AAC8D-F254-44B3-BC3C-446DBED1CF69}"/>
                    </a:ext>
                  </a:extLst>
                </p:cNvPr>
                <p:cNvSpPr>
                  <a:spLocks noChangeArrowheads="1"/>
                </p:cNvSpPr>
                <p:nvPr/>
              </p:nvSpPr>
              <p:spPr bwMode="auto">
                <a:xfrm rot="194965">
                  <a:off x="11040075" y="2739327"/>
                  <a:ext cx="40528" cy="3743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0" name="Rectangle 32">
                  <a:extLst>
                    <a:ext uri="{FF2B5EF4-FFF2-40B4-BE49-F238E27FC236}">
                      <a16:creationId xmlns:a16="http://schemas.microsoft.com/office/drawing/2014/main" id="{CBBEF79E-0684-49B0-9F69-30880C0371F2}"/>
                    </a:ext>
                  </a:extLst>
                </p:cNvPr>
                <p:cNvSpPr>
                  <a:spLocks noChangeArrowheads="1"/>
                </p:cNvSpPr>
                <p:nvPr/>
              </p:nvSpPr>
              <p:spPr bwMode="auto">
                <a:xfrm rot="194965">
                  <a:off x="11058059" y="2780049"/>
                  <a:ext cx="40528" cy="3743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1" name="Rectangle 33">
                  <a:extLst>
                    <a:ext uri="{FF2B5EF4-FFF2-40B4-BE49-F238E27FC236}">
                      <a16:creationId xmlns:a16="http://schemas.microsoft.com/office/drawing/2014/main" id="{F32B5F7F-BE02-4D12-AA43-324ADC2F6349}"/>
                    </a:ext>
                  </a:extLst>
                </p:cNvPr>
                <p:cNvSpPr>
                  <a:spLocks noChangeArrowheads="1"/>
                </p:cNvSpPr>
                <p:nvPr/>
              </p:nvSpPr>
              <p:spPr bwMode="auto">
                <a:xfrm rot="194965">
                  <a:off x="11078231" y="2820832"/>
                  <a:ext cx="38277" cy="39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2" name="Rectangle 34">
                  <a:extLst>
                    <a:ext uri="{FF2B5EF4-FFF2-40B4-BE49-F238E27FC236}">
                      <a16:creationId xmlns:a16="http://schemas.microsoft.com/office/drawing/2014/main" id="{5C4CAD20-6709-4D0C-A618-8372E9ABCC8D}"/>
                    </a:ext>
                  </a:extLst>
                </p:cNvPr>
                <p:cNvSpPr>
                  <a:spLocks noChangeArrowheads="1"/>
                </p:cNvSpPr>
                <p:nvPr/>
              </p:nvSpPr>
              <p:spPr bwMode="auto">
                <a:xfrm rot="194965">
                  <a:off x="11083427" y="2741131"/>
                  <a:ext cx="18012" cy="154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3" name="Rectangle 35">
                  <a:extLst>
                    <a:ext uri="{FF2B5EF4-FFF2-40B4-BE49-F238E27FC236}">
                      <a16:creationId xmlns:a16="http://schemas.microsoft.com/office/drawing/2014/main" id="{4B315F09-0B4D-4763-95D4-4E295BF559BB}"/>
                    </a:ext>
                  </a:extLst>
                </p:cNvPr>
                <p:cNvSpPr>
                  <a:spLocks noChangeArrowheads="1"/>
                </p:cNvSpPr>
                <p:nvPr/>
              </p:nvSpPr>
              <p:spPr bwMode="auto">
                <a:xfrm rot="194965">
                  <a:off x="11103659" y="2742279"/>
                  <a:ext cx="18012" cy="154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4" name="Rectangle 36">
                  <a:extLst>
                    <a:ext uri="{FF2B5EF4-FFF2-40B4-BE49-F238E27FC236}">
                      <a16:creationId xmlns:a16="http://schemas.microsoft.com/office/drawing/2014/main" id="{550BDA57-0BEC-4F10-92F2-195B727DBBB0}"/>
                    </a:ext>
                  </a:extLst>
                </p:cNvPr>
                <p:cNvSpPr>
                  <a:spLocks noChangeArrowheads="1"/>
                </p:cNvSpPr>
                <p:nvPr/>
              </p:nvSpPr>
              <p:spPr bwMode="auto">
                <a:xfrm rot="194965">
                  <a:off x="11082304" y="2758713"/>
                  <a:ext cx="18012" cy="198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5" name="Rectangle 37">
                  <a:extLst>
                    <a:ext uri="{FF2B5EF4-FFF2-40B4-BE49-F238E27FC236}">
                      <a16:creationId xmlns:a16="http://schemas.microsoft.com/office/drawing/2014/main" id="{AAC46984-3495-442E-9F14-EC7E1CEEEF27}"/>
                    </a:ext>
                  </a:extLst>
                </p:cNvPr>
                <p:cNvSpPr>
                  <a:spLocks noChangeArrowheads="1"/>
                </p:cNvSpPr>
                <p:nvPr/>
              </p:nvSpPr>
              <p:spPr bwMode="auto">
                <a:xfrm rot="194965">
                  <a:off x="11102536" y="2759859"/>
                  <a:ext cx="18012" cy="198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6" name="Rectangle 38">
                  <a:extLst>
                    <a:ext uri="{FF2B5EF4-FFF2-40B4-BE49-F238E27FC236}">
                      <a16:creationId xmlns:a16="http://schemas.microsoft.com/office/drawing/2014/main" id="{A438B47A-FAAF-4B5F-8DD7-B2CBEF1569C9}"/>
                    </a:ext>
                  </a:extLst>
                </p:cNvPr>
                <p:cNvSpPr>
                  <a:spLocks noChangeArrowheads="1"/>
                </p:cNvSpPr>
                <p:nvPr/>
              </p:nvSpPr>
              <p:spPr bwMode="auto">
                <a:xfrm rot="194965">
                  <a:off x="11038409" y="2778272"/>
                  <a:ext cx="18012"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7" name="Rectangle 39">
                  <a:extLst>
                    <a:ext uri="{FF2B5EF4-FFF2-40B4-BE49-F238E27FC236}">
                      <a16:creationId xmlns:a16="http://schemas.microsoft.com/office/drawing/2014/main" id="{2503E2E8-BF19-4711-B1F8-CE168B4E05C4}"/>
                    </a:ext>
                  </a:extLst>
                </p:cNvPr>
                <p:cNvSpPr>
                  <a:spLocks noChangeArrowheads="1"/>
                </p:cNvSpPr>
                <p:nvPr/>
              </p:nvSpPr>
              <p:spPr bwMode="auto">
                <a:xfrm rot="194965">
                  <a:off x="11101351" y="2781846"/>
                  <a:ext cx="18012"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8" name="Rectangle 40">
                  <a:extLst>
                    <a:ext uri="{FF2B5EF4-FFF2-40B4-BE49-F238E27FC236}">
                      <a16:creationId xmlns:a16="http://schemas.microsoft.com/office/drawing/2014/main" id="{9D91A9CA-6170-442C-9682-5B4D8164AAC6}"/>
                    </a:ext>
                  </a:extLst>
                </p:cNvPr>
                <p:cNvSpPr>
                  <a:spLocks noChangeArrowheads="1"/>
                </p:cNvSpPr>
                <p:nvPr/>
              </p:nvSpPr>
              <p:spPr bwMode="auto">
                <a:xfrm rot="194965">
                  <a:off x="11037285" y="2798061"/>
                  <a:ext cx="18012"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9" name="Rectangle 41">
                  <a:extLst>
                    <a:ext uri="{FF2B5EF4-FFF2-40B4-BE49-F238E27FC236}">
                      <a16:creationId xmlns:a16="http://schemas.microsoft.com/office/drawing/2014/main" id="{0E53B8B7-06A8-40CE-AEC6-950C17A5DE1E}"/>
                    </a:ext>
                  </a:extLst>
                </p:cNvPr>
                <p:cNvSpPr>
                  <a:spLocks noChangeArrowheads="1"/>
                </p:cNvSpPr>
                <p:nvPr/>
              </p:nvSpPr>
              <p:spPr bwMode="auto">
                <a:xfrm rot="194965">
                  <a:off x="11036162" y="2817845"/>
                  <a:ext cx="18012"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20" name="Rectangle 42">
                  <a:extLst>
                    <a:ext uri="{FF2B5EF4-FFF2-40B4-BE49-F238E27FC236}">
                      <a16:creationId xmlns:a16="http://schemas.microsoft.com/office/drawing/2014/main" id="{1AF24DE1-0291-4DC8-A27F-750888193CF9}"/>
                    </a:ext>
                  </a:extLst>
                </p:cNvPr>
                <p:cNvSpPr>
                  <a:spLocks noChangeArrowheads="1"/>
                </p:cNvSpPr>
                <p:nvPr/>
              </p:nvSpPr>
              <p:spPr bwMode="auto">
                <a:xfrm rot="194965">
                  <a:off x="11056391" y="2819058"/>
                  <a:ext cx="20265"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21" name="Rectangle 43">
                  <a:extLst>
                    <a:ext uri="{FF2B5EF4-FFF2-40B4-BE49-F238E27FC236}">
                      <a16:creationId xmlns:a16="http://schemas.microsoft.com/office/drawing/2014/main" id="{CB992C35-98A4-450C-9C2B-B3622086F38A}"/>
                    </a:ext>
                  </a:extLst>
                </p:cNvPr>
                <p:cNvSpPr>
                  <a:spLocks noChangeArrowheads="1"/>
                </p:cNvSpPr>
                <p:nvPr/>
              </p:nvSpPr>
              <p:spPr bwMode="auto">
                <a:xfrm rot="194965">
                  <a:off x="11034972" y="2837630"/>
                  <a:ext cx="18012" cy="198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22" name="Rectangle 44">
                  <a:extLst>
                    <a:ext uri="{FF2B5EF4-FFF2-40B4-BE49-F238E27FC236}">
                      <a16:creationId xmlns:a16="http://schemas.microsoft.com/office/drawing/2014/main" id="{DADE108B-54F7-4791-9069-7A19B5776610}"/>
                    </a:ext>
                  </a:extLst>
                </p:cNvPr>
                <p:cNvSpPr>
                  <a:spLocks noChangeArrowheads="1"/>
                </p:cNvSpPr>
                <p:nvPr/>
              </p:nvSpPr>
              <p:spPr bwMode="auto">
                <a:xfrm rot="194965">
                  <a:off x="11055208" y="2838843"/>
                  <a:ext cx="20265" cy="198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23" name="Rectangle 122">
                  <a:extLst>
                    <a:ext uri="{FF2B5EF4-FFF2-40B4-BE49-F238E27FC236}">
                      <a16:creationId xmlns:a16="http://schemas.microsoft.com/office/drawing/2014/main" id="{1F2D46DC-5316-496C-A706-6B9F60BEFDCA}"/>
                    </a:ext>
                  </a:extLst>
                </p:cNvPr>
                <p:cNvSpPr/>
                <p:nvPr/>
              </p:nvSpPr>
              <p:spPr bwMode="auto">
                <a:xfrm rot="163847">
                  <a:off x="11023800" y="2726489"/>
                  <a:ext cx="109005" cy="178275"/>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8" name="Freeform 69">
                <a:extLst>
                  <a:ext uri="{FF2B5EF4-FFF2-40B4-BE49-F238E27FC236}">
                    <a16:creationId xmlns:a16="http://schemas.microsoft.com/office/drawing/2014/main" id="{33591073-8B44-4B1A-8E09-EF6A8BFA988E}"/>
                  </a:ext>
                </a:extLst>
              </p:cNvPr>
              <p:cNvSpPr>
                <a:spLocks/>
              </p:cNvSpPr>
              <p:nvPr/>
            </p:nvSpPr>
            <p:spPr bwMode="auto">
              <a:xfrm rot="194965">
                <a:off x="11083794" y="2743296"/>
                <a:ext cx="114830" cy="273053"/>
              </a:xfrm>
              <a:custGeom>
                <a:avLst/>
                <a:gdLst>
                  <a:gd name="T0" fmla="*/ 50 w 58"/>
                  <a:gd name="T1" fmla="*/ 86 h 141"/>
                  <a:gd name="T2" fmla="*/ 46 w 58"/>
                  <a:gd name="T3" fmla="*/ 31 h 141"/>
                  <a:gd name="T4" fmla="*/ 36 w 58"/>
                  <a:gd name="T5" fmla="*/ 20 h 141"/>
                  <a:gd name="T6" fmla="*/ 26 w 58"/>
                  <a:gd name="T7" fmla="*/ 10 h 141"/>
                  <a:gd name="T8" fmla="*/ 17 w 58"/>
                  <a:gd name="T9" fmla="*/ 3 h 141"/>
                  <a:gd name="T10" fmla="*/ 17 w 58"/>
                  <a:gd name="T11" fmla="*/ 14 h 141"/>
                  <a:gd name="T12" fmla="*/ 10 w 58"/>
                  <a:gd name="T13" fmla="*/ 27 h 141"/>
                  <a:gd name="T14" fmla="*/ 13 w 58"/>
                  <a:gd name="T15" fmla="*/ 38 h 141"/>
                  <a:gd name="T16" fmla="*/ 0 w 58"/>
                  <a:gd name="T17" fmla="*/ 34 h 141"/>
                  <a:gd name="T18" fmla="*/ 17 w 58"/>
                  <a:gd name="T19" fmla="*/ 79 h 141"/>
                  <a:gd name="T20" fmla="*/ 17 w 58"/>
                  <a:gd name="T21" fmla="*/ 141 h 141"/>
                  <a:gd name="T22" fmla="*/ 58 w 58"/>
                  <a:gd name="T23" fmla="*/ 123 h 141"/>
                  <a:gd name="T24" fmla="*/ 50 w 58"/>
                  <a:gd name="T25" fmla="*/ 8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141">
                    <a:moveTo>
                      <a:pt x="50" y="86"/>
                    </a:moveTo>
                    <a:cubicBezTo>
                      <a:pt x="53" y="58"/>
                      <a:pt x="56" y="51"/>
                      <a:pt x="46" y="31"/>
                    </a:cubicBezTo>
                    <a:cubicBezTo>
                      <a:pt x="43" y="17"/>
                      <a:pt x="36" y="14"/>
                      <a:pt x="36" y="20"/>
                    </a:cubicBezTo>
                    <a:cubicBezTo>
                      <a:pt x="36" y="7"/>
                      <a:pt x="26" y="0"/>
                      <a:pt x="26" y="10"/>
                    </a:cubicBezTo>
                    <a:cubicBezTo>
                      <a:pt x="23" y="7"/>
                      <a:pt x="20" y="3"/>
                      <a:pt x="17" y="3"/>
                    </a:cubicBezTo>
                    <a:cubicBezTo>
                      <a:pt x="13" y="7"/>
                      <a:pt x="17" y="10"/>
                      <a:pt x="17" y="14"/>
                    </a:cubicBezTo>
                    <a:cubicBezTo>
                      <a:pt x="13" y="14"/>
                      <a:pt x="7" y="17"/>
                      <a:pt x="10" y="27"/>
                    </a:cubicBezTo>
                    <a:cubicBezTo>
                      <a:pt x="13" y="34"/>
                      <a:pt x="13" y="38"/>
                      <a:pt x="13" y="38"/>
                    </a:cubicBezTo>
                    <a:cubicBezTo>
                      <a:pt x="7" y="31"/>
                      <a:pt x="3" y="31"/>
                      <a:pt x="0" y="34"/>
                    </a:cubicBezTo>
                    <a:cubicBezTo>
                      <a:pt x="3" y="45"/>
                      <a:pt x="13" y="75"/>
                      <a:pt x="17" y="79"/>
                    </a:cubicBezTo>
                    <a:cubicBezTo>
                      <a:pt x="17" y="141"/>
                      <a:pt x="17" y="141"/>
                      <a:pt x="17" y="141"/>
                    </a:cubicBezTo>
                    <a:cubicBezTo>
                      <a:pt x="58" y="123"/>
                      <a:pt x="58" y="123"/>
                      <a:pt x="58" y="123"/>
                    </a:cubicBezTo>
                    <a:lnTo>
                      <a:pt x="50" y="86"/>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9" name="Rectangle 226">
                <a:extLst>
                  <a:ext uri="{FF2B5EF4-FFF2-40B4-BE49-F238E27FC236}">
                    <a16:creationId xmlns:a16="http://schemas.microsoft.com/office/drawing/2014/main" id="{AF41BFA2-0472-4DA5-B7B4-132F12219867}"/>
                  </a:ext>
                </a:extLst>
              </p:cNvPr>
              <p:cNvSpPr>
                <a:spLocks noChangeArrowheads="1"/>
              </p:cNvSpPr>
              <p:nvPr/>
            </p:nvSpPr>
            <p:spPr bwMode="auto">
              <a:xfrm>
                <a:off x="9456738" y="3660140"/>
                <a:ext cx="139700" cy="7061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0" name="Rectangle 229">
                <a:extLst>
                  <a:ext uri="{FF2B5EF4-FFF2-40B4-BE49-F238E27FC236}">
                    <a16:creationId xmlns:a16="http://schemas.microsoft.com/office/drawing/2014/main" id="{D22DCDEF-2619-46EC-9D90-86607F9A030A}"/>
                  </a:ext>
                </a:extLst>
              </p:cNvPr>
              <p:cNvSpPr>
                <a:spLocks noChangeArrowheads="1"/>
              </p:cNvSpPr>
              <p:nvPr/>
            </p:nvSpPr>
            <p:spPr bwMode="auto">
              <a:xfrm>
                <a:off x="9737725" y="3660140"/>
                <a:ext cx="117475" cy="7061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1" name="Freeform 230">
                <a:extLst>
                  <a:ext uri="{FF2B5EF4-FFF2-40B4-BE49-F238E27FC236}">
                    <a16:creationId xmlns:a16="http://schemas.microsoft.com/office/drawing/2014/main" id="{FBBC75A3-ABD4-44F7-887E-216272D04A90}"/>
                  </a:ext>
                </a:extLst>
              </p:cNvPr>
              <p:cNvSpPr>
                <a:spLocks/>
              </p:cNvSpPr>
              <p:nvPr/>
            </p:nvSpPr>
            <p:spPr bwMode="auto">
              <a:xfrm>
                <a:off x="9737725" y="3660140"/>
                <a:ext cx="117475" cy="92075"/>
              </a:xfrm>
              <a:custGeom>
                <a:avLst/>
                <a:gdLst>
                  <a:gd name="T0" fmla="*/ 74 w 74"/>
                  <a:gd name="T1" fmla="*/ 58 h 58"/>
                  <a:gd name="T2" fmla="*/ 0 w 74"/>
                  <a:gd name="T3" fmla="*/ 0 h 58"/>
                  <a:gd name="T4" fmla="*/ 74 w 74"/>
                  <a:gd name="T5" fmla="*/ 0 h 58"/>
                  <a:gd name="T6" fmla="*/ 74 w 74"/>
                  <a:gd name="T7" fmla="*/ 58 h 58"/>
                </a:gdLst>
                <a:ahLst/>
                <a:cxnLst>
                  <a:cxn ang="0">
                    <a:pos x="T0" y="T1"/>
                  </a:cxn>
                  <a:cxn ang="0">
                    <a:pos x="T2" y="T3"/>
                  </a:cxn>
                  <a:cxn ang="0">
                    <a:pos x="T4" y="T5"/>
                  </a:cxn>
                  <a:cxn ang="0">
                    <a:pos x="T6" y="T7"/>
                  </a:cxn>
                </a:cxnLst>
                <a:rect l="0" t="0" r="r" b="b"/>
                <a:pathLst>
                  <a:path w="74" h="58">
                    <a:moveTo>
                      <a:pt x="74" y="58"/>
                    </a:moveTo>
                    <a:lnTo>
                      <a:pt x="0" y="0"/>
                    </a:lnTo>
                    <a:lnTo>
                      <a:pt x="74" y="0"/>
                    </a:lnTo>
                    <a:lnTo>
                      <a:pt x="74" y="5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2" name="Freeform 277">
                <a:extLst>
                  <a:ext uri="{FF2B5EF4-FFF2-40B4-BE49-F238E27FC236}">
                    <a16:creationId xmlns:a16="http://schemas.microsoft.com/office/drawing/2014/main" id="{568E4D0C-1B86-42BF-ADE4-747A98167D9B}"/>
                  </a:ext>
                </a:extLst>
              </p:cNvPr>
              <p:cNvSpPr>
                <a:spLocks/>
              </p:cNvSpPr>
              <p:nvPr/>
            </p:nvSpPr>
            <p:spPr bwMode="auto">
              <a:xfrm>
                <a:off x="9456738" y="3660140"/>
                <a:ext cx="139700" cy="107950"/>
              </a:xfrm>
              <a:custGeom>
                <a:avLst/>
                <a:gdLst>
                  <a:gd name="T0" fmla="*/ 88 w 88"/>
                  <a:gd name="T1" fmla="*/ 68 h 68"/>
                  <a:gd name="T2" fmla="*/ 0 w 88"/>
                  <a:gd name="T3" fmla="*/ 0 h 68"/>
                  <a:gd name="T4" fmla="*/ 88 w 88"/>
                  <a:gd name="T5" fmla="*/ 0 h 68"/>
                  <a:gd name="T6" fmla="*/ 88 w 88"/>
                  <a:gd name="T7" fmla="*/ 68 h 68"/>
                </a:gdLst>
                <a:ahLst/>
                <a:cxnLst>
                  <a:cxn ang="0">
                    <a:pos x="T0" y="T1"/>
                  </a:cxn>
                  <a:cxn ang="0">
                    <a:pos x="T2" y="T3"/>
                  </a:cxn>
                  <a:cxn ang="0">
                    <a:pos x="T4" y="T5"/>
                  </a:cxn>
                  <a:cxn ang="0">
                    <a:pos x="T6" y="T7"/>
                  </a:cxn>
                </a:cxnLst>
                <a:rect l="0" t="0" r="r" b="b"/>
                <a:pathLst>
                  <a:path w="88" h="68">
                    <a:moveTo>
                      <a:pt x="88" y="68"/>
                    </a:moveTo>
                    <a:lnTo>
                      <a:pt x="0" y="0"/>
                    </a:lnTo>
                    <a:lnTo>
                      <a:pt x="88" y="0"/>
                    </a:lnTo>
                    <a:lnTo>
                      <a:pt x="88" y="6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3" name="Rectangle 278">
                <a:extLst>
                  <a:ext uri="{FF2B5EF4-FFF2-40B4-BE49-F238E27FC236}">
                    <a16:creationId xmlns:a16="http://schemas.microsoft.com/office/drawing/2014/main" id="{8D9EDC90-2F84-42FE-ACDD-0677D1E55D2B}"/>
                  </a:ext>
                </a:extLst>
              </p:cNvPr>
              <p:cNvSpPr>
                <a:spLocks noChangeArrowheads="1"/>
              </p:cNvSpPr>
              <p:nvPr/>
            </p:nvSpPr>
            <p:spPr bwMode="auto">
              <a:xfrm>
                <a:off x="11699875" y="3660140"/>
                <a:ext cx="119063" cy="7061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4" name="Freeform 279">
                <a:extLst>
                  <a:ext uri="{FF2B5EF4-FFF2-40B4-BE49-F238E27FC236}">
                    <a16:creationId xmlns:a16="http://schemas.microsoft.com/office/drawing/2014/main" id="{CC38E8B3-64DF-45C4-B918-CB336B110A44}"/>
                  </a:ext>
                </a:extLst>
              </p:cNvPr>
              <p:cNvSpPr>
                <a:spLocks/>
              </p:cNvSpPr>
              <p:nvPr/>
            </p:nvSpPr>
            <p:spPr bwMode="auto">
              <a:xfrm>
                <a:off x="11699875" y="3660140"/>
                <a:ext cx="119063" cy="92075"/>
              </a:xfrm>
              <a:custGeom>
                <a:avLst/>
                <a:gdLst>
                  <a:gd name="T0" fmla="*/ 75 w 75"/>
                  <a:gd name="T1" fmla="*/ 58 h 58"/>
                  <a:gd name="T2" fmla="*/ 0 w 75"/>
                  <a:gd name="T3" fmla="*/ 0 h 58"/>
                  <a:gd name="T4" fmla="*/ 75 w 75"/>
                  <a:gd name="T5" fmla="*/ 0 h 58"/>
                  <a:gd name="T6" fmla="*/ 75 w 75"/>
                  <a:gd name="T7" fmla="*/ 58 h 58"/>
                </a:gdLst>
                <a:ahLst/>
                <a:cxnLst>
                  <a:cxn ang="0">
                    <a:pos x="T0" y="T1"/>
                  </a:cxn>
                  <a:cxn ang="0">
                    <a:pos x="T2" y="T3"/>
                  </a:cxn>
                  <a:cxn ang="0">
                    <a:pos x="T4" y="T5"/>
                  </a:cxn>
                  <a:cxn ang="0">
                    <a:pos x="T6" y="T7"/>
                  </a:cxn>
                </a:cxnLst>
                <a:rect l="0" t="0" r="r" b="b"/>
                <a:pathLst>
                  <a:path w="75" h="58">
                    <a:moveTo>
                      <a:pt x="75" y="58"/>
                    </a:moveTo>
                    <a:lnTo>
                      <a:pt x="0" y="0"/>
                    </a:lnTo>
                    <a:lnTo>
                      <a:pt x="75" y="0"/>
                    </a:lnTo>
                    <a:lnTo>
                      <a:pt x="75" y="5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5" name="Rectangle 280">
                <a:extLst>
                  <a:ext uri="{FF2B5EF4-FFF2-40B4-BE49-F238E27FC236}">
                    <a16:creationId xmlns:a16="http://schemas.microsoft.com/office/drawing/2014/main" id="{97C87AED-8031-46D9-B436-3850F80547C7}"/>
                  </a:ext>
                </a:extLst>
              </p:cNvPr>
              <p:cNvSpPr>
                <a:spLocks noChangeArrowheads="1"/>
              </p:cNvSpPr>
              <p:nvPr/>
            </p:nvSpPr>
            <p:spPr bwMode="auto">
              <a:xfrm>
                <a:off x="11395075" y="3660140"/>
                <a:ext cx="139700" cy="7061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6" name="Freeform 281">
                <a:extLst>
                  <a:ext uri="{FF2B5EF4-FFF2-40B4-BE49-F238E27FC236}">
                    <a16:creationId xmlns:a16="http://schemas.microsoft.com/office/drawing/2014/main" id="{2C5DE325-0F7F-4146-88E7-AC118864BBD3}"/>
                  </a:ext>
                </a:extLst>
              </p:cNvPr>
              <p:cNvSpPr>
                <a:spLocks/>
              </p:cNvSpPr>
              <p:nvPr/>
            </p:nvSpPr>
            <p:spPr bwMode="auto">
              <a:xfrm>
                <a:off x="11395075" y="3660140"/>
                <a:ext cx="139700" cy="107950"/>
              </a:xfrm>
              <a:custGeom>
                <a:avLst/>
                <a:gdLst>
                  <a:gd name="T0" fmla="*/ 88 w 88"/>
                  <a:gd name="T1" fmla="*/ 68 h 68"/>
                  <a:gd name="T2" fmla="*/ 0 w 88"/>
                  <a:gd name="T3" fmla="*/ 0 h 68"/>
                  <a:gd name="T4" fmla="*/ 88 w 88"/>
                  <a:gd name="T5" fmla="*/ 0 h 68"/>
                  <a:gd name="T6" fmla="*/ 88 w 88"/>
                  <a:gd name="T7" fmla="*/ 68 h 68"/>
                </a:gdLst>
                <a:ahLst/>
                <a:cxnLst>
                  <a:cxn ang="0">
                    <a:pos x="T0" y="T1"/>
                  </a:cxn>
                  <a:cxn ang="0">
                    <a:pos x="T2" y="T3"/>
                  </a:cxn>
                  <a:cxn ang="0">
                    <a:pos x="T4" y="T5"/>
                  </a:cxn>
                  <a:cxn ang="0">
                    <a:pos x="T6" y="T7"/>
                  </a:cxn>
                </a:cxnLst>
                <a:rect l="0" t="0" r="r" b="b"/>
                <a:pathLst>
                  <a:path w="88" h="68">
                    <a:moveTo>
                      <a:pt x="88" y="68"/>
                    </a:moveTo>
                    <a:lnTo>
                      <a:pt x="0" y="0"/>
                    </a:lnTo>
                    <a:lnTo>
                      <a:pt x="88" y="0"/>
                    </a:lnTo>
                    <a:lnTo>
                      <a:pt x="88" y="6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7" name="Rectangle 282">
                <a:extLst>
                  <a:ext uri="{FF2B5EF4-FFF2-40B4-BE49-F238E27FC236}">
                    <a16:creationId xmlns:a16="http://schemas.microsoft.com/office/drawing/2014/main" id="{2CB80783-70E4-49C9-AD09-31A53F1DE685}"/>
                  </a:ext>
                </a:extLst>
              </p:cNvPr>
              <p:cNvSpPr>
                <a:spLocks noChangeArrowheads="1"/>
              </p:cNvSpPr>
              <p:nvPr/>
            </p:nvSpPr>
            <p:spPr bwMode="auto">
              <a:xfrm>
                <a:off x="9258300" y="3580765"/>
                <a:ext cx="2755900" cy="8255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8" name="Rectangle 283">
                <a:extLst>
                  <a:ext uri="{FF2B5EF4-FFF2-40B4-BE49-F238E27FC236}">
                    <a16:creationId xmlns:a16="http://schemas.microsoft.com/office/drawing/2014/main" id="{E3720AC2-8696-4EAA-88AA-ED17A9B0D61A}"/>
                  </a:ext>
                </a:extLst>
              </p:cNvPr>
              <p:cNvSpPr>
                <a:spLocks noChangeArrowheads="1"/>
              </p:cNvSpPr>
              <p:nvPr/>
            </p:nvSpPr>
            <p:spPr bwMode="auto">
              <a:xfrm>
                <a:off x="11299825" y="3580765"/>
                <a:ext cx="714375" cy="825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9" name="Freeform 284">
                <a:extLst>
                  <a:ext uri="{FF2B5EF4-FFF2-40B4-BE49-F238E27FC236}">
                    <a16:creationId xmlns:a16="http://schemas.microsoft.com/office/drawing/2014/main" id="{4792ABA0-000A-4D74-8D0C-CB8AE13CF36F}"/>
                  </a:ext>
                </a:extLst>
              </p:cNvPr>
              <p:cNvSpPr>
                <a:spLocks/>
              </p:cNvSpPr>
              <p:nvPr/>
            </p:nvSpPr>
            <p:spPr bwMode="auto">
              <a:xfrm>
                <a:off x="9686925" y="3045778"/>
                <a:ext cx="833438" cy="450850"/>
              </a:xfrm>
              <a:custGeom>
                <a:avLst/>
                <a:gdLst>
                  <a:gd name="T0" fmla="*/ 455 w 525"/>
                  <a:gd name="T1" fmla="*/ 0 h 284"/>
                  <a:gd name="T2" fmla="*/ 0 w 525"/>
                  <a:gd name="T3" fmla="*/ 0 h 284"/>
                  <a:gd name="T4" fmla="*/ 70 w 525"/>
                  <a:gd name="T5" fmla="*/ 284 h 284"/>
                  <a:gd name="T6" fmla="*/ 525 w 525"/>
                  <a:gd name="T7" fmla="*/ 284 h 284"/>
                  <a:gd name="T8" fmla="*/ 455 w 525"/>
                  <a:gd name="T9" fmla="*/ 0 h 284"/>
                </a:gdLst>
                <a:ahLst/>
                <a:cxnLst>
                  <a:cxn ang="0">
                    <a:pos x="T0" y="T1"/>
                  </a:cxn>
                  <a:cxn ang="0">
                    <a:pos x="T2" y="T3"/>
                  </a:cxn>
                  <a:cxn ang="0">
                    <a:pos x="T4" y="T5"/>
                  </a:cxn>
                  <a:cxn ang="0">
                    <a:pos x="T6" y="T7"/>
                  </a:cxn>
                  <a:cxn ang="0">
                    <a:pos x="T8" y="T9"/>
                  </a:cxn>
                </a:cxnLst>
                <a:rect l="0" t="0" r="r" b="b"/>
                <a:pathLst>
                  <a:path w="525" h="284">
                    <a:moveTo>
                      <a:pt x="455" y="0"/>
                    </a:moveTo>
                    <a:lnTo>
                      <a:pt x="0" y="0"/>
                    </a:lnTo>
                    <a:lnTo>
                      <a:pt x="70" y="284"/>
                    </a:lnTo>
                    <a:lnTo>
                      <a:pt x="525" y="284"/>
                    </a:lnTo>
                    <a:lnTo>
                      <a:pt x="45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0" name="Rectangle 285">
                <a:extLst>
                  <a:ext uri="{FF2B5EF4-FFF2-40B4-BE49-F238E27FC236}">
                    <a16:creationId xmlns:a16="http://schemas.microsoft.com/office/drawing/2014/main" id="{FED82435-C284-4618-804A-F6D6724FFE95}"/>
                  </a:ext>
                </a:extLst>
              </p:cNvPr>
              <p:cNvSpPr>
                <a:spLocks noChangeArrowheads="1"/>
              </p:cNvSpPr>
              <p:nvPr/>
            </p:nvSpPr>
            <p:spPr bwMode="auto">
              <a:xfrm>
                <a:off x="9798050" y="3496628"/>
                <a:ext cx="722313" cy="841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1" name="Freeform 223">
                <a:extLst>
                  <a:ext uri="{FF2B5EF4-FFF2-40B4-BE49-F238E27FC236}">
                    <a16:creationId xmlns:a16="http://schemas.microsoft.com/office/drawing/2014/main" id="{A71A1CEC-8C90-4BEA-8D58-804E54529C12}"/>
                  </a:ext>
                </a:extLst>
              </p:cNvPr>
              <p:cNvSpPr>
                <a:spLocks/>
              </p:cNvSpPr>
              <p:nvPr/>
            </p:nvSpPr>
            <p:spPr bwMode="auto">
              <a:xfrm>
                <a:off x="10219060" y="4263601"/>
                <a:ext cx="225219" cy="65557"/>
              </a:xfrm>
              <a:custGeom>
                <a:avLst/>
                <a:gdLst>
                  <a:gd name="T0" fmla="*/ 54 w 102"/>
                  <a:gd name="T1" fmla="*/ 0 h 30"/>
                  <a:gd name="T2" fmla="*/ 0 w 102"/>
                  <a:gd name="T3" fmla="*/ 30 h 30"/>
                  <a:gd name="T4" fmla="*/ 69 w 102"/>
                  <a:gd name="T5" fmla="*/ 30 h 30"/>
                  <a:gd name="T6" fmla="*/ 102 w 102"/>
                  <a:gd name="T7" fmla="*/ 0 h 30"/>
                  <a:gd name="T8" fmla="*/ 54 w 102"/>
                  <a:gd name="T9" fmla="*/ 0 h 30"/>
                </a:gdLst>
                <a:ahLst/>
                <a:cxnLst>
                  <a:cxn ang="0">
                    <a:pos x="T0" y="T1"/>
                  </a:cxn>
                  <a:cxn ang="0">
                    <a:pos x="T2" y="T3"/>
                  </a:cxn>
                  <a:cxn ang="0">
                    <a:pos x="T4" y="T5"/>
                  </a:cxn>
                  <a:cxn ang="0">
                    <a:pos x="T6" y="T7"/>
                  </a:cxn>
                  <a:cxn ang="0">
                    <a:pos x="T8" y="T9"/>
                  </a:cxn>
                </a:cxnLst>
                <a:rect l="0" t="0" r="r" b="b"/>
                <a:pathLst>
                  <a:path w="102" h="30">
                    <a:moveTo>
                      <a:pt x="54" y="0"/>
                    </a:moveTo>
                    <a:cubicBezTo>
                      <a:pt x="31" y="0"/>
                      <a:pt x="12" y="12"/>
                      <a:pt x="0" y="30"/>
                    </a:cubicBezTo>
                    <a:cubicBezTo>
                      <a:pt x="69" y="30"/>
                      <a:pt x="69" y="30"/>
                      <a:pt x="69" y="30"/>
                    </a:cubicBezTo>
                    <a:cubicBezTo>
                      <a:pt x="86" y="30"/>
                      <a:pt x="100" y="17"/>
                      <a:pt x="102" y="0"/>
                    </a:cubicBezTo>
                    <a:lnTo>
                      <a:pt x="54"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sp>
            <p:nvSpPr>
              <p:cNvPr id="102" name="Freeform 227">
                <a:extLst>
                  <a:ext uri="{FF2B5EF4-FFF2-40B4-BE49-F238E27FC236}">
                    <a16:creationId xmlns:a16="http://schemas.microsoft.com/office/drawing/2014/main" id="{AC07670D-4F0B-485E-9EDF-DAAA99518FC4}"/>
                  </a:ext>
                </a:extLst>
              </p:cNvPr>
              <p:cNvSpPr>
                <a:spLocks/>
              </p:cNvSpPr>
              <p:nvPr/>
            </p:nvSpPr>
            <p:spPr bwMode="auto">
              <a:xfrm>
                <a:off x="10406742" y="4263601"/>
                <a:ext cx="225219" cy="65557"/>
              </a:xfrm>
              <a:custGeom>
                <a:avLst/>
                <a:gdLst>
                  <a:gd name="T0" fmla="*/ 54 w 102"/>
                  <a:gd name="T1" fmla="*/ 0 h 30"/>
                  <a:gd name="T2" fmla="*/ 0 w 102"/>
                  <a:gd name="T3" fmla="*/ 30 h 30"/>
                  <a:gd name="T4" fmla="*/ 69 w 102"/>
                  <a:gd name="T5" fmla="*/ 30 h 30"/>
                  <a:gd name="T6" fmla="*/ 102 w 102"/>
                  <a:gd name="T7" fmla="*/ 0 h 30"/>
                  <a:gd name="T8" fmla="*/ 54 w 102"/>
                  <a:gd name="T9" fmla="*/ 0 h 30"/>
                </a:gdLst>
                <a:ahLst/>
                <a:cxnLst>
                  <a:cxn ang="0">
                    <a:pos x="T0" y="T1"/>
                  </a:cxn>
                  <a:cxn ang="0">
                    <a:pos x="T2" y="T3"/>
                  </a:cxn>
                  <a:cxn ang="0">
                    <a:pos x="T4" y="T5"/>
                  </a:cxn>
                  <a:cxn ang="0">
                    <a:pos x="T6" y="T7"/>
                  </a:cxn>
                  <a:cxn ang="0">
                    <a:pos x="T8" y="T9"/>
                  </a:cxn>
                </a:cxnLst>
                <a:rect l="0" t="0" r="r" b="b"/>
                <a:pathLst>
                  <a:path w="102" h="30">
                    <a:moveTo>
                      <a:pt x="54" y="0"/>
                    </a:moveTo>
                    <a:cubicBezTo>
                      <a:pt x="31" y="0"/>
                      <a:pt x="11" y="12"/>
                      <a:pt x="0" y="30"/>
                    </a:cubicBezTo>
                    <a:cubicBezTo>
                      <a:pt x="69" y="30"/>
                      <a:pt x="69" y="30"/>
                      <a:pt x="69" y="30"/>
                    </a:cubicBezTo>
                    <a:cubicBezTo>
                      <a:pt x="86" y="30"/>
                      <a:pt x="100" y="17"/>
                      <a:pt x="102" y="0"/>
                    </a:cubicBezTo>
                    <a:lnTo>
                      <a:pt x="54"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Segoe UI"/>
                </a:endParaRPr>
              </a:p>
            </p:txBody>
          </p:sp>
        </p:grpSp>
      </p:grpSp>
      <p:sp>
        <p:nvSpPr>
          <p:cNvPr id="135" name="Rectangle 134">
            <a:extLst>
              <a:ext uri="{FF2B5EF4-FFF2-40B4-BE49-F238E27FC236}">
                <a16:creationId xmlns:a16="http://schemas.microsoft.com/office/drawing/2014/main" id="{0A28FB13-DE77-4EC3-9345-4F64EE47B7FE}"/>
              </a:ext>
            </a:extLst>
          </p:cNvPr>
          <p:cNvSpPr/>
          <p:nvPr/>
        </p:nvSpPr>
        <p:spPr bwMode="auto">
          <a:xfrm>
            <a:off x="766169" y="3529301"/>
            <a:ext cx="3050854" cy="2487861"/>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defTabSz="932472" fontAlgn="base">
              <a:spcBef>
                <a:spcPts val="600"/>
              </a:spcBef>
              <a:spcAft>
                <a:spcPct val="0"/>
              </a:spcAft>
              <a:defRPr/>
            </a:pPr>
            <a:r>
              <a:rPr lang="en-US" sz="1400" b="1" dirty="0">
                <a:solidFill>
                  <a:schemeClr val="tx1"/>
                </a:solidFill>
                <a:ea typeface="Segoe UI" pitchFamily="34" charset="0"/>
                <a:cs typeface="Segoe UI" pitchFamily="34" charset="0"/>
              </a:rPr>
              <a:t>Compute:</a:t>
            </a:r>
          </a:p>
          <a:p>
            <a:pPr marL="285750" lvl="0" indent="-171450" defTabSz="932472" fontAlgn="base">
              <a:spcBef>
                <a:spcPts val="200"/>
              </a:spcBef>
              <a:spcAft>
                <a:spcPct val="0"/>
              </a:spcAft>
              <a:buFont typeface="Arial" panose="020B0604020202020204" pitchFamily="34" charset="0"/>
              <a:buChar char="•"/>
              <a:defRPr/>
            </a:pPr>
            <a:r>
              <a:rPr lang="en-US" sz="1400" dirty="0">
                <a:solidFill>
                  <a:schemeClr val="tx1"/>
                </a:solidFill>
                <a:ea typeface="Segoe UI" pitchFamily="34" charset="0"/>
                <a:cs typeface="Segoe UI" pitchFamily="34" charset="0"/>
              </a:rPr>
              <a:t>East US</a:t>
            </a:r>
          </a:p>
          <a:p>
            <a:pPr marL="285750" lvl="0" indent="-171450" defTabSz="932472" fontAlgn="base">
              <a:spcBef>
                <a:spcPts val="200"/>
              </a:spcBef>
              <a:spcAft>
                <a:spcPct val="0"/>
              </a:spcAft>
              <a:buFont typeface="Arial" panose="020B0604020202020204" pitchFamily="34" charset="0"/>
              <a:buChar char="•"/>
              <a:defRPr/>
            </a:pPr>
            <a:r>
              <a:rPr lang="en-US" sz="1400" dirty="0">
                <a:solidFill>
                  <a:schemeClr val="tx1"/>
                </a:solidFill>
                <a:ea typeface="Segoe UI" pitchFamily="34" charset="0"/>
                <a:cs typeface="Segoe UI" pitchFamily="34" charset="0"/>
              </a:rPr>
              <a:t>3-year Reserved Instance</a:t>
            </a:r>
          </a:p>
          <a:p>
            <a:pPr marL="285750" lvl="0" indent="-171450" defTabSz="932472" fontAlgn="base">
              <a:spcBef>
                <a:spcPts val="200"/>
              </a:spcBef>
              <a:spcAft>
                <a:spcPct val="0"/>
              </a:spcAft>
              <a:buFont typeface="Arial" panose="020B0604020202020204" pitchFamily="34" charset="0"/>
              <a:buChar char="•"/>
              <a:defRPr/>
            </a:pPr>
            <a:r>
              <a:rPr lang="en-US" sz="1400" dirty="0">
                <a:solidFill>
                  <a:schemeClr val="tx1"/>
                </a:solidFill>
                <a:ea typeface="Segoe UI" pitchFamily="34" charset="0"/>
                <a:cs typeface="Segoe UI" pitchFamily="34" charset="0"/>
              </a:rPr>
              <a:t>D8s v3 (for multi-session)</a:t>
            </a:r>
          </a:p>
          <a:p>
            <a:pPr marL="285750" indent="-171450" defTabSz="932472" fontAlgn="base">
              <a:spcBef>
                <a:spcPts val="200"/>
              </a:spcBef>
              <a:spcAft>
                <a:spcPct val="0"/>
              </a:spcAft>
              <a:buFont typeface="Arial" panose="020B0604020202020204" pitchFamily="34" charset="0"/>
              <a:buChar char="•"/>
              <a:defRPr/>
            </a:pPr>
            <a:r>
              <a:rPr lang="en-US" sz="1400" dirty="0">
                <a:solidFill>
                  <a:schemeClr val="tx1"/>
                </a:solidFill>
                <a:ea typeface="Segoe UI" pitchFamily="34" charset="0"/>
                <a:cs typeface="Segoe UI" pitchFamily="34" charset="0"/>
              </a:rPr>
              <a:t>4 users/vCPU (for multi-session)</a:t>
            </a:r>
          </a:p>
          <a:p>
            <a:pPr marL="285750" lvl="0" indent="-171450" defTabSz="932472" fontAlgn="base">
              <a:spcBef>
                <a:spcPts val="200"/>
              </a:spcBef>
              <a:spcAft>
                <a:spcPct val="0"/>
              </a:spcAft>
              <a:buFont typeface="Arial" panose="020B0604020202020204" pitchFamily="34" charset="0"/>
              <a:buChar char="•"/>
              <a:defRPr/>
            </a:pPr>
            <a:r>
              <a:rPr lang="en-US" sz="1400" dirty="0">
                <a:solidFill>
                  <a:schemeClr val="tx1"/>
                </a:solidFill>
                <a:ea typeface="Segoe UI" pitchFamily="34" charset="0"/>
                <a:cs typeface="Segoe UI" pitchFamily="34" charset="0"/>
              </a:rPr>
              <a:t>D2s v3 (for single-session)</a:t>
            </a:r>
          </a:p>
          <a:p>
            <a:pPr lvl="0" defTabSz="932472" fontAlgn="base">
              <a:spcBef>
                <a:spcPts val="600"/>
              </a:spcBef>
              <a:spcAft>
                <a:spcPct val="0"/>
              </a:spcAft>
              <a:defRPr/>
            </a:pPr>
            <a:r>
              <a:rPr lang="en-US" sz="1400" b="1" dirty="0">
                <a:solidFill>
                  <a:schemeClr val="tx1"/>
                </a:solidFill>
                <a:ea typeface="Segoe UI" pitchFamily="34" charset="0"/>
                <a:cs typeface="Segoe UI" pitchFamily="34" charset="0"/>
              </a:rPr>
              <a:t>Storage:</a:t>
            </a:r>
          </a:p>
          <a:p>
            <a:pPr marL="285750" lvl="0" indent="-171450" defTabSz="932472" fontAlgn="base">
              <a:spcBef>
                <a:spcPts val="200"/>
              </a:spcBef>
              <a:spcAft>
                <a:spcPct val="0"/>
              </a:spcAft>
              <a:buFont typeface="Arial" panose="020B0604020202020204" pitchFamily="34" charset="0"/>
              <a:buChar char="•"/>
              <a:defRPr/>
            </a:pPr>
            <a:r>
              <a:rPr lang="en-US" sz="1400" dirty="0">
                <a:solidFill>
                  <a:schemeClr val="tx1"/>
                </a:solidFill>
                <a:ea typeface="Segoe UI" pitchFamily="34" charset="0"/>
                <a:cs typeface="Segoe UI" pitchFamily="34" charset="0"/>
              </a:rPr>
              <a:t>Azure NetApp Files</a:t>
            </a:r>
          </a:p>
          <a:p>
            <a:pPr lvl="0" defTabSz="932472" fontAlgn="base">
              <a:spcBef>
                <a:spcPts val="600"/>
              </a:spcBef>
              <a:spcAft>
                <a:spcPct val="0"/>
              </a:spcAft>
              <a:defRPr/>
            </a:pPr>
            <a:r>
              <a:rPr lang="en-US" sz="1400" b="1" dirty="0">
                <a:solidFill>
                  <a:schemeClr val="tx1"/>
                </a:solidFill>
                <a:ea typeface="Segoe UI" pitchFamily="34" charset="0"/>
                <a:cs typeface="Segoe UI" pitchFamily="34" charset="0"/>
              </a:rPr>
              <a:t>Networking:</a:t>
            </a:r>
          </a:p>
          <a:p>
            <a:pPr marL="285750" lvl="0" indent="-171450" defTabSz="932472" fontAlgn="base">
              <a:spcBef>
                <a:spcPts val="200"/>
              </a:spcBef>
              <a:spcAft>
                <a:spcPct val="0"/>
              </a:spcAft>
              <a:buFont typeface="Arial" panose="020B0604020202020204" pitchFamily="34" charset="0"/>
              <a:buChar char="•"/>
              <a:defRPr/>
            </a:pPr>
            <a:r>
              <a:rPr lang="en-US" sz="1400" dirty="0">
                <a:solidFill>
                  <a:schemeClr val="tx1"/>
                </a:solidFill>
                <a:ea typeface="Segoe UI" pitchFamily="34" charset="0"/>
                <a:cs typeface="Segoe UI" pitchFamily="34" charset="0"/>
              </a:rPr>
              <a:t>Virtual Network (East US Same Region)</a:t>
            </a:r>
          </a:p>
        </p:txBody>
      </p:sp>
      <p:grpSp>
        <p:nvGrpSpPr>
          <p:cNvPr id="138" name="Group 137">
            <a:extLst>
              <a:ext uri="{FF2B5EF4-FFF2-40B4-BE49-F238E27FC236}">
                <a16:creationId xmlns:a16="http://schemas.microsoft.com/office/drawing/2014/main" id="{44DF5C08-BE1A-40D8-A857-DB8E16534109}"/>
              </a:ext>
            </a:extLst>
          </p:cNvPr>
          <p:cNvGrpSpPr/>
          <p:nvPr/>
        </p:nvGrpSpPr>
        <p:grpSpPr>
          <a:xfrm>
            <a:off x="4984903" y="3559462"/>
            <a:ext cx="401322" cy="2560320"/>
            <a:chOff x="4048759" y="2770559"/>
            <a:chExt cx="401322" cy="2560320"/>
          </a:xfrm>
        </p:grpSpPr>
        <p:cxnSp>
          <p:nvCxnSpPr>
            <p:cNvPr id="139" name="Straight Connector 138">
              <a:extLst>
                <a:ext uri="{FF2B5EF4-FFF2-40B4-BE49-F238E27FC236}">
                  <a16:creationId xmlns:a16="http://schemas.microsoft.com/office/drawing/2014/main" id="{94985A75-44EF-4DB0-9A08-06E6BF1B1ED6}"/>
                </a:ext>
              </a:extLst>
            </p:cNvPr>
            <p:cNvCxnSpPr>
              <a:cxnSpLocks/>
            </p:cNvCxnSpPr>
            <p:nvPr/>
          </p:nvCxnSpPr>
          <p:spPr>
            <a:xfrm>
              <a:off x="4249420" y="2770559"/>
              <a:ext cx="0" cy="256032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40" name="Group 139">
              <a:extLst>
                <a:ext uri="{FF2B5EF4-FFF2-40B4-BE49-F238E27FC236}">
                  <a16:creationId xmlns:a16="http://schemas.microsoft.com/office/drawing/2014/main" id="{EDE73690-3D2E-424A-92FA-51DE494873EE}"/>
                </a:ext>
              </a:extLst>
            </p:cNvPr>
            <p:cNvGrpSpPr/>
            <p:nvPr/>
          </p:nvGrpSpPr>
          <p:grpSpPr>
            <a:xfrm>
              <a:off x="4048759" y="3850058"/>
              <a:ext cx="401322" cy="401322"/>
              <a:chOff x="4048759" y="3827981"/>
              <a:chExt cx="401322" cy="401322"/>
            </a:xfrm>
          </p:grpSpPr>
          <p:sp>
            <p:nvSpPr>
              <p:cNvPr id="141" name="Oval 140">
                <a:extLst>
                  <a:ext uri="{FF2B5EF4-FFF2-40B4-BE49-F238E27FC236}">
                    <a16:creationId xmlns:a16="http://schemas.microsoft.com/office/drawing/2014/main" id="{64786C24-6694-405F-956B-E640294A09D3}"/>
                  </a:ext>
                </a:extLst>
              </p:cNvPr>
              <p:cNvSpPr/>
              <p:nvPr/>
            </p:nvSpPr>
            <p:spPr bwMode="auto">
              <a:xfrm>
                <a:off x="4048759" y="3827981"/>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42" name="Isosceles Triangle 141">
                <a:extLst>
                  <a:ext uri="{FF2B5EF4-FFF2-40B4-BE49-F238E27FC236}">
                    <a16:creationId xmlns:a16="http://schemas.microsoft.com/office/drawing/2014/main" id="{8F9EF54E-DC40-4AFE-B1D1-8CD5A9D90008}"/>
                  </a:ext>
                </a:extLst>
              </p:cNvPr>
              <p:cNvSpPr/>
              <p:nvPr/>
            </p:nvSpPr>
            <p:spPr bwMode="auto">
              <a:xfrm rot="5400000">
                <a:off x="4149295" y="3963889"/>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 name="Freeform: Shape 2">
            <a:extLst>
              <a:ext uri="{FF2B5EF4-FFF2-40B4-BE49-F238E27FC236}">
                <a16:creationId xmlns:a16="http://schemas.microsoft.com/office/drawing/2014/main" id="{8F944574-C804-4D92-9B4E-9004511765A4}"/>
              </a:ext>
            </a:extLst>
          </p:cNvPr>
          <p:cNvSpPr/>
          <p:nvPr/>
        </p:nvSpPr>
        <p:spPr bwMode="auto">
          <a:xfrm>
            <a:off x="-9331" y="3088433"/>
            <a:ext cx="11625943" cy="3181738"/>
          </a:xfrm>
          <a:custGeom>
            <a:avLst/>
            <a:gdLst>
              <a:gd name="connsiteX0" fmla="*/ 0 w 11625943"/>
              <a:gd name="connsiteY0" fmla="*/ 0 h 3181738"/>
              <a:gd name="connsiteX1" fmla="*/ 606490 w 11625943"/>
              <a:gd name="connsiteY1" fmla="*/ 0 h 3181738"/>
              <a:gd name="connsiteX2" fmla="*/ 606490 w 11625943"/>
              <a:gd name="connsiteY2" fmla="*/ 3181738 h 3181738"/>
              <a:gd name="connsiteX3" fmla="*/ 4935894 w 11625943"/>
              <a:gd name="connsiteY3" fmla="*/ 3181738 h 3181738"/>
              <a:gd name="connsiteX4" fmla="*/ 4935894 w 11625943"/>
              <a:gd name="connsiteY4" fmla="*/ 0 h 3181738"/>
              <a:gd name="connsiteX5" fmla="*/ 11625943 w 11625943"/>
              <a:gd name="connsiteY5" fmla="*/ 0 h 3181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25943" h="3181738">
                <a:moveTo>
                  <a:pt x="0" y="0"/>
                </a:moveTo>
                <a:lnTo>
                  <a:pt x="606490" y="0"/>
                </a:lnTo>
                <a:lnTo>
                  <a:pt x="606490" y="3181738"/>
                </a:lnTo>
                <a:lnTo>
                  <a:pt x="4935894" y="3181738"/>
                </a:lnTo>
                <a:lnTo>
                  <a:pt x="4935894" y="0"/>
                </a:lnTo>
                <a:lnTo>
                  <a:pt x="11625943" y="0"/>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4FD709DB-246D-4114-91A0-0897A2AD2F9C}"/>
              </a:ext>
            </a:extLst>
          </p:cNvPr>
          <p:cNvSpPr/>
          <p:nvPr/>
        </p:nvSpPr>
        <p:spPr bwMode="auto">
          <a:xfrm flipH="1">
            <a:off x="536297" y="3579498"/>
            <a:ext cx="127414" cy="12741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a:extLst>
              <a:ext uri="{FF2B5EF4-FFF2-40B4-BE49-F238E27FC236}">
                <a16:creationId xmlns:a16="http://schemas.microsoft.com/office/drawing/2014/main" id="{A45BC681-4CD5-4771-86A1-9B63EE86E98C}"/>
              </a:ext>
            </a:extLst>
          </p:cNvPr>
          <p:cNvSpPr/>
          <p:nvPr/>
        </p:nvSpPr>
        <p:spPr bwMode="auto">
          <a:xfrm flipH="1">
            <a:off x="536297" y="5050081"/>
            <a:ext cx="127414" cy="12741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7" name="Oval 136">
            <a:extLst>
              <a:ext uri="{FF2B5EF4-FFF2-40B4-BE49-F238E27FC236}">
                <a16:creationId xmlns:a16="http://schemas.microsoft.com/office/drawing/2014/main" id="{6BF13321-1E82-4784-8FC8-25CE742862CB}"/>
              </a:ext>
            </a:extLst>
          </p:cNvPr>
          <p:cNvSpPr/>
          <p:nvPr/>
        </p:nvSpPr>
        <p:spPr bwMode="auto">
          <a:xfrm flipH="1">
            <a:off x="536297" y="5581787"/>
            <a:ext cx="127414" cy="12741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2442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5335CC-7DF4-4258-B718-3A31C3EBA4D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6"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E75335CC-7DF4-4258-B718-3A31C3EBA4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DFB8D2A-E961-4B78-8CE7-A72CBE33AF45}"/>
              </a:ext>
            </a:extLst>
          </p:cNvPr>
          <p:cNvSpPr/>
          <p:nvPr>
            <p:custDataLst>
              <p:tags r:id="rId3"/>
            </p:custDataLst>
          </p:nvPr>
        </p:nvSpPr>
        <p:spPr bwMode="auto">
          <a:xfrm>
            <a:off x="0" y="0"/>
            <a:ext cx="158750" cy="1587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650" dirty="0">
              <a:solidFill>
                <a:schemeClr val="bg1"/>
              </a:solidFill>
              <a:latin typeface="Segoe UI Semibold" panose="020B0702040204020203" pitchFamily="34" charset="0"/>
              <a:cs typeface="Segoe UI" panose="020B0502040204020203" pitchFamily="34" charset="0"/>
              <a:sym typeface="Segoe UI Semibold" panose="020B0702040204020203" pitchFamily="34" charset="0"/>
            </a:endParaRPr>
          </a:p>
        </p:txBody>
      </p:sp>
      <p:graphicFrame>
        <p:nvGraphicFramePr>
          <p:cNvPr id="25" name="Table 24">
            <a:extLst>
              <a:ext uri="{FF2B5EF4-FFF2-40B4-BE49-F238E27FC236}">
                <a16:creationId xmlns:a16="http://schemas.microsoft.com/office/drawing/2014/main" id="{5A9E6C02-3AC6-476B-9435-F3BF76467CCD}"/>
              </a:ext>
            </a:extLst>
          </p:cNvPr>
          <p:cNvGraphicFramePr>
            <a:graphicFrameLocks noGrp="1"/>
          </p:cNvGraphicFramePr>
          <p:nvPr/>
        </p:nvGraphicFramePr>
        <p:xfrm>
          <a:off x="584200" y="1746110"/>
          <a:ext cx="11045952" cy="2682240"/>
        </p:xfrm>
        <a:graphic>
          <a:graphicData uri="http://schemas.openxmlformats.org/drawingml/2006/table">
            <a:tbl>
              <a:tblPr firstRow="1">
                <a:tableStyleId>{5C22544A-7EE6-4342-B048-85BDC9FD1C3A}</a:tableStyleId>
              </a:tblPr>
              <a:tblGrid>
                <a:gridCol w="5193792">
                  <a:extLst>
                    <a:ext uri="{9D8B030D-6E8A-4147-A177-3AD203B41FA5}">
                      <a16:colId xmlns:a16="http://schemas.microsoft.com/office/drawing/2014/main" val="1396123159"/>
                    </a:ext>
                  </a:extLst>
                </a:gridCol>
                <a:gridCol w="2926080">
                  <a:extLst>
                    <a:ext uri="{9D8B030D-6E8A-4147-A177-3AD203B41FA5}">
                      <a16:colId xmlns:a16="http://schemas.microsoft.com/office/drawing/2014/main" val="1997605689"/>
                    </a:ext>
                  </a:extLst>
                </a:gridCol>
                <a:gridCol w="2926080">
                  <a:extLst>
                    <a:ext uri="{9D8B030D-6E8A-4147-A177-3AD203B41FA5}">
                      <a16:colId xmlns:a16="http://schemas.microsoft.com/office/drawing/2014/main" val="3139149006"/>
                    </a:ext>
                  </a:extLst>
                </a:gridCol>
              </a:tblGrid>
              <a:tr h="0">
                <a:tc>
                  <a:txBody>
                    <a:bodyPr/>
                    <a:lstStyle/>
                    <a:p>
                      <a:pPr algn="l" fontAlgn="b"/>
                      <a:r>
                        <a:rPr lang="en-US" sz="1600" u="none" strike="noStrike" dirty="0">
                          <a:effectLst/>
                          <a:latin typeface="+mn-lt"/>
                        </a:rPr>
                        <a:t>WVD Opportunity</a:t>
                      </a:r>
                      <a:endParaRPr lang="en-US" sz="1600" b="0" i="0" u="none" strike="noStrike" dirty="0">
                        <a:solidFill>
                          <a:srgbClr val="000000"/>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u="none" strike="noStrike" dirty="0">
                          <a:effectLst/>
                          <a:latin typeface="+mn-lt"/>
                        </a:rPr>
                        <a:t>User Group 1</a:t>
                      </a:r>
                      <a:endParaRPr lang="en-US" sz="1600" b="0" i="0" u="none" strike="noStrike" dirty="0">
                        <a:solidFill>
                          <a:srgbClr val="000000"/>
                        </a:solidFill>
                        <a:effectLst/>
                        <a:latin typeface="+mn-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u="none" strike="noStrike" dirty="0">
                          <a:effectLst/>
                          <a:latin typeface="+mn-lt"/>
                        </a:rPr>
                        <a:t>User Group 2</a:t>
                      </a:r>
                      <a:endParaRPr lang="en-US" sz="1600" b="0" i="0" u="none" strike="noStrike" dirty="0">
                        <a:solidFill>
                          <a:srgbClr val="000000"/>
                        </a:solidFill>
                        <a:effectLst/>
                        <a:latin typeface="+mn-lt"/>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3137609000"/>
                  </a:ext>
                </a:extLst>
              </a:tr>
              <a:tr h="0">
                <a:tc>
                  <a:txBody>
                    <a:bodyPr/>
                    <a:lstStyle/>
                    <a:p>
                      <a:pPr algn="l" fontAlgn="b"/>
                      <a:r>
                        <a:rPr lang="pl-PL" sz="1600" u="none" strike="noStrike" dirty="0">
                          <a:solidFill>
                            <a:schemeClr val="tx1"/>
                          </a:solidFill>
                          <a:effectLst/>
                          <a:latin typeface="+mn-lt"/>
                        </a:rPr>
                        <a:t>WVD (W7, W10, W10 MS, WS)</a:t>
                      </a:r>
                      <a:endParaRPr lang="pl-PL"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Windows 10 multi-session</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Windows 10</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07657282"/>
                  </a:ext>
                </a:extLst>
              </a:tr>
              <a:tr h="0">
                <a:tc>
                  <a:txBody>
                    <a:bodyPr/>
                    <a:lstStyle/>
                    <a:p>
                      <a:pPr marL="0" algn="l" defTabSz="932742" rtl="0" eaLnBrk="1" fontAlgn="b" latinLnBrk="0" hangingPunct="1"/>
                      <a:r>
                        <a:rPr lang="en-US" sz="1600" b="1" u="none" strike="noStrike" kern="1200" dirty="0">
                          <a:solidFill>
                            <a:schemeClr val="lt1"/>
                          </a:solidFill>
                          <a:effectLst/>
                          <a:latin typeface="+mn-lt"/>
                          <a:ea typeface="+mn-ea"/>
                          <a:cs typeface="+mn-cs"/>
                        </a:rPr>
                        <a:t>Customer Environment / User Requirement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fontAlgn="b"/>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92427140"/>
                  </a:ext>
                </a:extLst>
              </a:tr>
              <a:tr h="0">
                <a:tc>
                  <a:txBody>
                    <a:bodyPr/>
                    <a:lstStyle/>
                    <a:p>
                      <a:pPr algn="l" fontAlgn="b"/>
                      <a:r>
                        <a:rPr lang="en-US" sz="1600" u="none" strike="noStrike" dirty="0">
                          <a:solidFill>
                            <a:schemeClr val="tx1"/>
                          </a:solidFill>
                          <a:effectLst/>
                          <a:latin typeface="+mn-lt"/>
                        </a:rPr>
                        <a:t>User Type</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Medium</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Medium</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29594861"/>
                  </a:ext>
                </a:extLst>
              </a:tr>
              <a:tr h="0">
                <a:tc>
                  <a:txBody>
                    <a:bodyPr/>
                    <a:lstStyle/>
                    <a:p>
                      <a:pPr algn="l" fontAlgn="b"/>
                      <a:r>
                        <a:rPr lang="en-US" sz="1600" u="none" strike="noStrike" dirty="0">
                          <a:solidFill>
                            <a:schemeClr val="tx1"/>
                          </a:solidFill>
                          <a:effectLst/>
                          <a:latin typeface="+mn-lt"/>
                        </a:rPr>
                        <a:t>Named (total) users</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1,000</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1,000</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34520040"/>
                  </a:ext>
                </a:extLst>
              </a:tr>
              <a:tr h="0">
                <a:tc>
                  <a:txBody>
                    <a:bodyPr/>
                    <a:lstStyle/>
                    <a:p>
                      <a:pPr algn="l" fontAlgn="b"/>
                      <a:r>
                        <a:rPr lang="en-US" sz="1600" u="none" strike="noStrike" dirty="0">
                          <a:solidFill>
                            <a:schemeClr val="tx1"/>
                          </a:solidFill>
                          <a:effectLst/>
                          <a:latin typeface="+mn-lt"/>
                        </a:rPr>
                        <a:t>Peak Concurrency</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80%</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80%</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328600"/>
                  </a:ext>
                </a:extLst>
              </a:tr>
              <a:tr h="0">
                <a:tc>
                  <a:txBody>
                    <a:bodyPr/>
                    <a:lstStyle/>
                    <a:p>
                      <a:pPr algn="l" fontAlgn="b"/>
                      <a:r>
                        <a:rPr lang="en-US" sz="1600" u="none" strike="noStrike" dirty="0">
                          <a:solidFill>
                            <a:schemeClr val="tx1"/>
                          </a:solidFill>
                          <a:effectLst/>
                          <a:latin typeface="+mn-lt"/>
                        </a:rPr>
                        <a:t>Pooled / Personal</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b="0" i="0" u="none" strike="noStrike" dirty="0">
                          <a:solidFill>
                            <a:schemeClr val="tx1"/>
                          </a:solidFill>
                          <a:effectLst/>
                          <a:latin typeface="+mn-lt"/>
                        </a:rPr>
                        <a:t>Pooled</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b="0" i="0" u="none" strike="noStrike" dirty="0">
                          <a:solidFill>
                            <a:schemeClr val="tx1"/>
                          </a:solidFill>
                          <a:effectLst/>
                          <a:latin typeface="+mn-lt"/>
                        </a:rPr>
                        <a:t>Pooled</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20776500"/>
                  </a:ext>
                </a:extLst>
              </a:tr>
              <a:tr h="0">
                <a:tc>
                  <a:txBody>
                    <a:bodyPr/>
                    <a:lstStyle/>
                    <a:p>
                      <a:pPr algn="l" fontAlgn="b"/>
                      <a:r>
                        <a:rPr lang="en-US" sz="1600" u="none" strike="noStrike" dirty="0">
                          <a:solidFill>
                            <a:schemeClr val="tx1"/>
                          </a:solidFill>
                          <a:effectLst/>
                          <a:latin typeface="+mn-lt"/>
                        </a:rPr>
                        <a:t>Azure Region (for infrastructure)</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US-East</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US-East</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17132820"/>
                  </a:ext>
                </a:extLst>
              </a:tr>
            </a:tbl>
          </a:graphicData>
        </a:graphic>
      </p:graphicFrame>
      <p:sp>
        <p:nvSpPr>
          <p:cNvPr id="26" name="TextBox 25">
            <a:extLst>
              <a:ext uri="{FF2B5EF4-FFF2-40B4-BE49-F238E27FC236}">
                <a16:creationId xmlns:a16="http://schemas.microsoft.com/office/drawing/2014/main" id="{6202B08D-88D2-41BD-AF7D-3B6791260455}"/>
              </a:ext>
            </a:extLst>
          </p:cNvPr>
          <p:cNvSpPr txBox="1"/>
          <p:nvPr/>
        </p:nvSpPr>
        <p:spPr>
          <a:xfrm>
            <a:off x="584200" y="1435629"/>
            <a:ext cx="11045952" cy="304699"/>
          </a:xfrm>
          <a:prstGeom prst="rect">
            <a:avLst/>
          </a:prstGeom>
        </p:spPr>
        <p:txBody>
          <a:bodyPr wrap="square" lIns="0" tIns="0" rIns="0" bIns="27432" rtlCol="0" anchor="b">
            <a:noAutofit/>
          </a:bodyPr>
          <a:lstStyle>
            <a:defPPr>
              <a:defRPr lang="en-US"/>
            </a:defPPr>
            <a:lvl1pPr>
              <a:defRPr sz="1400" b="1">
                <a:solidFill>
                  <a:schemeClr val="accent1"/>
                </a:solidFill>
              </a:defRPr>
            </a:lvl1pPr>
          </a:lstStyle>
          <a:p>
            <a:r>
              <a:rPr lang="en-US" sz="1800" dirty="0"/>
              <a:t>Opportunity Profile</a:t>
            </a:r>
          </a:p>
        </p:txBody>
      </p:sp>
      <p:sp>
        <p:nvSpPr>
          <p:cNvPr id="2" name="Title 1">
            <a:extLst>
              <a:ext uri="{FF2B5EF4-FFF2-40B4-BE49-F238E27FC236}">
                <a16:creationId xmlns:a16="http://schemas.microsoft.com/office/drawing/2014/main" id="{8331CF81-3207-4461-A7A2-77E172A6F5F4}"/>
              </a:ext>
            </a:extLst>
          </p:cNvPr>
          <p:cNvSpPr>
            <a:spLocks noGrp="1"/>
          </p:cNvSpPr>
          <p:nvPr>
            <p:ph type="title"/>
          </p:nvPr>
        </p:nvSpPr>
        <p:spPr>
          <a:xfrm>
            <a:off x="588263" y="457200"/>
            <a:ext cx="11018520" cy="407804"/>
          </a:xfrm>
        </p:spPr>
        <p:txBody>
          <a:bodyPr/>
          <a:lstStyle/>
          <a:p>
            <a:r>
              <a:rPr lang="en-US" sz="2650" dirty="0"/>
              <a:t>WVD Cost Estimation for Win10 multi-session vs. Win10 single-session(1/3)</a:t>
            </a:r>
          </a:p>
        </p:txBody>
      </p:sp>
      <p:sp>
        <p:nvSpPr>
          <p:cNvPr id="30" name="Rectangle 29">
            <a:extLst>
              <a:ext uri="{FF2B5EF4-FFF2-40B4-BE49-F238E27FC236}">
                <a16:creationId xmlns:a16="http://schemas.microsoft.com/office/drawing/2014/main" id="{BC6A4098-497F-4ED1-979D-F11A32B93285}"/>
              </a:ext>
            </a:extLst>
          </p:cNvPr>
          <p:cNvSpPr/>
          <p:nvPr/>
        </p:nvSpPr>
        <p:spPr bwMode="auto">
          <a:xfrm>
            <a:off x="5783580" y="2072641"/>
            <a:ext cx="5846572" cy="342899"/>
          </a:xfrm>
          <a:prstGeom prst="rect">
            <a:avLst/>
          </a:prstGeom>
          <a:noFill/>
          <a:ln w="3175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33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5335CC-7DF4-4258-B718-3A31C3EBA4D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0"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E75335CC-7DF4-4258-B718-3A31C3EBA4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DFB8D2A-E961-4B78-8CE7-A72CBE33AF45}"/>
              </a:ext>
            </a:extLst>
          </p:cNvPr>
          <p:cNvSpPr/>
          <p:nvPr>
            <p:custDataLst>
              <p:tags r:id="rId3"/>
            </p:custDataLst>
          </p:nvPr>
        </p:nvSpPr>
        <p:spPr bwMode="auto">
          <a:xfrm>
            <a:off x="0" y="0"/>
            <a:ext cx="158750" cy="1587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650" dirty="0">
              <a:solidFill>
                <a:schemeClr val="bg1"/>
              </a:solidFill>
              <a:latin typeface="Segoe UI Semibold" panose="020B0702040204020203" pitchFamily="34" charset="0"/>
              <a:cs typeface="Segoe UI" panose="020B0502040204020203" pitchFamily="34" charset="0"/>
              <a:sym typeface="Segoe UI Semibold" panose="020B0702040204020203" pitchFamily="34" charset="0"/>
            </a:endParaRPr>
          </a:p>
        </p:txBody>
      </p:sp>
      <p:graphicFrame>
        <p:nvGraphicFramePr>
          <p:cNvPr id="9" name="Table 8">
            <a:extLst>
              <a:ext uri="{FF2B5EF4-FFF2-40B4-BE49-F238E27FC236}">
                <a16:creationId xmlns:a16="http://schemas.microsoft.com/office/drawing/2014/main" id="{37FDA72E-071B-42A3-838F-2805459FBE24}"/>
              </a:ext>
            </a:extLst>
          </p:cNvPr>
          <p:cNvGraphicFramePr>
            <a:graphicFrameLocks noGrp="1"/>
          </p:cNvGraphicFramePr>
          <p:nvPr/>
        </p:nvGraphicFramePr>
        <p:xfrm>
          <a:off x="588263" y="1241978"/>
          <a:ext cx="5760720" cy="5358384"/>
        </p:xfrm>
        <a:graphic>
          <a:graphicData uri="http://schemas.openxmlformats.org/drawingml/2006/table">
            <a:tbl>
              <a:tblPr>
                <a:tableStyleId>{5C22544A-7EE6-4342-B048-85BDC9FD1C3A}</a:tableStyleId>
              </a:tblPr>
              <a:tblGrid>
                <a:gridCol w="3200400">
                  <a:extLst>
                    <a:ext uri="{9D8B030D-6E8A-4147-A177-3AD203B41FA5}">
                      <a16:colId xmlns:a16="http://schemas.microsoft.com/office/drawing/2014/main" val="955037989"/>
                    </a:ext>
                  </a:extLst>
                </a:gridCol>
                <a:gridCol w="1280160">
                  <a:extLst>
                    <a:ext uri="{9D8B030D-6E8A-4147-A177-3AD203B41FA5}">
                      <a16:colId xmlns:a16="http://schemas.microsoft.com/office/drawing/2014/main" val="2973270090"/>
                    </a:ext>
                  </a:extLst>
                </a:gridCol>
                <a:gridCol w="1280160">
                  <a:extLst>
                    <a:ext uri="{9D8B030D-6E8A-4147-A177-3AD203B41FA5}">
                      <a16:colId xmlns:a16="http://schemas.microsoft.com/office/drawing/2014/main" val="2114538716"/>
                    </a:ext>
                  </a:extLst>
                </a:gridCol>
              </a:tblGrid>
              <a:tr h="0">
                <a:tc>
                  <a:txBody>
                    <a:bodyPr/>
                    <a:lstStyle/>
                    <a:p>
                      <a:pPr algn="l" fontAlgn="b"/>
                      <a:r>
                        <a:rPr lang="en-US" sz="1200" b="1" u="none" strike="noStrike" dirty="0">
                          <a:solidFill>
                            <a:schemeClr val="bg1"/>
                          </a:solidFill>
                          <a:effectLst/>
                          <a:latin typeface="+mn-lt"/>
                        </a:rPr>
                        <a:t>Session Host VM</a:t>
                      </a:r>
                      <a:endParaRPr lang="en-US" sz="1200" b="1" i="0" u="none" strike="noStrike" dirty="0">
                        <a:solidFill>
                          <a:schemeClr val="bg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1</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2</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3867822332"/>
                  </a:ext>
                </a:extLst>
              </a:tr>
              <a:tr h="0">
                <a:tc>
                  <a:txBody>
                    <a:bodyPr/>
                    <a:lstStyle/>
                    <a:p>
                      <a:pPr algn="l" fontAlgn="b"/>
                      <a:r>
                        <a:rPr lang="en-US" sz="1200" u="none" strike="noStrike" dirty="0">
                          <a:solidFill>
                            <a:schemeClr val="tx1"/>
                          </a:solidFill>
                          <a:effectLst/>
                          <a:latin typeface="+mn-lt"/>
                        </a:rPr>
                        <a:t>OS Type</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Windows 10 multi-session</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Windows 10</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42947506"/>
                  </a:ext>
                </a:extLst>
              </a:tr>
              <a:tr h="0">
                <a:tc>
                  <a:txBody>
                    <a:bodyPr/>
                    <a:lstStyle/>
                    <a:p>
                      <a:pPr algn="l" fontAlgn="b"/>
                      <a:r>
                        <a:rPr lang="en-US" sz="1200" u="none" strike="noStrike" dirty="0">
                          <a:solidFill>
                            <a:schemeClr val="tx1"/>
                          </a:solidFill>
                          <a:effectLst/>
                          <a:latin typeface="+mn-lt"/>
                        </a:rPr>
                        <a:t>Pooled / Personal</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Pooled</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Pooled</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56329131"/>
                  </a:ext>
                </a:extLst>
              </a:tr>
              <a:tr h="0">
                <a:tc>
                  <a:txBody>
                    <a:bodyPr/>
                    <a:lstStyle/>
                    <a:p>
                      <a:pPr algn="l" fontAlgn="b"/>
                      <a:r>
                        <a:rPr lang="en-US" sz="1200" u="none" strike="noStrike" dirty="0">
                          <a:solidFill>
                            <a:schemeClr val="tx1"/>
                          </a:solidFill>
                          <a:effectLst/>
                          <a:latin typeface="+mn-lt"/>
                        </a:rPr>
                        <a:t>Deployment Type</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Multi-session</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Single-session</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58425514"/>
                  </a:ext>
                </a:extLst>
              </a:tr>
              <a:tr h="0">
                <a:tc>
                  <a:txBody>
                    <a:bodyPr/>
                    <a:lstStyle/>
                    <a:p>
                      <a:pPr algn="l" fontAlgn="b"/>
                      <a:r>
                        <a:rPr lang="en-US" sz="1200" u="none" strike="noStrike" dirty="0">
                          <a:solidFill>
                            <a:schemeClr val="tx1"/>
                          </a:solidFill>
                          <a:effectLst/>
                          <a:latin typeface="+mn-lt"/>
                        </a:rPr>
                        <a:t># users/vCPU (only valid for multi-session) (Default)</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4</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N/A</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07529431"/>
                  </a:ext>
                </a:extLst>
              </a:tr>
              <a:tr h="0">
                <a:tc>
                  <a:txBody>
                    <a:bodyPr/>
                    <a:lstStyle/>
                    <a:p>
                      <a:pPr algn="l" fontAlgn="b"/>
                      <a:r>
                        <a:rPr lang="en-US" sz="1200" u="none" strike="noStrike" dirty="0">
                          <a:solidFill>
                            <a:schemeClr val="tx1"/>
                          </a:solidFill>
                          <a:effectLst/>
                          <a:latin typeface="+mn-lt"/>
                        </a:rPr>
                        <a:t>VM Instance (Default)</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D8s v3</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D2s v3</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97819345"/>
                  </a:ext>
                </a:extLst>
              </a:tr>
              <a:tr h="0">
                <a:tc>
                  <a:txBody>
                    <a:bodyPr/>
                    <a:lstStyle/>
                    <a:p>
                      <a:pPr algn="l" fontAlgn="b"/>
                      <a:r>
                        <a:rPr lang="en-US" sz="1200" u="none" strike="noStrike" dirty="0">
                          <a:solidFill>
                            <a:schemeClr val="tx1"/>
                          </a:solidFill>
                          <a:effectLst/>
                          <a:latin typeface="+mn-lt"/>
                        </a:rPr>
                        <a:t>Reserved Instance (Default)</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3-year reserved</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3 -year reserved</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35341078"/>
                  </a:ext>
                </a:extLst>
              </a:tr>
              <a:tr h="0">
                <a:tc>
                  <a:txBody>
                    <a:bodyPr/>
                    <a:lstStyle/>
                    <a:p>
                      <a:pPr algn="l" fontAlgn="b"/>
                      <a:r>
                        <a:rPr lang="en-US" sz="1200" u="none" strike="noStrike" dirty="0">
                          <a:solidFill>
                            <a:schemeClr val="tx1"/>
                          </a:solidFill>
                          <a:effectLst/>
                          <a:latin typeface="+mn-lt"/>
                        </a:rPr>
                        <a:t>Price / hour per VM</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0.147</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0.0368</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03738753"/>
                  </a:ext>
                </a:extLst>
              </a:tr>
              <a:tr h="0">
                <a:tc>
                  <a:txBody>
                    <a:bodyPr/>
                    <a:lstStyle/>
                    <a:p>
                      <a:pPr algn="l" fontAlgn="b"/>
                      <a:r>
                        <a:rPr lang="en-US" sz="1200" u="none" strike="noStrike" dirty="0">
                          <a:solidFill>
                            <a:schemeClr val="tx1"/>
                          </a:solidFill>
                          <a:effectLst/>
                          <a:latin typeface="+mn-lt"/>
                        </a:rPr>
                        <a:t>Users per VM</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32</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30455646"/>
                  </a:ext>
                </a:extLst>
              </a:tr>
              <a:tr h="0">
                <a:tc>
                  <a:txBody>
                    <a:bodyPr/>
                    <a:lstStyle/>
                    <a:p>
                      <a:pPr algn="l" fontAlgn="b"/>
                      <a:r>
                        <a:rPr lang="en-US" sz="1200" u="none" strike="noStrike" dirty="0">
                          <a:solidFill>
                            <a:schemeClr val="tx1"/>
                          </a:solidFill>
                          <a:effectLst/>
                          <a:latin typeface="+mn-lt"/>
                        </a:rPr>
                        <a:t>Peak hours / month per VM</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730</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730</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33288965"/>
                  </a:ext>
                </a:extLst>
              </a:tr>
              <a:tr h="0">
                <a:tc>
                  <a:txBody>
                    <a:bodyPr/>
                    <a:lstStyle/>
                    <a:p>
                      <a:pPr algn="l" fontAlgn="b"/>
                      <a:r>
                        <a:rPr lang="en-US" sz="1200" u="none" strike="noStrike" dirty="0">
                          <a:solidFill>
                            <a:schemeClr val="tx1"/>
                          </a:solidFill>
                          <a:effectLst/>
                          <a:latin typeface="+mn-lt"/>
                        </a:rPr>
                        <a:t>VMS during peak hours</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26</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801</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44415785"/>
                  </a:ext>
                </a:extLst>
              </a:tr>
              <a:tr h="0">
                <a:tc>
                  <a:txBody>
                    <a:bodyPr/>
                    <a:lstStyle/>
                    <a:p>
                      <a:pPr algn="l" fontAlgn="b"/>
                      <a:r>
                        <a:rPr lang="en-US" sz="1200" b="1" u="none" strike="noStrike" dirty="0">
                          <a:solidFill>
                            <a:schemeClr val="tx1"/>
                          </a:solidFill>
                          <a:effectLst/>
                          <a:latin typeface="+mn-lt"/>
                        </a:rPr>
                        <a:t>Total VM cost / month</a:t>
                      </a:r>
                      <a:endParaRPr lang="en-US" sz="1200" b="1"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1200" b="1" u="none" strike="noStrike" dirty="0">
                          <a:solidFill>
                            <a:schemeClr val="tx1"/>
                          </a:solidFill>
                          <a:effectLst/>
                          <a:latin typeface="+mn-lt"/>
                        </a:rPr>
                        <a:t>$2,797</a:t>
                      </a:r>
                      <a:endParaRPr lang="en-US" sz="1200" b="1"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1200" b="1" u="none" strike="noStrike" dirty="0">
                          <a:solidFill>
                            <a:schemeClr val="tx1"/>
                          </a:solidFill>
                          <a:effectLst/>
                          <a:latin typeface="+mn-lt"/>
                        </a:rPr>
                        <a:t>$21,536</a:t>
                      </a:r>
                      <a:endParaRPr lang="en-US" sz="1200" b="1"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785828248"/>
                  </a:ext>
                </a:extLst>
              </a:tr>
              <a:tr h="0">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da-DK" sz="1200" b="1" u="none" strike="noStrike" kern="1200" dirty="0">
                          <a:solidFill>
                            <a:schemeClr val="lt1"/>
                          </a:solidFill>
                          <a:effectLst/>
                          <a:latin typeface="+mn-lt"/>
                          <a:ea typeface="+mn-ea"/>
                          <a:cs typeface="+mn-cs"/>
                        </a:rPr>
                        <a:t>OS Disk (for Session Host VM)</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1</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2</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873353930"/>
                  </a:ext>
                </a:extLst>
              </a:tr>
              <a:tr h="0">
                <a:tc>
                  <a:txBody>
                    <a:bodyPr/>
                    <a:lstStyle/>
                    <a:p>
                      <a:pPr algn="l" fontAlgn="b"/>
                      <a:r>
                        <a:rPr lang="en-US" sz="1200" u="none" strike="noStrike" dirty="0">
                          <a:solidFill>
                            <a:schemeClr val="tx1"/>
                          </a:solidFill>
                          <a:effectLst/>
                          <a:latin typeface="+mn-lt"/>
                        </a:rPr>
                        <a:t>OS Disk size (GB) required (Default)</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27</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27</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74054055"/>
                  </a:ext>
                </a:extLst>
              </a:tr>
              <a:tr h="0">
                <a:tc>
                  <a:txBody>
                    <a:bodyPr/>
                    <a:lstStyle/>
                    <a:p>
                      <a:pPr algn="l" fontAlgn="b"/>
                      <a:r>
                        <a:rPr lang="en-US" sz="1200" u="none" strike="noStrike" dirty="0">
                          <a:solidFill>
                            <a:schemeClr val="tx1"/>
                          </a:solidFill>
                          <a:effectLst/>
                          <a:latin typeface="+mn-lt"/>
                        </a:rPr>
                        <a:t># OS Disk per VM (Default)</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1</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59328146"/>
                  </a:ext>
                </a:extLst>
              </a:tr>
              <a:tr h="0">
                <a:tc>
                  <a:txBody>
                    <a:bodyPr/>
                    <a:lstStyle/>
                    <a:p>
                      <a:pPr algn="l" fontAlgn="b"/>
                      <a:r>
                        <a:rPr lang="en-US" sz="1200" u="none" strike="noStrike" dirty="0">
                          <a:solidFill>
                            <a:schemeClr val="tx1"/>
                          </a:solidFill>
                          <a:effectLst/>
                          <a:latin typeface="+mn-lt"/>
                        </a:rPr>
                        <a:t>OS Disk Tier (Default)</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Premium</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Premium</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2243083"/>
                  </a:ext>
                </a:extLst>
              </a:tr>
              <a:tr h="0">
                <a:tc>
                  <a:txBody>
                    <a:bodyPr/>
                    <a:lstStyle/>
                    <a:p>
                      <a:pPr algn="l" fontAlgn="b"/>
                      <a:r>
                        <a:rPr lang="en-US" sz="1200" u="none" strike="noStrike" dirty="0">
                          <a:solidFill>
                            <a:schemeClr val="tx1"/>
                          </a:solidFill>
                          <a:effectLst/>
                          <a:latin typeface="+mn-lt"/>
                        </a:rPr>
                        <a:t>OS Disk</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premiumssd-p10</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premiumssd-p10</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78602746"/>
                  </a:ext>
                </a:extLst>
              </a:tr>
              <a:tr h="0">
                <a:tc>
                  <a:txBody>
                    <a:bodyPr/>
                    <a:lstStyle/>
                    <a:p>
                      <a:pPr algn="l" fontAlgn="b"/>
                      <a:r>
                        <a:rPr lang="sv-SE" sz="1200" u="none" strike="noStrike" dirty="0">
                          <a:solidFill>
                            <a:schemeClr val="tx1"/>
                          </a:solidFill>
                          <a:effectLst/>
                          <a:latin typeface="+mn-lt"/>
                        </a:rPr>
                        <a:t>OS Disk cost per VM</a:t>
                      </a:r>
                      <a:endParaRPr lang="sv-SE"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9.71</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9.71</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99824602"/>
                  </a:ext>
                </a:extLst>
              </a:tr>
              <a:tr h="0">
                <a:tc>
                  <a:txBody>
                    <a:bodyPr/>
                    <a:lstStyle/>
                    <a:p>
                      <a:pPr algn="l" fontAlgn="b"/>
                      <a:r>
                        <a:rPr lang="en-US" sz="1200" u="none" strike="noStrike" dirty="0">
                          <a:solidFill>
                            <a:schemeClr val="tx1"/>
                          </a:solidFill>
                          <a:effectLst/>
                          <a:latin typeface="+mn-lt"/>
                        </a:rPr>
                        <a:t># VMS during peak hours</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26</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801</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1093425"/>
                  </a:ext>
                </a:extLst>
              </a:tr>
              <a:tr h="0">
                <a:tc>
                  <a:txBody>
                    <a:bodyPr/>
                    <a:lstStyle/>
                    <a:p>
                      <a:pPr algn="l" fontAlgn="b"/>
                      <a:r>
                        <a:rPr lang="en-US" sz="1200" b="0" i="0" u="none" strike="noStrike" dirty="0">
                          <a:solidFill>
                            <a:schemeClr val="tx1"/>
                          </a:solidFill>
                          <a:effectLst/>
                          <a:latin typeface="+mn-lt"/>
                        </a:rPr>
                        <a:t>Total OS Disk cost / month during peak hours</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512.46</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15,787.71</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13181621"/>
                  </a:ext>
                </a:extLst>
              </a:tr>
              <a:tr h="0">
                <a:tc>
                  <a:txBody>
                    <a:bodyPr/>
                    <a:lstStyle/>
                    <a:p>
                      <a:pPr algn="l" fontAlgn="b"/>
                      <a:r>
                        <a:rPr lang="en-US" sz="1200" b="1" i="0" u="none" strike="noStrike" dirty="0">
                          <a:solidFill>
                            <a:schemeClr val="tx1"/>
                          </a:solidFill>
                          <a:effectLst/>
                          <a:latin typeface="+mn-lt"/>
                        </a:rPr>
                        <a:t>Total OS Disk cost / month</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1" i="0" u="none" strike="noStrike" dirty="0">
                          <a:solidFill>
                            <a:schemeClr val="tx1"/>
                          </a:solidFill>
                          <a:effectLst/>
                          <a:latin typeface="+mn-lt"/>
                        </a:rPr>
                        <a:t>$512.16</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200" b="1" i="0" u="none" strike="noStrike" dirty="0">
                          <a:solidFill>
                            <a:schemeClr val="tx1"/>
                          </a:solidFill>
                          <a:effectLst/>
                          <a:latin typeface="+mn-lt"/>
                        </a:rPr>
                        <a:t>$15,787.71</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6377792"/>
                  </a:ext>
                </a:extLst>
              </a:tr>
            </a:tbl>
          </a:graphicData>
        </a:graphic>
      </p:graphicFrame>
      <p:sp>
        <p:nvSpPr>
          <p:cNvPr id="29" name="TextBox 28">
            <a:extLst>
              <a:ext uri="{FF2B5EF4-FFF2-40B4-BE49-F238E27FC236}">
                <a16:creationId xmlns:a16="http://schemas.microsoft.com/office/drawing/2014/main" id="{BC573EAE-F22D-442A-B774-3388FC73524F}"/>
              </a:ext>
            </a:extLst>
          </p:cNvPr>
          <p:cNvSpPr txBox="1"/>
          <p:nvPr/>
        </p:nvSpPr>
        <p:spPr>
          <a:xfrm>
            <a:off x="588263" y="992862"/>
            <a:ext cx="5760720" cy="243143"/>
          </a:xfrm>
          <a:prstGeom prst="rect">
            <a:avLst/>
          </a:prstGeom>
          <a:noFill/>
        </p:spPr>
        <p:txBody>
          <a:bodyPr wrap="square" lIns="0" tIns="0" rIns="0" bIns="27432" rtlCol="0" anchor="b">
            <a:noAutofit/>
          </a:bodyPr>
          <a:lstStyle/>
          <a:p>
            <a:r>
              <a:rPr lang="en-US" sz="1400" b="1" dirty="0">
                <a:solidFill>
                  <a:schemeClr val="accent1"/>
                </a:solidFill>
              </a:rPr>
              <a:t>Compute Cost</a:t>
            </a:r>
          </a:p>
        </p:txBody>
      </p:sp>
      <p:sp>
        <p:nvSpPr>
          <p:cNvPr id="2" name="Title 1">
            <a:extLst>
              <a:ext uri="{FF2B5EF4-FFF2-40B4-BE49-F238E27FC236}">
                <a16:creationId xmlns:a16="http://schemas.microsoft.com/office/drawing/2014/main" id="{8331CF81-3207-4461-A7A2-77E172A6F5F4}"/>
              </a:ext>
            </a:extLst>
          </p:cNvPr>
          <p:cNvSpPr>
            <a:spLocks noGrp="1"/>
          </p:cNvSpPr>
          <p:nvPr>
            <p:ph type="title"/>
          </p:nvPr>
        </p:nvSpPr>
        <p:spPr>
          <a:xfrm>
            <a:off x="588263" y="457200"/>
            <a:ext cx="11018520" cy="407804"/>
          </a:xfrm>
        </p:spPr>
        <p:txBody>
          <a:bodyPr/>
          <a:lstStyle/>
          <a:p>
            <a:r>
              <a:rPr lang="en-US" sz="2650" dirty="0"/>
              <a:t>WVD Cost Estimation for Win10 multi-session vs. Win10 single-session(2/3)</a:t>
            </a:r>
          </a:p>
        </p:txBody>
      </p:sp>
      <p:graphicFrame>
        <p:nvGraphicFramePr>
          <p:cNvPr id="20" name="Table 19">
            <a:extLst>
              <a:ext uri="{FF2B5EF4-FFF2-40B4-BE49-F238E27FC236}">
                <a16:creationId xmlns:a16="http://schemas.microsoft.com/office/drawing/2014/main" id="{989C98E4-EBBD-4B1C-8210-5E451A58A14F}"/>
              </a:ext>
            </a:extLst>
          </p:cNvPr>
          <p:cNvGraphicFramePr>
            <a:graphicFrameLocks noGrp="1"/>
          </p:cNvGraphicFramePr>
          <p:nvPr/>
        </p:nvGraphicFramePr>
        <p:xfrm>
          <a:off x="6498863" y="1241978"/>
          <a:ext cx="5120640" cy="2560320"/>
        </p:xfrm>
        <a:graphic>
          <a:graphicData uri="http://schemas.openxmlformats.org/drawingml/2006/table">
            <a:tbl>
              <a:tblPr>
                <a:tableStyleId>{5C22544A-7EE6-4342-B048-85BDC9FD1C3A}</a:tableStyleId>
              </a:tblPr>
              <a:tblGrid>
                <a:gridCol w="3474720">
                  <a:extLst>
                    <a:ext uri="{9D8B030D-6E8A-4147-A177-3AD203B41FA5}">
                      <a16:colId xmlns:a16="http://schemas.microsoft.com/office/drawing/2014/main" val="3367642093"/>
                    </a:ext>
                  </a:extLst>
                </a:gridCol>
                <a:gridCol w="822960">
                  <a:extLst>
                    <a:ext uri="{9D8B030D-6E8A-4147-A177-3AD203B41FA5}">
                      <a16:colId xmlns:a16="http://schemas.microsoft.com/office/drawing/2014/main" val="385579603"/>
                    </a:ext>
                  </a:extLst>
                </a:gridCol>
                <a:gridCol w="822960">
                  <a:extLst>
                    <a:ext uri="{9D8B030D-6E8A-4147-A177-3AD203B41FA5}">
                      <a16:colId xmlns:a16="http://schemas.microsoft.com/office/drawing/2014/main" val="3472834781"/>
                    </a:ext>
                  </a:extLst>
                </a:gridCol>
              </a:tblGrid>
              <a:tr h="0">
                <a:tc>
                  <a:txBody>
                    <a:bodyPr/>
                    <a:lstStyle/>
                    <a:p>
                      <a:pPr algn="l" fontAlgn="b"/>
                      <a:r>
                        <a:rPr lang="en-US" sz="1200" b="1" u="none" strike="noStrike" dirty="0">
                          <a:ln>
                            <a:noFill/>
                          </a:ln>
                          <a:solidFill>
                            <a:schemeClr val="bg1"/>
                          </a:solidFill>
                          <a:effectLst/>
                          <a:latin typeface="+mn-lt"/>
                        </a:rPr>
                        <a:t>Storage Requirements</a:t>
                      </a:r>
                      <a:endParaRPr lang="en-US" sz="1200" b="1" i="0" u="none" strike="noStrike" dirty="0">
                        <a:ln>
                          <a:noFill/>
                        </a:ln>
                        <a:solidFill>
                          <a:schemeClr val="bg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1</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2</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627839820"/>
                  </a:ext>
                </a:extLst>
              </a:tr>
              <a:tr h="0">
                <a:tc>
                  <a:txBody>
                    <a:bodyPr/>
                    <a:lstStyle/>
                    <a:p>
                      <a:pPr algn="l" fontAlgn="b"/>
                      <a:r>
                        <a:rPr lang="en-US" sz="1200" u="none" strike="noStrike" dirty="0">
                          <a:effectLst/>
                          <a:latin typeface="+mn-lt"/>
                        </a:rPr>
                        <a:t>Storage GB/user (Default)</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20</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20</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4233990"/>
                  </a:ext>
                </a:extLst>
              </a:tr>
              <a:tr h="0">
                <a:tc>
                  <a:txBody>
                    <a:bodyPr/>
                    <a:lstStyle/>
                    <a:p>
                      <a:pPr algn="l" fontAlgn="b"/>
                      <a:r>
                        <a:rPr lang="en-US" sz="1200" u="none" strike="noStrike" dirty="0">
                          <a:effectLst/>
                          <a:latin typeface="+mn-lt"/>
                        </a:rPr>
                        <a:t>Total profile storage required (GB)</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20,000</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20,000</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137542397"/>
                  </a:ext>
                </a:extLst>
              </a:tr>
              <a:tr h="0">
                <a:tc>
                  <a:txBody>
                    <a:bodyPr/>
                    <a:lstStyle/>
                    <a:p>
                      <a:pPr algn="l" fontAlgn="b"/>
                      <a:r>
                        <a:rPr lang="en-US" sz="1200" b="1" u="none" strike="noStrike" dirty="0">
                          <a:effectLst/>
                          <a:latin typeface="+mn-lt"/>
                        </a:rPr>
                        <a:t>Azure NetApp Files</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20000"/>
                        <a:lumOff val="80000"/>
                      </a:schemeClr>
                    </a:solidFill>
                  </a:tcPr>
                </a:tc>
                <a:tc>
                  <a:txBody>
                    <a:bodyPr/>
                    <a:lstStyle/>
                    <a:p>
                      <a:pPr algn="ctr" fontAlgn="b"/>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20000"/>
                        <a:lumOff val="80000"/>
                      </a:schemeClr>
                    </a:solidFill>
                  </a:tcPr>
                </a:tc>
                <a:tc>
                  <a:txBody>
                    <a:bodyPr/>
                    <a:lstStyle/>
                    <a:p>
                      <a:pPr algn="ctr" fontAlgn="b"/>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92461927"/>
                  </a:ext>
                </a:extLst>
              </a:tr>
              <a:tr h="0">
                <a:tc>
                  <a:txBody>
                    <a:bodyPr/>
                    <a:lstStyle/>
                    <a:p>
                      <a:pPr algn="l" fontAlgn="b"/>
                      <a:r>
                        <a:rPr lang="en-US" sz="1200" u="none" strike="noStrike" dirty="0">
                          <a:effectLst/>
                          <a:latin typeface="+mn-lt"/>
                        </a:rPr>
                        <a:t>Azure Region</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10066665"/>
                  </a:ext>
                </a:extLst>
              </a:tr>
              <a:tr h="0">
                <a:tc>
                  <a:txBody>
                    <a:bodyPr/>
                    <a:lstStyle/>
                    <a:p>
                      <a:pPr algn="l" fontAlgn="b"/>
                      <a:r>
                        <a:rPr lang="en-US" sz="1200" u="none" strike="noStrike" dirty="0">
                          <a:effectLst/>
                          <a:latin typeface="+mn-lt"/>
                        </a:rPr>
                        <a:t>Pricing Option</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Month</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Month</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48303289"/>
                  </a:ext>
                </a:extLst>
              </a:tr>
              <a:tr h="0">
                <a:tc>
                  <a:txBody>
                    <a:bodyPr/>
                    <a:lstStyle/>
                    <a:p>
                      <a:pPr algn="l" fontAlgn="b"/>
                      <a:r>
                        <a:rPr lang="en-US" sz="1200" u="none" strike="noStrike" dirty="0">
                          <a:effectLst/>
                          <a:latin typeface="+mn-lt"/>
                        </a:rPr>
                        <a:t>Storage Hours</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000000"/>
                          </a:solidFill>
                          <a:effectLst/>
                          <a:latin typeface="+mn-lt"/>
                        </a:rPr>
                        <a:t>N/A</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000000"/>
                          </a:solidFill>
                          <a:effectLst/>
                          <a:latin typeface="+mn-lt"/>
                        </a:rPr>
                        <a:t>N/A</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27817784"/>
                  </a:ext>
                </a:extLst>
              </a:tr>
              <a:tr h="0">
                <a:tc>
                  <a:txBody>
                    <a:bodyPr/>
                    <a:lstStyle/>
                    <a:p>
                      <a:pPr algn="l" fontAlgn="b"/>
                      <a:r>
                        <a:rPr lang="en-US" sz="1200" u="none" strike="noStrike" dirty="0">
                          <a:effectLst/>
                          <a:latin typeface="+mn-lt"/>
                        </a:rPr>
                        <a:t>Storage Tier (Default)</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Standard</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Standard</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50253521"/>
                  </a:ext>
                </a:extLst>
              </a:tr>
              <a:tr h="0">
                <a:tc>
                  <a:txBody>
                    <a:bodyPr/>
                    <a:lstStyle/>
                    <a:p>
                      <a:pPr algn="l" fontAlgn="b"/>
                      <a:r>
                        <a:rPr lang="en-US" sz="1200" u="none" strike="noStrike" dirty="0">
                          <a:effectLst/>
                          <a:latin typeface="+mn-lt"/>
                        </a:rPr>
                        <a:t>Cost / GB / (Month or Hour)</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0.15</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0.15</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54263645"/>
                  </a:ext>
                </a:extLst>
              </a:tr>
              <a:tr h="0">
                <a:tc>
                  <a:txBody>
                    <a:bodyPr/>
                    <a:lstStyle/>
                    <a:p>
                      <a:pPr algn="l" fontAlgn="b"/>
                      <a:r>
                        <a:rPr lang="en-US" sz="1200" b="1" u="none" strike="noStrike" dirty="0">
                          <a:effectLst/>
                          <a:latin typeface="+mn-lt"/>
                        </a:rPr>
                        <a:t>Total Azure NetApp Files Storage cost / month</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1" u="none" strike="noStrike" dirty="0">
                          <a:effectLst/>
                          <a:latin typeface="+mn-lt"/>
                        </a:rPr>
                        <a:t>$2,949.20</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1" u="none" strike="noStrike" dirty="0">
                          <a:effectLst/>
                          <a:latin typeface="+mn-lt"/>
                        </a:rPr>
                        <a:t>$2,949.20</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56085181"/>
                  </a:ext>
                </a:extLst>
              </a:tr>
            </a:tbl>
          </a:graphicData>
        </a:graphic>
      </p:graphicFrame>
      <p:sp>
        <p:nvSpPr>
          <p:cNvPr id="21" name="TextBox 20">
            <a:extLst>
              <a:ext uri="{FF2B5EF4-FFF2-40B4-BE49-F238E27FC236}">
                <a16:creationId xmlns:a16="http://schemas.microsoft.com/office/drawing/2014/main" id="{B9977DDD-53D1-43A0-B06A-87D6F3657197}"/>
              </a:ext>
            </a:extLst>
          </p:cNvPr>
          <p:cNvSpPr txBox="1"/>
          <p:nvPr/>
        </p:nvSpPr>
        <p:spPr>
          <a:xfrm>
            <a:off x="6530393" y="992862"/>
            <a:ext cx="5074920" cy="243143"/>
          </a:xfrm>
          <a:prstGeom prst="rect">
            <a:avLst/>
          </a:prstGeom>
        </p:spPr>
        <p:txBody>
          <a:bodyPr wrap="square" lIns="0" tIns="0" rIns="0" bIns="27432" rtlCol="0" anchor="b">
            <a:noAutofit/>
          </a:bodyPr>
          <a:lstStyle>
            <a:defPPr>
              <a:defRPr lang="en-US"/>
            </a:defPPr>
            <a:lvl1pPr>
              <a:defRPr sz="1400" b="1">
                <a:solidFill>
                  <a:schemeClr val="accent1"/>
                </a:solidFill>
              </a:defRPr>
            </a:lvl1pPr>
          </a:lstStyle>
          <a:p>
            <a:r>
              <a:rPr lang="en-US" dirty="0"/>
              <a:t>Storage Cost</a:t>
            </a:r>
          </a:p>
        </p:txBody>
      </p:sp>
    </p:spTree>
    <p:extLst>
      <p:ext uri="{BB962C8B-B14F-4D97-AF65-F5344CB8AC3E}">
        <p14:creationId xmlns:p14="http://schemas.microsoft.com/office/powerpoint/2010/main" val="2887678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5335CC-7DF4-4258-B718-3A31C3EBA4D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4"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E75335CC-7DF4-4258-B718-3A31C3EBA4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DFB8D2A-E961-4B78-8CE7-A72CBE33AF45}"/>
              </a:ext>
            </a:extLst>
          </p:cNvPr>
          <p:cNvSpPr/>
          <p:nvPr>
            <p:custDataLst>
              <p:tags r:id="rId3"/>
            </p:custDataLst>
          </p:nvPr>
        </p:nvSpPr>
        <p:spPr bwMode="auto">
          <a:xfrm>
            <a:off x="0" y="0"/>
            <a:ext cx="158750" cy="1587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650" dirty="0">
              <a:solidFill>
                <a:schemeClr val="bg1"/>
              </a:soli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331CF81-3207-4461-A7A2-77E172A6F5F4}"/>
              </a:ext>
            </a:extLst>
          </p:cNvPr>
          <p:cNvSpPr>
            <a:spLocks noGrp="1"/>
          </p:cNvSpPr>
          <p:nvPr>
            <p:ph type="title"/>
          </p:nvPr>
        </p:nvSpPr>
        <p:spPr>
          <a:xfrm>
            <a:off x="588263" y="457200"/>
            <a:ext cx="11018520" cy="407804"/>
          </a:xfrm>
        </p:spPr>
        <p:txBody>
          <a:bodyPr/>
          <a:lstStyle/>
          <a:p>
            <a:r>
              <a:rPr lang="en-US" sz="2650" dirty="0"/>
              <a:t>WVD Cost Estimation for Win10 multi-session vs. Win10 single-session(3/3)</a:t>
            </a:r>
          </a:p>
        </p:txBody>
      </p:sp>
      <p:graphicFrame>
        <p:nvGraphicFramePr>
          <p:cNvPr id="12" name="Table 11">
            <a:extLst>
              <a:ext uri="{FF2B5EF4-FFF2-40B4-BE49-F238E27FC236}">
                <a16:creationId xmlns:a16="http://schemas.microsoft.com/office/drawing/2014/main" id="{E9E4F994-8DE6-41C1-AAE0-D61C19B57183}"/>
              </a:ext>
            </a:extLst>
          </p:cNvPr>
          <p:cNvGraphicFramePr>
            <a:graphicFrameLocks noGrp="1"/>
          </p:cNvGraphicFramePr>
          <p:nvPr>
            <p:extLst>
              <p:ext uri="{D42A27DB-BD31-4B8C-83A1-F6EECF244321}">
                <p14:modId xmlns:p14="http://schemas.microsoft.com/office/powerpoint/2010/main" val="3129694494"/>
              </p:ext>
            </p:extLst>
          </p:nvPr>
        </p:nvGraphicFramePr>
        <p:xfrm>
          <a:off x="588263" y="1241978"/>
          <a:ext cx="5270500" cy="2377440"/>
        </p:xfrm>
        <a:graphic>
          <a:graphicData uri="http://schemas.openxmlformats.org/drawingml/2006/table">
            <a:tbl>
              <a:tblPr>
                <a:tableStyleId>{5C22544A-7EE6-4342-B048-85BDC9FD1C3A}</a:tableStyleId>
              </a:tblPr>
              <a:tblGrid>
                <a:gridCol w="2893060">
                  <a:extLst>
                    <a:ext uri="{9D8B030D-6E8A-4147-A177-3AD203B41FA5}">
                      <a16:colId xmlns:a16="http://schemas.microsoft.com/office/drawing/2014/main" val="3195128591"/>
                    </a:ext>
                  </a:extLst>
                </a:gridCol>
                <a:gridCol w="1188720">
                  <a:extLst>
                    <a:ext uri="{9D8B030D-6E8A-4147-A177-3AD203B41FA5}">
                      <a16:colId xmlns:a16="http://schemas.microsoft.com/office/drawing/2014/main" val="1688712402"/>
                    </a:ext>
                  </a:extLst>
                </a:gridCol>
                <a:gridCol w="1188720">
                  <a:extLst>
                    <a:ext uri="{9D8B030D-6E8A-4147-A177-3AD203B41FA5}">
                      <a16:colId xmlns:a16="http://schemas.microsoft.com/office/drawing/2014/main" val="927612869"/>
                    </a:ext>
                  </a:extLst>
                </a:gridCol>
              </a:tblGrid>
              <a:tr h="161290">
                <a:tc>
                  <a:txBody>
                    <a:bodyPr/>
                    <a:lstStyle/>
                    <a:p>
                      <a:pPr marL="0" algn="l" defTabSz="932742" rtl="0" eaLnBrk="1" fontAlgn="b" latinLnBrk="0" hangingPunct="1"/>
                      <a:r>
                        <a:rPr lang="en-US" sz="1200" b="1" u="none" strike="noStrike" kern="1200" dirty="0">
                          <a:ln>
                            <a:noFill/>
                          </a:ln>
                          <a:solidFill>
                            <a:schemeClr val="bg1"/>
                          </a:solidFill>
                          <a:effectLst/>
                          <a:latin typeface="+mn-lt"/>
                          <a:ea typeface="+mn-ea"/>
                          <a:cs typeface="+mn-cs"/>
                        </a:rPr>
                        <a:t>Virtual Network</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1</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2</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67413523"/>
                  </a:ext>
                </a:extLst>
              </a:tr>
              <a:tr h="201168">
                <a:tc>
                  <a:txBody>
                    <a:bodyPr/>
                    <a:lstStyle/>
                    <a:p>
                      <a:pPr algn="l" fontAlgn="ctr"/>
                      <a:r>
                        <a:rPr lang="en-US" sz="1200" u="none" strike="noStrike" dirty="0">
                          <a:effectLst/>
                          <a:latin typeface="+mn-lt"/>
                        </a:rPr>
                        <a:t>Source vNet Region</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92727486"/>
                  </a:ext>
                </a:extLst>
              </a:tr>
              <a:tr h="201168">
                <a:tc>
                  <a:txBody>
                    <a:bodyPr/>
                    <a:lstStyle/>
                    <a:p>
                      <a:pPr algn="l" fontAlgn="ctr"/>
                      <a:r>
                        <a:rPr lang="en-US" sz="1200" u="none" strike="noStrike" dirty="0">
                          <a:effectLst/>
                          <a:latin typeface="+mn-lt"/>
                        </a:rPr>
                        <a:t>Destination vNet Region</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2179754"/>
                  </a:ext>
                </a:extLst>
              </a:tr>
              <a:tr h="201168">
                <a:tc>
                  <a:txBody>
                    <a:bodyPr/>
                    <a:lstStyle/>
                    <a:p>
                      <a:pPr algn="l" fontAlgn="ctr"/>
                      <a:r>
                        <a:rPr lang="en-US" sz="1200" u="none" strike="noStrike" dirty="0">
                          <a:effectLst/>
                          <a:latin typeface="+mn-lt"/>
                        </a:rPr>
                        <a:t>Type</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Same Region</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Same Region</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68828926"/>
                  </a:ext>
                </a:extLst>
              </a:tr>
              <a:tr h="201168">
                <a:tc>
                  <a:txBody>
                    <a:bodyPr/>
                    <a:lstStyle/>
                    <a:p>
                      <a:pPr algn="l" fontAlgn="ctr"/>
                      <a:r>
                        <a:rPr lang="en-US" sz="1200" u="none" strike="noStrike" dirty="0">
                          <a:effectLst/>
                          <a:latin typeface="+mn-lt"/>
                        </a:rPr>
                        <a:t>Network egress (Default kbps per user)</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150</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150</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84820983"/>
                  </a:ext>
                </a:extLst>
              </a:tr>
              <a:tr h="201168">
                <a:tc>
                  <a:txBody>
                    <a:bodyPr/>
                    <a:lstStyle/>
                    <a:p>
                      <a:pPr algn="l" fontAlgn="ctr"/>
                      <a:r>
                        <a:rPr lang="en-US" sz="1200" u="none" strike="noStrike" dirty="0">
                          <a:effectLst/>
                          <a:latin typeface="+mn-lt"/>
                        </a:rPr>
                        <a:t>Average work hours (per user per month)</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160</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160</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81549207"/>
                  </a:ext>
                </a:extLst>
              </a:tr>
              <a:tr h="201168">
                <a:tc>
                  <a:txBody>
                    <a:bodyPr/>
                    <a:lstStyle/>
                    <a:p>
                      <a:pPr algn="l" fontAlgn="ctr"/>
                      <a:r>
                        <a:rPr lang="en-US" sz="1200" u="none" strike="noStrike" dirty="0">
                          <a:effectLst/>
                          <a:latin typeface="+mn-lt"/>
                        </a:rPr>
                        <a:t>Network egress (GB per user per month)</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66</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66</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13385161"/>
                  </a:ext>
                </a:extLst>
              </a:tr>
              <a:tr h="201168">
                <a:tc>
                  <a:txBody>
                    <a:bodyPr/>
                    <a:lstStyle/>
                    <a:p>
                      <a:pPr algn="l" fontAlgn="ctr"/>
                      <a:r>
                        <a:rPr lang="en-US" sz="1200" u="none" strike="noStrike" dirty="0">
                          <a:effectLst/>
                          <a:latin typeface="+mn-lt"/>
                        </a:rPr>
                        <a:t>Network egress (total GB)</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65,918</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65,918</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01654930"/>
                  </a:ext>
                </a:extLst>
              </a:tr>
              <a:tr h="201168">
                <a:tc>
                  <a:txBody>
                    <a:bodyPr/>
                    <a:lstStyle/>
                    <a:p>
                      <a:pPr algn="l" fontAlgn="ctr"/>
                      <a:r>
                        <a:rPr lang="en-US" sz="1200" u="none" strike="noStrike" dirty="0">
                          <a:effectLst/>
                          <a:latin typeface="+mn-lt"/>
                        </a:rPr>
                        <a:t>Cost per GB</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0.01</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0.01</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27664080"/>
                  </a:ext>
                </a:extLst>
              </a:tr>
              <a:tr h="201168">
                <a:tc>
                  <a:txBody>
                    <a:bodyPr/>
                    <a:lstStyle/>
                    <a:p>
                      <a:pPr algn="l" fontAlgn="ctr"/>
                      <a:r>
                        <a:rPr lang="en-US" sz="1200" b="1" u="none" strike="noStrike" dirty="0">
                          <a:effectLst/>
                          <a:latin typeface="+mn-lt"/>
                        </a:rPr>
                        <a:t>Total Virtual Network Cost / month</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59.18</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59.18</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46611618"/>
                  </a:ext>
                </a:extLst>
              </a:tr>
            </a:tbl>
          </a:graphicData>
        </a:graphic>
      </p:graphicFrame>
      <p:sp>
        <p:nvSpPr>
          <p:cNvPr id="15" name="TextBox 14">
            <a:extLst>
              <a:ext uri="{FF2B5EF4-FFF2-40B4-BE49-F238E27FC236}">
                <a16:creationId xmlns:a16="http://schemas.microsoft.com/office/drawing/2014/main" id="{464464AB-6204-4AB2-8FF6-5A5E25A5EC59}"/>
              </a:ext>
            </a:extLst>
          </p:cNvPr>
          <p:cNvSpPr txBox="1"/>
          <p:nvPr/>
        </p:nvSpPr>
        <p:spPr>
          <a:xfrm>
            <a:off x="588263" y="992862"/>
            <a:ext cx="3930806" cy="243143"/>
          </a:xfrm>
          <a:prstGeom prst="rect">
            <a:avLst/>
          </a:prstGeom>
          <a:noFill/>
        </p:spPr>
        <p:txBody>
          <a:bodyPr wrap="square" lIns="0" tIns="0" rIns="0" bIns="27432" rtlCol="0" anchor="b">
            <a:noAutofit/>
          </a:bodyPr>
          <a:lstStyle>
            <a:defPPr>
              <a:defRPr lang="en-US"/>
            </a:defPPr>
            <a:lvl1pPr>
              <a:defRPr sz="1400" b="1">
                <a:solidFill>
                  <a:schemeClr val="accent1"/>
                </a:solidFill>
              </a:defRPr>
            </a:lvl1pPr>
          </a:lstStyle>
          <a:p>
            <a:r>
              <a:rPr lang="en-US" dirty="0"/>
              <a:t>Networking Cost</a:t>
            </a:r>
          </a:p>
        </p:txBody>
      </p:sp>
      <p:graphicFrame>
        <p:nvGraphicFramePr>
          <p:cNvPr id="17" name="Table 16">
            <a:extLst>
              <a:ext uri="{FF2B5EF4-FFF2-40B4-BE49-F238E27FC236}">
                <a16:creationId xmlns:a16="http://schemas.microsoft.com/office/drawing/2014/main" id="{1FDD8092-D87C-4073-809E-5912C57842CE}"/>
              </a:ext>
            </a:extLst>
          </p:cNvPr>
          <p:cNvGraphicFramePr>
            <a:graphicFrameLocks noGrp="1"/>
          </p:cNvGraphicFramePr>
          <p:nvPr/>
        </p:nvGraphicFramePr>
        <p:xfrm>
          <a:off x="6072613" y="1241978"/>
          <a:ext cx="5541264" cy="2084832"/>
        </p:xfrm>
        <a:graphic>
          <a:graphicData uri="http://schemas.openxmlformats.org/drawingml/2006/table">
            <a:tbl>
              <a:tblPr>
                <a:tableStyleId>{5C22544A-7EE6-4342-B048-85BDC9FD1C3A}</a:tableStyleId>
              </a:tblPr>
              <a:tblGrid>
                <a:gridCol w="3749040">
                  <a:extLst>
                    <a:ext uri="{9D8B030D-6E8A-4147-A177-3AD203B41FA5}">
                      <a16:colId xmlns:a16="http://schemas.microsoft.com/office/drawing/2014/main" val="781278706"/>
                    </a:ext>
                  </a:extLst>
                </a:gridCol>
                <a:gridCol w="896112">
                  <a:extLst>
                    <a:ext uri="{9D8B030D-6E8A-4147-A177-3AD203B41FA5}">
                      <a16:colId xmlns:a16="http://schemas.microsoft.com/office/drawing/2014/main" val="3671342491"/>
                    </a:ext>
                  </a:extLst>
                </a:gridCol>
                <a:gridCol w="896112">
                  <a:extLst>
                    <a:ext uri="{9D8B030D-6E8A-4147-A177-3AD203B41FA5}">
                      <a16:colId xmlns:a16="http://schemas.microsoft.com/office/drawing/2014/main" val="325633857"/>
                    </a:ext>
                  </a:extLst>
                </a:gridCol>
              </a:tblGrid>
              <a:tr h="0">
                <a:tc>
                  <a:txBody>
                    <a:bodyPr/>
                    <a:lstStyle/>
                    <a:p>
                      <a:pPr marL="0" algn="l" defTabSz="932742" rtl="0" eaLnBrk="1" fontAlgn="b" latinLnBrk="0" hangingPunct="1"/>
                      <a:r>
                        <a:rPr lang="en-US" sz="1200" b="1" u="none" strike="noStrike" kern="1200" dirty="0">
                          <a:solidFill>
                            <a:schemeClr val="lt1"/>
                          </a:solidFill>
                          <a:effectLst/>
                          <a:latin typeface="+mn-lt"/>
                          <a:ea typeface="+mn-ea"/>
                          <a:cs typeface="+mn-cs"/>
                        </a:rPr>
                        <a:t>WVD Total Infrastructure Cost (Total cost / month)</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1</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2</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3300947233"/>
                  </a:ext>
                </a:extLst>
              </a:tr>
              <a:tr h="0">
                <a:tc>
                  <a:txBody>
                    <a:bodyPr/>
                    <a:lstStyle/>
                    <a:p>
                      <a:pPr marL="91440" algn="l" fontAlgn="ctr"/>
                      <a:r>
                        <a:rPr lang="en-US" sz="1200" b="1" u="none" strike="noStrike" dirty="0">
                          <a:effectLst/>
                          <a:latin typeface="+mn-lt"/>
                        </a:rPr>
                        <a:t>Compute</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3,309.54</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37,323.32</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7855271"/>
                  </a:ext>
                </a:extLst>
              </a:tr>
              <a:tr h="0">
                <a:tc>
                  <a:txBody>
                    <a:bodyPr/>
                    <a:lstStyle/>
                    <a:p>
                      <a:pPr marL="91440" algn="l" fontAlgn="ctr"/>
                      <a:r>
                        <a:rPr lang="en-US" sz="1200" b="1" u="none" strike="noStrike" dirty="0">
                          <a:effectLst/>
                          <a:latin typeface="+mn-lt"/>
                        </a:rPr>
                        <a:t>Storage</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2,949.20</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2,949.20</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59029612"/>
                  </a:ext>
                </a:extLst>
              </a:tr>
              <a:tr h="0">
                <a:tc>
                  <a:txBody>
                    <a:bodyPr/>
                    <a:lstStyle/>
                    <a:p>
                      <a:pPr marL="91440" algn="l" fontAlgn="ctr"/>
                      <a:r>
                        <a:rPr lang="en-US" sz="1200" b="1" u="none" strike="noStrike" dirty="0">
                          <a:effectLst/>
                          <a:latin typeface="+mn-lt"/>
                        </a:rPr>
                        <a:t>Networking</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59.18</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59.18</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88148702"/>
                  </a:ext>
                </a:extLst>
              </a:tr>
              <a:tr h="0">
                <a:tc>
                  <a:txBody>
                    <a:bodyPr/>
                    <a:lstStyle/>
                    <a:p>
                      <a:pPr algn="l" fontAlgn="ctr"/>
                      <a:r>
                        <a:rPr lang="en-US" sz="1200" b="1" u="none" strike="noStrike" dirty="0">
                          <a:effectLst/>
                          <a:latin typeface="+mn-lt"/>
                        </a:rPr>
                        <a:t>EA or Other Customer Discount</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0%</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0%</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89430562"/>
                  </a:ext>
                </a:extLst>
              </a:tr>
              <a:tr h="0">
                <a:tc>
                  <a:txBody>
                    <a:bodyPr/>
                    <a:lstStyle/>
                    <a:p>
                      <a:pPr algn="l" fontAlgn="ctr"/>
                      <a:r>
                        <a:rPr lang="en-US" sz="1200" b="1" u="none" strike="noStrike" dirty="0">
                          <a:effectLst/>
                          <a:latin typeface="+mn-lt"/>
                        </a:rPr>
                        <a:t>Total Azure Infrastructure cost / month</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917.92</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40,931.70</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59117450"/>
                  </a:ext>
                </a:extLst>
              </a:tr>
              <a:tr h="0">
                <a:tc>
                  <a:txBody>
                    <a:bodyPr/>
                    <a:lstStyle/>
                    <a:p>
                      <a:pPr algn="l" fontAlgn="ctr"/>
                      <a:r>
                        <a:rPr lang="en-US" sz="1200" b="1" i="0" u="none" strike="noStrike" dirty="0">
                          <a:solidFill>
                            <a:srgbClr val="000000"/>
                          </a:solidFill>
                          <a:effectLst/>
                          <a:latin typeface="+mn-lt"/>
                        </a:rPr>
                        <a:t>Named (total) users</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i="0" u="none" strike="noStrike" dirty="0">
                          <a:solidFill>
                            <a:srgbClr val="000000"/>
                          </a:solidFill>
                          <a:effectLst/>
                          <a:latin typeface="+mn-lt"/>
                        </a:rPr>
                        <a:t>1,000</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i="0" u="none" strike="noStrike" dirty="0">
                          <a:solidFill>
                            <a:srgbClr val="000000"/>
                          </a:solidFill>
                          <a:effectLst/>
                          <a:latin typeface="+mn-lt"/>
                        </a:rPr>
                        <a:t>1,000</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1553670"/>
                  </a:ext>
                </a:extLst>
              </a:tr>
              <a:tr h="0">
                <a:tc>
                  <a:txBody>
                    <a:bodyPr/>
                    <a:lstStyle/>
                    <a:p>
                      <a:pPr algn="l" fontAlgn="ctr"/>
                      <a:r>
                        <a:rPr lang="en-US" sz="1200" b="1" u="none" strike="noStrike" dirty="0">
                          <a:effectLst/>
                          <a:latin typeface="+mn-lt"/>
                        </a:rPr>
                        <a:t>Azure Infrastructure cost / user / month</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92</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40.93</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75162853"/>
                  </a:ext>
                </a:extLst>
              </a:tr>
            </a:tbl>
          </a:graphicData>
        </a:graphic>
      </p:graphicFrame>
      <p:sp>
        <p:nvSpPr>
          <p:cNvPr id="18" name="TextBox 17">
            <a:extLst>
              <a:ext uri="{FF2B5EF4-FFF2-40B4-BE49-F238E27FC236}">
                <a16:creationId xmlns:a16="http://schemas.microsoft.com/office/drawing/2014/main" id="{6DA94A7B-1C47-499D-936F-8667016DE762}"/>
              </a:ext>
            </a:extLst>
          </p:cNvPr>
          <p:cNvSpPr txBox="1"/>
          <p:nvPr/>
        </p:nvSpPr>
        <p:spPr>
          <a:xfrm>
            <a:off x="6072613" y="992862"/>
            <a:ext cx="5486400" cy="243143"/>
          </a:xfrm>
          <a:prstGeom prst="rect">
            <a:avLst/>
          </a:prstGeom>
        </p:spPr>
        <p:txBody>
          <a:bodyPr wrap="square" lIns="0" tIns="0" rIns="0" bIns="27432" rtlCol="0" anchor="b">
            <a:noAutofit/>
          </a:bodyPr>
          <a:lstStyle>
            <a:defPPr>
              <a:defRPr lang="en-US"/>
            </a:defPPr>
            <a:lvl1pPr>
              <a:defRPr sz="1400" b="1">
                <a:solidFill>
                  <a:schemeClr val="accent1"/>
                </a:solidFill>
              </a:defRPr>
            </a:lvl1pPr>
          </a:lstStyle>
          <a:p>
            <a:r>
              <a:rPr lang="en-US" dirty="0"/>
              <a:t>Total Cost</a:t>
            </a:r>
          </a:p>
        </p:txBody>
      </p:sp>
      <p:sp>
        <p:nvSpPr>
          <p:cNvPr id="14" name="Rectangle 13">
            <a:extLst>
              <a:ext uri="{FF2B5EF4-FFF2-40B4-BE49-F238E27FC236}">
                <a16:creationId xmlns:a16="http://schemas.microsoft.com/office/drawing/2014/main" id="{2E702650-61FE-4918-8EF3-99D262BC04F5}"/>
              </a:ext>
            </a:extLst>
          </p:cNvPr>
          <p:cNvSpPr/>
          <p:nvPr/>
        </p:nvSpPr>
        <p:spPr bwMode="auto">
          <a:xfrm>
            <a:off x="9819640" y="3094183"/>
            <a:ext cx="1784097" cy="244266"/>
          </a:xfrm>
          <a:prstGeom prst="rect">
            <a:avLst/>
          </a:prstGeom>
          <a:noFill/>
          <a:ln w="28575">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0082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5BADBA-3B87-46F8-9357-4DB0A1FA0F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6" imgW="377" imgH="377" progId="TCLayout.ActiveDocument.1">
                  <p:embed/>
                </p:oleObj>
              </mc:Choice>
              <mc:Fallback>
                <p:oleObj name="think-cell Slide" r:id="rId6" imgW="377" imgH="377" progId="TCLayout.ActiveDocument.1">
                  <p:embed/>
                  <p:pic>
                    <p:nvPicPr>
                      <p:cNvPr id="4" name="Object 3" hidden="1">
                        <a:extLst>
                          <a:ext uri="{FF2B5EF4-FFF2-40B4-BE49-F238E27FC236}">
                            <a16:creationId xmlns:a16="http://schemas.microsoft.com/office/drawing/2014/main" id="{785BADBA-3B87-46F8-9357-4DB0A1FA0F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BBFE4E-3749-4ACE-B133-7C640F9B061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defRPr/>
            </a:pPr>
            <a:endParaRPr kumimoji="0" lang="en-US" sz="2800" u="none" strike="noStrike" kern="1200" cap="none" spc="0" normalizeH="0" noProof="0">
              <a:ln>
                <a:noFill/>
              </a:ln>
              <a:gradFill>
                <a:gsLst>
                  <a:gs pos="0">
                    <a:srgbClr val="FFFFFF"/>
                  </a:gs>
                  <a:gs pos="100000">
                    <a:srgbClr val="FFFFFF"/>
                  </a:gs>
                </a:gsLst>
                <a:lin ang="5400000" scaled="0"/>
              </a:gradFill>
              <a:effectLst/>
              <a:uLnTx/>
              <a:uFillTx/>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AD4E971-A90F-45A0-9728-2BBE420801B3}"/>
              </a:ext>
            </a:extLst>
          </p:cNvPr>
          <p:cNvSpPr>
            <a:spLocks noGrp="1"/>
          </p:cNvSpPr>
          <p:nvPr>
            <p:ph type="title"/>
          </p:nvPr>
        </p:nvSpPr>
        <p:spPr>
          <a:xfrm>
            <a:off x="588263" y="457200"/>
            <a:ext cx="11018520" cy="430887"/>
          </a:xfrm>
        </p:spPr>
        <p:txBody>
          <a:bodyPr/>
          <a:lstStyle/>
          <a:p>
            <a:r>
              <a:rPr lang="en-US"/>
              <a:t>Enhanced Security with Simplified </a:t>
            </a:r>
            <a:r>
              <a:rPr lang="en-US" altLang="zh-CN"/>
              <a:t>Configuration</a:t>
            </a:r>
            <a:endParaRPr lang="en-US">
              <a:solidFill>
                <a:schemeClr val="tx1"/>
              </a:solidFill>
            </a:endParaRPr>
          </a:p>
        </p:txBody>
      </p:sp>
      <p:grpSp>
        <p:nvGrpSpPr>
          <p:cNvPr id="5" name="Group 4">
            <a:extLst>
              <a:ext uri="{FF2B5EF4-FFF2-40B4-BE49-F238E27FC236}">
                <a16:creationId xmlns:a16="http://schemas.microsoft.com/office/drawing/2014/main" id="{F21511E0-E3B3-4251-A251-91BA1713024E}"/>
              </a:ext>
            </a:extLst>
          </p:cNvPr>
          <p:cNvGrpSpPr/>
          <p:nvPr/>
        </p:nvGrpSpPr>
        <p:grpSpPr>
          <a:xfrm>
            <a:off x="586503" y="1795781"/>
            <a:ext cx="11024849" cy="4247462"/>
            <a:chOff x="586503" y="2010462"/>
            <a:chExt cx="11024849" cy="4247462"/>
          </a:xfrm>
        </p:grpSpPr>
        <p:sp>
          <p:nvSpPr>
            <p:cNvPr id="402" name="TextBox 401">
              <a:extLst>
                <a:ext uri="{FF2B5EF4-FFF2-40B4-BE49-F238E27FC236}">
                  <a16:creationId xmlns:a16="http://schemas.microsoft.com/office/drawing/2014/main" id="{3AC0394B-E290-4842-8F6E-E5654873842C}"/>
                </a:ext>
              </a:extLst>
            </p:cNvPr>
            <p:cNvSpPr txBox="1"/>
            <p:nvPr/>
          </p:nvSpPr>
          <p:spPr>
            <a:xfrm>
              <a:off x="3415693" y="2662275"/>
              <a:ext cx="2535518" cy="2085746"/>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ea typeface="+mn-ea"/>
                <a:cs typeface="+mn-cs"/>
              </a:endParaRPr>
            </a:p>
          </p:txBody>
        </p:sp>
        <p:sp>
          <p:nvSpPr>
            <p:cNvPr id="92" name="TextBox 91">
              <a:extLst>
                <a:ext uri="{FF2B5EF4-FFF2-40B4-BE49-F238E27FC236}">
                  <a16:creationId xmlns:a16="http://schemas.microsoft.com/office/drawing/2014/main" id="{70E4E41F-43C4-4C8A-A76D-8485314F480A}"/>
                </a:ext>
              </a:extLst>
            </p:cNvPr>
            <p:cNvSpPr txBox="1"/>
            <p:nvPr/>
          </p:nvSpPr>
          <p:spPr>
            <a:xfrm>
              <a:off x="586503" y="2662274"/>
              <a:ext cx="2535518" cy="2085746"/>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ea typeface="+mn-ea"/>
                <a:cs typeface="+mn-cs"/>
              </a:endParaRPr>
            </a:p>
          </p:txBody>
        </p:sp>
        <p:sp>
          <p:nvSpPr>
            <p:cNvPr id="404" name="TextBox 403">
              <a:extLst>
                <a:ext uri="{FF2B5EF4-FFF2-40B4-BE49-F238E27FC236}">
                  <a16:creationId xmlns:a16="http://schemas.microsoft.com/office/drawing/2014/main" id="{6CDC2BA4-4D4C-4B48-BB47-14297D86C2B1}"/>
                </a:ext>
              </a:extLst>
            </p:cNvPr>
            <p:cNvSpPr txBox="1"/>
            <p:nvPr/>
          </p:nvSpPr>
          <p:spPr>
            <a:xfrm>
              <a:off x="6244883" y="2659057"/>
              <a:ext cx="2535518" cy="2088964"/>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ea typeface="+mn-ea"/>
                <a:cs typeface="+mn-cs"/>
              </a:endParaRPr>
            </a:p>
          </p:txBody>
        </p:sp>
        <p:sp>
          <p:nvSpPr>
            <p:cNvPr id="406" name="TextBox 405">
              <a:extLst>
                <a:ext uri="{FF2B5EF4-FFF2-40B4-BE49-F238E27FC236}">
                  <a16:creationId xmlns:a16="http://schemas.microsoft.com/office/drawing/2014/main" id="{651B4D4F-FD7E-4E5A-B200-201151FECC5E}"/>
                </a:ext>
              </a:extLst>
            </p:cNvPr>
            <p:cNvSpPr txBox="1"/>
            <p:nvPr/>
          </p:nvSpPr>
          <p:spPr>
            <a:xfrm>
              <a:off x="586503" y="2010462"/>
              <a:ext cx="2535518" cy="651812"/>
            </a:xfrm>
            <a:prstGeom prst="rect">
              <a:avLst/>
            </a:prstGeom>
            <a:solidFill>
              <a:schemeClr val="tx2"/>
            </a:solidFill>
            <a:ln w="6350">
              <a:solidFill>
                <a:schemeClr val="tx2"/>
              </a:solidFill>
            </a:ln>
          </p:spPr>
          <p:txBody>
            <a:bodyPr wrap="square" lIns="0" tIns="0" rIns="0" bIns="0" rtlCol="0" anchor="ctr">
              <a:noAutofit/>
            </a:bodyPr>
            <a:lstStyle/>
            <a:p>
              <a:pPr lvl="0" algn="ctr">
                <a:defRPr/>
              </a:pPr>
              <a:r>
                <a:rPr lang="en-US" b="1">
                  <a:solidFill>
                    <a:schemeClr val="bg1"/>
                  </a:solidFill>
                  <a:latin typeface="+mj-lt"/>
                </a:rPr>
                <a:t>Azure </a:t>
              </a:r>
              <a:r>
                <a:rPr kumimoji="0" lang="en-US" sz="1800" b="1" i="0" u="none" strike="noStrike" kern="1200" cap="none" spc="0" normalizeH="0" baseline="0" noProof="0">
                  <a:ln>
                    <a:noFill/>
                  </a:ln>
                  <a:solidFill>
                    <a:schemeClr val="bg1"/>
                  </a:solidFill>
                  <a:effectLst/>
                  <a:uLnTx/>
                  <a:uFillTx/>
                  <a:latin typeface="+mj-lt"/>
                  <a:ea typeface="+mn-ea"/>
                  <a:cs typeface="+mn-cs"/>
                </a:rPr>
                <a:t>AD </a:t>
              </a:r>
              <a:r>
                <a:rPr lang="en-US" b="1">
                  <a:solidFill>
                    <a:schemeClr val="bg1"/>
                  </a:solidFill>
                </a:rPr>
                <a:t>Security </a:t>
              </a:r>
              <a:r>
                <a:rPr kumimoji="0" lang="en-US" sz="1800" b="1" i="0" u="none" strike="noStrike" kern="1200" cap="none" spc="0" normalizeH="0" baseline="0" noProof="0">
                  <a:ln>
                    <a:noFill/>
                  </a:ln>
                  <a:solidFill>
                    <a:schemeClr val="bg1"/>
                  </a:solidFill>
                  <a:effectLst/>
                  <a:uLnTx/>
                  <a:uFillTx/>
                  <a:latin typeface="+mj-lt"/>
                  <a:ea typeface="+mn-ea"/>
                  <a:cs typeface="+mn-cs"/>
                </a:rPr>
                <a:t>Services</a:t>
              </a:r>
            </a:p>
          </p:txBody>
        </p:sp>
        <p:sp>
          <p:nvSpPr>
            <p:cNvPr id="407" name="TextBox 406">
              <a:extLst>
                <a:ext uri="{FF2B5EF4-FFF2-40B4-BE49-F238E27FC236}">
                  <a16:creationId xmlns:a16="http://schemas.microsoft.com/office/drawing/2014/main" id="{85613192-0331-4ABE-A2FA-09D29CAE0336}"/>
                </a:ext>
              </a:extLst>
            </p:cNvPr>
            <p:cNvSpPr txBox="1"/>
            <p:nvPr/>
          </p:nvSpPr>
          <p:spPr>
            <a:xfrm>
              <a:off x="3415693" y="2010462"/>
              <a:ext cx="2535518" cy="648595"/>
            </a:xfrm>
            <a:prstGeom prst="rect">
              <a:avLst/>
            </a:prstGeom>
            <a:solidFill>
              <a:schemeClr val="accent4"/>
            </a:solidFill>
            <a:ln w="6350">
              <a:solidFill>
                <a:schemeClr val="accent4"/>
              </a:solidFill>
            </a:ln>
          </p:spPr>
          <p:txBody>
            <a:bodyPr wrap="square" lIns="0" tIns="0" rIns="0" bIns="0" rtlCol="0" anchor="ctr">
              <a:noAutofit/>
            </a:bodyPr>
            <a:lstStyle/>
            <a:p>
              <a:pPr lvl="0" algn="ctr">
                <a:defRPr/>
              </a:pPr>
              <a:r>
                <a:rPr kumimoji="0" lang="en-IN" sz="1800" b="1" i="0" u="none" strike="noStrike" kern="1200" cap="none" spc="0" normalizeH="0" baseline="0" noProof="0">
                  <a:ln>
                    <a:noFill/>
                  </a:ln>
                  <a:solidFill>
                    <a:schemeClr val="bg1"/>
                  </a:solidFill>
                  <a:effectLst/>
                  <a:uLnTx/>
                  <a:uFillTx/>
                  <a:latin typeface="+mj-lt"/>
                  <a:ea typeface="+mn-ea"/>
                  <a:cs typeface="+mn-cs"/>
                </a:rPr>
                <a:t>Reduced </a:t>
              </a:r>
              <a:r>
                <a:rPr lang="en-IN" b="1">
                  <a:solidFill>
                    <a:schemeClr val="bg1"/>
                  </a:solidFill>
                </a:rPr>
                <a:t>Attack </a:t>
              </a:r>
            </a:p>
            <a:p>
              <a:pPr lvl="0" algn="ctr">
                <a:defRPr/>
              </a:pPr>
              <a:r>
                <a:rPr kumimoji="0" lang="en-IN" sz="1800" b="1" i="0" u="none" strike="noStrike" kern="1200" cap="none" spc="0" normalizeH="0" baseline="0" noProof="0">
                  <a:ln>
                    <a:noFill/>
                  </a:ln>
                  <a:solidFill>
                    <a:schemeClr val="bg1"/>
                  </a:solidFill>
                  <a:effectLst/>
                  <a:uLnTx/>
                  <a:uFillTx/>
                  <a:latin typeface="+mj-lt"/>
                  <a:ea typeface="+mn-ea"/>
                  <a:cs typeface="+mn-cs"/>
                </a:rPr>
                <a:t>Surface</a:t>
              </a:r>
            </a:p>
          </p:txBody>
        </p:sp>
        <p:sp>
          <p:nvSpPr>
            <p:cNvPr id="408" name="TextBox 407">
              <a:extLst>
                <a:ext uri="{FF2B5EF4-FFF2-40B4-BE49-F238E27FC236}">
                  <a16:creationId xmlns:a16="http://schemas.microsoft.com/office/drawing/2014/main" id="{F67C5892-0618-4B37-9905-B2D011CC70B6}"/>
                </a:ext>
              </a:extLst>
            </p:cNvPr>
            <p:cNvSpPr txBox="1"/>
            <p:nvPr/>
          </p:nvSpPr>
          <p:spPr>
            <a:xfrm>
              <a:off x="6244883" y="2010462"/>
              <a:ext cx="2535518" cy="648595"/>
            </a:xfrm>
            <a:prstGeom prst="rect">
              <a:avLst/>
            </a:prstGeom>
            <a:solidFill>
              <a:schemeClr val="accent1"/>
            </a:solidFill>
            <a:ln w="6350">
              <a:solidFill>
                <a:schemeClr val="accent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mj-lt"/>
                  <a:ea typeface="+mn-ea"/>
                  <a:cs typeface="+mn-cs"/>
                </a:rPr>
                <a:t>Granular </a:t>
              </a:r>
              <a:r>
                <a:rPr lang="en-US" b="1">
                  <a:solidFill>
                    <a:schemeClr val="bg1"/>
                  </a:solidFill>
                </a:rPr>
                <a:t>Access</a:t>
              </a:r>
              <a:br>
                <a:rPr kumimoji="0" lang="en-US" sz="1800" b="1" i="0" u="none" strike="noStrike" kern="1200" cap="none" spc="0" normalizeH="0" baseline="0" noProof="0">
                  <a:ln>
                    <a:noFill/>
                  </a:ln>
                  <a:solidFill>
                    <a:schemeClr val="bg1"/>
                  </a:solidFill>
                  <a:effectLst/>
                  <a:uLnTx/>
                  <a:uFillTx/>
                  <a:latin typeface="+mj-lt"/>
                  <a:ea typeface="+mn-ea"/>
                  <a:cs typeface="+mn-cs"/>
                </a:rPr>
              </a:br>
              <a:r>
                <a:rPr kumimoji="0" lang="en-US" sz="1800" b="1" i="0" u="none" strike="noStrike" kern="1200" cap="none" spc="0" normalizeH="0" baseline="0" noProof="0">
                  <a:ln>
                    <a:noFill/>
                  </a:ln>
                  <a:solidFill>
                    <a:schemeClr val="bg1"/>
                  </a:solidFill>
                  <a:effectLst/>
                  <a:uLnTx/>
                  <a:uFillTx/>
                  <a:latin typeface="+mj-lt"/>
                  <a:ea typeface="+mn-ea"/>
                  <a:cs typeface="+mn-cs"/>
                </a:rPr>
                <a:t>Control</a:t>
              </a:r>
            </a:p>
          </p:txBody>
        </p:sp>
        <p:sp>
          <p:nvSpPr>
            <p:cNvPr id="219" name="TextBox 218">
              <a:extLst>
                <a:ext uri="{FF2B5EF4-FFF2-40B4-BE49-F238E27FC236}">
                  <a16:creationId xmlns:a16="http://schemas.microsoft.com/office/drawing/2014/main" id="{18CFEA58-0A6A-4C10-8066-C963705467F3}"/>
                </a:ext>
              </a:extLst>
            </p:cNvPr>
            <p:cNvSpPr txBox="1"/>
            <p:nvPr/>
          </p:nvSpPr>
          <p:spPr>
            <a:xfrm>
              <a:off x="9074074" y="2659057"/>
              <a:ext cx="2535518" cy="2088964"/>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ea typeface="+mn-ea"/>
                <a:cs typeface="+mn-cs"/>
              </a:endParaRPr>
            </a:p>
          </p:txBody>
        </p:sp>
        <p:sp>
          <p:nvSpPr>
            <p:cNvPr id="221" name="TextBox 220">
              <a:extLst>
                <a:ext uri="{FF2B5EF4-FFF2-40B4-BE49-F238E27FC236}">
                  <a16:creationId xmlns:a16="http://schemas.microsoft.com/office/drawing/2014/main" id="{4D56DD85-A721-4E9A-ACA5-85290195EE6A}"/>
                </a:ext>
              </a:extLst>
            </p:cNvPr>
            <p:cNvSpPr txBox="1"/>
            <p:nvPr/>
          </p:nvSpPr>
          <p:spPr>
            <a:xfrm>
              <a:off x="9074074" y="2010462"/>
              <a:ext cx="2535518" cy="648595"/>
            </a:xfrm>
            <a:prstGeom prst="rect">
              <a:avLst/>
            </a:prstGeom>
            <a:solidFill>
              <a:schemeClr val="accent5"/>
            </a:solidFill>
            <a:ln w="6350">
              <a:solidFill>
                <a:schemeClr val="accent5"/>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chemeClr val="bg1"/>
                  </a:solidFill>
                  <a:latin typeface="+mj-lt"/>
                </a:rPr>
                <a:t>Isolated </a:t>
              </a:r>
              <a:r>
                <a:rPr lang="en-US" b="1">
                  <a:solidFill>
                    <a:schemeClr val="bg1"/>
                  </a:solidFill>
                </a:rPr>
                <a:t>User</a:t>
              </a:r>
              <a:br>
                <a:rPr kumimoji="0" lang="en-US" sz="1800" b="1" i="0" u="none" strike="noStrike" kern="1200" cap="none" spc="0" normalizeH="0" baseline="0" noProof="0">
                  <a:ln>
                    <a:noFill/>
                  </a:ln>
                  <a:solidFill>
                    <a:schemeClr val="bg1"/>
                  </a:solidFill>
                  <a:effectLst/>
                  <a:uLnTx/>
                  <a:uFillTx/>
                  <a:latin typeface="+mj-lt"/>
                  <a:ea typeface="+mn-ea"/>
                  <a:cs typeface="+mn-cs"/>
                </a:rPr>
              </a:br>
              <a:r>
                <a:rPr kumimoji="0" lang="en-US" sz="1800" b="1" i="0" u="none" strike="noStrike" kern="1200" cap="none" spc="0" normalizeH="0" baseline="0" noProof="0">
                  <a:ln>
                    <a:noFill/>
                  </a:ln>
                  <a:solidFill>
                    <a:schemeClr val="bg1"/>
                  </a:solidFill>
                  <a:effectLst/>
                  <a:uLnTx/>
                  <a:uFillTx/>
                  <a:latin typeface="+mj-lt"/>
                  <a:ea typeface="+mn-ea"/>
                  <a:cs typeface="+mn-cs"/>
                </a:rPr>
                <a:t>Sessions</a:t>
              </a:r>
            </a:p>
          </p:txBody>
        </p:sp>
        <p:grpSp>
          <p:nvGrpSpPr>
            <p:cNvPr id="960" name="Group 959">
              <a:extLst>
                <a:ext uri="{FF2B5EF4-FFF2-40B4-BE49-F238E27FC236}">
                  <a16:creationId xmlns:a16="http://schemas.microsoft.com/office/drawing/2014/main" id="{ACC0F86C-5C1C-46A8-B548-14344C5628DE}"/>
                </a:ext>
              </a:extLst>
            </p:cNvPr>
            <p:cNvGrpSpPr/>
            <p:nvPr/>
          </p:nvGrpSpPr>
          <p:grpSpPr>
            <a:xfrm>
              <a:off x="3892504" y="2946486"/>
              <a:ext cx="1581897" cy="1455878"/>
              <a:chOff x="3893836" y="2946486"/>
              <a:chExt cx="1581897" cy="1455878"/>
            </a:xfrm>
          </p:grpSpPr>
          <p:sp>
            <p:nvSpPr>
              <p:cNvPr id="383" name="Rectangle 11">
                <a:extLst>
                  <a:ext uri="{FF2B5EF4-FFF2-40B4-BE49-F238E27FC236}">
                    <a16:creationId xmlns:a16="http://schemas.microsoft.com/office/drawing/2014/main" id="{BEA4BD84-52B4-480F-8D3C-0E5016430CF0}"/>
                  </a:ext>
                </a:extLst>
              </p:cNvPr>
              <p:cNvSpPr>
                <a:spLocks noChangeArrowheads="1"/>
              </p:cNvSpPr>
              <p:nvPr/>
            </p:nvSpPr>
            <p:spPr bwMode="auto">
              <a:xfrm>
                <a:off x="3893836" y="4139043"/>
                <a:ext cx="1577544" cy="26332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5" name="Freeform 13">
                <a:extLst>
                  <a:ext uri="{FF2B5EF4-FFF2-40B4-BE49-F238E27FC236}">
                    <a16:creationId xmlns:a16="http://schemas.microsoft.com/office/drawing/2014/main" id="{2181701B-3E56-40A3-932F-CE16C273C3DF}"/>
                  </a:ext>
                </a:extLst>
              </p:cNvPr>
              <p:cNvSpPr>
                <a:spLocks/>
              </p:cNvSpPr>
              <p:nvPr/>
            </p:nvSpPr>
            <p:spPr bwMode="auto">
              <a:xfrm>
                <a:off x="4119962" y="4139043"/>
                <a:ext cx="1107685" cy="121867"/>
              </a:xfrm>
              <a:custGeom>
                <a:avLst/>
                <a:gdLst>
                  <a:gd name="T0" fmla="*/ 713 w 1426"/>
                  <a:gd name="T1" fmla="*/ 158 h 158"/>
                  <a:gd name="T2" fmla="*/ 1426 w 1426"/>
                  <a:gd name="T3" fmla="*/ 0 h 158"/>
                  <a:gd name="T4" fmla="*/ 0 w 1426"/>
                  <a:gd name="T5" fmla="*/ 0 h 158"/>
                  <a:gd name="T6" fmla="*/ 713 w 1426"/>
                  <a:gd name="T7" fmla="*/ 158 h 158"/>
                </a:gdLst>
                <a:ahLst/>
                <a:cxnLst>
                  <a:cxn ang="0">
                    <a:pos x="T0" y="T1"/>
                  </a:cxn>
                  <a:cxn ang="0">
                    <a:pos x="T2" y="T3"/>
                  </a:cxn>
                  <a:cxn ang="0">
                    <a:pos x="T4" y="T5"/>
                  </a:cxn>
                  <a:cxn ang="0">
                    <a:pos x="T6" y="T7"/>
                  </a:cxn>
                </a:cxnLst>
                <a:rect l="0" t="0" r="r" b="b"/>
                <a:pathLst>
                  <a:path w="1426" h="158">
                    <a:moveTo>
                      <a:pt x="713" y="158"/>
                    </a:moveTo>
                    <a:cubicBezTo>
                      <a:pt x="1107" y="158"/>
                      <a:pt x="1426" y="88"/>
                      <a:pt x="1426" y="0"/>
                    </a:cubicBezTo>
                    <a:cubicBezTo>
                      <a:pt x="0" y="0"/>
                      <a:pt x="0" y="0"/>
                      <a:pt x="0" y="0"/>
                    </a:cubicBezTo>
                    <a:cubicBezTo>
                      <a:pt x="0" y="88"/>
                      <a:pt x="319" y="158"/>
                      <a:pt x="713" y="158"/>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6" name="Freeform 14">
                <a:extLst>
                  <a:ext uri="{FF2B5EF4-FFF2-40B4-BE49-F238E27FC236}">
                    <a16:creationId xmlns:a16="http://schemas.microsoft.com/office/drawing/2014/main" id="{36CE3664-AA0E-4255-AF2F-A78EBEACB942}"/>
                  </a:ext>
                </a:extLst>
              </p:cNvPr>
              <p:cNvSpPr>
                <a:spLocks/>
              </p:cNvSpPr>
              <p:nvPr/>
            </p:nvSpPr>
            <p:spPr bwMode="auto">
              <a:xfrm>
                <a:off x="4755412" y="32555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7" name="Freeform 15">
                <a:extLst>
                  <a:ext uri="{FF2B5EF4-FFF2-40B4-BE49-F238E27FC236}">
                    <a16:creationId xmlns:a16="http://schemas.microsoft.com/office/drawing/2014/main" id="{2B4F25F2-D5DB-45A3-9CAD-060B5B653B19}"/>
                  </a:ext>
                </a:extLst>
              </p:cNvPr>
              <p:cNvSpPr>
                <a:spLocks/>
              </p:cNvSpPr>
              <p:nvPr/>
            </p:nvSpPr>
            <p:spPr bwMode="auto">
              <a:xfrm>
                <a:off x="4755412" y="32555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8" name="Freeform 16">
                <a:extLst>
                  <a:ext uri="{FF2B5EF4-FFF2-40B4-BE49-F238E27FC236}">
                    <a16:creationId xmlns:a16="http://schemas.microsoft.com/office/drawing/2014/main" id="{EC88ED3A-BE6F-45E4-A7C4-D4E3F16BE286}"/>
                  </a:ext>
                </a:extLst>
              </p:cNvPr>
              <p:cNvSpPr>
                <a:spLocks/>
              </p:cNvSpPr>
              <p:nvPr/>
            </p:nvSpPr>
            <p:spPr bwMode="auto">
              <a:xfrm>
                <a:off x="4424629" y="3255507"/>
                <a:ext cx="387363" cy="914003"/>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9" name="Freeform 17">
                <a:extLst>
                  <a:ext uri="{FF2B5EF4-FFF2-40B4-BE49-F238E27FC236}">
                    <a16:creationId xmlns:a16="http://schemas.microsoft.com/office/drawing/2014/main" id="{FE8FD7E9-558C-4F3E-BAF5-A656939298AC}"/>
                  </a:ext>
                </a:extLst>
              </p:cNvPr>
              <p:cNvSpPr>
                <a:spLocks/>
              </p:cNvSpPr>
              <p:nvPr/>
            </p:nvSpPr>
            <p:spPr bwMode="auto">
              <a:xfrm>
                <a:off x="4459449" y="3305559"/>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0" name="Oval 18">
                <a:extLst>
                  <a:ext uri="{FF2B5EF4-FFF2-40B4-BE49-F238E27FC236}">
                    <a16:creationId xmlns:a16="http://schemas.microsoft.com/office/drawing/2014/main" id="{6327DC75-CFE9-4D51-8BCC-9F1EC45A1659}"/>
                  </a:ext>
                </a:extLst>
              </p:cNvPr>
              <p:cNvSpPr>
                <a:spLocks noChangeArrowheads="1"/>
              </p:cNvSpPr>
              <p:nvPr/>
            </p:nvSpPr>
            <p:spPr bwMode="auto">
              <a:xfrm>
                <a:off x="4679244" y="332949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1" name="Freeform 19">
                <a:extLst>
                  <a:ext uri="{FF2B5EF4-FFF2-40B4-BE49-F238E27FC236}">
                    <a16:creationId xmlns:a16="http://schemas.microsoft.com/office/drawing/2014/main" id="{73DF9B83-3DB9-4990-BE8C-98B188C3BDE6}"/>
                  </a:ext>
                </a:extLst>
              </p:cNvPr>
              <p:cNvSpPr>
                <a:spLocks/>
              </p:cNvSpPr>
              <p:nvPr/>
            </p:nvSpPr>
            <p:spPr bwMode="auto">
              <a:xfrm>
                <a:off x="4459449" y="3412193"/>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2" name="Oval 20">
                <a:extLst>
                  <a:ext uri="{FF2B5EF4-FFF2-40B4-BE49-F238E27FC236}">
                    <a16:creationId xmlns:a16="http://schemas.microsoft.com/office/drawing/2014/main" id="{1311EF81-6726-4D51-BA80-24654865EEBD}"/>
                  </a:ext>
                </a:extLst>
              </p:cNvPr>
              <p:cNvSpPr>
                <a:spLocks noChangeArrowheads="1"/>
              </p:cNvSpPr>
              <p:nvPr/>
            </p:nvSpPr>
            <p:spPr bwMode="auto">
              <a:xfrm>
                <a:off x="4679244" y="3436130"/>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3" name="Freeform 21">
                <a:extLst>
                  <a:ext uri="{FF2B5EF4-FFF2-40B4-BE49-F238E27FC236}">
                    <a16:creationId xmlns:a16="http://schemas.microsoft.com/office/drawing/2014/main" id="{38A68767-4121-4319-8EAB-8DF3E306B8C9}"/>
                  </a:ext>
                </a:extLst>
              </p:cNvPr>
              <p:cNvSpPr>
                <a:spLocks/>
              </p:cNvSpPr>
              <p:nvPr/>
            </p:nvSpPr>
            <p:spPr bwMode="auto">
              <a:xfrm>
                <a:off x="4459449" y="3516650"/>
                <a:ext cx="306843" cy="73991"/>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4" name="Oval 22">
                <a:extLst>
                  <a:ext uri="{FF2B5EF4-FFF2-40B4-BE49-F238E27FC236}">
                    <a16:creationId xmlns:a16="http://schemas.microsoft.com/office/drawing/2014/main" id="{63D18CD3-D713-4FF9-84AD-177717BB659C}"/>
                  </a:ext>
                </a:extLst>
              </p:cNvPr>
              <p:cNvSpPr>
                <a:spLocks noChangeArrowheads="1"/>
              </p:cNvSpPr>
              <p:nvPr/>
            </p:nvSpPr>
            <p:spPr bwMode="auto">
              <a:xfrm>
                <a:off x="4679244" y="3542765"/>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5" name="Freeform 23">
                <a:extLst>
                  <a:ext uri="{FF2B5EF4-FFF2-40B4-BE49-F238E27FC236}">
                    <a16:creationId xmlns:a16="http://schemas.microsoft.com/office/drawing/2014/main" id="{7F848DF2-F517-4534-898F-0F84F9B3C0BC}"/>
                  </a:ext>
                </a:extLst>
              </p:cNvPr>
              <p:cNvSpPr>
                <a:spLocks/>
              </p:cNvSpPr>
              <p:nvPr/>
            </p:nvSpPr>
            <p:spPr bwMode="auto">
              <a:xfrm>
                <a:off x="4459449" y="3623284"/>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6" name="Oval 24">
                <a:extLst>
                  <a:ext uri="{FF2B5EF4-FFF2-40B4-BE49-F238E27FC236}">
                    <a16:creationId xmlns:a16="http://schemas.microsoft.com/office/drawing/2014/main" id="{E6C5C92A-148B-45A8-A97D-7CEAA6E9E4C2}"/>
                  </a:ext>
                </a:extLst>
              </p:cNvPr>
              <p:cNvSpPr>
                <a:spLocks noChangeArrowheads="1"/>
              </p:cNvSpPr>
              <p:nvPr/>
            </p:nvSpPr>
            <p:spPr bwMode="auto">
              <a:xfrm>
                <a:off x="4679244" y="3647222"/>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7" name="Freeform 25">
                <a:extLst>
                  <a:ext uri="{FF2B5EF4-FFF2-40B4-BE49-F238E27FC236}">
                    <a16:creationId xmlns:a16="http://schemas.microsoft.com/office/drawing/2014/main" id="{07B2EA7E-3103-49EF-8F8C-C14A47B806F4}"/>
                  </a:ext>
                </a:extLst>
              </p:cNvPr>
              <p:cNvSpPr>
                <a:spLocks/>
              </p:cNvSpPr>
              <p:nvPr/>
            </p:nvSpPr>
            <p:spPr bwMode="auto">
              <a:xfrm>
                <a:off x="4459449" y="3729918"/>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8" name="Oval 26">
                <a:extLst>
                  <a:ext uri="{FF2B5EF4-FFF2-40B4-BE49-F238E27FC236}">
                    <a16:creationId xmlns:a16="http://schemas.microsoft.com/office/drawing/2014/main" id="{BDD8907C-5050-486A-9408-DCA33A49E412}"/>
                  </a:ext>
                </a:extLst>
              </p:cNvPr>
              <p:cNvSpPr>
                <a:spLocks noChangeArrowheads="1"/>
              </p:cNvSpPr>
              <p:nvPr/>
            </p:nvSpPr>
            <p:spPr bwMode="auto">
              <a:xfrm>
                <a:off x="4679244" y="3753855"/>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9" name="Freeform 27">
                <a:extLst>
                  <a:ext uri="{FF2B5EF4-FFF2-40B4-BE49-F238E27FC236}">
                    <a16:creationId xmlns:a16="http://schemas.microsoft.com/office/drawing/2014/main" id="{F4B48057-22BE-45B8-8F77-FC5014A585CE}"/>
                  </a:ext>
                </a:extLst>
              </p:cNvPr>
              <p:cNvSpPr>
                <a:spLocks/>
              </p:cNvSpPr>
              <p:nvPr/>
            </p:nvSpPr>
            <p:spPr bwMode="auto">
              <a:xfrm>
                <a:off x="4459449" y="3834375"/>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00" name="Oval 28">
                <a:extLst>
                  <a:ext uri="{FF2B5EF4-FFF2-40B4-BE49-F238E27FC236}">
                    <a16:creationId xmlns:a16="http://schemas.microsoft.com/office/drawing/2014/main" id="{42C4EE1F-05B9-493E-9DDC-6271B3BCD0A1}"/>
                  </a:ext>
                </a:extLst>
              </p:cNvPr>
              <p:cNvSpPr>
                <a:spLocks noChangeArrowheads="1"/>
              </p:cNvSpPr>
              <p:nvPr/>
            </p:nvSpPr>
            <p:spPr bwMode="auto">
              <a:xfrm>
                <a:off x="4679244" y="386049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09" name="Freeform 29">
                <a:extLst>
                  <a:ext uri="{FF2B5EF4-FFF2-40B4-BE49-F238E27FC236}">
                    <a16:creationId xmlns:a16="http://schemas.microsoft.com/office/drawing/2014/main" id="{DC063A27-92DF-4B1F-AF2F-3F65FE163164}"/>
                  </a:ext>
                </a:extLst>
              </p:cNvPr>
              <p:cNvSpPr>
                <a:spLocks/>
              </p:cNvSpPr>
              <p:nvPr/>
            </p:nvSpPr>
            <p:spPr bwMode="auto">
              <a:xfrm>
                <a:off x="4459449" y="3941009"/>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0" name="Oval 30">
                <a:extLst>
                  <a:ext uri="{FF2B5EF4-FFF2-40B4-BE49-F238E27FC236}">
                    <a16:creationId xmlns:a16="http://schemas.microsoft.com/office/drawing/2014/main" id="{29BDC31F-91EB-48AE-B938-79A55456BD4D}"/>
                  </a:ext>
                </a:extLst>
              </p:cNvPr>
              <p:cNvSpPr>
                <a:spLocks noChangeArrowheads="1"/>
              </p:cNvSpPr>
              <p:nvPr/>
            </p:nvSpPr>
            <p:spPr bwMode="auto">
              <a:xfrm>
                <a:off x="4679244" y="396494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1" name="Freeform 31">
                <a:extLst>
                  <a:ext uri="{FF2B5EF4-FFF2-40B4-BE49-F238E27FC236}">
                    <a16:creationId xmlns:a16="http://schemas.microsoft.com/office/drawing/2014/main" id="{CD3399C2-EC64-4DB5-9913-F2ABC1D4216F}"/>
                  </a:ext>
                </a:extLst>
              </p:cNvPr>
              <p:cNvSpPr>
                <a:spLocks/>
              </p:cNvSpPr>
              <p:nvPr/>
            </p:nvSpPr>
            <p:spPr bwMode="auto">
              <a:xfrm>
                <a:off x="4459449" y="4045466"/>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2" name="Rectangle 32">
                <a:extLst>
                  <a:ext uri="{FF2B5EF4-FFF2-40B4-BE49-F238E27FC236}">
                    <a16:creationId xmlns:a16="http://schemas.microsoft.com/office/drawing/2014/main" id="{354F3A67-EDED-4B8A-B844-9728FBEB9615}"/>
                  </a:ext>
                </a:extLst>
              </p:cNvPr>
              <p:cNvSpPr>
                <a:spLocks noChangeArrowheads="1"/>
              </p:cNvSpPr>
              <p:nvPr/>
            </p:nvSpPr>
            <p:spPr bwMode="auto">
              <a:xfrm>
                <a:off x="4481211"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3" name="Rectangle 33">
                <a:extLst>
                  <a:ext uri="{FF2B5EF4-FFF2-40B4-BE49-F238E27FC236}">
                    <a16:creationId xmlns:a16="http://schemas.microsoft.com/office/drawing/2014/main" id="{55AFAFEA-8F38-410F-9ECF-38E179262869}"/>
                  </a:ext>
                </a:extLst>
              </p:cNvPr>
              <p:cNvSpPr>
                <a:spLocks noChangeArrowheads="1"/>
              </p:cNvSpPr>
              <p:nvPr/>
            </p:nvSpPr>
            <p:spPr bwMode="auto">
              <a:xfrm>
                <a:off x="4502973"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4" name="Rectangle 34">
                <a:extLst>
                  <a:ext uri="{FF2B5EF4-FFF2-40B4-BE49-F238E27FC236}">
                    <a16:creationId xmlns:a16="http://schemas.microsoft.com/office/drawing/2014/main" id="{09F4826E-0556-4529-9CE7-EB81AC56468A}"/>
                  </a:ext>
                </a:extLst>
              </p:cNvPr>
              <p:cNvSpPr>
                <a:spLocks noChangeArrowheads="1"/>
              </p:cNvSpPr>
              <p:nvPr/>
            </p:nvSpPr>
            <p:spPr bwMode="auto">
              <a:xfrm>
                <a:off x="4526910"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5" name="Rectangle 35">
                <a:extLst>
                  <a:ext uri="{FF2B5EF4-FFF2-40B4-BE49-F238E27FC236}">
                    <a16:creationId xmlns:a16="http://schemas.microsoft.com/office/drawing/2014/main" id="{60190189-5843-4EF3-BD3A-141507CBC00F}"/>
                  </a:ext>
                </a:extLst>
              </p:cNvPr>
              <p:cNvSpPr>
                <a:spLocks noChangeArrowheads="1"/>
              </p:cNvSpPr>
              <p:nvPr/>
            </p:nvSpPr>
            <p:spPr bwMode="auto">
              <a:xfrm>
                <a:off x="4548672"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6" name="Rectangle 36">
                <a:extLst>
                  <a:ext uri="{FF2B5EF4-FFF2-40B4-BE49-F238E27FC236}">
                    <a16:creationId xmlns:a16="http://schemas.microsoft.com/office/drawing/2014/main" id="{4CFF7A7A-FB0C-4B24-AC6C-9AFB7B5DA20E}"/>
                  </a:ext>
                </a:extLst>
              </p:cNvPr>
              <p:cNvSpPr>
                <a:spLocks noChangeArrowheads="1"/>
              </p:cNvSpPr>
              <p:nvPr/>
            </p:nvSpPr>
            <p:spPr bwMode="auto">
              <a:xfrm>
                <a:off x="4572611" y="332079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7" name="Rectangle 37">
                <a:extLst>
                  <a:ext uri="{FF2B5EF4-FFF2-40B4-BE49-F238E27FC236}">
                    <a16:creationId xmlns:a16="http://schemas.microsoft.com/office/drawing/2014/main" id="{D6E7152F-3CE4-496B-B936-65DA55CC9EC6}"/>
                  </a:ext>
                </a:extLst>
              </p:cNvPr>
              <p:cNvSpPr>
                <a:spLocks noChangeArrowheads="1"/>
              </p:cNvSpPr>
              <p:nvPr/>
            </p:nvSpPr>
            <p:spPr bwMode="auto">
              <a:xfrm>
                <a:off x="4481211"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8" name="Rectangle 38">
                <a:extLst>
                  <a:ext uri="{FF2B5EF4-FFF2-40B4-BE49-F238E27FC236}">
                    <a16:creationId xmlns:a16="http://schemas.microsoft.com/office/drawing/2014/main" id="{D271E943-07F5-4DAE-AB66-3B93F3722E80}"/>
                  </a:ext>
                </a:extLst>
              </p:cNvPr>
              <p:cNvSpPr>
                <a:spLocks noChangeArrowheads="1"/>
              </p:cNvSpPr>
              <p:nvPr/>
            </p:nvSpPr>
            <p:spPr bwMode="auto">
              <a:xfrm>
                <a:off x="4502973"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9" name="Rectangle 39">
                <a:extLst>
                  <a:ext uri="{FF2B5EF4-FFF2-40B4-BE49-F238E27FC236}">
                    <a16:creationId xmlns:a16="http://schemas.microsoft.com/office/drawing/2014/main" id="{AE21E569-42FA-446D-AB79-A4BA8D3FA0A0}"/>
                  </a:ext>
                </a:extLst>
              </p:cNvPr>
              <p:cNvSpPr>
                <a:spLocks noChangeArrowheads="1"/>
              </p:cNvSpPr>
              <p:nvPr/>
            </p:nvSpPr>
            <p:spPr bwMode="auto">
              <a:xfrm>
                <a:off x="4526910"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20" name="Rectangle 40">
                <a:extLst>
                  <a:ext uri="{FF2B5EF4-FFF2-40B4-BE49-F238E27FC236}">
                    <a16:creationId xmlns:a16="http://schemas.microsoft.com/office/drawing/2014/main" id="{2DAA8F57-3907-4EE7-9D9B-946E708C2A00}"/>
                  </a:ext>
                </a:extLst>
              </p:cNvPr>
              <p:cNvSpPr>
                <a:spLocks noChangeArrowheads="1"/>
              </p:cNvSpPr>
              <p:nvPr/>
            </p:nvSpPr>
            <p:spPr bwMode="auto">
              <a:xfrm>
                <a:off x="4548672"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21" name="Rectangle 41">
                <a:extLst>
                  <a:ext uri="{FF2B5EF4-FFF2-40B4-BE49-F238E27FC236}">
                    <a16:creationId xmlns:a16="http://schemas.microsoft.com/office/drawing/2014/main" id="{9DA542A9-27E0-4B18-892F-5D841D2799C9}"/>
                  </a:ext>
                </a:extLst>
              </p:cNvPr>
              <p:cNvSpPr>
                <a:spLocks noChangeArrowheads="1"/>
              </p:cNvSpPr>
              <p:nvPr/>
            </p:nvSpPr>
            <p:spPr bwMode="auto">
              <a:xfrm>
                <a:off x="4572611" y="3427426"/>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22" name="Rectangle 42">
                <a:extLst>
                  <a:ext uri="{FF2B5EF4-FFF2-40B4-BE49-F238E27FC236}">
                    <a16:creationId xmlns:a16="http://schemas.microsoft.com/office/drawing/2014/main" id="{E3BF6632-6D59-4FAF-B586-9C932B9E9DE8}"/>
                  </a:ext>
                </a:extLst>
              </p:cNvPr>
              <p:cNvSpPr>
                <a:spLocks noChangeArrowheads="1"/>
              </p:cNvSpPr>
              <p:nvPr/>
            </p:nvSpPr>
            <p:spPr bwMode="auto">
              <a:xfrm>
                <a:off x="4481211"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23" name="Rectangle 43">
                <a:extLst>
                  <a:ext uri="{FF2B5EF4-FFF2-40B4-BE49-F238E27FC236}">
                    <a16:creationId xmlns:a16="http://schemas.microsoft.com/office/drawing/2014/main" id="{ED814B75-1F1B-4ADF-9C41-C326351E0BEC}"/>
                  </a:ext>
                </a:extLst>
              </p:cNvPr>
              <p:cNvSpPr>
                <a:spLocks noChangeArrowheads="1"/>
              </p:cNvSpPr>
              <p:nvPr/>
            </p:nvSpPr>
            <p:spPr bwMode="auto">
              <a:xfrm>
                <a:off x="4502973"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24" name="Rectangle 44">
                <a:extLst>
                  <a:ext uri="{FF2B5EF4-FFF2-40B4-BE49-F238E27FC236}">
                    <a16:creationId xmlns:a16="http://schemas.microsoft.com/office/drawing/2014/main" id="{3105521F-872B-4A23-8D11-90B0C0C754E0}"/>
                  </a:ext>
                </a:extLst>
              </p:cNvPr>
              <p:cNvSpPr>
                <a:spLocks noChangeArrowheads="1"/>
              </p:cNvSpPr>
              <p:nvPr/>
            </p:nvSpPr>
            <p:spPr bwMode="auto">
              <a:xfrm>
                <a:off x="4526910"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25" name="Rectangle 45">
                <a:extLst>
                  <a:ext uri="{FF2B5EF4-FFF2-40B4-BE49-F238E27FC236}">
                    <a16:creationId xmlns:a16="http://schemas.microsoft.com/office/drawing/2014/main" id="{948A33DB-3533-45DF-9D3C-9343A3BF9967}"/>
                  </a:ext>
                </a:extLst>
              </p:cNvPr>
              <p:cNvSpPr>
                <a:spLocks noChangeArrowheads="1"/>
              </p:cNvSpPr>
              <p:nvPr/>
            </p:nvSpPr>
            <p:spPr bwMode="auto">
              <a:xfrm>
                <a:off x="4548672"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26" name="Rectangle 46">
                <a:extLst>
                  <a:ext uri="{FF2B5EF4-FFF2-40B4-BE49-F238E27FC236}">
                    <a16:creationId xmlns:a16="http://schemas.microsoft.com/office/drawing/2014/main" id="{EA5B242B-E456-4546-A2F1-7D386D53E054}"/>
                  </a:ext>
                </a:extLst>
              </p:cNvPr>
              <p:cNvSpPr>
                <a:spLocks noChangeArrowheads="1"/>
              </p:cNvSpPr>
              <p:nvPr/>
            </p:nvSpPr>
            <p:spPr bwMode="auto">
              <a:xfrm>
                <a:off x="4572611" y="353188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27" name="Rectangle 47">
                <a:extLst>
                  <a:ext uri="{FF2B5EF4-FFF2-40B4-BE49-F238E27FC236}">
                    <a16:creationId xmlns:a16="http://schemas.microsoft.com/office/drawing/2014/main" id="{C8D36954-CEC3-4185-86DA-B275CFD1CEB5}"/>
                  </a:ext>
                </a:extLst>
              </p:cNvPr>
              <p:cNvSpPr>
                <a:spLocks noChangeArrowheads="1"/>
              </p:cNvSpPr>
              <p:nvPr/>
            </p:nvSpPr>
            <p:spPr bwMode="auto">
              <a:xfrm>
                <a:off x="4481211"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28" name="Rectangle 48">
                <a:extLst>
                  <a:ext uri="{FF2B5EF4-FFF2-40B4-BE49-F238E27FC236}">
                    <a16:creationId xmlns:a16="http://schemas.microsoft.com/office/drawing/2014/main" id="{9BB3E449-F26F-44CD-AF74-31BE91823BBA}"/>
                  </a:ext>
                </a:extLst>
              </p:cNvPr>
              <p:cNvSpPr>
                <a:spLocks noChangeArrowheads="1"/>
              </p:cNvSpPr>
              <p:nvPr/>
            </p:nvSpPr>
            <p:spPr bwMode="auto">
              <a:xfrm>
                <a:off x="4502973"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29" name="Rectangle 49">
                <a:extLst>
                  <a:ext uri="{FF2B5EF4-FFF2-40B4-BE49-F238E27FC236}">
                    <a16:creationId xmlns:a16="http://schemas.microsoft.com/office/drawing/2014/main" id="{43274992-C58D-49DC-8812-5775144A5CE0}"/>
                  </a:ext>
                </a:extLst>
              </p:cNvPr>
              <p:cNvSpPr>
                <a:spLocks noChangeArrowheads="1"/>
              </p:cNvSpPr>
              <p:nvPr/>
            </p:nvSpPr>
            <p:spPr bwMode="auto">
              <a:xfrm>
                <a:off x="4526910"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30" name="Rectangle 50">
                <a:extLst>
                  <a:ext uri="{FF2B5EF4-FFF2-40B4-BE49-F238E27FC236}">
                    <a16:creationId xmlns:a16="http://schemas.microsoft.com/office/drawing/2014/main" id="{D7BCE17A-6042-4A36-B7A8-74D864B41665}"/>
                  </a:ext>
                </a:extLst>
              </p:cNvPr>
              <p:cNvSpPr>
                <a:spLocks noChangeArrowheads="1"/>
              </p:cNvSpPr>
              <p:nvPr/>
            </p:nvSpPr>
            <p:spPr bwMode="auto">
              <a:xfrm>
                <a:off x="4548672"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31" name="Rectangle 51">
                <a:extLst>
                  <a:ext uri="{FF2B5EF4-FFF2-40B4-BE49-F238E27FC236}">
                    <a16:creationId xmlns:a16="http://schemas.microsoft.com/office/drawing/2014/main" id="{8BB26D62-2451-4F70-810B-B9C9C4A74E2B}"/>
                  </a:ext>
                </a:extLst>
              </p:cNvPr>
              <p:cNvSpPr>
                <a:spLocks noChangeArrowheads="1"/>
              </p:cNvSpPr>
              <p:nvPr/>
            </p:nvSpPr>
            <p:spPr bwMode="auto">
              <a:xfrm>
                <a:off x="4572611" y="363851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42" name="Rectangle 52">
                <a:extLst>
                  <a:ext uri="{FF2B5EF4-FFF2-40B4-BE49-F238E27FC236}">
                    <a16:creationId xmlns:a16="http://schemas.microsoft.com/office/drawing/2014/main" id="{1924E70D-52C2-492E-91EF-B662E3A3C3A7}"/>
                  </a:ext>
                </a:extLst>
              </p:cNvPr>
              <p:cNvSpPr>
                <a:spLocks noChangeArrowheads="1"/>
              </p:cNvSpPr>
              <p:nvPr/>
            </p:nvSpPr>
            <p:spPr bwMode="auto">
              <a:xfrm>
                <a:off x="4481211"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43" name="Rectangle 53">
                <a:extLst>
                  <a:ext uri="{FF2B5EF4-FFF2-40B4-BE49-F238E27FC236}">
                    <a16:creationId xmlns:a16="http://schemas.microsoft.com/office/drawing/2014/main" id="{E993B4D4-A099-4F7D-8DF8-B7AE94863E3B}"/>
                  </a:ext>
                </a:extLst>
              </p:cNvPr>
              <p:cNvSpPr>
                <a:spLocks noChangeArrowheads="1"/>
              </p:cNvSpPr>
              <p:nvPr/>
            </p:nvSpPr>
            <p:spPr bwMode="auto">
              <a:xfrm>
                <a:off x="4502973"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44" name="Rectangle 54">
                <a:extLst>
                  <a:ext uri="{FF2B5EF4-FFF2-40B4-BE49-F238E27FC236}">
                    <a16:creationId xmlns:a16="http://schemas.microsoft.com/office/drawing/2014/main" id="{CDFE18D1-5BA8-400D-BDDE-BB84F0D6D10C}"/>
                  </a:ext>
                </a:extLst>
              </p:cNvPr>
              <p:cNvSpPr>
                <a:spLocks noChangeArrowheads="1"/>
              </p:cNvSpPr>
              <p:nvPr/>
            </p:nvSpPr>
            <p:spPr bwMode="auto">
              <a:xfrm>
                <a:off x="4526910"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45" name="Rectangle 55">
                <a:extLst>
                  <a:ext uri="{FF2B5EF4-FFF2-40B4-BE49-F238E27FC236}">
                    <a16:creationId xmlns:a16="http://schemas.microsoft.com/office/drawing/2014/main" id="{3C244BD9-B6FE-48D1-9839-CC9D73E6FA2B}"/>
                  </a:ext>
                </a:extLst>
              </p:cNvPr>
              <p:cNvSpPr>
                <a:spLocks noChangeArrowheads="1"/>
              </p:cNvSpPr>
              <p:nvPr/>
            </p:nvSpPr>
            <p:spPr bwMode="auto">
              <a:xfrm>
                <a:off x="4548672"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46" name="Rectangle 56">
                <a:extLst>
                  <a:ext uri="{FF2B5EF4-FFF2-40B4-BE49-F238E27FC236}">
                    <a16:creationId xmlns:a16="http://schemas.microsoft.com/office/drawing/2014/main" id="{B0492DF5-41EC-438C-B91C-C3577E4CAF33}"/>
                  </a:ext>
                </a:extLst>
              </p:cNvPr>
              <p:cNvSpPr>
                <a:spLocks noChangeArrowheads="1"/>
              </p:cNvSpPr>
              <p:nvPr/>
            </p:nvSpPr>
            <p:spPr bwMode="auto">
              <a:xfrm>
                <a:off x="4572611" y="3745151"/>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47" name="Rectangle 57">
                <a:extLst>
                  <a:ext uri="{FF2B5EF4-FFF2-40B4-BE49-F238E27FC236}">
                    <a16:creationId xmlns:a16="http://schemas.microsoft.com/office/drawing/2014/main" id="{5D778B95-AEE9-413F-80EE-F87BF6754A9B}"/>
                  </a:ext>
                </a:extLst>
              </p:cNvPr>
              <p:cNvSpPr>
                <a:spLocks noChangeArrowheads="1"/>
              </p:cNvSpPr>
              <p:nvPr/>
            </p:nvSpPr>
            <p:spPr bwMode="auto">
              <a:xfrm>
                <a:off x="4481211"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48" name="Rectangle 58">
                <a:extLst>
                  <a:ext uri="{FF2B5EF4-FFF2-40B4-BE49-F238E27FC236}">
                    <a16:creationId xmlns:a16="http://schemas.microsoft.com/office/drawing/2014/main" id="{E37766BD-34B7-4087-8D6C-C232313370F1}"/>
                  </a:ext>
                </a:extLst>
              </p:cNvPr>
              <p:cNvSpPr>
                <a:spLocks noChangeArrowheads="1"/>
              </p:cNvSpPr>
              <p:nvPr/>
            </p:nvSpPr>
            <p:spPr bwMode="auto">
              <a:xfrm>
                <a:off x="4502973"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49" name="Rectangle 59">
                <a:extLst>
                  <a:ext uri="{FF2B5EF4-FFF2-40B4-BE49-F238E27FC236}">
                    <a16:creationId xmlns:a16="http://schemas.microsoft.com/office/drawing/2014/main" id="{EE812649-E0E0-4AB3-8C15-E51FF278FD13}"/>
                  </a:ext>
                </a:extLst>
              </p:cNvPr>
              <p:cNvSpPr>
                <a:spLocks noChangeArrowheads="1"/>
              </p:cNvSpPr>
              <p:nvPr/>
            </p:nvSpPr>
            <p:spPr bwMode="auto">
              <a:xfrm>
                <a:off x="4526910"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50" name="Rectangle 60">
                <a:extLst>
                  <a:ext uri="{FF2B5EF4-FFF2-40B4-BE49-F238E27FC236}">
                    <a16:creationId xmlns:a16="http://schemas.microsoft.com/office/drawing/2014/main" id="{E52BAC0B-26AD-47F4-8192-9B97937BF76D}"/>
                  </a:ext>
                </a:extLst>
              </p:cNvPr>
              <p:cNvSpPr>
                <a:spLocks noChangeArrowheads="1"/>
              </p:cNvSpPr>
              <p:nvPr/>
            </p:nvSpPr>
            <p:spPr bwMode="auto">
              <a:xfrm>
                <a:off x="4548672"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51" name="Rectangle 61">
                <a:extLst>
                  <a:ext uri="{FF2B5EF4-FFF2-40B4-BE49-F238E27FC236}">
                    <a16:creationId xmlns:a16="http://schemas.microsoft.com/office/drawing/2014/main" id="{C82CB8D0-9569-4106-BE3A-5CD350DC78AF}"/>
                  </a:ext>
                </a:extLst>
              </p:cNvPr>
              <p:cNvSpPr>
                <a:spLocks noChangeArrowheads="1"/>
              </p:cNvSpPr>
              <p:nvPr/>
            </p:nvSpPr>
            <p:spPr bwMode="auto">
              <a:xfrm>
                <a:off x="4572611" y="384960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52" name="Rectangle 62">
                <a:extLst>
                  <a:ext uri="{FF2B5EF4-FFF2-40B4-BE49-F238E27FC236}">
                    <a16:creationId xmlns:a16="http://schemas.microsoft.com/office/drawing/2014/main" id="{D91BF677-5EE6-4794-98E6-3BF01D63CDEA}"/>
                  </a:ext>
                </a:extLst>
              </p:cNvPr>
              <p:cNvSpPr>
                <a:spLocks noChangeArrowheads="1"/>
              </p:cNvSpPr>
              <p:nvPr/>
            </p:nvSpPr>
            <p:spPr bwMode="auto">
              <a:xfrm>
                <a:off x="4481211"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53" name="Rectangle 63">
                <a:extLst>
                  <a:ext uri="{FF2B5EF4-FFF2-40B4-BE49-F238E27FC236}">
                    <a16:creationId xmlns:a16="http://schemas.microsoft.com/office/drawing/2014/main" id="{7F1861D2-BB7B-4AEB-9894-964D0F2A6A0B}"/>
                  </a:ext>
                </a:extLst>
              </p:cNvPr>
              <p:cNvSpPr>
                <a:spLocks noChangeArrowheads="1"/>
              </p:cNvSpPr>
              <p:nvPr/>
            </p:nvSpPr>
            <p:spPr bwMode="auto">
              <a:xfrm>
                <a:off x="4502973"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54" name="Rectangle 64">
                <a:extLst>
                  <a:ext uri="{FF2B5EF4-FFF2-40B4-BE49-F238E27FC236}">
                    <a16:creationId xmlns:a16="http://schemas.microsoft.com/office/drawing/2014/main" id="{F3B32919-64F1-449B-8DA2-E23B10357E59}"/>
                  </a:ext>
                </a:extLst>
              </p:cNvPr>
              <p:cNvSpPr>
                <a:spLocks noChangeArrowheads="1"/>
              </p:cNvSpPr>
              <p:nvPr/>
            </p:nvSpPr>
            <p:spPr bwMode="auto">
              <a:xfrm>
                <a:off x="4526910"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55" name="Rectangle 65">
                <a:extLst>
                  <a:ext uri="{FF2B5EF4-FFF2-40B4-BE49-F238E27FC236}">
                    <a16:creationId xmlns:a16="http://schemas.microsoft.com/office/drawing/2014/main" id="{E1AA6413-B19D-4B31-9325-F42AC1D9580B}"/>
                  </a:ext>
                </a:extLst>
              </p:cNvPr>
              <p:cNvSpPr>
                <a:spLocks noChangeArrowheads="1"/>
              </p:cNvSpPr>
              <p:nvPr/>
            </p:nvSpPr>
            <p:spPr bwMode="auto">
              <a:xfrm>
                <a:off x="4548672"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56" name="Rectangle 66">
                <a:extLst>
                  <a:ext uri="{FF2B5EF4-FFF2-40B4-BE49-F238E27FC236}">
                    <a16:creationId xmlns:a16="http://schemas.microsoft.com/office/drawing/2014/main" id="{796AD566-4A82-4984-895A-CF27015FF2B5}"/>
                  </a:ext>
                </a:extLst>
              </p:cNvPr>
              <p:cNvSpPr>
                <a:spLocks noChangeArrowheads="1"/>
              </p:cNvSpPr>
              <p:nvPr/>
            </p:nvSpPr>
            <p:spPr bwMode="auto">
              <a:xfrm>
                <a:off x="4572611" y="3956243"/>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57" name="Rectangle 67">
                <a:extLst>
                  <a:ext uri="{FF2B5EF4-FFF2-40B4-BE49-F238E27FC236}">
                    <a16:creationId xmlns:a16="http://schemas.microsoft.com/office/drawing/2014/main" id="{BD4BAE47-E048-4315-AA85-361AF13C22C0}"/>
                  </a:ext>
                </a:extLst>
              </p:cNvPr>
              <p:cNvSpPr>
                <a:spLocks noChangeArrowheads="1"/>
              </p:cNvSpPr>
              <p:nvPr/>
            </p:nvSpPr>
            <p:spPr bwMode="auto">
              <a:xfrm>
                <a:off x="4481211"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58" name="Rectangle 68">
                <a:extLst>
                  <a:ext uri="{FF2B5EF4-FFF2-40B4-BE49-F238E27FC236}">
                    <a16:creationId xmlns:a16="http://schemas.microsoft.com/office/drawing/2014/main" id="{BCD87DDE-9E28-431B-8C16-71F54C0050AA}"/>
                  </a:ext>
                </a:extLst>
              </p:cNvPr>
              <p:cNvSpPr>
                <a:spLocks noChangeArrowheads="1"/>
              </p:cNvSpPr>
              <p:nvPr/>
            </p:nvSpPr>
            <p:spPr bwMode="auto">
              <a:xfrm>
                <a:off x="4502973"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59" name="Rectangle 69">
                <a:extLst>
                  <a:ext uri="{FF2B5EF4-FFF2-40B4-BE49-F238E27FC236}">
                    <a16:creationId xmlns:a16="http://schemas.microsoft.com/office/drawing/2014/main" id="{0AD2A7C1-9388-43DA-B882-A581011526D9}"/>
                  </a:ext>
                </a:extLst>
              </p:cNvPr>
              <p:cNvSpPr>
                <a:spLocks noChangeArrowheads="1"/>
              </p:cNvSpPr>
              <p:nvPr/>
            </p:nvSpPr>
            <p:spPr bwMode="auto">
              <a:xfrm>
                <a:off x="4526910"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60" name="Rectangle 70">
                <a:extLst>
                  <a:ext uri="{FF2B5EF4-FFF2-40B4-BE49-F238E27FC236}">
                    <a16:creationId xmlns:a16="http://schemas.microsoft.com/office/drawing/2014/main" id="{692D2AF9-87F6-4EC0-8C74-BC97FA52BA22}"/>
                  </a:ext>
                </a:extLst>
              </p:cNvPr>
              <p:cNvSpPr>
                <a:spLocks noChangeArrowheads="1"/>
              </p:cNvSpPr>
              <p:nvPr/>
            </p:nvSpPr>
            <p:spPr bwMode="auto">
              <a:xfrm>
                <a:off x="4548672"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61" name="Rectangle 71">
                <a:extLst>
                  <a:ext uri="{FF2B5EF4-FFF2-40B4-BE49-F238E27FC236}">
                    <a16:creationId xmlns:a16="http://schemas.microsoft.com/office/drawing/2014/main" id="{52F4B298-98DA-40BF-90DE-28D3CF56E79E}"/>
                  </a:ext>
                </a:extLst>
              </p:cNvPr>
              <p:cNvSpPr>
                <a:spLocks noChangeArrowheads="1"/>
              </p:cNvSpPr>
              <p:nvPr/>
            </p:nvSpPr>
            <p:spPr bwMode="auto">
              <a:xfrm>
                <a:off x="4572611" y="4060700"/>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62" name="Oval 72">
                <a:extLst>
                  <a:ext uri="{FF2B5EF4-FFF2-40B4-BE49-F238E27FC236}">
                    <a16:creationId xmlns:a16="http://schemas.microsoft.com/office/drawing/2014/main" id="{4EC337FA-40C7-4DA5-BCDB-8583CDA7520A}"/>
                  </a:ext>
                </a:extLst>
              </p:cNvPr>
              <p:cNvSpPr>
                <a:spLocks noChangeArrowheads="1"/>
              </p:cNvSpPr>
              <p:nvPr/>
            </p:nvSpPr>
            <p:spPr bwMode="auto">
              <a:xfrm>
                <a:off x="4679244" y="407158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63" name="Oval 73">
                <a:extLst>
                  <a:ext uri="{FF2B5EF4-FFF2-40B4-BE49-F238E27FC236}">
                    <a16:creationId xmlns:a16="http://schemas.microsoft.com/office/drawing/2014/main" id="{9200F675-B045-4625-A7E0-17C883568A40}"/>
                  </a:ext>
                </a:extLst>
              </p:cNvPr>
              <p:cNvSpPr>
                <a:spLocks noChangeArrowheads="1"/>
              </p:cNvSpPr>
              <p:nvPr/>
            </p:nvSpPr>
            <p:spPr bwMode="auto">
              <a:xfrm>
                <a:off x="4722768" y="332949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64" name="Oval 74">
                <a:extLst>
                  <a:ext uri="{FF2B5EF4-FFF2-40B4-BE49-F238E27FC236}">
                    <a16:creationId xmlns:a16="http://schemas.microsoft.com/office/drawing/2014/main" id="{C8C3DA06-6FE1-428B-BBDD-6D3B07D3581B}"/>
                  </a:ext>
                </a:extLst>
              </p:cNvPr>
              <p:cNvSpPr>
                <a:spLocks noChangeArrowheads="1"/>
              </p:cNvSpPr>
              <p:nvPr/>
            </p:nvSpPr>
            <p:spPr bwMode="auto">
              <a:xfrm>
                <a:off x="4722768" y="3436130"/>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65" name="Oval 75">
                <a:extLst>
                  <a:ext uri="{FF2B5EF4-FFF2-40B4-BE49-F238E27FC236}">
                    <a16:creationId xmlns:a16="http://schemas.microsoft.com/office/drawing/2014/main" id="{53191309-D8C6-47FC-A226-1CCA35C5B290}"/>
                  </a:ext>
                </a:extLst>
              </p:cNvPr>
              <p:cNvSpPr>
                <a:spLocks noChangeArrowheads="1"/>
              </p:cNvSpPr>
              <p:nvPr/>
            </p:nvSpPr>
            <p:spPr bwMode="auto">
              <a:xfrm>
                <a:off x="4722768" y="3542765"/>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66" name="Oval 76">
                <a:extLst>
                  <a:ext uri="{FF2B5EF4-FFF2-40B4-BE49-F238E27FC236}">
                    <a16:creationId xmlns:a16="http://schemas.microsoft.com/office/drawing/2014/main" id="{02F3DFAA-1D34-4CF5-8418-D358B221A99D}"/>
                  </a:ext>
                </a:extLst>
              </p:cNvPr>
              <p:cNvSpPr>
                <a:spLocks noChangeArrowheads="1"/>
              </p:cNvSpPr>
              <p:nvPr/>
            </p:nvSpPr>
            <p:spPr bwMode="auto">
              <a:xfrm>
                <a:off x="4722768" y="3647222"/>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67" name="Oval 77">
                <a:extLst>
                  <a:ext uri="{FF2B5EF4-FFF2-40B4-BE49-F238E27FC236}">
                    <a16:creationId xmlns:a16="http://schemas.microsoft.com/office/drawing/2014/main" id="{BEEEE175-4DD8-41C3-8D40-B705D1385B31}"/>
                  </a:ext>
                </a:extLst>
              </p:cNvPr>
              <p:cNvSpPr>
                <a:spLocks noChangeArrowheads="1"/>
              </p:cNvSpPr>
              <p:nvPr/>
            </p:nvSpPr>
            <p:spPr bwMode="auto">
              <a:xfrm>
                <a:off x="4722768" y="3753855"/>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68" name="Oval 78">
                <a:extLst>
                  <a:ext uri="{FF2B5EF4-FFF2-40B4-BE49-F238E27FC236}">
                    <a16:creationId xmlns:a16="http://schemas.microsoft.com/office/drawing/2014/main" id="{26D2EFD7-92C4-4002-BC3A-7A2E28525535}"/>
                  </a:ext>
                </a:extLst>
              </p:cNvPr>
              <p:cNvSpPr>
                <a:spLocks noChangeArrowheads="1"/>
              </p:cNvSpPr>
              <p:nvPr/>
            </p:nvSpPr>
            <p:spPr bwMode="auto">
              <a:xfrm>
                <a:off x="4722768" y="386049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69" name="Oval 79">
                <a:extLst>
                  <a:ext uri="{FF2B5EF4-FFF2-40B4-BE49-F238E27FC236}">
                    <a16:creationId xmlns:a16="http://schemas.microsoft.com/office/drawing/2014/main" id="{1A9F5F60-DC7F-4A3A-915F-F7261ACDA031}"/>
                  </a:ext>
                </a:extLst>
              </p:cNvPr>
              <p:cNvSpPr>
                <a:spLocks noChangeArrowheads="1"/>
              </p:cNvSpPr>
              <p:nvPr/>
            </p:nvSpPr>
            <p:spPr bwMode="auto">
              <a:xfrm>
                <a:off x="4722768" y="396494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70" name="Oval 80">
                <a:extLst>
                  <a:ext uri="{FF2B5EF4-FFF2-40B4-BE49-F238E27FC236}">
                    <a16:creationId xmlns:a16="http://schemas.microsoft.com/office/drawing/2014/main" id="{4DC70FB4-B782-40B5-A8B6-AF5324C4853E}"/>
                  </a:ext>
                </a:extLst>
              </p:cNvPr>
              <p:cNvSpPr>
                <a:spLocks noChangeArrowheads="1"/>
              </p:cNvSpPr>
              <p:nvPr/>
            </p:nvSpPr>
            <p:spPr bwMode="auto">
              <a:xfrm>
                <a:off x="4722768" y="407158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71" name="Freeform 81">
                <a:extLst>
                  <a:ext uri="{FF2B5EF4-FFF2-40B4-BE49-F238E27FC236}">
                    <a16:creationId xmlns:a16="http://schemas.microsoft.com/office/drawing/2014/main" id="{43351BF6-04ED-4A3D-A70A-195720BEC0AA}"/>
                  </a:ext>
                </a:extLst>
              </p:cNvPr>
              <p:cNvSpPr>
                <a:spLocks/>
              </p:cNvSpPr>
              <p:nvPr/>
            </p:nvSpPr>
            <p:spPr bwMode="auto">
              <a:xfrm>
                <a:off x="5005674" y="3631988"/>
                <a:ext cx="154509" cy="541874"/>
              </a:xfrm>
              <a:custGeom>
                <a:avLst/>
                <a:gdLst>
                  <a:gd name="T0" fmla="*/ 0 w 199"/>
                  <a:gd name="T1" fmla="*/ 703 h 703"/>
                  <a:gd name="T2" fmla="*/ 199 w 199"/>
                  <a:gd name="T3" fmla="*/ 703 h 703"/>
                  <a:gd name="T4" fmla="*/ 117 w 199"/>
                  <a:gd name="T5" fmla="*/ 668 h 703"/>
                  <a:gd name="T6" fmla="*/ 117 w 199"/>
                  <a:gd name="T7" fmla="*/ 103 h 703"/>
                  <a:gd name="T8" fmla="*/ 144 w 199"/>
                  <a:gd name="T9" fmla="*/ 103 h 703"/>
                  <a:gd name="T10" fmla="*/ 152 w 199"/>
                  <a:gd name="T11" fmla="*/ 95 h 703"/>
                  <a:gd name="T12" fmla="*/ 144 w 199"/>
                  <a:gd name="T13" fmla="*/ 87 h 703"/>
                  <a:gd name="T14" fmla="*/ 117 w 199"/>
                  <a:gd name="T15" fmla="*/ 87 h 703"/>
                  <a:gd name="T16" fmla="*/ 117 w 199"/>
                  <a:gd name="T17" fmla="*/ 67 h 703"/>
                  <a:gd name="T18" fmla="*/ 136 w 199"/>
                  <a:gd name="T19" fmla="*/ 36 h 703"/>
                  <a:gd name="T20" fmla="*/ 100 w 199"/>
                  <a:gd name="T21" fmla="*/ 0 h 703"/>
                  <a:gd name="T22" fmla="*/ 64 w 199"/>
                  <a:gd name="T23" fmla="*/ 36 h 703"/>
                  <a:gd name="T24" fmla="*/ 83 w 199"/>
                  <a:gd name="T25" fmla="*/ 67 h 703"/>
                  <a:gd name="T26" fmla="*/ 83 w 199"/>
                  <a:gd name="T27" fmla="*/ 87 h 703"/>
                  <a:gd name="T28" fmla="*/ 56 w 199"/>
                  <a:gd name="T29" fmla="*/ 87 h 703"/>
                  <a:gd name="T30" fmla="*/ 48 w 199"/>
                  <a:gd name="T31" fmla="*/ 95 h 703"/>
                  <a:gd name="T32" fmla="*/ 56 w 199"/>
                  <a:gd name="T33" fmla="*/ 103 h 703"/>
                  <a:gd name="T34" fmla="*/ 83 w 199"/>
                  <a:gd name="T35" fmla="*/ 103 h 703"/>
                  <a:gd name="T36" fmla="*/ 83 w 199"/>
                  <a:gd name="T37" fmla="*/ 668 h 703"/>
                  <a:gd name="T38" fmla="*/ 0 w 199"/>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9" h="703">
                    <a:moveTo>
                      <a:pt x="0" y="703"/>
                    </a:moveTo>
                    <a:cubicBezTo>
                      <a:pt x="199" y="703"/>
                      <a:pt x="199" y="703"/>
                      <a:pt x="199" y="703"/>
                    </a:cubicBezTo>
                    <a:cubicBezTo>
                      <a:pt x="177" y="684"/>
                      <a:pt x="148" y="672"/>
                      <a:pt x="117" y="668"/>
                    </a:cubicBezTo>
                    <a:cubicBezTo>
                      <a:pt x="117" y="103"/>
                      <a:pt x="117" y="103"/>
                      <a:pt x="117" y="103"/>
                    </a:cubicBezTo>
                    <a:cubicBezTo>
                      <a:pt x="144" y="103"/>
                      <a:pt x="144" y="103"/>
                      <a:pt x="144" y="103"/>
                    </a:cubicBezTo>
                    <a:cubicBezTo>
                      <a:pt x="148" y="103"/>
                      <a:pt x="152" y="99"/>
                      <a:pt x="152" y="95"/>
                    </a:cubicBezTo>
                    <a:cubicBezTo>
                      <a:pt x="152" y="90"/>
                      <a:pt x="148" y="87"/>
                      <a:pt x="144" y="87"/>
                    </a:cubicBezTo>
                    <a:cubicBezTo>
                      <a:pt x="117" y="87"/>
                      <a:pt x="117" y="87"/>
                      <a:pt x="117" y="87"/>
                    </a:cubicBezTo>
                    <a:cubicBezTo>
                      <a:pt x="117" y="67"/>
                      <a:pt x="117" y="67"/>
                      <a:pt x="117" y="67"/>
                    </a:cubicBezTo>
                    <a:cubicBezTo>
                      <a:pt x="128" y="61"/>
                      <a:pt x="136" y="50"/>
                      <a:pt x="136" y="36"/>
                    </a:cubicBezTo>
                    <a:cubicBezTo>
                      <a:pt x="136" y="16"/>
                      <a:pt x="120" y="0"/>
                      <a:pt x="100" y="0"/>
                    </a:cubicBezTo>
                    <a:cubicBezTo>
                      <a:pt x="80" y="0"/>
                      <a:pt x="64" y="16"/>
                      <a:pt x="64" y="36"/>
                    </a:cubicBezTo>
                    <a:cubicBezTo>
                      <a:pt x="64" y="50"/>
                      <a:pt x="72" y="61"/>
                      <a:pt x="83" y="67"/>
                    </a:cubicBezTo>
                    <a:cubicBezTo>
                      <a:pt x="83" y="87"/>
                      <a:pt x="83" y="87"/>
                      <a:pt x="83" y="87"/>
                    </a:cubicBezTo>
                    <a:cubicBezTo>
                      <a:pt x="56" y="87"/>
                      <a:pt x="56" y="87"/>
                      <a:pt x="56" y="87"/>
                    </a:cubicBezTo>
                    <a:cubicBezTo>
                      <a:pt x="52" y="87"/>
                      <a:pt x="48" y="90"/>
                      <a:pt x="48" y="95"/>
                    </a:cubicBezTo>
                    <a:cubicBezTo>
                      <a:pt x="48" y="99"/>
                      <a:pt x="52" y="103"/>
                      <a:pt x="56" y="103"/>
                    </a:cubicBezTo>
                    <a:cubicBezTo>
                      <a:pt x="83" y="103"/>
                      <a:pt x="83" y="103"/>
                      <a:pt x="83" y="103"/>
                    </a:cubicBezTo>
                    <a:cubicBezTo>
                      <a:pt x="83" y="668"/>
                      <a:pt x="83" y="668"/>
                      <a:pt x="83" y="668"/>
                    </a:cubicBezTo>
                    <a:cubicBezTo>
                      <a:pt x="52" y="672"/>
                      <a:pt x="23" y="684"/>
                      <a:pt x="0"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72" name="Freeform 82">
                <a:extLst>
                  <a:ext uri="{FF2B5EF4-FFF2-40B4-BE49-F238E27FC236}">
                    <a16:creationId xmlns:a16="http://schemas.microsoft.com/office/drawing/2014/main" id="{2C858737-8DBE-4F90-9074-7AD523BAB73C}"/>
                  </a:ext>
                </a:extLst>
              </p:cNvPr>
              <p:cNvSpPr>
                <a:spLocks/>
              </p:cNvSpPr>
              <p:nvPr/>
            </p:nvSpPr>
            <p:spPr bwMode="auto">
              <a:xfrm>
                <a:off x="5077489" y="3631988"/>
                <a:ext cx="32642" cy="67463"/>
              </a:xfrm>
              <a:custGeom>
                <a:avLst/>
                <a:gdLst>
                  <a:gd name="T0" fmla="*/ 28 w 44"/>
                  <a:gd name="T1" fmla="*/ 36 h 87"/>
                  <a:gd name="T2" fmla="*/ 9 w 44"/>
                  <a:gd name="T3" fmla="*/ 67 h 87"/>
                  <a:gd name="T4" fmla="*/ 9 w 44"/>
                  <a:gd name="T5" fmla="*/ 87 h 87"/>
                  <a:gd name="T6" fmla="*/ 25 w 44"/>
                  <a:gd name="T7" fmla="*/ 87 h 87"/>
                  <a:gd name="T8" fmla="*/ 25 w 44"/>
                  <a:gd name="T9" fmla="*/ 67 h 87"/>
                  <a:gd name="T10" fmla="*/ 44 w 44"/>
                  <a:gd name="T11" fmla="*/ 36 h 87"/>
                  <a:gd name="T12" fmla="*/ 8 w 44"/>
                  <a:gd name="T13" fmla="*/ 0 h 87"/>
                  <a:gd name="T14" fmla="*/ 0 w 44"/>
                  <a:gd name="T15" fmla="*/ 1 h 87"/>
                  <a:gd name="T16" fmla="*/ 28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28" y="36"/>
                    </a:moveTo>
                    <a:cubicBezTo>
                      <a:pt x="28" y="50"/>
                      <a:pt x="20" y="61"/>
                      <a:pt x="9" y="67"/>
                    </a:cubicBezTo>
                    <a:cubicBezTo>
                      <a:pt x="9" y="87"/>
                      <a:pt x="9" y="87"/>
                      <a:pt x="9" y="87"/>
                    </a:cubicBezTo>
                    <a:cubicBezTo>
                      <a:pt x="25" y="87"/>
                      <a:pt x="25" y="87"/>
                      <a:pt x="25" y="87"/>
                    </a:cubicBezTo>
                    <a:cubicBezTo>
                      <a:pt x="25" y="67"/>
                      <a:pt x="25" y="67"/>
                      <a:pt x="25" y="67"/>
                    </a:cubicBezTo>
                    <a:cubicBezTo>
                      <a:pt x="36" y="61"/>
                      <a:pt x="44" y="50"/>
                      <a:pt x="44" y="36"/>
                    </a:cubicBezTo>
                    <a:cubicBezTo>
                      <a:pt x="44" y="16"/>
                      <a:pt x="28" y="0"/>
                      <a:pt x="8" y="0"/>
                    </a:cubicBezTo>
                    <a:cubicBezTo>
                      <a:pt x="5" y="0"/>
                      <a:pt x="2" y="0"/>
                      <a:pt x="0" y="1"/>
                    </a:cubicBezTo>
                    <a:cubicBezTo>
                      <a:pt x="16" y="5"/>
                      <a:pt x="28" y="19"/>
                      <a:pt x="28"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73" name="Freeform 83">
                <a:extLst>
                  <a:ext uri="{FF2B5EF4-FFF2-40B4-BE49-F238E27FC236}">
                    <a16:creationId xmlns:a16="http://schemas.microsoft.com/office/drawing/2014/main" id="{17C5B094-185C-430E-AA37-E3E6E82B4E7E}"/>
                  </a:ext>
                </a:extLst>
              </p:cNvPr>
              <p:cNvSpPr>
                <a:spLocks/>
              </p:cNvSpPr>
              <p:nvPr/>
            </p:nvSpPr>
            <p:spPr bwMode="auto">
              <a:xfrm>
                <a:off x="5105779" y="3699451"/>
                <a:ext cx="17410" cy="10882"/>
              </a:xfrm>
              <a:custGeom>
                <a:avLst/>
                <a:gdLst>
                  <a:gd name="T0" fmla="*/ 8 w 24"/>
                  <a:gd name="T1" fmla="*/ 8 h 16"/>
                  <a:gd name="T2" fmla="*/ 0 w 24"/>
                  <a:gd name="T3" fmla="*/ 16 h 16"/>
                  <a:gd name="T4" fmla="*/ 16 w 24"/>
                  <a:gd name="T5" fmla="*/ 16 h 16"/>
                  <a:gd name="T6" fmla="*/ 24 w 24"/>
                  <a:gd name="T7" fmla="*/ 8 h 16"/>
                  <a:gd name="T8" fmla="*/ 16 w 24"/>
                  <a:gd name="T9" fmla="*/ 0 h 16"/>
                  <a:gd name="T10" fmla="*/ 0 w 24"/>
                  <a:gd name="T11" fmla="*/ 0 h 16"/>
                  <a:gd name="T12" fmla="*/ 8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8" y="8"/>
                    </a:moveTo>
                    <a:cubicBezTo>
                      <a:pt x="8" y="12"/>
                      <a:pt x="4" y="16"/>
                      <a:pt x="0" y="16"/>
                    </a:cubicBezTo>
                    <a:cubicBezTo>
                      <a:pt x="16" y="16"/>
                      <a:pt x="16" y="16"/>
                      <a:pt x="16" y="16"/>
                    </a:cubicBezTo>
                    <a:cubicBezTo>
                      <a:pt x="20" y="16"/>
                      <a:pt x="24" y="12"/>
                      <a:pt x="24" y="8"/>
                    </a:cubicBezTo>
                    <a:cubicBezTo>
                      <a:pt x="24" y="3"/>
                      <a:pt x="20" y="0"/>
                      <a:pt x="16" y="0"/>
                    </a:cubicBezTo>
                    <a:cubicBezTo>
                      <a:pt x="0" y="0"/>
                      <a:pt x="0" y="0"/>
                      <a:pt x="0" y="0"/>
                    </a:cubicBezTo>
                    <a:cubicBezTo>
                      <a:pt x="4" y="0"/>
                      <a:pt x="8" y="3"/>
                      <a:pt x="8"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74" name="Freeform 84">
                <a:extLst>
                  <a:ext uri="{FF2B5EF4-FFF2-40B4-BE49-F238E27FC236}">
                    <a16:creationId xmlns:a16="http://schemas.microsoft.com/office/drawing/2014/main" id="{7E0E7F6F-78BA-4306-91FC-B3D80FB48FCA}"/>
                  </a:ext>
                </a:extLst>
              </p:cNvPr>
              <p:cNvSpPr>
                <a:spLocks/>
              </p:cNvSpPr>
              <p:nvPr/>
            </p:nvSpPr>
            <p:spPr bwMode="auto">
              <a:xfrm>
                <a:off x="5084017" y="3710331"/>
                <a:ext cx="76166" cy="463531"/>
              </a:xfrm>
              <a:custGeom>
                <a:avLst/>
                <a:gdLst>
                  <a:gd name="T0" fmla="*/ 16 w 98"/>
                  <a:gd name="T1" fmla="*/ 565 h 600"/>
                  <a:gd name="T2" fmla="*/ 16 w 98"/>
                  <a:gd name="T3" fmla="*/ 0 h 600"/>
                  <a:gd name="T4" fmla="*/ 0 w 98"/>
                  <a:gd name="T5" fmla="*/ 0 h 600"/>
                  <a:gd name="T6" fmla="*/ 0 w 98"/>
                  <a:gd name="T7" fmla="*/ 565 h 600"/>
                  <a:gd name="T8" fmla="*/ 82 w 98"/>
                  <a:gd name="T9" fmla="*/ 600 h 600"/>
                  <a:gd name="T10" fmla="*/ 98 w 98"/>
                  <a:gd name="T11" fmla="*/ 600 h 600"/>
                  <a:gd name="T12" fmla="*/ 16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16" y="565"/>
                    </a:moveTo>
                    <a:cubicBezTo>
                      <a:pt x="16" y="0"/>
                      <a:pt x="16" y="0"/>
                      <a:pt x="16" y="0"/>
                    </a:cubicBezTo>
                    <a:cubicBezTo>
                      <a:pt x="0" y="0"/>
                      <a:pt x="0" y="0"/>
                      <a:pt x="0" y="0"/>
                    </a:cubicBezTo>
                    <a:cubicBezTo>
                      <a:pt x="0" y="565"/>
                      <a:pt x="0" y="565"/>
                      <a:pt x="0" y="565"/>
                    </a:cubicBezTo>
                    <a:cubicBezTo>
                      <a:pt x="31" y="569"/>
                      <a:pt x="60" y="581"/>
                      <a:pt x="82" y="600"/>
                    </a:cubicBezTo>
                    <a:cubicBezTo>
                      <a:pt x="98" y="600"/>
                      <a:pt x="98" y="600"/>
                      <a:pt x="98" y="600"/>
                    </a:cubicBezTo>
                    <a:cubicBezTo>
                      <a:pt x="76" y="581"/>
                      <a:pt x="47" y="569"/>
                      <a:pt x="16"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75" name="Freeform 85">
                <a:extLst>
                  <a:ext uri="{FF2B5EF4-FFF2-40B4-BE49-F238E27FC236}">
                    <a16:creationId xmlns:a16="http://schemas.microsoft.com/office/drawing/2014/main" id="{23192116-6A41-4898-BDD7-70FA7CE22248}"/>
                  </a:ext>
                </a:extLst>
              </p:cNvPr>
              <p:cNvSpPr>
                <a:spLocks/>
              </p:cNvSpPr>
              <p:nvPr/>
            </p:nvSpPr>
            <p:spPr bwMode="auto">
              <a:xfrm>
                <a:off x="4159133" y="3631988"/>
                <a:ext cx="154509" cy="541874"/>
              </a:xfrm>
              <a:custGeom>
                <a:avLst/>
                <a:gdLst>
                  <a:gd name="T0" fmla="*/ 198 w 198"/>
                  <a:gd name="T1" fmla="*/ 703 h 703"/>
                  <a:gd name="T2" fmla="*/ 0 w 198"/>
                  <a:gd name="T3" fmla="*/ 703 h 703"/>
                  <a:gd name="T4" fmla="*/ 82 w 198"/>
                  <a:gd name="T5" fmla="*/ 668 h 703"/>
                  <a:gd name="T6" fmla="*/ 82 w 198"/>
                  <a:gd name="T7" fmla="*/ 103 h 703"/>
                  <a:gd name="T8" fmla="*/ 55 w 198"/>
                  <a:gd name="T9" fmla="*/ 103 h 703"/>
                  <a:gd name="T10" fmla="*/ 47 w 198"/>
                  <a:gd name="T11" fmla="*/ 95 h 703"/>
                  <a:gd name="T12" fmla="*/ 55 w 198"/>
                  <a:gd name="T13" fmla="*/ 87 h 703"/>
                  <a:gd name="T14" fmla="*/ 82 w 198"/>
                  <a:gd name="T15" fmla="*/ 87 h 703"/>
                  <a:gd name="T16" fmla="*/ 82 w 198"/>
                  <a:gd name="T17" fmla="*/ 67 h 703"/>
                  <a:gd name="T18" fmla="*/ 63 w 198"/>
                  <a:gd name="T19" fmla="*/ 36 h 703"/>
                  <a:gd name="T20" fmla="*/ 99 w 198"/>
                  <a:gd name="T21" fmla="*/ 0 h 703"/>
                  <a:gd name="T22" fmla="*/ 135 w 198"/>
                  <a:gd name="T23" fmla="*/ 36 h 703"/>
                  <a:gd name="T24" fmla="*/ 116 w 198"/>
                  <a:gd name="T25" fmla="*/ 67 h 703"/>
                  <a:gd name="T26" fmla="*/ 116 w 198"/>
                  <a:gd name="T27" fmla="*/ 87 h 703"/>
                  <a:gd name="T28" fmla="*/ 143 w 198"/>
                  <a:gd name="T29" fmla="*/ 87 h 703"/>
                  <a:gd name="T30" fmla="*/ 151 w 198"/>
                  <a:gd name="T31" fmla="*/ 95 h 703"/>
                  <a:gd name="T32" fmla="*/ 143 w 198"/>
                  <a:gd name="T33" fmla="*/ 103 h 703"/>
                  <a:gd name="T34" fmla="*/ 116 w 198"/>
                  <a:gd name="T35" fmla="*/ 103 h 703"/>
                  <a:gd name="T36" fmla="*/ 116 w 198"/>
                  <a:gd name="T37" fmla="*/ 668 h 703"/>
                  <a:gd name="T38" fmla="*/ 198 w 198"/>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703">
                    <a:moveTo>
                      <a:pt x="198" y="703"/>
                    </a:moveTo>
                    <a:cubicBezTo>
                      <a:pt x="0" y="703"/>
                      <a:pt x="0" y="703"/>
                      <a:pt x="0" y="703"/>
                    </a:cubicBezTo>
                    <a:cubicBezTo>
                      <a:pt x="22" y="684"/>
                      <a:pt x="51" y="672"/>
                      <a:pt x="82" y="668"/>
                    </a:cubicBezTo>
                    <a:cubicBezTo>
                      <a:pt x="82" y="103"/>
                      <a:pt x="82" y="103"/>
                      <a:pt x="82" y="103"/>
                    </a:cubicBezTo>
                    <a:cubicBezTo>
                      <a:pt x="55" y="103"/>
                      <a:pt x="55" y="103"/>
                      <a:pt x="55" y="103"/>
                    </a:cubicBezTo>
                    <a:cubicBezTo>
                      <a:pt x="51" y="103"/>
                      <a:pt x="47" y="99"/>
                      <a:pt x="47" y="95"/>
                    </a:cubicBezTo>
                    <a:cubicBezTo>
                      <a:pt x="47" y="90"/>
                      <a:pt x="51" y="87"/>
                      <a:pt x="55" y="87"/>
                    </a:cubicBezTo>
                    <a:cubicBezTo>
                      <a:pt x="82" y="87"/>
                      <a:pt x="82" y="87"/>
                      <a:pt x="82" y="87"/>
                    </a:cubicBezTo>
                    <a:cubicBezTo>
                      <a:pt x="82" y="67"/>
                      <a:pt x="82" y="67"/>
                      <a:pt x="82" y="67"/>
                    </a:cubicBezTo>
                    <a:cubicBezTo>
                      <a:pt x="71" y="61"/>
                      <a:pt x="63" y="50"/>
                      <a:pt x="63" y="36"/>
                    </a:cubicBezTo>
                    <a:cubicBezTo>
                      <a:pt x="63" y="16"/>
                      <a:pt x="79" y="0"/>
                      <a:pt x="99" y="0"/>
                    </a:cubicBezTo>
                    <a:cubicBezTo>
                      <a:pt x="119" y="0"/>
                      <a:pt x="135" y="16"/>
                      <a:pt x="135" y="36"/>
                    </a:cubicBezTo>
                    <a:cubicBezTo>
                      <a:pt x="135" y="50"/>
                      <a:pt x="127" y="61"/>
                      <a:pt x="116" y="67"/>
                    </a:cubicBezTo>
                    <a:cubicBezTo>
                      <a:pt x="116" y="87"/>
                      <a:pt x="116" y="87"/>
                      <a:pt x="116" y="87"/>
                    </a:cubicBezTo>
                    <a:cubicBezTo>
                      <a:pt x="143" y="87"/>
                      <a:pt x="143" y="87"/>
                      <a:pt x="143" y="87"/>
                    </a:cubicBezTo>
                    <a:cubicBezTo>
                      <a:pt x="147" y="87"/>
                      <a:pt x="151" y="90"/>
                      <a:pt x="151" y="95"/>
                    </a:cubicBezTo>
                    <a:cubicBezTo>
                      <a:pt x="151" y="99"/>
                      <a:pt x="147" y="103"/>
                      <a:pt x="143" y="103"/>
                    </a:cubicBezTo>
                    <a:cubicBezTo>
                      <a:pt x="116" y="103"/>
                      <a:pt x="116" y="103"/>
                      <a:pt x="116" y="103"/>
                    </a:cubicBezTo>
                    <a:cubicBezTo>
                      <a:pt x="116" y="668"/>
                      <a:pt x="116" y="668"/>
                      <a:pt x="116" y="668"/>
                    </a:cubicBezTo>
                    <a:cubicBezTo>
                      <a:pt x="147" y="672"/>
                      <a:pt x="176" y="684"/>
                      <a:pt x="198"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76" name="Freeform 86">
                <a:extLst>
                  <a:ext uri="{FF2B5EF4-FFF2-40B4-BE49-F238E27FC236}">
                    <a16:creationId xmlns:a16="http://schemas.microsoft.com/office/drawing/2014/main" id="{6E99FD58-4903-4D63-B306-22D3403B9CBD}"/>
                  </a:ext>
                </a:extLst>
              </p:cNvPr>
              <p:cNvSpPr>
                <a:spLocks/>
              </p:cNvSpPr>
              <p:nvPr/>
            </p:nvSpPr>
            <p:spPr bwMode="auto">
              <a:xfrm>
                <a:off x="4207010" y="3631988"/>
                <a:ext cx="34819" cy="67463"/>
              </a:xfrm>
              <a:custGeom>
                <a:avLst/>
                <a:gdLst>
                  <a:gd name="T0" fmla="*/ 16 w 44"/>
                  <a:gd name="T1" fmla="*/ 36 h 87"/>
                  <a:gd name="T2" fmla="*/ 35 w 44"/>
                  <a:gd name="T3" fmla="*/ 67 h 87"/>
                  <a:gd name="T4" fmla="*/ 35 w 44"/>
                  <a:gd name="T5" fmla="*/ 87 h 87"/>
                  <a:gd name="T6" fmla="*/ 19 w 44"/>
                  <a:gd name="T7" fmla="*/ 87 h 87"/>
                  <a:gd name="T8" fmla="*/ 19 w 44"/>
                  <a:gd name="T9" fmla="*/ 67 h 87"/>
                  <a:gd name="T10" fmla="*/ 0 w 44"/>
                  <a:gd name="T11" fmla="*/ 36 h 87"/>
                  <a:gd name="T12" fmla="*/ 36 w 44"/>
                  <a:gd name="T13" fmla="*/ 0 h 87"/>
                  <a:gd name="T14" fmla="*/ 44 w 44"/>
                  <a:gd name="T15" fmla="*/ 1 h 87"/>
                  <a:gd name="T16" fmla="*/ 16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16" y="36"/>
                    </a:moveTo>
                    <a:cubicBezTo>
                      <a:pt x="16" y="50"/>
                      <a:pt x="24" y="61"/>
                      <a:pt x="35" y="67"/>
                    </a:cubicBezTo>
                    <a:cubicBezTo>
                      <a:pt x="35" y="87"/>
                      <a:pt x="35" y="87"/>
                      <a:pt x="35" y="87"/>
                    </a:cubicBezTo>
                    <a:cubicBezTo>
                      <a:pt x="19" y="87"/>
                      <a:pt x="19" y="87"/>
                      <a:pt x="19" y="87"/>
                    </a:cubicBezTo>
                    <a:cubicBezTo>
                      <a:pt x="19" y="67"/>
                      <a:pt x="19" y="67"/>
                      <a:pt x="19" y="67"/>
                    </a:cubicBezTo>
                    <a:cubicBezTo>
                      <a:pt x="8" y="61"/>
                      <a:pt x="0" y="50"/>
                      <a:pt x="0" y="36"/>
                    </a:cubicBezTo>
                    <a:cubicBezTo>
                      <a:pt x="0" y="16"/>
                      <a:pt x="16" y="0"/>
                      <a:pt x="36" y="0"/>
                    </a:cubicBezTo>
                    <a:cubicBezTo>
                      <a:pt x="39" y="0"/>
                      <a:pt x="41" y="0"/>
                      <a:pt x="44" y="1"/>
                    </a:cubicBezTo>
                    <a:cubicBezTo>
                      <a:pt x="28" y="5"/>
                      <a:pt x="16" y="19"/>
                      <a:pt x="16"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77" name="Freeform 87">
                <a:extLst>
                  <a:ext uri="{FF2B5EF4-FFF2-40B4-BE49-F238E27FC236}">
                    <a16:creationId xmlns:a16="http://schemas.microsoft.com/office/drawing/2014/main" id="{DD4EDB5B-B4BC-401F-9768-E96C43660CDF}"/>
                  </a:ext>
                </a:extLst>
              </p:cNvPr>
              <p:cNvSpPr>
                <a:spLocks/>
              </p:cNvSpPr>
              <p:nvPr/>
            </p:nvSpPr>
            <p:spPr bwMode="auto">
              <a:xfrm>
                <a:off x="4196128" y="3699451"/>
                <a:ext cx="17410" cy="10882"/>
              </a:xfrm>
              <a:custGeom>
                <a:avLst/>
                <a:gdLst>
                  <a:gd name="T0" fmla="*/ 16 w 24"/>
                  <a:gd name="T1" fmla="*/ 8 h 16"/>
                  <a:gd name="T2" fmla="*/ 24 w 24"/>
                  <a:gd name="T3" fmla="*/ 16 h 16"/>
                  <a:gd name="T4" fmla="*/ 8 w 24"/>
                  <a:gd name="T5" fmla="*/ 16 h 16"/>
                  <a:gd name="T6" fmla="*/ 0 w 24"/>
                  <a:gd name="T7" fmla="*/ 8 h 16"/>
                  <a:gd name="T8" fmla="*/ 8 w 24"/>
                  <a:gd name="T9" fmla="*/ 0 h 16"/>
                  <a:gd name="T10" fmla="*/ 24 w 24"/>
                  <a:gd name="T11" fmla="*/ 0 h 16"/>
                  <a:gd name="T12" fmla="*/ 16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16" y="8"/>
                    </a:moveTo>
                    <a:cubicBezTo>
                      <a:pt x="16" y="12"/>
                      <a:pt x="20" y="16"/>
                      <a:pt x="24" y="16"/>
                    </a:cubicBezTo>
                    <a:cubicBezTo>
                      <a:pt x="8" y="16"/>
                      <a:pt x="8" y="16"/>
                      <a:pt x="8" y="16"/>
                    </a:cubicBezTo>
                    <a:cubicBezTo>
                      <a:pt x="4" y="16"/>
                      <a:pt x="0" y="12"/>
                      <a:pt x="0" y="8"/>
                    </a:cubicBezTo>
                    <a:cubicBezTo>
                      <a:pt x="0" y="3"/>
                      <a:pt x="4" y="0"/>
                      <a:pt x="8" y="0"/>
                    </a:cubicBezTo>
                    <a:cubicBezTo>
                      <a:pt x="24" y="0"/>
                      <a:pt x="24" y="0"/>
                      <a:pt x="24" y="0"/>
                    </a:cubicBezTo>
                    <a:cubicBezTo>
                      <a:pt x="20" y="0"/>
                      <a:pt x="16" y="3"/>
                      <a:pt x="16"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78" name="Freeform 88">
                <a:extLst>
                  <a:ext uri="{FF2B5EF4-FFF2-40B4-BE49-F238E27FC236}">
                    <a16:creationId xmlns:a16="http://schemas.microsoft.com/office/drawing/2014/main" id="{335A5F76-7746-4D71-9FB0-83DC2AEDC094}"/>
                  </a:ext>
                </a:extLst>
              </p:cNvPr>
              <p:cNvSpPr>
                <a:spLocks/>
              </p:cNvSpPr>
              <p:nvPr/>
            </p:nvSpPr>
            <p:spPr bwMode="auto">
              <a:xfrm>
                <a:off x="4159133" y="3710331"/>
                <a:ext cx="76166" cy="463531"/>
              </a:xfrm>
              <a:custGeom>
                <a:avLst/>
                <a:gdLst>
                  <a:gd name="T0" fmla="*/ 82 w 98"/>
                  <a:gd name="T1" fmla="*/ 565 h 600"/>
                  <a:gd name="T2" fmla="*/ 82 w 98"/>
                  <a:gd name="T3" fmla="*/ 0 h 600"/>
                  <a:gd name="T4" fmla="*/ 98 w 98"/>
                  <a:gd name="T5" fmla="*/ 0 h 600"/>
                  <a:gd name="T6" fmla="*/ 98 w 98"/>
                  <a:gd name="T7" fmla="*/ 565 h 600"/>
                  <a:gd name="T8" fmla="*/ 16 w 98"/>
                  <a:gd name="T9" fmla="*/ 600 h 600"/>
                  <a:gd name="T10" fmla="*/ 0 w 98"/>
                  <a:gd name="T11" fmla="*/ 600 h 600"/>
                  <a:gd name="T12" fmla="*/ 82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82" y="565"/>
                    </a:moveTo>
                    <a:cubicBezTo>
                      <a:pt x="82" y="0"/>
                      <a:pt x="82" y="0"/>
                      <a:pt x="82" y="0"/>
                    </a:cubicBezTo>
                    <a:cubicBezTo>
                      <a:pt x="98" y="0"/>
                      <a:pt x="98" y="0"/>
                      <a:pt x="98" y="0"/>
                    </a:cubicBezTo>
                    <a:cubicBezTo>
                      <a:pt x="98" y="565"/>
                      <a:pt x="98" y="565"/>
                      <a:pt x="98" y="565"/>
                    </a:cubicBezTo>
                    <a:cubicBezTo>
                      <a:pt x="67" y="569"/>
                      <a:pt x="38" y="581"/>
                      <a:pt x="16" y="600"/>
                    </a:cubicBezTo>
                    <a:cubicBezTo>
                      <a:pt x="0" y="600"/>
                      <a:pt x="0" y="600"/>
                      <a:pt x="0" y="600"/>
                    </a:cubicBezTo>
                    <a:cubicBezTo>
                      <a:pt x="22" y="581"/>
                      <a:pt x="51" y="569"/>
                      <a:pt x="82"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79" name="Freeform 89">
                <a:extLst>
                  <a:ext uri="{FF2B5EF4-FFF2-40B4-BE49-F238E27FC236}">
                    <a16:creationId xmlns:a16="http://schemas.microsoft.com/office/drawing/2014/main" id="{38DC3DB2-5736-4D95-BB38-DE7115552DCD}"/>
                  </a:ext>
                </a:extLst>
              </p:cNvPr>
              <p:cNvSpPr>
                <a:spLocks/>
              </p:cNvSpPr>
              <p:nvPr/>
            </p:nvSpPr>
            <p:spPr bwMode="auto">
              <a:xfrm>
                <a:off x="4263591" y="3686394"/>
                <a:ext cx="63109" cy="50053"/>
              </a:xfrm>
              <a:custGeom>
                <a:avLst/>
                <a:gdLst>
                  <a:gd name="T0" fmla="*/ 1 w 81"/>
                  <a:gd name="T1" fmla="*/ 19 h 67"/>
                  <a:gd name="T2" fmla="*/ 18 w 81"/>
                  <a:gd name="T3" fmla="*/ 9 h 67"/>
                  <a:gd name="T4" fmla="*/ 32 w 81"/>
                  <a:gd name="T5" fmla="*/ 14 h 67"/>
                  <a:gd name="T6" fmla="*/ 69 w 81"/>
                  <a:gd name="T7" fmla="*/ 6 h 67"/>
                  <a:gd name="T8" fmla="*/ 81 w 81"/>
                  <a:gd name="T9" fmla="*/ 12 h 67"/>
                  <a:gd name="T10" fmla="*/ 54 w 81"/>
                  <a:gd name="T11" fmla="*/ 67 h 67"/>
                  <a:gd name="T12" fmla="*/ 42 w 81"/>
                  <a:gd name="T13" fmla="*/ 61 h 67"/>
                  <a:gd name="T14" fmla="*/ 28 w 81"/>
                  <a:gd name="T15" fmla="*/ 21 h 67"/>
                  <a:gd name="T16" fmla="*/ 18 w 81"/>
                  <a:gd name="T17" fmla="*/ 17 h 67"/>
                  <a:gd name="T18" fmla="*/ 8 w 81"/>
                  <a:gd name="T19" fmla="*/ 23 h 67"/>
                  <a:gd name="T20" fmla="*/ 2 w 81"/>
                  <a:gd name="T21" fmla="*/ 25 h 67"/>
                  <a:gd name="T22" fmla="*/ 1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1" y="19"/>
                    </a:moveTo>
                    <a:cubicBezTo>
                      <a:pt x="4" y="13"/>
                      <a:pt x="11" y="9"/>
                      <a:pt x="18" y="9"/>
                    </a:cubicBezTo>
                    <a:cubicBezTo>
                      <a:pt x="24" y="9"/>
                      <a:pt x="29" y="11"/>
                      <a:pt x="32" y="14"/>
                    </a:cubicBezTo>
                    <a:cubicBezTo>
                      <a:pt x="41" y="4"/>
                      <a:pt x="56" y="0"/>
                      <a:pt x="69" y="6"/>
                    </a:cubicBezTo>
                    <a:cubicBezTo>
                      <a:pt x="81" y="12"/>
                      <a:pt x="81" y="12"/>
                      <a:pt x="81" y="12"/>
                    </a:cubicBezTo>
                    <a:cubicBezTo>
                      <a:pt x="54" y="67"/>
                      <a:pt x="54" y="67"/>
                      <a:pt x="54" y="67"/>
                    </a:cubicBezTo>
                    <a:cubicBezTo>
                      <a:pt x="42" y="61"/>
                      <a:pt x="42" y="61"/>
                      <a:pt x="42" y="61"/>
                    </a:cubicBezTo>
                    <a:cubicBezTo>
                      <a:pt x="27" y="54"/>
                      <a:pt x="21" y="36"/>
                      <a:pt x="28" y="21"/>
                    </a:cubicBezTo>
                    <a:cubicBezTo>
                      <a:pt x="26" y="18"/>
                      <a:pt x="22" y="17"/>
                      <a:pt x="18" y="17"/>
                    </a:cubicBezTo>
                    <a:cubicBezTo>
                      <a:pt x="14" y="17"/>
                      <a:pt x="10" y="19"/>
                      <a:pt x="8" y="23"/>
                    </a:cubicBezTo>
                    <a:cubicBezTo>
                      <a:pt x="7" y="25"/>
                      <a:pt x="4" y="26"/>
                      <a:pt x="2" y="25"/>
                    </a:cubicBezTo>
                    <a:cubicBezTo>
                      <a:pt x="0" y="24"/>
                      <a:pt x="0" y="21"/>
                      <a:pt x="1"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80" name="Freeform 90">
                <a:extLst>
                  <a:ext uri="{FF2B5EF4-FFF2-40B4-BE49-F238E27FC236}">
                    <a16:creationId xmlns:a16="http://schemas.microsoft.com/office/drawing/2014/main" id="{89C93A06-6EDC-4E62-83F8-17FC5CB20630}"/>
                  </a:ext>
                </a:extLst>
              </p:cNvPr>
              <p:cNvSpPr>
                <a:spLocks/>
              </p:cNvSpPr>
              <p:nvPr/>
            </p:nvSpPr>
            <p:spPr bwMode="auto">
              <a:xfrm>
                <a:off x="4994794" y="3686394"/>
                <a:ext cx="60934" cy="50053"/>
              </a:xfrm>
              <a:custGeom>
                <a:avLst/>
                <a:gdLst>
                  <a:gd name="T0" fmla="*/ 80 w 81"/>
                  <a:gd name="T1" fmla="*/ 19 h 67"/>
                  <a:gd name="T2" fmla="*/ 62 w 81"/>
                  <a:gd name="T3" fmla="*/ 9 h 67"/>
                  <a:gd name="T4" fmla="*/ 48 w 81"/>
                  <a:gd name="T5" fmla="*/ 14 h 67"/>
                  <a:gd name="T6" fmla="*/ 11 w 81"/>
                  <a:gd name="T7" fmla="*/ 6 h 67"/>
                  <a:gd name="T8" fmla="*/ 0 w 81"/>
                  <a:gd name="T9" fmla="*/ 12 h 67"/>
                  <a:gd name="T10" fmla="*/ 27 w 81"/>
                  <a:gd name="T11" fmla="*/ 67 h 67"/>
                  <a:gd name="T12" fmla="*/ 38 w 81"/>
                  <a:gd name="T13" fmla="*/ 61 h 67"/>
                  <a:gd name="T14" fmla="*/ 53 w 81"/>
                  <a:gd name="T15" fmla="*/ 21 h 67"/>
                  <a:gd name="T16" fmla="*/ 62 w 81"/>
                  <a:gd name="T17" fmla="*/ 17 h 67"/>
                  <a:gd name="T18" fmla="*/ 73 w 81"/>
                  <a:gd name="T19" fmla="*/ 23 h 67"/>
                  <a:gd name="T20" fmla="*/ 78 w 81"/>
                  <a:gd name="T21" fmla="*/ 25 h 67"/>
                  <a:gd name="T22" fmla="*/ 80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80" y="19"/>
                    </a:moveTo>
                    <a:cubicBezTo>
                      <a:pt x="76" y="13"/>
                      <a:pt x="69" y="9"/>
                      <a:pt x="62" y="9"/>
                    </a:cubicBezTo>
                    <a:cubicBezTo>
                      <a:pt x="57" y="9"/>
                      <a:pt x="52" y="11"/>
                      <a:pt x="48" y="14"/>
                    </a:cubicBezTo>
                    <a:cubicBezTo>
                      <a:pt x="39" y="4"/>
                      <a:pt x="24" y="0"/>
                      <a:pt x="11" y="6"/>
                    </a:cubicBezTo>
                    <a:cubicBezTo>
                      <a:pt x="0" y="12"/>
                      <a:pt x="0" y="12"/>
                      <a:pt x="0" y="12"/>
                    </a:cubicBezTo>
                    <a:cubicBezTo>
                      <a:pt x="27" y="67"/>
                      <a:pt x="27" y="67"/>
                      <a:pt x="27" y="67"/>
                    </a:cubicBezTo>
                    <a:cubicBezTo>
                      <a:pt x="38" y="61"/>
                      <a:pt x="38" y="61"/>
                      <a:pt x="38" y="61"/>
                    </a:cubicBezTo>
                    <a:cubicBezTo>
                      <a:pt x="53" y="54"/>
                      <a:pt x="59" y="36"/>
                      <a:pt x="53" y="21"/>
                    </a:cubicBezTo>
                    <a:cubicBezTo>
                      <a:pt x="55" y="18"/>
                      <a:pt x="58" y="17"/>
                      <a:pt x="62" y="17"/>
                    </a:cubicBezTo>
                    <a:cubicBezTo>
                      <a:pt x="66" y="17"/>
                      <a:pt x="70" y="19"/>
                      <a:pt x="73" y="23"/>
                    </a:cubicBezTo>
                    <a:cubicBezTo>
                      <a:pt x="74" y="25"/>
                      <a:pt x="76" y="26"/>
                      <a:pt x="78" y="25"/>
                    </a:cubicBezTo>
                    <a:cubicBezTo>
                      <a:pt x="80" y="24"/>
                      <a:pt x="81" y="21"/>
                      <a:pt x="80"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81" name="Freeform 91">
                <a:extLst>
                  <a:ext uri="{FF2B5EF4-FFF2-40B4-BE49-F238E27FC236}">
                    <a16:creationId xmlns:a16="http://schemas.microsoft.com/office/drawing/2014/main" id="{3AB3E952-C0E4-4F4D-80FE-3973EBAD7C39}"/>
                  </a:ext>
                </a:extLst>
              </p:cNvPr>
              <p:cNvSpPr>
                <a:spLocks/>
              </p:cNvSpPr>
              <p:nvPr/>
            </p:nvSpPr>
            <p:spPr bwMode="auto">
              <a:xfrm>
                <a:off x="4307115" y="3699451"/>
                <a:ext cx="705089" cy="110987"/>
              </a:xfrm>
              <a:custGeom>
                <a:avLst/>
                <a:gdLst>
                  <a:gd name="T0" fmla="*/ 455 w 910"/>
                  <a:gd name="T1" fmla="*/ 145 h 145"/>
                  <a:gd name="T2" fmla="*/ 0 w 910"/>
                  <a:gd name="T3" fmla="*/ 46 h 145"/>
                  <a:gd name="T4" fmla="*/ 22 w 910"/>
                  <a:gd name="T5" fmla="*/ 0 h 145"/>
                  <a:gd name="T6" fmla="*/ 455 w 910"/>
                  <a:gd name="T7" fmla="*/ 93 h 145"/>
                  <a:gd name="T8" fmla="*/ 887 w 910"/>
                  <a:gd name="T9" fmla="*/ 0 h 145"/>
                  <a:gd name="T10" fmla="*/ 910 w 910"/>
                  <a:gd name="T11" fmla="*/ 46 h 145"/>
                  <a:gd name="T12" fmla="*/ 455 w 910"/>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910" h="145">
                    <a:moveTo>
                      <a:pt x="455" y="145"/>
                    </a:moveTo>
                    <a:cubicBezTo>
                      <a:pt x="282" y="145"/>
                      <a:pt x="138" y="114"/>
                      <a:pt x="0" y="46"/>
                    </a:cubicBezTo>
                    <a:cubicBezTo>
                      <a:pt x="22" y="0"/>
                      <a:pt x="22" y="0"/>
                      <a:pt x="22" y="0"/>
                    </a:cubicBezTo>
                    <a:cubicBezTo>
                      <a:pt x="194" y="84"/>
                      <a:pt x="351" y="93"/>
                      <a:pt x="455" y="93"/>
                    </a:cubicBezTo>
                    <a:cubicBezTo>
                      <a:pt x="670" y="93"/>
                      <a:pt x="805" y="40"/>
                      <a:pt x="887" y="0"/>
                    </a:cubicBezTo>
                    <a:cubicBezTo>
                      <a:pt x="910" y="46"/>
                      <a:pt x="910" y="46"/>
                      <a:pt x="910" y="46"/>
                    </a:cubicBezTo>
                    <a:cubicBezTo>
                      <a:pt x="772" y="114"/>
                      <a:pt x="627" y="145"/>
                      <a:pt x="455" y="14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82" name="Freeform 92">
                <a:extLst>
                  <a:ext uri="{FF2B5EF4-FFF2-40B4-BE49-F238E27FC236}">
                    <a16:creationId xmlns:a16="http://schemas.microsoft.com/office/drawing/2014/main" id="{E69BB2FF-8B5F-4DE9-B91F-3D9E1B09C7A8}"/>
                  </a:ext>
                </a:extLst>
              </p:cNvPr>
              <p:cNvSpPr>
                <a:spLocks/>
              </p:cNvSpPr>
              <p:nvPr/>
            </p:nvSpPr>
            <p:spPr bwMode="auto">
              <a:xfrm>
                <a:off x="5005674" y="3701627"/>
                <a:ext cx="34819" cy="34819"/>
              </a:xfrm>
              <a:custGeom>
                <a:avLst/>
                <a:gdLst>
                  <a:gd name="T0" fmla="*/ 38 w 44"/>
                  <a:gd name="T1" fmla="*/ 0 h 45"/>
                  <a:gd name="T2" fmla="*/ 0 w 44"/>
                  <a:gd name="T3" fmla="*/ 21 h 45"/>
                  <a:gd name="T4" fmla="*/ 9 w 44"/>
                  <a:gd name="T5" fmla="*/ 39 h 45"/>
                  <a:gd name="T6" fmla="*/ 9 w 44"/>
                  <a:gd name="T7" fmla="*/ 39 h 45"/>
                  <a:gd name="T8" fmla="*/ 9 w 44"/>
                  <a:gd name="T9" fmla="*/ 39 h 45"/>
                  <a:gd name="T10" fmla="*/ 12 w 44"/>
                  <a:gd name="T11" fmla="*/ 45 h 45"/>
                  <a:gd name="T12" fmla="*/ 23 w 44"/>
                  <a:gd name="T13" fmla="*/ 39 h 45"/>
                  <a:gd name="T14" fmla="*/ 38 w 44"/>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5">
                    <a:moveTo>
                      <a:pt x="38" y="0"/>
                    </a:moveTo>
                    <a:cubicBezTo>
                      <a:pt x="26" y="7"/>
                      <a:pt x="13" y="14"/>
                      <a:pt x="0" y="21"/>
                    </a:cubicBezTo>
                    <a:cubicBezTo>
                      <a:pt x="9" y="39"/>
                      <a:pt x="9" y="39"/>
                      <a:pt x="9" y="39"/>
                    </a:cubicBezTo>
                    <a:cubicBezTo>
                      <a:pt x="9" y="39"/>
                      <a:pt x="9" y="39"/>
                      <a:pt x="9" y="39"/>
                    </a:cubicBezTo>
                    <a:cubicBezTo>
                      <a:pt x="9" y="39"/>
                      <a:pt x="9" y="39"/>
                      <a:pt x="9" y="39"/>
                    </a:cubicBezTo>
                    <a:cubicBezTo>
                      <a:pt x="12" y="45"/>
                      <a:pt x="12" y="45"/>
                      <a:pt x="12" y="45"/>
                    </a:cubicBezTo>
                    <a:cubicBezTo>
                      <a:pt x="23" y="39"/>
                      <a:pt x="23" y="39"/>
                      <a:pt x="23" y="39"/>
                    </a:cubicBezTo>
                    <a:cubicBezTo>
                      <a:pt x="38" y="32"/>
                      <a:pt x="44" y="15"/>
                      <a:pt x="38"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83" name="Freeform 93">
                <a:extLst>
                  <a:ext uri="{FF2B5EF4-FFF2-40B4-BE49-F238E27FC236}">
                    <a16:creationId xmlns:a16="http://schemas.microsoft.com/office/drawing/2014/main" id="{31620D0C-6F00-46E5-8F1E-80D633E51C0B}"/>
                  </a:ext>
                </a:extLst>
              </p:cNvPr>
              <p:cNvSpPr>
                <a:spLocks/>
              </p:cNvSpPr>
              <p:nvPr/>
            </p:nvSpPr>
            <p:spPr bwMode="auto">
              <a:xfrm>
                <a:off x="4281000" y="3701627"/>
                <a:ext cx="32642" cy="34819"/>
              </a:xfrm>
              <a:custGeom>
                <a:avLst/>
                <a:gdLst>
                  <a:gd name="T0" fmla="*/ 4 w 43"/>
                  <a:gd name="T1" fmla="*/ 0 h 45"/>
                  <a:gd name="T2" fmla="*/ 7 w 43"/>
                  <a:gd name="T3" fmla="*/ 29 h 45"/>
                  <a:gd name="T4" fmla="*/ 7 w 43"/>
                  <a:gd name="T5" fmla="*/ 29 h 45"/>
                  <a:gd name="T6" fmla="*/ 7 w 43"/>
                  <a:gd name="T7" fmla="*/ 29 h 45"/>
                  <a:gd name="T8" fmla="*/ 7 w 43"/>
                  <a:gd name="T9" fmla="*/ 29 h 45"/>
                  <a:gd name="T10" fmla="*/ 7 w 43"/>
                  <a:gd name="T11" fmla="*/ 29 h 45"/>
                  <a:gd name="T12" fmla="*/ 7 w 43"/>
                  <a:gd name="T13" fmla="*/ 29 h 45"/>
                  <a:gd name="T14" fmla="*/ 7 w 43"/>
                  <a:gd name="T15" fmla="*/ 29 h 45"/>
                  <a:gd name="T16" fmla="*/ 7 w 43"/>
                  <a:gd name="T17" fmla="*/ 29 h 45"/>
                  <a:gd name="T18" fmla="*/ 7 w 43"/>
                  <a:gd name="T19" fmla="*/ 29 h 45"/>
                  <a:gd name="T20" fmla="*/ 7 w 43"/>
                  <a:gd name="T21" fmla="*/ 29 h 45"/>
                  <a:gd name="T22" fmla="*/ 7 w 43"/>
                  <a:gd name="T23" fmla="*/ 29 h 45"/>
                  <a:gd name="T24" fmla="*/ 8 w 43"/>
                  <a:gd name="T25" fmla="*/ 29 h 45"/>
                  <a:gd name="T26" fmla="*/ 8 w 43"/>
                  <a:gd name="T27" fmla="*/ 29 h 45"/>
                  <a:gd name="T28" fmla="*/ 8 w 43"/>
                  <a:gd name="T29" fmla="*/ 29 h 45"/>
                  <a:gd name="T30" fmla="*/ 8 w 43"/>
                  <a:gd name="T31" fmla="*/ 30 h 45"/>
                  <a:gd name="T32" fmla="*/ 8 w 43"/>
                  <a:gd name="T33" fmla="*/ 30 h 45"/>
                  <a:gd name="T34" fmla="*/ 8 w 43"/>
                  <a:gd name="T35" fmla="*/ 30 h 45"/>
                  <a:gd name="T36" fmla="*/ 8 w 43"/>
                  <a:gd name="T37" fmla="*/ 30 h 45"/>
                  <a:gd name="T38" fmla="*/ 19 w 43"/>
                  <a:gd name="T39" fmla="*/ 39 h 45"/>
                  <a:gd name="T40" fmla="*/ 31 w 43"/>
                  <a:gd name="T41" fmla="*/ 45 h 45"/>
                  <a:gd name="T42" fmla="*/ 34 w 43"/>
                  <a:gd name="T43" fmla="*/ 39 h 45"/>
                  <a:gd name="T44" fmla="*/ 43 w 43"/>
                  <a:gd name="T45" fmla="*/ 21 h 45"/>
                  <a:gd name="T46" fmla="*/ 4 w 43"/>
                  <a:gd name="T4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45">
                    <a:moveTo>
                      <a:pt x="4" y="0"/>
                    </a:moveTo>
                    <a:cubicBezTo>
                      <a:pt x="0" y="10"/>
                      <a:pt x="2" y="20"/>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8" y="29"/>
                      <a:pt x="8" y="29"/>
                      <a:pt x="8" y="29"/>
                    </a:cubicBezTo>
                    <a:cubicBezTo>
                      <a:pt x="8" y="29"/>
                      <a:pt x="8" y="29"/>
                      <a:pt x="8" y="29"/>
                    </a:cubicBezTo>
                    <a:cubicBezTo>
                      <a:pt x="8" y="29"/>
                      <a:pt x="8" y="29"/>
                      <a:pt x="8" y="29"/>
                    </a:cubicBezTo>
                    <a:cubicBezTo>
                      <a:pt x="8" y="30"/>
                      <a:pt x="8" y="30"/>
                      <a:pt x="8" y="30"/>
                    </a:cubicBezTo>
                    <a:cubicBezTo>
                      <a:pt x="8" y="30"/>
                      <a:pt x="8" y="30"/>
                      <a:pt x="8" y="30"/>
                    </a:cubicBezTo>
                    <a:cubicBezTo>
                      <a:pt x="8" y="30"/>
                      <a:pt x="8" y="30"/>
                      <a:pt x="8" y="30"/>
                    </a:cubicBezTo>
                    <a:cubicBezTo>
                      <a:pt x="8" y="30"/>
                      <a:pt x="8" y="30"/>
                      <a:pt x="8" y="30"/>
                    </a:cubicBezTo>
                    <a:cubicBezTo>
                      <a:pt x="11" y="34"/>
                      <a:pt x="14" y="37"/>
                      <a:pt x="19" y="39"/>
                    </a:cubicBezTo>
                    <a:cubicBezTo>
                      <a:pt x="31" y="45"/>
                      <a:pt x="31" y="45"/>
                      <a:pt x="31" y="45"/>
                    </a:cubicBezTo>
                    <a:cubicBezTo>
                      <a:pt x="34" y="39"/>
                      <a:pt x="34" y="39"/>
                      <a:pt x="34" y="39"/>
                    </a:cubicBezTo>
                    <a:cubicBezTo>
                      <a:pt x="43" y="21"/>
                      <a:pt x="43" y="21"/>
                      <a:pt x="43" y="21"/>
                    </a:cubicBezTo>
                    <a:cubicBezTo>
                      <a:pt x="29" y="14"/>
                      <a:pt x="17" y="7"/>
                      <a:pt x="4"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84" name="Freeform 94">
                <a:extLst>
                  <a:ext uri="{FF2B5EF4-FFF2-40B4-BE49-F238E27FC236}">
                    <a16:creationId xmlns:a16="http://schemas.microsoft.com/office/drawing/2014/main" id="{58C097FC-5F9F-4FF1-B1F9-B55B7C147D3E}"/>
                  </a:ext>
                </a:extLst>
              </p:cNvPr>
              <p:cNvSpPr>
                <a:spLocks/>
              </p:cNvSpPr>
              <p:nvPr/>
            </p:nvSpPr>
            <p:spPr bwMode="auto">
              <a:xfrm>
                <a:off x="4307115" y="3719036"/>
                <a:ext cx="705089" cy="91400"/>
              </a:xfrm>
              <a:custGeom>
                <a:avLst/>
                <a:gdLst>
                  <a:gd name="T0" fmla="*/ 900 w 910"/>
                  <a:gd name="T1" fmla="*/ 0 h 119"/>
                  <a:gd name="T2" fmla="*/ 454 w 910"/>
                  <a:gd name="T3" fmla="*/ 94 h 119"/>
                  <a:gd name="T4" fmla="*/ 10 w 910"/>
                  <a:gd name="T5" fmla="*/ 0 h 119"/>
                  <a:gd name="T6" fmla="*/ 1 w 910"/>
                  <a:gd name="T7" fmla="*/ 18 h 119"/>
                  <a:gd name="T8" fmla="*/ 0 w 910"/>
                  <a:gd name="T9" fmla="*/ 20 h 119"/>
                  <a:gd name="T10" fmla="*/ 455 w 910"/>
                  <a:gd name="T11" fmla="*/ 119 h 119"/>
                  <a:gd name="T12" fmla="*/ 910 w 910"/>
                  <a:gd name="T13" fmla="*/ 20 h 119"/>
                  <a:gd name="T14" fmla="*/ 909 w 910"/>
                  <a:gd name="T15" fmla="*/ 18 h 119"/>
                  <a:gd name="T16" fmla="*/ 900 w 910"/>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119">
                    <a:moveTo>
                      <a:pt x="900" y="0"/>
                    </a:moveTo>
                    <a:cubicBezTo>
                      <a:pt x="783" y="58"/>
                      <a:pt x="626" y="94"/>
                      <a:pt x="454" y="94"/>
                    </a:cubicBezTo>
                    <a:cubicBezTo>
                      <a:pt x="283" y="94"/>
                      <a:pt x="126" y="58"/>
                      <a:pt x="10" y="0"/>
                    </a:cubicBezTo>
                    <a:cubicBezTo>
                      <a:pt x="1" y="18"/>
                      <a:pt x="1" y="18"/>
                      <a:pt x="1" y="18"/>
                    </a:cubicBezTo>
                    <a:cubicBezTo>
                      <a:pt x="0" y="20"/>
                      <a:pt x="0" y="20"/>
                      <a:pt x="0" y="20"/>
                    </a:cubicBezTo>
                    <a:cubicBezTo>
                      <a:pt x="138" y="88"/>
                      <a:pt x="282" y="119"/>
                      <a:pt x="455" y="119"/>
                    </a:cubicBezTo>
                    <a:cubicBezTo>
                      <a:pt x="627" y="119"/>
                      <a:pt x="772" y="88"/>
                      <a:pt x="910" y="20"/>
                    </a:cubicBezTo>
                    <a:cubicBezTo>
                      <a:pt x="909" y="18"/>
                      <a:pt x="909" y="18"/>
                      <a:pt x="909" y="18"/>
                    </a:cubicBezTo>
                    <a:cubicBezTo>
                      <a:pt x="900" y="0"/>
                      <a:pt x="900" y="0"/>
                      <a:pt x="900" y="0"/>
                    </a:cubicBezTo>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85" name="Freeform 95">
                <a:extLst>
                  <a:ext uri="{FF2B5EF4-FFF2-40B4-BE49-F238E27FC236}">
                    <a16:creationId xmlns:a16="http://schemas.microsoft.com/office/drawing/2014/main" id="{FAB23142-47D5-4858-83C5-E4FC3B8DDAE6}"/>
                  </a:ext>
                </a:extLst>
              </p:cNvPr>
              <p:cNvSpPr>
                <a:spLocks/>
              </p:cNvSpPr>
              <p:nvPr/>
            </p:nvSpPr>
            <p:spPr bwMode="auto">
              <a:xfrm>
                <a:off x="5044846" y="3114053"/>
                <a:ext cx="43524" cy="52229"/>
              </a:xfrm>
              <a:custGeom>
                <a:avLst/>
                <a:gdLst>
                  <a:gd name="T0" fmla="*/ 22 w 55"/>
                  <a:gd name="T1" fmla="*/ 61 h 67"/>
                  <a:gd name="T2" fmla="*/ 34 w 55"/>
                  <a:gd name="T3" fmla="*/ 65 h 67"/>
                  <a:gd name="T4" fmla="*/ 49 w 55"/>
                  <a:gd name="T5" fmla="*/ 57 h 67"/>
                  <a:gd name="T6" fmla="*/ 53 w 55"/>
                  <a:gd name="T7" fmla="*/ 45 h 67"/>
                  <a:gd name="T8" fmla="*/ 33 w 55"/>
                  <a:gd name="T9" fmla="*/ 6 h 67"/>
                  <a:gd name="T10" fmla="*/ 21 w 55"/>
                  <a:gd name="T11" fmla="*/ 2 h 67"/>
                  <a:gd name="T12" fmla="*/ 6 w 55"/>
                  <a:gd name="T13" fmla="*/ 10 h 67"/>
                  <a:gd name="T14" fmla="*/ 2 w 55"/>
                  <a:gd name="T15" fmla="*/ 22 h 67"/>
                  <a:gd name="T16" fmla="*/ 22 w 55"/>
                  <a:gd name="T17" fmla="*/ 6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67">
                    <a:moveTo>
                      <a:pt x="22" y="61"/>
                    </a:moveTo>
                    <a:cubicBezTo>
                      <a:pt x="24" y="65"/>
                      <a:pt x="29" y="67"/>
                      <a:pt x="34" y="65"/>
                    </a:cubicBezTo>
                    <a:cubicBezTo>
                      <a:pt x="49" y="57"/>
                      <a:pt x="49" y="57"/>
                      <a:pt x="49" y="57"/>
                    </a:cubicBezTo>
                    <a:cubicBezTo>
                      <a:pt x="53" y="55"/>
                      <a:pt x="55" y="50"/>
                      <a:pt x="53" y="45"/>
                    </a:cubicBezTo>
                    <a:cubicBezTo>
                      <a:pt x="33" y="6"/>
                      <a:pt x="33" y="6"/>
                      <a:pt x="33" y="6"/>
                    </a:cubicBezTo>
                    <a:cubicBezTo>
                      <a:pt x="31" y="2"/>
                      <a:pt x="26" y="0"/>
                      <a:pt x="21" y="2"/>
                    </a:cubicBezTo>
                    <a:cubicBezTo>
                      <a:pt x="6" y="10"/>
                      <a:pt x="6" y="10"/>
                      <a:pt x="6" y="10"/>
                    </a:cubicBezTo>
                    <a:cubicBezTo>
                      <a:pt x="2" y="12"/>
                      <a:pt x="0" y="17"/>
                      <a:pt x="2" y="22"/>
                    </a:cubicBezTo>
                    <a:lnTo>
                      <a:pt x="22"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86" name="Freeform 96">
                <a:extLst>
                  <a:ext uri="{FF2B5EF4-FFF2-40B4-BE49-F238E27FC236}">
                    <a16:creationId xmlns:a16="http://schemas.microsoft.com/office/drawing/2014/main" id="{0DA3595B-C2C1-4CD5-AF00-50E036950891}"/>
                  </a:ext>
                </a:extLst>
              </p:cNvPr>
              <p:cNvSpPr>
                <a:spLocks/>
              </p:cNvSpPr>
              <p:nvPr/>
            </p:nvSpPr>
            <p:spPr bwMode="auto">
              <a:xfrm>
                <a:off x="5249408" y="3109701"/>
                <a:ext cx="193681" cy="145806"/>
              </a:xfrm>
              <a:custGeom>
                <a:avLst/>
                <a:gdLst>
                  <a:gd name="T0" fmla="*/ 250 w 250"/>
                  <a:gd name="T1" fmla="*/ 190 h 190"/>
                  <a:gd name="T2" fmla="*/ 85 w 250"/>
                  <a:gd name="T3" fmla="*/ 190 h 190"/>
                  <a:gd name="T4" fmla="*/ 74 w 250"/>
                  <a:gd name="T5" fmla="*/ 183 h 190"/>
                  <a:gd name="T6" fmla="*/ 0 w 250"/>
                  <a:gd name="T7" fmla="*/ 10 h 190"/>
                  <a:gd name="T8" fmla="*/ 22 w 250"/>
                  <a:gd name="T9" fmla="*/ 0 h 190"/>
                  <a:gd name="T10" fmla="*/ 93 w 250"/>
                  <a:gd name="T11" fmla="*/ 166 h 190"/>
                  <a:gd name="T12" fmla="*/ 250 w 250"/>
                  <a:gd name="T13" fmla="*/ 166 h 190"/>
                  <a:gd name="T14" fmla="*/ 250 w 250"/>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190">
                    <a:moveTo>
                      <a:pt x="250" y="190"/>
                    </a:moveTo>
                    <a:cubicBezTo>
                      <a:pt x="85" y="190"/>
                      <a:pt x="85" y="190"/>
                      <a:pt x="85" y="190"/>
                    </a:cubicBezTo>
                    <a:cubicBezTo>
                      <a:pt x="81" y="190"/>
                      <a:pt x="76" y="187"/>
                      <a:pt x="74" y="183"/>
                    </a:cubicBezTo>
                    <a:cubicBezTo>
                      <a:pt x="0" y="10"/>
                      <a:pt x="0" y="10"/>
                      <a:pt x="0" y="10"/>
                    </a:cubicBezTo>
                    <a:cubicBezTo>
                      <a:pt x="22" y="0"/>
                      <a:pt x="22" y="0"/>
                      <a:pt x="22" y="0"/>
                    </a:cubicBezTo>
                    <a:cubicBezTo>
                      <a:pt x="93" y="166"/>
                      <a:pt x="93" y="166"/>
                      <a:pt x="93" y="166"/>
                    </a:cubicBezTo>
                    <a:cubicBezTo>
                      <a:pt x="250" y="166"/>
                      <a:pt x="250" y="166"/>
                      <a:pt x="250" y="166"/>
                    </a:cubicBezTo>
                    <a:lnTo>
                      <a:pt x="250" y="1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87" name="Oval 97">
                <a:extLst>
                  <a:ext uri="{FF2B5EF4-FFF2-40B4-BE49-F238E27FC236}">
                    <a16:creationId xmlns:a16="http://schemas.microsoft.com/office/drawing/2014/main" id="{30A2104F-BFC6-4840-8A5A-406CF2E94CC1}"/>
                  </a:ext>
                </a:extLst>
              </p:cNvPr>
              <p:cNvSpPr>
                <a:spLocks noChangeArrowheads="1"/>
              </p:cNvSpPr>
              <p:nvPr/>
            </p:nvSpPr>
            <p:spPr bwMode="auto">
              <a:xfrm>
                <a:off x="5212414" y="3072706"/>
                <a:ext cx="89223" cy="87048"/>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88" name="Oval 98">
                <a:extLst>
                  <a:ext uri="{FF2B5EF4-FFF2-40B4-BE49-F238E27FC236}">
                    <a16:creationId xmlns:a16="http://schemas.microsoft.com/office/drawing/2014/main" id="{6189B53E-85B7-48A0-BCBF-BC405569FEDE}"/>
                  </a:ext>
                </a:extLst>
              </p:cNvPr>
              <p:cNvSpPr>
                <a:spLocks noChangeArrowheads="1"/>
              </p:cNvSpPr>
              <p:nvPr/>
            </p:nvSpPr>
            <p:spPr bwMode="auto">
              <a:xfrm>
                <a:off x="5212414" y="3072706"/>
                <a:ext cx="89223" cy="8704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89" name="Freeform 99">
                <a:extLst>
                  <a:ext uri="{FF2B5EF4-FFF2-40B4-BE49-F238E27FC236}">
                    <a16:creationId xmlns:a16="http://schemas.microsoft.com/office/drawing/2014/main" id="{E7ED473F-BE6F-4524-9181-87FACA4B70EB}"/>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90" name="Freeform 100">
                <a:extLst>
                  <a:ext uri="{FF2B5EF4-FFF2-40B4-BE49-F238E27FC236}">
                    <a16:creationId xmlns:a16="http://schemas.microsoft.com/office/drawing/2014/main" id="{F46CCB1A-CA92-42E5-AA53-4B0BF2C33167}"/>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91" name="Freeform 101">
                <a:extLst>
                  <a:ext uri="{FF2B5EF4-FFF2-40B4-BE49-F238E27FC236}">
                    <a16:creationId xmlns:a16="http://schemas.microsoft.com/office/drawing/2014/main" id="{CBE46088-FEC1-41C3-A350-C9BCD4ACB70B}"/>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92" name="Freeform 102">
                <a:extLst>
                  <a:ext uri="{FF2B5EF4-FFF2-40B4-BE49-F238E27FC236}">
                    <a16:creationId xmlns:a16="http://schemas.microsoft.com/office/drawing/2014/main" id="{90B4FBC0-7188-40CD-B7D9-8EBF92D10545}"/>
                  </a:ext>
                </a:extLst>
              </p:cNvPr>
              <p:cNvSpPr>
                <a:spLocks/>
              </p:cNvSpPr>
              <p:nvPr/>
            </p:nvSpPr>
            <p:spPr bwMode="auto">
              <a:xfrm>
                <a:off x="5055727" y="3085763"/>
                <a:ext cx="69638" cy="84872"/>
              </a:xfrm>
              <a:custGeom>
                <a:avLst/>
                <a:gdLst>
                  <a:gd name="T0" fmla="*/ 36 w 90"/>
                  <a:gd name="T1" fmla="*/ 99 h 109"/>
                  <a:gd name="T2" fmla="*/ 55 w 90"/>
                  <a:gd name="T3" fmla="*/ 106 h 109"/>
                  <a:gd name="T4" fmla="*/ 80 w 90"/>
                  <a:gd name="T5" fmla="*/ 93 h 109"/>
                  <a:gd name="T6" fmla="*/ 86 w 90"/>
                  <a:gd name="T7" fmla="*/ 74 h 109"/>
                  <a:gd name="T8" fmla="*/ 54 w 90"/>
                  <a:gd name="T9" fmla="*/ 10 h 109"/>
                  <a:gd name="T10" fmla="*/ 35 w 90"/>
                  <a:gd name="T11" fmla="*/ 4 h 109"/>
                  <a:gd name="T12" fmla="*/ 10 w 90"/>
                  <a:gd name="T13" fmla="*/ 16 h 109"/>
                  <a:gd name="T14" fmla="*/ 4 w 90"/>
                  <a:gd name="T15" fmla="*/ 35 h 109"/>
                  <a:gd name="T16" fmla="*/ 36 w 90"/>
                  <a:gd name="T17"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09">
                    <a:moveTo>
                      <a:pt x="36" y="99"/>
                    </a:moveTo>
                    <a:cubicBezTo>
                      <a:pt x="39" y="106"/>
                      <a:pt x="48" y="109"/>
                      <a:pt x="55" y="106"/>
                    </a:cubicBezTo>
                    <a:cubicBezTo>
                      <a:pt x="80" y="93"/>
                      <a:pt x="80" y="93"/>
                      <a:pt x="80" y="93"/>
                    </a:cubicBezTo>
                    <a:cubicBezTo>
                      <a:pt x="87" y="90"/>
                      <a:pt x="90" y="81"/>
                      <a:pt x="86" y="74"/>
                    </a:cubicBezTo>
                    <a:cubicBezTo>
                      <a:pt x="54" y="10"/>
                      <a:pt x="54" y="10"/>
                      <a:pt x="54" y="10"/>
                    </a:cubicBezTo>
                    <a:cubicBezTo>
                      <a:pt x="51" y="3"/>
                      <a:pt x="42" y="0"/>
                      <a:pt x="35" y="4"/>
                    </a:cubicBezTo>
                    <a:cubicBezTo>
                      <a:pt x="10" y="16"/>
                      <a:pt x="10" y="16"/>
                      <a:pt x="10" y="16"/>
                    </a:cubicBezTo>
                    <a:cubicBezTo>
                      <a:pt x="3" y="20"/>
                      <a:pt x="0" y="28"/>
                      <a:pt x="4" y="35"/>
                    </a:cubicBezTo>
                    <a:lnTo>
                      <a:pt x="36"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93" name="Freeform 103">
                <a:extLst>
                  <a:ext uri="{FF2B5EF4-FFF2-40B4-BE49-F238E27FC236}">
                    <a16:creationId xmlns:a16="http://schemas.microsoft.com/office/drawing/2014/main" id="{8758B87E-B6E0-4D00-839A-C010B0558497}"/>
                  </a:ext>
                </a:extLst>
              </p:cNvPr>
              <p:cNvSpPr>
                <a:spLocks/>
              </p:cNvSpPr>
              <p:nvPr/>
            </p:nvSpPr>
            <p:spPr bwMode="auto">
              <a:xfrm>
                <a:off x="5068784" y="2946486"/>
                <a:ext cx="311196" cy="230677"/>
              </a:xfrm>
              <a:custGeom>
                <a:avLst/>
                <a:gdLst>
                  <a:gd name="T0" fmla="*/ 373 w 401"/>
                  <a:gd name="T1" fmla="*/ 156 h 301"/>
                  <a:gd name="T2" fmla="*/ 391 w 401"/>
                  <a:gd name="T3" fmla="*/ 102 h 301"/>
                  <a:gd name="T4" fmla="*/ 354 w 401"/>
                  <a:gd name="T5" fmla="*/ 28 h 301"/>
                  <a:gd name="T6" fmla="*/ 300 w 401"/>
                  <a:gd name="T7" fmla="*/ 10 h 301"/>
                  <a:gd name="T8" fmla="*/ 27 w 401"/>
                  <a:gd name="T9" fmla="*/ 146 h 301"/>
                  <a:gd name="T10" fmla="*/ 9 w 401"/>
                  <a:gd name="T11" fmla="*/ 200 h 301"/>
                  <a:gd name="T12" fmla="*/ 46 w 401"/>
                  <a:gd name="T13" fmla="*/ 274 h 301"/>
                  <a:gd name="T14" fmla="*/ 100 w 401"/>
                  <a:gd name="T15" fmla="*/ 291 h 301"/>
                  <a:gd name="T16" fmla="*/ 373 w 401"/>
                  <a:gd name="T17" fmla="*/ 156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301">
                    <a:moveTo>
                      <a:pt x="373" y="156"/>
                    </a:moveTo>
                    <a:cubicBezTo>
                      <a:pt x="392" y="146"/>
                      <a:pt x="401" y="122"/>
                      <a:pt x="391" y="102"/>
                    </a:cubicBezTo>
                    <a:cubicBezTo>
                      <a:pt x="354" y="28"/>
                      <a:pt x="354" y="28"/>
                      <a:pt x="354" y="28"/>
                    </a:cubicBezTo>
                    <a:cubicBezTo>
                      <a:pt x="344" y="9"/>
                      <a:pt x="320" y="0"/>
                      <a:pt x="300" y="10"/>
                    </a:cubicBezTo>
                    <a:cubicBezTo>
                      <a:pt x="27" y="146"/>
                      <a:pt x="27" y="146"/>
                      <a:pt x="27" y="146"/>
                    </a:cubicBezTo>
                    <a:cubicBezTo>
                      <a:pt x="8" y="156"/>
                      <a:pt x="0" y="180"/>
                      <a:pt x="9" y="200"/>
                    </a:cubicBezTo>
                    <a:cubicBezTo>
                      <a:pt x="46" y="274"/>
                      <a:pt x="46" y="274"/>
                      <a:pt x="46" y="274"/>
                    </a:cubicBezTo>
                    <a:cubicBezTo>
                      <a:pt x="56" y="293"/>
                      <a:pt x="80" y="301"/>
                      <a:pt x="100" y="291"/>
                    </a:cubicBezTo>
                    <a:lnTo>
                      <a:pt x="373" y="156"/>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94" name="Oval 104">
                <a:extLst>
                  <a:ext uri="{FF2B5EF4-FFF2-40B4-BE49-F238E27FC236}">
                    <a16:creationId xmlns:a16="http://schemas.microsoft.com/office/drawing/2014/main" id="{C23C2F62-4C93-4907-B088-AC612140BD08}"/>
                  </a:ext>
                </a:extLst>
              </p:cNvPr>
              <p:cNvSpPr>
                <a:spLocks noChangeArrowheads="1"/>
              </p:cNvSpPr>
              <p:nvPr/>
            </p:nvSpPr>
            <p:spPr bwMode="auto">
              <a:xfrm>
                <a:off x="5295109" y="3225040"/>
                <a:ext cx="41347" cy="41348"/>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95" name="Oval 105">
                <a:extLst>
                  <a:ext uri="{FF2B5EF4-FFF2-40B4-BE49-F238E27FC236}">
                    <a16:creationId xmlns:a16="http://schemas.microsoft.com/office/drawing/2014/main" id="{10D32790-2755-47B7-98F4-DC5440B4917A}"/>
                  </a:ext>
                </a:extLst>
              </p:cNvPr>
              <p:cNvSpPr>
                <a:spLocks noChangeArrowheads="1"/>
              </p:cNvSpPr>
              <p:nvPr/>
            </p:nvSpPr>
            <p:spPr bwMode="auto">
              <a:xfrm>
                <a:off x="5308166" y="3238097"/>
                <a:ext cx="15233" cy="152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96" name="Freeform 106">
                <a:extLst>
                  <a:ext uri="{FF2B5EF4-FFF2-40B4-BE49-F238E27FC236}">
                    <a16:creationId xmlns:a16="http://schemas.microsoft.com/office/drawing/2014/main" id="{B5C60326-7C2A-4689-BB15-C328CCCDB31F}"/>
                  </a:ext>
                </a:extLst>
              </p:cNvPr>
              <p:cNvSpPr>
                <a:spLocks/>
              </p:cNvSpPr>
              <p:nvPr/>
            </p:nvSpPr>
            <p:spPr bwMode="auto">
              <a:xfrm>
                <a:off x="5421329" y="3194573"/>
                <a:ext cx="54404" cy="104458"/>
              </a:xfrm>
              <a:custGeom>
                <a:avLst/>
                <a:gdLst>
                  <a:gd name="T0" fmla="*/ 70 w 70"/>
                  <a:gd name="T1" fmla="*/ 0 h 136"/>
                  <a:gd name="T2" fmla="*/ 14 w 70"/>
                  <a:gd name="T3" fmla="*/ 0 h 136"/>
                  <a:gd name="T4" fmla="*/ 0 w 70"/>
                  <a:gd name="T5" fmla="*/ 15 h 136"/>
                  <a:gd name="T6" fmla="*/ 0 w 70"/>
                  <a:gd name="T7" fmla="*/ 121 h 136"/>
                  <a:gd name="T8" fmla="*/ 14 w 70"/>
                  <a:gd name="T9" fmla="*/ 136 h 136"/>
                  <a:gd name="T10" fmla="*/ 70 w 70"/>
                  <a:gd name="T11" fmla="*/ 136 h 136"/>
                  <a:gd name="T12" fmla="*/ 70 w 70"/>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70" h="136">
                    <a:moveTo>
                      <a:pt x="70" y="0"/>
                    </a:moveTo>
                    <a:cubicBezTo>
                      <a:pt x="14" y="0"/>
                      <a:pt x="14" y="0"/>
                      <a:pt x="14" y="0"/>
                    </a:cubicBezTo>
                    <a:cubicBezTo>
                      <a:pt x="6" y="0"/>
                      <a:pt x="0" y="7"/>
                      <a:pt x="0" y="15"/>
                    </a:cubicBezTo>
                    <a:cubicBezTo>
                      <a:pt x="0" y="121"/>
                      <a:pt x="0" y="121"/>
                      <a:pt x="0" y="121"/>
                    </a:cubicBezTo>
                    <a:cubicBezTo>
                      <a:pt x="0" y="129"/>
                      <a:pt x="6" y="136"/>
                      <a:pt x="14" y="136"/>
                    </a:cubicBezTo>
                    <a:cubicBezTo>
                      <a:pt x="70" y="136"/>
                      <a:pt x="70" y="136"/>
                      <a:pt x="70" y="136"/>
                    </a:cubicBezTo>
                    <a:lnTo>
                      <a:pt x="7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3" name="Oval 192">
                <a:extLst>
                  <a:ext uri="{FF2B5EF4-FFF2-40B4-BE49-F238E27FC236}">
                    <a16:creationId xmlns:a16="http://schemas.microsoft.com/office/drawing/2014/main" id="{92CB3D45-5DE9-42A8-9B83-8BA44D14476B}"/>
                  </a:ext>
                </a:extLst>
              </p:cNvPr>
              <p:cNvSpPr/>
              <p:nvPr/>
            </p:nvSpPr>
            <p:spPr bwMode="auto">
              <a:xfrm>
                <a:off x="4213540" y="3043054"/>
                <a:ext cx="372129" cy="372129"/>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72" name="Rectangle 492">
                <a:extLst>
                  <a:ext uri="{FF2B5EF4-FFF2-40B4-BE49-F238E27FC236}">
                    <a16:creationId xmlns:a16="http://schemas.microsoft.com/office/drawing/2014/main" id="{D7364478-4612-4084-BD58-B287106708A4}"/>
                  </a:ext>
                </a:extLst>
              </p:cNvPr>
              <p:cNvSpPr>
                <a:spLocks noChangeArrowheads="1"/>
              </p:cNvSpPr>
              <p:nvPr/>
            </p:nvSpPr>
            <p:spPr bwMode="auto">
              <a:xfrm>
                <a:off x="4317619" y="3221038"/>
                <a:ext cx="172298" cy="112764"/>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94" name="Group 193">
                <a:extLst>
                  <a:ext uri="{FF2B5EF4-FFF2-40B4-BE49-F238E27FC236}">
                    <a16:creationId xmlns:a16="http://schemas.microsoft.com/office/drawing/2014/main" id="{47217720-7281-44AC-A42B-DCC3C35D2435}"/>
                  </a:ext>
                </a:extLst>
              </p:cNvPr>
              <p:cNvGrpSpPr/>
              <p:nvPr/>
            </p:nvGrpSpPr>
            <p:grpSpPr>
              <a:xfrm>
                <a:off x="4354040" y="3105472"/>
                <a:ext cx="102258" cy="115566"/>
                <a:chOff x="3442122" y="3889011"/>
                <a:chExt cx="231775" cy="261938"/>
              </a:xfrm>
              <a:solidFill>
                <a:schemeClr val="tx2"/>
              </a:solidFill>
            </p:grpSpPr>
            <p:sp>
              <p:nvSpPr>
                <p:cNvPr id="368" name="Freeform 488">
                  <a:extLst>
                    <a:ext uri="{FF2B5EF4-FFF2-40B4-BE49-F238E27FC236}">
                      <a16:creationId xmlns:a16="http://schemas.microsoft.com/office/drawing/2014/main" id="{E806C540-B6C9-4152-A44E-511CE2C20A62}"/>
                    </a:ext>
                  </a:extLst>
                </p:cNvPr>
                <p:cNvSpPr>
                  <a:spLocks/>
                </p:cNvSpPr>
                <p:nvPr/>
              </p:nvSpPr>
              <p:spPr bwMode="auto">
                <a:xfrm>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488">
                  <a:extLst>
                    <a:ext uri="{FF2B5EF4-FFF2-40B4-BE49-F238E27FC236}">
                      <a16:creationId xmlns:a16="http://schemas.microsoft.com/office/drawing/2014/main" id="{07E873D7-DAB5-460D-8DBD-F5EA1F0D3851}"/>
                    </a:ext>
                  </a:extLst>
                </p:cNvPr>
                <p:cNvSpPr>
                  <a:spLocks/>
                </p:cNvSpPr>
                <p:nvPr/>
              </p:nvSpPr>
              <p:spPr bwMode="auto">
                <a:xfrm flipH="1">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7" name="Rectangle 487">
                <a:extLst>
                  <a:ext uri="{FF2B5EF4-FFF2-40B4-BE49-F238E27FC236}">
                    <a16:creationId xmlns:a16="http://schemas.microsoft.com/office/drawing/2014/main" id="{D562B9D5-E10D-47B4-BE87-8272F832D5F5}"/>
                  </a:ext>
                </a:extLst>
              </p:cNvPr>
              <p:cNvSpPr>
                <a:spLocks noChangeArrowheads="1"/>
              </p:cNvSpPr>
              <p:nvPr/>
            </p:nvSpPr>
            <p:spPr bwMode="auto">
              <a:xfrm>
                <a:off x="4330927" y="3231544"/>
                <a:ext cx="148484" cy="9175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Oval 493">
                <a:extLst>
                  <a:ext uri="{FF2B5EF4-FFF2-40B4-BE49-F238E27FC236}">
                    <a16:creationId xmlns:a16="http://schemas.microsoft.com/office/drawing/2014/main" id="{41B94611-D61D-4763-B84A-2597CE090D92}"/>
                  </a:ext>
                </a:extLst>
              </p:cNvPr>
              <p:cNvSpPr>
                <a:spLocks noChangeArrowheads="1"/>
              </p:cNvSpPr>
              <p:nvPr/>
            </p:nvSpPr>
            <p:spPr bwMode="auto">
              <a:xfrm>
                <a:off x="4389760" y="3257458"/>
                <a:ext cx="27316" cy="252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494">
                <a:extLst>
                  <a:ext uri="{FF2B5EF4-FFF2-40B4-BE49-F238E27FC236}">
                    <a16:creationId xmlns:a16="http://schemas.microsoft.com/office/drawing/2014/main" id="{62D16F26-9F4C-44F6-A86F-9484CF289115}"/>
                  </a:ext>
                </a:extLst>
              </p:cNvPr>
              <p:cNvSpPr>
                <a:spLocks/>
              </p:cNvSpPr>
              <p:nvPr/>
            </p:nvSpPr>
            <p:spPr bwMode="auto">
              <a:xfrm>
                <a:off x="4393262" y="3274268"/>
                <a:ext cx="21012" cy="28016"/>
              </a:xfrm>
              <a:custGeom>
                <a:avLst/>
                <a:gdLst>
                  <a:gd name="T0" fmla="*/ 30 w 30"/>
                  <a:gd name="T1" fmla="*/ 40 h 40"/>
                  <a:gd name="T2" fmla="*/ 0 w 30"/>
                  <a:gd name="T3" fmla="*/ 40 h 40"/>
                  <a:gd name="T4" fmla="*/ 6 w 30"/>
                  <a:gd name="T5" fmla="*/ 0 h 40"/>
                  <a:gd name="T6" fmla="*/ 24 w 30"/>
                  <a:gd name="T7" fmla="*/ 0 h 40"/>
                  <a:gd name="T8" fmla="*/ 30 w 30"/>
                  <a:gd name="T9" fmla="*/ 40 h 40"/>
                </a:gdLst>
                <a:ahLst/>
                <a:cxnLst>
                  <a:cxn ang="0">
                    <a:pos x="T0" y="T1"/>
                  </a:cxn>
                  <a:cxn ang="0">
                    <a:pos x="T2" y="T3"/>
                  </a:cxn>
                  <a:cxn ang="0">
                    <a:pos x="T4" y="T5"/>
                  </a:cxn>
                  <a:cxn ang="0">
                    <a:pos x="T6" y="T7"/>
                  </a:cxn>
                  <a:cxn ang="0">
                    <a:pos x="T8" y="T9"/>
                  </a:cxn>
                </a:cxnLst>
                <a:rect l="0" t="0" r="r" b="b"/>
                <a:pathLst>
                  <a:path w="30" h="40">
                    <a:moveTo>
                      <a:pt x="30" y="40"/>
                    </a:moveTo>
                    <a:lnTo>
                      <a:pt x="0" y="40"/>
                    </a:lnTo>
                    <a:lnTo>
                      <a:pt x="6" y="0"/>
                    </a:lnTo>
                    <a:lnTo>
                      <a:pt x="24" y="0"/>
                    </a:lnTo>
                    <a:lnTo>
                      <a:pt x="3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00" name="Group 499">
              <a:extLst>
                <a:ext uri="{FF2B5EF4-FFF2-40B4-BE49-F238E27FC236}">
                  <a16:creationId xmlns:a16="http://schemas.microsoft.com/office/drawing/2014/main" id="{9C15F70F-21A7-49C7-A98D-A0A36017E756}"/>
                </a:ext>
              </a:extLst>
            </p:cNvPr>
            <p:cNvGrpSpPr/>
            <p:nvPr/>
          </p:nvGrpSpPr>
          <p:grpSpPr>
            <a:xfrm>
              <a:off x="6714335" y="3505200"/>
              <a:ext cx="1596615" cy="897164"/>
              <a:chOff x="6895390" y="3466792"/>
              <a:chExt cx="1234504" cy="693688"/>
            </a:xfrm>
          </p:grpSpPr>
          <p:sp>
            <p:nvSpPr>
              <p:cNvPr id="371" name="Freeform 21">
                <a:extLst>
                  <a:ext uri="{FF2B5EF4-FFF2-40B4-BE49-F238E27FC236}">
                    <a16:creationId xmlns:a16="http://schemas.microsoft.com/office/drawing/2014/main" id="{BD8BA4D0-E693-44D8-81D0-98D1E4432304}"/>
                  </a:ext>
                </a:extLst>
              </p:cNvPr>
              <p:cNvSpPr>
                <a:spLocks/>
              </p:cNvSpPr>
              <p:nvPr/>
            </p:nvSpPr>
            <p:spPr bwMode="auto">
              <a:xfrm>
                <a:off x="6944627" y="4074315"/>
                <a:ext cx="1185267" cy="48840"/>
              </a:xfrm>
              <a:custGeom>
                <a:avLst/>
                <a:gdLst>
                  <a:gd name="T0" fmla="*/ 10180 w 10394"/>
                  <a:gd name="T1" fmla="*/ 428 h 428"/>
                  <a:gd name="T2" fmla="*/ 214 w 10394"/>
                  <a:gd name="T3" fmla="*/ 428 h 428"/>
                  <a:gd name="T4" fmla="*/ 0 w 10394"/>
                  <a:gd name="T5" fmla="*/ 214 h 428"/>
                  <a:gd name="T6" fmla="*/ 214 w 10394"/>
                  <a:gd name="T7" fmla="*/ 0 h 428"/>
                  <a:gd name="T8" fmla="*/ 10180 w 10394"/>
                  <a:gd name="T9" fmla="*/ 0 h 428"/>
                  <a:gd name="T10" fmla="*/ 10394 w 10394"/>
                  <a:gd name="T11" fmla="*/ 214 h 428"/>
                  <a:gd name="T12" fmla="*/ 10180 w 10394"/>
                  <a:gd name="T13" fmla="*/ 428 h 428"/>
                </a:gdLst>
                <a:ahLst/>
                <a:cxnLst>
                  <a:cxn ang="0">
                    <a:pos x="T0" y="T1"/>
                  </a:cxn>
                  <a:cxn ang="0">
                    <a:pos x="T2" y="T3"/>
                  </a:cxn>
                  <a:cxn ang="0">
                    <a:pos x="T4" y="T5"/>
                  </a:cxn>
                  <a:cxn ang="0">
                    <a:pos x="T6" y="T7"/>
                  </a:cxn>
                  <a:cxn ang="0">
                    <a:pos x="T8" y="T9"/>
                  </a:cxn>
                  <a:cxn ang="0">
                    <a:pos x="T10" y="T11"/>
                  </a:cxn>
                  <a:cxn ang="0">
                    <a:pos x="T12" y="T13"/>
                  </a:cxn>
                </a:cxnLst>
                <a:rect l="0" t="0" r="r" b="b"/>
                <a:pathLst>
                  <a:path w="10394" h="428">
                    <a:moveTo>
                      <a:pt x="10180" y="428"/>
                    </a:moveTo>
                    <a:cubicBezTo>
                      <a:pt x="214" y="428"/>
                      <a:pt x="214" y="428"/>
                      <a:pt x="214" y="428"/>
                    </a:cubicBezTo>
                    <a:cubicBezTo>
                      <a:pt x="96" y="428"/>
                      <a:pt x="0" y="332"/>
                      <a:pt x="0" y="214"/>
                    </a:cubicBezTo>
                    <a:cubicBezTo>
                      <a:pt x="0" y="96"/>
                      <a:pt x="96" y="0"/>
                      <a:pt x="214" y="0"/>
                    </a:cubicBezTo>
                    <a:cubicBezTo>
                      <a:pt x="10180" y="0"/>
                      <a:pt x="10180" y="0"/>
                      <a:pt x="10180" y="0"/>
                    </a:cubicBezTo>
                    <a:cubicBezTo>
                      <a:pt x="10298" y="0"/>
                      <a:pt x="10394" y="96"/>
                      <a:pt x="10394" y="214"/>
                    </a:cubicBezTo>
                    <a:cubicBezTo>
                      <a:pt x="10394" y="332"/>
                      <a:pt x="10298" y="428"/>
                      <a:pt x="10180" y="428"/>
                    </a:cubicBezTo>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endParaRPr lang="en-IN"/>
              </a:p>
            </p:txBody>
          </p:sp>
          <p:sp>
            <p:nvSpPr>
              <p:cNvPr id="376" name="Freeform 22">
                <a:extLst>
                  <a:ext uri="{FF2B5EF4-FFF2-40B4-BE49-F238E27FC236}">
                    <a16:creationId xmlns:a16="http://schemas.microsoft.com/office/drawing/2014/main" id="{34D4E381-EDFA-47D5-B823-BE207F5C36C1}"/>
                  </a:ext>
                </a:extLst>
              </p:cNvPr>
              <p:cNvSpPr>
                <a:spLocks/>
              </p:cNvSpPr>
              <p:nvPr/>
            </p:nvSpPr>
            <p:spPr bwMode="auto">
              <a:xfrm>
                <a:off x="6937083" y="3466792"/>
                <a:ext cx="909697" cy="656760"/>
              </a:xfrm>
              <a:custGeom>
                <a:avLst/>
                <a:gdLst>
                  <a:gd name="T0" fmla="*/ 7190 w 7975"/>
                  <a:gd name="T1" fmla="*/ 333 h 5766"/>
                  <a:gd name="T2" fmla="*/ 4883 w 7975"/>
                  <a:gd name="T3" fmla="*/ 333 h 5766"/>
                  <a:gd name="T4" fmla="*/ 4536 w 7975"/>
                  <a:gd name="T5" fmla="*/ 493 h 5766"/>
                  <a:gd name="T6" fmla="*/ 3904 w 7975"/>
                  <a:gd name="T7" fmla="*/ 1231 h 5766"/>
                  <a:gd name="T8" fmla="*/ 3743 w 7975"/>
                  <a:gd name="T9" fmla="*/ 1351 h 5766"/>
                  <a:gd name="T10" fmla="*/ 3623 w 7975"/>
                  <a:gd name="T11" fmla="*/ 866 h 5766"/>
                  <a:gd name="T12" fmla="*/ 2793 w 7975"/>
                  <a:gd name="T13" fmla="*/ 866 h 5766"/>
                  <a:gd name="T14" fmla="*/ 2533 w 7975"/>
                  <a:gd name="T15" fmla="*/ 606 h 5766"/>
                  <a:gd name="T16" fmla="*/ 2533 w 7975"/>
                  <a:gd name="T17" fmla="*/ 247 h 5766"/>
                  <a:gd name="T18" fmla="*/ 2286 w 7975"/>
                  <a:gd name="T19" fmla="*/ 0 h 5766"/>
                  <a:gd name="T20" fmla="*/ 248 w 7975"/>
                  <a:gd name="T21" fmla="*/ 0 h 5766"/>
                  <a:gd name="T22" fmla="*/ 0 w 7975"/>
                  <a:gd name="T23" fmla="*/ 247 h 5766"/>
                  <a:gd name="T24" fmla="*/ 0 w 7975"/>
                  <a:gd name="T25" fmla="*/ 2034 h 5766"/>
                  <a:gd name="T26" fmla="*/ 423 w 7975"/>
                  <a:gd name="T27" fmla="*/ 2034 h 5766"/>
                  <a:gd name="T28" fmla="*/ 420 w 7975"/>
                  <a:gd name="T29" fmla="*/ 2100 h 5766"/>
                  <a:gd name="T30" fmla="*/ 420 w 7975"/>
                  <a:gd name="T31" fmla="*/ 5766 h 5766"/>
                  <a:gd name="T32" fmla="*/ 7975 w 7975"/>
                  <a:gd name="T33" fmla="*/ 5766 h 5766"/>
                  <a:gd name="T34" fmla="*/ 7975 w 7975"/>
                  <a:gd name="T35" fmla="*/ 1119 h 5766"/>
                  <a:gd name="T36" fmla="*/ 7190 w 7975"/>
                  <a:gd name="T37" fmla="*/ 333 h 5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75" h="5766">
                    <a:moveTo>
                      <a:pt x="7190" y="333"/>
                    </a:moveTo>
                    <a:cubicBezTo>
                      <a:pt x="4883" y="333"/>
                      <a:pt x="4883" y="333"/>
                      <a:pt x="4883" y="333"/>
                    </a:cubicBezTo>
                    <a:cubicBezTo>
                      <a:pt x="4749" y="333"/>
                      <a:pt x="4623" y="392"/>
                      <a:pt x="4536" y="493"/>
                    </a:cubicBezTo>
                    <a:cubicBezTo>
                      <a:pt x="3904" y="1231"/>
                      <a:pt x="3904" y="1231"/>
                      <a:pt x="3904" y="1231"/>
                    </a:cubicBezTo>
                    <a:cubicBezTo>
                      <a:pt x="3859" y="1283"/>
                      <a:pt x="3804" y="1324"/>
                      <a:pt x="3743" y="1351"/>
                    </a:cubicBezTo>
                    <a:cubicBezTo>
                      <a:pt x="3623" y="866"/>
                      <a:pt x="3623" y="866"/>
                      <a:pt x="3623" y="866"/>
                    </a:cubicBezTo>
                    <a:cubicBezTo>
                      <a:pt x="2793" y="866"/>
                      <a:pt x="2793" y="866"/>
                      <a:pt x="2793" y="866"/>
                    </a:cubicBezTo>
                    <a:cubicBezTo>
                      <a:pt x="2650" y="866"/>
                      <a:pt x="2533" y="750"/>
                      <a:pt x="2533" y="606"/>
                    </a:cubicBezTo>
                    <a:cubicBezTo>
                      <a:pt x="2533" y="247"/>
                      <a:pt x="2533" y="247"/>
                      <a:pt x="2533" y="247"/>
                    </a:cubicBezTo>
                    <a:cubicBezTo>
                      <a:pt x="2533" y="111"/>
                      <a:pt x="2422" y="0"/>
                      <a:pt x="2286" y="0"/>
                    </a:cubicBezTo>
                    <a:cubicBezTo>
                      <a:pt x="248" y="0"/>
                      <a:pt x="248" y="0"/>
                      <a:pt x="248" y="0"/>
                    </a:cubicBezTo>
                    <a:cubicBezTo>
                      <a:pt x="111" y="0"/>
                      <a:pt x="0" y="111"/>
                      <a:pt x="0" y="247"/>
                    </a:cubicBezTo>
                    <a:cubicBezTo>
                      <a:pt x="0" y="2034"/>
                      <a:pt x="0" y="2034"/>
                      <a:pt x="0" y="2034"/>
                    </a:cubicBezTo>
                    <a:cubicBezTo>
                      <a:pt x="423" y="2034"/>
                      <a:pt x="423" y="2034"/>
                      <a:pt x="423" y="2034"/>
                    </a:cubicBezTo>
                    <a:cubicBezTo>
                      <a:pt x="421" y="2056"/>
                      <a:pt x="420" y="2078"/>
                      <a:pt x="420" y="2100"/>
                    </a:cubicBezTo>
                    <a:cubicBezTo>
                      <a:pt x="420" y="5766"/>
                      <a:pt x="420" y="5766"/>
                      <a:pt x="420" y="5766"/>
                    </a:cubicBezTo>
                    <a:cubicBezTo>
                      <a:pt x="7975" y="5766"/>
                      <a:pt x="7975" y="5766"/>
                      <a:pt x="7975" y="5766"/>
                    </a:cubicBezTo>
                    <a:cubicBezTo>
                      <a:pt x="7975" y="1119"/>
                      <a:pt x="7975" y="1119"/>
                      <a:pt x="7975" y="1119"/>
                    </a:cubicBezTo>
                    <a:cubicBezTo>
                      <a:pt x="7975" y="685"/>
                      <a:pt x="7624" y="333"/>
                      <a:pt x="7190" y="333"/>
                    </a:cubicBezTo>
                  </a:path>
                </a:pathLst>
              </a:custGeom>
              <a:solidFill>
                <a:schemeClr val="bg1">
                  <a:lumMod val="75000"/>
                </a:schemeClr>
              </a:solidFill>
              <a:ln>
                <a:noFill/>
              </a:ln>
            </p:spPr>
            <p:txBody>
              <a:bodyPr vert="horz" wrap="square" lIns="91427" tIns="45713" rIns="91427" bIns="45713" numCol="1" anchor="t" anchorCtr="0" compatLnSpc="1">
                <a:prstTxWarp prst="textNoShape">
                  <a:avLst/>
                </a:prstTxWarp>
              </a:bodyPr>
              <a:lstStyle/>
              <a:p>
                <a:endParaRPr lang="en-IN"/>
              </a:p>
            </p:txBody>
          </p:sp>
          <p:sp>
            <p:nvSpPr>
              <p:cNvPr id="378" name="Freeform 23">
                <a:extLst>
                  <a:ext uri="{FF2B5EF4-FFF2-40B4-BE49-F238E27FC236}">
                    <a16:creationId xmlns:a16="http://schemas.microsoft.com/office/drawing/2014/main" id="{BA3B06BA-AD62-4AA3-8857-F12AD7EAC31F}"/>
                  </a:ext>
                </a:extLst>
              </p:cNvPr>
              <p:cNvSpPr>
                <a:spLocks/>
              </p:cNvSpPr>
              <p:nvPr/>
            </p:nvSpPr>
            <p:spPr bwMode="auto">
              <a:xfrm>
                <a:off x="6895390" y="3504911"/>
                <a:ext cx="906521" cy="618641"/>
              </a:xfrm>
              <a:custGeom>
                <a:avLst/>
                <a:gdLst>
                  <a:gd name="T0" fmla="*/ 0 w 7950"/>
                  <a:gd name="T1" fmla="*/ 1766 h 5432"/>
                  <a:gd name="T2" fmla="*/ 0 w 7950"/>
                  <a:gd name="T3" fmla="*/ 5432 h 5432"/>
                  <a:gd name="T4" fmla="*/ 7950 w 7950"/>
                  <a:gd name="T5" fmla="*/ 5432 h 5432"/>
                  <a:gd name="T6" fmla="*/ 7950 w 7950"/>
                  <a:gd name="T7" fmla="*/ 785 h 5432"/>
                  <a:gd name="T8" fmla="*/ 7164 w 7950"/>
                  <a:gd name="T9" fmla="*/ 0 h 5432"/>
                  <a:gd name="T10" fmla="*/ 4464 w 7950"/>
                  <a:gd name="T11" fmla="*/ 0 h 5432"/>
                  <a:gd name="T12" fmla="*/ 4116 w 7950"/>
                  <a:gd name="T13" fmla="*/ 159 h 5432"/>
                  <a:gd name="T14" fmla="*/ 3484 w 7950"/>
                  <a:gd name="T15" fmla="*/ 897 h 5432"/>
                  <a:gd name="T16" fmla="*/ 3137 w 7950"/>
                  <a:gd name="T17" fmla="*/ 1057 h 5432"/>
                  <a:gd name="T18" fmla="*/ 710 w 7950"/>
                  <a:gd name="T19" fmla="*/ 1057 h 5432"/>
                  <a:gd name="T20" fmla="*/ 0 w 7950"/>
                  <a:gd name="T21" fmla="*/ 1766 h 5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0" h="5432">
                    <a:moveTo>
                      <a:pt x="0" y="1766"/>
                    </a:moveTo>
                    <a:cubicBezTo>
                      <a:pt x="0" y="5432"/>
                      <a:pt x="0" y="5432"/>
                      <a:pt x="0" y="5432"/>
                    </a:cubicBezTo>
                    <a:cubicBezTo>
                      <a:pt x="7950" y="5432"/>
                      <a:pt x="7950" y="5432"/>
                      <a:pt x="7950" y="5432"/>
                    </a:cubicBezTo>
                    <a:cubicBezTo>
                      <a:pt x="7950" y="785"/>
                      <a:pt x="7950" y="785"/>
                      <a:pt x="7950" y="785"/>
                    </a:cubicBezTo>
                    <a:cubicBezTo>
                      <a:pt x="7950" y="351"/>
                      <a:pt x="7598" y="0"/>
                      <a:pt x="7164" y="0"/>
                    </a:cubicBezTo>
                    <a:cubicBezTo>
                      <a:pt x="4464" y="0"/>
                      <a:pt x="4464" y="0"/>
                      <a:pt x="4464" y="0"/>
                    </a:cubicBezTo>
                    <a:cubicBezTo>
                      <a:pt x="4330" y="0"/>
                      <a:pt x="4203" y="58"/>
                      <a:pt x="4116" y="159"/>
                    </a:cubicBezTo>
                    <a:cubicBezTo>
                      <a:pt x="3484" y="897"/>
                      <a:pt x="3484" y="897"/>
                      <a:pt x="3484" y="897"/>
                    </a:cubicBezTo>
                    <a:cubicBezTo>
                      <a:pt x="3286" y="857"/>
                      <a:pt x="3271" y="1057"/>
                      <a:pt x="3137" y="1057"/>
                    </a:cubicBezTo>
                    <a:cubicBezTo>
                      <a:pt x="710" y="1057"/>
                      <a:pt x="710" y="1057"/>
                      <a:pt x="710" y="1057"/>
                    </a:cubicBezTo>
                    <a:cubicBezTo>
                      <a:pt x="318" y="1057"/>
                      <a:pt x="0" y="1375"/>
                      <a:pt x="0" y="1766"/>
                    </a:cubicBezTo>
                  </a:path>
                </a:pathLst>
              </a:custGeom>
              <a:solidFill>
                <a:schemeClr val="accent1"/>
              </a:solidFill>
              <a:ln>
                <a:noFill/>
              </a:ln>
            </p:spPr>
            <p:txBody>
              <a:bodyPr vert="horz" wrap="square" lIns="91427" tIns="45713" rIns="91427" bIns="45713" numCol="1" anchor="t" anchorCtr="0" compatLnSpc="1">
                <a:prstTxWarp prst="textNoShape">
                  <a:avLst/>
                </a:prstTxWarp>
              </a:bodyPr>
              <a:lstStyle/>
              <a:p>
                <a:endParaRPr lang="en-IN"/>
              </a:p>
            </p:txBody>
          </p:sp>
          <p:sp>
            <p:nvSpPr>
              <p:cNvPr id="379" name="Freeform 24">
                <a:extLst>
                  <a:ext uri="{FF2B5EF4-FFF2-40B4-BE49-F238E27FC236}">
                    <a16:creationId xmlns:a16="http://schemas.microsoft.com/office/drawing/2014/main" id="{C0DAEDF3-7708-4056-8C0B-668356CA7578}"/>
                  </a:ext>
                </a:extLst>
              </p:cNvPr>
              <p:cNvSpPr>
                <a:spLocks noEditPoints="1"/>
              </p:cNvSpPr>
              <p:nvPr/>
            </p:nvSpPr>
            <p:spPr bwMode="auto">
              <a:xfrm>
                <a:off x="7233697" y="3538265"/>
                <a:ext cx="184242" cy="229112"/>
              </a:xfrm>
              <a:custGeom>
                <a:avLst/>
                <a:gdLst>
                  <a:gd name="T0" fmla="*/ 1532 w 1616"/>
                  <a:gd name="T1" fmla="*/ 1286 h 2010"/>
                  <a:gd name="T2" fmla="*/ 1002 w 1616"/>
                  <a:gd name="T3" fmla="*/ 366 h 2010"/>
                  <a:gd name="T4" fmla="*/ 874 w 1616"/>
                  <a:gd name="T5" fmla="*/ 246 h 2010"/>
                  <a:gd name="T6" fmla="*/ 891 w 1616"/>
                  <a:gd name="T7" fmla="*/ 170 h 2010"/>
                  <a:gd name="T8" fmla="*/ 792 w 1616"/>
                  <a:gd name="T9" fmla="*/ 16 h 2010"/>
                  <a:gd name="T10" fmla="*/ 637 w 1616"/>
                  <a:gd name="T11" fmla="*/ 114 h 2010"/>
                  <a:gd name="T12" fmla="*/ 608 w 1616"/>
                  <a:gd name="T13" fmla="*/ 245 h 2010"/>
                  <a:gd name="T14" fmla="*/ 589 w 1616"/>
                  <a:gd name="T15" fmla="*/ 255 h 2010"/>
                  <a:gd name="T16" fmla="*/ 194 w 1616"/>
                  <a:gd name="T17" fmla="*/ 482 h 2010"/>
                  <a:gd name="T18" fmla="*/ 83 w 1616"/>
                  <a:gd name="T19" fmla="*/ 895 h 2010"/>
                  <a:gd name="T20" fmla="*/ 613 w 1616"/>
                  <a:gd name="T21" fmla="*/ 1816 h 2010"/>
                  <a:gd name="T22" fmla="*/ 1026 w 1616"/>
                  <a:gd name="T23" fmla="*/ 1927 h 2010"/>
                  <a:gd name="T24" fmla="*/ 1421 w 1616"/>
                  <a:gd name="T25" fmla="*/ 1700 h 2010"/>
                  <a:gd name="T26" fmla="*/ 1532 w 1616"/>
                  <a:gd name="T27" fmla="*/ 1286 h 2010"/>
                  <a:gd name="T28" fmla="*/ 1290 w 1616"/>
                  <a:gd name="T29" fmla="*/ 1473 h 2010"/>
                  <a:gd name="T30" fmla="*/ 896 w 1616"/>
                  <a:gd name="T31" fmla="*/ 1700 h 2010"/>
                  <a:gd name="T32" fmla="*/ 840 w 1616"/>
                  <a:gd name="T33" fmla="*/ 1685 h 2010"/>
                  <a:gd name="T34" fmla="*/ 310 w 1616"/>
                  <a:gd name="T35" fmla="*/ 765 h 2010"/>
                  <a:gd name="T36" fmla="*/ 325 w 1616"/>
                  <a:gd name="T37" fmla="*/ 709 h 2010"/>
                  <a:gd name="T38" fmla="*/ 533 w 1616"/>
                  <a:gd name="T39" fmla="*/ 590 h 2010"/>
                  <a:gd name="T40" fmla="*/ 471 w 1616"/>
                  <a:gd name="T41" fmla="*/ 868 h 2010"/>
                  <a:gd name="T42" fmla="*/ 570 w 1616"/>
                  <a:gd name="T43" fmla="*/ 1023 h 2010"/>
                  <a:gd name="T44" fmla="*/ 725 w 1616"/>
                  <a:gd name="T45" fmla="*/ 924 h 2010"/>
                  <a:gd name="T46" fmla="*/ 807 w 1616"/>
                  <a:gd name="T47" fmla="*/ 551 h 2010"/>
                  <a:gd name="T48" fmla="*/ 1305 w 1616"/>
                  <a:gd name="T49" fmla="*/ 1417 h 2010"/>
                  <a:gd name="T50" fmla="*/ 1290 w 1616"/>
                  <a:gd name="T51" fmla="*/ 1473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6" h="2010">
                    <a:moveTo>
                      <a:pt x="1532" y="1286"/>
                    </a:moveTo>
                    <a:cubicBezTo>
                      <a:pt x="1002" y="366"/>
                      <a:pt x="1002" y="366"/>
                      <a:pt x="1002" y="366"/>
                    </a:cubicBezTo>
                    <a:cubicBezTo>
                      <a:pt x="971" y="312"/>
                      <a:pt x="926" y="271"/>
                      <a:pt x="874" y="246"/>
                    </a:cubicBezTo>
                    <a:cubicBezTo>
                      <a:pt x="891" y="170"/>
                      <a:pt x="891" y="170"/>
                      <a:pt x="891" y="170"/>
                    </a:cubicBezTo>
                    <a:cubicBezTo>
                      <a:pt x="906" y="100"/>
                      <a:pt x="862" y="31"/>
                      <a:pt x="792" y="16"/>
                    </a:cubicBezTo>
                    <a:cubicBezTo>
                      <a:pt x="722" y="0"/>
                      <a:pt x="653" y="44"/>
                      <a:pt x="637" y="114"/>
                    </a:cubicBezTo>
                    <a:cubicBezTo>
                      <a:pt x="608" y="245"/>
                      <a:pt x="608" y="245"/>
                      <a:pt x="608" y="245"/>
                    </a:cubicBezTo>
                    <a:cubicBezTo>
                      <a:pt x="602" y="248"/>
                      <a:pt x="595" y="251"/>
                      <a:pt x="589" y="255"/>
                    </a:cubicBezTo>
                    <a:cubicBezTo>
                      <a:pt x="194" y="482"/>
                      <a:pt x="194" y="482"/>
                      <a:pt x="194" y="482"/>
                    </a:cubicBezTo>
                    <a:cubicBezTo>
                      <a:pt x="50" y="566"/>
                      <a:pt x="0" y="751"/>
                      <a:pt x="83" y="895"/>
                    </a:cubicBezTo>
                    <a:cubicBezTo>
                      <a:pt x="613" y="1816"/>
                      <a:pt x="613" y="1816"/>
                      <a:pt x="613" y="1816"/>
                    </a:cubicBezTo>
                    <a:cubicBezTo>
                      <a:pt x="696" y="1960"/>
                      <a:pt x="881" y="2010"/>
                      <a:pt x="1026" y="1927"/>
                    </a:cubicBezTo>
                    <a:cubicBezTo>
                      <a:pt x="1421" y="1700"/>
                      <a:pt x="1421" y="1700"/>
                      <a:pt x="1421" y="1700"/>
                    </a:cubicBezTo>
                    <a:cubicBezTo>
                      <a:pt x="1566" y="1616"/>
                      <a:pt x="1616" y="1431"/>
                      <a:pt x="1532" y="1286"/>
                    </a:cubicBezTo>
                    <a:moveTo>
                      <a:pt x="1290" y="1473"/>
                    </a:moveTo>
                    <a:cubicBezTo>
                      <a:pt x="896" y="1700"/>
                      <a:pt x="896" y="1700"/>
                      <a:pt x="896" y="1700"/>
                    </a:cubicBezTo>
                    <a:cubicBezTo>
                      <a:pt x="876" y="1711"/>
                      <a:pt x="851" y="1704"/>
                      <a:pt x="840" y="1685"/>
                    </a:cubicBezTo>
                    <a:cubicBezTo>
                      <a:pt x="310" y="765"/>
                      <a:pt x="310" y="765"/>
                      <a:pt x="310" y="765"/>
                    </a:cubicBezTo>
                    <a:cubicBezTo>
                      <a:pt x="299" y="745"/>
                      <a:pt x="306" y="720"/>
                      <a:pt x="325" y="709"/>
                    </a:cubicBezTo>
                    <a:cubicBezTo>
                      <a:pt x="533" y="590"/>
                      <a:pt x="533" y="590"/>
                      <a:pt x="533" y="590"/>
                    </a:cubicBezTo>
                    <a:cubicBezTo>
                      <a:pt x="471" y="868"/>
                      <a:pt x="471" y="868"/>
                      <a:pt x="471" y="868"/>
                    </a:cubicBezTo>
                    <a:cubicBezTo>
                      <a:pt x="456" y="938"/>
                      <a:pt x="500" y="1007"/>
                      <a:pt x="570" y="1023"/>
                    </a:cubicBezTo>
                    <a:cubicBezTo>
                      <a:pt x="640" y="1038"/>
                      <a:pt x="709" y="994"/>
                      <a:pt x="725" y="924"/>
                    </a:cubicBezTo>
                    <a:cubicBezTo>
                      <a:pt x="807" y="551"/>
                      <a:pt x="807" y="551"/>
                      <a:pt x="807" y="551"/>
                    </a:cubicBezTo>
                    <a:cubicBezTo>
                      <a:pt x="1305" y="1417"/>
                      <a:pt x="1305" y="1417"/>
                      <a:pt x="1305" y="1417"/>
                    </a:cubicBezTo>
                    <a:cubicBezTo>
                      <a:pt x="1316" y="1436"/>
                      <a:pt x="1310" y="1461"/>
                      <a:pt x="1290" y="1473"/>
                    </a:cubicBezTo>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IN"/>
              </a:p>
            </p:txBody>
          </p:sp>
          <p:sp>
            <p:nvSpPr>
              <p:cNvPr id="380" name="Freeform 25">
                <a:extLst>
                  <a:ext uri="{FF2B5EF4-FFF2-40B4-BE49-F238E27FC236}">
                    <a16:creationId xmlns:a16="http://schemas.microsoft.com/office/drawing/2014/main" id="{E37D3E62-32D9-4C45-B7AB-09A66468D7D3}"/>
                  </a:ext>
                </a:extLst>
              </p:cNvPr>
              <p:cNvSpPr>
                <a:spLocks noEditPoints="1"/>
              </p:cNvSpPr>
              <p:nvPr/>
            </p:nvSpPr>
            <p:spPr bwMode="auto">
              <a:xfrm>
                <a:off x="7335348" y="3738788"/>
                <a:ext cx="331557" cy="421692"/>
              </a:xfrm>
              <a:custGeom>
                <a:avLst/>
                <a:gdLst>
                  <a:gd name="T0" fmla="*/ 2791 w 2908"/>
                  <a:gd name="T1" fmla="*/ 3366 h 3703"/>
                  <a:gd name="T2" fmla="*/ 2587 w 2908"/>
                  <a:gd name="T3" fmla="*/ 3311 h 3703"/>
                  <a:gd name="T4" fmla="*/ 2606 w 2908"/>
                  <a:gd name="T5" fmla="*/ 2979 h 3703"/>
                  <a:gd name="T6" fmla="*/ 2076 w 2908"/>
                  <a:gd name="T7" fmla="*/ 2058 h 3703"/>
                  <a:gd name="T8" fmla="*/ 1663 w 2908"/>
                  <a:gd name="T9" fmla="*/ 1947 h 3703"/>
                  <a:gd name="T10" fmla="*/ 1575 w 2908"/>
                  <a:gd name="T11" fmla="*/ 1998 h 3703"/>
                  <a:gd name="T12" fmla="*/ 1334 w 2908"/>
                  <a:gd name="T13" fmla="*/ 1579 h 3703"/>
                  <a:gd name="T14" fmla="*/ 1422 w 2908"/>
                  <a:gd name="T15" fmla="*/ 1528 h 3703"/>
                  <a:gd name="T16" fmla="*/ 1533 w 2908"/>
                  <a:gd name="T17" fmla="*/ 1115 h 3703"/>
                  <a:gd name="T18" fmla="*/ 1003 w 2908"/>
                  <a:gd name="T19" fmla="*/ 194 h 3703"/>
                  <a:gd name="T20" fmla="*/ 590 w 2908"/>
                  <a:gd name="T21" fmla="*/ 83 h 3703"/>
                  <a:gd name="T22" fmla="*/ 195 w 2908"/>
                  <a:gd name="T23" fmla="*/ 311 h 3703"/>
                  <a:gd name="T24" fmla="*/ 84 w 2908"/>
                  <a:gd name="T25" fmla="*/ 724 h 3703"/>
                  <a:gd name="T26" fmla="*/ 614 w 2908"/>
                  <a:gd name="T27" fmla="*/ 1644 h 3703"/>
                  <a:gd name="T28" fmla="*/ 1027 w 2908"/>
                  <a:gd name="T29" fmla="*/ 1755 h 3703"/>
                  <a:gd name="T30" fmla="*/ 1109 w 2908"/>
                  <a:gd name="T31" fmla="*/ 1708 h 3703"/>
                  <a:gd name="T32" fmla="*/ 1350 w 2908"/>
                  <a:gd name="T33" fmla="*/ 2127 h 3703"/>
                  <a:gd name="T34" fmla="*/ 1268 w 2908"/>
                  <a:gd name="T35" fmla="*/ 2175 h 3703"/>
                  <a:gd name="T36" fmla="*/ 1157 w 2908"/>
                  <a:gd name="T37" fmla="*/ 2588 h 3703"/>
                  <a:gd name="T38" fmla="*/ 1687 w 2908"/>
                  <a:gd name="T39" fmla="*/ 3508 h 3703"/>
                  <a:gd name="T40" fmla="*/ 2100 w 2908"/>
                  <a:gd name="T41" fmla="*/ 3619 h 3703"/>
                  <a:gd name="T42" fmla="*/ 2283 w 2908"/>
                  <a:gd name="T43" fmla="*/ 3514 h 3703"/>
                  <a:gd name="T44" fmla="*/ 2718 w 2908"/>
                  <a:gd name="T45" fmla="*/ 3633 h 3703"/>
                  <a:gd name="T46" fmla="*/ 2888 w 2908"/>
                  <a:gd name="T47" fmla="*/ 3536 h 3703"/>
                  <a:gd name="T48" fmla="*/ 2888 w 2908"/>
                  <a:gd name="T49" fmla="*/ 3536 h 3703"/>
                  <a:gd name="T50" fmla="*/ 2791 w 2908"/>
                  <a:gd name="T51" fmla="*/ 3366 h 3703"/>
                  <a:gd name="T52" fmla="*/ 896 w 2908"/>
                  <a:gd name="T53" fmla="*/ 1528 h 3703"/>
                  <a:gd name="T54" fmla="*/ 841 w 2908"/>
                  <a:gd name="T55" fmla="*/ 1513 h 3703"/>
                  <a:gd name="T56" fmla="*/ 311 w 2908"/>
                  <a:gd name="T57" fmla="*/ 593 h 3703"/>
                  <a:gd name="T58" fmla="*/ 326 w 2908"/>
                  <a:gd name="T59" fmla="*/ 538 h 3703"/>
                  <a:gd name="T60" fmla="*/ 720 w 2908"/>
                  <a:gd name="T61" fmla="*/ 310 h 3703"/>
                  <a:gd name="T62" fmla="*/ 776 w 2908"/>
                  <a:gd name="T63" fmla="*/ 325 h 3703"/>
                  <a:gd name="T64" fmla="*/ 1306 w 2908"/>
                  <a:gd name="T65" fmla="*/ 1245 h 3703"/>
                  <a:gd name="T66" fmla="*/ 1291 w 2908"/>
                  <a:gd name="T67" fmla="*/ 1301 h 3703"/>
                  <a:gd name="T68" fmla="*/ 1203 w 2908"/>
                  <a:gd name="T69" fmla="*/ 1352 h 3703"/>
                  <a:gd name="T70" fmla="*/ 1154 w 2908"/>
                  <a:gd name="T71" fmla="*/ 1267 h 3703"/>
                  <a:gd name="T72" fmla="*/ 977 w 2908"/>
                  <a:gd name="T73" fmla="*/ 1219 h 3703"/>
                  <a:gd name="T74" fmla="*/ 929 w 2908"/>
                  <a:gd name="T75" fmla="*/ 1396 h 3703"/>
                  <a:gd name="T76" fmla="*/ 978 w 2908"/>
                  <a:gd name="T77" fmla="*/ 1481 h 3703"/>
                  <a:gd name="T78" fmla="*/ 896 w 2908"/>
                  <a:gd name="T79" fmla="*/ 1528 h 3703"/>
                  <a:gd name="T80" fmla="*/ 1384 w 2908"/>
                  <a:gd name="T81" fmla="*/ 2457 h 3703"/>
                  <a:gd name="T82" fmla="*/ 1399 w 2908"/>
                  <a:gd name="T83" fmla="*/ 2401 h 3703"/>
                  <a:gd name="T84" fmla="*/ 1481 w 2908"/>
                  <a:gd name="T85" fmla="*/ 2354 h 3703"/>
                  <a:gd name="T86" fmla="*/ 1556 w 2908"/>
                  <a:gd name="T87" fmla="*/ 2485 h 3703"/>
                  <a:gd name="T88" fmla="*/ 1733 w 2908"/>
                  <a:gd name="T89" fmla="*/ 2532 h 3703"/>
                  <a:gd name="T90" fmla="*/ 1781 w 2908"/>
                  <a:gd name="T91" fmla="*/ 2355 h 3703"/>
                  <a:gd name="T92" fmla="*/ 1706 w 2908"/>
                  <a:gd name="T93" fmla="*/ 2225 h 3703"/>
                  <a:gd name="T94" fmla="*/ 1794 w 2908"/>
                  <a:gd name="T95" fmla="*/ 2174 h 3703"/>
                  <a:gd name="T96" fmla="*/ 1849 w 2908"/>
                  <a:gd name="T97" fmla="*/ 2189 h 3703"/>
                  <a:gd name="T98" fmla="*/ 2379 w 2908"/>
                  <a:gd name="T99" fmla="*/ 3109 h 3703"/>
                  <a:gd name="T100" fmla="*/ 2364 w 2908"/>
                  <a:gd name="T101" fmla="*/ 3165 h 3703"/>
                  <a:gd name="T102" fmla="*/ 2264 w 2908"/>
                  <a:gd name="T103" fmla="*/ 3223 h 3703"/>
                  <a:gd name="T104" fmla="*/ 1914 w 2908"/>
                  <a:gd name="T105" fmla="*/ 3127 h 3703"/>
                  <a:gd name="T106" fmla="*/ 1787 w 2908"/>
                  <a:gd name="T107" fmla="*/ 3157 h 3703"/>
                  <a:gd name="T108" fmla="*/ 1384 w 2908"/>
                  <a:gd name="T109" fmla="*/ 2457 h 3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08" h="3703">
                    <a:moveTo>
                      <a:pt x="2791" y="3366"/>
                    </a:moveTo>
                    <a:cubicBezTo>
                      <a:pt x="2587" y="3311"/>
                      <a:pt x="2587" y="3311"/>
                      <a:pt x="2587" y="3311"/>
                    </a:cubicBezTo>
                    <a:cubicBezTo>
                      <a:pt x="2656" y="3217"/>
                      <a:pt x="2668" y="3087"/>
                      <a:pt x="2606" y="2979"/>
                    </a:cubicBezTo>
                    <a:cubicBezTo>
                      <a:pt x="2076" y="2058"/>
                      <a:pt x="2076" y="2058"/>
                      <a:pt x="2076" y="2058"/>
                    </a:cubicBezTo>
                    <a:cubicBezTo>
                      <a:pt x="1993" y="1914"/>
                      <a:pt x="1808" y="1864"/>
                      <a:pt x="1663" y="1947"/>
                    </a:cubicBezTo>
                    <a:cubicBezTo>
                      <a:pt x="1575" y="1998"/>
                      <a:pt x="1575" y="1998"/>
                      <a:pt x="1575" y="1998"/>
                    </a:cubicBezTo>
                    <a:cubicBezTo>
                      <a:pt x="1334" y="1579"/>
                      <a:pt x="1334" y="1579"/>
                      <a:pt x="1334" y="1579"/>
                    </a:cubicBezTo>
                    <a:cubicBezTo>
                      <a:pt x="1422" y="1528"/>
                      <a:pt x="1422" y="1528"/>
                      <a:pt x="1422" y="1528"/>
                    </a:cubicBezTo>
                    <a:cubicBezTo>
                      <a:pt x="1566" y="1445"/>
                      <a:pt x="1616" y="1260"/>
                      <a:pt x="1533" y="1115"/>
                    </a:cubicBezTo>
                    <a:cubicBezTo>
                      <a:pt x="1003" y="194"/>
                      <a:pt x="1003" y="194"/>
                      <a:pt x="1003" y="194"/>
                    </a:cubicBezTo>
                    <a:cubicBezTo>
                      <a:pt x="920" y="50"/>
                      <a:pt x="735" y="0"/>
                      <a:pt x="590" y="83"/>
                    </a:cubicBezTo>
                    <a:cubicBezTo>
                      <a:pt x="195" y="311"/>
                      <a:pt x="195" y="311"/>
                      <a:pt x="195" y="311"/>
                    </a:cubicBezTo>
                    <a:cubicBezTo>
                      <a:pt x="50" y="394"/>
                      <a:pt x="0" y="579"/>
                      <a:pt x="84" y="724"/>
                    </a:cubicBezTo>
                    <a:cubicBezTo>
                      <a:pt x="614" y="1644"/>
                      <a:pt x="614" y="1644"/>
                      <a:pt x="614" y="1644"/>
                    </a:cubicBezTo>
                    <a:cubicBezTo>
                      <a:pt x="697" y="1789"/>
                      <a:pt x="882" y="1839"/>
                      <a:pt x="1027" y="1755"/>
                    </a:cubicBezTo>
                    <a:cubicBezTo>
                      <a:pt x="1109" y="1708"/>
                      <a:pt x="1109" y="1708"/>
                      <a:pt x="1109" y="1708"/>
                    </a:cubicBezTo>
                    <a:cubicBezTo>
                      <a:pt x="1350" y="2127"/>
                      <a:pt x="1350" y="2127"/>
                      <a:pt x="1350" y="2127"/>
                    </a:cubicBezTo>
                    <a:cubicBezTo>
                      <a:pt x="1268" y="2175"/>
                      <a:pt x="1268" y="2175"/>
                      <a:pt x="1268" y="2175"/>
                    </a:cubicBezTo>
                    <a:cubicBezTo>
                      <a:pt x="1123" y="2258"/>
                      <a:pt x="1074" y="2443"/>
                      <a:pt x="1157" y="2588"/>
                    </a:cubicBezTo>
                    <a:cubicBezTo>
                      <a:pt x="1687" y="3508"/>
                      <a:pt x="1687" y="3508"/>
                      <a:pt x="1687" y="3508"/>
                    </a:cubicBezTo>
                    <a:cubicBezTo>
                      <a:pt x="1770" y="3653"/>
                      <a:pt x="1955" y="3703"/>
                      <a:pt x="2100" y="3619"/>
                    </a:cubicBezTo>
                    <a:cubicBezTo>
                      <a:pt x="2283" y="3514"/>
                      <a:pt x="2283" y="3514"/>
                      <a:pt x="2283" y="3514"/>
                    </a:cubicBezTo>
                    <a:cubicBezTo>
                      <a:pt x="2718" y="3633"/>
                      <a:pt x="2718" y="3633"/>
                      <a:pt x="2718" y="3633"/>
                    </a:cubicBezTo>
                    <a:cubicBezTo>
                      <a:pt x="2792" y="3653"/>
                      <a:pt x="2868" y="3610"/>
                      <a:pt x="2888" y="3536"/>
                    </a:cubicBezTo>
                    <a:cubicBezTo>
                      <a:pt x="2888" y="3536"/>
                      <a:pt x="2888" y="3536"/>
                      <a:pt x="2888" y="3536"/>
                    </a:cubicBezTo>
                    <a:cubicBezTo>
                      <a:pt x="2908" y="3462"/>
                      <a:pt x="2865" y="3387"/>
                      <a:pt x="2791" y="3366"/>
                    </a:cubicBezTo>
                    <a:moveTo>
                      <a:pt x="896" y="1528"/>
                    </a:moveTo>
                    <a:cubicBezTo>
                      <a:pt x="877" y="1539"/>
                      <a:pt x="852" y="1533"/>
                      <a:pt x="841" y="1513"/>
                    </a:cubicBezTo>
                    <a:cubicBezTo>
                      <a:pt x="311" y="593"/>
                      <a:pt x="311" y="593"/>
                      <a:pt x="311" y="593"/>
                    </a:cubicBezTo>
                    <a:cubicBezTo>
                      <a:pt x="300" y="574"/>
                      <a:pt x="306" y="549"/>
                      <a:pt x="326" y="538"/>
                    </a:cubicBezTo>
                    <a:cubicBezTo>
                      <a:pt x="720" y="310"/>
                      <a:pt x="720" y="310"/>
                      <a:pt x="720" y="310"/>
                    </a:cubicBezTo>
                    <a:cubicBezTo>
                      <a:pt x="740" y="299"/>
                      <a:pt x="765" y="306"/>
                      <a:pt x="776" y="325"/>
                    </a:cubicBezTo>
                    <a:cubicBezTo>
                      <a:pt x="1306" y="1245"/>
                      <a:pt x="1306" y="1245"/>
                      <a:pt x="1306" y="1245"/>
                    </a:cubicBezTo>
                    <a:cubicBezTo>
                      <a:pt x="1317" y="1265"/>
                      <a:pt x="1310" y="1290"/>
                      <a:pt x="1291" y="1301"/>
                    </a:cubicBezTo>
                    <a:cubicBezTo>
                      <a:pt x="1203" y="1352"/>
                      <a:pt x="1203" y="1352"/>
                      <a:pt x="1203" y="1352"/>
                    </a:cubicBezTo>
                    <a:cubicBezTo>
                      <a:pt x="1154" y="1267"/>
                      <a:pt x="1154" y="1267"/>
                      <a:pt x="1154" y="1267"/>
                    </a:cubicBezTo>
                    <a:cubicBezTo>
                      <a:pt x="1118" y="1205"/>
                      <a:pt x="1039" y="1183"/>
                      <a:pt x="977" y="1219"/>
                    </a:cubicBezTo>
                    <a:cubicBezTo>
                      <a:pt x="915" y="1255"/>
                      <a:pt x="894" y="1334"/>
                      <a:pt x="929" y="1396"/>
                    </a:cubicBezTo>
                    <a:cubicBezTo>
                      <a:pt x="978" y="1481"/>
                      <a:pt x="978" y="1481"/>
                      <a:pt x="978" y="1481"/>
                    </a:cubicBezTo>
                    <a:lnTo>
                      <a:pt x="896" y="1528"/>
                    </a:lnTo>
                    <a:close/>
                    <a:moveTo>
                      <a:pt x="1384" y="2457"/>
                    </a:moveTo>
                    <a:cubicBezTo>
                      <a:pt x="1373" y="2438"/>
                      <a:pt x="1380" y="2413"/>
                      <a:pt x="1399" y="2401"/>
                    </a:cubicBezTo>
                    <a:cubicBezTo>
                      <a:pt x="1481" y="2354"/>
                      <a:pt x="1481" y="2354"/>
                      <a:pt x="1481" y="2354"/>
                    </a:cubicBezTo>
                    <a:cubicBezTo>
                      <a:pt x="1556" y="2485"/>
                      <a:pt x="1556" y="2485"/>
                      <a:pt x="1556" y="2485"/>
                    </a:cubicBezTo>
                    <a:cubicBezTo>
                      <a:pt x="1592" y="2547"/>
                      <a:pt x="1671" y="2568"/>
                      <a:pt x="1733" y="2532"/>
                    </a:cubicBezTo>
                    <a:cubicBezTo>
                      <a:pt x="1795" y="2496"/>
                      <a:pt x="1817" y="2417"/>
                      <a:pt x="1781" y="2355"/>
                    </a:cubicBezTo>
                    <a:cubicBezTo>
                      <a:pt x="1706" y="2225"/>
                      <a:pt x="1706" y="2225"/>
                      <a:pt x="1706" y="2225"/>
                    </a:cubicBezTo>
                    <a:cubicBezTo>
                      <a:pt x="1794" y="2174"/>
                      <a:pt x="1794" y="2174"/>
                      <a:pt x="1794" y="2174"/>
                    </a:cubicBezTo>
                    <a:cubicBezTo>
                      <a:pt x="1813" y="2163"/>
                      <a:pt x="1838" y="2170"/>
                      <a:pt x="1849" y="2189"/>
                    </a:cubicBezTo>
                    <a:cubicBezTo>
                      <a:pt x="2379" y="3109"/>
                      <a:pt x="2379" y="3109"/>
                      <a:pt x="2379" y="3109"/>
                    </a:cubicBezTo>
                    <a:cubicBezTo>
                      <a:pt x="2390" y="3129"/>
                      <a:pt x="2384" y="3154"/>
                      <a:pt x="2364" y="3165"/>
                    </a:cubicBezTo>
                    <a:cubicBezTo>
                      <a:pt x="2264" y="3223"/>
                      <a:pt x="2264" y="3223"/>
                      <a:pt x="2264" y="3223"/>
                    </a:cubicBezTo>
                    <a:cubicBezTo>
                      <a:pt x="1914" y="3127"/>
                      <a:pt x="1914" y="3127"/>
                      <a:pt x="1914" y="3127"/>
                    </a:cubicBezTo>
                    <a:cubicBezTo>
                      <a:pt x="1868" y="3114"/>
                      <a:pt x="1821" y="3127"/>
                      <a:pt x="1787" y="3157"/>
                    </a:cubicBezTo>
                    <a:lnTo>
                      <a:pt x="1384" y="2457"/>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IN"/>
              </a:p>
            </p:txBody>
          </p:sp>
          <p:sp>
            <p:nvSpPr>
              <p:cNvPr id="381" name="Freeform 26">
                <a:extLst>
                  <a:ext uri="{FF2B5EF4-FFF2-40B4-BE49-F238E27FC236}">
                    <a16:creationId xmlns:a16="http://schemas.microsoft.com/office/drawing/2014/main" id="{7D99D51E-3892-4298-9BAF-D0E8CF786A35}"/>
                  </a:ext>
                </a:extLst>
              </p:cNvPr>
              <p:cNvSpPr>
                <a:spLocks/>
              </p:cNvSpPr>
              <p:nvPr/>
            </p:nvSpPr>
            <p:spPr bwMode="auto">
              <a:xfrm>
                <a:off x="7374659" y="3840835"/>
                <a:ext cx="84577" cy="192581"/>
              </a:xfrm>
              <a:custGeom>
                <a:avLst/>
                <a:gdLst>
                  <a:gd name="T0" fmla="*/ 101 w 213"/>
                  <a:gd name="T1" fmla="*/ 0 h 485"/>
                  <a:gd name="T2" fmla="*/ 213 w 213"/>
                  <a:gd name="T3" fmla="*/ 24 h 485"/>
                  <a:gd name="T4" fmla="*/ 111 w 213"/>
                  <a:gd name="T5" fmla="*/ 485 h 485"/>
                  <a:gd name="T6" fmla="*/ 0 w 213"/>
                  <a:gd name="T7" fmla="*/ 461 h 485"/>
                  <a:gd name="T8" fmla="*/ 101 w 213"/>
                  <a:gd name="T9" fmla="*/ 0 h 485"/>
                </a:gdLst>
                <a:ahLst/>
                <a:cxnLst>
                  <a:cxn ang="0">
                    <a:pos x="T0" y="T1"/>
                  </a:cxn>
                  <a:cxn ang="0">
                    <a:pos x="T2" y="T3"/>
                  </a:cxn>
                  <a:cxn ang="0">
                    <a:pos x="T4" y="T5"/>
                  </a:cxn>
                  <a:cxn ang="0">
                    <a:pos x="T6" y="T7"/>
                  </a:cxn>
                  <a:cxn ang="0">
                    <a:pos x="T8" y="T9"/>
                  </a:cxn>
                </a:cxnLst>
                <a:rect l="0" t="0" r="r" b="b"/>
                <a:pathLst>
                  <a:path w="213" h="485">
                    <a:moveTo>
                      <a:pt x="101" y="0"/>
                    </a:moveTo>
                    <a:lnTo>
                      <a:pt x="213" y="24"/>
                    </a:lnTo>
                    <a:lnTo>
                      <a:pt x="111" y="485"/>
                    </a:lnTo>
                    <a:lnTo>
                      <a:pt x="0" y="461"/>
                    </a:lnTo>
                    <a:lnTo>
                      <a:pt x="101"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a:p>
            </p:txBody>
          </p:sp>
          <p:sp>
            <p:nvSpPr>
              <p:cNvPr id="382" name="Freeform: Shape 381">
                <a:extLst>
                  <a:ext uri="{FF2B5EF4-FFF2-40B4-BE49-F238E27FC236}">
                    <a16:creationId xmlns:a16="http://schemas.microsoft.com/office/drawing/2014/main" id="{14DE6F30-A5DC-4054-A041-3BE984CA773A}"/>
                  </a:ext>
                </a:extLst>
              </p:cNvPr>
              <p:cNvSpPr>
                <a:spLocks/>
              </p:cNvSpPr>
              <p:nvPr/>
            </p:nvSpPr>
            <p:spPr bwMode="auto">
              <a:xfrm>
                <a:off x="7155474" y="3695796"/>
                <a:ext cx="260084" cy="328090"/>
              </a:xfrm>
              <a:custGeom>
                <a:avLst/>
                <a:gdLst>
                  <a:gd name="connsiteX0" fmla="*/ 536089 w 1039813"/>
                  <a:gd name="connsiteY0" fmla="*/ 100442 h 1311705"/>
                  <a:gd name="connsiteX1" fmla="*/ 593528 w 1039813"/>
                  <a:gd name="connsiteY1" fmla="*/ 198874 h 1311705"/>
                  <a:gd name="connsiteX2" fmla="*/ 576661 w 1039813"/>
                  <a:gd name="connsiteY2" fmla="*/ 244445 h 1311705"/>
                  <a:gd name="connsiteX3" fmla="*/ 527884 w 1039813"/>
                  <a:gd name="connsiteY3" fmla="*/ 467284 h 1311705"/>
                  <a:gd name="connsiteX4" fmla="*/ 880719 w 1039813"/>
                  <a:gd name="connsiteY4" fmla="*/ 544754 h 1311705"/>
                  <a:gd name="connsiteX5" fmla="*/ 915364 w 1039813"/>
                  <a:gd name="connsiteY5" fmla="*/ 387080 h 1311705"/>
                  <a:gd name="connsiteX6" fmla="*/ 1034799 w 1039813"/>
                  <a:gd name="connsiteY6" fmla="*/ 319636 h 1311705"/>
                  <a:gd name="connsiteX7" fmla="*/ 1030696 w 1039813"/>
                  <a:gd name="connsiteY7" fmla="*/ 344244 h 1311705"/>
                  <a:gd name="connsiteX8" fmla="*/ 981463 w 1039813"/>
                  <a:gd name="connsiteY8" fmla="*/ 566628 h 1311705"/>
                  <a:gd name="connsiteX9" fmla="*/ 1039813 w 1039813"/>
                  <a:gd name="connsiteY9" fmla="*/ 579388 h 1311705"/>
                  <a:gd name="connsiteX10" fmla="*/ 878895 w 1039813"/>
                  <a:gd name="connsiteY10" fmla="*/ 1311705 h 1311705"/>
                  <a:gd name="connsiteX11" fmla="*/ 0 w 1039813"/>
                  <a:gd name="connsiteY11" fmla="*/ 1119398 h 1311705"/>
                  <a:gd name="connsiteX12" fmla="*/ 160462 w 1039813"/>
                  <a:gd name="connsiteY12" fmla="*/ 386625 h 1311705"/>
                  <a:gd name="connsiteX13" fmla="*/ 426683 w 1039813"/>
                  <a:gd name="connsiteY13" fmla="*/ 445411 h 1311705"/>
                  <a:gd name="connsiteX14" fmla="*/ 475460 w 1039813"/>
                  <a:gd name="connsiteY14" fmla="*/ 222571 h 1311705"/>
                  <a:gd name="connsiteX15" fmla="*/ 536089 w 1039813"/>
                  <a:gd name="connsiteY15" fmla="*/ 100442 h 1311705"/>
                  <a:gd name="connsiteX16" fmla="*/ 720050 w 1039813"/>
                  <a:gd name="connsiteY16" fmla="*/ 2117 h 1311705"/>
                  <a:gd name="connsiteX17" fmla="*/ 815115 w 1039813"/>
                  <a:gd name="connsiteY17" fmla="*/ 6616 h 1311705"/>
                  <a:gd name="connsiteX18" fmla="*/ 1023938 w 1039813"/>
                  <a:gd name="connsiteY18" fmla="*/ 196610 h 1311705"/>
                  <a:gd name="connsiteX19" fmla="*/ 995669 w 1039813"/>
                  <a:gd name="connsiteY19" fmla="*/ 208456 h 1311705"/>
                  <a:gd name="connsiteX20" fmla="*/ 930469 w 1039813"/>
                  <a:gd name="connsiteY20" fmla="*/ 244905 h 1311705"/>
                  <a:gd name="connsiteX21" fmla="*/ 792774 w 1039813"/>
                  <a:gd name="connsiteY21" fmla="*/ 107308 h 1311705"/>
                  <a:gd name="connsiteX22" fmla="*/ 682891 w 1039813"/>
                  <a:gd name="connsiteY22" fmla="*/ 117787 h 1311705"/>
                  <a:gd name="connsiteX23" fmla="*/ 631825 w 1039813"/>
                  <a:gd name="connsiteY23" fmla="*/ 28030 h 1311705"/>
                  <a:gd name="connsiteX24" fmla="*/ 720050 w 1039813"/>
                  <a:gd name="connsiteY24" fmla="*/ 2117 h 131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39813" h="1311705">
                    <a:moveTo>
                      <a:pt x="536089" y="100442"/>
                    </a:moveTo>
                    <a:cubicBezTo>
                      <a:pt x="553412" y="130063"/>
                      <a:pt x="586234" y="186570"/>
                      <a:pt x="593528" y="198874"/>
                    </a:cubicBezTo>
                    <a:cubicBezTo>
                      <a:pt x="586234" y="213001"/>
                      <a:pt x="580308" y="228495"/>
                      <a:pt x="576661" y="244445"/>
                    </a:cubicBezTo>
                    <a:cubicBezTo>
                      <a:pt x="576661" y="244445"/>
                      <a:pt x="576661" y="244445"/>
                      <a:pt x="527884" y="467284"/>
                    </a:cubicBezTo>
                    <a:cubicBezTo>
                      <a:pt x="527884" y="467284"/>
                      <a:pt x="527884" y="467284"/>
                      <a:pt x="880719" y="544754"/>
                    </a:cubicBezTo>
                    <a:cubicBezTo>
                      <a:pt x="880719" y="544754"/>
                      <a:pt x="880719" y="544754"/>
                      <a:pt x="915364" y="387080"/>
                    </a:cubicBezTo>
                    <a:cubicBezTo>
                      <a:pt x="915364" y="387080"/>
                      <a:pt x="915364" y="387080"/>
                      <a:pt x="1034799" y="319636"/>
                    </a:cubicBezTo>
                    <a:cubicBezTo>
                      <a:pt x="1033431" y="327839"/>
                      <a:pt x="1032519" y="336041"/>
                      <a:pt x="1030696" y="344244"/>
                    </a:cubicBezTo>
                    <a:cubicBezTo>
                      <a:pt x="1030696" y="344244"/>
                      <a:pt x="1030696" y="344244"/>
                      <a:pt x="981463" y="566628"/>
                    </a:cubicBezTo>
                    <a:lnTo>
                      <a:pt x="1039813" y="579388"/>
                    </a:lnTo>
                    <a:cubicBezTo>
                      <a:pt x="1039813" y="579388"/>
                      <a:pt x="1039813" y="579388"/>
                      <a:pt x="878895" y="1311705"/>
                    </a:cubicBezTo>
                    <a:cubicBezTo>
                      <a:pt x="878895" y="1311705"/>
                      <a:pt x="878895" y="1311705"/>
                      <a:pt x="0" y="1119398"/>
                    </a:cubicBezTo>
                    <a:cubicBezTo>
                      <a:pt x="0" y="1119398"/>
                      <a:pt x="0" y="1119398"/>
                      <a:pt x="160462" y="386625"/>
                    </a:cubicBezTo>
                    <a:cubicBezTo>
                      <a:pt x="160462" y="386625"/>
                      <a:pt x="160462" y="386625"/>
                      <a:pt x="426683" y="445411"/>
                    </a:cubicBezTo>
                    <a:cubicBezTo>
                      <a:pt x="426683" y="445411"/>
                      <a:pt x="426683" y="445411"/>
                      <a:pt x="475460" y="222571"/>
                    </a:cubicBezTo>
                    <a:cubicBezTo>
                      <a:pt x="485945" y="175633"/>
                      <a:pt x="507370" y="134620"/>
                      <a:pt x="536089" y="100442"/>
                    </a:cubicBezTo>
                    <a:close/>
                    <a:moveTo>
                      <a:pt x="720050" y="2117"/>
                    </a:moveTo>
                    <a:cubicBezTo>
                      <a:pt x="750941" y="-1699"/>
                      <a:pt x="782971" y="-446"/>
                      <a:pt x="815115" y="6616"/>
                    </a:cubicBezTo>
                    <a:cubicBezTo>
                      <a:pt x="916791" y="28942"/>
                      <a:pt x="993846" y="103663"/>
                      <a:pt x="1023938" y="196610"/>
                    </a:cubicBezTo>
                    <a:cubicBezTo>
                      <a:pt x="1014819" y="199343"/>
                      <a:pt x="1003421" y="203899"/>
                      <a:pt x="995669" y="208456"/>
                    </a:cubicBezTo>
                    <a:cubicBezTo>
                      <a:pt x="987007" y="213467"/>
                      <a:pt x="958738" y="229414"/>
                      <a:pt x="930469" y="244905"/>
                    </a:cubicBezTo>
                    <a:cubicBezTo>
                      <a:pt x="915423" y="178385"/>
                      <a:pt x="863901" y="122799"/>
                      <a:pt x="792774" y="107308"/>
                    </a:cubicBezTo>
                    <a:cubicBezTo>
                      <a:pt x="754474" y="99107"/>
                      <a:pt x="716631" y="103663"/>
                      <a:pt x="682891" y="117787"/>
                    </a:cubicBezTo>
                    <a:cubicBezTo>
                      <a:pt x="682891" y="117787"/>
                      <a:pt x="682891" y="117787"/>
                      <a:pt x="631825" y="28030"/>
                    </a:cubicBezTo>
                    <a:cubicBezTo>
                      <a:pt x="659410" y="14818"/>
                      <a:pt x="689160" y="5933"/>
                      <a:pt x="720050" y="2117"/>
                    </a:cubicBezTo>
                    <a:close/>
                  </a:path>
                </a:pathLst>
              </a:custGeom>
              <a:solidFill>
                <a:schemeClr val="accent3"/>
              </a:solidFill>
              <a:ln>
                <a:noFill/>
              </a:ln>
            </p:spPr>
            <p:txBody>
              <a:bodyPr vert="horz" wrap="square" lIns="91427" tIns="45713" rIns="91427" bIns="45713" numCol="1" anchor="t" anchorCtr="0" compatLnSpc="1">
                <a:prstTxWarp prst="textNoShape">
                  <a:avLst/>
                </a:prstTxWarp>
                <a:noAutofit/>
              </a:bodyPr>
              <a:lstStyle/>
              <a:p>
                <a:endParaRPr lang="en-IN"/>
              </a:p>
            </p:txBody>
          </p:sp>
          <p:sp>
            <p:nvSpPr>
              <p:cNvPr id="384" name="Freeform 28">
                <a:extLst>
                  <a:ext uri="{FF2B5EF4-FFF2-40B4-BE49-F238E27FC236}">
                    <a16:creationId xmlns:a16="http://schemas.microsoft.com/office/drawing/2014/main" id="{F15840E4-1F42-45D1-A76A-1880748CA20C}"/>
                  </a:ext>
                </a:extLst>
              </p:cNvPr>
              <p:cNvSpPr>
                <a:spLocks/>
              </p:cNvSpPr>
              <p:nvPr/>
            </p:nvSpPr>
            <p:spPr bwMode="auto">
              <a:xfrm>
                <a:off x="7182872" y="3839247"/>
                <a:ext cx="181066" cy="52017"/>
              </a:xfrm>
              <a:custGeom>
                <a:avLst/>
                <a:gdLst>
                  <a:gd name="T0" fmla="*/ 449 w 456"/>
                  <a:gd name="T1" fmla="*/ 131 h 131"/>
                  <a:gd name="T2" fmla="*/ 0 w 456"/>
                  <a:gd name="T3" fmla="*/ 33 h 131"/>
                  <a:gd name="T4" fmla="*/ 7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7"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a:p>
            </p:txBody>
          </p:sp>
          <p:sp>
            <p:nvSpPr>
              <p:cNvPr id="403" name="Freeform 29">
                <a:extLst>
                  <a:ext uri="{FF2B5EF4-FFF2-40B4-BE49-F238E27FC236}">
                    <a16:creationId xmlns:a16="http://schemas.microsoft.com/office/drawing/2014/main" id="{F391488F-7EA4-4D70-A461-B5D53AEB2585}"/>
                  </a:ext>
                </a:extLst>
              </p:cNvPr>
              <p:cNvSpPr>
                <a:spLocks/>
              </p:cNvSpPr>
              <p:nvPr/>
            </p:nvSpPr>
            <p:spPr bwMode="auto">
              <a:xfrm>
                <a:off x="7174136" y="3878160"/>
                <a:ext cx="181066" cy="52414"/>
              </a:xfrm>
              <a:custGeom>
                <a:avLst/>
                <a:gdLst>
                  <a:gd name="T0" fmla="*/ 449 w 456"/>
                  <a:gd name="T1" fmla="*/ 132 h 132"/>
                  <a:gd name="T2" fmla="*/ 0 w 456"/>
                  <a:gd name="T3" fmla="*/ 33 h 132"/>
                  <a:gd name="T4" fmla="*/ 7 w 456"/>
                  <a:gd name="T5" fmla="*/ 0 h 132"/>
                  <a:gd name="T6" fmla="*/ 456 w 456"/>
                  <a:gd name="T7" fmla="*/ 99 h 132"/>
                  <a:gd name="T8" fmla="*/ 449 w 456"/>
                  <a:gd name="T9" fmla="*/ 132 h 132"/>
                </a:gdLst>
                <a:ahLst/>
                <a:cxnLst>
                  <a:cxn ang="0">
                    <a:pos x="T0" y="T1"/>
                  </a:cxn>
                  <a:cxn ang="0">
                    <a:pos x="T2" y="T3"/>
                  </a:cxn>
                  <a:cxn ang="0">
                    <a:pos x="T4" y="T5"/>
                  </a:cxn>
                  <a:cxn ang="0">
                    <a:pos x="T6" y="T7"/>
                  </a:cxn>
                  <a:cxn ang="0">
                    <a:pos x="T8" y="T9"/>
                  </a:cxn>
                </a:cxnLst>
                <a:rect l="0" t="0" r="r" b="b"/>
                <a:pathLst>
                  <a:path w="456" h="132">
                    <a:moveTo>
                      <a:pt x="449" y="132"/>
                    </a:moveTo>
                    <a:lnTo>
                      <a:pt x="0" y="33"/>
                    </a:lnTo>
                    <a:lnTo>
                      <a:pt x="7" y="0"/>
                    </a:lnTo>
                    <a:lnTo>
                      <a:pt x="456" y="99"/>
                    </a:lnTo>
                    <a:lnTo>
                      <a:pt x="449" y="13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a:p>
            </p:txBody>
          </p:sp>
          <p:sp>
            <p:nvSpPr>
              <p:cNvPr id="432" name="Freeform 30">
                <a:extLst>
                  <a:ext uri="{FF2B5EF4-FFF2-40B4-BE49-F238E27FC236}">
                    <a16:creationId xmlns:a16="http://schemas.microsoft.com/office/drawing/2014/main" id="{94C64B61-DDD8-459D-982B-72753731AB7D}"/>
                  </a:ext>
                </a:extLst>
              </p:cNvPr>
              <p:cNvSpPr>
                <a:spLocks/>
              </p:cNvSpPr>
              <p:nvPr/>
            </p:nvSpPr>
            <p:spPr bwMode="auto">
              <a:xfrm>
                <a:off x="7165400" y="3917471"/>
                <a:ext cx="181066" cy="52017"/>
              </a:xfrm>
              <a:custGeom>
                <a:avLst/>
                <a:gdLst>
                  <a:gd name="T0" fmla="*/ 449 w 456"/>
                  <a:gd name="T1" fmla="*/ 131 h 131"/>
                  <a:gd name="T2" fmla="*/ 0 w 456"/>
                  <a:gd name="T3" fmla="*/ 33 h 131"/>
                  <a:gd name="T4" fmla="*/ 8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8"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a:p>
            </p:txBody>
          </p:sp>
        </p:grpSp>
        <p:grpSp>
          <p:nvGrpSpPr>
            <p:cNvPr id="261" name="Group 260">
              <a:extLst>
                <a:ext uri="{FF2B5EF4-FFF2-40B4-BE49-F238E27FC236}">
                  <a16:creationId xmlns:a16="http://schemas.microsoft.com/office/drawing/2014/main" id="{2F676A11-A26F-4906-BCA4-C5F9B054A549}"/>
                </a:ext>
              </a:extLst>
            </p:cNvPr>
            <p:cNvGrpSpPr/>
            <p:nvPr/>
          </p:nvGrpSpPr>
          <p:grpSpPr>
            <a:xfrm>
              <a:off x="1037589" y="3004744"/>
              <a:ext cx="1633347" cy="1396871"/>
              <a:chOff x="948593" y="3004744"/>
              <a:chExt cx="1633347" cy="1396871"/>
            </a:xfrm>
          </p:grpSpPr>
          <p:sp>
            <p:nvSpPr>
              <p:cNvPr id="326" name="Rectangle 9">
                <a:extLst>
                  <a:ext uri="{FF2B5EF4-FFF2-40B4-BE49-F238E27FC236}">
                    <a16:creationId xmlns:a16="http://schemas.microsoft.com/office/drawing/2014/main" id="{F718B6E2-8E7E-42D7-B2C9-3D2D591AC37E}"/>
                  </a:ext>
                </a:extLst>
              </p:cNvPr>
              <p:cNvSpPr>
                <a:spLocks noChangeArrowheads="1"/>
              </p:cNvSpPr>
              <p:nvPr/>
            </p:nvSpPr>
            <p:spPr bwMode="auto">
              <a:xfrm>
                <a:off x="948593" y="4167146"/>
                <a:ext cx="1633347" cy="234469"/>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a:p>
            </p:txBody>
          </p:sp>
          <p:sp>
            <p:nvSpPr>
              <p:cNvPr id="575" name="Freeform 220">
                <a:extLst>
                  <a:ext uri="{FF2B5EF4-FFF2-40B4-BE49-F238E27FC236}">
                    <a16:creationId xmlns:a16="http://schemas.microsoft.com/office/drawing/2014/main" id="{0E7A96EE-553C-4230-A4D6-2FCB1C3A664E}"/>
                  </a:ext>
                </a:extLst>
              </p:cNvPr>
              <p:cNvSpPr>
                <a:spLocks/>
              </p:cNvSpPr>
              <p:nvPr/>
            </p:nvSpPr>
            <p:spPr bwMode="auto">
              <a:xfrm>
                <a:off x="1136782" y="4258742"/>
                <a:ext cx="1314120" cy="65849"/>
              </a:xfrm>
              <a:custGeom>
                <a:avLst/>
                <a:gdLst>
                  <a:gd name="T0" fmla="*/ 482 w 512"/>
                  <a:gd name="T1" fmla="*/ 60 h 60"/>
                  <a:gd name="T2" fmla="*/ 30 w 512"/>
                  <a:gd name="T3" fmla="*/ 60 h 60"/>
                  <a:gd name="T4" fmla="*/ 0 w 512"/>
                  <a:gd name="T5" fmla="*/ 30 h 60"/>
                  <a:gd name="T6" fmla="*/ 30 w 512"/>
                  <a:gd name="T7" fmla="*/ 0 h 60"/>
                  <a:gd name="T8" fmla="*/ 482 w 512"/>
                  <a:gd name="T9" fmla="*/ 0 h 60"/>
                  <a:gd name="T10" fmla="*/ 512 w 512"/>
                  <a:gd name="T11" fmla="*/ 30 h 60"/>
                  <a:gd name="T12" fmla="*/ 482 w 5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12" h="60">
                    <a:moveTo>
                      <a:pt x="482" y="60"/>
                    </a:moveTo>
                    <a:cubicBezTo>
                      <a:pt x="30" y="60"/>
                      <a:pt x="30" y="60"/>
                      <a:pt x="30" y="60"/>
                    </a:cubicBezTo>
                    <a:cubicBezTo>
                      <a:pt x="14" y="60"/>
                      <a:pt x="0" y="47"/>
                      <a:pt x="0" y="30"/>
                    </a:cubicBezTo>
                    <a:cubicBezTo>
                      <a:pt x="0" y="14"/>
                      <a:pt x="14" y="0"/>
                      <a:pt x="30" y="0"/>
                    </a:cubicBezTo>
                    <a:cubicBezTo>
                      <a:pt x="482" y="0"/>
                      <a:pt x="482" y="0"/>
                      <a:pt x="482" y="0"/>
                    </a:cubicBezTo>
                    <a:cubicBezTo>
                      <a:pt x="499" y="0"/>
                      <a:pt x="512" y="14"/>
                      <a:pt x="512" y="30"/>
                    </a:cubicBezTo>
                    <a:cubicBezTo>
                      <a:pt x="512" y="47"/>
                      <a:pt x="499" y="60"/>
                      <a:pt x="482" y="60"/>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40" name="Freeform 221">
                <a:extLst>
                  <a:ext uri="{FF2B5EF4-FFF2-40B4-BE49-F238E27FC236}">
                    <a16:creationId xmlns:a16="http://schemas.microsoft.com/office/drawing/2014/main" id="{E1E1D025-9418-4C46-9538-459256D22A0C}"/>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1" name="Freeform 222">
                <a:extLst>
                  <a:ext uri="{FF2B5EF4-FFF2-40B4-BE49-F238E27FC236}">
                    <a16:creationId xmlns:a16="http://schemas.microsoft.com/office/drawing/2014/main" id="{6A3E3435-C2F0-4AB6-9B49-57C9D88FB84B}"/>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42" name="Freeform 223">
                <a:extLst>
                  <a:ext uri="{FF2B5EF4-FFF2-40B4-BE49-F238E27FC236}">
                    <a16:creationId xmlns:a16="http://schemas.microsoft.com/office/drawing/2014/main" id="{86BFEDAC-D334-4D5F-B402-AB2B72FE6592}"/>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3" name="Freeform 224">
                <a:extLst>
                  <a:ext uri="{FF2B5EF4-FFF2-40B4-BE49-F238E27FC236}">
                    <a16:creationId xmlns:a16="http://schemas.microsoft.com/office/drawing/2014/main" id="{C4E183FF-B3BB-44D5-9E61-6A2C936804F7}"/>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44" name="Freeform 225">
                <a:extLst>
                  <a:ext uri="{FF2B5EF4-FFF2-40B4-BE49-F238E27FC236}">
                    <a16:creationId xmlns:a16="http://schemas.microsoft.com/office/drawing/2014/main" id="{D4791C11-F3F7-4622-84E8-F742581142A0}"/>
                  </a:ext>
                </a:extLst>
              </p:cNvPr>
              <p:cNvSpPr>
                <a:spLocks/>
              </p:cNvSpPr>
              <p:nvPr/>
            </p:nvSpPr>
            <p:spPr bwMode="auto">
              <a:xfrm>
                <a:off x="1362553" y="3278161"/>
                <a:ext cx="329246" cy="403684"/>
              </a:xfrm>
              <a:custGeom>
                <a:avLst/>
                <a:gdLst>
                  <a:gd name="T0" fmla="*/ 271 w 298"/>
                  <a:gd name="T1" fmla="*/ 367 h 367"/>
                  <a:gd name="T2" fmla="*/ 27 w 298"/>
                  <a:gd name="T3" fmla="*/ 367 h 367"/>
                  <a:gd name="T4" fmla="*/ 0 w 298"/>
                  <a:gd name="T5" fmla="*/ 70 h 367"/>
                  <a:gd name="T6" fmla="*/ 83 w 298"/>
                  <a:gd name="T7" fmla="*/ 1 h 367"/>
                  <a:gd name="T8" fmla="*/ 215 w 298"/>
                  <a:gd name="T9" fmla="*/ 0 h 367"/>
                  <a:gd name="T10" fmla="*/ 298 w 298"/>
                  <a:gd name="T11" fmla="*/ 69 h 367"/>
                  <a:gd name="T12" fmla="*/ 271 w 298"/>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298" h="367">
                    <a:moveTo>
                      <a:pt x="271" y="367"/>
                    </a:moveTo>
                    <a:cubicBezTo>
                      <a:pt x="27" y="367"/>
                      <a:pt x="27" y="367"/>
                      <a:pt x="27" y="367"/>
                    </a:cubicBezTo>
                    <a:cubicBezTo>
                      <a:pt x="0" y="70"/>
                      <a:pt x="0" y="70"/>
                      <a:pt x="0" y="70"/>
                    </a:cubicBezTo>
                    <a:cubicBezTo>
                      <a:pt x="9" y="32"/>
                      <a:pt x="44" y="1"/>
                      <a:pt x="83" y="1"/>
                    </a:cubicBezTo>
                    <a:cubicBezTo>
                      <a:pt x="215" y="0"/>
                      <a:pt x="215" y="0"/>
                      <a:pt x="215" y="0"/>
                    </a:cubicBezTo>
                    <a:cubicBezTo>
                      <a:pt x="254" y="0"/>
                      <a:pt x="289" y="31"/>
                      <a:pt x="298" y="69"/>
                    </a:cubicBezTo>
                    <a:cubicBezTo>
                      <a:pt x="271" y="367"/>
                      <a:pt x="271" y="367"/>
                      <a:pt x="271" y="367"/>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a:p>
            </p:txBody>
          </p:sp>
          <p:sp>
            <p:nvSpPr>
              <p:cNvPr id="645" name="Freeform 226">
                <a:extLst>
                  <a:ext uri="{FF2B5EF4-FFF2-40B4-BE49-F238E27FC236}">
                    <a16:creationId xmlns:a16="http://schemas.microsoft.com/office/drawing/2014/main" id="{ACA88BF9-018C-47EC-BAF7-2E5DF113BE0D}"/>
                  </a:ext>
                </a:extLst>
              </p:cNvPr>
              <p:cNvSpPr>
                <a:spLocks/>
              </p:cNvSpPr>
              <p:nvPr/>
            </p:nvSpPr>
            <p:spPr bwMode="auto">
              <a:xfrm>
                <a:off x="1485663" y="3278161"/>
                <a:ext cx="84459" cy="177507"/>
              </a:xfrm>
              <a:custGeom>
                <a:avLst/>
                <a:gdLst>
                  <a:gd name="T0" fmla="*/ 29 w 59"/>
                  <a:gd name="T1" fmla="*/ 124 h 124"/>
                  <a:gd name="T2" fmla="*/ 0 w 59"/>
                  <a:gd name="T3" fmla="*/ 0 h 124"/>
                  <a:gd name="T4" fmla="*/ 59 w 59"/>
                  <a:gd name="T5" fmla="*/ 0 h 124"/>
                  <a:gd name="T6" fmla="*/ 29 w 59"/>
                  <a:gd name="T7" fmla="*/ 124 h 124"/>
                </a:gdLst>
                <a:ahLst/>
                <a:cxnLst>
                  <a:cxn ang="0">
                    <a:pos x="T0" y="T1"/>
                  </a:cxn>
                  <a:cxn ang="0">
                    <a:pos x="T2" y="T3"/>
                  </a:cxn>
                  <a:cxn ang="0">
                    <a:pos x="T4" y="T5"/>
                  </a:cxn>
                  <a:cxn ang="0">
                    <a:pos x="T6" y="T7"/>
                  </a:cxn>
                </a:cxnLst>
                <a:rect l="0" t="0" r="r" b="b"/>
                <a:pathLst>
                  <a:path w="59" h="124">
                    <a:moveTo>
                      <a:pt x="29" y="124"/>
                    </a:moveTo>
                    <a:lnTo>
                      <a:pt x="0" y="0"/>
                    </a:lnTo>
                    <a:lnTo>
                      <a:pt x="59" y="0"/>
                    </a:lnTo>
                    <a:lnTo>
                      <a:pt x="29"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6" name="Freeform 227">
                <a:extLst>
                  <a:ext uri="{FF2B5EF4-FFF2-40B4-BE49-F238E27FC236}">
                    <a16:creationId xmlns:a16="http://schemas.microsoft.com/office/drawing/2014/main" id="{827AB62A-7E5C-44E9-A8D9-55C704EF9DFB}"/>
                  </a:ext>
                </a:extLst>
              </p:cNvPr>
              <p:cNvSpPr>
                <a:spLocks/>
              </p:cNvSpPr>
              <p:nvPr/>
            </p:nvSpPr>
            <p:spPr bwMode="auto">
              <a:xfrm>
                <a:off x="1394047" y="3681845"/>
                <a:ext cx="267692" cy="503890"/>
              </a:xfrm>
              <a:custGeom>
                <a:avLst/>
                <a:gdLst>
                  <a:gd name="T0" fmla="*/ 24 w 243"/>
                  <a:gd name="T1" fmla="*/ 459 h 459"/>
                  <a:gd name="T2" fmla="*/ 80 w 243"/>
                  <a:gd name="T3" fmla="*/ 459 h 459"/>
                  <a:gd name="T4" fmla="*/ 86 w 243"/>
                  <a:gd name="T5" fmla="*/ 240 h 459"/>
                  <a:gd name="T6" fmla="*/ 110 w 243"/>
                  <a:gd name="T7" fmla="*/ 114 h 459"/>
                  <a:gd name="T8" fmla="*/ 121 w 243"/>
                  <a:gd name="T9" fmla="*/ 110 h 459"/>
                  <a:gd name="T10" fmla="*/ 134 w 243"/>
                  <a:gd name="T11" fmla="*/ 113 h 459"/>
                  <a:gd name="T12" fmla="*/ 157 w 243"/>
                  <a:gd name="T13" fmla="*/ 240 h 459"/>
                  <a:gd name="T14" fmla="*/ 163 w 243"/>
                  <a:gd name="T15" fmla="*/ 459 h 459"/>
                  <a:gd name="T16" fmla="*/ 218 w 243"/>
                  <a:gd name="T17" fmla="*/ 459 h 459"/>
                  <a:gd name="T18" fmla="*/ 241 w 243"/>
                  <a:gd name="T19" fmla="*/ 243 h 459"/>
                  <a:gd name="T20" fmla="*/ 243 w 243"/>
                  <a:gd name="T21" fmla="*/ 0 h 459"/>
                  <a:gd name="T22" fmla="*/ 0 w 243"/>
                  <a:gd name="T23" fmla="*/ 0 h 459"/>
                  <a:gd name="T24" fmla="*/ 2 w 243"/>
                  <a:gd name="T25" fmla="*/ 243 h 459"/>
                  <a:gd name="T26" fmla="*/ 24 w 243"/>
                  <a:gd name="T2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459">
                    <a:moveTo>
                      <a:pt x="24" y="459"/>
                    </a:moveTo>
                    <a:cubicBezTo>
                      <a:pt x="80" y="459"/>
                      <a:pt x="80" y="459"/>
                      <a:pt x="80" y="459"/>
                    </a:cubicBezTo>
                    <a:cubicBezTo>
                      <a:pt x="86" y="240"/>
                      <a:pt x="86" y="240"/>
                      <a:pt x="86" y="240"/>
                    </a:cubicBezTo>
                    <a:cubicBezTo>
                      <a:pt x="110" y="114"/>
                      <a:pt x="110" y="114"/>
                      <a:pt x="110" y="114"/>
                    </a:cubicBezTo>
                    <a:cubicBezTo>
                      <a:pt x="117" y="111"/>
                      <a:pt x="119" y="110"/>
                      <a:pt x="121" y="110"/>
                    </a:cubicBezTo>
                    <a:cubicBezTo>
                      <a:pt x="123" y="110"/>
                      <a:pt x="125" y="111"/>
                      <a:pt x="134" y="113"/>
                    </a:cubicBezTo>
                    <a:cubicBezTo>
                      <a:pt x="157" y="240"/>
                      <a:pt x="157" y="240"/>
                      <a:pt x="157" y="240"/>
                    </a:cubicBezTo>
                    <a:cubicBezTo>
                      <a:pt x="163" y="459"/>
                      <a:pt x="163" y="459"/>
                      <a:pt x="163" y="459"/>
                    </a:cubicBezTo>
                    <a:cubicBezTo>
                      <a:pt x="218" y="459"/>
                      <a:pt x="218" y="459"/>
                      <a:pt x="218" y="459"/>
                    </a:cubicBezTo>
                    <a:cubicBezTo>
                      <a:pt x="241" y="243"/>
                      <a:pt x="241" y="243"/>
                      <a:pt x="241" y="243"/>
                    </a:cubicBezTo>
                    <a:cubicBezTo>
                      <a:pt x="243" y="0"/>
                      <a:pt x="243" y="0"/>
                      <a:pt x="243" y="0"/>
                    </a:cubicBezTo>
                    <a:cubicBezTo>
                      <a:pt x="0" y="0"/>
                      <a:pt x="0" y="0"/>
                      <a:pt x="0" y="0"/>
                    </a:cubicBezTo>
                    <a:cubicBezTo>
                      <a:pt x="2" y="243"/>
                      <a:pt x="2" y="243"/>
                      <a:pt x="2" y="243"/>
                    </a:cubicBezTo>
                    <a:lnTo>
                      <a:pt x="24" y="459"/>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47" name="Freeform 228">
                <a:extLst>
                  <a:ext uri="{FF2B5EF4-FFF2-40B4-BE49-F238E27FC236}">
                    <a16:creationId xmlns:a16="http://schemas.microsoft.com/office/drawing/2014/main" id="{792F3245-11F6-4782-A15B-68A6AB33D435}"/>
                  </a:ext>
                </a:extLst>
              </p:cNvPr>
              <p:cNvSpPr>
                <a:spLocks/>
              </p:cNvSpPr>
              <p:nvPr/>
            </p:nvSpPr>
            <p:spPr bwMode="auto">
              <a:xfrm>
                <a:off x="1469917" y="3802092"/>
                <a:ext cx="57260" cy="383643"/>
              </a:xfrm>
              <a:custGeom>
                <a:avLst/>
                <a:gdLst>
                  <a:gd name="T0" fmla="*/ 51 w 51"/>
                  <a:gd name="T1" fmla="*/ 0 h 349"/>
                  <a:gd name="T2" fmla="*/ 42 w 51"/>
                  <a:gd name="T3" fmla="*/ 0 h 349"/>
                  <a:gd name="T4" fmla="*/ 24 w 51"/>
                  <a:gd name="T5" fmla="*/ 4 h 349"/>
                  <a:gd name="T6" fmla="*/ 0 w 51"/>
                  <a:gd name="T7" fmla="*/ 130 h 349"/>
                  <a:gd name="T8" fmla="*/ 11 w 51"/>
                  <a:gd name="T9" fmla="*/ 349 h 349"/>
                  <a:gd name="T10" fmla="*/ 17 w 51"/>
                  <a:gd name="T11" fmla="*/ 130 h 349"/>
                  <a:gd name="T12" fmla="*/ 41 w 51"/>
                  <a:gd name="T13" fmla="*/ 4 h 349"/>
                  <a:gd name="T14" fmla="*/ 51 w 51"/>
                  <a:gd name="T15" fmla="*/ 0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49">
                    <a:moveTo>
                      <a:pt x="51" y="0"/>
                    </a:moveTo>
                    <a:cubicBezTo>
                      <a:pt x="49" y="0"/>
                      <a:pt x="45" y="0"/>
                      <a:pt x="42" y="0"/>
                    </a:cubicBezTo>
                    <a:cubicBezTo>
                      <a:pt x="35" y="1"/>
                      <a:pt x="31" y="0"/>
                      <a:pt x="24" y="4"/>
                    </a:cubicBezTo>
                    <a:cubicBezTo>
                      <a:pt x="0" y="130"/>
                      <a:pt x="0" y="130"/>
                      <a:pt x="0" y="130"/>
                    </a:cubicBezTo>
                    <a:cubicBezTo>
                      <a:pt x="11" y="349"/>
                      <a:pt x="11" y="349"/>
                      <a:pt x="11" y="349"/>
                    </a:cubicBezTo>
                    <a:cubicBezTo>
                      <a:pt x="17" y="130"/>
                      <a:pt x="17" y="130"/>
                      <a:pt x="17" y="130"/>
                    </a:cubicBezTo>
                    <a:cubicBezTo>
                      <a:pt x="41" y="4"/>
                      <a:pt x="41" y="4"/>
                      <a:pt x="41" y="4"/>
                    </a:cubicBezTo>
                    <a:cubicBezTo>
                      <a:pt x="45" y="2"/>
                      <a:pt x="47" y="1"/>
                      <a:pt x="51" y="0"/>
                    </a:cubicBez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8" name="Freeform 229">
                <a:extLst>
                  <a:ext uri="{FF2B5EF4-FFF2-40B4-BE49-F238E27FC236}">
                    <a16:creationId xmlns:a16="http://schemas.microsoft.com/office/drawing/2014/main" id="{77CB584F-6203-4B0D-AD3D-263E08900AC2}"/>
                  </a:ext>
                </a:extLst>
              </p:cNvPr>
              <p:cNvSpPr>
                <a:spLocks/>
              </p:cNvSpPr>
              <p:nvPr/>
            </p:nvSpPr>
            <p:spPr bwMode="auto">
              <a:xfrm>
                <a:off x="1634539" y="3681845"/>
                <a:ext cx="27199" cy="503890"/>
              </a:xfrm>
              <a:custGeom>
                <a:avLst/>
                <a:gdLst>
                  <a:gd name="T0" fmla="*/ 5 w 19"/>
                  <a:gd name="T1" fmla="*/ 0 h 352"/>
                  <a:gd name="T2" fmla="*/ 3 w 19"/>
                  <a:gd name="T3" fmla="*/ 186 h 352"/>
                  <a:gd name="T4" fmla="*/ 0 w 19"/>
                  <a:gd name="T5" fmla="*/ 352 h 352"/>
                  <a:gd name="T6" fmla="*/ 18 w 19"/>
                  <a:gd name="T7" fmla="*/ 186 h 352"/>
                  <a:gd name="T8" fmla="*/ 19 w 19"/>
                  <a:gd name="T9" fmla="*/ 0 h 352"/>
                  <a:gd name="T10" fmla="*/ 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5" y="0"/>
                    </a:moveTo>
                    <a:lnTo>
                      <a:pt x="3" y="186"/>
                    </a:lnTo>
                    <a:lnTo>
                      <a:pt x="0" y="352"/>
                    </a:lnTo>
                    <a:lnTo>
                      <a:pt x="18" y="186"/>
                    </a:lnTo>
                    <a:lnTo>
                      <a:pt x="19" y="0"/>
                    </a:lnTo>
                    <a:lnTo>
                      <a:pt x="5" y="0"/>
                    </a:ln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9" name="Freeform 230">
                <a:extLst>
                  <a:ext uri="{FF2B5EF4-FFF2-40B4-BE49-F238E27FC236}">
                    <a16:creationId xmlns:a16="http://schemas.microsoft.com/office/drawing/2014/main" id="{2EC234FE-795D-462E-B42A-4FD47209BDDA}"/>
                  </a:ext>
                </a:extLst>
              </p:cNvPr>
              <p:cNvSpPr>
                <a:spLocks/>
              </p:cNvSpPr>
              <p:nvPr/>
            </p:nvSpPr>
            <p:spPr bwMode="auto">
              <a:xfrm>
                <a:off x="1527177" y="3800661"/>
                <a:ext cx="57260" cy="385075"/>
              </a:xfrm>
              <a:custGeom>
                <a:avLst/>
                <a:gdLst>
                  <a:gd name="T0" fmla="*/ 0 w 52"/>
                  <a:gd name="T1" fmla="*/ 1 h 350"/>
                  <a:gd name="T2" fmla="*/ 9 w 52"/>
                  <a:gd name="T3" fmla="*/ 0 h 350"/>
                  <a:gd name="T4" fmla="*/ 26 w 52"/>
                  <a:gd name="T5" fmla="*/ 4 h 350"/>
                  <a:gd name="T6" fmla="*/ 52 w 52"/>
                  <a:gd name="T7" fmla="*/ 131 h 350"/>
                  <a:gd name="T8" fmla="*/ 41 w 52"/>
                  <a:gd name="T9" fmla="*/ 350 h 350"/>
                  <a:gd name="T10" fmla="*/ 35 w 52"/>
                  <a:gd name="T11" fmla="*/ 131 h 350"/>
                  <a:gd name="T12" fmla="*/ 13 w 52"/>
                  <a:gd name="T13" fmla="*/ 4 h 350"/>
                  <a:gd name="T14" fmla="*/ 0 w 52"/>
                  <a:gd name="T15" fmla="*/ 1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50">
                    <a:moveTo>
                      <a:pt x="0" y="1"/>
                    </a:moveTo>
                    <a:cubicBezTo>
                      <a:pt x="3" y="1"/>
                      <a:pt x="6" y="0"/>
                      <a:pt x="9" y="0"/>
                    </a:cubicBezTo>
                    <a:cubicBezTo>
                      <a:pt x="16" y="0"/>
                      <a:pt x="20" y="1"/>
                      <a:pt x="26" y="4"/>
                    </a:cubicBezTo>
                    <a:cubicBezTo>
                      <a:pt x="52" y="131"/>
                      <a:pt x="52" y="131"/>
                      <a:pt x="52" y="131"/>
                    </a:cubicBezTo>
                    <a:cubicBezTo>
                      <a:pt x="41" y="350"/>
                      <a:pt x="41" y="350"/>
                      <a:pt x="41" y="350"/>
                    </a:cubicBezTo>
                    <a:cubicBezTo>
                      <a:pt x="35" y="131"/>
                      <a:pt x="35" y="131"/>
                      <a:pt x="35" y="131"/>
                    </a:cubicBezTo>
                    <a:cubicBezTo>
                      <a:pt x="13" y="4"/>
                      <a:pt x="13" y="4"/>
                      <a:pt x="13" y="4"/>
                    </a:cubicBezTo>
                    <a:cubicBezTo>
                      <a:pt x="8" y="2"/>
                      <a:pt x="5" y="2"/>
                      <a:pt x="0" y="1"/>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0" name="Freeform 231">
                <a:extLst>
                  <a:ext uri="{FF2B5EF4-FFF2-40B4-BE49-F238E27FC236}">
                    <a16:creationId xmlns:a16="http://schemas.microsoft.com/office/drawing/2014/main" id="{4840A8B4-6D0A-4623-912D-6412963B06CE}"/>
                  </a:ext>
                </a:extLst>
              </p:cNvPr>
              <p:cNvSpPr>
                <a:spLocks/>
              </p:cNvSpPr>
              <p:nvPr/>
            </p:nvSpPr>
            <p:spPr bwMode="auto">
              <a:xfrm>
                <a:off x="1392615" y="3681845"/>
                <a:ext cx="27199" cy="503890"/>
              </a:xfrm>
              <a:custGeom>
                <a:avLst/>
                <a:gdLst>
                  <a:gd name="T0" fmla="*/ 15 w 19"/>
                  <a:gd name="T1" fmla="*/ 0 h 352"/>
                  <a:gd name="T2" fmla="*/ 17 w 19"/>
                  <a:gd name="T3" fmla="*/ 186 h 352"/>
                  <a:gd name="T4" fmla="*/ 19 w 19"/>
                  <a:gd name="T5" fmla="*/ 352 h 352"/>
                  <a:gd name="T6" fmla="*/ 2 w 19"/>
                  <a:gd name="T7" fmla="*/ 186 h 352"/>
                  <a:gd name="T8" fmla="*/ 0 w 19"/>
                  <a:gd name="T9" fmla="*/ 0 h 352"/>
                  <a:gd name="T10" fmla="*/ 1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15" y="0"/>
                    </a:moveTo>
                    <a:lnTo>
                      <a:pt x="17" y="186"/>
                    </a:lnTo>
                    <a:lnTo>
                      <a:pt x="19" y="352"/>
                    </a:lnTo>
                    <a:lnTo>
                      <a:pt x="2" y="186"/>
                    </a:lnTo>
                    <a:lnTo>
                      <a:pt x="0" y="0"/>
                    </a:lnTo>
                    <a:lnTo>
                      <a:pt x="15" y="0"/>
                    </a:ln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1" name="Freeform 232">
                <a:extLst>
                  <a:ext uri="{FF2B5EF4-FFF2-40B4-BE49-F238E27FC236}">
                    <a16:creationId xmlns:a16="http://schemas.microsoft.com/office/drawing/2014/main" id="{CBFE0860-56DB-41AD-BBC5-A764825357C0}"/>
                  </a:ext>
                </a:extLst>
              </p:cNvPr>
              <p:cNvSpPr>
                <a:spLocks/>
              </p:cNvSpPr>
              <p:nvPr/>
            </p:nvSpPr>
            <p:spPr bwMode="auto">
              <a:xfrm>
                <a:off x="1575848" y="3374072"/>
                <a:ext cx="75870" cy="81596"/>
              </a:xfrm>
              <a:custGeom>
                <a:avLst/>
                <a:gdLst>
                  <a:gd name="T0" fmla="*/ 66 w 69"/>
                  <a:gd name="T1" fmla="*/ 11 h 74"/>
                  <a:gd name="T2" fmla="*/ 35 w 69"/>
                  <a:gd name="T3" fmla="*/ 0 h 74"/>
                  <a:gd name="T4" fmla="*/ 3 w 69"/>
                  <a:gd name="T5" fmla="*/ 11 h 74"/>
                  <a:gd name="T6" fmla="*/ 35 w 69"/>
                  <a:gd name="T7" fmla="*/ 74 h 74"/>
                  <a:gd name="T8" fmla="*/ 66 w 69"/>
                  <a:gd name="T9" fmla="*/ 11 h 74"/>
                </a:gdLst>
                <a:ahLst/>
                <a:cxnLst>
                  <a:cxn ang="0">
                    <a:pos x="T0" y="T1"/>
                  </a:cxn>
                  <a:cxn ang="0">
                    <a:pos x="T2" y="T3"/>
                  </a:cxn>
                  <a:cxn ang="0">
                    <a:pos x="T4" y="T5"/>
                  </a:cxn>
                  <a:cxn ang="0">
                    <a:pos x="T6" y="T7"/>
                  </a:cxn>
                  <a:cxn ang="0">
                    <a:pos x="T8" y="T9"/>
                  </a:cxn>
                </a:cxnLst>
                <a:rect l="0" t="0" r="r" b="b"/>
                <a:pathLst>
                  <a:path w="69" h="74">
                    <a:moveTo>
                      <a:pt x="66" y="11"/>
                    </a:moveTo>
                    <a:cubicBezTo>
                      <a:pt x="40" y="10"/>
                      <a:pt x="35" y="0"/>
                      <a:pt x="35" y="0"/>
                    </a:cubicBezTo>
                    <a:cubicBezTo>
                      <a:pt x="35" y="0"/>
                      <a:pt x="30" y="10"/>
                      <a:pt x="3" y="11"/>
                    </a:cubicBezTo>
                    <a:cubicBezTo>
                      <a:pt x="3" y="11"/>
                      <a:pt x="0" y="57"/>
                      <a:pt x="35" y="74"/>
                    </a:cubicBezTo>
                    <a:cubicBezTo>
                      <a:pt x="69" y="57"/>
                      <a:pt x="66" y="11"/>
                      <a:pt x="66" y="11"/>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3" name="Freeform 234">
                <a:extLst>
                  <a:ext uri="{FF2B5EF4-FFF2-40B4-BE49-F238E27FC236}">
                    <a16:creationId xmlns:a16="http://schemas.microsoft.com/office/drawing/2014/main" id="{A2850141-C013-4D19-9DA9-4B01AC0BABBF}"/>
                  </a:ext>
                </a:extLst>
              </p:cNvPr>
              <p:cNvSpPr>
                <a:spLocks/>
              </p:cNvSpPr>
              <p:nvPr/>
            </p:nvSpPr>
            <p:spPr bwMode="auto">
              <a:xfrm>
                <a:off x="1580142" y="3385524"/>
                <a:ext cx="62986" cy="70144"/>
              </a:xfrm>
              <a:custGeom>
                <a:avLst/>
                <a:gdLst>
                  <a:gd name="T0" fmla="*/ 0 w 57"/>
                  <a:gd name="T1" fmla="*/ 0 h 63"/>
                  <a:gd name="T2" fmla="*/ 0 w 57"/>
                  <a:gd name="T3" fmla="*/ 0 h 63"/>
                  <a:gd name="T4" fmla="*/ 0 w 57"/>
                  <a:gd name="T5" fmla="*/ 0 h 63"/>
                  <a:gd name="T6" fmla="*/ 0 w 57"/>
                  <a:gd name="T7" fmla="*/ 2 h 63"/>
                  <a:gd name="T8" fmla="*/ 32 w 57"/>
                  <a:gd name="T9" fmla="*/ 63 h 63"/>
                  <a:gd name="T10" fmla="*/ 32 w 57"/>
                  <a:gd name="T11" fmla="*/ 63 h 63"/>
                  <a:gd name="T12" fmla="*/ 32 w 57"/>
                  <a:gd name="T13" fmla="*/ 63 h 63"/>
                  <a:gd name="T14" fmla="*/ 32 w 57"/>
                  <a:gd name="T15" fmla="*/ 63 h 63"/>
                  <a:gd name="T16" fmla="*/ 32 w 57"/>
                  <a:gd name="T17" fmla="*/ 62 h 63"/>
                  <a:gd name="T18" fmla="*/ 32 w 57"/>
                  <a:gd name="T19" fmla="*/ 62 h 63"/>
                  <a:gd name="T20" fmla="*/ 33 w 57"/>
                  <a:gd name="T21" fmla="*/ 62 h 63"/>
                  <a:gd name="T22" fmla="*/ 33 w 57"/>
                  <a:gd name="T23" fmla="*/ 62 h 63"/>
                  <a:gd name="T24" fmla="*/ 33 w 57"/>
                  <a:gd name="T25" fmla="*/ 62 h 63"/>
                  <a:gd name="T26" fmla="*/ 33 w 57"/>
                  <a:gd name="T27" fmla="*/ 62 h 63"/>
                  <a:gd name="T28" fmla="*/ 34 w 57"/>
                  <a:gd name="T29" fmla="*/ 62 h 63"/>
                  <a:gd name="T30" fmla="*/ 34 w 57"/>
                  <a:gd name="T31" fmla="*/ 62 h 63"/>
                  <a:gd name="T32" fmla="*/ 34 w 57"/>
                  <a:gd name="T33" fmla="*/ 62 h 63"/>
                  <a:gd name="T34" fmla="*/ 34 w 57"/>
                  <a:gd name="T35" fmla="*/ 62 h 63"/>
                  <a:gd name="T36" fmla="*/ 35 w 57"/>
                  <a:gd name="T37" fmla="*/ 61 h 63"/>
                  <a:gd name="T38" fmla="*/ 35 w 57"/>
                  <a:gd name="T39" fmla="*/ 61 h 63"/>
                  <a:gd name="T40" fmla="*/ 35 w 57"/>
                  <a:gd name="T41" fmla="*/ 61 h 63"/>
                  <a:gd name="T42" fmla="*/ 35 w 57"/>
                  <a:gd name="T43" fmla="*/ 61 h 63"/>
                  <a:gd name="T44" fmla="*/ 35 w 57"/>
                  <a:gd name="T45" fmla="*/ 61 h 63"/>
                  <a:gd name="T46" fmla="*/ 35 w 57"/>
                  <a:gd name="T47" fmla="*/ 61 h 63"/>
                  <a:gd name="T48" fmla="*/ 36 w 57"/>
                  <a:gd name="T49" fmla="*/ 61 h 63"/>
                  <a:gd name="T50" fmla="*/ 36 w 57"/>
                  <a:gd name="T51" fmla="*/ 60 h 63"/>
                  <a:gd name="T52" fmla="*/ 36 w 57"/>
                  <a:gd name="T53" fmla="*/ 60 h 63"/>
                  <a:gd name="T54" fmla="*/ 36 w 57"/>
                  <a:gd name="T55" fmla="*/ 60 h 63"/>
                  <a:gd name="T56" fmla="*/ 37 w 57"/>
                  <a:gd name="T57" fmla="*/ 60 h 63"/>
                  <a:gd name="T58" fmla="*/ 37 w 57"/>
                  <a:gd name="T59" fmla="*/ 60 h 63"/>
                  <a:gd name="T60" fmla="*/ 37 w 57"/>
                  <a:gd name="T61" fmla="*/ 60 h 63"/>
                  <a:gd name="T62" fmla="*/ 37 w 57"/>
                  <a:gd name="T63" fmla="*/ 60 h 63"/>
                  <a:gd name="T64" fmla="*/ 37 w 57"/>
                  <a:gd name="T65" fmla="*/ 60 h 63"/>
                  <a:gd name="T66" fmla="*/ 37 w 57"/>
                  <a:gd name="T67" fmla="*/ 60 h 63"/>
                  <a:gd name="T68" fmla="*/ 38 w 57"/>
                  <a:gd name="T69" fmla="*/ 59 h 63"/>
                  <a:gd name="T70" fmla="*/ 38 w 57"/>
                  <a:gd name="T71" fmla="*/ 59 h 63"/>
                  <a:gd name="T72" fmla="*/ 38 w 57"/>
                  <a:gd name="T73" fmla="*/ 59 h 63"/>
                  <a:gd name="T74" fmla="*/ 57 w 57"/>
                  <a:gd name="T75" fmla="*/ 34 h 63"/>
                  <a:gd name="T76" fmla="*/ 0 w 57"/>
                  <a:gd name="T7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63">
                    <a:moveTo>
                      <a:pt x="0" y="0"/>
                    </a:moveTo>
                    <a:cubicBezTo>
                      <a:pt x="0" y="0"/>
                      <a:pt x="0" y="0"/>
                      <a:pt x="0" y="0"/>
                    </a:cubicBezTo>
                    <a:cubicBezTo>
                      <a:pt x="0" y="0"/>
                      <a:pt x="0" y="0"/>
                      <a:pt x="0" y="0"/>
                    </a:cubicBezTo>
                    <a:cubicBezTo>
                      <a:pt x="0" y="0"/>
                      <a:pt x="0" y="1"/>
                      <a:pt x="0" y="2"/>
                    </a:cubicBezTo>
                    <a:cubicBezTo>
                      <a:pt x="0" y="12"/>
                      <a:pt x="2" y="48"/>
                      <a:pt x="32" y="63"/>
                    </a:cubicBezTo>
                    <a:cubicBezTo>
                      <a:pt x="32" y="63"/>
                      <a:pt x="32" y="63"/>
                      <a:pt x="32" y="63"/>
                    </a:cubicBezTo>
                    <a:cubicBezTo>
                      <a:pt x="32" y="63"/>
                      <a:pt x="32" y="63"/>
                      <a:pt x="32" y="63"/>
                    </a:cubicBezTo>
                    <a:cubicBezTo>
                      <a:pt x="32" y="63"/>
                      <a:pt x="32" y="63"/>
                      <a:pt x="32" y="63"/>
                    </a:cubicBezTo>
                    <a:cubicBezTo>
                      <a:pt x="32" y="63"/>
                      <a:pt x="32" y="63"/>
                      <a:pt x="32" y="62"/>
                    </a:cubicBezTo>
                    <a:cubicBezTo>
                      <a:pt x="32" y="62"/>
                      <a:pt x="32" y="62"/>
                      <a:pt x="32" y="62"/>
                    </a:cubicBezTo>
                    <a:cubicBezTo>
                      <a:pt x="33" y="62"/>
                      <a:pt x="33" y="62"/>
                      <a:pt x="33" y="62"/>
                    </a:cubicBezTo>
                    <a:cubicBezTo>
                      <a:pt x="33" y="62"/>
                      <a:pt x="33" y="62"/>
                      <a:pt x="33" y="62"/>
                    </a:cubicBezTo>
                    <a:cubicBezTo>
                      <a:pt x="33" y="62"/>
                      <a:pt x="33" y="62"/>
                      <a:pt x="33" y="62"/>
                    </a:cubicBezTo>
                    <a:cubicBezTo>
                      <a:pt x="33" y="62"/>
                      <a:pt x="33" y="62"/>
                      <a:pt x="33" y="62"/>
                    </a:cubicBezTo>
                    <a:cubicBezTo>
                      <a:pt x="33" y="62"/>
                      <a:pt x="33" y="62"/>
                      <a:pt x="34" y="62"/>
                    </a:cubicBezTo>
                    <a:cubicBezTo>
                      <a:pt x="34" y="62"/>
                      <a:pt x="34" y="62"/>
                      <a:pt x="34" y="62"/>
                    </a:cubicBezTo>
                    <a:cubicBezTo>
                      <a:pt x="34" y="62"/>
                      <a:pt x="34" y="62"/>
                      <a:pt x="34" y="62"/>
                    </a:cubicBezTo>
                    <a:cubicBezTo>
                      <a:pt x="34" y="62"/>
                      <a:pt x="34" y="62"/>
                      <a:pt x="34" y="62"/>
                    </a:cubicBezTo>
                    <a:cubicBezTo>
                      <a:pt x="34" y="61"/>
                      <a:pt x="34"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6" y="61"/>
                      <a:pt x="36" y="61"/>
                      <a:pt x="36" y="61"/>
                    </a:cubicBezTo>
                    <a:cubicBezTo>
                      <a:pt x="36" y="61"/>
                      <a:pt x="36" y="60"/>
                      <a:pt x="36" y="60"/>
                    </a:cubicBezTo>
                    <a:cubicBezTo>
                      <a:pt x="36" y="60"/>
                      <a:pt x="36" y="60"/>
                      <a:pt x="36" y="60"/>
                    </a:cubicBezTo>
                    <a:cubicBezTo>
                      <a:pt x="36" y="60"/>
                      <a:pt x="36" y="60"/>
                      <a:pt x="36" y="60"/>
                    </a:cubicBezTo>
                    <a:cubicBezTo>
                      <a:pt x="36" y="60"/>
                      <a:pt x="36"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59"/>
                      <a:pt x="37" y="59"/>
                      <a:pt x="38" y="59"/>
                    </a:cubicBezTo>
                    <a:cubicBezTo>
                      <a:pt x="38" y="59"/>
                      <a:pt x="38" y="59"/>
                      <a:pt x="38" y="59"/>
                    </a:cubicBezTo>
                    <a:cubicBezTo>
                      <a:pt x="38" y="59"/>
                      <a:pt x="38" y="59"/>
                      <a:pt x="38" y="59"/>
                    </a:cubicBezTo>
                    <a:cubicBezTo>
                      <a:pt x="47" y="53"/>
                      <a:pt x="53" y="44"/>
                      <a:pt x="57" y="34"/>
                    </a:cubicBezTo>
                    <a:cubicBezTo>
                      <a:pt x="0" y="0"/>
                      <a:pt x="0" y="0"/>
                      <a:pt x="0"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5" name="Freeform 236">
                <a:extLst>
                  <a:ext uri="{FF2B5EF4-FFF2-40B4-BE49-F238E27FC236}">
                    <a16:creationId xmlns:a16="http://schemas.microsoft.com/office/drawing/2014/main" id="{40C49151-59AA-46B7-8932-D5CFAC01EE38}"/>
                  </a:ext>
                </a:extLst>
              </p:cNvPr>
              <p:cNvSpPr>
                <a:spLocks/>
              </p:cNvSpPr>
              <p:nvPr/>
            </p:nvSpPr>
            <p:spPr bwMode="auto">
              <a:xfrm>
                <a:off x="1378300" y="4271625"/>
                <a:ext cx="104500" cy="20041"/>
              </a:xfrm>
              <a:custGeom>
                <a:avLst/>
                <a:gdLst>
                  <a:gd name="T0" fmla="*/ 0 w 95"/>
                  <a:gd name="T1" fmla="*/ 0 h 19"/>
                  <a:gd name="T2" fmla="*/ 0 w 95"/>
                  <a:gd name="T3" fmla="*/ 11 h 19"/>
                  <a:gd name="T4" fmla="*/ 7 w 95"/>
                  <a:gd name="T5" fmla="*/ 19 h 19"/>
                  <a:gd name="T6" fmla="*/ 95 w 95"/>
                  <a:gd name="T7" fmla="*/ 19 h 19"/>
                  <a:gd name="T8" fmla="*/ 95 w 95"/>
                  <a:gd name="T9" fmla="*/ 9 h 19"/>
                  <a:gd name="T10" fmla="*/ 7 w 95"/>
                  <a:gd name="T11" fmla="*/ 9 h 19"/>
                  <a:gd name="T12" fmla="*/ 0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0" y="0"/>
                    </a:moveTo>
                    <a:cubicBezTo>
                      <a:pt x="0" y="4"/>
                      <a:pt x="0" y="7"/>
                      <a:pt x="0" y="11"/>
                    </a:cubicBezTo>
                    <a:cubicBezTo>
                      <a:pt x="0" y="19"/>
                      <a:pt x="7" y="19"/>
                      <a:pt x="7" y="19"/>
                    </a:cubicBezTo>
                    <a:cubicBezTo>
                      <a:pt x="95" y="19"/>
                      <a:pt x="95" y="19"/>
                      <a:pt x="95" y="19"/>
                    </a:cubicBezTo>
                    <a:cubicBezTo>
                      <a:pt x="95" y="9"/>
                      <a:pt x="95" y="9"/>
                      <a:pt x="95" y="9"/>
                    </a:cubicBezTo>
                    <a:cubicBezTo>
                      <a:pt x="7" y="9"/>
                      <a:pt x="7" y="9"/>
                      <a:pt x="7" y="9"/>
                    </a:cubicBezTo>
                    <a:cubicBezTo>
                      <a:pt x="7" y="9"/>
                      <a:pt x="0" y="8"/>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8" name="Freeform 237">
                <a:extLst>
                  <a:ext uri="{FF2B5EF4-FFF2-40B4-BE49-F238E27FC236}">
                    <a16:creationId xmlns:a16="http://schemas.microsoft.com/office/drawing/2014/main" id="{64204C93-5403-4D54-9C76-FEF80A9CED79}"/>
                  </a:ext>
                </a:extLst>
              </p:cNvPr>
              <p:cNvSpPr>
                <a:spLocks/>
              </p:cNvSpPr>
              <p:nvPr/>
            </p:nvSpPr>
            <p:spPr bwMode="auto">
              <a:xfrm>
                <a:off x="1376868" y="4137064"/>
                <a:ext cx="105931" cy="144582"/>
              </a:xfrm>
              <a:custGeom>
                <a:avLst/>
                <a:gdLst>
                  <a:gd name="T0" fmla="*/ 97 w 97"/>
                  <a:gd name="T1" fmla="*/ 0 h 131"/>
                  <a:gd name="T2" fmla="*/ 97 w 97"/>
                  <a:gd name="T3" fmla="*/ 131 h 131"/>
                  <a:gd name="T4" fmla="*/ 9 w 97"/>
                  <a:gd name="T5" fmla="*/ 131 h 131"/>
                  <a:gd name="T6" fmla="*/ 2 w 97"/>
                  <a:gd name="T7" fmla="*/ 122 h 131"/>
                  <a:gd name="T8" fmla="*/ 2 w 97"/>
                  <a:gd name="T9" fmla="*/ 106 h 131"/>
                  <a:gd name="T10" fmla="*/ 10 w 97"/>
                  <a:gd name="T11" fmla="*/ 93 h 131"/>
                  <a:gd name="T12" fmla="*/ 35 w 97"/>
                  <a:gd name="T13" fmla="*/ 63 h 131"/>
                  <a:gd name="T14" fmla="*/ 35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97" y="0"/>
                    </a:moveTo>
                    <a:cubicBezTo>
                      <a:pt x="97" y="131"/>
                      <a:pt x="97" y="131"/>
                      <a:pt x="97" y="131"/>
                    </a:cubicBezTo>
                    <a:cubicBezTo>
                      <a:pt x="9" y="131"/>
                      <a:pt x="9" y="131"/>
                      <a:pt x="9" y="131"/>
                    </a:cubicBezTo>
                    <a:cubicBezTo>
                      <a:pt x="9" y="131"/>
                      <a:pt x="2" y="130"/>
                      <a:pt x="2" y="122"/>
                    </a:cubicBezTo>
                    <a:cubicBezTo>
                      <a:pt x="2" y="115"/>
                      <a:pt x="2" y="106"/>
                      <a:pt x="2" y="106"/>
                    </a:cubicBezTo>
                    <a:cubicBezTo>
                      <a:pt x="2" y="106"/>
                      <a:pt x="0" y="99"/>
                      <a:pt x="10" y="93"/>
                    </a:cubicBezTo>
                    <a:cubicBezTo>
                      <a:pt x="18" y="89"/>
                      <a:pt x="33" y="71"/>
                      <a:pt x="35" y="63"/>
                    </a:cubicBezTo>
                    <a:cubicBezTo>
                      <a:pt x="35" y="0"/>
                      <a:pt x="35" y="0"/>
                      <a:pt x="3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9" name="Freeform 238">
                <a:extLst>
                  <a:ext uri="{FF2B5EF4-FFF2-40B4-BE49-F238E27FC236}">
                    <a16:creationId xmlns:a16="http://schemas.microsoft.com/office/drawing/2014/main" id="{59762782-7AAD-43AE-92BB-1B5B9845E8EC}"/>
                  </a:ext>
                </a:extLst>
              </p:cNvPr>
              <p:cNvSpPr>
                <a:spLocks/>
              </p:cNvSpPr>
              <p:nvPr/>
            </p:nvSpPr>
            <p:spPr bwMode="auto">
              <a:xfrm>
                <a:off x="1425540" y="4137064"/>
                <a:ext cx="57260" cy="144582"/>
              </a:xfrm>
              <a:custGeom>
                <a:avLst/>
                <a:gdLst>
                  <a:gd name="T0" fmla="*/ 49 w 52"/>
                  <a:gd name="T1" fmla="*/ 0 h 131"/>
                  <a:gd name="T2" fmla="*/ 35 w 52"/>
                  <a:gd name="T3" fmla="*/ 63 h 131"/>
                  <a:gd name="T4" fmla="*/ 11 w 52"/>
                  <a:gd name="T5" fmla="*/ 93 h 131"/>
                  <a:gd name="T6" fmla="*/ 2 w 52"/>
                  <a:gd name="T7" fmla="*/ 106 h 131"/>
                  <a:gd name="T8" fmla="*/ 2 w 52"/>
                  <a:gd name="T9" fmla="*/ 122 h 131"/>
                  <a:gd name="T10" fmla="*/ 9 w 52"/>
                  <a:gd name="T11" fmla="*/ 131 h 131"/>
                  <a:gd name="T12" fmla="*/ 52 w 52"/>
                  <a:gd name="T13" fmla="*/ 131 h 131"/>
                  <a:gd name="T14" fmla="*/ 52 w 5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31">
                    <a:moveTo>
                      <a:pt x="49" y="0"/>
                    </a:moveTo>
                    <a:cubicBezTo>
                      <a:pt x="35" y="63"/>
                      <a:pt x="35" y="63"/>
                      <a:pt x="35" y="63"/>
                    </a:cubicBezTo>
                    <a:cubicBezTo>
                      <a:pt x="33" y="71"/>
                      <a:pt x="19" y="89"/>
                      <a:pt x="11" y="93"/>
                    </a:cubicBezTo>
                    <a:cubicBezTo>
                      <a:pt x="0" y="99"/>
                      <a:pt x="2" y="106"/>
                      <a:pt x="2" y="106"/>
                    </a:cubicBezTo>
                    <a:cubicBezTo>
                      <a:pt x="2" y="106"/>
                      <a:pt x="2" y="115"/>
                      <a:pt x="2" y="122"/>
                    </a:cubicBezTo>
                    <a:cubicBezTo>
                      <a:pt x="2" y="130"/>
                      <a:pt x="9" y="131"/>
                      <a:pt x="9" y="131"/>
                    </a:cubicBezTo>
                    <a:cubicBezTo>
                      <a:pt x="52" y="131"/>
                      <a:pt x="52" y="131"/>
                      <a:pt x="52" y="131"/>
                    </a:cubicBezTo>
                    <a:cubicBezTo>
                      <a:pt x="52" y="0"/>
                      <a:pt x="52" y="0"/>
                      <a:pt x="52" y="0"/>
                    </a:cubicBezTo>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60" name="Freeform 239">
                <a:extLst>
                  <a:ext uri="{FF2B5EF4-FFF2-40B4-BE49-F238E27FC236}">
                    <a16:creationId xmlns:a16="http://schemas.microsoft.com/office/drawing/2014/main" id="{43F13969-3498-4D13-8707-C3EB0FC21DF4}"/>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77" name="Freeform 240">
                <a:extLst>
                  <a:ext uri="{FF2B5EF4-FFF2-40B4-BE49-F238E27FC236}">
                    <a16:creationId xmlns:a16="http://schemas.microsoft.com/office/drawing/2014/main" id="{BB0861FC-A3D6-4606-8253-24BBFBDAFC41}"/>
                  </a:ext>
                </a:extLst>
              </p:cNvPr>
              <p:cNvSpPr>
                <a:spLocks/>
              </p:cNvSpPr>
              <p:nvPr/>
            </p:nvSpPr>
            <p:spPr bwMode="auto">
              <a:xfrm>
                <a:off x="1571553" y="4137064"/>
                <a:ext cx="107363" cy="144582"/>
              </a:xfrm>
              <a:custGeom>
                <a:avLst/>
                <a:gdLst>
                  <a:gd name="T0" fmla="*/ 0 w 97"/>
                  <a:gd name="T1" fmla="*/ 0 h 131"/>
                  <a:gd name="T2" fmla="*/ 0 w 97"/>
                  <a:gd name="T3" fmla="*/ 131 h 131"/>
                  <a:gd name="T4" fmla="*/ 88 w 97"/>
                  <a:gd name="T5" fmla="*/ 131 h 131"/>
                  <a:gd name="T6" fmla="*/ 95 w 97"/>
                  <a:gd name="T7" fmla="*/ 122 h 131"/>
                  <a:gd name="T8" fmla="*/ 95 w 97"/>
                  <a:gd name="T9" fmla="*/ 106 h 131"/>
                  <a:gd name="T10" fmla="*/ 87 w 97"/>
                  <a:gd name="T11" fmla="*/ 93 h 131"/>
                  <a:gd name="T12" fmla="*/ 62 w 97"/>
                  <a:gd name="T13" fmla="*/ 63 h 131"/>
                  <a:gd name="T14" fmla="*/ 62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0" y="0"/>
                    </a:move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ubicBezTo>
                      <a:pt x="79" y="89"/>
                      <a:pt x="64" y="71"/>
                      <a:pt x="62" y="63"/>
                    </a:cubicBezTo>
                    <a:cubicBezTo>
                      <a:pt x="62" y="0"/>
                      <a:pt x="62" y="0"/>
                      <a:pt x="6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78" name="Freeform 241">
                <a:extLst>
                  <a:ext uri="{FF2B5EF4-FFF2-40B4-BE49-F238E27FC236}">
                    <a16:creationId xmlns:a16="http://schemas.microsoft.com/office/drawing/2014/main" id="{5224CAC1-C0C9-4944-90CA-2D501E2678CE}"/>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79" name="Freeform 242">
                <a:extLst>
                  <a:ext uri="{FF2B5EF4-FFF2-40B4-BE49-F238E27FC236}">
                    <a16:creationId xmlns:a16="http://schemas.microsoft.com/office/drawing/2014/main" id="{D5D3B9C0-1112-4745-8C01-AE35A72D9FEE}"/>
                  </a:ext>
                </a:extLst>
              </p:cNvPr>
              <p:cNvSpPr>
                <a:spLocks/>
              </p:cNvSpPr>
              <p:nvPr/>
            </p:nvSpPr>
            <p:spPr bwMode="auto">
              <a:xfrm>
                <a:off x="1571553" y="4137064"/>
                <a:ext cx="107363" cy="144582"/>
              </a:xfrm>
              <a:custGeom>
                <a:avLst/>
                <a:gdLst>
                  <a:gd name="T0" fmla="*/ 87 w 97"/>
                  <a:gd name="T1" fmla="*/ 93 h 131"/>
                  <a:gd name="T2" fmla="*/ 62 w 97"/>
                  <a:gd name="T3" fmla="*/ 63 h 131"/>
                  <a:gd name="T4" fmla="*/ 62 w 97"/>
                  <a:gd name="T5" fmla="*/ 0 h 131"/>
                  <a:gd name="T6" fmla="*/ 58 w 97"/>
                  <a:gd name="T7" fmla="*/ 0 h 131"/>
                  <a:gd name="T8" fmla="*/ 42 w 97"/>
                  <a:gd name="T9" fmla="*/ 63 h 131"/>
                  <a:gd name="T10" fmla="*/ 67 w 97"/>
                  <a:gd name="T11" fmla="*/ 93 h 131"/>
                  <a:gd name="T12" fmla="*/ 75 w 97"/>
                  <a:gd name="T13" fmla="*/ 106 h 131"/>
                  <a:gd name="T14" fmla="*/ 75 w 97"/>
                  <a:gd name="T15" fmla="*/ 122 h 131"/>
                  <a:gd name="T16" fmla="*/ 68 w 97"/>
                  <a:gd name="T17" fmla="*/ 131 h 131"/>
                  <a:gd name="T18" fmla="*/ 0 w 97"/>
                  <a:gd name="T19" fmla="*/ 131 h 131"/>
                  <a:gd name="T20" fmla="*/ 0 w 97"/>
                  <a:gd name="T21" fmla="*/ 131 h 131"/>
                  <a:gd name="T22" fmla="*/ 88 w 97"/>
                  <a:gd name="T23" fmla="*/ 131 h 131"/>
                  <a:gd name="T24" fmla="*/ 95 w 97"/>
                  <a:gd name="T25" fmla="*/ 122 h 131"/>
                  <a:gd name="T26" fmla="*/ 95 w 97"/>
                  <a:gd name="T27" fmla="*/ 106 h 131"/>
                  <a:gd name="T28" fmla="*/ 87 w 97"/>
                  <a:gd name="T29" fmla="*/ 9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131">
                    <a:moveTo>
                      <a:pt x="87" y="93"/>
                    </a:moveTo>
                    <a:cubicBezTo>
                      <a:pt x="79" y="89"/>
                      <a:pt x="64" y="71"/>
                      <a:pt x="62" y="63"/>
                    </a:cubicBezTo>
                    <a:cubicBezTo>
                      <a:pt x="62" y="0"/>
                      <a:pt x="62" y="0"/>
                      <a:pt x="62" y="0"/>
                    </a:cubicBezTo>
                    <a:cubicBezTo>
                      <a:pt x="58" y="0"/>
                      <a:pt x="58" y="0"/>
                      <a:pt x="58" y="0"/>
                    </a:cubicBezTo>
                    <a:cubicBezTo>
                      <a:pt x="42" y="63"/>
                      <a:pt x="42" y="63"/>
                      <a:pt x="42" y="63"/>
                    </a:cubicBezTo>
                    <a:cubicBezTo>
                      <a:pt x="44" y="71"/>
                      <a:pt x="59" y="89"/>
                      <a:pt x="67" y="93"/>
                    </a:cubicBezTo>
                    <a:cubicBezTo>
                      <a:pt x="77" y="99"/>
                      <a:pt x="75" y="106"/>
                      <a:pt x="75" y="106"/>
                    </a:cubicBezTo>
                    <a:cubicBezTo>
                      <a:pt x="75" y="106"/>
                      <a:pt x="75" y="115"/>
                      <a:pt x="75" y="122"/>
                    </a:cubicBezTo>
                    <a:cubicBezTo>
                      <a:pt x="75" y="130"/>
                      <a:pt x="68" y="131"/>
                      <a:pt x="68" y="131"/>
                    </a:cubicBezTo>
                    <a:cubicBezTo>
                      <a:pt x="0" y="131"/>
                      <a:pt x="0" y="131"/>
                      <a:pt x="0" y="131"/>
                    </a:cubicBez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80" name="Freeform 243">
                <a:extLst>
                  <a:ext uri="{FF2B5EF4-FFF2-40B4-BE49-F238E27FC236}">
                    <a16:creationId xmlns:a16="http://schemas.microsoft.com/office/drawing/2014/main" id="{E75FAA88-FCF9-467F-B753-9FF17FFD84F8}"/>
                  </a:ext>
                </a:extLst>
              </p:cNvPr>
              <p:cNvSpPr>
                <a:spLocks/>
              </p:cNvSpPr>
              <p:nvPr/>
            </p:nvSpPr>
            <p:spPr bwMode="auto">
              <a:xfrm>
                <a:off x="1468485" y="3218038"/>
                <a:ext cx="118815" cy="95911"/>
              </a:xfrm>
              <a:custGeom>
                <a:avLst/>
                <a:gdLst>
                  <a:gd name="T0" fmla="*/ 0 w 108"/>
                  <a:gd name="T1" fmla="*/ 56 h 88"/>
                  <a:gd name="T2" fmla="*/ 7 w 108"/>
                  <a:gd name="T3" fmla="*/ 49 h 88"/>
                  <a:gd name="T4" fmla="*/ 7 w 108"/>
                  <a:gd name="T5" fmla="*/ 0 h 88"/>
                  <a:gd name="T6" fmla="*/ 101 w 108"/>
                  <a:gd name="T7" fmla="*/ 0 h 88"/>
                  <a:gd name="T8" fmla="*/ 101 w 108"/>
                  <a:gd name="T9" fmla="*/ 49 h 88"/>
                  <a:gd name="T10" fmla="*/ 108 w 108"/>
                  <a:gd name="T11" fmla="*/ 56 h 88"/>
                  <a:gd name="T12" fmla="*/ 70 w 108"/>
                  <a:gd name="T13" fmla="*/ 83 h 88"/>
                  <a:gd name="T14" fmla="*/ 54 w 108"/>
                  <a:gd name="T15" fmla="*/ 88 h 88"/>
                  <a:gd name="T16" fmla="*/ 38 w 108"/>
                  <a:gd name="T17" fmla="*/ 83 h 88"/>
                  <a:gd name="T18" fmla="*/ 0 w 108"/>
                  <a:gd name="T19"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88">
                    <a:moveTo>
                      <a:pt x="0" y="56"/>
                    </a:moveTo>
                    <a:cubicBezTo>
                      <a:pt x="4" y="56"/>
                      <a:pt x="7" y="53"/>
                      <a:pt x="7" y="49"/>
                    </a:cubicBezTo>
                    <a:cubicBezTo>
                      <a:pt x="7" y="0"/>
                      <a:pt x="7" y="0"/>
                      <a:pt x="7" y="0"/>
                    </a:cubicBezTo>
                    <a:cubicBezTo>
                      <a:pt x="101" y="0"/>
                      <a:pt x="101" y="0"/>
                      <a:pt x="101" y="0"/>
                    </a:cubicBezTo>
                    <a:cubicBezTo>
                      <a:pt x="101" y="49"/>
                      <a:pt x="101" y="49"/>
                      <a:pt x="101" y="49"/>
                    </a:cubicBezTo>
                    <a:cubicBezTo>
                      <a:pt x="101" y="53"/>
                      <a:pt x="104" y="56"/>
                      <a:pt x="108" y="56"/>
                    </a:cubicBezTo>
                    <a:cubicBezTo>
                      <a:pt x="70" y="83"/>
                      <a:pt x="70" y="83"/>
                      <a:pt x="70" y="83"/>
                    </a:cubicBezTo>
                    <a:cubicBezTo>
                      <a:pt x="66" y="86"/>
                      <a:pt x="60" y="88"/>
                      <a:pt x="54" y="88"/>
                    </a:cubicBezTo>
                    <a:cubicBezTo>
                      <a:pt x="48" y="88"/>
                      <a:pt x="43" y="86"/>
                      <a:pt x="38" y="83"/>
                    </a:cubicBezTo>
                    <a:lnTo>
                      <a:pt x="0" y="56"/>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81" name="Freeform 244">
                <a:extLst>
                  <a:ext uri="{FF2B5EF4-FFF2-40B4-BE49-F238E27FC236}">
                    <a16:creationId xmlns:a16="http://schemas.microsoft.com/office/drawing/2014/main" id="{FD3EDBC9-1864-40A0-A85B-A102232F77AD}"/>
                  </a:ext>
                </a:extLst>
              </p:cNvPr>
              <p:cNvSpPr>
                <a:spLocks/>
              </p:cNvSpPr>
              <p:nvPr/>
            </p:nvSpPr>
            <p:spPr bwMode="auto">
              <a:xfrm>
                <a:off x="1488526" y="3223764"/>
                <a:ext cx="98774" cy="84459"/>
              </a:xfrm>
              <a:custGeom>
                <a:avLst/>
                <a:gdLst>
                  <a:gd name="T0" fmla="*/ 0 w 89"/>
                  <a:gd name="T1" fmla="*/ 2 h 77"/>
                  <a:gd name="T2" fmla="*/ 52 w 89"/>
                  <a:gd name="T3" fmla="*/ 77 h 77"/>
                  <a:gd name="T4" fmla="*/ 89 w 89"/>
                  <a:gd name="T5" fmla="*/ 51 h 77"/>
                  <a:gd name="T6" fmla="*/ 82 w 89"/>
                  <a:gd name="T7" fmla="*/ 44 h 77"/>
                  <a:gd name="T8" fmla="*/ 82 w 89"/>
                  <a:gd name="T9" fmla="*/ 0 h 77"/>
                  <a:gd name="T10" fmla="*/ 0 w 89"/>
                  <a:gd name="T11" fmla="*/ 2 h 77"/>
                </a:gdLst>
                <a:ahLst/>
                <a:cxnLst>
                  <a:cxn ang="0">
                    <a:pos x="T0" y="T1"/>
                  </a:cxn>
                  <a:cxn ang="0">
                    <a:pos x="T2" y="T3"/>
                  </a:cxn>
                  <a:cxn ang="0">
                    <a:pos x="T4" y="T5"/>
                  </a:cxn>
                  <a:cxn ang="0">
                    <a:pos x="T6" y="T7"/>
                  </a:cxn>
                  <a:cxn ang="0">
                    <a:pos x="T8" y="T9"/>
                  </a:cxn>
                  <a:cxn ang="0">
                    <a:pos x="T10" y="T11"/>
                  </a:cxn>
                </a:cxnLst>
                <a:rect l="0" t="0" r="r" b="b"/>
                <a:pathLst>
                  <a:path w="89" h="77">
                    <a:moveTo>
                      <a:pt x="0" y="2"/>
                    </a:moveTo>
                    <a:cubicBezTo>
                      <a:pt x="52" y="77"/>
                      <a:pt x="52" y="77"/>
                      <a:pt x="52" y="77"/>
                    </a:cubicBezTo>
                    <a:cubicBezTo>
                      <a:pt x="89" y="51"/>
                      <a:pt x="89" y="51"/>
                      <a:pt x="89" y="51"/>
                    </a:cubicBezTo>
                    <a:cubicBezTo>
                      <a:pt x="85" y="51"/>
                      <a:pt x="82" y="48"/>
                      <a:pt x="82" y="44"/>
                    </a:cubicBezTo>
                    <a:cubicBezTo>
                      <a:pt x="82" y="0"/>
                      <a:pt x="82" y="0"/>
                      <a:pt x="82" y="0"/>
                    </a:cubicBezTo>
                    <a:lnTo>
                      <a:pt x="0" y="2"/>
                    </a:lnTo>
                    <a:close/>
                  </a:path>
                </a:pathLst>
              </a:custGeom>
              <a:solidFill>
                <a:srgbClr val="A3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82" name="Oval 245">
                <a:extLst>
                  <a:ext uri="{FF2B5EF4-FFF2-40B4-BE49-F238E27FC236}">
                    <a16:creationId xmlns:a16="http://schemas.microsoft.com/office/drawing/2014/main" id="{8ACB10E0-B4D0-4FE7-8686-FE7F15DE12E5}"/>
                  </a:ext>
                </a:extLst>
              </p:cNvPr>
              <p:cNvSpPr>
                <a:spLocks noChangeArrowheads="1"/>
              </p:cNvSpPr>
              <p:nvPr/>
            </p:nvSpPr>
            <p:spPr bwMode="auto">
              <a:xfrm>
                <a:off x="1409794" y="3132147"/>
                <a:ext cx="42945" cy="44377"/>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83" name="Oval 246">
                <a:extLst>
                  <a:ext uri="{FF2B5EF4-FFF2-40B4-BE49-F238E27FC236}">
                    <a16:creationId xmlns:a16="http://schemas.microsoft.com/office/drawing/2014/main" id="{6C99DAC5-1E5A-46F2-A98E-EDED588123B6}"/>
                  </a:ext>
                </a:extLst>
              </p:cNvPr>
              <p:cNvSpPr>
                <a:spLocks noChangeArrowheads="1"/>
              </p:cNvSpPr>
              <p:nvPr/>
            </p:nvSpPr>
            <p:spPr bwMode="auto">
              <a:xfrm>
                <a:off x="1603046" y="3132147"/>
                <a:ext cx="42945" cy="44377"/>
              </a:xfrm>
              <a:prstGeom prst="ellipse">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84" name="Freeform 247">
                <a:extLst>
                  <a:ext uri="{FF2B5EF4-FFF2-40B4-BE49-F238E27FC236}">
                    <a16:creationId xmlns:a16="http://schemas.microsoft.com/office/drawing/2014/main" id="{D031B735-1C98-4AD9-A319-2600B716652B}"/>
                  </a:ext>
                </a:extLst>
              </p:cNvPr>
              <p:cNvSpPr>
                <a:spLocks/>
              </p:cNvSpPr>
              <p:nvPr/>
            </p:nvSpPr>
            <p:spPr bwMode="auto">
              <a:xfrm>
                <a:off x="1431266" y="3037668"/>
                <a:ext cx="193254" cy="239062"/>
              </a:xfrm>
              <a:custGeom>
                <a:avLst/>
                <a:gdLst>
                  <a:gd name="T0" fmla="*/ 87 w 175"/>
                  <a:gd name="T1" fmla="*/ 0 h 218"/>
                  <a:gd name="T2" fmla="*/ 0 w 175"/>
                  <a:gd name="T3" fmla="*/ 70 h 218"/>
                  <a:gd name="T4" fmla="*/ 0 w 175"/>
                  <a:gd name="T5" fmla="*/ 144 h 218"/>
                  <a:gd name="T6" fmla="*/ 9 w 175"/>
                  <a:gd name="T7" fmla="*/ 169 h 218"/>
                  <a:gd name="T8" fmla="*/ 51 w 175"/>
                  <a:gd name="T9" fmla="*/ 210 h 218"/>
                  <a:gd name="T10" fmla="*/ 68 w 175"/>
                  <a:gd name="T11" fmla="*/ 218 h 218"/>
                  <a:gd name="T12" fmla="*/ 107 w 175"/>
                  <a:gd name="T13" fmla="*/ 218 h 218"/>
                  <a:gd name="T14" fmla="*/ 123 w 175"/>
                  <a:gd name="T15" fmla="*/ 210 h 218"/>
                  <a:gd name="T16" fmla="*/ 165 w 175"/>
                  <a:gd name="T17" fmla="*/ 169 h 218"/>
                  <a:gd name="T18" fmla="*/ 175 w 175"/>
                  <a:gd name="T19" fmla="*/ 144 h 218"/>
                  <a:gd name="T20" fmla="*/ 175 w 175"/>
                  <a:gd name="T21" fmla="*/ 70 h 218"/>
                  <a:gd name="T22" fmla="*/ 87 w 175"/>
                  <a:gd name="T2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218">
                    <a:moveTo>
                      <a:pt x="87" y="0"/>
                    </a:moveTo>
                    <a:cubicBezTo>
                      <a:pt x="39" y="0"/>
                      <a:pt x="0" y="22"/>
                      <a:pt x="0" y="70"/>
                    </a:cubicBezTo>
                    <a:cubicBezTo>
                      <a:pt x="0" y="144"/>
                      <a:pt x="0" y="144"/>
                      <a:pt x="0" y="144"/>
                    </a:cubicBezTo>
                    <a:cubicBezTo>
                      <a:pt x="0" y="153"/>
                      <a:pt x="3" y="162"/>
                      <a:pt x="9" y="169"/>
                    </a:cubicBezTo>
                    <a:cubicBezTo>
                      <a:pt x="51" y="210"/>
                      <a:pt x="51" y="210"/>
                      <a:pt x="51" y="210"/>
                    </a:cubicBezTo>
                    <a:cubicBezTo>
                      <a:pt x="55" y="215"/>
                      <a:pt x="61" y="218"/>
                      <a:pt x="68" y="218"/>
                    </a:cubicBezTo>
                    <a:cubicBezTo>
                      <a:pt x="107" y="218"/>
                      <a:pt x="107" y="218"/>
                      <a:pt x="107" y="218"/>
                    </a:cubicBezTo>
                    <a:cubicBezTo>
                      <a:pt x="113" y="218"/>
                      <a:pt x="119" y="215"/>
                      <a:pt x="123" y="210"/>
                    </a:cubicBezTo>
                    <a:cubicBezTo>
                      <a:pt x="165" y="169"/>
                      <a:pt x="165" y="169"/>
                      <a:pt x="165" y="169"/>
                    </a:cubicBezTo>
                    <a:cubicBezTo>
                      <a:pt x="171" y="162"/>
                      <a:pt x="175" y="153"/>
                      <a:pt x="175" y="144"/>
                    </a:cubicBezTo>
                    <a:cubicBezTo>
                      <a:pt x="175" y="70"/>
                      <a:pt x="175" y="70"/>
                      <a:pt x="175" y="70"/>
                    </a:cubicBezTo>
                    <a:cubicBezTo>
                      <a:pt x="175" y="22"/>
                      <a:pt x="135" y="0"/>
                      <a:pt x="87" y="0"/>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85" name="Freeform 248">
                <a:extLst>
                  <a:ext uri="{FF2B5EF4-FFF2-40B4-BE49-F238E27FC236}">
                    <a16:creationId xmlns:a16="http://schemas.microsoft.com/office/drawing/2014/main" id="{DED0B141-05F8-426E-8733-B2A005A94C9C}"/>
                  </a:ext>
                </a:extLst>
              </p:cNvPr>
              <p:cNvSpPr>
                <a:spLocks/>
              </p:cNvSpPr>
              <p:nvPr/>
            </p:nvSpPr>
            <p:spPr bwMode="auto">
              <a:xfrm>
                <a:off x="1507136" y="3116401"/>
                <a:ext cx="115952" cy="160329"/>
              </a:xfrm>
              <a:custGeom>
                <a:avLst/>
                <a:gdLst>
                  <a:gd name="T0" fmla="*/ 37 w 105"/>
                  <a:gd name="T1" fmla="*/ 27 h 146"/>
                  <a:gd name="T2" fmla="*/ 23 w 105"/>
                  <a:gd name="T3" fmla="*/ 43 h 146"/>
                  <a:gd name="T4" fmla="*/ 26 w 105"/>
                  <a:gd name="T5" fmla="*/ 69 h 146"/>
                  <a:gd name="T6" fmla="*/ 33 w 105"/>
                  <a:gd name="T7" fmla="*/ 84 h 146"/>
                  <a:gd name="T8" fmla="*/ 0 w 105"/>
                  <a:gd name="T9" fmla="*/ 84 h 146"/>
                  <a:gd name="T10" fmla="*/ 18 w 105"/>
                  <a:gd name="T11" fmla="*/ 99 h 146"/>
                  <a:gd name="T12" fmla="*/ 29 w 105"/>
                  <a:gd name="T13" fmla="*/ 126 h 146"/>
                  <a:gd name="T14" fmla="*/ 18 w 105"/>
                  <a:gd name="T15" fmla="*/ 124 h 146"/>
                  <a:gd name="T16" fmla="*/ 0 w 105"/>
                  <a:gd name="T17" fmla="*/ 134 h 146"/>
                  <a:gd name="T18" fmla="*/ 32 w 105"/>
                  <a:gd name="T19" fmla="*/ 134 h 146"/>
                  <a:gd name="T20" fmla="*/ 37 w 105"/>
                  <a:gd name="T21" fmla="*/ 146 h 146"/>
                  <a:gd name="T22" fmla="*/ 54 w 105"/>
                  <a:gd name="T23" fmla="*/ 139 h 146"/>
                  <a:gd name="T24" fmla="*/ 96 w 105"/>
                  <a:gd name="T25" fmla="*/ 97 h 146"/>
                  <a:gd name="T26" fmla="*/ 105 w 105"/>
                  <a:gd name="T27" fmla="*/ 72 h 146"/>
                  <a:gd name="T28" fmla="*/ 105 w 105"/>
                  <a:gd name="T29" fmla="*/ 0 h 146"/>
                  <a:gd name="T30" fmla="*/ 37 w 105"/>
                  <a:gd name="T31" fmla="*/ 2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 h="146">
                    <a:moveTo>
                      <a:pt x="37" y="27"/>
                    </a:moveTo>
                    <a:cubicBezTo>
                      <a:pt x="29" y="28"/>
                      <a:pt x="22" y="35"/>
                      <a:pt x="23" y="43"/>
                    </a:cubicBezTo>
                    <a:cubicBezTo>
                      <a:pt x="26" y="69"/>
                      <a:pt x="26" y="69"/>
                      <a:pt x="26" y="69"/>
                    </a:cubicBezTo>
                    <a:cubicBezTo>
                      <a:pt x="36" y="73"/>
                      <a:pt x="33" y="84"/>
                      <a:pt x="33" y="84"/>
                    </a:cubicBezTo>
                    <a:cubicBezTo>
                      <a:pt x="0" y="84"/>
                      <a:pt x="0" y="84"/>
                      <a:pt x="0" y="84"/>
                    </a:cubicBezTo>
                    <a:cubicBezTo>
                      <a:pt x="18" y="99"/>
                      <a:pt x="18" y="99"/>
                      <a:pt x="18" y="99"/>
                    </a:cubicBezTo>
                    <a:cubicBezTo>
                      <a:pt x="29" y="126"/>
                      <a:pt x="29" y="126"/>
                      <a:pt x="29" y="126"/>
                    </a:cubicBezTo>
                    <a:cubicBezTo>
                      <a:pt x="26" y="125"/>
                      <a:pt x="22" y="124"/>
                      <a:pt x="18" y="124"/>
                    </a:cubicBezTo>
                    <a:cubicBezTo>
                      <a:pt x="9" y="124"/>
                      <a:pt x="2" y="128"/>
                      <a:pt x="0" y="134"/>
                    </a:cubicBezTo>
                    <a:cubicBezTo>
                      <a:pt x="32" y="134"/>
                      <a:pt x="32" y="134"/>
                      <a:pt x="32" y="134"/>
                    </a:cubicBezTo>
                    <a:cubicBezTo>
                      <a:pt x="37" y="146"/>
                      <a:pt x="37" y="146"/>
                      <a:pt x="37" y="146"/>
                    </a:cubicBezTo>
                    <a:cubicBezTo>
                      <a:pt x="45" y="146"/>
                      <a:pt x="51" y="142"/>
                      <a:pt x="54" y="139"/>
                    </a:cubicBezTo>
                    <a:cubicBezTo>
                      <a:pt x="96" y="97"/>
                      <a:pt x="96" y="97"/>
                      <a:pt x="96" y="97"/>
                    </a:cubicBezTo>
                    <a:cubicBezTo>
                      <a:pt x="102" y="91"/>
                      <a:pt x="105" y="82"/>
                      <a:pt x="105" y="72"/>
                    </a:cubicBezTo>
                    <a:cubicBezTo>
                      <a:pt x="105" y="0"/>
                      <a:pt x="105" y="0"/>
                      <a:pt x="105" y="0"/>
                    </a:cubicBezTo>
                    <a:lnTo>
                      <a:pt x="37" y="27"/>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86" name="Freeform 249">
                <a:extLst>
                  <a:ext uri="{FF2B5EF4-FFF2-40B4-BE49-F238E27FC236}">
                    <a16:creationId xmlns:a16="http://schemas.microsoft.com/office/drawing/2014/main" id="{D4BED86B-4464-411C-A0E4-418F275D375A}"/>
                  </a:ext>
                </a:extLst>
              </p:cNvPr>
              <p:cNvSpPr>
                <a:spLocks/>
              </p:cNvSpPr>
              <p:nvPr/>
            </p:nvSpPr>
            <p:spPr bwMode="auto">
              <a:xfrm>
                <a:off x="1501410" y="3235216"/>
                <a:ext cx="52966" cy="8589"/>
              </a:xfrm>
              <a:custGeom>
                <a:avLst/>
                <a:gdLst>
                  <a:gd name="T0" fmla="*/ 23 w 48"/>
                  <a:gd name="T1" fmla="*/ 8 h 8"/>
                  <a:gd name="T2" fmla="*/ 1 w 48"/>
                  <a:gd name="T3" fmla="*/ 4 h 8"/>
                  <a:gd name="T4" fmla="*/ 1 w 48"/>
                  <a:gd name="T5" fmla="*/ 1 h 8"/>
                  <a:gd name="T6" fmla="*/ 4 w 48"/>
                  <a:gd name="T7" fmla="*/ 1 h 8"/>
                  <a:gd name="T8" fmla="*/ 23 w 48"/>
                  <a:gd name="T9" fmla="*/ 3 h 8"/>
                  <a:gd name="T10" fmla="*/ 44 w 48"/>
                  <a:gd name="T11" fmla="*/ 0 h 8"/>
                  <a:gd name="T12" fmla="*/ 48 w 48"/>
                  <a:gd name="T13" fmla="*/ 1 h 8"/>
                  <a:gd name="T14" fmla="*/ 46 w 48"/>
                  <a:gd name="T15" fmla="*/ 5 h 8"/>
                  <a:gd name="T16" fmla="*/ 23 w 4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8">
                    <a:moveTo>
                      <a:pt x="23" y="8"/>
                    </a:moveTo>
                    <a:cubicBezTo>
                      <a:pt x="7" y="8"/>
                      <a:pt x="2" y="5"/>
                      <a:pt x="1" y="4"/>
                    </a:cubicBezTo>
                    <a:cubicBezTo>
                      <a:pt x="0" y="4"/>
                      <a:pt x="0" y="2"/>
                      <a:pt x="1" y="1"/>
                    </a:cubicBezTo>
                    <a:cubicBezTo>
                      <a:pt x="2" y="0"/>
                      <a:pt x="3" y="0"/>
                      <a:pt x="4" y="1"/>
                    </a:cubicBezTo>
                    <a:cubicBezTo>
                      <a:pt x="4" y="1"/>
                      <a:pt x="9" y="3"/>
                      <a:pt x="23" y="3"/>
                    </a:cubicBezTo>
                    <a:cubicBezTo>
                      <a:pt x="38" y="3"/>
                      <a:pt x="44" y="0"/>
                      <a:pt x="44" y="0"/>
                    </a:cubicBezTo>
                    <a:cubicBezTo>
                      <a:pt x="46" y="0"/>
                      <a:pt x="47" y="0"/>
                      <a:pt x="48" y="1"/>
                    </a:cubicBezTo>
                    <a:cubicBezTo>
                      <a:pt x="48" y="3"/>
                      <a:pt x="48" y="4"/>
                      <a:pt x="46" y="5"/>
                    </a:cubicBezTo>
                    <a:cubicBezTo>
                      <a:pt x="46" y="5"/>
                      <a:pt x="39" y="8"/>
                      <a:pt x="23" y="8"/>
                    </a:cubicBezTo>
                    <a:close/>
                  </a:path>
                </a:pathLst>
              </a:custGeom>
              <a:solidFill>
                <a:srgbClr val="B48C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87" name="Freeform 250">
                <a:extLst>
                  <a:ext uri="{FF2B5EF4-FFF2-40B4-BE49-F238E27FC236}">
                    <a16:creationId xmlns:a16="http://schemas.microsoft.com/office/drawing/2014/main" id="{FC1EA8BB-76AD-43BE-BEDE-E8359EBF5567}"/>
                  </a:ext>
                </a:extLst>
              </p:cNvPr>
              <p:cNvSpPr>
                <a:spLocks/>
              </p:cNvSpPr>
              <p:nvPr/>
            </p:nvSpPr>
            <p:spPr bwMode="auto">
              <a:xfrm>
                <a:off x="1457033" y="3130716"/>
                <a:ext cx="141719" cy="55829"/>
              </a:xfrm>
              <a:custGeom>
                <a:avLst/>
                <a:gdLst>
                  <a:gd name="T0" fmla="*/ 129 w 129"/>
                  <a:gd name="T1" fmla="*/ 0 h 50"/>
                  <a:gd name="T2" fmla="*/ 0 w 129"/>
                  <a:gd name="T3" fmla="*/ 0 h 50"/>
                  <a:gd name="T4" fmla="*/ 0 w 129"/>
                  <a:gd name="T5" fmla="*/ 21 h 50"/>
                  <a:gd name="T6" fmla="*/ 28 w 129"/>
                  <a:gd name="T7" fmla="*/ 50 h 50"/>
                  <a:gd name="T8" fmla="*/ 55 w 129"/>
                  <a:gd name="T9" fmla="*/ 21 h 50"/>
                  <a:gd name="T10" fmla="*/ 73 w 129"/>
                  <a:gd name="T11" fmla="*/ 21 h 50"/>
                  <a:gd name="T12" fmla="*/ 101 w 129"/>
                  <a:gd name="T13" fmla="*/ 50 h 50"/>
                  <a:gd name="T14" fmla="*/ 129 w 129"/>
                  <a:gd name="T15" fmla="*/ 20 h 50"/>
                  <a:gd name="T16" fmla="*/ 129 w 129"/>
                  <a:gd name="T17" fmla="*/ 20 h 50"/>
                  <a:gd name="T18" fmla="*/ 129 w 12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50">
                    <a:moveTo>
                      <a:pt x="129" y="0"/>
                    </a:moveTo>
                    <a:cubicBezTo>
                      <a:pt x="0" y="0"/>
                      <a:pt x="0" y="0"/>
                      <a:pt x="0" y="0"/>
                    </a:cubicBezTo>
                    <a:cubicBezTo>
                      <a:pt x="0" y="21"/>
                      <a:pt x="0" y="21"/>
                      <a:pt x="0" y="21"/>
                    </a:cubicBezTo>
                    <a:cubicBezTo>
                      <a:pt x="0" y="37"/>
                      <a:pt x="12" y="50"/>
                      <a:pt x="28" y="50"/>
                    </a:cubicBezTo>
                    <a:cubicBezTo>
                      <a:pt x="43" y="50"/>
                      <a:pt x="55" y="37"/>
                      <a:pt x="55" y="21"/>
                    </a:cubicBezTo>
                    <a:cubicBezTo>
                      <a:pt x="73" y="21"/>
                      <a:pt x="73" y="21"/>
                      <a:pt x="73" y="21"/>
                    </a:cubicBezTo>
                    <a:cubicBezTo>
                      <a:pt x="73" y="37"/>
                      <a:pt x="85" y="50"/>
                      <a:pt x="101" y="50"/>
                    </a:cubicBezTo>
                    <a:cubicBezTo>
                      <a:pt x="116" y="50"/>
                      <a:pt x="129" y="37"/>
                      <a:pt x="129" y="20"/>
                    </a:cubicBezTo>
                    <a:cubicBezTo>
                      <a:pt x="129" y="20"/>
                      <a:pt x="129" y="20"/>
                      <a:pt x="129" y="20"/>
                    </a:cubicBez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88" name="Freeform 251">
                <a:extLst>
                  <a:ext uri="{FF2B5EF4-FFF2-40B4-BE49-F238E27FC236}">
                    <a16:creationId xmlns:a16="http://schemas.microsoft.com/office/drawing/2014/main" id="{83673809-151F-4C3E-901F-8A5015585670}"/>
                  </a:ext>
                </a:extLst>
              </p:cNvPr>
              <p:cNvSpPr>
                <a:spLocks/>
              </p:cNvSpPr>
              <p:nvPr/>
            </p:nvSpPr>
            <p:spPr bwMode="auto">
              <a:xfrm>
                <a:off x="1425540" y="3093497"/>
                <a:ext cx="17178" cy="81596"/>
              </a:xfrm>
              <a:custGeom>
                <a:avLst/>
                <a:gdLst>
                  <a:gd name="T0" fmla="*/ 0 w 15"/>
                  <a:gd name="T1" fmla="*/ 0 h 74"/>
                  <a:gd name="T2" fmla="*/ 0 w 15"/>
                  <a:gd name="T3" fmla="*/ 66 h 74"/>
                  <a:gd name="T4" fmla="*/ 0 w 15"/>
                  <a:gd name="T5" fmla="*/ 67 h 74"/>
                  <a:gd name="T6" fmla="*/ 7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7" y="74"/>
                    </a:cubicBezTo>
                    <a:cubicBezTo>
                      <a:pt x="12" y="74"/>
                      <a:pt x="15" y="71"/>
                      <a:pt x="15" y="67"/>
                    </a:cubicBezTo>
                    <a:cubicBezTo>
                      <a:pt x="15" y="0"/>
                      <a:pt x="15" y="0"/>
                      <a:pt x="15" y="0"/>
                    </a:cubicBezTo>
                    <a:cubicBezTo>
                      <a:pt x="0" y="0"/>
                      <a:pt x="0" y="0"/>
                      <a:pt x="0"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89" name="Freeform 252">
                <a:extLst>
                  <a:ext uri="{FF2B5EF4-FFF2-40B4-BE49-F238E27FC236}">
                    <a16:creationId xmlns:a16="http://schemas.microsoft.com/office/drawing/2014/main" id="{D4EF0A4A-6DC5-4DA4-B5E3-025EF072EDD3}"/>
                  </a:ext>
                </a:extLst>
              </p:cNvPr>
              <p:cNvSpPr>
                <a:spLocks/>
              </p:cNvSpPr>
              <p:nvPr/>
            </p:nvSpPr>
            <p:spPr bwMode="auto">
              <a:xfrm>
                <a:off x="1613067" y="3093497"/>
                <a:ext cx="15747" cy="81596"/>
              </a:xfrm>
              <a:custGeom>
                <a:avLst/>
                <a:gdLst>
                  <a:gd name="T0" fmla="*/ 0 w 15"/>
                  <a:gd name="T1" fmla="*/ 0 h 74"/>
                  <a:gd name="T2" fmla="*/ 0 w 15"/>
                  <a:gd name="T3" fmla="*/ 66 h 74"/>
                  <a:gd name="T4" fmla="*/ 0 w 15"/>
                  <a:gd name="T5" fmla="*/ 67 h 74"/>
                  <a:gd name="T6" fmla="*/ 8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8" y="74"/>
                    </a:cubicBezTo>
                    <a:cubicBezTo>
                      <a:pt x="12" y="74"/>
                      <a:pt x="15" y="71"/>
                      <a:pt x="15" y="67"/>
                    </a:cubicBezTo>
                    <a:cubicBezTo>
                      <a:pt x="15" y="0"/>
                      <a:pt x="15" y="0"/>
                      <a:pt x="15" y="0"/>
                    </a:cubicBezTo>
                    <a:cubicBezTo>
                      <a:pt x="0" y="0"/>
                      <a:pt x="0" y="0"/>
                      <a:pt x="0"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90" name="Freeform 253">
                <a:extLst>
                  <a:ext uri="{FF2B5EF4-FFF2-40B4-BE49-F238E27FC236}">
                    <a16:creationId xmlns:a16="http://schemas.microsoft.com/office/drawing/2014/main" id="{58494C72-98AF-4119-BC37-3ED4EB4C6DD8}"/>
                  </a:ext>
                </a:extLst>
              </p:cNvPr>
              <p:cNvSpPr>
                <a:spLocks/>
              </p:cNvSpPr>
              <p:nvPr/>
            </p:nvSpPr>
            <p:spPr bwMode="auto">
              <a:xfrm>
                <a:off x="1362553" y="3004744"/>
                <a:ext cx="329246" cy="143150"/>
              </a:xfrm>
              <a:custGeom>
                <a:avLst/>
                <a:gdLst>
                  <a:gd name="T0" fmla="*/ 149 w 298"/>
                  <a:gd name="T1" fmla="*/ 0 h 130"/>
                  <a:gd name="T2" fmla="*/ 61 w 298"/>
                  <a:gd name="T3" fmla="*/ 99 h 130"/>
                  <a:gd name="T4" fmla="*/ 61 w 298"/>
                  <a:gd name="T5" fmla="*/ 99 h 130"/>
                  <a:gd name="T6" fmla="*/ 149 w 298"/>
                  <a:gd name="T7" fmla="*/ 130 h 130"/>
                  <a:gd name="T8" fmla="*/ 237 w 298"/>
                  <a:gd name="T9" fmla="*/ 99 h 130"/>
                  <a:gd name="T10" fmla="*/ 237 w 298"/>
                  <a:gd name="T11" fmla="*/ 99 h 130"/>
                  <a:gd name="T12" fmla="*/ 149 w 298"/>
                  <a:gd name="T13" fmla="*/ 0 h 130"/>
                </a:gdLst>
                <a:ahLst/>
                <a:cxnLst>
                  <a:cxn ang="0">
                    <a:pos x="T0" y="T1"/>
                  </a:cxn>
                  <a:cxn ang="0">
                    <a:pos x="T2" y="T3"/>
                  </a:cxn>
                  <a:cxn ang="0">
                    <a:pos x="T4" y="T5"/>
                  </a:cxn>
                  <a:cxn ang="0">
                    <a:pos x="T6" y="T7"/>
                  </a:cxn>
                  <a:cxn ang="0">
                    <a:pos x="T8" y="T9"/>
                  </a:cxn>
                  <a:cxn ang="0">
                    <a:pos x="T10" y="T11"/>
                  </a:cxn>
                  <a:cxn ang="0">
                    <a:pos x="T12" y="T13"/>
                  </a:cxn>
                </a:cxnLst>
                <a:rect l="0" t="0" r="r" b="b"/>
                <a:pathLst>
                  <a:path w="298" h="130">
                    <a:moveTo>
                      <a:pt x="149" y="0"/>
                    </a:moveTo>
                    <a:cubicBezTo>
                      <a:pt x="0" y="0"/>
                      <a:pt x="44" y="75"/>
                      <a:pt x="61" y="99"/>
                    </a:cubicBezTo>
                    <a:cubicBezTo>
                      <a:pt x="61" y="99"/>
                      <a:pt x="61" y="99"/>
                      <a:pt x="61" y="99"/>
                    </a:cubicBezTo>
                    <a:cubicBezTo>
                      <a:pt x="61" y="109"/>
                      <a:pt x="100" y="130"/>
                      <a:pt x="149" y="130"/>
                    </a:cubicBezTo>
                    <a:cubicBezTo>
                      <a:pt x="198" y="130"/>
                      <a:pt x="237" y="108"/>
                      <a:pt x="237" y="99"/>
                    </a:cubicBezTo>
                    <a:cubicBezTo>
                      <a:pt x="237" y="99"/>
                      <a:pt x="237" y="99"/>
                      <a:pt x="237" y="99"/>
                    </a:cubicBezTo>
                    <a:cubicBezTo>
                      <a:pt x="254" y="75"/>
                      <a:pt x="298" y="0"/>
                      <a:pt x="149"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a:p>
            </p:txBody>
          </p:sp>
          <p:sp>
            <p:nvSpPr>
              <p:cNvPr id="691" name="Freeform 254">
                <a:extLst>
                  <a:ext uri="{FF2B5EF4-FFF2-40B4-BE49-F238E27FC236}">
                    <a16:creationId xmlns:a16="http://schemas.microsoft.com/office/drawing/2014/main" id="{B89408E0-AD50-4085-9447-987208FEBB94}"/>
                  </a:ext>
                </a:extLst>
              </p:cNvPr>
              <p:cNvSpPr>
                <a:spLocks/>
              </p:cNvSpPr>
              <p:nvPr/>
            </p:nvSpPr>
            <p:spPr bwMode="auto">
              <a:xfrm>
                <a:off x="1362553" y="3004744"/>
                <a:ext cx="176075" cy="143150"/>
              </a:xfrm>
              <a:custGeom>
                <a:avLst/>
                <a:gdLst>
                  <a:gd name="T0" fmla="*/ 81 w 159"/>
                  <a:gd name="T1" fmla="*/ 99 h 130"/>
                  <a:gd name="T2" fmla="*/ 81 w 159"/>
                  <a:gd name="T3" fmla="*/ 99 h 130"/>
                  <a:gd name="T4" fmla="*/ 159 w 159"/>
                  <a:gd name="T5" fmla="*/ 0 h 130"/>
                  <a:gd name="T6" fmla="*/ 149 w 159"/>
                  <a:gd name="T7" fmla="*/ 0 h 130"/>
                  <a:gd name="T8" fmla="*/ 61 w 159"/>
                  <a:gd name="T9" fmla="*/ 99 h 130"/>
                  <a:gd name="T10" fmla="*/ 61 w 159"/>
                  <a:gd name="T11" fmla="*/ 99 h 130"/>
                  <a:gd name="T12" fmla="*/ 149 w 159"/>
                  <a:gd name="T13" fmla="*/ 130 h 130"/>
                  <a:gd name="T14" fmla="*/ 159 w 159"/>
                  <a:gd name="T15" fmla="*/ 130 h 130"/>
                  <a:gd name="T16" fmla="*/ 81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81" y="99"/>
                    </a:moveTo>
                    <a:cubicBezTo>
                      <a:pt x="81" y="99"/>
                      <a:pt x="81" y="99"/>
                      <a:pt x="81" y="99"/>
                    </a:cubicBezTo>
                    <a:cubicBezTo>
                      <a:pt x="64" y="76"/>
                      <a:pt x="22" y="3"/>
                      <a:pt x="159" y="0"/>
                    </a:cubicBezTo>
                    <a:cubicBezTo>
                      <a:pt x="156" y="0"/>
                      <a:pt x="152" y="0"/>
                      <a:pt x="149" y="0"/>
                    </a:cubicBezTo>
                    <a:cubicBezTo>
                      <a:pt x="0" y="0"/>
                      <a:pt x="44" y="75"/>
                      <a:pt x="61" y="99"/>
                    </a:cubicBezTo>
                    <a:cubicBezTo>
                      <a:pt x="61" y="99"/>
                      <a:pt x="61" y="99"/>
                      <a:pt x="61" y="99"/>
                    </a:cubicBezTo>
                    <a:cubicBezTo>
                      <a:pt x="61" y="109"/>
                      <a:pt x="100" y="130"/>
                      <a:pt x="149" y="130"/>
                    </a:cubicBezTo>
                    <a:cubicBezTo>
                      <a:pt x="152" y="130"/>
                      <a:pt x="156" y="130"/>
                      <a:pt x="159" y="130"/>
                    </a:cubicBezTo>
                    <a:cubicBezTo>
                      <a:pt x="115" y="127"/>
                      <a:pt x="81" y="108"/>
                      <a:pt x="81" y="99"/>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92" name="Freeform 255">
                <a:extLst>
                  <a:ext uri="{FF2B5EF4-FFF2-40B4-BE49-F238E27FC236}">
                    <a16:creationId xmlns:a16="http://schemas.microsoft.com/office/drawing/2014/main" id="{EE0D9FB6-07AF-4A6A-82DD-288464A6C99B}"/>
                  </a:ext>
                </a:extLst>
              </p:cNvPr>
              <p:cNvSpPr>
                <a:spLocks/>
              </p:cNvSpPr>
              <p:nvPr/>
            </p:nvSpPr>
            <p:spPr bwMode="auto">
              <a:xfrm>
                <a:off x="1517156" y="3004744"/>
                <a:ext cx="174644" cy="143150"/>
              </a:xfrm>
              <a:custGeom>
                <a:avLst/>
                <a:gdLst>
                  <a:gd name="T0" fmla="*/ 78 w 159"/>
                  <a:gd name="T1" fmla="*/ 99 h 130"/>
                  <a:gd name="T2" fmla="*/ 78 w 159"/>
                  <a:gd name="T3" fmla="*/ 99 h 130"/>
                  <a:gd name="T4" fmla="*/ 0 w 159"/>
                  <a:gd name="T5" fmla="*/ 0 h 130"/>
                  <a:gd name="T6" fmla="*/ 10 w 159"/>
                  <a:gd name="T7" fmla="*/ 0 h 130"/>
                  <a:gd name="T8" fmla="*/ 98 w 159"/>
                  <a:gd name="T9" fmla="*/ 99 h 130"/>
                  <a:gd name="T10" fmla="*/ 98 w 159"/>
                  <a:gd name="T11" fmla="*/ 99 h 130"/>
                  <a:gd name="T12" fmla="*/ 10 w 159"/>
                  <a:gd name="T13" fmla="*/ 130 h 130"/>
                  <a:gd name="T14" fmla="*/ 0 w 159"/>
                  <a:gd name="T15" fmla="*/ 130 h 130"/>
                  <a:gd name="T16" fmla="*/ 78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78" y="99"/>
                    </a:moveTo>
                    <a:cubicBezTo>
                      <a:pt x="78" y="99"/>
                      <a:pt x="78" y="99"/>
                      <a:pt x="78" y="99"/>
                    </a:cubicBezTo>
                    <a:cubicBezTo>
                      <a:pt x="95" y="76"/>
                      <a:pt x="137" y="3"/>
                      <a:pt x="0" y="0"/>
                    </a:cubicBezTo>
                    <a:cubicBezTo>
                      <a:pt x="3" y="0"/>
                      <a:pt x="7" y="0"/>
                      <a:pt x="10" y="0"/>
                    </a:cubicBezTo>
                    <a:cubicBezTo>
                      <a:pt x="159" y="0"/>
                      <a:pt x="115" y="75"/>
                      <a:pt x="98" y="99"/>
                    </a:cubicBezTo>
                    <a:cubicBezTo>
                      <a:pt x="98" y="99"/>
                      <a:pt x="98" y="99"/>
                      <a:pt x="98" y="99"/>
                    </a:cubicBezTo>
                    <a:cubicBezTo>
                      <a:pt x="98" y="109"/>
                      <a:pt x="59" y="130"/>
                      <a:pt x="10" y="130"/>
                    </a:cubicBezTo>
                    <a:cubicBezTo>
                      <a:pt x="7" y="130"/>
                      <a:pt x="3" y="130"/>
                      <a:pt x="0" y="130"/>
                    </a:cubicBezTo>
                    <a:cubicBezTo>
                      <a:pt x="44" y="127"/>
                      <a:pt x="78" y="108"/>
                      <a:pt x="78" y="99"/>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93" name="Freeform 256">
                <a:extLst>
                  <a:ext uri="{FF2B5EF4-FFF2-40B4-BE49-F238E27FC236}">
                    <a16:creationId xmlns:a16="http://schemas.microsoft.com/office/drawing/2014/main" id="{6823B5E3-C25D-4E44-A722-A040C16358BB}"/>
                  </a:ext>
                </a:extLst>
              </p:cNvPr>
              <p:cNvSpPr>
                <a:spLocks/>
              </p:cNvSpPr>
              <p:nvPr/>
            </p:nvSpPr>
            <p:spPr bwMode="auto">
              <a:xfrm>
                <a:off x="1421246" y="3094928"/>
                <a:ext cx="211863" cy="21473"/>
              </a:xfrm>
              <a:custGeom>
                <a:avLst/>
                <a:gdLst>
                  <a:gd name="T0" fmla="*/ 192 w 192"/>
                  <a:gd name="T1" fmla="*/ 4 h 20"/>
                  <a:gd name="T2" fmla="*/ 188 w 192"/>
                  <a:gd name="T3" fmla="*/ 0 h 20"/>
                  <a:gd name="T4" fmla="*/ 4 w 192"/>
                  <a:gd name="T5" fmla="*/ 0 h 20"/>
                  <a:gd name="T6" fmla="*/ 0 w 192"/>
                  <a:gd name="T7" fmla="*/ 4 h 20"/>
                  <a:gd name="T8" fmla="*/ 0 w 192"/>
                  <a:gd name="T9" fmla="*/ 15 h 20"/>
                  <a:gd name="T10" fmla="*/ 4 w 192"/>
                  <a:gd name="T11" fmla="*/ 20 h 20"/>
                  <a:gd name="T12" fmla="*/ 188 w 192"/>
                  <a:gd name="T13" fmla="*/ 19 h 20"/>
                  <a:gd name="T14" fmla="*/ 192 w 192"/>
                  <a:gd name="T15" fmla="*/ 15 h 20"/>
                  <a:gd name="T16" fmla="*/ 192 w 192"/>
                  <a:gd name="T1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0">
                    <a:moveTo>
                      <a:pt x="192" y="4"/>
                    </a:moveTo>
                    <a:cubicBezTo>
                      <a:pt x="192" y="2"/>
                      <a:pt x="190" y="0"/>
                      <a:pt x="188" y="0"/>
                    </a:cubicBezTo>
                    <a:cubicBezTo>
                      <a:pt x="4" y="0"/>
                      <a:pt x="4" y="0"/>
                      <a:pt x="4" y="0"/>
                    </a:cubicBezTo>
                    <a:cubicBezTo>
                      <a:pt x="2" y="0"/>
                      <a:pt x="0" y="2"/>
                      <a:pt x="0" y="4"/>
                    </a:cubicBezTo>
                    <a:cubicBezTo>
                      <a:pt x="0" y="15"/>
                      <a:pt x="0" y="15"/>
                      <a:pt x="0" y="15"/>
                    </a:cubicBezTo>
                    <a:cubicBezTo>
                      <a:pt x="0" y="18"/>
                      <a:pt x="2" y="20"/>
                      <a:pt x="4" y="20"/>
                    </a:cubicBezTo>
                    <a:cubicBezTo>
                      <a:pt x="188" y="19"/>
                      <a:pt x="188" y="19"/>
                      <a:pt x="188" y="19"/>
                    </a:cubicBezTo>
                    <a:cubicBezTo>
                      <a:pt x="190" y="19"/>
                      <a:pt x="192" y="17"/>
                      <a:pt x="192" y="15"/>
                    </a:cubicBezTo>
                    <a:cubicBezTo>
                      <a:pt x="192" y="4"/>
                      <a:pt x="192" y="4"/>
                      <a:pt x="192" y="4"/>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94" name="Freeform 257">
                <a:extLst>
                  <a:ext uri="{FF2B5EF4-FFF2-40B4-BE49-F238E27FC236}">
                    <a16:creationId xmlns:a16="http://schemas.microsoft.com/office/drawing/2014/main" id="{75CD4481-F7A1-4B84-95DF-FCD68CAF1145}"/>
                  </a:ext>
                </a:extLst>
              </p:cNvPr>
              <p:cNvSpPr>
                <a:spLocks/>
              </p:cNvSpPr>
              <p:nvPr/>
            </p:nvSpPr>
            <p:spPr bwMode="auto">
              <a:xfrm>
                <a:off x="1421246" y="3099223"/>
                <a:ext cx="4295" cy="17178"/>
              </a:xfrm>
              <a:custGeom>
                <a:avLst/>
                <a:gdLst>
                  <a:gd name="T0" fmla="*/ 0 w 4"/>
                  <a:gd name="T1" fmla="*/ 0 h 16"/>
                  <a:gd name="T2" fmla="*/ 0 w 4"/>
                  <a:gd name="T3" fmla="*/ 0 h 16"/>
                  <a:gd name="T4" fmla="*/ 0 w 4"/>
                  <a:gd name="T5" fmla="*/ 11 h 16"/>
                  <a:gd name="T6" fmla="*/ 4 w 4"/>
                  <a:gd name="T7" fmla="*/ 16 h 16"/>
                  <a:gd name="T8" fmla="*/ 4 w 4"/>
                  <a:gd name="T9" fmla="*/ 16 h 16"/>
                  <a:gd name="T10" fmla="*/ 0 w 4"/>
                  <a:gd name="T11" fmla="*/ 11 h 16"/>
                  <a:gd name="T12" fmla="*/ 0 w 4"/>
                  <a:gd name="T13" fmla="*/ 0 h 16"/>
                  <a:gd name="T14" fmla="*/ 0 w 4"/>
                  <a:gd name="T15" fmla="*/ 0 h 16"/>
                  <a:gd name="T16" fmla="*/ 0 w 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6">
                    <a:moveTo>
                      <a:pt x="0" y="0"/>
                    </a:moveTo>
                    <a:cubicBezTo>
                      <a:pt x="0" y="0"/>
                      <a:pt x="0" y="0"/>
                      <a:pt x="0" y="0"/>
                    </a:cubicBezTo>
                    <a:cubicBezTo>
                      <a:pt x="0" y="11"/>
                      <a:pt x="0" y="11"/>
                      <a:pt x="0" y="11"/>
                    </a:cubicBezTo>
                    <a:cubicBezTo>
                      <a:pt x="0" y="13"/>
                      <a:pt x="1" y="15"/>
                      <a:pt x="4" y="16"/>
                    </a:cubicBezTo>
                    <a:cubicBezTo>
                      <a:pt x="4" y="16"/>
                      <a:pt x="4" y="16"/>
                      <a:pt x="4" y="16"/>
                    </a:cubicBezTo>
                    <a:cubicBezTo>
                      <a:pt x="1" y="15"/>
                      <a:pt x="0" y="13"/>
                      <a:pt x="0" y="11"/>
                    </a:cubicBezTo>
                    <a:cubicBezTo>
                      <a:pt x="0" y="0"/>
                      <a:pt x="0" y="0"/>
                      <a:pt x="0" y="0"/>
                    </a:cubicBezTo>
                    <a:cubicBezTo>
                      <a:pt x="0" y="0"/>
                      <a:pt x="0" y="0"/>
                      <a:pt x="0" y="0"/>
                    </a:cubicBezTo>
                    <a:cubicBezTo>
                      <a:pt x="0" y="0"/>
                      <a:pt x="0" y="0"/>
                      <a:pt x="0" y="0"/>
                    </a:cubicBezTo>
                  </a:path>
                </a:pathLst>
              </a:custGeom>
              <a:solidFill>
                <a:srgbClr val="339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95" name="Freeform 258">
                <a:extLst>
                  <a:ext uri="{FF2B5EF4-FFF2-40B4-BE49-F238E27FC236}">
                    <a16:creationId xmlns:a16="http://schemas.microsoft.com/office/drawing/2014/main" id="{ED8BAEA5-2D9F-4E8A-88CB-12776874CDC3}"/>
                  </a:ext>
                </a:extLst>
              </p:cNvPr>
              <p:cNvSpPr>
                <a:spLocks/>
              </p:cNvSpPr>
              <p:nvPr/>
            </p:nvSpPr>
            <p:spPr bwMode="auto">
              <a:xfrm>
                <a:off x="1425540" y="311640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96" name="Freeform 259">
                <a:extLst>
                  <a:ext uri="{FF2B5EF4-FFF2-40B4-BE49-F238E27FC236}">
                    <a16:creationId xmlns:a16="http://schemas.microsoft.com/office/drawing/2014/main" id="{2F9792BC-C389-4C06-A2B5-E481CF2E3E28}"/>
                  </a:ext>
                </a:extLst>
              </p:cNvPr>
              <p:cNvSpPr>
                <a:spLocks/>
              </p:cNvSpPr>
              <p:nvPr/>
            </p:nvSpPr>
            <p:spPr bwMode="auto">
              <a:xfrm>
                <a:off x="1421246" y="3094928"/>
                <a:ext cx="20041" cy="4295"/>
              </a:xfrm>
              <a:custGeom>
                <a:avLst/>
                <a:gdLst>
                  <a:gd name="T0" fmla="*/ 18 w 18"/>
                  <a:gd name="T1" fmla="*/ 0 h 4"/>
                  <a:gd name="T2" fmla="*/ 4 w 18"/>
                  <a:gd name="T3" fmla="*/ 0 h 4"/>
                  <a:gd name="T4" fmla="*/ 0 w 18"/>
                  <a:gd name="T5" fmla="*/ 4 h 4"/>
                  <a:gd name="T6" fmla="*/ 0 w 18"/>
                  <a:gd name="T7" fmla="*/ 4 h 4"/>
                  <a:gd name="T8" fmla="*/ 4 w 18"/>
                  <a:gd name="T9" fmla="*/ 0 h 4"/>
                  <a:gd name="T10" fmla="*/ 18 w 18"/>
                  <a:gd name="T11" fmla="*/ 0 h 4"/>
                  <a:gd name="T12" fmla="*/ 18 w 1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0"/>
                    </a:moveTo>
                    <a:cubicBezTo>
                      <a:pt x="4" y="0"/>
                      <a:pt x="4" y="0"/>
                      <a:pt x="4" y="0"/>
                    </a:cubicBezTo>
                    <a:cubicBezTo>
                      <a:pt x="2" y="0"/>
                      <a:pt x="0" y="2"/>
                      <a:pt x="0" y="4"/>
                    </a:cubicBezTo>
                    <a:cubicBezTo>
                      <a:pt x="0" y="4"/>
                      <a:pt x="0" y="4"/>
                      <a:pt x="0" y="4"/>
                    </a:cubicBezTo>
                    <a:cubicBezTo>
                      <a:pt x="0" y="2"/>
                      <a:pt x="2" y="0"/>
                      <a:pt x="4" y="0"/>
                    </a:cubicBezTo>
                    <a:cubicBezTo>
                      <a:pt x="18" y="0"/>
                      <a:pt x="18" y="0"/>
                      <a:pt x="18" y="0"/>
                    </a:cubicBezTo>
                    <a:cubicBezTo>
                      <a:pt x="18" y="0"/>
                      <a:pt x="18" y="0"/>
                      <a:pt x="18" y="0"/>
                    </a:cubicBezTo>
                  </a:path>
                </a:pathLst>
              </a:custGeom>
              <a:solidFill>
                <a:srgbClr val="336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97" name="Freeform 260">
                <a:extLst>
                  <a:ext uri="{FF2B5EF4-FFF2-40B4-BE49-F238E27FC236}">
                    <a16:creationId xmlns:a16="http://schemas.microsoft.com/office/drawing/2014/main" id="{9F897542-CFDA-4FA6-A72C-7A5552D84287}"/>
                  </a:ext>
                </a:extLst>
              </p:cNvPr>
              <p:cNvSpPr>
                <a:spLocks/>
              </p:cNvSpPr>
              <p:nvPr/>
            </p:nvSpPr>
            <p:spPr bwMode="auto">
              <a:xfrm>
                <a:off x="1614498" y="3094928"/>
                <a:ext cx="14315" cy="0"/>
              </a:xfrm>
              <a:custGeom>
                <a:avLst/>
                <a:gdLst>
                  <a:gd name="T0" fmla="*/ 13 w 13"/>
                  <a:gd name="T1" fmla="*/ 13 w 13"/>
                  <a:gd name="T2" fmla="*/ 0 w 13"/>
                  <a:gd name="T3" fmla="*/ 0 w 13"/>
                  <a:gd name="T4" fmla="*/ 13 w 13"/>
                  <a:gd name="T5" fmla="*/ 13 w 13"/>
                </a:gdLst>
                <a:ahLst/>
                <a:cxnLst>
                  <a:cxn ang="0">
                    <a:pos x="T0" y="0"/>
                  </a:cxn>
                  <a:cxn ang="0">
                    <a:pos x="T1" y="0"/>
                  </a:cxn>
                  <a:cxn ang="0">
                    <a:pos x="T2" y="0"/>
                  </a:cxn>
                  <a:cxn ang="0">
                    <a:pos x="T3" y="0"/>
                  </a:cxn>
                  <a:cxn ang="0">
                    <a:pos x="T4" y="0"/>
                  </a:cxn>
                  <a:cxn ang="0">
                    <a:pos x="T5" y="0"/>
                  </a:cxn>
                </a:cxnLst>
                <a:rect l="0" t="0" r="r" b="b"/>
                <a:pathLst>
                  <a:path w="13">
                    <a:moveTo>
                      <a:pt x="13" y="0"/>
                    </a:moveTo>
                    <a:cubicBezTo>
                      <a:pt x="13" y="0"/>
                      <a:pt x="13" y="0"/>
                      <a:pt x="13" y="0"/>
                    </a:cubicBezTo>
                    <a:cubicBezTo>
                      <a:pt x="0" y="0"/>
                      <a:pt x="0" y="0"/>
                      <a:pt x="0" y="0"/>
                    </a:cubicBezTo>
                    <a:cubicBezTo>
                      <a:pt x="0" y="0"/>
                      <a:pt x="0" y="0"/>
                      <a:pt x="0" y="0"/>
                    </a:cubicBezTo>
                    <a:cubicBezTo>
                      <a:pt x="13" y="0"/>
                      <a:pt x="13" y="0"/>
                      <a:pt x="13" y="0"/>
                    </a:cubicBezTo>
                    <a:cubicBezTo>
                      <a:pt x="13" y="0"/>
                      <a:pt x="13" y="0"/>
                      <a:pt x="13" y="0"/>
                    </a:cubicBezTo>
                  </a:path>
                </a:pathLst>
              </a:custGeom>
              <a:solidFill>
                <a:srgbClr val="669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98" name="Freeform 261">
                <a:extLst>
                  <a:ext uri="{FF2B5EF4-FFF2-40B4-BE49-F238E27FC236}">
                    <a16:creationId xmlns:a16="http://schemas.microsoft.com/office/drawing/2014/main" id="{EE6E6F4F-4CA0-468B-8E55-87865E05E544}"/>
                  </a:ext>
                </a:extLst>
              </p:cNvPr>
              <p:cNvSpPr>
                <a:spLocks/>
              </p:cNvSpPr>
              <p:nvPr/>
            </p:nvSpPr>
            <p:spPr bwMode="auto">
              <a:xfrm>
                <a:off x="1421246" y="3094928"/>
                <a:ext cx="211863" cy="21473"/>
              </a:xfrm>
              <a:custGeom>
                <a:avLst/>
                <a:gdLst>
                  <a:gd name="T0" fmla="*/ 188 w 192"/>
                  <a:gd name="T1" fmla="*/ 0 h 20"/>
                  <a:gd name="T2" fmla="*/ 175 w 192"/>
                  <a:gd name="T3" fmla="*/ 0 h 20"/>
                  <a:gd name="T4" fmla="*/ 18 w 192"/>
                  <a:gd name="T5" fmla="*/ 0 h 20"/>
                  <a:gd name="T6" fmla="*/ 4 w 192"/>
                  <a:gd name="T7" fmla="*/ 0 h 20"/>
                  <a:gd name="T8" fmla="*/ 0 w 192"/>
                  <a:gd name="T9" fmla="*/ 4 h 20"/>
                  <a:gd name="T10" fmla="*/ 0 w 192"/>
                  <a:gd name="T11" fmla="*/ 4 h 20"/>
                  <a:gd name="T12" fmla="*/ 0 w 192"/>
                  <a:gd name="T13" fmla="*/ 4 h 20"/>
                  <a:gd name="T14" fmla="*/ 0 w 192"/>
                  <a:gd name="T15" fmla="*/ 15 h 20"/>
                  <a:gd name="T16" fmla="*/ 4 w 192"/>
                  <a:gd name="T17" fmla="*/ 20 h 20"/>
                  <a:gd name="T18" fmla="*/ 4 w 192"/>
                  <a:gd name="T19" fmla="*/ 20 h 20"/>
                  <a:gd name="T20" fmla="*/ 188 w 192"/>
                  <a:gd name="T21" fmla="*/ 19 h 20"/>
                  <a:gd name="T22" fmla="*/ 192 w 192"/>
                  <a:gd name="T23" fmla="*/ 15 h 20"/>
                  <a:gd name="T24" fmla="*/ 192 w 192"/>
                  <a:gd name="T25" fmla="*/ 4 h 20"/>
                  <a:gd name="T26" fmla="*/ 188 w 192"/>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0">
                    <a:moveTo>
                      <a:pt x="188" y="0"/>
                    </a:moveTo>
                    <a:cubicBezTo>
                      <a:pt x="175" y="0"/>
                      <a:pt x="175" y="0"/>
                      <a:pt x="175" y="0"/>
                    </a:cubicBezTo>
                    <a:cubicBezTo>
                      <a:pt x="18" y="0"/>
                      <a:pt x="18" y="0"/>
                      <a:pt x="18" y="0"/>
                    </a:cubicBezTo>
                    <a:cubicBezTo>
                      <a:pt x="4" y="0"/>
                      <a:pt x="4" y="0"/>
                      <a:pt x="4" y="0"/>
                    </a:cubicBezTo>
                    <a:cubicBezTo>
                      <a:pt x="2" y="0"/>
                      <a:pt x="0" y="2"/>
                      <a:pt x="0" y="4"/>
                    </a:cubicBezTo>
                    <a:cubicBezTo>
                      <a:pt x="0" y="4"/>
                      <a:pt x="0" y="4"/>
                      <a:pt x="0" y="4"/>
                    </a:cubicBezTo>
                    <a:cubicBezTo>
                      <a:pt x="0" y="4"/>
                      <a:pt x="0" y="4"/>
                      <a:pt x="0" y="4"/>
                    </a:cubicBezTo>
                    <a:cubicBezTo>
                      <a:pt x="0" y="15"/>
                      <a:pt x="0" y="15"/>
                      <a:pt x="0" y="15"/>
                    </a:cubicBezTo>
                    <a:cubicBezTo>
                      <a:pt x="0" y="17"/>
                      <a:pt x="1" y="19"/>
                      <a:pt x="4" y="20"/>
                    </a:cubicBezTo>
                    <a:cubicBezTo>
                      <a:pt x="4" y="20"/>
                      <a:pt x="4" y="20"/>
                      <a:pt x="4" y="20"/>
                    </a:cubicBezTo>
                    <a:cubicBezTo>
                      <a:pt x="188" y="19"/>
                      <a:pt x="188" y="19"/>
                      <a:pt x="188" y="19"/>
                    </a:cubicBezTo>
                    <a:cubicBezTo>
                      <a:pt x="190" y="19"/>
                      <a:pt x="192" y="17"/>
                      <a:pt x="192" y="15"/>
                    </a:cubicBezTo>
                    <a:cubicBezTo>
                      <a:pt x="192" y="4"/>
                      <a:pt x="192" y="4"/>
                      <a:pt x="192" y="4"/>
                    </a:cubicBezTo>
                    <a:cubicBezTo>
                      <a:pt x="192" y="2"/>
                      <a:pt x="190" y="0"/>
                      <a:pt x="188"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99" name="Rectangle 262">
                <a:extLst>
                  <a:ext uri="{FF2B5EF4-FFF2-40B4-BE49-F238E27FC236}">
                    <a16:creationId xmlns:a16="http://schemas.microsoft.com/office/drawing/2014/main" id="{8B6AADDF-BC3A-4253-867B-0EA2CE7C7248}"/>
                  </a:ext>
                </a:extLst>
              </p:cNvPr>
              <p:cNvSpPr>
                <a:spLocks noChangeArrowheads="1"/>
              </p:cNvSpPr>
              <p:nvPr/>
            </p:nvSpPr>
            <p:spPr bwMode="auto">
              <a:xfrm>
                <a:off x="1517156" y="3296771"/>
                <a:ext cx="21473" cy="277712"/>
              </a:xfrm>
              <a:prstGeom prst="rect">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700" name="Freeform 263">
                <a:extLst>
                  <a:ext uri="{FF2B5EF4-FFF2-40B4-BE49-F238E27FC236}">
                    <a16:creationId xmlns:a16="http://schemas.microsoft.com/office/drawing/2014/main" id="{063D3040-491A-4018-B9AB-92D96FB02405}"/>
                  </a:ext>
                </a:extLst>
              </p:cNvPr>
              <p:cNvSpPr>
                <a:spLocks/>
              </p:cNvSpPr>
              <p:nvPr/>
            </p:nvSpPr>
            <p:spPr bwMode="auto">
              <a:xfrm>
                <a:off x="1465622" y="3263846"/>
                <a:ext cx="123109" cy="50103"/>
              </a:xfrm>
              <a:custGeom>
                <a:avLst/>
                <a:gdLst>
                  <a:gd name="T0" fmla="*/ 86 w 86"/>
                  <a:gd name="T1" fmla="*/ 10 h 35"/>
                  <a:gd name="T2" fmla="*/ 80 w 86"/>
                  <a:gd name="T3" fmla="*/ 0 h 35"/>
                  <a:gd name="T4" fmla="*/ 43 w 86"/>
                  <a:gd name="T5" fmla="*/ 23 h 35"/>
                  <a:gd name="T6" fmla="*/ 7 w 86"/>
                  <a:gd name="T7" fmla="*/ 0 h 35"/>
                  <a:gd name="T8" fmla="*/ 0 w 86"/>
                  <a:gd name="T9" fmla="*/ 10 h 35"/>
                  <a:gd name="T10" fmla="*/ 35 w 86"/>
                  <a:gd name="T11" fmla="*/ 35 h 35"/>
                  <a:gd name="T12" fmla="*/ 43 w 86"/>
                  <a:gd name="T13" fmla="*/ 25 h 35"/>
                  <a:gd name="T14" fmla="*/ 52 w 86"/>
                  <a:gd name="T15" fmla="*/ 35 h 35"/>
                  <a:gd name="T16" fmla="*/ 86 w 86"/>
                  <a:gd name="T1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5">
                    <a:moveTo>
                      <a:pt x="86" y="10"/>
                    </a:moveTo>
                    <a:lnTo>
                      <a:pt x="80" y="0"/>
                    </a:lnTo>
                    <a:lnTo>
                      <a:pt x="43" y="23"/>
                    </a:lnTo>
                    <a:lnTo>
                      <a:pt x="7" y="0"/>
                    </a:lnTo>
                    <a:lnTo>
                      <a:pt x="0" y="10"/>
                    </a:lnTo>
                    <a:lnTo>
                      <a:pt x="35" y="35"/>
                    </a:lnTo>
                    <a:lnTo>
                      <a:pt x="43" y="25"/>
                    </a:lnTo>
                    <a:lnTo>
                      <a:pt x="52" y="35"/>
                    </a:lnTo>
                    <a:lnTo>
                      <a:pt x="8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62" name="Rectangle 198">
                <a:extLst>
                  <a:ext uri="{FF2B5EF4-FFF2-40B4-BE49-F238E27FC236}">
                    <a16:creationId xmlns:a16="http://schemas.microsoft.com/office/drawing/2014/main" id="{4B752390-369C-4BDC-8101-D89793F7134D}"/>
                  </a:ext>
                </a:extLst>
              </p:cNvPr>
              <p:cNvSpPr>
                <a:spLocks noChangeArrowheads="1"/>
              </p:cNvSpPr>
              <p:nvPr/>
            </p:nvSpPr>
            <p:spPr bwMode="auto">
              <a:xfrm>
                <a:off x="2021111" y="3809389"/>
                <a:ext cx="28993" cy="489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3" name="Freeform 199">
                <a:extLst>
                  <a:ext uri="{FF2B5EF4-FFF2-40B4-BE49-F238E27FC236}">
                    <a16:creationId xmlns:a16="http://schemas.microsoft.com/office/drawing/2014/main" id="{56DE419A-8574-4D52-A4A7-C048D74F5848}"/>
                  </a:ext>
                </a:extLst>
              </p:cNvPr>
              <p:cNvSpPr>
                <a:spLocks/>
              </p:cNvSpPr>
              <p:nvPr/>
            </p:nvSpPr>
            <p:spPr bwMode="auto">
              <a:xfrm>
                <a:off x="1903137" y="3846381"/>
                <a:ext cx="264941" cy="26994"/>
              </a:xfrm>
              <a:custGeom>
                <a:avLst/>
                <a:gdLst>
                  <a:gd name="T0" fmla="*/ 271 w 303"/>
                  <a:gd name="T1" fmla="*/ 0 h 32"/>
                  <a:gd name="T2" fmla="*/ 32 w 303"/>
                  <a:gd name="T3" fmla="*/ 0 h 32"/>
                  <a:gd name="T4" fmla="*/ 0 w 303"/>
                  <a:gd name="T5" fmla="*/ 32 h 32"/>
                  <a:gd name="T6" fmla="*/ 303 w 303"/>
                  <a:gd name="T7" fmla="*/ 32 h 32"/>
                  <a:gd name="T8" fmla="*/ 271 w 303"/>
                  <a:gd name="T9" fmla="*/ 0 h 32"/>
                </a:gdLst>
                <a:ahLst/>
                <a:cxnLst>
                  <a:cxn ang="0">
                    <a:pos x="T0" y="T1"/>
                  </a:cxn>
                  <a:cxn ang="0">
                    <a:pos x="T2" y="T3"/>
                  </a:cxn>
                  <a:cxn ang="0">
                    <a:pos x="T4" y="T5"/>
                  </a:cxn>
                  <a:cxn ang="0">
                    <a:pos x="T6" y="T7"/>
                  </a:cxn>
                  <a:cxn ang="0">
                    <a:pos x="T8" y="T9"/>
                  </a:cxn>
                </a:cxnLst>
                <a:rect l="0" t="0" r="r" b="b"/>
                <a:pathLst>
                  <a:path w="303" h="32">
                    <a:moveTo>
                      <a:pt x="271" y="0"/>
                    </a:moveTo>
                    <a:cubicBezTo>
                      <a:pt x="32" y="0"/>
                      <a:pt x="32" y="0"/>
                      <a:pt x="32" y="0"/>
                    </a:cubicBezTo>
                    <a:cubicBezTo>
                      <a:pt x="14" y="0"/>
                      <a:pt x="0" y="15"/>
                      <a:pt x="0" y="32"/>
                    </a:cubicBezTo>
                    <a:cubicBezTo>
                      <a:pt x="303" y="32"/>
                      <a:pt x="303" y="32"/>
                      <a:pt x="303" y="32"/>
                    </a:cubicBezTo>
                    <a:cubicBezTo>
                      <a:pt x="303" y="15"/>
                      <a:pt x="289" y="0"/>
                      <a:pt x="271"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4" name="Freeform 200">
                <a:extLst>
                  <a:ext uri="{FF2B5EF4-FFF2-40B4-BE49-F238E27FC236}">
                    <a16:creationId xmlns:a16="http://schemas.microsoft.com/office/drawing/2014/main" id="{95C015E6-968D-4E09-9010-203A0402887A}"/>
                  </a:ext>
                </a:extLst>
              </p:cNvPr>
              <p:cNvSpPr>
                <a:spLocks/>
              </p:cNvSpPr>
              <p:nvPr/>
            </p:nvSpPr>
            <p:spPr bwMode="auto">
              <a:xfrm>
                <a:off x="1794162" y="3873374"/>
                <a:ext cx="620859" cy="290934"/>
              </a:xfrm>
              <a:custGeom>
                <a:avLst/>
                <a:gdLst>
                  <a:gd name="T0" fmla="*/ 713 w 713"/>
                  <a:gd name="T1" fmla="*/ 284 h 335"/>
                  <a:gd name="T2" fmla="*/ 662 w 713"/>
                  <a:gd name="T3" fmla="*/ 335 h 335"/>
                  <a:gd name="T4" fmla="*/ 51 w 713"/>
                  <a:gd name="T5" fmla="*/ 335 h 335"/>
                  <a:gd name="T6" fmla="*/ 0 w 713"/>
                  <a:gd name="T7" fmla="*/ 284 h 335"/>
                  <a:gd name="T8" fmla="*/ 0 w 713"/>
                  <a:gd name="T9" fmla="*/ 51 h 335"/>
                  <a:gd name="T10" fmla="*/ 51 w 713"/>
                  <a:gd name="T11" fmla="*/ 0 h 335"/>
                  <a:gd name="T12" fmla="*/ 662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2" y="335"/>
                    </a:cubicBezTo>
                    <a:cubicBezTo>
                      <a:pt x="51" y="335"/>
                      <a:pt x="51" y="335"/>
                      <a:pt x="51" y="335"/>
                    </a:cubicBezTo>
                    <a:cubicBezTo>
                      <a:pt x="23" y="335"/>
                      <a:pt x="0" y="312"/>
                      <a:pt x="0" y="284"/>
                    </a:cubicBezTo>
                    <a:cubicBezTo>
                      <a:pt x="0" y="51"/>
                      <a:pt x="0" y="51"/>
                      <a:pt x="0" y="51"/>
                    </a:cubicBezTo>
                    <a:cubicBezTo>
                      <a:pt x="0" y="23"/>
                      <a:pt x="23" y="0"/>
                      <a:pt x="51" y="0"/>
                    </a:cubicBezTo>
                    <a:cubicBezTo>
                      <a:pt x="662" y="0"/>
                      <a:pt x="662" y="0"/>
                      <a:pt x="662" y="0"/>
                    </a:cubicBezTo>
                    <a:cubicBezTo>
                      <a:pt x="690" y="0"/>
                      <a:pt x="713" y="23"/>
                      <a:pt x="713" y="51"/>
                    </a:cubicBezTo>
                    <a:lnTo>
                      <a:pt x="713" y="284"/>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65" name="Freeform 201">
                <a:extLst>
                  <a:ext uri="{FF2B5EF4-FFF2-40B4-BE49-F238E27FC236}">
                    <a16:creationId xmlns:a16="http://schemas.microsoft.com/office/drawing/2014/main" id="{06559512-5FA6-4BD2-A36B-E7F743AE3D2F}"/>
                  </a:ext>
                </a:extLst>
              </p:cNvPr>
              <p:cNvSpPr>
                <a:spLocks/>
              </p:cNvSpPr>
              <p:nvPr/>
            </p:nvSpPr>
            <p:spPr bwMode="auto">
              <a:xfrm>
                <a:off x="1685186" y="3873374"/>
                <a:ext cx="621860" cy="290934"/>
              </a:xfrm>
              <a:custGeom>
                <a:avLst/>
                <a:gdLst>
                  <a:gd name="T0" fmla="*/ 713 w 713"/>
                  <a:gd name="T1" fmla="*/ 284 h 335"/>
                  <a:gd name="T2" fmla="*/ 661 w 713"/>
                  <a:gd name="T3" fmla="*/ 335 h 335"/>
                  <a:gd name="T4" fmla="*/ 51 w 713"/>
                  <a:gd name="T5" fmla="*/ 335 h 335"/>
                  <a:gd name="T6" fmla="*/ 0 w 713"/>
                  <a:gd name="T7" fmla="*/ 284 h 335"/>
                  <a:gd name="T8" fmla="*/ 0 w 713"/>
                  <a:gd name="T9" fmla="*/ 51 h 335"/>
                  <a:gd name="T10" fmla="*/ 51 w 713"/>
                  <a:gd name="T11" fmla="*/ 0 h 335"/>
                  <a:gd name="T12" fmla="*/ 661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1" y="335"/>
                    </a:cubicBezTo>
                    <a:cubicBezTo>
                      <a:pt x="51" y="335"/>
                      <a:pt x="51" y="335"/>
                      <a:pt x="51" y="335"/>
                    </a:cubicBezTo>
                    <a:cubicBezTo>
                      <a:pt x="23" y="335"/>
                      <a:pt x="0" y="312"/>
                      <a:pt x="0" y="284"/>
                    </a:cubicBezTo>
                    <a:cubicBezTo>
                      <a:pt x="0" y="51"/>
                      <a:pt x="0" y="51"/>
                      <a:pt x="0" y="51"/>
                    </a:cubicBezTo>
                    <a:cubicBezTo>
                      <a:pt x="0" y="23"/>
                      <a:pt x="23" y="0"/>
                      <a:pt x="51" y="0"/>
                    </a:cubicBezTo>
                    <a:cubicBezTo>
                      <a:pt x="661" y="0"/>
                      <a:pt x="661" y="0"/>
                      <a:pt x="661" y="0"/>
                    </a:cubicBezTo>
                    <a:cubicBezTo>
                      <a:pt x="690" y="0"/>
                      <a:pt x="713" y="23"/>
                      <a:pt x="713" y="51"/>
                    </a:cubicBezTo>
                    <a:lnTo>
                      <a:pt x="713" y="28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966" name="Rectangle 202">
                <a:extLst>
                  <a:ext uri="{FF2B5EF4-FFF2-40B4-BE49-F238E27FC236}">
                    <a16:creationId xmlns:a16="http://schemas.microsoft.com/office/drawing/2014/main" id="{6155851E-D43C-4D3C-A4C6-7AC9AF3151CF}"/>
                  </a:ext>
                </a:extLst>
              </p:cNvPr>
              <p:cNvSpPr>
                <a:spLocks noChangeArrowheads="1"/>
              </p:cNvSpPr>
              <p:nvPr/>
            </p:nvSpPr>
            <p:spPr bwMode="auto">
              <a:xfrm>
                <a:off x="1942127" y="3931361"/>
                <a:ext cx="107976" cy="2299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67" name="Freeform 203">
                <a:extLst>
                  <a:ext uri="{FF2B5EF4-FFF2-40B4-BE49-F238E27FC236}">
                    <a16:creationId xmlns:a16="http://schemas.microsoft.com/office/drawing/2014/main" id="{F0EE266B-22C5-451D-815D-ED6E305876BA}"/>
                  </a:ext>
                </a:extLst>
              </p:cNvPr>
              <p:cNvSpPr>
                <a:spLocks/>
              </p:cNvSpPr>
              <p:nvPr/>
            </p:nvSpPr>
            <p:spPr bwMode="auto">
              <a:xfrm>
                <a:off x="1685186" y="4011343"/>
                <a:ext cx="621860" cy="15996"/>
              </a:xfrm>
              <a:custGeom>
                <a:avLst/>
                <a:gdLst>
                  <a:gd name="T0" fmla="*/ 622 w 622"/>
                  <a:gd name="T1" fmla="*/ 16 h 16"/>
                  <a:gd name="T2" fmla="*/ 0 w 622"/>
                  <a:gd name="T3" fmla="*/ 14 h 16"/>
                  <a:gd name="T4" fmla="*/ 0 w 622"/>
                  <a:gd name="T5" fmla="*/ 0 h 16"/>
                  <a:gd name="T6" fmla="*/ 622 w 622"/>
                  <a:gd name="T7" fmla="*/ 2 h 16"/>
                  <a:gd name="T8" fmla="*/ 622 w 622"/>
                  <a:gd name="T9" fmla="*/ 16 h 16"/>
                </a:gdLst>
                <a:ahLst/>
                <a:cxnLst>
                  <a:cxn ang="0">
                    <a:pos x="T0" y="T1"/>
                  </a:cxn>
                  <a:cxn ang="0">
                    <a:pos x="T2" y="T3"/>
                  </a:cxn>
                  <a:cxn ang="0">
                    <a:pos x="T4" y="T5"/>
                  </a:cxn>
                  <a:cxn ang="0">
                    <a:pos x="T6" y="T7"/>
                  </a:cxn>
                  <a:cxn ang="0">
                    <a:pos x="T8" y="T9"/>
                  </a:cxn>
                </a:cxnLst>
                <a:rect l="0" t="0" r="r" b="b"/>
                <a:pathLst>
                  <a:path w="622" h="16">
                    <a:moveTo>
                      <a:pt x="622" y="16"/>
                    </a:moveTo>
                    <a:lnTo>
                      <a:pt x="0" y="14"/>
                    </a:lnTo>
                    <a:lnTo>
                      <a:pt x="0" y="0"/>
                    </a:lnTo>
                    <a:lnTo>
                      <a:pt x="622" y="2"/>
                    </a:lnTo>
                    <a:lnTo>
                      <a:pt x="622" y="16"/>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68" name="Rectangle 204">
                <a:extLst>
                  <a:ext uri="{FF2B5EF4-FFF2-40B4-BE49-F238E27FC236}">
                    <a16:creationId xmlns:a16="http://schemas.microsoft.com/office/drawing/2014/main" id="{54D10EBE-77C7-4504-8A01-73BAD96B8337}"/>
                  </a:ext>
                </a:extLst>
              </p:cNvPr>
              <p:cNvSpPr>
                <a:spLocks noChangeArrowheads="1"/>
              </p:cNvSpPr>
              <p:nvPr/>
            </p:nvSpPr>
            <p:spPr bwMode="auto">
              <a:xfrm>
                <a:off x="1942127" y="4084327"/>
                <a:ext cx="107976" cy="2399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57" name="Group 256">
                <a:extLst>
                  <a:ext uri="{FF2B5EF4-FFF2-40B4-BE49-F238E27FC236}">
                    <a16:creationId xmlns:a16="http://schemas.microsoft.com/office/drawing/2014/main" id="{B066FA07-2B9F-491E-974B-B20E26883185}"/>
                  </a:ext>
                </a:extLst>
              </p:cNvPr>
              <p:cNvGrpSpPr/>
              <p:nvPr/>
            </p:nvGrpSpPr>
            <p:grpSpPr>
              <a:xfrm>
                <a:off x="1802994" y="3484304"/>
                <a:ext cx="479075" cy="389936"/>
                <a:chOff x="1474908" y="3347824"/>
                <a:chExt cx="758708" cy="617538"/>
              </a:xfrm>
            </p:grpSpPr>
            <p:sp>
              <p:nvSpPr>
                <p:cNvPr id="652" name="Freeform 233">
                  <a:extLst>
                    <a:ext uri="{FF2B5EF4-FFF2-40B4-BE49-F238E27FC236}">
                      <a16:creationId xmlns:a16="http://schemas.microsoft.com/office/drawing/2014/main" id="{B321064C-2902-402B-A0C8-13DE3D69FF76}"/>
                    </a:ext>
                  </a:extLst>
                </p:cNvPr>
                <p:cNvSpPr>
                  <a:spLocks noEditPoints="1"/>
                </p:cNvSpPr>
                <p:nvPr/>
              </p:nvSpPr>
              <p:spPr bwMode="auto">
                <a:xfrm>
                  <a:off x="1939193" y="3347824"/>
                  <a:ext cx="7938" cy="4763"/>
                </a:xfrm>
                <a:custGeom>
                  <a:avLst/>
                  <a:gdLst>
                    <a:gd name="T0" fmla="*/ 0 w 6"/>
                    <a:gd name="T1" fmla="*/ 4 h 4"/>
                    <a:gd name="T2" fmla="*/ 0 w 6"/>
                    <a:gd name="T3" fmla="*/ 4 h 4"/>
                    <a:gd name="T4" fmla="*/ 0 w 6"/>
                    <a:gd name="T5" fmla="*/ 4 h 4"/>
                    <a:gd name="T6" fmla="*/ 0 w 6"/>
                    <a:gd name="T7" fmla="*/ 3 h 4"/>
                    <a:gd name="T8" fmla="*/ 0 w 6"/>
                    <a:gd name="T9" fmla="*/ 4 h 4"/>
                    <a:gd name="T10" fmla="*/ 0 w 6"/>
                    <a:gd name="T11" fmla="*/ 3 h 4"/>
                    <a:gd name="T12" fmla="*/ 1 w 6"/>
                    <a:gd name="T13" fmla="*/ 3 h 4"/>
                    <a:gd name="T14" fmla="*/ 0 w 6"/>
                    <a:gd name="T15" fmla="*/ 3 h 4"/>
                    <a:gd name="T16" fmla="*/ 1 w 6"/>
                    <a:gd name="T17" fmla="*/ 3 h 4"/>
                    <a:gd name="T18" fmla="*/ 1 w 6"/>
                    <a:gd name="T19" fmla="*/ 3 h 4"/>
                    <a:gd name="T20" fmla="*/ 1 w 6"/>
                    <a:gd name="T21" fmla="*/ 3 h 4"/>
                    <a:gd name="T22" fmla="*/ 1 w 6"/>
                    <a:gd name="T23" fmla="*/ 3 h 4"/>
                    <a:gd name="T24" fmla="*/ 2 w 6"/>
                    <a:gd name="T25" fmla="*/ 3 h 4"/>
                    <a:gd name="T26" fmla="*/ 1 w 6"/>
                    <a:gd name="T27" fmla="*/ 3 h 4"/>
                    <a:gd name="T28" fmla="*/ 2 w 6"/>
                    <a:gd name="T29" fmla="*/ 3 h 4"/>
                    <a:gd name="T30" fmla="*/ 2 w 6"/>
                    <a:gd name="T31" fmla="*/ 3 h 4"/>
                    <a:gd name="T32" fmla="*/ 2 w 6"/>
                    <a:gd name="T33" fmla="*/ 3 h 4"/>
                    <a:gd name="T34" fmla="*/ 2 w 6"/>
                    <a:gd name="T35" fmla="*/ 3 h 4"/>
                    <a:gd name="T36" fmla="*/ 3 w 6"/>
                    <a:gd name="T37" fmla="*/ 2 h 4"/>
                    <a:gd name="T38" fmla="*/ 2 w 6"/>
                    <a:gd name="T39" fmla="*/ 3 h 4"/>
                    <a:gd name="T40" fmla="*/ 3 w 6"/>
                    <a:gd name="T41" fmla="*/ 2 h 4"/>
                    <a:gd name="T42" fmla="*/ 3 w 6"/>
                    <a:gd name="T43" fmla="*/ 2 h 4"/>
                    <a:gd name="T44" fmla="*/ 3 w 6"/>
                    <a:gd name="T45" fmla="*/ 2 h 4"/>
                    <a:gd name="T46" fmla="*/ 3 w 6"/>
                    <a:gd name="T47" fmla="*/ 2 h 4"/>
                    <a:gd name="T48" fmla="*/ 3 w 6"/>
                    <a:gd name="T49" fmla="*/ 2 h 4"/>
                    <a:gd name="T50" fmla="*/ 3 w 6"/>
                    <a:gd name="T51" fmla="*/ 2 h 4"/>
                    <a:gd name="T52" fmla="*/ 3 w 6"/>
                    <a:gd name="T53" fmla="*/ 2 h 4"/>
                    <a:gd name="T54" fmla="*/ 4 w 6"/>
                    <a:gd name="T55" fmla="*/ 2 h 4"/>
                    <a:gd name="T56" fmla="*/ 3 w 6"/>
                    <a:gd name="T57" fmla="*/ 2 h 4"/>
                    <a:gd name="T58" fmla="*/ 4 w 6"/>
                    <a:gd name="T59" fmla="*/ 2 h 4"/>
                    <a:gd name="T60" fmla="*/ 4 w 6"/>
                    <a:gd name="T61" fmla="*/ 1 h 4"/>
                    <a:gd name="T62" fmla="*/ 4 w 6"/>
                    <a:gd name="T63" fmla="*/ 1 h 4"/>
                    <a:gd name="T64" fmla="*/ 4 w 6"/>
                    <a:gd name="T65" fmla="*/ 1 h 4"/>
                    <a:gd name="T66" fmla="*/ 5 w 6"/>
                    <a:gd name="T67" fmla="*/ 1 h 4"/>
                    <a:gd name="T68" fmla="*/ 4 w 6"/>
                    <a:gd name="T69" fmla="*/ 1 h 4"/>
                    <a:gd name="T70" fmla="*/ 5 w 6"/>
                    <a:gd name="T71" fmla="*/ 1 h 4"/>
                    <a:gd name="T72" fmla="*/ 5 w 6"/>
                    <a:gd name="T73" fmla="*/ 1 h 4"/>
                    <a:gd name="T74" fmla="*/ 5 w 6"/>
                    <a:gd name="T75" fmla="*/ 1 h 4"/>
                    <a:gd name="T76" fmla="*/ 5 w 6"/>
                    <a:gd name="T77" fmla="*/ 1 h 4"/>
                    <a:gd name="T78" fmla="*/ 5 w 6"/>
                    <a:gd name="T79" fmla="*/ 1 h 4"/>
                    <a:gd name="T80" fmla="*/ 5 w 6"/>
                    <a:gd name="T81" fmla="*/ 1 h 4"/>
                    <a:gd name="T82" fmla="*/ 5 w 6"/>
                    <a:gd name="T83" fmla="*/ 1 h 4"/>
                    <a:gd name="T84" fmla="*/ 6 w 6"/>
                    <a:gd name="T85" fmla="*/ 0 h 4"/>
                    <a:gd name="T86" fmla="*/ 5 w 6"/>
                    <a:gd name="T87" fmla="*/ 1 h 4"/>
                    <a:gd name="T88" fmla="*/ 6 w 6"/>
                    <a:gd name="T89" fmla="*/ 0 h 4"/>
                    <a:gd name="T90" fmla="*/ 6 w 6"/>
                    <a:gd name="T91" fmla="*/ 0 h 4"/>
                    <a:gd name="T92" fmla="*/ 6 w 6"/>
                    <a:gd name="T93" fmla="*/ 0 h 4"/>
                    <a:gd name="T94" fmla="*/ 6 w 6"/>
                    <a:gd name="T9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 h="4">
                      <a:moveTo>
                        <a:pt x="0" y="4"/>
                      </a:moveTo>
                      <a:cubicBezTo>
                        <a:pt x="0" y="4"/>
                        <a:pt x="0" y="4"/>
                        <a:pt x="0" y="4"/>
                      </a:cubicBezTo>
                      <a:cubicBezTo>
                        <a:pt x="0" y="4"/>
                        <a:pt x="0" y="4"/>
                        <a:pt x="0" y="4"/>
                      </a:cubicBezTo>
                      <a:moveTo>
                        <a:pt x="0" y="3"/>
                      </a:moveTo>
                      <a:cubicBezTo>
                        <a:pt x="0" y="4"/>
                        <a:pt x="0" y="4"/>
                        <a:pt x="0" y="4"/>
                      </a:cubicBezTo>
                      <a:cubicBezTo>
                        <a:pt x="0" y="4"/>
                        <a:pt x="0" y="4"/>
                        <a:pt x="0" y="3"/>
                      </a:cubicBezTo>
                      <a:moveTo>
                        <a:pt x="1" y="3"/>
                      </a:moveTo>
                      <a:cubicBezTo>
                        <a:pt x="1" y="3"/>
                        <a:pt x="1" y="3"/>
                        <a:pt x="0" y="3"/>
                      </a:cubicBezTo>
                      <a:cubicBezTo>
                        <a:pt x="1" y="3"/>
                        <a:pt x="1" y="3"/>
                        <a:pt x="1" y="3"/>
                      </a:cubicBezTo>
                      <a:moveTo>
                        <a:pt x="1" y="3"/>
                      </a:moveTo>
                      <a:cubicBezTo>
                        <a:pt x="1" y="3"/>
                        <a:pt x="1" y="3"/>
                        <a:pt x="1" y="3"/>
                      </a:cubicBezTo>
                      <a:cubicBezTo>
                        <a:pt x="1" y="3"/>
                        <a:pt x="1" y="3"/>
                        <a:pt x="1" y="3"/>
                      </a:cubicBezTo>
                      <a:moveTo>
                        <a:pt x="2" y="3"/>
                      </a:moveTo>
                      <a:cubicBezTo>
                        <a:pt x="1" y="3"/>
                        <a:pt x="1" y="3"/>
                        <a:pt x="1" y="3"/>
                      </a:cubicBezTo>
                      <a:cubicBezTo>
                        <a:pt x="1" y="3"/>
                        <a:pt x="1" y="3"/>
                        <a:pt x="2" y="3"/>
                      </a:cubicBezTo>
                      <a:moveTo>
                        <a:pt x="2" y="3"/>
                      </a:moveTo>
                      <a:cubicBezTo>
                        <a:pt x="2" y="3"/>
                        <a:pt x="2" y="3"/>
                        <a:pt x="2" y="3"/>
                      </a:cubicBezTo>
                      <a:cubicBezTo>
                        <a:pt x="2" y="3"/>
                        <a:pt x="2" y="3"/>
                        <a:pt x="2" y="3"/>
                      </a:cubicBezTo>
                      <a:moveTo>
                        <a:pt x="3" y="2"/>
                      </a:moveTo>
                      <a:cubicBezTo>
                        <a:pt x="2" y="2"/>
                        <a:pt x="2" y="2"/>
                        <a:pt x="2" y="3"/>
                      </a:cubicBezTo>
                      <a:cubicBezTo>
                        <a:pt x="2" y="2"/>
                        <a:pt x="2" y="2"/>
                        <a:pt x="3" y="2"/>
                      </a:cubicBezTo>
                      <a:moveTo>
                        <a:pt x="3" y="2"/>
                      </a:moveTo>
                      <a:cubicBezTo>
                        <a:pt x="3" y="2"/>
                        <a:pt x="3" y="2"/>
                        <a:pt x="3" y="2"/>
                      </a:cubicBezTo>
                      <a:cubicBezTo>
                        <a:pt x="3" y="2"/>
                        <a:pt x="3" y="2"/>
                        <a:pt x="3" y="2"/>
                      </a:cubicBezTo>
                      <a:moveTo>
                        <a:pt x="3" y="2"/>
                      </a:moveTo>
                      <a:cubicBezTo>
                        <a:pt x="3" y="2"/>
                        <a:pt x="3" y="2"/>
                        <a:pt x="3" y="2"/>
                      </a:cubicBezTo>
                      <a:cubicBezTo>
                        <a:pt x="3" y="2"/>
                        <a:pt x="3" y="2"/>
                        <a:pt x="3" y="2"/>
                      </a:cubicBezTo>
                      <a:moveTo>
                        <a:pt x="4" y="2"/>
                      </a:moveTo>
                      <a:cubicBezTo>
                        <a:pt x="4" y="2"/>
                        <a:pt x="4" y="2"/>
                        <a:pt x="3" y="2"/>
                      </a:cubicBezTo>
                      <a:cubicBezTo>
                        <a:pt x="4" y="2"/>
                        <a:pt x="4" y="2"/>
                        <a:pt x="4" y="2"/>
                      </a:cubicBezTo>
                      <a:moveTo>
                        <a:pt x="4" y="1"/>
                      </a:moveTo>
                      <a:cubicBezTo>
                        <a:pt x="4" y="1"/>
                        <a:pt x="4" y="1"/>
                        <a:pt x="4" y="1"/>
                      </a:cubicBezTo>
                      <a:cubicBezTo>
                        <a:pt x="4" y="1"/>
                        <a:pt x="4" y="1"/>
                        <a:pt x="4" y="1"/>
                      </a:cubicBezTo>
                      <a:moveTo>
                        <a:pt x="5" y="1"/>
                      </a:moveTo>
                      <a:cubicBezTo>
                        <a:pt x="4" y="1"/>
                        <a:pt x="4" y="1"/>
                        <a:pt x="4" y="1"/>
                      </a:cubicBezTo>
                      <a:cubicBezTo>
                        <a:pt x="4" y="1"/>
                        <a:pt x="4" y="1"/>
                        <a:pt x="5" y="1"/>
                      </a:cubicBezTo>
                      <a:moveTo>
                        <a:pt x="5" y="1"/>
                      </a:moveTo>
                      <a:cubicBezTo>
                        <a:pt x="5" y="1"/>
                        <a:pt x="5" y="1"/>
                        <a:pt x="5" y="1"/>
                      </a:cubicBezTo>
                      <a:cubicBezTo>
                        <a:pt x="5" y="1"/>
                        <a:pt x="5" y="1"/>
                        <a:pt x="5" y="1"/>
                      </a:cubicBezTo>
                      <a:moveTo>
                        <a:pt x="5" y="1"/>
                      </a:moveTo>
                      <a:cubicBezTo>
                        <a:pt x="5" y="1"/>
                        <a:pt x="5" y="1"/>
                        <a:pt x="5" y="1"/>
                      </a:cubicBezTo>
                      <a:cubicBezTo>
                        <a:pt x="5" y="1"/>
                        <a:pt x="5" y="1"/>
                        <a:pt x="5" y="1"/>
                      </a:cubicBezTo>
                      <a:moveTo>
                        <a:pt x="6" y="0"/>
                      </a:moveTo>
                      <a:cubicBezTo>
                        <a:pt x="5" y="0"/>
                        <a:pt x="5" y="0"/>
                        <a:pt x="5" y="1"/>
                      </a:cubicBezTo>
                      <a:cubicBezTo>
                        <a:pt x="5" y="0"/>
                        <a:pt x="5" y="0"/>
                        <a:pt x="6" y="0"/>
                      </a:cubicBezTo>
                      <a:moveTo>
                        <a:pt x="6" y="0"/>
                      </a:moveTo>
                      <a:cubicBezTo>
                        <a:pt x="6" y="0"/>
                        <a:pt x="6" y="0"/>
                        <a:pt x="6" y="0"/>
                      </a:cubicBezTo>
                      <a:cubicBezTo>
                        <a:pt x="6" y="0"/>
                        <a:pt x="6" y="0"/>
                        <a:pt x="6"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4" name="Rectangle 235">
                  <a:extLst>
                    <a:ext uri="{FF2B5EF4-FFF2-40B4-BE49-F238E27FC236}">
                      <a16:creationId xmlns:a16="http://schemas.microsoft.com/office/drawing/2014/main" id="{47D695D6-0CA4-4D7E-A6A6-03AA4CEFD706}"/>
                    </a:ext>
                  </a:extLst>
                </p:cNvPr>
                <p:cNvSpPr>
                  <a:spLocks noChangeArrowheads="1"/>
                </p:cNvSpPr>
                <p:nvPr/>
              </p:nvSpPr>
              <p:spPr bwMode="auto">
                <a:xfrm>
                  <a:off x="1716943" y="3603411"/>
                  <a:ext cx="250825" cy="33338"/>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06" name="Freeform 17">
                  <a:extLst>
                    <a:ext uri="{FF2B5EF4-FFF2-40B4-BE49-F238E27FC236}">
                      <a16:creationId xmlns:a16="http://schemas.microsoft.com/office/drawing/2014/main" id="{B2A8BAB0-C198-48BB-81A4-FA9C01A7CFFF}"/>
                    </a:ext>
                  </a:extLst>
                </p:cNvPr>
                <p:cNvSpPr>
                  <a:spLocks/>
                </p:cNvSpPr>
                <p:nvPr/>
              </p:nvSpPr>
              <p:spPr bwMode="auto">
                <a:xfrm>
                  <a:off x="1537047" y="3417619"/>
                  <a:ext cx="634430" cy="405821"/>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10"/>
                        <a:pt x="0" y="21"/>
                      </a:cubicBezTo>
                      <a:cubicBezTo>
                        <a:pt x="0" y="788"/>
                        <a:pt x="0" y="788"/>
                        <a:pt x="0" y="788"/>
                      </a:cubicBezTo>
                      <a:cubicBezTo>
                        <a:pt x="1227" y="788"/>
                        <a:pt x="1227" y="788"/>
                        <a:pt x="1227" y="788"/>
                      </a:cubicBezTo>
                      <a:cubicBezTo>
                        <a:pt x="1227" y="21"/>
                        <a:pt x="1227" y="21"/>
                        <a:pt x="1227" y="21"/>
                      </a:cubicBezTo>
                      <a:cubicBezTo>
                        <a:pt x="1227" y="10"/>
                        <a:pt x="1218" y="0"/>
                        <a:pt x="1207"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p>
              </p:txBody>
            </p:sp>
            <p:sp>
              <p:nvSpPr>
                <p:cNvPr id="507" name="Freeform 18">
                  <a:extLst>
                    <a:ext uri="{FF2B5EF4-FFF2-40B4-BE49-F238E27FC236}">
                      <a16:creationId xmlns:a16="http://schemas.microsoft.com/office/drawing/2014/main" id="{38EA61C0-2007-4537-AB8B-8DAB8A5459AB}"/>
                    </a:ext>
                  </a:extLst>
                </p:cNvPr>
                <p:cNvSpPr>
                  <a:spLocks/>
                </p:cNvSpPr>
                <p:nvPr/>
              </p:nvSpPr>
              <p:spPr bwMode="auto">
                <a:xfrm>
                  <a:off x="1534745" y="3416085"/>
                  <a:ext cx="639033" cy="409656"/>
                </a:xfrm>
                <a:custGeom>
                  <a:avLst/>
                  <a:gdLst>
                    <a:gd name="T0" fmla="*/ 1211 w 1235"/>
                    <a:gd name="T1" fmla="*/ 4 h 796"/>
                    <a:gd name="T2" fmla="*/ 1211 w 1235"/>
                    <a:gd name="T3" fmla="*/ 0 h 796"/>
                    <a:gd name="T4" fmla="*/ 24 w 1235"/>
                    <a:gd name="T5" fmla="*/ 0 h 796"/>
                    <a:gd name="T6" fmla="*/ 7 w 1235"/>
                    <a:gd name="T7" fmla="*/ 8 h 796"/>
                    <a:gd name="T8" fmla="*/ 0 w 1235"/>
                    <a:gd name="T9" fmla="*/ 25 h 796"/>
                    <a:gd name="T10" fmla="*/ 0 w 1235"/>
                    <a:gd name="T11" fmla="*/ 796 h 796"/>
                    <a:gd name="T12" fmla="*/ 1235 w 1235"/>
                    <a:gd name="T13" fmla="*/ 796 h 796"/>
                    <a:gd name="T14" fmla="*/ 1235 w 1235"/>
                    <a:gd name="T15" fmla="*/ 25 h 796"/>
                    <a:gd name="T16" fmla="*/ 1228 w 1235"/>
                    <a:gd name="T17" fmla="*/ 8 h 796"/>
                    <a:gd name="T18" fmla="*/ 1211 w 1235"/>
                    <a:gd name="T19" fmla="*/ 0 h 796"/>
                    <a:gd name="T20" fmla="*/ 1211 w 1235"/>
                    <a:gd name="T21" fmla="*/ 4 h 796"/>
                    <a:gd name="T22" fmla="*/ 1211 w 1235"/>
                    <a:gd name="T23" fmla="*/ 9 h 796"/>
                    <a:gd name="T24" fmla="*/ 1222 w 1235"/>
                    <a:gd name="T25" fmla="*/ 13 h 796"/>
                    <a:gd name="T26" fmla="*/ 1227 w 1235"/>
                    <a:gd name="T27" fmla="*/ 25 h 796"/>
                    <a:gd name="T28" fmla="*/ 1227 w 1235"/>
                    <a:gd name="T29" fmla="*/ 788 h 796"/>
                    <a:gd name="T30" fmla="*/ 8 w 1235"/>
                    <a:gd name="T31" fmla="*/ 788 h 796"/>
                    <a:gd name="T32" fmla="*/ 8 w 1235"/>
                    <a:gd name="T33" fmla="*/ 25 h 796"/>
                    <a:gd name="T34" fmla="*/ 13 w 1235"/>
                    <a:gd name="T35" fmla="*/ 13 h 796"/>
                    <a:gd name="T36" fmla="*/ 24 w 1235"/>
                    <a:gd name="T37" fmla="*/ 9 h 796"/>
                    <a:gd name="T38" fmla="*/ 1211 w 1235"/>
                    <a:gd name="T39" fmla="*/ 9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8"/>
                      </a:cubicBezTo>
                      <a:cubicBezTo>
                        <a:pt x="3"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8"/>
                      </a:cubicBezTo>
                      <a:cubicBezTo>
                        <a:pt x="1224" y="3"/>
                        <a:pt x="1218" y="0"/>
                        <a:pt x="1211" y="0"/>
                      </a:cubicBezTo>
                      <a:cubicBezTo>
                        <a:pt x="1211" y="4"/>
                        <a:pt x="1211" y="4"/>
                        <a:pt x="1211" y="4"/>
                      </a:cubicBezTo>
                      <a:cubicBezTo>
                        <a:pt x="1211" y="9"/>
                        <a:pt x="1211" y="9"/>
                        <a:pt x="1211" y="9"/>
                      </a:cubicBezTo>
                      <a:cubicBezTo>
                        <a:pt x="1215" y="9"/>
                        <a:pt x="1219" y="10"/>
                        <a:pt x="1222" y="13"/>
                      </a:cubicBezTo>
                      <a:cubicBezTo>
                        <a:pt x="1225" y="16"/>
                        <a:pt x="1227" y="21"/>
                        <a:pt x="1227" y="25"/>
                      </a:cubicBezTo>
                      <a:cubicBezTo>
                        <a:pt x="1227" y="788"/>
                        <a:pt x="1227" y="788"/>
                        <a:pt x="1227" y="788"/>
                      </a:cubicBezTo>
                      <a:cubicBezTo>
                        <a:pt x="8" y="788"/>
                        <a:pt x="8" y="788"/>
                        <a:pt x="8" y="788"/>
                      </a:cubicBezTo>
                      <a:cubicBezTo>
                        <a:pt x="8" y="25"/>
                        <a:pt x="8" y="25"/>
                        <a:pt x="8" y="25"/>
                      </a:cubicBezTo>
                      <a:cubicBezTo>
                        <a:pt x="8" y="21"/>
                        <a:pt x="10" y="16"/>
                        <a:pt x="13" y="13"/>
                      </a:cubicBezTo>
                      <a:cubicBezTo>
                        <a:pt x="16" y="10"/>
                        <a:pt x="20" y="9"/>
                        <a:pt x="24" y="9"/>
                      </a:cubicBezTo>
                      <a:cubicBezTo>
                        <a:pt x="1211" y="9"/>
                        <a:pt x="1211" y="9"/>
                        <a:pt x="1211" y="9"/>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08" name="Rectangle 19">
                  <a:extLst>
                    <a:ext uri="{FF2B5EF4-FFF2-40B4-BE49-F238E27FC236}">
                      <a16:creationId xmlns:a16="http://schemas.microsoft.com/office/drawing/2014/main" id="{39CA929B-4D7A-4340-9DE4-462D2C66B203}"/>
                    </a:ext>
                  </a:extLst>
                </p:cNvPr>
                <p:cNvSpPr>
                  <a:spLocks noChangeArrowheads="1"/>
                </p:cNvSpPr>
                <p:nvPr/>
              </p:nvSpPr>
              <p:spPr bwMode="auto">
                <a:xfrm>
                  <a:off x="1567733" y="3449072"/>
                  <a:ext cx="573058" cy="35365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a:p>
              </p:txBody>
            </p:sp>
            <p:sp>
              <p:nvSpPr>
                <p:cNvPr id="509" name="Rectangle 20">
                  <a:extLst>
                    <a:ext uri="{FF2B5EF4-FFF2-40B4-BE49-F238E27FC236}">
                      <a16:creationId xmlns:a16="http://schemas.microsoft.com/office/drawing/2014/main" id="{5028C509-DE52-4C3B-9280-D31CAF54C0D8}"/>
                    </a:ext>
                  </a:extLst>
                </p:cNvPr>
                <p:cNvSpPr>
                  <a:spLocks noChangeArrowheads="1"/>
                </p:cNvSpPr>
                <p:nvPr/>
              </p:nvSpPr>
              <p:spPr bwMode="auto">
                <a:xfrm>
                  <a:off x="1567733" y="3449072"/>
                  <a:ext cx="573058" cy="35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10" name="Freeform 21">
                  <a:extLst>
                    <a:ext uri="{FF2B5EF4-FFF2-40B4-BE49-F238E27FC236}">
                      <a16:creationId xmlns:a16="http://schemas.microsoft.com/office/drawing/2014/main" id="{261CCF23-D0EF-45DE-B432-F279478981F2}"/>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a:p>
              </p:txBody>
            </p:sp>
            <p:sp>
              <p:nvSpPr>
                <p:cNvPr id="511" name="Freeform 22">
                  <a:extLst>
                    <a:ext uri="{FF2B5EF4-FFF2-40B4-BE49-F238E27FC236}">
                      <a16:creationId xmlns:a16="http://schemas.microsoft.com/office/drawing/2014/main" id="{AB357C56-81CA-4AAF-A2C7-CBFF6C679C0B}"/>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4" name="Freeform 23">
                  <a:extLst>
                    <a:ext uri="{FF2B5EF4-FFF2-40B4-BE49-F238E27FC236}">
                      <a16:creationId xmlns:a16="http://schemas.microsoft.com/office/drawing/2014/main" id="{D5AC1F1F-B490-4531-B56A-696807ABE079}"/>
                    </a:ext>
                  </a:extLst>
                </p:cNvPr>
                <p:cNvSpPr>
                  <a:spLocks/>
                </p:cNvSpPr>
                <p:nvPr/>
              </p:nvSpPr>
              <p:spPr bwMode="auto">
                <a:xfrm>
                  <a:off x="1721162" y="3894017"/>
                  <a:ext cx="264665" cy="57536"/>
                </a:xfrm>
                <a:custGeom>
                  <a:avLst/>
                  <a:gdLst>
                    <a:gd name="T0" fmla="*/ 511 w 511"/>
                    <a:gd name="T1" fmla="*/ 98 h 111"/>
                    <a:gd name="T2" fmla="*/ 501 w 511"/>
                    <a:gd name="T3" fmla="*/ 10 h 111"/>
                    <a:gd name="T4" fmla="*/ 489 w 511"/>
                    <a:gd name="T5" fmla="*/ 0 h 111"/>
                    <a:gd name="T6" fmla="*/ 28 w 511"/>
                    <a:gd name="T7" fmla="*/ 0 h 111"/>
                    <a:gd name="T8" fmla="*/ 16 w 511"/>
                    <a:gd name="T9" fmla="*/ 10 h 111"/>
                    <a:gd name="T10" fmla="*/ 1 w 511"/>
                    <a:gd name="T11" fmla="*/ 98 h 111"/>
                    <a:gd name="T12" fmla="*/ 13 w 511"/>
                    <a:gd name="T13" fmla="*/ 111 h 111"/>
                    <a:gd name="T14" fmla="*/ 499 w 511"/>
                    <a:gd name="T15" fmla="*/ 111 h 111"/>
                    <a:gd name="T16" fmla="*/ 511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1" y="98"/>
                      </a:moveTo>
                      <a:cubicBezTo>
                        <a:pt x="501" y="10"/>
                        <a:pt x="501" y="10"/>
                        <a:pt x="501" y="10"/>
                      </a:cubicBezTo>
                      <a:cubicBezTo>
                        <a:pt x="500" y="4"/>
                        <a:pt x="495" y="0"/>
                        <a:pt x="489" y="0"/>
                      </a:cubicBezTo>
                      <a:cubicBezTo>
                        <a:pt x="28" y="0"/>
                        <a:pt x="28" y="0"/>
                        <a:pt x="28" y="0"/>
                      </a:cubicBezTo>
                      <a:cubicBezTo>
                        <a:pt x="22" y="0"/>
                        <a:pt x="17" y="4"/>
                        <a:pt x="16" y="10"/>
                      </a:cubicBezTo>
                      <a:cubicBezTo>
                        <a:pt x="1" y="98"/>
                        <a:pt x="1" y="98"/>
                        <a:pt x="1" y="98"/>
                      </a:cubicBezTo>
                      <a:cubicBezTo>
                        <a:pt x="0" y="105"/>
                        <a:pt x="5" y="111"/>
                        <a:pt x="13" y="111"/>
                      </a:cubicBezTo>
                      <a:cubicBezTo>
                        <a:pt x="499" y="111"/>
                        <a:pt x="499" y="111"/>
                        <a:pt x="499" y="111"/>
                      </a:cubicBezTo>
                      <a:cubicBezTo>
                        <a:pt x="506" y="111"/>
                        <a:pt x="511" y="105"/>
                        <a:pt x="511"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6" name="Freeform 24">
                  <a:extLst>
                    <a:ext uri="{FF2B5EF4-FFF2-40B4-BE49-F238E27FC236}">
                      <a16:creationId xmlns:a16="http://schemas.microsoft.com/office/drawing/2014/main" id="{ECC76FDD-45E5-4F1B-93EE-55375A3E9B43}"/>
                    </a:ext>
                  </a:extLst>
                </p:cNvPr>
                <p:cNvSpPr>
                  <a:spLocks/>
                </p:cNvSpPr>
                <p:nvPr/>
              </p:nvSpPr>
              <p:spPr bwMode="auto">
                <a:xfrm>
                  <a:off x="1474908" y="3957691"/>
                  <a:ext cx="758708" cy="7671"/>
                </a:xfrm>
                <a:custGeom>
                  <a:avLst/>
                  <a:gdLst>
                    <a:gd name="T0" fmla="*/ 1421 w 1465"/>
                    <a:gd name="T1" fmla="*/ 14 h 14"/>
                    <a:gd name="T2" fmla="*/ 45 w 1465"/>
                    <a:gd name="T3" fmla="*/ 14 h 14"/>
                    <a:gd name="T4" fmla="*/ 0 w 1465"/>
                    <a:gd name="T5" fmla="*/ 0 h 14"/>
                    <a:gd name="T6" fmla="*/ 0 w 1465"/>
                    <a:gd name="T7" fmla="*/ 0 h 14"/>
                    <a:gd name="T8" fmla="*/ 1465 w 1465"/>
                    <a:gd name="T9" fmla="*/ 0 h 14"/>
                    <a:gd name="T10" fmla="*/ 1465 w 1465"/>
                    <a:gd name="T11" fmla="*/ 0 h 14"/>
                    <a:gd name="T12" fmla="*/ 1421 w 146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65" h="14">
                      <a:moveTo>
                        <a:pt x="1421" y="14"/>
                      </a:moveTo>
                      <a:cubicBezTo>
                        <a:pt x="45" y="14"/>
                        <a:pt x="45" y="14"/>
                        <a:pt x="45" y="14"/>
                      </a:cubicBezTo>
                      <a:cubicBezTo>
                        <a:pt x="20" y="14"/>
                        <a:pt x="0" y="8"/>
                        <a:pt x="0" y="0"/>
                      </a:cubicBezTo>
                      <a:cubicBezTo>
                        <a:pt x="0" y="0"/>
                        <a:pt x="0" y="0"/>
                        <a:pt x="0" y="0"/>
                      </a:cubicBezTo>
                      <a:cubicBezTo>
                        <a:pt x="1465" y="0"/>
                        <a:pt x="1465" y="0"/>
                        <a:pt x="1465" y="0"/>
                      </a:cubicBezTo>
                      <a:cubicBezTo>
                        <a:pt x="1465" y="0"/>
                        <a:pt x="1465" y="0"/>
                        <a:pt x="1465" y="0"/>
                      </a:cubicBezTo>
                      <a:cubicBezTo>
                        <a:pt x="1465" y="8"/>
                        <a:pt x="1445" y="14"/>
                        <a:pt x="1421" y="14"/>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7" name="Freeform 25">
                  <a:extLst>
                    <a:ext uri="{FF2B5EF4-FFF2-40B4-BE49-F238E27FC236}">
                      <a16:creationId xmlns:a16="http://schemas.microsoft.com/office/drawing/2014/main" id="{7839F4CE-AB35-4A90-9E60-CEDF483F449D}"/>
                    </a:ext>
                  </a:extLst>
                </p:cNvPr>
                <p:cNvSpPr>
                  <a:spLocks/>
                </p:cNvSpPr>
                <p:nvPr/>
              </p:nvSpPr>
              <p:spPr bwMode="auto">
                <a:xfrm>
                  <a:off x="1769492" y="3838016"/>
                  <a:ext cx="31453" cy="21480"/>
                </a:xfrm>
                <a:custGeom>
                  <a:avLst/>
                  <a:gdLst>
                    <a:gd name="T0" fmla="*/ 0 w 41"/>
                    <a:gd name="T1" fmla="*/ 28 h 28"/>
                    <a:gd name="T2" fmla="*/ 41 w 41"/>
                    <a:gd name="T3" fmla="*/ 28 h 28"/>
                    <a:gd name="T4" fmla="*/ 41 w 41"/>
                    <a:gd name="T5" fmla="*/ 0 h 28"/>
                    <a:gd name="T6" fmla="*/ 3 w 41"/>
                    <a:gd name="T7" fmla="*/ 0 h 28"/>
                    <a:gd name="T8" fmla="*/ 0 w 41"/>
                    <a:gd name="T9" fmla="*/ 28 h 28"/>
                  </a:gdLst>
                  <a:ahLst/>
                  <a:cxnLst>
                    <a:cxn ang="0">
                      <a:pos x="T0" y="T1"/>
                    </a:cxn>
                    <a:cxn ang="0">
                      <a:pos x="T2" y="T3"/>
                    </a:cxn>
                    <a:cxn ang="0">
                      <a:pos x="T4" y="T5"/>
                    </a:cxn>
                    <a:cxn ang="0">
                      <a:pos x="T6" y="T7"/>
                    </a:cxn>
                    <a:cxn ang="0">
                      <a:pos x="T8" y="T9"/>
                    </a:cxn>
                  </a:cxnLst>
                  <a:rect l="0" t="0" r="r" b="b"/>
                  <a:pathLst>
                    <a:path w="41" h="28">
                      <a:moveTo>
                        <a:pt x="0" y="28"/>
                      </a:moveTo>
                      <a:lnTo>
                        <a:pt x="41" y="28"/>
                      </a:lnTo>
                      <a:lnTo>
                        <a:pt x="41" y="0"/>
                      </a:lnTo>
                      <a:lnTo>
                        <a:pt x="3"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8" name="Freeform 26">
                  <a:extLst>
                    <a:ext uri="{FF2B5EF4-FFF2-40B4-BE49-F238E27FC236}">
                      <a16:creationId xmlns:a16="http://schemas.microsoft.com/office/drawing/2014/main" id="{9C4E1AF0-52F1-4C7F-B0D2-B34423F6DF2F}"/>
                    </a:ext>
                  </a:extLst>
                </p:cNvPr>
                <p:cNvSpPr>
                  <a:spLocks/>
                </p:cNvSpPr>
                <p:nvPr/>
              </p:nvSpPr>
              <p:spPr bwMode="auto">
                <a:xfrm>
                  <a:off x="1772561" y="3813467"/>
                  <a:ext cx="29918" cy="19946"/>
                </a:xfrm>
                <a:custGeom>
                  <a:avLst/>
                  <a:gdLst>
                    <a:gd name="T0" fmla="*/ 39 w 39"/>
                    <a:gd name="T1" fmla="*/ 0 h 26"/>
                    <a:gd name="T2" fmla="*/ 2 w 39"/>
                    <a:gd name="T3" fmla="*/ 0 h 26"/>
                    <a:gd name="T4" fmla="*/ 0 w 39"/>
                    <a:gd name="T5" fmla="*/ 26 h 26"/>
                    <a:gd name="T6" fmla="*/ 38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8"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9" name="Freeform 27">
                  <a:extLst>
                    <a:ext uri="{FF2B5EF4-FFF2-40B4-BE49-F238E27FC236}">
                      <a16:creationId xmlns:a16="http://schemas.microsoft.com/office/drawing/2014/main" id="{EBA59A23-9919-464E-A433-15A4943008C6}"/>
                    </a:ext>
                  </a:extLst>
                </p:cNvPr>
                <p:cNvSpPr>
                  <a:spLocks/>
                </p:cNvSpPr>
                <p:nvPr/>
              </p:nvSpPr>
              <p:spPr bwMode="auto">
                <a:xfrm>
                  <a:off x="1873824" y="3838016"/>
                  <a:ext cx="30686" cy="21480"/>
                </a:xfrm>
                <a:custGeom>
                  <a:avLst/>
                  <a:gdLst>
                    <a:gd name="T0" fmla="*/ 0 w 40"/>
                    <a:gd name="T1" fmla="*/ 28 h 28"/>
                    <a:gd name="T2" fmla="*/ 40 w 40"/>
                    <a:gd name="T3" fmla="*/ 28 h 28"/>
                    <a:gd name="T4" fmla="*/ 38 w 40"/>
                    <a:gd name="T5" fmla="*/ 0 h 28"/>
                    <a:gd name="T6" fmla="*/ 0 w 40"/>
                    <a:gd name="T7" fmla="*/ 0 h 28"/>
                    <a:gd name="T8" fmla="*/ 0 w 40"/>
                    <a:gd name="T9" fmla="*/ 28 h 28"/>
                  </a:gdLst>
                  <a:ahLst/>
                  <a:cxnLst>
                    <a:cxn ang="0">
                      <a:pos x="T0" y="T1"/>
                    </a:cxn>
                    <a:cxn ang="0">
                      <a:pos x="T2" y="T3"/>
                    </a:cxn>
                    <a:cxn ang="0">
                      <a:pos x="T4" y="T5"/>
                    </a:cxn>
                    <a:cxn ang="0">
                      <a:pos x="T6" y="T7"/>
                    </a:cxn>
                    <a:cxn ang="0">
                      <a:pos x="T8" y="T9"/>
                    </a:cxn>
                  </a:cxnLst>
                  <a:rect l="0" t="0" r="r" b="b"/>
                  <a:pathLst>
                    <a:path w="40" h="28">
                      <a:moveTo>
                        <a:pt x="0" y="28"/>
                      </a:moveTo>
                      <a:lnTo>
                        <a:pt x="40" y="28"/>
                      </a:lnTo>
                      <a:lnTo>
                        <a:pt x="38" y="0"/>
                      </a:lnTo>
                      <a:lnTo>
                        <a:pt x="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0" name="Freeform 28">
                  <a:extLst>
                    <a:ext uri="{FF2B5EF4-FFF2-40B4-BE49-F238E27FC236}">
                      <a16:creationId xmlns:a16="http://schemas.microsoft.com/office/drawing/2014/main" id="{8BBE2BCD-3E7A-437C-957B-AC607610AA60}"/>
                    </a:ext>
                  </a:extLst>
                </p:cNvPr>
                <p:cNvSpPr>
                  <a:spLocks/>
                </p:cNvSpPr>
                <p:nvPr/>
              </p:nvSpPr>
              <p:spPr bwMode="auto">
                <a:xfrm>
                  <a:off x="1873824" y="3813467"/>
                  <a:ext cx="29152" cy="19946"/>
                </a:xfrm>
                <a:custGeom>
                  <a:avLst/>
                  <a:gdLst>
                    <a:gd name="T0" fmla="*/ 0 w 38"/>
                    <a:gd name="T1" fmla="*/ 26 h 26"/>
                    <a:gd name="T2" fmla="*/ 38 w 38"/>
                    <a:gd name="T3" fmla="*/ 26 h 26"/>
                    <a:gd name="T4" fmla="*/ 37 w 38"/>
                    <a:gd name="T5" fmla="*/ 0 h 26"/>
                    <a:gd name="T6" fmla="*/ 0 w 38"/>
                    <a:gd name="T7" fmla="*/ 0 h 26"/>
                    <a:gd name="T8" fmla="*/ 0 w 38"/>
                    <a:gd name="T9" fmla="*/ 26 h 26"/>
                  </a:gdLst>
                  <a:ahLst/>
                  <a:cxnLst>
                    <a:cxn ang="0">
                      <a:pos x="T0" y="T1"/>
                    </a:cxn>
                    <a:cxn ang="0">
                      <a:pos x="T2" y="T3"/>
                    </a:cxn>
                    <a:cxn ang="0">
                      <a:pos x="T4" y="T5"/>
                    </a:cxn>
                    <a:cxn ang="0">
                      <a:pos x="T6" y="T7"/>
                    </a:cxn>
                    <a:cxn ang="0">
                      <a:pos x="T8" y="T9"/>
                    </a:cxn>
                  </a:cxnLst>
                  <a:rect l="0" t="0" r="r" b="b"/>
                  <a:pathLst>
                    <a:path w="38" h="26">
                      <a:moveTo>
                        <a:pt x="0" y="26"/>
                      </a:moveTo>
                      <a:lnTo>
                        <a:pt x="38"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1" name="Freeform 29">
                  <a:extLst>
                    <a:ext uri="{FF2B5EF4-FFF2-40B4-BE49-F238E27FC236}">
                      <a16:creationId xmlns:a16="http://schemas.microsoft.com/office/drawing/2014/main" id="{C0A457E3-94B9-40EC-9ECC-63ECC1760C27}"/>
                    </a:ext>
                  </a:extLst>
                </p:cNvPr>
                <p:cNvSpPr>
                  <a:spLocks/>
                </p:cNvSpPr>
                <p:nvPr/>
              </p:nvSpPr>
              <p:spPr bwMode="auto">
                <a:xfrm>
                  <a:off x="1906045" y="3813467"/>
                  <a:ext cx="30686" cy="19946"/>
                </a:xfrm>
                <a:custGeom>
                  <a:avLst/>
                  <a:gdLst>
                    <a:gd name="T0" fmla="*/ 2 w 40"/>
                    <a:gd name="T1" fmla="*/ 26 h 26"/>
                    <a:gd name="T2" fmla="*/ 40 w 40"/>
                    <a:gd name="T3" fmla="*/ 26 h 26"/>
                    <a:gd name="T4" fmla="*/ 37 w 40"/>
                    <a:gd name="T5" fmla="*/ 0 h 26"/>
                    <a:gd name="T6" fmla="*/ 0 w 40"/>
                    <a:gd name="T7" fmla="*/ 0 h 26"/>
                    <a:gd name="T8" fmla="*/ 2 w 40"/>
                    <a:gd name="T9" fmla="*/ 26 h 26"/>
                  </a:gdLst>
                  <a:ahLst/>
                  <a:cxnLst>
                    <a:cxn ang="0">
                      <a:pos x="T0" y="T1"/>
                    </a:cxn>
                    <a:cxn ang="0">
                      <a:pos x="T2" y="T3"/>
                    </a:cxn>
                    <a:cxn ang="0">
                      <a:pos x="T4" y="T5"/>
                    </a:cxn>
                    <a:cxn ang="0">
                      <a:pos x="T6" y="T7"/>
                    </a:cxn>
                    <a:cxn ang="0">
                      <a:pos x="T8" y="T9"/>
                    </a:cxn>
                  </a:cxnLst>
                  <a:rect l="0" t="0" r="r" b="b"/>
                  <a:pathLst>
                    <a:path w="40" h="26">
                      <a:moveTo>
                        <a:pt x="2" y="26"/>
                      </a:moveTo>
                      <a:lnTo>
                        <a:pt x="40" y="26"/>
                      </a:lnTo>
                      <a:lnTo>
                        <a:pt x="37" y="0"/>
                      </a:lnTo>
                      <a:lnTo>
                        <a:pt x="0" y="0"/>
                      </a:lnTo>
                      <a:lnTo>
                        <a:pt x="2"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2" name="Freeform 30">
                  <a:extLst>
                    <a:ext uri="{FF2B5EF4-FFF2-40B4-BE49-F238E27FC236}">
                      <a16:creationId xmlns:a16="http://schemas.microsoft.com/office/drawing/2014/main" id="{61175D1C-3B3F-4BF7-B82D-3B0250F63863}"/>
                    </a:ext>
                  </a:extLst>
                </p:cNvPr>
                <p:cNvSpPr>
                  <a:spLocks/>
                </p:cNvSpPr>
                <p:nvPr/>
              </p:nvSpPr>
              <p:spPr bwMode="auto">
                <a:xfrm>
                  <a:off x="1738807" y="3813467"/>
                  <a:ext cx="30686" cy="19946"/>
                </a:xfrm>
                <a:custGeom>
                  <a:avLst/>
                  <a:gdLst>
                    <a:gd name="T0" fmla="*/ 40 w 40"/>
                    <a:gd name="T1" fmla="*/ 0 h 26"/>
                    <a:gd name="T2" fmla="*/ 3 w 40"/>
                    <a:gd name="T3" fmla="*/ 0 h 26"/>
                    <a:gd name="T4" fmla="*/ 0 w 40"/>
                    <a:gd name="T5" fmla="*/ 26 h 26"/>
                    <a:gd name="T6" fmla="*/ 38 w 40"/>
                    <a:gd name="T7" fmla="*/ 26 h 26"/>
                    <a:gd name="T8" fmla="*/ 40 w 40"/>
                    <a:gd name="T9" fmla="*/ 0 h 26"/>
                  </a:gdLst>
                  <a:ahLst/>
                  <a:cxnLst>
                    <a:cxn ang="0">
                      <a:pos x="T0" y="T1"/>
                    </a:cxn>
                    <a:cxn ang="0">
                      <a:pos x="T2" y="T3"/>
                    </a:cxn>
                    <a:cxn ang="0">
                      <a:pos x="T4" y="T5"/>
                    </a:cxn>
                    <a:cxn ang="0">
                      <a:pos x="T6" y="T7"/>
                    </a:cxn>
                    <a:cxn ang="0">
                      <a:pos x="T8" y="T9"/>
                    </a:cxn>
                  </a:cxnLst>
                  <a:rect l="0" t="0" r="r" b="b"/>
                  <a:pathLst>
                    <a:path w="40" h="26">
                      <a:moveTo>
                        <a:pt x="40" y="0"/>
                      </a:moveTo>
                      <a:lnTo>
                        <a:pt x="3" y="0"/>
                      </a:lnTo>
                      <a:lnTo>
                        <a:pt x="0" y="26"/>
                      </a:lnTo>
                      <a:lnTo>
                        <a:pt x="38" y="26"/>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3" name="Freeform 31">
                  <a:extLst>
                    <a:ext uri="{FF2B5EF4-FFF2-40B4-BE49-F238E27FC236}">
                      <a16:creationId xmlns:a16="http://schemas.microsoft.com/office/drawing/2014/main" id="{5A23221F-2F03-413D-8B5D-9A0AFE6A1436}"/>
                    </a:ext>
                  </a:extLst>
                </p:cNvPr>
                <p:cNvSpPr>
                  <a:spLocks/>
                </p:cNvSpPr>
                <p:nvPr/>
              </p:nvSpPr>
              <p:spPr bwMode="auto">
                <a:xfrm>
                  <a:off x="1700449" y="3838016"/>
                  <a:ext cx="33754" cy="21480"/>
                </a:xfrm>
                <a:custGeom>
                  <a:avLst/>
                  <a:gdLst>
                    <a:gd name="T0" fmla="*/ 0 w 44"/>
                    <a:gd name="T1" fmla="*/ 28 h 28"/>
                    <a:gd name="T2" fmla="*/ 40 w 44"/>
                    <a:gd name="T3" fmla="*/ 28 h 28"/>
                    <a:gd name="T4" fmla="*/ 44 w 44"/>
                    <a:gd name="T5" fmla="*/ 0 h 28"/>
                    <a:gd name="T6" fmla="*/ 5 w 44"/>
                    <a:gd name="T7" fmla="*/ 0 h 28"/>
                    <a:gd name="T8" fmla="*/ 0 w 44"/>
                    <a:gd name="T9" fmla="*/ 28 h 28"/>
                  </a:gdLst>
                  <a:ahLst/>
                  <a:cxnLst>
                    <a:cxn ang="0">
                      <a:pos x="T0" y="T1"/>
                    </a:cxn>
                    <a:cxn ang="0">
                      <a:pos x="T2" y="T3"/>
                    </a:cxn>
                    <a:cxn ang="0">
                      <a:pos x="T4" y="T5"/>
                    </a:cxn>
                    <a:cxn ang="0">
                      <a:pos x="T6" y="T7"/>
                    </a:cxn>
                    <a:cxn ang="0">
                      <a:pos x="T8" y="T9"/>
                    </a:cxn>
                  </a:cxnLst>
                  <a:rect l="0" t="0" r="r" b="b"/>
                  <a:pathLst>
                    <a:path w="44" h="28">
                      <a:moveTo>
                        <a:pt x="0" y="28"/>
                      </a:moveTo>
                      <a:lnTo>
                        <a:pt x="40" y="28"/>
                      </a:lnTo>
                      <a:lnTo>
                        <a:pt x="44" y="0"/>
                      </a:lnTo>
                      <a:lnTo>
                        <a:pt x="5"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4" name="Freeform 32">
                  <a:extLst>
                    <a:ext uri="{FF2B5EF4-FFF2-40B4-BE49-F238E27FC236}">
                      <a16:creationId xmlns:a16="http://schemas.microsoft.com/office/drawing/2014/main" id="{FE33B437-5540-4E56-9B58-60B1C3C54B13}"/>
                    </a:ext>
                  </a:extLst>
                </p:cNvPr>
                <p:cNvSpPr>
                  <a:spLocks/>
                </p:cNvSpPr>
                <p:nvPr/>
              </p:nvSpPr>
              <p:spPr bwMode="auto">
                <a:xfrm>
                  <a:off x="1630639" y="3838016"/>
                  <a:ext cx="35289" cy="21480"/>
                </a:xfrm>
                <a:custGeom>
                  <a:avLst/>
                  <a:gdLst>
                    <a:gd name="T0" fmla="*/ 46 w 46"/>
                    <a:gd name="T1" fmla="*/ 0 h 28"/>
                    <a:gd name="T2" fmla="*/ 8 w 46"/>
                    <a:gd name="T3" fmla="*/ 0 h 28"/>
                    <a:gd name="T4" fmla="*/ 0 w 46"/>
                    <a:gd name="T5" fmla="*/ 28 h 28"/>
                    <a:gd name="T6" fmla="*/ 40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8" y="0"/>
                      </a:lnTo>
                      <a:lnTo>
                        <a:pt x="0" y="28"/>
                      </a:lnTo>
                      <a:lnTo>
                        <a:pt x="40"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5" name="Freeform 33">
                  <a:extLst>
                    <a:ext uri="{FF2B5EF4-FFF2-40B4-BE49-F238E27FC236}">
                      <a16:creationId xmlns:a16="http://schemas.microsoft.com/office/drawing/2014/main" id="{29C11F93-7122-4225-A7D0-C974549B270B}"/>
                    </a:ext>
                  </a:extLst>
                </p:cNvPr>
                <p:cNvSpPr>
                  <a:spLocks/>
                </p:cNvSpPr>
                <p:nvPr/>
              </p:nvSpPr>
              <p:spPr bwMode="auto">
                <a:xfrm>
                  <a:off x="1671298" y="3813467"/>
                  <a:ext cx="32987" cy="19946"/>
                </a:xfrm>
                <a:custGeom>
                  <a:avLst/>
                  <a:gdLst>
                    <a:gd name="T0" fmla="*/ 0 w 43"/>
                    <a:gd name="T1" fmla="*/ 26 h 26"/>
                    <a:gd name="T2" fmla="*/ 39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9"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34">
                  <a:extLst>
                    <a:ext uri="{FF2B5EF4-FFF2-40B4-BE49-F238E27FC236}">
                      <a16:creationId xmlns:a16="http://schemas.microsoft.com/office/drawing/2014/main" id="{0C15DAC1-37A0-41CA-B505-8150CB193E02}"/>
                    </a:ext>
                  </a:extLst>
                </p:cNvPr>
                <p:cNvSpPr>
                  <a:spLocks/>
                </p:cNvSpPr>
                <p:nvPr/>
              </p:nvSpPr>
              <p:spPr bwMode="auto">
                <a:xfrm>
                  <a:off x="1734971" y="3838016"/>
                  <a:ext cx="32987" cy="21480"/>
                </a:xfrm>
                <a:custGeom>
                  <a:avLst/>
                  <a:gdLst>
                    <a:gd name="T0" fmla="*/ 0 w 43"/>
                    <a:gd name="T1" fmla="*/ 28 h 28"/>
                    <a:gd name="T2" fmla="*/ 40 w 43"/>
                    <a:gd name="T3" fmla="*/ 28 h 28"/>
                    <a:gd name="T4" fmla="*/ 43 w 43"/>
                    <a:gd name="T5" fmla="*/ 0 h 28"/>
                    <a:gd name="T6" fmla="*/ 4 w 43"/>
                    <a:gd name="T7" fmla="*/ 0 h 28"/>
                    <a:gd name="T8" fmla="*/ 0 w 43"/>
                    <a:gd name="T9" fmla="*/ 28 h 28"/>
                  </a:gdLst>
                  <a:ahLst/>
                  <a:cxnLst>
                    <a:cxn ang="0">
                      <a:pos x="T0" y="T1"/>
                    </a:cxn>
                    <a:cxn ang="0">
                      <a:pos x="T2" y="T3"/>
                    </a:cxn>
                    <a:cxn ang="0">
                      <a:pos x="T4" y="T5"/>
                    </a:cxn>
                    <a:cxn ang="0">
                      <a:pos x="T6" y="T7"/>
                    </a:cxn>
                    <a:cxn ang="0">
                      <a:pos x="T8" y="T9"/>
                    </a:cxn>
                  </a:cxnLst>
                  <a:rect l="0" t="0" r="r" b="b"/>
                  <a:pathLst>
                    <a:path w="43" h="28">
                      <a:moveTo>
                        <a:pt x="0" y="28"/>
                      </a:moveTo>
                      <a:lnTo>
                        <a:pt x="40" y="28"/>
                      </a:lnTo>
                      <a:lnTo>
                        <a:pt x="43" y="0"/>
                      </a:lnTo>
                      <a:lnTo>
                        <a:pt x="4"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7" name="Freeform 35">
                  <a:extLst>
                    <a:ext uri="{FF2B5EF4-FFF2-40B4-BE49-F238E27FC236}">
                      <a16:creationId xmlns:a16="http://schemas.microsoft.com/office/drawing/2014/main" id="{790619D3-890E-415E-A002-D31990E968FD}"/>
                    </a:ext>
                  </a:extLst>
                </p:cNvPr>
                <p:cNvSpPr>
                  <a:spLocks/>
                </p:cNvSpPr>
                <p:nvPr/>
              </p:nvSpPr>
              <p:spPr bwMode="auto">
                <a:xfrm>
                  <a:off x="1705052" y="3813467"/>
                  <a:ext cx="32220" cy="19946"/>
                </a:xfrm>
                <a:custGeom>
                  <a:avLst/>
                  <a:gdLst>
                    <a:gd name="T0" fmla="*/ 0 w 42"/>
                    <a:gd name="T1" fmla="*/ 26 h 26"/>
                    <a:gd name="T2" fmla="*/ 38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8"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8" name="Freeform 36">
                  <a:extLst>
                    <a:ext uri="{FF2B5EF4-FFF2-40B4-BE49-F238E27FC236}">
                      <a16:creationId xmlns:a16="http://schemas.microsoft.com/office/drawing/2014/main" id="{20C12A51-7FE2-420B-934E-A272859FE1DC}"/>
                    </a:ext>
                  </a:extLst>
                </p:cNvPr>
                <p:cNvSpPr>
                  <a:spLocks/>
                </p:cNvSpPr>
                <p:nvPr/>
              </p:nvSpPr>
              <p:spPr bwMode="auto">
                <a:xfrm>
                  <a:off x="2076351" y="3838016"/>
                  <a:ext cx="90523" cy="21480"/>
                </a:xfrm>
                <a:custGeom>
                  <a:avLst/>
                  <a:gdLst>
                    <a:gd name="T0" fmla="*/ 118 w 118"/>
                    <a:gd name="T1" fmla="*/ 28 h 28"/>
                    <a:gd name="T2" fmla="*/ 110 w 118"/>
                    <a:gd name="T3" fmla="*/ 0 h 28"/>
                    <a:gd name="T4" fmla="*/ 0 w 118"/>
                    <a:gd name="T5" fmla="*/ 0 h 28"/>
                    <a:gd name="T6" fmla="*/ 8 w 118"/>
                    <a:gd name="T7" fmla="*/ 28 h 28"/>
                    <a:gd name="T8" fmla="*/ 118 w 118"/>
                    <a:gd name="T9" fmla="*/ 28 h 28"/>
                  </a:gdLst>
                  <a:ahLst/>
                  <a:cxnLst>
                    <a:cxn ang="0">
                      <a:pos x="T0" y="T1"/>
                    </a:cxn>
                    <a:cxn ang="0">
                      <a:pos x="T2" y="T3"/>
                    </a:cxn>
                    <a:cxn ang="0">
                      <a:pos x="T4" y="T5"/>
                    </a:cxn>
                    <a:cxn ang="0">
                      <a:pos x="T6" y="T7"/>
                    </a:cxn>
                    <a:cxn ang="0">
                      <a:pos x="T8" y="T9"/>
                    </a:cxn>
                  </a:cxnLst>
                  <a:rect l="0" t="0" r="r" b="b"/>
                  <a:pathLst>
                    <a:path w="118" h="28">
                      <a:moveTo>
                        <a:pt x="118" y="28"/>
                      </a:moveTo>
                      <a:lnTo>
                        <a:pt x="110" y="0"/>
                      </a:lnTo>
                      <a:lnTo>
                        <a:pt x="0" y="0"/>
                      </a:lnTo>
                      <a:lnTo>
                        <a:pt x="8" y="28"/>
                      </a:lnTo>
                      <a:lnTo>
                        <a:pt x="11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9" name="Freeform 37">
                  <a:extLst>
                    <a:ext uri="{FF2B5EF4-FFF2-40B4-BE49-F238E27FC236}">
                      <a16:creationId xmlns:a16="http://schemas.microsoft.com/office/drawing/2014/main" id="{3DAF355B-224B-4CAC-A88F-3E20131B1F12}"/>
                    </a:ext>
                  </a:extLst>
                </p:cNvPr>
                <p:cNvSpPr>
                  <a:spLocks/>
                </p:cNvSpPr>
                <p:nvPr/>
              </p:nvSpPr>
              <p:spPr bwMode="auto">
                <a:xfrm>
                  <a:off x="2070214" y="3813467"/>
                  <a:ext cx="34521" cy="19946"/>
                </a:xfrm>
                <a:custGeom>
                  <a:avLst/>
                  <a:gdLst>
                    <a:gd name="T0" fmla="*/ 7 w 45"/>
                    <a:gd name="T1" fmla="*/ 26 h 26"/>
                    <a:gd name="T2" fmla="*/ 45 w 45"/>
                    <a:gd name="T3" fmla="*/ 26 h 26"/>
                    <a:gd name="T4" fmla="*/ 37 w 45"/>
                    <a:gd name="T5" fmla="*/ 0 h 26"/>
                    <a:gd name="T6" fmla="*/ 0 w 45"/>
                    <a:gd name="T7" fmla="*/ 0 h 26"/>
                    <a:gd name="T8" fmla="*/ 7 w 45"/>
                    <a:gd name="T9" fmla="*/ 26 h 26"/>
                  </a:gdLst>
                  <a:ahLst/>
                  <a:cxnLst>
                    <a:cxn ang="0">
                      <a:pos x="T0" y="T1"/>
                    </a:cxn>
                    <a:cxn ang="0">
                      <a:pos x="T2" y="T3"/>
                    </a:cxn>
                    <a:cxn ang="0">
                      <a:pos x="T4" y="T5"/>
                    </a:cxn>
                    <a:cxn ang="0">
                      <a:pos x="T6" y="T7"/>
                    </a:cxn>
                    <a:cxn ang="0">
                      <a:pos x="T8" y="T9"/>
                    </a:cxn>
                  </a:cxnLst>
                  <a:rect l="0" t="0" r="r" b="b"/>
                  <a:pathLst>
                    <a:path w="45" h="26">
                      <a:moveTo>
                        <a:pt x="7" y="26"/>
                      </a:moveTo>
                      <a:lnTo>
                        <a:pt x="45" y="26"/>
                      </a:lnTo>
                      <a:lnTo>
                        <a:pt x="37" y="0"/>
                      </a:lnTo>
                      <a:lnTo>
                        <a:pt x="0" y="0"/>
                      </a:lnTo>
                      <a:lnTo>
                        <a:pt x="7"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0" name="Freeform 38">
                  <a:extLst>
                    <a:ext uri="{FF2B5EF4-FFF2-40B4-BE49-F238E27FC236}">
                      <a16:creationId xmlns:a16="http://schemas.microsoft.com/office/drawing/2014/main" id="{9271633E-4E8A-43CD-8AA6-FD50095EE29F}"/>
                    </a:ext>
                  </a:extLst>
                </p:cNvPr>
                <p:cNvSpPr>
                  <a:spLocks/>
                </p:cNvSpPr>
                <p:nvPr/>
              </p:nvSpPr>
              <p:spPr bwMode="auto">
                <a:xfrm>
                  <a:off x="1596117" y="3838016"/>
                  <a:ext cx="36823" cy="21480"/>
                </a:xfrm>
                <a:custGeom>
                  <a:avLst/>
                  <a:gdLst>
                    <a:gd name="T0" fmla="*/ 0 w 48"/>
                    <a:gd name="T1" fmla="*/ 28 h 28"/>
                    <a:gd name="T2" fmla="*/ 39 w 48"/>
                    <a:gd name="T3" fmla="*/ 28 h 28"/>
                    <a:gd name="T4" fmla="*/ 48 w 48"/>
                    <a:gd name="T5" fmla="*/ 0 h 28"/>
                    <a:gd name="T6" fmla="*/ 9 w 48"/>
                    <a:gd name="T7" fmla="*/ 0 h 28"/>
                    <a:gd name="T8" fmla="*/ 0 w 48"/>
                    <a:gd name="T9" fmla="*/ 28 h 28"/>
                  </a:gdLst>
                  <a:ahLst/>
                  <a:cxnLst>
                    <a:cxn ang="0">
                      <a:pos x="T0" y="T1"/>
                    </a:cxn>
                    <a:cxn ang="0">
                      <a:pos x="T2" y="T3"/>
                    </a:cxn>
                    <a:cxn ang="0">
                      <a:pos x="T4" y="T5"/>
                    </a:cxn>
                    <a:cxn ang="0">
                      <a:pos x="T6" y="T7"/>
                    </a:cxn>
                    <a:cxn ang="0">
                      <a:pos x="T8" y="T9"/>
                    </a:cxn>
                  </a:cxnLst>
                  <a:rect l="0" t="0" r="r" b="b"/>
                  <a:pathLst>
                    <a:path w="48" h="28">
                      <a:moveTo>
                        <a:pt x="0" y="28"/>
                      </a:moveTo>
                      <a:lnTo>
                        <a:pt x="39" y="28"/>
                      </a:lnTo>
                      <a:lnTo>
                        <a:pt x="48" y="0"/>
                      </a:lnTo>
                      <a:lnTo>
                        <a:pt x="9"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1" name="Freeform 39">
                  <a:extLst>
                    <a:ext uri="{FF2B5EF4-FFF2-40B4-BE49-F238E27FC236}">
                      <a16:creationId xmlns:a16="http://schemas.microsoft.com/office/drawing/2014/main" id="{2A062B85-9CE1-4F76-B26E-D0AEECB5332E}"/>
                    </a:ext>
                  </a:extLst>
                </p:cNvPr>
                <p:cNvSpPr>
                  <a:spLocks/>
                </p:cNvSpPr>
                <p:nvPr/>
              </p:nvSpPr>
              <p:spPr bwMode="auto">
                <a:xfrm>
                  <a:off x="2103201" y="3813467"/>
                  <a:ext cx="35289" cy="19946"/>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2" name="Freeform 40">
                  <a:extLst>
                    <a:ext uri="{FF2B5EF4-FFF2-40B4-BE49-F238E27FC236}">
                      <a16:creationId xmlns:a16="http://schemas.microsoft.com/office/drawing/2014/main" id="{F8E737B7-5EE9-4B74-8D34-623F10D827C9}"/>
                    </a:ext>
                  </a:extLst>
                </p:cNvPr>
                <p:cNvSpPr>
                  <a:spLocks/>
                </p:cNvSpPr>
                <p:nvPr/>
              </p:nvSpPr>
              <p:spPr bwMode="auto">
                <a:xfrm>
                  <a:off x="2110106" y="3838016"/>
                  <a:ext cx="37590" cy="21480"/>
                </a:xfrm>
                <a:custGeom>
                  <a:avLst/>
                  <a:gdLst>
                    <a:gd name="T0" fmla="*/ 49 w 49"/>
                    <a:gd name="T1" fmla="*/ 28 h 28"/>
                    <a:gd name="T2" fmla="*/ 39 w 49"/>
                    <a:gd name="T3" fmla="*/ 0 h 28"/>
                    <a:gd name="T4" fmla="*/ 0 w 49"/>
                    <a:gd name="T5" fmla="*/ 0 h 28"/>
                    <a:gd name="T6" fmla="*/ 9 w 49"/>
                    <a:gd name="T7" fmla="*/ 28 h 28"/>
                    <a:gd name="T8" fmla="*/ 49 w 49"/>
                    <a:gd name="T9" fmla="*/ 28 h 28"/>
                  </a:gdLst>
                  <a:ahLst/>
                  <a:cxnLst>
                    <a:cxn ang="0">
                      <a:pos x="T0" y="T1"/>
                    </a:cxn>
                    <a:cxn ang="0">
                      <a:pos x="T2" y="T3"/>
                    </a:cxn>
                    <a:cxn ang="0">
                      <a:pos x="T4" y="T5"/>
                    </a:cxn>
                    <a:cxn ang="0">
                      <a:pos x="T6" y="T7"/>
                    </a:cxn>
                    <a:cxn ang="0">
                      <a:pos x="T8" y="T9"/>
                    </a:cxn>
                  </a:cxnLst>
                  <a:rect l="0" t="0" r="r" b="b"/>
                  <a:pathLst>
                    <a:path w="49" h="28">
                      <a:moveTo>
                        <a:pt x="49" y="28"/>
                      </a:moveTo>
                      <a:lnTo>
                        <a:pt x="39" y="0"/>
                      </a:lnTo>
                      <a:lnTo>
                        <a:pt x="0" y="0"/>
                      </a:lnTo>
                      <a:lnTo>
                        <a:pt x="9" y="28"/>
                      </a:lnTo>
                      <a:lnTo>
                        <a:pt x="49"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3" name="Freeform 41">
                  <a:extLst>
                    <a:ext uri="{FF2B5EF4-FFF2-40B4-BE49-F238E27FC236}">
                      <a16:creationId xmlns:a16="http://schemas.microsoft.com/office/drawing/2014/main" id="{59C406E6-B24A-495E-AAA2-72F07C3EEC43}"/>
                    </a:ext>
                  </a:extLst>
                </p:cNvPr>
                <p:cNvSpPr>
                  <a:spLocks/>
                </p:cNvSpPr>
                <p:nvPr/>
              </p:nvSpPr>
              <p:spPr bwMode="auto">
                <a:xfrm>
                  <a:off x="2008842" y="3838016"/>
                  <a:ext cx="34521" cy="21480"/>
                </a:xfrm>
                <a:custGeom>
                  <a:avLst/>
                  <a:gdLst>
                    <a:gd name="T0" fmla="*/ 0 w 45"/>
                    <a:gd name="T1" fmla="*/ 0 h 28"/>
                    <a:gd name="T2" fmla="*/ 5 w 45"/>
                    <a:gd name="T3" fmla="*/ 28 h 28"/>
                    <a:gd name="T4" fmla="*/ 45 w 45"/>
                    <a:gd name="T5" fmla="*/ 28 h 28"/>
                    <a:gd name="T6" fmla="*/ 38 w 45"/>
                    <a:gd name="T7" fmla="*/ 0 h 28"/>
                    <a:gd name="T8" fmla="*/ 0 w 45"/>
                    <a:gd name="T9" fmla="*/ 0 h 28"/>
                  </a:gdLst>
                  <a:ahLst/>
                  <a:cxnLst>
                    <a:cxn ang="0">
                      <a:pos x="T0" y="T1"/>
                    </a:cxn>
                    <a:cxn ang="0">
                      <a:pos x="T2" y="T3"/>
                    </a:cxn>
                    <a:cxn ang="0">
                      <a:pos x="T4" y="T5"/>
                    </a:cxn>
                    <a:cxn ang="0">
                      <a:pos x="T6" y="T7"/>
                    </a:cxn>
                    <a:cxn ang="0">
                      <a:pos x="T8" y="T9"/>
                    </a:cxn>
                  </a:cxnLst>
                  <a:rect l="0" t="0" r="r" b="b"/>
                  <a:pathLst>
                    <a:path w="45" h="28">
                      <a:moveTo>
                        <a:pt x="0" y="0"/>
                      </a:moveTo>
                      <a:lnTo>
                        <a:pt x="5" y="28"/>
                      </a:lnTo>
                      <a:lnTo>
                        <a:pt x="45"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4" name="Freeform 42">
                  <a:extLst>
                    <a:ext uri="{FF2B5EF4-FFF2-40B4-BE49-F238E27FC236}">
                      <a16:creationId xmlns:a16="http://schemas.microsoft.com/office/drawing/2014/main" id="{A46CA931-F89B-4C8D-9BB9-68C54F4979DE}"/>
                    </a:ext>
                  </a:extLst>
                </p:cNvPr>
                <p:cNvSpPr>
                  <a:spLocks/>
                </p:cNvSpPr>
                <p:nvPr/>
              </p:nvSpPr>
              <p:spPr bwMode="auto">
                <a:xfrm>
                  <a:off x="2042597" y="3838016"/>
                  <a:ext cx="35289" cy="21480"/>
                </a:xfrm>
                <a:custGeom>
                  <a:avLst/>
                  <a:gdLst>
                    <a:gd name="T0" fmla="*/ 46 w 46"/>
                    <a:gd name="T1" fmla="*/ 28 h 28"/>
                    <a:gd name="T2" fmla="*/ 39 w 46"/>
                    <a:gd name="T3" fmla="*/ 0 h 28"/>
                    <a:gd name="T4" fmla="*/ 0 w 46"/>
                    <a:gd name="T5" fmla="*/ 0 h 28"/>
                    <a:gd name="T6" fmla="*/ 7 w 46"/>
                    <a:gd name="T7" fmla="*/ 28 h 28"/>
                    <a:gd name="T8" fmla="*/ 46 w 46"/>
                    <a:gd name="T9" fmla="*/ 28 h 28"/>
                  </a:gdLst>
                  <a:ahLst/>
                  <a:cxnLst>
                    <a:cxn ang="0">
                      <a:pos x="T0" y="T1"/>
                    </a:cxn>
                    <a:cxn ang="0">
                      <a:pos x="T2" y="T3"/>
                    </a:cxn>
                    <a:cxn ang="0">
                      <a:pos x="T4" y="T5"/>
                    </a:cxn>
                    <a:cxn ang="0">
                      <a:pos x="T6" y="T7"/>
                    </a:cxn>
                    <a:cxn ang="0">
                      <a:pos x="T8" y="T9"/>
                    </a:cxn>
                  </a:cxnLst>
                  <a:rect l="0" t="0" r="r" b="b"/>
                  <a:pathLst>
                    <a:path w="46" h="28">
                      <a:moveTo>
                        <a:pt x="46" y="28"/>
                      </a:moveTo>
                      <a:lnTo>
                        <a:pt x="39" y="0"/>
                      </a:lnTo>
                      <a:lnTo>
                        <a:pt x="0" y="0"/>
                      </a:lnTo>
                      <a:lnTo>
                        <a:pt x="7" y="28"/>
                      </a:lnTo>
                      <a:lnTo>
                        <a:pt x="46"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5" name="Freeform 43">
                  <a:extLst>
                    <a:ext uri="{FF2B5EF4-FFF2-40B4-BE49-F238E27FC236}">
                      <a16:creationId xmlns:a16="http://schemas.microsoft.com/office/drawing/2014/main" id="{7BA34D96-75E2-49FC-8CAE-9345BE9CEE65}"/>
                    </a:ext>
                  </a:extLst>
                </p:cNvPr>
                <p:cNvSpPr>
                  <a:spLocks/>
                </p:cNvSpPr>
                <p:nvPr/>
              </p:nvSpPr>
              <p:spPr bwMode="auto">
                <a:xfrm>
                  <a:off x="1975088" y="3838016"/>
                  <a:ext cx="32987" cy="21480"/>
                </a:xfrm>
                <a:custGeom>
                  <a:avLst/>
                  <a:gdLst>
                    <a:gd name="T0" fmla="*/ 0 w 43"/>
                    <a:gd name="T1" fmla="*/ 0 h 28"/>
                    <a:gd name="T2" fmla="*/ 3 w 43"/>
                    <a:gd name="T3" fmla="*/ 28 h 28"/>
                    <a:gd name="T4" fmla="*/ 43 w 43"/>
                    <a:gd name="T5" fmla="*/ 28 h 28"/>
                    <a:gd name="T6" fmla="*/ 39 w 43"/>
                    <a:gd name="T7" fmla="*/ 0 h 28"/>
                    <a:gd name="T8" fmla="*/ 0 w 43"/>
                    <a:gd name="T9" fmla="*/ 0 h 28"/>
                  </a:gdLst>
                  <a:ahLst/>
                  <a:cxnLst>
                    <a:cxn ang="0">
                      <a:pos x="T0" y="T1"/>
                    </a:cxn>
                    <a:cxn ang="0">
                      <a:pos x="T2" y="T3"/>
                    </a:cxn>
                    <a:cxn ang="0">
                      <a:pos x="T4" y="T5"/>
                    </a:cxn>
                    <a:cxn ang="0">
                      <a:pos x="T6" y="T7"/>
                    </a:cxn>
                    <a:cxn ang="0">
                      <a:pos x="T8" y="T9"/>
                    </a:cxn>
                  </a:cxnLst>
                  <a:rect l="0" t="0" r="r" b="b"/>
                  <a:pathLst>
                    <a:path w="43" h="28">
                      <a:moveTo>
                        <a:pt x="0" y="0"/>
                      </a:moveTo>
                      <a:lnTo>
                        <a:pt x="3" y="28"/>
                      </a:lnTo>
                      <a:lnTo>
                        <a:pt x="43" y="28"/>
                      </a:lnTo>
                      <a:lnTo>
                        <a:pt x="39"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6" name="Freeform 44">
                  <a:extLst>
                    <a:ext uri="{FF2B5EF4-FFF2-40B4-BE49-F238E27FC236}">
                      <a16:creationId xmlns:a16="http://schemas.microsoft.com/office/drawing/2014/main" id="{E9EA3D39-D185-449F-8153-5F073C00C2D9}"/>
                    </a:ext>
                  </a:extLst>
                </p:cNvPr>
                <p:cNvSpPr>
                  <a:spLocks/>
                </p:cNvSpPr>
                <p:nvPr/>
              </p:nvSpPr>
              <p:spPr bwMode="auto">
                <a:xfrm>
                  <a:off x="2037226" y="3813467"/>
                  <a:ext cx="34521" cy="19946"/>
                </a:xfrm>
                <a:custGeom>
                  <a:avLst/>
                  <a:gdLst>
                    <a:gd name="T0" fmla="*/ 6 w 45"/>
                    <a:gd name="T1" fmla="*/ 26 h 26"/>
                    <a:gd name="T2" fmla="*/ 45 w 45"/>
                    <a:gd name="T3" fmla="*/ 26 h 26"/>
                    <a:gd name="T4" fmla="*/ 37 w 45"/>
                    <a:gd name="T5" fmla="*/ 0 h 26"/>
                    <a:gd name="T6" fmla="*/ 0 w 45"/>
                    <a:gd name="T7" fmla="*/ 0 h 26"/>
                    <a:gd name="T8" fmla="*/ 6 w 45"/>
                    <a:gd name="T9" fmla="*/ 26 h 26"/>
                  </a:gdLst>
                  <a:ahLst/>
                  <a:cxnLst>
                    <a:cxn ang="0">
                      <a:pos x="T0" y="T1"/>
                    </a:cxn>
                    <a:cxn ang="0">
                      <a:pos x="T2" y="T3"/>
                    </a:cxn>
                    <a:cxn ang="0">
                      <a:pos x="T4" y="T5"/>
                    </a:cxn>
                    <a:cxn ang="0">
                      <a:pos x="T6" y="T7"/>
                    </a:cxn>
                    <a:cxn ang="0">
                      <a:pos x="T8" y="T9"/>
                    </a:cxn>
                  </a:cxnLst>
                  <a:rect l="0" t="0" r="r" b="b"/>
                  <a:pathLst>
                    <a:path w="45" h="26">
                      <a:moveTo>
                        <a:pt x="6" y="26"/>
                      </a:moveTo>
                      <a:lnTo>
                        <a:pt x="45"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7" name="Freeform 45">
                  <a:extLst>
                    <a:ext uri="{FF2B5EF4-FFF2-40B4-BE49-F238E27FC236}">
                      <a16:creationId xmlns:a16="http://schemas.microsoft.com/office/drawing/2014/main" id="{27640C54-5056-4327-B63A-D0BE91A9CB6B}"/>
                    </a:ext>
                  </a:extLst>
                </p:cNvPr>
                <p:cNvSpPr>
                  <a:spLocks/>
                </p:cNvSpPr>
                <p:nvPr/>
              </p:nvSpPr>
              <p:spPr bwMode="auto">
                <a:xfrm>
                  <a:off x="1972019" y="3813467"/>
                  <a:ext cx="32220" cy="19946"/>
                </a:xfrm>
                <a:custGeom>
                  <a:avLst/>
                  <a:gdLst>
                    <a:gd name="T0" fmla="*/ 3 w 42"/>
                    <a:gd name="T1" fmla="*/ 26 h 26"/>
                    <a:gd name="T2" fmla="*/ 42 w 42"/>
                    <a:gd name="T3" fmla="*/ 26 h 26"/>
                    <a:gd name="T4" fmla="*/ 37 w 42"/>
                    <a:gd name="T5" fmla="*/ 0 h 26"/>
                    <a:gd name="T6" fmla="*/ 0 w 42"/>
                    <a:gd name="T7" fmla="*/ 0 h 26"/>
                    <a:gd name="T8" fmla="*/ 3 w 42"/>
                    <a:gd name="T9" fmla="*/ 26 h 26"/>
                  </a:gdLst>
                  <a:ahLst/>
                  <a:cxnLst>
                    <a:cxn ang="0">
                      <a:pos x="T0" y="T1"/>
                    </a:cxn>
                    <a:cxn ang="0">
                      <a:pos x="T2" y="T3"/>
                    </a:cxn>
                    <a:cxn ang="0">
                      <a:pos x="T4" y="T5"/>
                    </a:cxn>
                    <a:cxn ang="0">
                      <a:pos x="T6" y="T7"/>
                    </a:cxn>
                    <a:cxn ang="0">
                      <a:pos x="T8" y="T9"/>
                    </a:cxn>
                  </a:cxnLst>
                  <a:rect l="0" t="0" r="r" b="b"/>
                  <a:pathLst>
                    <a:path w="42" h="26">
                      <a:moveTo>
                        <a:pt x="3" y="26"/>
                      </a:moveTo>
                      <a:lnTo>
                        <a:pt x="42" y="26"/>
                      </a:lnTo>
                      <a:lnTo>
                        <a:pt x="37"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8" name="Freeform 46">
                  <a:extLst>
                    <a:ext uri="{FF2B5EF4-FFF2-40B4-BE49-F238E27FC236}">
                      <a16:creationId xmlns:a16="http://schemas.microsoft.com/office/drawing/2014/main" id="{E8278D8D-C814-4FA0-B999-9E3487F998E9}"/>
                    </a:ext>
                  </a:extLst>
                </p:cNvPr>
                <p:cNvSpPr>
                  <a:spLocks/>
                </p:cNvSpPr>
                <p:nvPr/>
              </p:nvSpPr>
              <p:spPr bwMode="auto">
                <a:xfrm>
                  <a:off x="1939032" y="3813467"/>
                  <a:ext cx="31453" cy="19946"/>
                </a:xfrm>
                <a:custGeom>
                  <a:avLst/>
                  <a:gdLst>
                    <a:gd name="T0" fmla="*/ 3 w 41"/>
                    <a:gd name="T1" fmla="*/ 26 h 26"/>
                    <a:gd name="T2" fmla="*/ 41 w 41"/>
                    <a:gd name="T3" fmla="*/ 26 h 26"/>
                    <a:gd name="T4" fmla="*/ 38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9" name="Freeform 47">
                  <a:extLst>
                    <a:ext uri="{FF2B5EF4-FFF2-40B4-BE49-F238E27FC236}">
                      <a16:creationId xmlns:a16="http://schemas.microsoft.com/office/drawing/2014/main" id="{E54B4027-BA0D-4E66-BDB6-83FCE48B2389}"/>
                    </a:ext>
                  </a:extLst>
                </p:cNvPr>
                <p:cNvSpPr>
                  <a:spLocks/>
                </p:cNvSpPr>
                <p:nvPr/>
              </p:nvSpPr>
              <p:spPr bwMode="auto">
                <a:xfrm>
                  <a:off x="1941333" y="3838016"/>
                  <a:ext cx="32220" cy="21480"/>
                </a:xfrm>
                <a:custGeom>
                  <a:avLst/>
                  <a:gdLst>
                    <a:gd name="T0" fmla="*/ 2 w 42"/>
                    <a:gd name="T1" fmla="*/ 28 h 28"/>
                    <a:gd name="T2" fmla="*/ 42 w 42"/>
                    <a:gd name="T3" fmla="*/ 28 h 28"/>
                    <a:gd name="T4" fmla="*/ 39 w 42"/>
                    <a:gd name="T5" fmla="*/ 0 h 28"/>
                    <a:gd name="T6" fmla="*/ 0 w 42"/>
                    <a:gd name="T7" fmla="*/ 0 h 28"/>
                    <a:gd name="T8" fmla="*/ 2 w 42"/>
                    <a:gd name="T9" fmla="*/ 28 h 28"/>
                  </a:gdLst>
                  <a:ahLst/>
                  <a:cxnLst>
                    <a:cxn ang="0">
                      <a:pos x="T0" y="T1"/>
                    </a:cxn>
                    <a:cxn ang="0">
                      <a:pos x="T2" y="T3"/>
                    </a:cxn>
                    <a:cxn ang="0">
                      <a:pos x="T4" y="T5"/>
                    </a:cxn>
                    <a:cxn ang="0">
                      <a:pos x="T6" y="T7"/>
                    </a:cxn>
                    <a:cxn ang="0">
                      <a:pos x="T8" y="T9"/>
                    </a:cxn>
                  </a:cxnLst>
                  <a:rect l="0" t="0" r="r" b="b"/>
                  <a:pathLst>
                    <a:path w="42" h="28">
                      <a:moveTo>
                        <a:pt x="2" y="28"/>
                      </a:moveTo>
                      <a:lnTo>
                        <a:pt x="42" y="28"/>
                      </a:lnTo>
                      <a:lnTo>
                        <a:pt x="39"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0" name="Freeform 48">
                  <a:extLst>
                    <a:ext uri="{FF2B5EF4-FFF2-40B4-BE49-F238E27FC236}">
                      <a16:creationId xmlns:a16="http://schemas.microsoft.com/office/drawing/2014/main" id="{EFF8AC32-21A1-480C-ACE1-282B8B6D9636}"/>
                    </a:ext>
                  </a:extLst>
                </p:cNvPr>
                <p:cNvSpPr>
                  <a:spLocks/>
                </p:cNvSpPr>
                <p:nvPr/>
              </p:nvSpPr>
              <p:spPr bwMode="auto">
                <a:xfrm>
                  <a:off x="1907579" y="3838016"/>
                  <a:ext cx="31453" cy="21480"/>
                </a:xfrm>
                <a:custGeom>
                  <a:avLst/>
                  <a:gdLst>
                    <a:gd name="T0" fmla="*/ 1 w 41"/>
                    <a:gd name="T1" fmla="*/ 28 h 28"/>
                    <a:gd name="T2" fmla="*/ 41 w 41"/>
                    <a:gd name="T3" fmla="*/ 28 h 28"/>
                    <a:gd name="T4" fmla="*/ 38 w 41"/>
                    <a:gd name="T5" fmla="*/ 0 h 28"/>
                    <a:gd name="T6" fmla="*/ 0 w 41"/>
                    <a:gd name="T7" fmla="*/ 0 h 28"/>
                    <a:gd name="T8" fmla="*/ 1 w 41"/>
                    <a:gd name="T9" fmla="*/ 28 h 28"/>
                  </a:gdLst>
                  <a:ahLst/>
                  <a:cxnLst>
                    <a:cxn ang="0">
                      <a:pos x="T0" y="T1"/>
                    </a:cxn>
                    <a:cxn ang="0">
                      <a:pos x="T2" y="T3"/>
                    </a:cxn>
                    <a:cxn ang="0">
                      <a:pos x="T4" y="T5"/>
                    </a:cxn>
                    <a:cxn ang="0">
                      <a:pos x="T6" y="T7"/>
                    </a:cxn>
                    <a:cxn ang="0">
                      <a:pos x="T8" y="T9"/>
                    </a:cxn>
                  </a:cxnLst>
                  <a:rect l="0" t="0" r="r" b="b"/>
                  <a:pathLst>
                    <a:path w="41" h="28">
                      <a:moveTo>
                        <a:pt x="1" y="28"/>
                      </a:moveTo>
                      <a:lnTo>
                        <a:pt x="41" y="28"/>
                      </a:lnTo>
                      <a:lnTo>
                        <a:pt x="38" y="0"/>
                      </a:lnTo>
                      <a:lnTo>
                        <a:pt x="0" y="0"/>
                      </a:lnTo>
                      <a:lnTo>
                        <a:pt x="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1" name="Freeform 49">
                  <a:extLst>
                    <a:ext uri="{FF2B5EF4-FFF2-40B4-BE49-F238E27FC236}">
                      <a16:creationId xmlns:a16="http://schemas.microsoft.com/office/drawing/2014/main" id="{120BB4FA-FB23-4CD4-9A13-97A91E693C7E}"/>
                    </a:ext>
                  </a:extLst>
                </p:cNvPr>
                <p:cNvSpPr>
                  <a:spLocks/>
                </p:cNvSpPr>
                <p:nvPr/>
              </p:nvSpPr>
              <p:spPr bwMode="auto">
                <a:xfrm>
                  <a:off x="2005006" y="3813467"/>
                  <a:ext cx="32987" cy="19946"/>
                </a:xfrm>
                <a:custGeom>
                  <a:avLst/>
                  <a:gdLst>
                    <a:gd name="T0" fmla="*/ 4 w 43"/>
                    <a:gd name="T1" fmla="*/ 26 h 26"/>
                    <a:gd name="T2" fmla="*/ 43 w 43"/>
                    <a:gd name="T3" fmla="*/ 26 h 26"/>
                    <a:gd name="T4" fmla="*/ 37 w 43"/>
                    <a:gd name="T5" fmla="*/ 0 h 26"/>
                    <a:gd name="T6" fmla="*/ 0 w 43"/>
                    <a:gd name="T7" fmla="*/ 0 h 26"/>
                    <a:gd name="T8" fmla="*/ 4 w 43"/>
                    <a:gd name="T9" fmla="*/ 26 h 26"/>
                  </a:gdLst>
                  <a:ahLst/>
                  <a:cxnLst>
                    <a:cxn ang="0">
                      <a:pos x="T0" y="T1"/>
                    </a:cxn>
                    <a:cxn ang="0">
                      <a:pos x="T2" y="T3"/>
                    </a:cxn>
                    <a:cxn ang="0">
                      <a:pos x="T4" y="T5"/>
                    </a:cxn>
                    <a:cxn ang="0">
                      <a:pos x="T6" y="T7"/>
                    </a:cxn>
                    <a:cxn ang="0">
                      <a:pos x="T8" y="T9"/>
                    </a:cxn>
                  </a:cxnLst>
                  <a:rect l="0" t="0" r="r" b="b"/>
                  <a:pathLst>
                    <a:path w="43" h="26">
                      <a:moveTo>
                        <a:pt x="4" y="26"/>
                      </a:moveTo>
                      <a:lnTo>
                        <a:pt x="43" y="26"/>
                      </a:lnTo>
                      <a:lnTo>
                        <a:pt x="37" y="0"/>
                      </a:lnTo>
                      <a:lnTo>
                        <a:pt x="0" y="0"/>
                      </a:lnTo>
                      <a:lnTo>
                        <a:pt x="4"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2" name="Freeform 50">
                  <a:extLst>
                    <a:ext uri="{FF2B5EF4-FFF2-40B4-BE49-F238E27FC236}">
                      <a16:creationId xmlns:a16="http://schemas.microsoft.com/office/drawing/2014/main" id="{68F0893E-43F5-40C7-8C79-79A15F992AD3}"/>
                    </a:ext>
                  </a:extLst>
                </p:cNvPr>
                <p:cNvSpPr>
                  <a:spLocks/>
                </p:cNvSpPr>
                <p:nvPr/>
              </p:nvSpPr>
              <p:spPr bwMode="auto">
                <a:xfrm>
                  <a:off x="2135421" y="3813467"/>
                  <a:ext cx="37590" cy="19946"/>
                </a:xfrm>
                <a:custGeom>
                  <a:avLst/>
                  <a:gdLst>
                    <a:gd name="T0" fmla="*/ 10 w 49"/>
                    <a:gd name="T1" fmla="*/ 26 h 26"/>
                    <a:gd name="T2" fmla="*/ 49 w 49"/>
                    <a:gd name="T3" fmla="*/ 26 h 26"/>
                    <a:gd name="T4" fmla="*/ 39 w 49"/>
                    <a:gd name="T5" fmla="*/ 0 h 26"/>
                    <a:gd name="T6" fmla="*/ 0 w 49"/>
                    <a:gd name="T7" fmla="*/ 0 h 26"/>
                    <a:gd name="T8" fmla="*/ 10 w 49"/>
                    <a:gd name="T9" fmla="*/ 26 h 26"/>
                  </a:gdLst>
                  <a:ahLst/>
                  <a:cxnLst>
                    <a:cxn ang="0">
                      <a:pos x="T0" y="T1"/>
                    </a:cxn>
                    <a:cxn ang="0">
                      <a:pos x="T2" y="T3"/>
                    </a:cxn>
                    <a:cxn ang="0">
                      <a:pos x="T4" y="T5"/>
                    </a:cxn>
                    <a:cxn ang="0">
                      <a:pos x="T6" y="T7"/>
                    </a:cxn>
                    <a:cxn ang="0">
                      <a:pos x="T8" y="T9"/>
                    </a:cxn>
                  </a:cxnLst>
                  <a:rect l="0" t="0" r="r" b="b"/>
                  <a:pathLst>
                    <a:path w="49" h="26">
                      <a:moveTo>
                        <a:pt x="10" y="26"/>
                      </a:moveTo>
                      <a:lnTo>
                        <a:pt x="49" y="26"/>
                      </a:lnTo>
                      <a:lnTo>
                        <a:pt x="39" y="0"/>
                      </a:lnTo>
                      <a:lnTo>
                        <a:pt x="0" y="0"/>
                      </a:lnTo>
                      <a:lnTo>
                        <a:pt x="1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3" name="Freeform 51">
                  <a:extLst>
                    <a:ext uri="{FF2B5EF4-FFF2-40B4-BE49-F238E27FC236}">
                      <a16:creationId xmlns:a16="http://schemas.microsoft.com/office/drawing/2014/main" id="{730B0D5C-DE13-4A52-BC92-EA18DEF65D88}"/>
                    </a:ext>
                  </a:extLst>
                </p:cNvPr>
                <p:cNvSpPr>
                  <a:spLocks/>
                </p:cNvSpPr>
                <p:nvPr/>
              </p:nvSpPr>
              <p:spPr bwMode="auto">
                <a:xfrm>
                  <a:off x="1803247" y="3864099"/>
                  <a:ext cx="65975" cy="21480"/>
                </a:xfrm>
                <a:custGeom>
                  <a:avLst/>
                  <a:gdLst>
                    <a:gd name="T0" fmla="*/ 86 w 86"/>
                    <a:gd name="T1" fmla="*/ 0 h 28"/>
                    <a:gd name="T2" fmla="*/ 1 w 86"/>
                    <a:gd name="T3" fmla="*/ 0 h 28"/>
                    <a:gd name="T4" fmla="*/ 0 w 86"/>
                    <a:gd name="T5" fmla="*/ 28 h 28"/>
                    <a:gd name="T6" fmla="*/ 86 w 86"/>
                    <a:gd name="T7" fmla="*/ 28 h 28"/>
                    <a:gd name="T8" fmla="*/ 86 w 86"/>
                    <a:gd name="T9" fmla="*/ 0 h 28"/>
                  </a:gdLst>
                  <a:ahLst/>
                  <a:cxnLst>
                    <a:cxn ang="0">
                      <a:pos x="T0" y="T1"/>
                    </a:cxn>
                    <a:cxn ang="0">
                      <a:pos x="T2" y="T3"/>
                    </a:cxn>
                    <a:cxn ang="0">
                      <a:pos x="T4" y="T5"/>
                    </a:cxn>
                    <a:cxn ang="0">
                      <a:pos x="T6" y="T7"/>
                    </a:cxn>
                    <a:cxn ang="0">
                      <a:pos x="T8" y="T9"/>
                    </a:cxn>
                  </a:cxnLst>
                  <a:rect l="0" t="0" r="r" b="b"/>
                  <a:pathLst>
                    <a:path w="86" h="28">
                      <a:moveTo>
                        <a:pt x="86" y="0"/>
                      </a:moveTo>
                      <a:lnTo>
                        <a:pt x="1" y="0"/>
                      </a:lnTo>
                      <a:lnTo>
                        <a:pt x="0" y="28"/>
                      </a:lnTo>
                      <a:lnTo>
                        <a:pt x="86" y="28"/>
                      </a:lnTo>
                      <a:lnTo>
                        <a:pt x="8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4" name="Freeform 52">
                  <a:extLst>
                    <a:ext uri="{FF2B5EF4-FFF2-40B4-BE49-F238E27FC236}">
                      <a16:creationId xmlns:a16="http://schemas.microsoft.com/office/drawing/2014/main" id="{CABD67EC-2740-41D2-AF2D-D6156BE47C22}"/>
                    </a:ext>
                  </a:extLst>
                </p:cNvPr>
                <p:cNvSpPr>
                  <a:spLocks/>
                </p:cNvSpPr>
                <p:nvPr/>
              </p:nvSpPr>
              <p:spPr bwMode="auto">
                <a:xfrm>
                  <a:off x="1943634"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5" name="Freeform 53">
                  <a:extLst>
                    <a:ext uri="{FF2B5EF4-FFF2-40B4-BE49-F238E27FC236}">
                      <a16:creationId xmlns:a16="http://schemas.microsoft.com/office/drawing/2014/main" id="{B73334F8-C6DA-42CB-A2F3-383B7A7C8A8E}"/>
                    </a:ext>
                  </a:extLst>
                </p:cNvPr>
                <p:cNvSpPr>
                  <a:spLocks/>
                </p:cNvSpPr>
                <p:nvPr/>
              </p:nvSpPr>
              <p:spPr bwMode="auto">
                <a:xfrm>
                  <a:off x="2013445" y="3864099"/>
                  <a:ext cx="36056" cy="21480"/>
                </a:xfrm>
                <a:custGeom>
                  <a:avLst/>
                  <a:gdLst>
                    <a:gd name="T0" fmla="*/ 40 w 47"/>
                    <a:gd name="T1" fmla="*/ 0 h 28"/>
                    <a:gd name="T2" fmla="*/ 0 w 47"/>
                    <a:gd name="T3" fmla="*/ 0 h 28"/>
                    <a:gd name="T4" fmla="*/ 5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5"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6" name="Freeform 54">
                  <a:extLst>
                    <a:ext uri="{FF2B5EF4-FFF2-40B4-BE49-F238E27FC236}">
                      <a16:creationId xmlns:a16="http://schemas.microsoft.com/office/drawing/2014/main" id="{251ADD26-3FDB-403C-86D1-3BB5365A039D}"/>
                    </a:ext>
                  </a:extLst>
                </p:cNvPr>
                <p:cNvSpPr>
                  <a:spLocks/>
                </p:cNvSpPr>
                <p:nvPr/>
              </p:nvSpPr>
              <p:spPr bwMode="auto">
                <a:xfrm>
                  <a:off x="1873824" y="3864099"/>
                  <a:ext cx="31453" cy="21480"/>
                </a:xfrm>
                <a:custGeom>
                  <a:avLst/>
                  <a:gdLst>
                    <a:gd name="T0" fmla="*/ 40 w 41"/>
                    <a:gd name="T1" fmla="*/ 0 h 28"/>
                    <a:gd name="T2" fmla="*/ 0 w 41"/>
                    <a:gd name="T3" fmla="*/ 0 h 28"/>
                    <a:gd name="T4" fmla="*/ 0 w 41"/>
                    <a:gd name="T5" fmla="*/ 28 h 28"/>
                    <a:gd name="T6" fmla="*/ 41 w 41"/>
                    <a:gd name="T7" fmla="*/ 28 h 28"/>
                    <a:gd name="T8" fmla="*/ 40 w 41"/>
                    <a:gd name="T9" fmla="*/ 0 h 28"/>
                  </a:gdLst>
                  <a:ahLst/>
                  <a:cxnLst>
                    <a:cxn ang="0">
                      <a:pos x="T0" y="T1"/>
                    </a:cxn>
                    <a:cxn ang="0">
                      <a:pos x="T2" y="T3"/>
                    </a:cxn>
                    <a:cxn ang="0">
                      <a:pos x="T4" y="T5"/>
                    </a:cxn>
                    <a:cxn ang="0">
                      <a:pos x="T6" y="T7"/>
                    </a:cxn>
                    <a:cxn ang="0">
                      <a:pos x="T8" y="T9"/>
                    </a:cxn>
                  </a:cxnLst>
                  <a:rect l="0" t="0" r="r" b="b"/>
                  <a:pathLst>
                    <a:path w="41" h="28">
                      <a:moveTo>
                        <a:pt x="40" y="0"/>
                      </a:moveTo>
                      <a:lnTo>
                        <a:pt x="0" y="0"/>
                      </a:lnTo>
                      <a:lnTo>
                        <a:pt x="0" y="28"/>
                      </a:lnTo>
                      <a:lnTo>
                        <a:pt x="41"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7" name="Freeform 55">
                  <a:extLst>
                    <a:ext uri="{FF2B5EF4-FFF2-40B4-BE49-F238E27FC236}">
                      <a16:creationId xmlns:a16="http://schemas.microsoft.com/office/drawing/2014/main" id="{00117FD7-09CA-472B-859D-CF9F39DD4AC1}"/>
                    </a:ext>
                  </a:extLst>
                </p:cNvPr>
                <p:cNvSpPr>
                  <a:spLocks/>
                </p:cNvSpPr>
                <p:nvPr/>
              </p:nvSpPr>
              <p:spPr bwMode="auto">
                <a:xfrm>
                  <a:off x="1908346" y="3864099"/>
                  <a:ext cx="32987" cy="21480"/>
                </a:xfrm>
                <a:custGeom>
                  <a:avLst/>
                  <a:gdLst>
                    <a:gd name="T0" fmla="*/ 41 w 43"/>
                    <a:gd name="T1" fmla="*/ 0 h 28"/>
                    <a:gd name="T2" fmla="*/ 0 w 43"/>
                    <a:gd name="T3" fmla="*/ 0 h 28"/>
                    <a:gd name="T4" fmla="*/ 1 w 43"/>
                    <a:gd name="T5" fmla="*/ 28 h 28"/>
                    <a:gd name="T6" fmla="*/ 43 w 43"/>
                    <a:gd name="T7" fmla="*/ 28 h 28"/>
                    <a:gd name="T8" fmla="*/ 41 w 43"/>
                    <a:gd name="T9" fmla="*/ 0 h 28"/>
                  </a:gdLst>
                  <a:ahLst/>
                  <a:cxnLst>
                    <a:cxn ang="0">
                      <a:pos x="T0" y="T1"/>
                    </a:cxn>
                    <a:cxn ang="0">
                      <a:pos x="T2" y="T3"/>
                    </a:cxn>
                    <a:cxn ang="0">
                      <a:pos x="T4" y="T5"/>
                    </a:cxn>
                    <a:cxn ang="0">
                      <a:pos x="T6" y="T7"/>
                    </a:cxn>
                    <a:cxn ang="0">
                      <a:pos x="T8" y="T9"/>
                    </a:cxn>
                  </a:cxnLst>
                  <a:rect l="0" t="0" r="r" b="b"/>
                  <a:pathLst>
                    <a:path w="43" h="28">
                      <a:moveTo>
                        <a:pt x="41" y="0"/>
                      </a:moveTo>
                      <a:lnTo>
                        <a:pt x="0" y="0"/>
                      </a:lnTo>
                      <a:lnTo>
                        <a:pt x="1" y="28"/>
                      </a:lnTo>
                      <a:lnTo>
                        <a:pt x="43" y="28"/>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76" name="Freeform 56">
                  <a:extLst>
                    <a:ext uri="{FF2B5EF4-FFF2-40B4-BE49-F238E27FC236}">
                      <a16:creationId xmlns:a16="http://schemas.microsoft.com/office/drawing/2014/main" id="{76F40D91-EEDF-4F03-A8A2-288D2B18F73F}"/>
                    </a:ext>
                  </a:extLst>
                </p:cNvPr>
                <p:cNvSpPr>
                  <a:spLocks/>
                </p:cNvSpPr>
                <p:nvPr/>
              </p:nvSpPr>
              <p:spPr bwMode="auto">
                <a:xfrm>
                  <a:off x="2048734" y="3864099"/>
                  <a:ext cx="36056" cy="21480"/>
                </a:xfrm>
                <a:custGeom>
                  <a:avLst/>
                  <a:gdLst>
                    <a:gd name="T0" fmla="*/ 40 w 47"/>
                    <a:gd name="T1" fmla="*/ 0 h 28"/>
                    <a:gd name="T2" fmla="*/ 0 w 47"/>
                    <a:gd name="T3" fmla="*/ 0 h 28"/>
                    <a:gd name="T4" fmla="*/ 6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6"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77" name="Freeform 57">
                  <a:extLst>
                    <a:ext uri="{FF2B5EF4-FFF2-40B4-BE49-F238E27FC236}">
                      <a16:creationId xmlns:a16="http://schemas.microsoft.com/office/drawing/2014/main" id="{F98CDEF4-934D-493F-B850-8439FDD33B81}"/>
                    </a:ext>
                  </a:extLst>
                </p:cNvPr>
                <p:cNvSpPr>
                  <a:spLocks/>
                </p:cNvSpPr>
                <p:nvPr/>
              </p:nvSpPr>
              <p:spPr bwMode="auto">
                <a:xfrm>
                  <a:off x="1978923"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78" name="Freeform 58">
                  <a:extLst>
                    <a:ext uri="{FF2B5EF4-FFF2-40B4-BE49-F238E27FC236}">
                      <a16:creationId xmlns:a16="http://schemas.microsoft.com/office/drawing/2014/main" id="{6F11D96C-A803-4AAB-AAC5-1FB77234CF14}"/>
                    </a:ext>
                  </a:extLst>
                </p:cNvPr>
                <p:cNvSpPr>
                  <a:spLocks/>
                </p:cNvSpPr>
                <p:nvPr/>
              </p:nvSpPr>
              <p:spPr bwMode="auto">
                <a:xfrm>
                  <a:off x="1510197" y="3864099"/>
                  <a:ext cx="45261" cy="21480"/>
                </a:xfrm>
                <a:custGeom>
                  <a:avLst/>
                  <a:gdLst>
                    <a:gd name="T0" fmla="*/ 59 w 59"/>
                    <a:gd name="T1" fmla="*/ 0 h 28"/>
                    <a:gd name="T2" fmla="*/ 12 w 59"/>
                    <a:gd name="T3" fmla="*/ 0 h 28"/>
                    <a:gd name="T4" fmla="*/ 0 w 59"/>
                    <a:gd name="T5" fmla="*/ 28 h 28"/>
                    <a:gd name="T6" fmla="*/ 49 w 59"/>
                    <a:gd name="T7" fmla="*/ 28 h 28"/>
                    <a:gd name="T8" fmla="*/ 59 w 59"/>
                    <a:gd name="T9" fmla="*/ 0 h 28"/>
                  </a:gdLst>
                  <a:ahLst/>
                  <a:cxnLst>
                    <a:cxn ang="0">
                      <a:pos x="T0" y="T1"/>
                    </a:cxn>
                    <a:cxn ang="0">
                      <a:pos x="T2" y="T3"/>
                    </a:cxn>
                    <a:cxn ang="0">
                      <a:pos x="T4" y="T5"/>
                    </a:cxn>
                    <a:cxn ang="0">
                      <a:pos x="T6" y="T7"/>
                    </a:cxn>
                    <a:cxn ang="0">
                      <a:pos x="T8" y="T9"/>
                    </a:cxn>
                  </a:cxnLst>
                  <a:rect l="0" t="0" r="r" b="b"/>
                  <a:pathLst>
                    <a:path w="59" h="28">
                      <a:moveTo>
                        <a:pt x="59" y="0"/>
                      </a:moveTo>
                      <a:lnTo>
                        <a:pt x="12" y="0"/>
                      </a:lnTo>
                      <a:lnTo>
                        <a:pt x="0" y="28"/>
                      </a:lnTo>
                      <a:lnTo>
                        <a:pt x="49" y="28"/>
                      </a:lnTo>
                      <a:lnTo>
                        <a:pt x="5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79" name="Freeform 59">
                  <a:extLst>
                    <a:ext uri="{FF2B5EF4-FFF2-40B4-BE49-F238E27FC236}">
                      <a16:creationId xmlns:a16="http://schemas.microsoft.com/office/drawing/2014/main" id="{380D06C8-B886-4536-B497-F97AAFCFA828}"/>
                    </a:ext>
                  </a:extLst>
                </p:cNvPr>
                <p:cNvSpPr>
                  <a:spLocks/>
                </p:cNvSpPr>
                <p:nvPr/>
              </p:nvSpPr>
              <p:spPr bwMode="auto">
                <a:xfrm>
                  <a:off x="2083255" y="3864099"/>
                  <a:ext cx="37590" cy="21480"/>
                </a:xfrm>
                <a:custGeom>
                  <a:avLst/>
                  <a:gdLst>
                    <a:gd name="T0" fmla="*/ 40 w 49"/>
                    <a:gd name="T1" fmla="*/ 0 h 28"/>
                    <a:gd name="T2" fmla="*/ 0 w 49"/>
                    <a:gd name="T3" fmla="*/ 0 h 28"/>
                    <a:gd name="T4" fmla="*/ 8 w 49"/>
                    <a:gd name="T5" fmla="*/ 28 h 28"/>
                    <a:gd name="T6" fmla="*/ 49 w 49"/>
                    <a:gd name="T7" fmla="*/ 28 h 28"/>
                    <a:gd name="T8" fmla="*/ 40 w 49"/>
                    <a:gd name="T9" fmla="*/ 0 h 28"/>
                  </a:gdLst>
                  <a:ahLst/>
                  <a:cxnLst>
                    <a:cxn ang="0">
                      <a:pos x="T0" y="T1"/>
                    </a:cxn>
                    <a:cxn ang="0">
                      <a:pos x="T2" y="T3"/>
                    </a:cxn>
                    <a:cxn ang="0">
                      <a:pos x="T4" y="T5"/>
                    </a:cxn>
                    <a:cxn ang="0">
                      <a:pos x="T6" y="T7"/>
                    </a:cxn>
                    <a:cxn ang="0">
                      <a:pos x="T8" y="T9"/>
                    </a:cxn>
                  </a:cxnLst>
                  <a:rect l="0" t="0" r="r" b="b"/>
                  <a:pathLst>
                    <a:path w="49" h="28">
                      <a:moveTo>
                        <a:pt x="40" y="0"/>
                      </a:moveTo>
                      <a:lnTo>
                        <a:pt x="0" y="0"/>
                      </a:lnTo>
                      <a:lnTo>
                        <a:pt x="8" y="28"/>
                      </a:lnTo>
                      <a:lnTo>
                        <a:pt x="49"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0" name="Freeform 60">
                  <a:extLst>
                    <a:ext uri="{FF2B5EF4-FFF2-40B4-BE49-F238E27FC236}">
                      <a16:creationId xmlns:a16="http://schemas.microsoft.com/office/drawing/2014/main" id="{1EBE9487-5286-4162-8E3A-7C676AE6744C}"/>
                    </a:ext>
                  </a:extLst>
                </p:cNvPr>
                <p:cNvSpPr>
                  <a:spLocks/>
                </p:cNvSpPr>
                <p:nvPr/>
              </p:nvSpPr>
              <p:spPr bwMode="auto">
                <a:xfrm>
                  <a:off x="2153066" y="3864099"/>
                  <a:ext cx="40659" cy="21480"/>
                </a:xfrm>
                <a:custGeom>
                  <a:avLst/>
                  <a:gdLst>
                    <a:gd name="T0" fmla="*/ 0 w 53"/>
                    <a:gd name="T1" fmla="*/ 0 h 28"/>
                    <a:gd name="T2" fmla="*/ 11 w 53"/>
                    <a:gd name="T3" fmla="*/ 28 h 28"/>
                    <a:gd name="T4" fmla="*/ 53 w 53"/>
                    <a:gd name="T5" fmla="*/ 28 h 28"/>
                    <a:gd name="T6" fmla="*/ 41 w 53"/>
                    <a:gd name="T7" fmla="*/ 0 h 28"/>
                    <a:gd name="T8" fmla="*/ 0 w 53"/>
                    <a:gd name="T9" fmla="*/ 0 h 28"/>
                  </a:gdLst>
                  <a:ahLst/>
                  <a:cxnLst>
                    <a:cxn ang="0">
                      <a:pos x="T0" y="T1"/>
                    </a:cxn>
                    <a:cxn ang="0">
                      <a:pos x="T2" y="T3"/>
                    </a:cxn>
                    <a:cxn ang="0">
                      <a:pos x="T4" y="T5"/>
                    </a:cxn>
                    <a:cxn ang="0">
                      <a:pos x="T6" y="T7"/>
                    </a:cxn>
                    <a:cxn ang="0">
                      <a:pos x="T8" y="T9"/>
                    </a:cxn>
                  </a:cxnLst>
                  <a:rect l="0" t="0" r="r" b="b"/>
                  <a:pathLst>
                    <a:path w="53" h="28">
                      <a:moveTo>
                        <a:pt x="0" y="0"/>
                      </a:moveTo>
                      <a:lnTo>
                        <a:pt x="11" y="28"/>
                      </a:lnTo>
                      <a:lnTo>
                        <a:pt x="53" y="28"/>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1" name="Freeform 61">
                  <a:extLst>
                    <a:ext uri="{FF2B5EF4-FFF2-40B4-BE49-F238E27FC236}">
                      <a16:creationId xmlns:a16="http://schemas.microsoft.com/office/drawing/2014/main" id="{ECF9D530-5AD0-45A4-A411-2811A00CBD4A}"/>
                    </a:ext>
                  </a:extLst>
                </p:cNvPr>
                <p:cNvSpPr>
                  <a:spLocks/>
                </p:cNvSpPr>
                <p:nvPr/>
              </p:nvSpPr>
              <p:spPr bwMode="auto">
                <a:xfrm>
                  <a:off x="1535512" y="3813467"/>
                  <a:ext cx="37590" cy="19946"/>
                </a:xfrm>
                <a:custGeom>
                  <a:avLst/>
                  <a:gdLst>
                    <a:gd name="T0" fmla="*/ 40 w 49"/>
                    <a:gd name="T1" fmla="*/ 26 h 26"/>
                    <a:gd name="T2" fmla="*/ 49 w 49"/>
                    <a:gd name="T3" fmla="*/ 0 h 26"/>
                    <a:gd name="T4" fmla="*/ 10 w 49"/>
                    <a:gd name="T5" fmla="*/ 0 h 26"/>
                    <a:gd name="T6" fmla="*/ 0 w 49"/>
                    <a:gd name="T7" fmla="*/ 26 h 26"/>
                    <a:gd name="T8" fmla="*/ 40 w 49"/>
                    <a:gd name="T9" fmla="*/ 26 h 26"/>
                  </a:gdLst>
                  <a:ahLst/>
                  <a:cxnLst>
                    <a:cxn ang="0">
                      <a:pos x="T0" y="T1"/>
                    </a:cxn>
                    <a:cxn ang="0">
                      <a:pos x="T2" y="T3"/>
                    </a:cxn>
                    <a:cxn ang="0">
                      <a:pos x="T4" y="T5"/>
                    </a:cxn>
                    <a:cxn ang="0">
                      <a:pos x="T6" y="T7"/>
                    </a:cxn>
                    <a:cxn ang="0">
                      <a:pos x="T8" y="T9"/>
                    </a:cxn>
                  </a:cxnLst>
                  <a:rect l="0" t="0" r="r" b="b"/>
                  <a:pathLst>
                    <a:path w="49" h="26">
                      <a:moveTo>
                        <a:pt x="40" y="26"/>
                      </a:moveTo>
                      <a:lnTo>
                        <a:pt x="49" y="0"/>
                      </a:lnTo>
                      <a:lnTo>
                        <a:pt x="10" y="0"/>
                      </a:lnTo>
                      <a:lnTo>
                        <a:pt x="0" y="26"/>
                      </a:lnTo>
                      <a:lnTo>
                        <a:pt x="4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2" name="Freeform 62">
                  <a:extLst>
                    <a:ext uri="{FF2B5EF4-FFF2-40B4-BE49-F238E27FC236}">
                      <a16:creationId xmlns:a16="http://schemas.microsoft.com/office/drawing/2014/main" id="{90B09DFB-539A-438C-A579-0CB5466DB72D}"/>
                    </a:ext>
                  </a:extLst>
                </p:cNvPr>
                <p:cNvSpPr>
                  <a:spLocks/>
                </p:cNvSpPr>
                <p:nvPr/>
              </p:nvSpPr>
              <p:spPr bwMode="auto">
                <a:xfrm>
                  <a:off x="2144627" y="3838016"/>
                  <a:ext cx="38357" cy="21480"/>
                </a:xfrm>
                <a:custGeom>
                  <a:avLst/>
                  <a:gdLst>
                    <a:gd name="T0" fmla="*/ 39 w 50"/>
                    <a:gd name="T1" fmla="*/ 0 h 28"/>
                    <a:gd name="T2" fmla="*/ 0 w 50"/>
                    <a:gd name="T3" fmla="*/ 0 h 28"/>
                    <a:gd name="T4" fmla="*/ 10 w 50"/>
                    <a:gd name="T5" fmla="*/ 28 h 28"/>
                    <a:gd name="T6" fmla="*/ 50 w 50"/>
                    <a:gd name="T7" fmla="*/ 28 h 28"/>
                    <a:gd name="T8" fmla="*/ 39 w 50"/>
                    <a:gd name="T9" fmla="*/ 0 h 28"/>
                  </a:gdLst>
                  <a:ahLst/>
                  <a:cxnLst>
                    <a:cxn ang="0">
                      <a:pos x="T0" y="T1"/>
                    </a:cxn>
                    <a:cxn ang="0">
                      <a:pos x="T2" y="T3"/>
                    </a:cxn>
                    <a:cxn ang="0">
                      <a:pos x="T4" y="T5"/>
                    </a:cxn>
                    <a:cxn ang="0">
                      <a:pos x="T6" y="T7"/>
                    </a:cxn>
                    <a:cxn ang="0">
                      <a:pos x="T8" y="T9"/>
                    </a:cxn>
                  </a:cxnLst>
                  <a:rect l="0" t="0" r="r" b="b"/>
                  <a:pathLst>
                    <a:path w="50" h="28">
                      <a:moveTo>
                        <a:pt x="39" y="0"/>
                      </a:moveTo>
                      <a:lnTo>
                        <a:pt x="0" y="0"/>
                      </a:lnTo>
                      <a:lnTo>
                        <a:pt x="10" y="28"/>
                      </a:lnTo>
                      <a:lnTo>
                        <a:pt x="50"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3" name="Freeform 63">
                  <a:extLst>
                    <a:ext uri="{FF2B5EF4-FFF2-40B4-BE49-F238E27FC236}">
                      <a16:creationId xmlns:a16="http://schemas.microsoft.com/office/drawing/2014/main" id="{C11BAC10-B2E1-4B7F-B5FF-463B56C08612}"/>
                    </a:ext>
                  </a:extLst>
                </p:cNvPr>
                <p:cNvSpPr>
                  <a:spLocks/>
                </p:cNvSpPr>
                <p:nvPr/>
              </p:nvSpPr>
              <p:spPr bwMode="auto">
                <a:xfrm>
                  <a:off x="2118544" y="3864099"/>
                  <a:ext cx="38357" cy="21480"/>
                </a:xfrm>
                <a:custGeom>
                  <a:avLst/>
                  <a:gdLst>
                    <a:gd name="T0" fmla="*/ 40 w 50"/>
                    <a:gd name="T1" fmla="*/ 0 h 28"/>
                    <a:gd name="T2" fmla="*/ 0 w 50"/>
                    <a:gd name="T3" fmla="*/ 0 h 28"/>
                    <a:gd name="T4" fmla="*/ 9 w 50"/>
                    <a:gd name="T5" fmla="*/ 28 h 28"/>
                    <a:gd name="T6" fmla="*/ 50 w 50"/>
                    <a:gd name="T7" fmla="*/ 28 h 28"/>
                    <a:gd name="T8" fmla="*/ 40 w 50"/>
                    <a:gd name="T9" fmla="*/ 0 h 28"/>
                  </a:gdLst>
                  <a:ahLst/>
                  <a:cxnLst>
                    <a:cxn ang="0">
                      <a:pos x="T0" y="T1"/>
                    </a:cxn>
                    <a:cxn ang="0">
                      <a:pos x="T2" y="T3"/>
                    </a:cxn>
                    <a:cxn ang="0">
                      <a:pos x="T4" y="T5"/>
                    </a:cxn>
                    <a:cxn ang="0">
                      <a:pos x="T6" y="T7"/>
                    </a:cxn>
                    <a:cxn ang="0">
                      <a:pos x="T8" y="T9"/>
                    </a:cxn>
                  </a:cxnLst>
                  <a:rect l="0" t="0" r="r" b="b"/>
                  <a:pathLst>
                    <a:path w="50" h="28">
                      <a:moveTo>
                        <a:pt x="40" y="0"/>
                      </a:moveTo>
                      <a:lnTo>
                        <a:pt x="0" y="0"/>
                      </a:lnTo>
                      <a:lnTo>
                        <a:pt x="9" y="28"/>
                      </a:lnTo>
                      <a:lnTo>
                        <a:pt x="50"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4" name="Freeform 64">
                  <a:extLst>
                    <a:ext uri="{FF2B5EF4-FFF2-40B4-BE49-F238E27FC236}">
                      <a16:creationId xmlns:a16="http://schemas.microsoft.com/office/drawing/2014/main" id="{BD50C309-981B-463F-9AF0-AA34486EF347}"/>
                    </a:ext>
                  </a:extLst>
                </p:cNvPr>
                <p:cNvSpPr>
                  <a:spLocks/>
                </p:cNvSpPr>
                <p:nvPr/>
              </p:nvSpPr>
              <p:spPr bwMode="auto">
                <a:xfrm>
                  <a:off x="1665927" y="3838016"/>
                  <a:ext cx="33754" cy="21480"/>
                </a:xfrm>
                <a:custGeom>
                  <a:avLst/>
                  <a:gdLst>
                    <a:gd name="T0" fmla="*/ 44 w 44"/>
                    <a:gd name="T1" fmla="*/ 0 h 28"/>
                    <a:gd name="T2" fmla="*/ 6 w 44"/>
                    <a:gd name="T3" fmla="*/ 0 h 28"/>
                    <a:gd name="T4" fmla="*/ 0 w 44"/>
                    <a:gd name="T5" fmla="*/ 28 h 28"/>
                    <a:gd name="T6" fmla="*/ 39 w 44"/>
                    <a:gd name="T7" fmla="*/ 28 h 28"/>
                    <a:gd name="T8" fmla="*/ 44 w 44"/>
                    <a:gd name="T9" fmla="*/ 0 h 28"/>
                  </a:gdLst>
                  <a:ahLst/>
                  <a:cxnLst>
                    <a:cxn ang="0">
                      <a:pos x="T0" y="T1"/>
                    </a:cxn>
                    <a:cxn ang="0">
                      <a:pos x="T2" y="T3"/>
                    </a:cxn>
                    <a:cxn ang="0">
                      <a:pos x="T4" y="T5"/>
                    </a:cxn>
                    <a:cxn ang="0">
                      <a:pos x="T6" y="T7"/>
                    </a:cxn>
                    <a:cxn ang="0">
                      <a:pos x="T8" y="T9"/>
                    </a:cxn>
                  </a:cxnLst>
                  <a:rect l="0" t="0" r="r" b="b"/>
                  <a:pathLst>
                    <a:path w="44" h="28">
                      <a:moveTo>
                        <a:pt x="44" y="0"/>
                      </a:moveTo>
                      <a:lnTo>
                        <a:pt x="6" y="0"/>
                      </a:lnTo>
                      <a:lnTo>
                        <a:pt x="0" y="28"/>
                      </a:lnTo>
                      <a:lnTo>
                        <a:pt x="39" y="28"/>
                      </a:lnTo>
                      <a:lnTo>
                        <a:pt x="44"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5" name="Freeform 65">
                  <a:extLst>
                    <a:ext uri="{FF2B5EF4-FFF2-40B4-BE49-F238E27FC236}">
                      <a16:creationId xmlns:a16="http://schemas.microsoft.com/office/drawing/2014/main" id="{7A34DE2A-90E4-4210-B379-ECD124E79782}"/>
                    </a:ext>
                  </a:extLst>
                </p:cNvPr>
                <p:cNvSpPr>
                  <a:spLocks/>
                </p:cNvSpPr>
                <p:nvPr/>
              </p:nvSpPr>
              <p:spPr bwMode="auto">
                <a:xfrm>
                  <a:off x="1560828" y="3838016"/>
                  <a:ext cx="37590" cy="21480"/>
                </a:xfrm>
                <a:custGeom>
                  <a:avLst/>
                  <a:gdLst>
                    <a:gd name="T0" fmla="*/ 0 w 49"/>
                    <a:gd name="T1" fmla="*/ 28 h 28"/>
                    <a:gd name="T2" fmla="*/ 40 w 49"/>
                    <a:gd name="T3" fmla="*/ 28 h 28"/>
                    <a:gd name="T4" fmla="*/ 49 w 49"/>
                    <a:gd name="T5" fmla="*/ 0 h 28"/>
                    <a:gd name="T6" fmla="*/ 11 w 49"/>
                    <a:gd name="T7" fmla="*/ 0 h 28"/>
                    <a:gd name="T8" fmla="*/ 0 w 49"/>
                    <a:gd name="T9" fmla="*/ 28 h 28"/>
                  </a:gdLst>
                  <a:ahLst/>
                  <a:cxnLst>
                    <a:cxn ang="0">
                      <a:pos x="T0" y="T1"/>
                    </a:cxn>
                    <a:cxn ang="0">
                      <a:pos x="T2" y="T3"/>
                    </a:cxn>
                    <a:cxn ang="0">
                      <a:pos x="T4" y="T5"/>
                    </a:cxn>
                    <a:cxn ang="0">
                      <a:pos x="T6" y="T7"/>
                    </a:cxn>
                    <a:cxn ang="0">
                      <a:pos x="T8" y="T9"/>
                    </a:cxn>
                  </a:cxnLst>
                  <a:rect l="0" t="0" r="r" b="b"/>
                  <a:pathLst>
                    <a:path w="49" h="28">
                      <a:moveTo>
                        <a:pt x="0" y="28"/>
                      </a:moveTo>
                      <a:lnTo>
                        <a:pt x="40" y="28"/>
                      </a:lnTo>
                      <a:lnTo>
                        <a:pt x="49"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6" name="Freeform 66">
                  <a:extLst>
                    <a:ext uri="{FF2B5EF4-FFF2-40B4-BE49-F238E27FC236}">
                      <a16:creationId xmlns:a16="http://schemas.microsoft.com/office/drawing/2014/main" id="{75549C49-D0C8-49CF-8668-6B1A62876979}"/>
                    </a:ext>
                  </a:extLst>
                </p:cNvPr>
                <p:cNvSpPr>
                  <a:spLocks/>
                </p:cNvSpPr>
                <p:nvPr/>
              </p:nvSpPr>
              <p:spPr bwMode="auto">
                <a:xfrm>
                  <a:off x="1767958" y="3864099"/>
                  <a:ext cx="32220" cy="21480"/>
                </a:xfrm>
                <a:custGeom>
                  <a:avLst/>
                  <a:gdLst>
                    <a:gd name="T0" fmla="*/ 42 w 42"/>
                    <a:gd name="T1" fmla="*/ 0 h 28"/>
                    <a:gd name="T2" fmla="*/ 2 w 42"/>
                    <a:gd name="T3" fmla="*/ 0 h 28"/>
                    <a:gd name="T4" fmla="*/ 0 w 42"/>
                    <a:gd name="T5" fmla="*/ 28 h 28"/>
                    <a:gd name="T6" fmla="*/ 41 w 42"/>
                    <a:gd name="T7" fmla="*/ 28 h 28"/>
                    <a:gd name="T8" fmla="*/ 42 w 42"/>
                    <a:gd name="T9" fmla="*/ 0 h 28"/>
                  </a:gdLst>
                  <a:ahLst/>
                  <a:cxnLst>
                    <a:cxn ang="0">
                      <a:pos x="T0" y="T1"/>
                    </a:cxn>
                    <a:cxn ang="0">
                      <a:pos x="T2" y="T3"/>
                    </a:cxn>
                    <a:cxn ang="0">
                      <a:pos x="T4" y="T5"/>
                    </a:cxn>
                    <a:cxn ang="0">
                      <a:pos x="T6" y="T7"/>
                    </a:cxn>
                    <a:cxn ang="0">
                      <a:pos x="T8" y="T9"/>
                    </a:cxn>
                  </a:cxnLst>
                  <a:rect l="0" t="0" r="r" b="b"/>
                  <a:pathLst>
                    <a:path w="42" h="28">
                      <a:moveTo>
                        <a:pt x="42" y="0"/>
                      </a:moveTo>
                      <a:lnTo>
                        <a:pt x="2" y="0"/>
                      </a:lnTo>
                      <a:lnTo>
                        <a:pt x="0" y="28"/>
                      </a:lnTo>
                      <a:lnTo>
                        <a:pt x="41" y="28"/>
                      </a:lnTo>
                      <a:lnTo>
                        <a:pt x="42"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7" name="Freeform 67">
                  <a:extLst>
                    <a:ext uri="{FF2B5EF4-FFF2-40B4-BE49-F238E27FC236}">
                      <a16:creationId xmlns:a16="http://schemas.microsoft.com/office/drawing/2014/main" id="{F89A4C16-3B46-4828-8DB5-85313D72B31C}"/>
                    </a:ext>
                  </a:extLst>
                </p:cNvPr>
                <p:cNvSpPr>
                  <a:spLocks/>
                </p:cNvSpPr>
                <p:nvPr/>
              </p:nvSpPr>
              <p:spPr bwMode="auto">
                <a:xfrm>
                  <a:off x="1525540" y="3838016"/>
                  <a:ext cx="39124" cy="21480"/>
                </a:xfrm>
                <a:custGeom>
                  <a:avLst/>
                  <a:gdLst>
                    <a:gd name="T0" fmla="*/ 0 w 51"/>
                    <a:gd name="T1" fmla="*/ 28 h 28"/>
                    <a:gd name="T2" fmla="*/ 41 w 51"/>
                    <a:gd name="T3" fmla="*/ 28 h 28"/>
                    <a:gd name="T4" fmla="*/ 51 w 51"/>
                    <a:gd name="T5" fmla="*/ 0 h 28"/>
                    <a:gd name="T6" fmla="*/ 11 w 51"/>
                    <a:gd name="T7" fmla="*/ 0 h 28"/>
                    <a:gd name="T8" fmla="*/ 0 w 51"/>
                    <a:gd name="T9" fmla="*/ 28 h 28"/>
                  </a:gdLst>
                  <a:ahLst/>
                  <a:cxnLst>
                    <a:cxn ang="0">
                      <a:pos x="T0" y="T1"/>
                    </a:cxn>
                    <a:cxn ang="0">
                      <a:pos x="T2" y="T3"/>
                    </a:cxn>
                    <a:cxn ang="0">
                      <a:pos x="T4" y="T5"/>
                    </a:cxn>
                    <a:cxn ang="0">
                      <a:pos x="T6" y="T7"/>
                    </a:cxn>
                    <a:cxn ang="0">
                      <a:pos x="T8" y="T9"/>
                    </a:cxn>
                  </a:cxnLst>
                  <a:rect l="0" t="0" r="r" b="b"/>
                  <a:pathLst>
                    <a:path w="51" h="28">
                      <a:moveTo>
                        <a:pt x="0" y="28"/>
                      </a:moveTo>
                      <a:lnTo>
                        <a:pt x="41" y="28"/>
                      </a:lnTo>
                      <a:lnTo>
                        <a:pt x="51"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8" name="Freeform 68">
                  <a:extLst>
                    <a:ext uri="{FF2B5EF4-FFF2-40B4-BE49-F238E27FC236}">
                      <a16:creationId xmlns:a16="http://schemas.microsoft.com/office/drawing/2014/main" id="{4CC5B0BC-31D4-4D5B-AF27-3B0AA78AF2B7}"/>
                    </a:ext>
                  </a:extLst>
                </p:cNvPr>
                <p:cNvSpPr>
                  <a:spLocks/>
                </p:cNvSpPr>
                <p:nvPr/>
              </p:nvSpPr>
              <p:spPr bwMode="auto">
                <a:xfrm>
                  <a:off x="1637543" y="3813467"/>
                  <a:ext cx="33754" cy="19946"/>
                </a:xfrm>
                <a:custGeom>
                  <a:avLst/>
                  <a:gdLst>
                    <a:gd name="T0" fmla="*/ 0 w 44"/>
                    <a:gd name="T1" fmla="*/ 26 h 26"/>
                    <a:gd name="T2" fmla="*/ 39 w 44"/>
                    <a:gd name="T3" fmla="*/ 26 h 26"/>
                    <a:gd name="T4" fmla="*/ 44 w 44"/>
                    <a:gd name="T5" fmla="*/ 0 h 26"/>
                    <a:gd name="T6" fmla="*/ 7 w 44"/>
                    <a:gd name="T7" fmla="*/ 0 h 26"/>
                    <a:gd name="T8" fmla="*/ 0 w 44"/>
                    <a:gd name="T9" fmla="*/ 26 h 26"/>
                  </a:gdLst>
                  <a:ahLst/>
                  <a:cxnLst>
                    <a:cxn ang="0">
                      <a:pos x="T0" y="T1"/>
                    </a:cxn>
                    <a:cxn ang="0">
                      <a:pos x="T2" y="T3"/>
                    </a:cxn>
                    <a:cxn ang="0">
                      <a:pos x="T4" y="T5"/>
                    </a:cxn>
                    <a:cxn ang="0">
                      <a:pos x="T6" y="T7"/>
                    </a:cxn>
                    <a:cxn ang="0">
                      <a:pos x="T8" y="T9"/>
                    </a:cxn>
                  </a:cxnLst>
                  <a:rect l="0" t="0" r="r" b="b"/>
                  <a:pathLst>
                    <a:path w="44" h="26">
                      <a:moveTo>
                        <a:pt x="0" y="26"/>
                      </a:moveTo>
                      <a:lnTo>
                        <a:pt x="39" y="26"/>
                      </a:lnTo>
                      <a:lnTo>
                        <a:pt x="44" y="0"/>
                      </a:lnTo>
                      <a:lnTo>
                        <a:pt x="7"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9" name="Freeform 69">
                  <a:extLst>
                    <a:ext uri="{FF2B5EF4-FFF2-40B4-BE49-F238E27FC236}">
                      <a16:creationId xmlns:a16="http://schemas.microsoft.com/office/drawing/2014/main" id="{67F07879-1ECF-4864-852C-1AA12D46F56A}"/>
                    </a:ext>
                  </a:extLst>
                </p:cNvPr>
                <p:cNvSpPr>
                  <a:spLocks/>
                </p:cNvSpPr>
                <p:nvPr/>
              </p:nvSpPr>
              <p:spPr bwMode="auto">
                <a:xfrm>
                  <a:off x="1552390" y="3864099"/>
                  <a:ext cx="38357" cy="21480"/>
                </a:xfrm>
                <a:custGeom>
                  <a:avLst/>
                  <a:gdLst>
                    <a:gd name="T0" fmla="*/ 41 w 50"/>
                    <a:gd name="T1" fmla="*/ 28 h 28"/>
                    <a:gd name="T2" fmla="*/ 50 w 50"/>
                    <a:gd name="T3" fmla="*/ 0 h 28"/>
                    <a:gd name="T4" fmla="*/ 10 w 50"/>
                    <a:gd name="T5" fmla="*/ 0 h 28"/>
                    <a:gd name="T6" fmla="*/ 0 w 50"/>
                    <a:gd name="T7" fmla="*/ 28 h 28"/>
                    <a:gd name="T8" fmla="*/ 41 w 50"/>
                    <a:gd name="T9" fmla="*/ 28 h 28"/>
                  </a:gdLst>
                  <a:ahLst/>
                  <a:cxnLst>
                    <a:cxn ang="0">
                      <a:pos x="T0" y="T1"/>
                    </a:cxn>
                    <a:cxn ang="0">
                      <a:pos x="T2" y="T3"/>
                    </a:cxn>
                    <a:cxn ang="0">
                      <a:pos x="T4" y="T5"/>
                    </a:cxn>
                    <a:cxn ang="0">
                      <a:pos x="T6" y="T7"/>
                    </a:cxn>
                    <a:cxn ang="0">
                      <a:pos x="T8" y="T9"/>
                    </a:cxn>
                  </a:cxnLst>
                  <a:rect l="0" t="0" r="r" b="b"/>
                  <a:pathLst>
                    <a:path w="50" h="28">
                      <a:moveTo>
                        <a:pt x="41" y="28"/>
                      </a:moveTo>
                      <a:lnTo>
                        <a:pt x="50" y="0"/>
                      </a:lnTo>
                      <a:lnTo>
                        <a:pt x="10" y="0"/>
                      </a:lnTo>
                      <a:lnTo>
                        <a:pt x="0" y="28"/>
                      </a:lnTo>
                      <a:lnTo>
                        <a:pt x="4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0" name="Freeform 70">
                  <a:extLst>
                    <a:ext uri="{FF2B5EF4-FFF2-40B4-BE49-F238E27FC236}">
                      <a16:creationId xmlns:a16="http://schemas.microsoft.com/office/drawing/2014/main" id="{B236EC6F-A704-439B-89BB-E63B279E55AD}"/>
                    </a:ext>
                  </a:extLst>
                </p:cNvPr>
                <p:cNvSpPr>
                  <a:spLocks/>
                </p:cNvSpPr>
                <p:nvPr/>
              </p:nvSpPr>
              <p:spPr bwMode="auto">
                <a:xfrm>
                  <a:off x="1603789" y="3813467"/>
                  <a:ext cx="35289" cy="19946"/>
                </a:xfrm>
                <a:custGeom>
                  <a:avLst/>
                  <a:gdLst>
                    <a:gd name="T0" fmla="*/ 0 w 46"/>
                    <a:gd name="T1" fmla="*/ 26 h 26"/>
                    <a:gd name="T2" fmla="*/ 39 w 46"/>
                    <a:gd name="T3" fmla="*/ 26 h 26"/>
                    <a:gd name="T4" fmla="*/ 46 w 46"/>
                    <a:gd name="T5" fmla="*/ 0 h 26"/>
                    <a:gd name="T6" fmla="*/ 8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9" y="26"/>
                      </a:lnTo>
                      <a:lnTo>
                        <a:pt x="46"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1" name="Freeform 71">
                  <a:extLst>
                    <a:ext uri="{FF2B5EF4-FFF2-40B4-BE49-F238E27FC236}">
                      <a16:creationId xmlns:a16="http://schemas.microsoft.com/office/drawing/2014/main" id="{147A8F23-C8C1-4807-95D6-869F2005E0DF}"/>
                    </a:ext>
                  </a:extLst>
                </p:cNvPr>
                <p:cNvSpPr>
                  <a:spLocks/>
                </p:cNvSpPr>
                <p:nvPr/>
              </p:nvSpPr>
              <p:spPr bwMode="auto">
                <a:xfrm>
                  <a:off x="1570801" y="3813467"/>
                  <a:ext cx="35289" cy="19946"/>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2" name="Freeform 72">
                  <a:extLst>
                    <a:ext uri="{FF2B5EF4-FFF2-40B4-BE49-F238E27FC236}">
                      <a16:creationId xmlns:a16="http://schemas.microsoft.com/office/drawing/2014/main" id="{A75840CF-3669-413F-B28E-5FC6CA51DD5E}"/>
                    </a:ext>
                  </a:extLst>
                </p:cNvPr>
                <p:cNvSpPr>
                  <a:spLocks/>
                </p:cNvSpPr>
                <p:nvPr/>
              </p:nvSpPr>
              <p:spPr bwMode="auto">
                <a:xfrm>
                  <a:off x="1695846" y="3864099"/>
                  <a:ext cx="34521" cy="21480"/>
                </a:xfrm>
                <a:custGeom>
                  <a:avLst/>
                  <a:gdLst>
                    <a:gd name="T0" fmla="*/ 45 w 45"/>
                    <a:gd name="T1" fmla="*/ 0 h 28"/>
                    <a:gd name="T2" fmla="*/ 5 w 45"/>
                    <a:gd name="T3" fmla="*/ 0 h 28"/>
                    <a:gd name="T4" fmla="*/ 0 w 45"/>
                    <a:gd name="T5" fmla="*/ 28 h 28"/>
                    <a:gd name="T6" fmla="*/ 41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5" y="0"/>
                      </a:lnTo>
                      <a:lnTo>
                        <a:pt x="0" y="28"/>
                      </a:lnTo>
                      <a:lnTo>
                        <a:pt x="41"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3" name="Freeform 73">
                  <a:extLst>
                    <a:ext uri="{FF2B5EF4-FFF2-40B4-BE49-F238E27FC236}">
                      <a16:creationId xmlns:a16="http://schemas.microsoft.com/office/drawing/2014/main" id="{0D7287F3-29A5-4FDC-8C2C-AF687C8E09FD}"/>
                    </a:ext>
                  </a:extLst>
                </p:cNvPr>
                <p:cNvSpPr>
                  <a:spLocks/>
                </p:cNvSpPr>
                <p:nvPr/>
              </p:nvSpPr>
              <p:spPr bwMode="auto">
                <a:xfrm>
                  <a:off x="1731902" y="3864099"/>
                  <a:ext cx="229377" cy="21480"/>
                </a:xfrm>
                <a:custGeom>
                  <a:avLst/>
                  <a:gdLst>
                    <a:gd name="T0" fmla="*/ 299 w 299"/>
                    <a:gd name="T1" fmla="*/ 0 h 28"/>
                    <a:gd name="T2" fmla="*/ 3 w 299"/>
                    <a:gd name="T3" fmla="*/ 0 h 28"/>
                    <a:gd name="T4" fmla="*/ 0 w 299"/>
                    <a:gd name="T5" fmla="*/ 28 h 28"/>
                    <a:gd name="T6" fmla="*/ 297 w 299"/>
                    <a:gd name="T7" fmla="*/ 28 h 28"/>
                    <a:gd name="T8" fmla="*/ 299 w 299"/>
                    <a:gd name="T9" fmla="*/ 0 h 28"/>
                  </a:gdLst>
                  <a:ahLst/>
                  <a:cxnLst>
                    <a:cxn ang="0">
                      <a:pos x="T0" y="T1"/>
                    </a:cxn>
                    <a:cxn ang="0">
                      <a:pos x="T2" y="T3"/>
                    </a:cxn>
                    <a:cxn ang="0">
                      <a:pos x="T4" y="T5"/>
                    </a:cxn>
                    <a:cxn ang="0">
                      <a:pos x="T6" y="T7"/>
                    </a:cxn>
                    <a:cxn ang="0">
                      <a:pos x="T8" y="T9"/>
                    </a:cxn>
                  </a:cxnLst>
                  <a:rect l="0" t="0" r="r" b="b"/>
                  <a:pathLst>
                    <a:path w="299" h="28">
                      <a:moveTo>
                        <a:pt x="299" y="0"/>
                      </a:moveTo>
                      <a:lnTo>
                        <a:pt x="3" y="0"/>
                      </a:lnTo>
                      <a:lnTo>
                        <a:pt x="0" y="28"/>
                      </a:lnTo>
                      <a:lnTo>
                        <a:pt x="297" y="28"/>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4" name="Freeform 74">
                  <a:extLst>
                    <a:ext uri="{FF2B5EF4-FFF2-40B4-BE49-F238E27FC236}">
                      <a16:creationId xmlns:a16="http://schemas.microsoft.com/office/drawing/2014/main" id="{F310E4F3-3EB9-48DE-BE1D-9EA9F54F273E}"/>
                    </a:ext>
                  </a:extLst>
                </p:cNvPr>
                <p:cNvSpPr>
                  <a:spLocks/>
                </p:cNvSpPr>
                <p:nvPr/>
              </p:nvSpPr>
              <p:spPr bwMode="auto">
                <a:xfrm>
                  <a:off x="1623734" y="3864099"/>
                  <a:ext cx="36823" cy="21480"/>
                </a:xfrm>
                <a:custGeom>
                  <a:avLst/>
                  <a:gdLst>
                    <a:gd name="T0" fmla="*/ 48 w 48"/>
                    <a:gd name="T1" fmla="*/ 0 h 28"/>
                    <a:gd name="T2" fmla="*/ 8 w 48"/>
                    <a:gd name="T3" fmla="*/ 0 h 28"/>
                    <a:gd name="T4" fmla="*/ 0 w 48"/>
                    <a:gd name="T5" fmla="*/ 28 h 28"/>
                    <a:gd name="T6" fmla="*/ 41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8" y="0"/>
                      </a:lnTo>
                      <a:lnTo>
                        <a:pt x="0" y="28"/>
                      </a:lnTo>
                      <a:lnTo>
                        <a:pt x="41"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5" name="Freeform 75">
                  <a:extLst>
                    <a:ext uri="{FF2B5EF4-FFF2-40B4-BE49-F238E27FC236}">
                      <a16:creationId xmlns:a16="http://schemas.microsoft.com/office/drawing/2014/main" id="{B6A42C5E-1D52-4460-AC13-4D443629A900}"/>
                    </a:ext>
                  </a:extLst>
                </p:cNvPr>
                <p:cNvSpPr>
                  <a:spLocks/>
                </p:cNvSpPr>
                <p:nvPr/>
              </p:nvSpPr>
              <p:spPr bwMode="auto">
                <a:xfrm>
                  <a:off x="1587678" y="3864099"/>
                  <a:ext cx="37590" cy="21480"/>
                </a:xfrm>
                <a:custGeom>
                  <a:avLst/>
                  <a:gdLst>
                    <a:gd name="T0" fmla="*/ 49 w 49"/>
                    <a:gd name="T1" fmla="*/ 0 h 28"/>
                    <a:gd name="T2" fmla="*/ 9 w 49"/>
                    <a:gd name="T3" fmla="*/ 0 h 28"/>
                    <a:gd name="T4" fmla="*/ 0 w 49"/>
                    <a:gd name="T5" fmla="*/ 28 h 28"/>
                    <a:gd name="T6" fmla="*/ 42 w 49"/>
                    <a:gd name="T7" fmla="*/ 28 h 28"/>
                    <a:gd name="T8" fmla="*/ 49 w 49"/>
                    <a:gd name="T9" fmla="*/ 0 h 28"/>
                  </a:gdLst>
                  <a:ahLst/>
                  <a:cxnLst>
                    <a:cxn ang="0">
                      <a:pos x="T0" y="T1"/>
                    </a:cxn>
                    <a:cxn ang="0">
                      <a:pos x="T2" y="T3"/>
                    </a:cxn>
                    <a:cxn ang="0">
                      <a:pos x="T4" y="T5"/>
                    </a:cxn>
                    <a:cxn ang="0">
                      <a:pos x="T6" y="T7"/>
                    </a:cxn>
                    <a:cxn ang="0">
                      <a:pos x="T8" y="T9"/>
                    </a:cxn>
                  </a:cxnLst>
                  <a:rect l="0" t="0" r="r" b="b"/>
                  <a:pathLst>
                    <a:path w="49" h="28">
                      <a:moveTo>
                        <a:pt x="49" y="0"/>
                      </a:moveTo>
                      <a:lnTo>
                        <a:pt x="9" y="0"/>
                      </a:lnTo>
                      <a:lnTo>
                        <a:pt x="0" y="28"/>
                      </a:lnTo>
                      <a:lnTo>
                        <a:pt x="42" y="28"/>
                      </a:lnTo>
                      <a:lnTo>
                        <a:pt x="4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6" name="Freeform 76">
                  <a:extLst>
                    <a:ext uri="{FF2B5EF4-FFF2-40B4-BE49-F238E27FC236}">
                      <a16:creationId xmlns:a16="http://schemas.microsoft.com/office/drawing/2014/main" id="{E6DE98B6-CC50-40B1-B0F6-1DAEF358FC92}"/>
                    </a:ext>
                  </a:extLst>
                </p:cNvPr>
                <p:cNvSpPr>
                  <a:spLocks/>
                </p:cNvSpPr>
                <p:nvPr/>
              </p:nvSpPr>
              <p:spPr bwMode="auto">
                <a:xfrm>
                  <a:off x="1659790" y="3864099"/>
                  <a:ext cx="35289" cy="21480"/>
                </a:xfrm>
                <a:custGeom>
                  <a:avLst/>
                  <a:gdLst>
                    <a:gd name="T0" fmla="*/ 46 w 46"/>
                    <a:gd name="T1" fmla="*/ 0 h 28"/>
                    <a:gd name="T2" fmla="*/ 6 w 46"/>
                    <a:gd name="T3" fmla="*/ 0 h 28"/>
                    <a:gd name="T4" fmla="*/ 0 w 46"/>
                    <a:gd name="T5" fmla="*/ 28 h 28"/>
                    <a:gd name="T6" fmla="*/ 41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6" y="0"/>
                      </a:lnTo>
                      <a:lnTo>
                        <a:pt x="0" y="28"/>
                      </a:lnTo>
                      <a:lnTo>
                        <a:pt x="41"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7" name="Freeform 77">
                  <a:extLst>
                    <a:ext uri="{FF2B5EF4-FFF2-40B4-BE49-F238E27FC236}">
                      <a16:creationId xmlns:a16="http://schemas.microsoft.com/office/drawing/2014/main" id="{2B90813F-3CB5-4889-B930-47AEE7BDDD32}"/>
                    </a:ext>
                  </a:extLst>
                </p:cNvPr>
                <p:cNvSpPr>
                  <a:spLocks/>
                </p:cNvSpPr>
                <p:nvPr/>
              </p:nvSpPr>
              <p:spPr bwMode="auto">
                <a:xfrm>
                  <a:off x="1805548" y="3813467"/>
                  <a:ext cx="29152" cy="19946"/>
                </a:xfrm>
                <a:custGeom>
                  <a:avLst/>
                  <a:gdLst>
                    <a:gd name="T0" fmla="*/ 38 w 38"/>
                    <a:gd name="T1" fmla="*/ 0 h 26"/>
                    <a:gd name="T2" fmla="*/ 2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2"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8" name="Rectangle 78">
                  <a:extLst>
                    <a:ext uri="{FF2B5EF4-FFF2-40B4-BE49-F238E27FC236}">
                      <a16:creationId xmlns:a16="http://schemas.microsoft.com/office/drawing/2014/main" id="{28097960-4118-4324-9D15-834B4B88A468}"/>
                    </a:ext>
                  </a:extLst>
                </p:cNvPr>
                <p:cNvSpPr>
                  <a:spLocks noChangeArrowheads="1"/>
                </p:cNvSpPr>
                <p:nvPr/>
              </p:nvSpPr>
              <p:spPr bwMode="auto">
                <a:xfrm>
                  <a:off x="1839303" y="3813467"/>
                  <a:ext cx="29918" cy="19946"/>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99" name="Freeform 79">
                  <a:extLst>
                    <a:ext uri="{FF2B5EF4-FFF2-40B4-BE49-F238E27FC236}">
                      <a16:creationId xmlns:a16="http://schemas.microsoft.com/office/drawing/2014/main" id="{6BA3F987-3339-43F9-830C-3E4678DFFEB2}"/>
                    </a:ext>
                  </a:extLst>
                </p:cNvPr>
                <p:cNvSpPr>
                  <a:spLocks/>
                </p:cNvSpPr>
                <p:nvPr/>
              </p:nvSpPr>
              <p:spPr bwMode="auto">
                <a:xfrm>
                  <a:off x="1804781" y="3838016"/>
                  <a:ext cx="64440" cy="21480"/>
                </a:xfrm>
                <a:custGeom>
                  <a:avLst/>
                  <a:gdLst>
                    <a:gd name="T0" fmla="*/ 45 w 84"/>
                    <a:gd name="T1" fmla="*/ 0 h 28"/>
                    <a:gd name="T2" fmla="*/ 45 w 84"/>
                    <a:gd name="T3" fmla="*/ 28 h 28"/>
                    <a:gd name="T4" fmla="*/ 39 w 84"/>
                    <a:gd name="T5" fmla="*/ 28 h 28"/>
                    <a:gd name="T6" fmla="*/ 39 w 84"/>
                    <a:gd name="T7" fmla="*/ 0 h 28"/>
                    <a:gd name="T8" fmla="*/ 1 w 84"/>
                    <a:gd name="T9" fmla="*/ 0 h 28"/>
                    <a:gd name="T10" fmla="*/ 0 w 84"/>
                    <a:gd name="T11" fmla="*/ 28 h 28"/>
                    <a:gd name="T12" fmla="*/ 84 w 84"/>
                    <a:gd name="T13" fmla="*/ 28 h 28"/>
                    <a:gd name="T14" fmla="*/ 84 w 84"/>
                    <a:gd name="T15" fmla="*/ 0 h 28"/>
                    <a:gd name="T16" fmla="*/ 45 w 84"/>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45" y="0"/>
                      </a:moveTo>
                      <a:lnTo>
                        <a:pt x="45" y="28"/>
                      </a:lnTo>
                      <a:lnTo>
                        <a:pt x="39" y="28"/>
                      </a:lnTo>
                      <a:lnTo>
                        <a:pt x="39" y="0"/>
                      </a:lnTo>
                      <a:lnTo>
                        <a:pt x="1" y="0"/>
                      </a:lnTo>
                      <a:lnTo>
                        <a:pt x="0" y="28"/>
                      </a:lnTo>
                      <a:lnTo>
                        <a:pt x="84" y="28"/>
                      </a:lnTo>
                      <a:lnTo>
                        <a:pt x="84" y="0"/>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0" name="Freeform 80">
                  <a:extLst>
                    <a:ext uri="{FF2B5EF4-FFF2-40B4-BE49-F238E27FC236}">
                      <a16:creationId xmlns:a16="http://schemas.microsoft.com/office/drawing/2014/main" id="{F8BD59C9-623A-465E-8D3F-D58E9DFB6775}"/>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close/>
                      <a:moveTo>
                        <a:pt x="265" y="240"/>
                      </a:moveTo>
                      <a:lnTo>
                        <a:pt x="18" y="240"/>
                      </a:lnTo>
                      <a:lnTo>
                        <a:pt x="18" y="18"/>
                      </a:lnTo>
                      <a:lnTo>
                        <a:pt x="265" y="18"/>
                      </a:lnTo>
                      <a:lnTo>
                        <a:pt x="265" y="2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1" name="Freeform 81">
                  <a:extLst>
                    <a:ext uri="{FF2B5EF4-FFF2-40B4-BE49-F238E27FC236}">
                      <a16:creationId xmlns:a16="http://schemas.microsoft.com/office/drawing/2014/main" id="{C0AF8389-9028-4675-B1F7-9E337EDB2925}"/>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moveTo>
                        <a:pt x="265" y="240"/>
                      </a:moveTo>
                      <a:lnTo>
                        <a:pt x="18" y="240"/>
                      </a:lnTo>
                      <a:lnTo>
                        <a:pt x="18" y="18"/>
                      </a:lnTo>
                      <a:lnTo>
                        <a:pt x="265" y="18"/>
                      </a:lnTo>
                      <a:lnTo>
                        <a:pt x="265" y="2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2" name="Freeform 82">
                  <a:extLst>
                    <a:ext uri="{FF2B5EF4-FFF2-40B4-BE49-F238E27FC236}">
                      <a16:creationId xmlns:a16="http://schemas.microsoft.com/office/drawing/2014/main" id="{35164FB1-2C70-4334-A110-4F2D8E47D695}"/>
                    </a:ext>
                  </a:extLst>
                </p:cNvPr>
                <p:cNvSpPr>
                  <a:spLocks/>
                </p:cNvSpPr>
                <p:nvPr/>
              </p:nvSpPr>
              <p:spPr bwMode="auto">
                <a:xfrm>
                  <a:off x="1767958" y="3617844"/>
                  <a:ext cx="173375" cy="103565"/>
                </a:xfrm>
                <a:custGeom>
                  <a:avLst/>
                  <a:gdLst>
                    <a:gd name="T0" fmla="*/ 201 w 226"/>
                    <a:gd name="T1" fmla="*/ 106 h 135"/>
                    <a:gd name="T2" fmla="*/ 132 w 226"/>
                    <a:gd name="T3" fmla="*/ 6 h 135"/>
                    <a:gd name="T4" fmla="*/ 113 w 226"/>
                    <a:gd name="T5" fmla="*/ 40 h 135"/>
                    <a:gd name="T6" fmla="*/ 90 w 226"/>
                    <a:gd name="T7" fmla="*/ 0 h 135"/>
                    <a:gd name="T8" fmla="*/ 43 w 226"/>
                    <a:gd name="T9" fmla="*/ 82 h 135"/>
                    <a:gd name="T10" fmla="*/ 0 w 226"/>
                    <a:gd name="T11" fmla="*/ 8 h 135"/>
                    <a:gd name="T12" fmla="*/ 0 w 226"/>
                    <a:gd name="T13" fmla="*/ 135 h 135"/>
                    <a:gd name="T14" fmla="*/ 226 w 226"/>
                    <a:gd name="T15" fmla="*/ 135 h 135"/>
                    <a:gd name="T16" fmla="*/ 226 w 226"/>
                    <a:gd name="T17" fmla="*/ 62 h 135"/>
                    <a:gd name="T18" fmla="*/ 201 w 226"/>
                    <a:gd name="T19" fmla="*/ 10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35">
                      <a:moveTo>
                        <a:pt x="201" y="106"/>
                      </a:moveTo>
                      <a:lnTo>
                        <a:pt x="132" y="6"/>
                      </a:lnTo>
                      <a:lnTo>
                        <a:pt x="113" y="40"/>
                      </a:lnTo>
                      <a:lnTo>
                        <a:pt x="90" y="0"/>
                      </a:lnTo>
                      <a:lnTo>
                        <a:pt x="43" y="82"/>
                      </a:lnTo>
                      <a:lnTo>
                        <a:pt x="0" y="8"/>
                      </a:lnTo>
                      <a:lnTo>
                        <a:pt x="0" y="135"/>
                      </a:lnTo>
                      <a:lnTo>
                        <a:pt x="226" y="135"/>
                      </a:lnTo>
                      <a:lnTo>
                        <a:pt x="226" y="62"/>
                      </a:lnTo>
                      <a:lnTo>
                        <a:pt x="201"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3" name="Oval 83">
                  <a:extLst>
                    <a:ext uri="{FF2B5EF4-FFF2-40B4-BE49-F238E27FC236}">
                      <a16:creationId xmlns:a16="http://schemas.microsoft.com/office/drawing/2014/main" id="{090FD661-C997-4CE2-9E6F-2545A9AE7707}"/>
                    </a:ext>
                  </a:extLst>
                </p:cNvPr>
                <p:cNvSpPr>
                  <a:spLocks noChangeArrowheads="1"/>
                </p:cNvSpPr>
                <p:nvPr/>
              </p:nvSpPr>
              <p:spPr bwMode="auto">
                <a:xfrm>
                  <a:off x="1889934" y="3580254"/>
                  <a:ext cx="40659" cy="3989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5" name="Freeform 85">
                  <a:extLst>
                    <a:ext uri="{FF2B5EF4-FFF2-40B4-BE49-F238E27FC236}">
                      <a16:creationId xmlns:a16="http://schemas.microsoft.com/office/drawing/2014/main" id="{43B083C7-EA31-4D8A-8D40-E485E0E4E40A}"/>
                    </a:ext>
                  </a:extLst>
                </p:cNvPr>
                <p:cNvSpPr>
                  <a:spLocks noEditPoints="1"/>
                </p:cNvSpPr>
                <p:nvPr/>
              </p:nvSpPr>
              <p:spPr bwMode="auto">
                <a:xfrm>
                  <a:off x="1781767" y="3545733"/>
                  <a:ext cx="181047" cy="115072"/>
                </a:xfrm>
                <a:custGeom>
                  <a:avLst/>
                  <a:gdLst>
                    <a:gd name="T0" fmla="*/ 349 w 349"/>
                    <a:gd name="T1" fmla="*/ 116 h 224"/>
                    <a:gd name="T2" fmla="*/ 323 w 349"/>
                    <a:gd name="T3" fmla="*/ 129 h 224"/>
                    <a:gd name="T4" fmla="*/ 323 w 349"/>
                    <a:gd name="T5" fmla="*/ 207 h 224"/>
                    <a:gd name="T6" fmla="*/ 349 w 349"/>
                    <a:gd name="T7" fmla="*/ 224 h 224"/>
                    <a:gd name="T8" fmla="*/ 349 w 349"/>
                    <a:gd name="T9" fmla="*/ 116 h 224"/>
                    <a:gd name="T10" fmla="*/ 323 w 349"/>
                    <a:gd name="T11" fmla="*/ 70 h 224"/>
                    <a:gd name="T12" fmla="*/ 323 w 349"/>
                    <a:gd name="T13" fmla="*/ 76 h 224"/>
                    <a:gd name="T14" fmla="*/ 325 w 349"/>
                    <a:gd name="T15" fmla="*/ 70 h 224"/>
                    <a:gd name="T16" fmla="*/ 323 w 349"/>
                    <a:gd name="T17" fmla="*/ 70 h 224"/>
                    <a:gd name="T18" fmla="*/ 349 w 349"/>
                    <a:gd name="T19" fmla="*/ 0 h 224"/>
                    <a:gd name="T20" fmla="*/ 0 w 349"/>
                    <a:gd name="T21" fmla="*/ 0 h 224"/>
                    <a:gd name="T22" fmla="*/ 23 w 349"/>
                    <a:gd name="T23" fmla="*/ 15 h 224"/>
                    <a:gd name="T24" fmla="*/ 35 w 349"/>
                    <a:gd name="T25" fmla="*/ 17 h 224"/>
                    <a:gd name="T26" fmla="*/ 49 w 349"/>
                    <a:gd name="T27" fmla="*/ 27 h 224"/>
                    <a:gd name="T28" fmla="*/ 232 w 349"/>
                    <a:gd name="T29" fmla="*/ 27 h 224"/>
                    <a:gd name="T30" fmla="*/ 246 w 349"/>
                    <a:gd name="T31" fmla="*/ 17 h 224"/>
                    <a:gd name="T32" fmla="*/ 325 w 349"/>
                    <a:gd name="T33" fmla="*/ 3 h 224"/>
                    <a:gd name="T34" fmla="*/ 340 w 349"/>
                    <a:gd name="T35" fmla="*/ 0 h 224"/>
                    <a:gd name="T36" fmla="*/ 349 w 349"/>
                    <a:gd name="T37" fmla="*/ 1 h 224"/>
                    <a:gd name="T38" fmla="*/ 349 w 349"/>
                    <a:gd name="T3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224">
                      <a:moveTo>
                        <a:pt x="349" y="116"/>
                      </a:moveTo>
                      <a:cubicBezTo>
                        <a:pt x="342" y="123"/>
                        <a:pt x="333" y="128"/>
                        <a:pt x="323" y="129"/>
                      </a:cubicBezTo>
                      <a:cubicBezTo>
                        <a:pt x="323" y="207"/>
                        <a:pt x="323" y="207"/>
                        <a:pt x="323" y="207"/>
                      </a:cubicBezTo>
                      <a:cubicBezTo>
                        <a:pt x="349" y="224"/>
                        <a:pt x="349" y="224"/>
                        <a:pt x="349" y="224"/>
                      </a:cubicBezTo>
                      <a:cubicBezTo>
                        <a:pt x="349" y="116"/>
                        <a:pt x="349" y="116"/>
                        <a:pt x="349" y="116"/>
                      </a:cubicBezTo>
                      <a:moveTo>
                        <a:pt x="323" y="70"/>
                      </a:moveTo>
                      <a:cubicBezTo>
                        <a:pt x="323" y="76"/>
                        <a:pt x="323" y="76"/>
                        <a:pt x="323" y="76"/>
                      </a:cubicBezTo>
                      <a:cubicBezTo>
                        <a:pt x="325" y="70"/>
                        <a:pt x="325" y="70"/>
                        <a:pt x="325" y="70"/>
                      </a:cubicBezTo>
                      <a:cubicBezTo>
                        <a:pt x="324" y="70"/>
                        <a:pt x="324" y="70"/>
                        <a:pt x="323" y="70"/>
                      </a:cubicBezTo>
                      <a:moveTo>
                        <a:pt x="349" y="0"/>
                      </a:moveTo>
                      <a:cubicBezTo>
                        <a:pt x="0" y="0"/>
                        <a:pt x="0" y="0"/>
                        <a:pt x="0" y="0"/>
                      </a:cubicBezTo>
                      <a:cubicBezTo>
                        <a:pt x="23" y="15"/>
                        <a:pt x="23" y="15"/>
                        <a:pt x="23" y="15"/>
                      </a:cubicBezTo>
                      <a:cubicBezTo>
                        <a:pt x="35" y="17"/>
                        <a:pt x="35" y="17"/>
                        <a:pt x="35" y="17"/>
                      </a:cubicBezTo>
                      <a:cubicBezTo>
                        <a:pt x="39" y="19"/>
                        <a:pt x="44" y="22"/>
                        <a:pt x="49" y="27"/>
                      </a:cubicBezTo>
                      <a:cubicBezTo>
                        <a:pt x="232" y="27"/>
                        <a:pt x="232" y="27"/>
                        <a:pt x="232" y="27"/>
                      </a:cubicBezTo>
                      <a:cubicBezTo>
                        <a:pt x="237" y="22"/>
                        <a:pt x="242" y="19"/>
                        <a:pt x="246" y="17"/>
                      </a:cubicBezTo>
                      <a:cubicBezTo>
                        <a:pt x="325" y="3"/>
                        <a:pt x="325" y="3"/>
                        <a:pt x="325" y="3"/>
                      </a:cubicBezTo>
                      <a:cubicBezTo>
                        <a:pt x="330" y="1"/>
                        <a:pt x="335" y="0"/>
                        <a:pt x="340" y="0"/>
                      </a:cubicBezTo>
                      <a:cubicBezTo>
                        <a:pt x="343" y="0"/>
                        <a:pt x="346"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6" name="Freeform 86">
                  <a:extLst>
                    <a:ext uri="{FF2B5EF4-FFF2-40B4-BE49-F238E27FC236}">
                      <a16:creationId xmlns:a16="http://schemas.microsoft.com/office/drawing/2014/main" id="{6AAD20A4-B9BE-4B54-9F3D-390BB7F182A2}"/>
                    </a:ext>
                  </a:extLst>
                </p:cNvPr>
                <p:cNvSpPr>
                  <a:spLocks/>
                </p:cNvSpPr>
                <p:nvPr/>
              </p:nvSpPr>
              <p:spPr bwMode="auto">
                <a:xfrm>
                  <a:off x="1889934" y="3583323"/>
                  <a:ext cx="40659" cy="36823"/>
                </a:xfrm>
                <a:custGeom>
                  <a:avLst/>
                  <a:gdLst>
                    <a:gd name="T0" fmla="*/ 49 w 79"/>
                    <a:gd name="T1" fmla="*/ 0 h 71"/>
                    <a:gd name="T2" fmla="*/ 30 w 79"/>
                    <a:gd name="T3" fmla="*/ 14 h 71"/>
                    <a:gd name="T4" fmla="*/ 0 w 79"/>
                    <a:gd name="T5" fmla="*/ 30 h 71"/>
                    <a:gd name="T6" fmla="*/ 0 w 79"/>
                    <a:gd name="T7" fmla="*/ 32 h 71"/>
                    <a:gd name="T8" fmla="*/ 39 w 79"/>
                    <a:gd name="T9" fmla="*/ 71 h 71"/>
                    <a:gd name="T10" fmla="*/ 79 w 79"/>
                    <a:gd name="T11" fmla="*/ 37 h 71"/>
                    <a:gd name="T12" fmla="*/ 54 w 79"/>
                    <a:gd name="T13" fmla="*/ 44 h 71"/>
                    <a:gd name="T14" fmla="*/ 28 w 79"/>
                    <a:gd name="T15" fmla="*/ 37 h 71"/>
                    <a:gd name="T16" fmla="*/ 28 w 79"/>
                    <a:gd name="T17" fmla="*/ 37 h 71"/>
                    <a:gd name="T18" fmla="*/ 49 w 79"/>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1">
                      <a:moveTo>
                        <a:pt x="49" y="0"/>
                      </a:moveTo>
                      <a:cubicBezTo>
                        <a:pt x="44" y="2"/>
                        <a:pt x="39" y="6"/>
                        <a:pt x="30" y="14"/>
                      </a:cubicBezTo>
                      <a:cubicBezTo>
                        <a:pt x="22" y="23"/>
                        <a:pt x="11" y="28"/>
                        <a:pt x="0" y="30"/>
                      </a:cubicBezTo>
                      <a:cubicBezTo>
                        <a:pt x="0" y="30"/>
                        <a:pt x="0" y="31"/>
                        <a:pt x="0" y="32"/>
                      </a:cubicBezTo>
                      <a:cubicBezTo>
                        <a:pt x="0" y="54"/>
                        <a:pt x="18" y="71"/>
                        <a:pt x="39" y="71"/>
                      </a:cubicBezTo>
                      <a:cubicBezTo>
                        <a:pt x="59" y="71"/>
                        <a:pt x="76" y="57"/>
                        <a:pt x="79" y="37"/>
                      </a:cubicBezTo>
                      <a:cubicBezTo>
                        <a:pt x="71" y="42"/>
                        <a:pt x="62" y="44"/>
                        <a:pt x="54" y="44"/>
                      </a:cubicBezTo>
                      <a:cubicBezTo>
                        <a:pt x="45" y="44"/>
                        <a:pt x="36" y="42"/>
                        <a:pt x="28" y="37"/>
                      </a:cubicBezTo>
                      <a:cubicBezTo>
                        <a:pt x="28" y="37"/>
                        <a:pt x="28" y="37"/>
                        <a:pt x="28" y="37"/>
                      </a:cubicBezTo>
                      <a:cubicBezTo>
                        <a:pt x="49" y="0"/>
                        <a:pt x="49" y="0"/>
                        <a:pt x="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12" name="Freeform 92">
                  <a:extLst>
                    <a:ext uri="{FF2B5EF4-FFF2-40B4-BE49-F238E27FC236}">
                      <a16:creationId xmlns:a16="http://schemas.microsoft.com/office/drawing/2014/main" id="{80BC1CC2-1E11-4ED8-9667-D591A7EE7933}"/>
                    </a:ext>
                  </a:extLst>
                </p:cNvPr>
                <p:cNvSpPr>
                  <a:spLocks/>
                </p:cNvSpPr>
                <p:nvPr/>
              </p:nvSpPr>
              <p:spPr bwMode="auto">
                <a:xfrm>
                  <a:off x="1980458" y="3618612"/>
                  <a:ext cx="3835" cy="767"/>
                </a:xfrm>
                <a:custGeom>
                  <a:avLst/>
                  <a:gdLst>
                    <a:gd name="T0" fmla="*/ 6 w 6"/>
                    <a:gd name="T1" fmla="*/ 0 h 1"/>
                    <a:gd name="T2" fmla="*/ 0 w 6"/>
                    <a:gd name="T3" fmla="*/ 0 h 1"/>
                    <a:gd name="T4" fmla="*/ 2 w 6"/>
                    <a:gd name="T5" fmla="*/ 1 h 1"/>
                    <a:gd name="T6" fmla="*/ 6 w 6"/>
                    <a:gd name="T7" fmla="*/ 0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4" y="0"/>
                        <a:pt x="2" y="0"/>
                        <a:pt x="0" y="0"/>
                      </a:cubicBezTo>
                      <a:cubicBezTo>
                        <a:pt x="1" y="0"/>
                        <a:pt x="1" y="1"/>
                        <a:pt x="2" y="1"/>
                      </a:cubicBezTo>
                      <a:cubicBezTo>
                        <a:pt x="3" y="1"/>
                        <a:pt x="5" y="0"/>
                        <a:pt x="6" y="0"/>
                      </a:cubicBezTo>
                      <a:cubicBezTo>
                        <a:pt x="6" y="0"/>
                        <a:pt x="6" y="0"/>
                        <a:pt x="6" y="0"/>
                      </a:cubicBezTo>
                    </a:path>
                  </a:pathLst>
                </a:custGeom>
                <a:solidFill>
                  <a:srgbClr val="177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31" name="Freeform 95">
                  <a:extLst>
                    <a:ext uri="{FF2B5EF4-FFF2-40B4-BE49-F238E27FC236}">
                      <a16:creationId xmlns:a16="http://schemas.microsoft.com/office/drawing/2014/main" id="{83501D9C-8301-44BF-9B3B-657142785F35}"/>
                    </a:ext>
                  </a:extLst>
                </p:cNvPr>
                <p:cNvSpPr>
                  <a:spLocks noEditPoints="1"/>
                </p:cNvSpPr>
                <p:nvPr/>
              </p:nvSpPr>
              <p:spPr bwMode="auto">
                <a:xfrm>
                  <a:off x="2049501" y="3777411"/>
                  <a:ext cx="25316" cy="13809"/>
                </a:xfrm>
                <a:custGeom>
                  <a:avLst/>
                  <a:gdLst>
                    <a:gd name="T0" fmla="*/ 48 w 48"/>
                    <a:gd name="T1" fmla="*/ 26 h 27"/>
                    <a:gd name="T2" fmla="*/ 48 w 48"/>
                    <a:gd name="T3" fmla="*/ 27 h 27"/>
                    <a:gd name="T4" fmla="*/ 48 w 48"/>
                    <a:gd name="T5" fmla="*/ 27 h 27"/>
                    <a:gd name="T6" fmla="*/ 48 w 48"/>
                    <a:gd name="T7" fmla="*/ 26 h 27"/>
                    <a:gd name="T8" fmla="*/ 0 w 48"/>
                    <a:gd name="T9" fmla="*/ 0 h 27"/>
                    <a:gd name="T10" fmla="*/ 0 w 48"/>
                    <a:gd name="T11" fmla="*/ 0 h 27"/>
                    <a:gd name="T12" fmla="*/ 0 w 48"/>
                    <a:gd name="T13" fmla="*/ 0 h 27"/>
                    <a:gd name="T14" fmla="*/ 0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48" y="26"/>
                      </a:moveTo>
                      <a:cubicBezTo>
                        <a:pt x="48" y="27"/>
                        <a:pt x="48" y="27"/>
                        <a:pt x="48" y="27"/>
                      </a:cubicBezTo>
                      <a:cubicBezTo>
                        <a:pt x="48" y="27"/>
                        <a:pt x="48" y="27"/>
                        <a:pt x="48" y="27"/>
                      </a:cubicBezTo>
                      <a:cubicBezTo>
                        <a:pt x="48" y="27"/>
                        <a:pt x="48" y="27"/>
                        <a:pt x="48" y="26"/>
                      </a:cubicBezTo>
                      <a:moveTo>
                        <a:pt x="0" y="0"/>
                      </a:moveTo>
                      <a:cubicBezTo>
                        <a:pt x="0" y="0"/>
                        <a:pt x="0" y="0"/>
                        <a:pt x="0" y="0"/>
                      </a:cubicBezTo>
                      <a:cubicBezTo>
                        <a:pt x="0" y="0"/>
                        <a:pt x="0" y="0"/>
                        <a:pt x="0" y="0"/>
                      </a:cubicBezTo>
                      <a:cubicBezTo>
                        <a:pt x="0" y="0"/>
                        <a:pt x="0" y="0"/>
                        <a:pt x="0"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39" name="Freeform 103">
                  <a:extLst>
                    <a:ext uri="{FF2B5EF4-FFF2-40B4-BE49-F238E27FC236}">
                      <a16:creationId xmlns:a16="http://schemas.microsoft.com/office/drawing/2014/main" id="{F79D8F26-E484-437E-86B6-709336262584}"/>
                    </a:ext>
                  </a:extLst>
                </p:cNvPr>
                <p:cNvSpPr>
                  <a:spLocks noEditPoints="1"/>
                </p:cNvSpPr>
                <p:nvPr/>
              </p:nvSpPr>
              <p:spPr bwMode="auto">
                <a:xfrm>
                  <a:off x="1725765" y="3602501"/>
                  <a:ext cx="18412" cy="16877"/>
                </a:xfrm>
                <a:custGeom>
                  <a:avLst/>
                  <a:gdLst>
                    <a:gd name="T0" fmla="*/ 0 w 36"/>
                    <a:gd name="T1" fmla="*/ 31 h 32"/>
                    <a:gd name="T2" fmla="*/ 0 w 36"/>
                    <a:gd name="T3" fmla="*/ 31 h 32"/>
                    <a:gd name="T4" fmla="*/ 4 w 36"/>
                    <a:gd name="T5" fmla="*/ 32 h 32"/>
                    <a:gd name="T6" fmla="*/ 6 w 36"/>
                    <a:gd name="T7" fmla="*/ 31 h 32"/>
                    <a:gd name="T8" fmla="*/ 0 w 36"/>
                    <a:gd name="T9" fmla="*/ 31 h 32"/>
                    <a:gd name="T10" fmla="*/ 18 w 36"/>
                    <a:gd name="T11" fmla="*/ 0 h 32"/>
                    <a:gd name="T12" fmla="*/ 18 w 36"/>
                    <a:gd name="T13" fmla="*/ 0 h 32"/>
                    <a:gd name="T14" fmla="*/ 36 w 36"/>
                    <a:gd name="T15" fmla="*/ 19 h 32"/>
                    <a:gd name="T16" fmla="*/ 18 w 36"/>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0" y="31"/>
                      </a:moveTo>
                      <a:cubicBezTo>
                        <a:pt x="0" y="31"/>
                        <a:pt x="0" y="31"/>
                        <a:pt x="0" y="31"/>
                      </a:cubicBezTo>
                      <a:cubicBezTo>
                        <a:pt x="1" y="31"/>
                        <a:pt x="3" y="32"/>
                        <a:pt x="4" y="32"/>
                      </a:cubicBezTo>
                      <a:cubicBezTo>
                        <a:pt x="5" y="32"/>
                        <a:pt x="5" y="31"/>
                        <a:pt x="6" y="31"/>
                      </a:cubicBezTo>
                      <a:cubicBezTo>
                        <a:pt x="4" y="31"/>
                        <a:pt x="2" y="31"/>
                        <a:pt x="0" y="31"/>
                      </a:cubicBezTo>
                      <a:moveTo>
                        <a:pt x="18" y="0"/>
                      </a:moveTo>
                      <a:cubicBezTo>
                        <a:pt x="18" y="0"/>
                        <a:pt x="18" y="0"/>
                        <a:pt x="18" y="0"/>
                      </a:cubicBezTo>
                      <a:cubicBezTo>
                        <a:pt x="36" y="19"/>
                        <a:pt x="36" y="19"/>
                        <a:pt x="36" y="19"/>
                      </a:cubicBezTo>
                      <a:cubicBezTo>
                        <a:pt x="18" y="0"/>
                        <a:pt x="18" y="0"/>
                        <a:pt x="1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0" name="Freeform 109">
                  <a:extLst>
                    <a:ext uri="{FF2B5EF4-FFF2-40B4-BE49-F238E27FC236}">
                      <a16:creationId xmlns:a16="http://schemas.microsoft.com/office/drawing/2014/main" id="{100E3BE0-DB59-46A5-A61D-8BDBB7DC43E8}"/>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1" name="Freeform 110">
                  <a:extLst>
                    <a:ext uri="{FF2B5EF4-FFF2-40B4-BE49-F238E27FC236}">
                      <a16:creationId xmlns:a16="http://schemas.microsoft.com/office/drawing/2014/main" id="{4BE9B12E-71DC-41D0-8F09-AB78EAA31273}"/>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6" name="Freeform 115">
                  <a:extLst>
                    <a:ext uri="{FF2B5EF4-FFF2-40B4-BE49-F238E27FC236}">
                      <a16:creationId xmlns:a16="http://schemas.microsoft.com/office/drawing/2014/main" id="{5E9D717C-5EC4-45BA-8ED8-497F96D37EA7}"/>
                    </a:ext>
                  </a:extLst>
                </p:cNvPr>
                <p:cNvSpPr>
                  <a:spLocks noEditPoints="1"/>
                </p:cNvSpPr>
                <p:nvPr/>
              </p:nvSpPr>
              <p:spPr bwMode="auto">
                <a:xfrm>
                  <a:off x="1635241" y="3777411"/>
                  <a:ext cx="24549" cy="13809"/>
                </a:xfrm>
                <a:custGeom>
                  <a:avLst/>
                  <a:gdLst>
                    <a:gd name="T0" fmla="*/ 0 w 48"/>
                    <a:gd name="T1" fmla="*/ 26 h 27"/>
                    <a:gd name="T2" fmla="*/ 0 w 48"/>
                    <a:gd name="T3" fmla="*/ 27 h 27"/>
                    <a:gd name="T4" fmla="*/ 0 w 48"/>
                    <a:gd name="T5" fmla="*/ 27 h 27"/>
                    <a:gd name="T6" fmla="*/ 0 w 48"/>
                    <a:gd name="T7" fmla="*/ 26 h 27"/>
                    <a:gd name="T8" fmla="*/ 48 w 48"/>
                    <a:gd name="T9" fmla="*/ 0 h 27"/>
                    <a:gd name="T10" fmla="*/ 48 w 48"/>
                    <a:gd name="T11" fmla="*/ 0 h 27"/>
                    <a:gd name="T12" fmla="*/ 48 w 48"/>
                    <a:gd name="T13" fmla="*/ 0 h 27"/>
                    <a:gd name="T14" fmla="*/ 48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0" y="26"/>
                      </a:moveTo>
                      <a:cubicBezTo>
                        <a:pt x="0" y="26"/>
                        <a:pt x="0" y="27"/>
                        <a:pt x="0" y="27"/>
                      </a:cubicBezTo>
                      <a:cubicBezTo>
                        <a:pt x="0" y="27"/>
                        <a:pt x="0" y="27"/>
                        <a:pt x="0" y="27"/>
                      </a:cubicBezTo>
                      <a:cubicBezTo>
                        <a:pt x="0" y="27"/>
                        <a:pt x="0" y="27"/>
                        <a:pt x="0" y="26"/>
                      </a:cubicBezTo>
                      <a:moveTo>
                        <a:pt x="48" y="0"/>
                      </a:moveTo>
                      <a:cubicBezTo>
                        <a:pt x="48" y="0"/>
                        <a:pt x="48" y="0"/>
                        <a:pt x="48" y="0"/>
                      </a:cubicBezTo>
                      <a:cubicBezTo>
                        <a:pt x="48" y="0"/>
                        <a:pt x="48" y="0"/>
                        <a:pt x="48" y="0"/>
                      </a:cubicBezTo>
                      <a:cubicBezTo>
                        <a:pt x="48" y="0"/>
                        <a:pt x="48" y="0"/>
                        <a:pt x="4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grpSp>
          <p:nvGrpSpPr>
            <p:cNvPr id="499" name="Group 498">
              <a:extLst>
                <a:ext uri="{FF2B5EF4-FFF2-40B4-BE49-F238E27FC236}">
                  <a16:creationId xmlns:a16="http://schemas.microsoft.com/office/drawing/2014/main" id="{BD21F928-D1F2-483A-A0A0-798D9F4F96F1}"/>
                </a:ext>
              </a:extLst>
            </p:cNvPr>
            <p:cNvGrpSpPr/>
            <p:nvPr/>
          </p:nvGrpSpPr>
          <p:grpSpPr>
            <a:xfrm>
              <a:off x="9548941" y="3103055"/>
              <a:ext cx="1585784" cy="1365734"/>
              <a:chOff x="5029857" y="3136192"/>
              <a:chExt cx="2272321" cy="1957006"/>
            </a:xfrm>
          </p:grpSpPr>
          <p:sp>
            <p:nvSpPr>
              <p:cNvPr id="501" name="Oval 19">
                <a:extLst>
                  <a:ext uri="{FF2B5EF4-FFF2-40B4-BE49-F238E27FC236}">
                    <a16:creationId xmlns:a16="http://schemas.microsoft.com/office/drawing/2014/main" id="{AD486CB6-C03A-4A81-A129-48E18B2CDB56}"/>
                  </a:ext>
                </a:extLst>
              </p:cNvPr>
              <p:cNvSpPr>
                <a:spLocks noChangeArrowheads="1"/>
              </p:cNvSpPr>
              <p:nvPr/>
            </p:nvSpPr>
            <p:spPr bwMode="auto">
              <a:xfrm>
                <a:off x="5578967" y="3570729"/>
                <a:ext cx="1115465" cy="1119604"/>
              </a:xfrm>
              <a:prstGeom prst="ellipse">
                <a:avLst/>
              </a:prstGeom>
              <a:solidFill>
                <a:srgbClr val="4379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02" name="Freeform 20">
                <a:extLst>
                  <a:ext uri="{FF2B5EF4-FFF2-40B4-BE49-F238E27FC236}">
                    <a16:creationId xmlns:a16="http://schemas.microsoft.com/office/drawing/2014/main" id="{A5742BD7-C9C8-43B8-ADB7-07D49023EB6C}"/>
                  </a:ext>
                </a:extLst>
              </p:cNvPr>
              <p:cNvSpPr>
                <a:spLocks/>
              </p:cNvSpPr>
              <p:nvPr/>
            </p:nvSpPr>
            <p:spPr bwMode="auto">
              <a:xfrm>
                <a:off x="5577587" y="3570040"/>
                <a:ext cx="925071" cy="949905"/>
              </a:xfrm>
              <a:custGeom>
                <a:avLst/>
                <a:gdLst>
                  <a:gd name="T0" fmla="*/ 988 w 1013"/>
                  <a:gd name="T1" fmla="*/ 129 h 1037"/>
                  <a:gd name="T2" fmla="*/ 612 w 1013"/>
                  <a:gd name="T3" fmla="*/ 0 h 1037"/>
                  <a:gd name="T4" fmla="*/ 0 w 1013"/>
                  <a:gd name="T5" fmla="*/ 612 h 1037"/>
                  <a:gd name="T6" fmla="*/ 160 w 1013"/>
                  <a:gd name="T7" fmla="*/ 1024 h 1037"/>
                  <a:gd name="T8" fmla="*/ 224 w 1013"/>
                  <a:gd name="T9" fmla="*/ 1033 h 1037"/>
                  <a:gd name="T10" fmla="*/ 223 w 1013"/>
                  <a:gd name="T11" fmla="*/ 907 h 1037"/>
                  <a:gd name="T12" fmla="*/ 280 w 1013"/>
                  <a:gd name="T13" fmla="*/ 1036 h 1037"/>
                  <a:gd name="T14" fmla="*/ 295 w 1013"/>
                  <a:gd name="T15" fmla="*/ 1037 h 1037"/>
                  <a:gd name="T16" fmla="*/ 1013 w 1013"/>
                  <a:gd name="T17" fmla="*/ 318 h 1037"/>
                  <a:gd name="T18" fmla="*/ 988 w 1013"/>
                  <a:gd name="T19" fmla="*/ 12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3" h="1037">
                    <a:moveTo>
                      <a:pt x="988" y="129"/>
                    </a:moveTo>
                    <a:cubicBezTo>
                      <a:pt x="884" y="48"/>
                      <a:pt x="754" y="0"/>
                      <a:pt x="612" y="0"/>
                    </a:cubicBezTo>
                    <a:cubicBezTo>
                      <a:pt x="274" y="0"/>
                      <a:pt x="0" y="274"/>
                      <a:pt x="0" y="612"/>
                    </a:cubicBezTo>
                    <a:cubicBezTo>
                      <a:pt x="0" y="770"/>
                      <a:pt x="61" y="915"/>
                      <a:pt x="160" y="1024"/>
                    </a:cubicBezTo>
                    <a:cubicBezTo>
                      <a:pt x="181" y="1028"/>
                      <a:pt x="202" y="1031"/>
                      <a:pt x="224" y="1033"/>
                    </a:cubicBezTo>
                    <a:cubicBezTo>
                      <a:pt x="223" y="907"/>
                      <a:pt x="223" y="907"/>
                      <a:pt x="223" y="907"/>
                    </a:cubicBezTo>
                    <a:cubicBezTo>
                      <a:pt x="280" y="1036"/>
                      <a:pt x="280" y="1036"/>
                      <a:pt x="280" y="1036"/>
                    </a:cubicBezTo>
                    <a:cubicBezTo>
                      <a:pt x="285" y="1036"/>
                      <a:pt x="290" y="1037"/>
                      <a:pt x="295" y="1037"/>
                    </a:cubicBezTo>
                    <a:cubicBezTo>
                      <a:pt x="692" y="1037"/>
                      <a:pt x="1013" y="715"/>
                      <a:pt x="1013" y="318"/>
                    </a:cubicBezTo>
                    <a:cubicBezTo>
                      <a:pt x="1013" y="253"/>
                      <a:pt x="1005" y="189"/>
                      <a:pt x="988" y="12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03" name="Freeform 21">
                <a:extLst>
                  <a:ext uri="{FF2B5EF4-FFF2-40B4-BE49-F238E27FC236}">
                    <a16:creationId xmlns:a16="http://schemas.microsoft.com/office/drawing/2014/main" id="{2B8E5026-A2C8-4061-B9D4-3CA34D7222F7}"/>
                  </a:ext>
                </a:extLst>
              </p:cNvPr>
              <p:cNvSpPr>
                <a:spLocks/>
              </p:cNvSpPr>
              <p:nvPr/>
            </p:nvSpPr>
            <p:spPr bwMode="auto">
              <a:xfrm>
                <a:off x="5655539" y="3683862"/>
                <a:ext cx="143486" cy="160732"/>
              </a:xfrm>
              <a:custGeom>
                <a:avLst/>
                <a:gdLst>
                  <a:gd name="T0" fmla="*/ 157 w 157"/>
                  <a:gd name="T1" fmla="*/ 0 h 176"/>
                  <a:gd name="T2" fmla="*/ 96 w 157"/>
                  <a:gd name="T3" fmla="*/ 29 h 176"/>
                  <a:gd name="T4" fmla="*/ 0 w 157"/>
                  <a:gd name="T5" fmla="*/ 151 h 176"/>
                  <a:gd name="T6" fmla="*/ 0 w 157"/>
                  <a:gd name="T7" fmla="*/ 176 h 176"/>
                  <a:gd name="T8" fmla="*/ 157 w 157"/>
                  <a:gd name="T9" fmla="*/ 0 h 176"/>
                </a:gdLst>
                <a:ahLst/>
                <a:cxnLst>
                  <a:cxn ang="0">
                    <a:pos x="T0" y="T1"/>
                  </a:cxn>
                  <a:cxn ang="0">
                    <a:pos x="T2" y="T3"/>
                  </a:cxn>
                  <a:cxn ang="0">
                    <a:pos x="T4" y="T5"/>
                  </a:cxn>
                  <a:cxn ang="0">
                    <a:pos x="T6" y="T7"/>
                  </a:cxn>
                  <a:cxn ang="0">
                    <a:pos x="T8" y="T9"/>
                  </a:cxn>
                </a:cxnLst>
                <a:rect l="0" t="0" r="r" b="b"/>
                <a:pathLst>
                  <a:path w="157" h="176">
                    <a:moveTo>
                      <a:pt x="157" y="0"/>
                    </a:moveTo>
                    <a:cubicBezTo>
                      <a:pt x="96" y="29"/>
                      <a:pt x="96" y="29"/>
                      <a:pt x="96" y="29"/>
                    </a:cubicBezTo>
                    <a:cubicBezTo>
                      <a:pt x="0" y="151"/>
                      <a:pt x="0" y="151"/>
                      <a:pt x="0" y="151"/>
                    </a:cubicBezTo>
                    <a:cubicBezTo>
                      <a:pt x="0" y="176"/>
                      <a:pt x="0" y="176"/>
                      <a:pt x="0" y="176"/>
                    </a:cubicBezTo>
                    <a:cubicBezTo>
                      <a:pt x="40" y="108"/>
                      <a:pt x="94" y="48"/>
                      <a:pt x="157" y="0"/>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16" name="Freeform 22">
                <a:extLst>
                  <a:ext uri="{FF2B5EF4-FFF2-40B4-BE49-F238E27FC236}">
                    <a16:creationId xmlns:a16="http://schemas.microsoft.com/office/drawing/2014/main" id="{5DB53051-7D85-49F2-A7A7-ADE3EAF101E1}"/>
                  </a:ext>
                </a:extLst>
              </p:cNvPr>
              <p:cNvSpPr>
                <a:spLocks/>
              </p:cNvSpPr>
              <p:nvPr/>
            </p:nvSpPr>
            <p:spPr bwMode="auto">
              <a:xfrm>
                <a:off x="5965275" y="4450271"/>
                <a:ext cx="173839" cy="219368"/>
              </a:xfrm>
              <a:custGeom>
                <a:avLst/>
                <a:gdLst>
                  <a:gd name="T0" fmla="*/ 3 w 190"/>
                  <a:gd name="T1" fmla="*/ 63 h 239"/>
                  <a:gd name="T2" fmla="*/ 0 w 190"/>
                  <a:gd name="T3" fmla="*/ 78 h 239"/>
                  <a:gd name="T4" fmla="*/ 20 w 190"/>
                  <a:gd name="T5" fmla="*/ 101 h 239"/>
                  <a:gd name="T6" fmla="*/ 20 w 190"/>
                  <a:gd name="T7" fmla="*/ 155 h 239"/>
                  <a:gd name="T8" fmla="*/ 47 w 190"/>
                  <a:gd name="T9" fmla="*/ 209 h 239"/>
                  <a:gd name="T10" fmla="*/ 84 w 190"/>
                  <a:gd name="T11" fmla="*/ 239 h 239"/>
                  <a:gd name="T12" fmla="*/ 121 w 190"/>
                  <a:gd name="T13" fmla="*/ 239 h 239"/>
                  <a:gd name="T14" fmla="*/ 126 w 190"/>
                  <a:gd name="T15" fmla="*/ 225 h 239"/>
                  <a:gd name="T16" fmla="*/ 99 w 190"/>
                  <a:gd name="T17" fmla="*/ 202 h 239"/>
                  <a:gd name="T18" fmla="*/ 105 w 190"/>
                  <a:gd name="T19" fmla="*/ 176 h 239"/>
                  <a:gd name="T20" fmla="*/ 105 w 190"/>
                  <a:gd name="T21" fmla="*/ 162 h 239"/>
                  <a:gd name="T22" fmla="*/ 88 w 190"/>
                  <a:gd name="T23" fmla="*/ 162 h 239"/>
                  <a:gd name="T24" fmla="*/ 78 w 190"/>
                  <a:gd name="T25" fmla="*/ 152 h 239"/>
                  <a:gd name="T26" fmla="*/ 96 w 190"/>
                  <a:gd name="T27" fmla="*/ 135 h 239"/>
                  <a:gd name="T28" fmla="*/ 96 w 190"/>
                  <a:gd name="T29" fmla="*/ 126 h 239"/>
                  <a:gd name="T30" fmla="*/ 80 w 190"/>
                  <a:gd name="T31" fmla="*/ 122 h 239"/>
                  <a:gd name="T32" fmla="*/ 80 w 190"/>
                  <a:gd name="T33" fmla="*/ 111 h 239"/>
                  <a:gd name="T34" fmla="*/ 104 w 190"/>
                  <a:gd name="T35" fmla="*/ 111 h 239"/>
                  <a:gd name="T36" fmla="*/ 142 w 190"/>
                  <a:gd name="T37" fmla="*/ 92 h 239"/>
                  <a:gd name="T38" fmla="*/ 190 w 190"/>
                  <a:gd name="T39" fmla="*/ 18 h 239"/>
                  <a:gd name="T40" fmla="*/ 190 w 190"/>
                  <a:gd name="T41" fmla="*/ 6 h 239"/>
                  <a:gd name="T42" fmla="*/ 189 w 190"/>
                  <a:gd name="T43" fmla="*/ 0 h 239"/>
                  <a:gd name="T44" fmla="*/ 3 w 190"/>
                  <a:gd name="T45" fmla="*/ 6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0" h="239">
                    <a:moveTo>
                      <a:pt x="3" y="63"/>
                    </a:moveTo>
                    <a:cubicBezTo>
                      <a:pt x="0" y="78"/>
                      <a:pt x="0" y="78"/>
                      <a:pt x="0" y="78"/>
                    </a:cubicBezTo>
                    <a:cubicBezTo>
                      <a:pt x="20" y="101"/>
                      <a:pt x="20" y="101"/>
                      <a:pt x="20" y="101"/>
                    </a:cubicBezTo>
                    <a:cubicBezTo>
                      <a:pt x="20" y="155"/>
                      <a:pt x="20" y="155"/>
                      <a:pt x="20" y="155"/>
                    </a:cubicBezTo>
                    <a:cubicBezTo>
                      <a:pt x="47" y="209"/>
                      <a:pt x="47" y="209"/>
                      <a:pt x="47" y="209"/>
                    </a:cubicBezTo>
                    <a:cubicBezTo>
                      <a:pt x="84" y="239"/>
                      <a:pt x="84" y="239"/>
                      <a:pt x="84" y="239"/>
                    </a:cubicBezTo>
                    <a:cubicBezTo>
                      <a:pt x="121" y="239"/>
                      <a:pt x="121" y="239"/>
                      <a:pt x="121" y="239"/>
                    </a:cubicBezTo>
                    <a:cubicBezTo>
                      <a:pt x="126" y="225"/>
                      <a:pt x="126" y="225"/>
                      <a:pt x="126" y="225"/>
                    </a:cubicBezTo>
                    <a:cubicBezTo>
                      <a:pt x="99" y="202"/>
                      <a:pt x="99" y="202"/>
                      <a:pt x="99" y="202"/>
                    </a:cubicBezTo>
                    <a:cubicBezTo>
                      <a:pt x="105" y="176"/>
                      <a:pt x="105" y="176"/>
                      <a:pt x="105" y="176"/>
                    </a:cubicBezTo>
                    <a:cubicBezTo>
                      <a:pt x="105" y="162"/>
                      <a:pt x="105" y="162"/>
                      <a:pt x="105" y="162"/>
                    </a:cubicBezTo>
                    <a:cubicBezTo>
                      <a:pt x="88" y="162"/>
                      <a:pt x="88" y="162"/>
                      <a:pt x="88" y="162"/>
                    </a:cubicBezTo>
                    <a:cubicBezTo>
                      <a:pt x="78" y="152"/>
                      <a:pt x="78" y="152"/>
                      <a:pt x="78" y="152"/>
                    </a:cubicBezTo>
                    <a:cubicBezTo>
                      <a:pt x="96" y="135"/>
                      <a:pt x="96" y="135"/>
                      <a:pt x="96" y="135"/>
                    </a:cubicBezTo>
                    <a:cubicBezTo>
                      <a:pt x="96" y="126"/>
                      <a:pt x="96" y="126"/>
                      <a:pt x="96" y="126"/>
                    </a:cubicBezTo>
                    <a:cubicBezTo>
                      <a:pt x="80" y="122"/>
                      <a:pt x="80" y="122"/>
                      <a:pt x="80" y="122"/>
                    </a:cubicBezTo>
                    <a:cubicBezTo>
                      <a:pt x="80" y="111"/>
                      <a:pt x="80" y="111"/>
                      <a:pt x="80" y="111"/>
                    </a:cubicBezTo>
                    <a:cubicBezTo>
                      <a:pt x="104" y="111"/>
                      <a:pt x="104" y="111"/>
                      <a:pt x="104" y="111"/>
                    </a:cubicBezTo>
                    <a:cubicBezTo>
                      <a:pt x="142" y="92"/>
                      <a:pt x="142" y="92"/>
                      <a:pt x="142" y="92"/>
                    </a:cubicBezTo>
                    <a:cubicBezTo>
                      <a:pt x="190" y="18"/>
                      <a:pt x="190" y="18"/>
                      <a:pt x="190" y="18"/>
                    </a:cubicBezTo>
                    <a:cubicBezTo>
                      <a:pt x="190" y="6"/>
                      <a:pt x="190" y="6"/>
                      <a:pt x="190" y="6"/>
                    </a:cubicBezTo>
                    <a:cubicBezTo>
                      <a:pt x="189" y="0"/>
                      <a:pt x="189" y="0"/>
                      <a:pt x="189" y="0"/>
                    </a:cubicBezTo>
                    <a:cubicBezTo>
                      <a:pt x="131" y="29"/>
                      <a:pt x="69" y="51"/>
                      <a:pt x="3" y="6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66" name="Freeform 23">
                <a:extLst>
                  <a:ext uri="{FF2B5EF4-FFF2-40B4-BE49-F238E27FC236}">
                    <a16:creationId xmlns:a16="http://schemas.microsoft.com/office/drawing/2014/main" id="{AEE16211-9AE7-4ACE-B526-805EE0FBF88A}"/>
                  </a:ext>
                </a:extLst>
              </p:cNvPr>
              <p:cNvSpPr>
                <a:spLocks/>
              </p:cNvSpPr>
              <p:nvPr/>
            </p:nvSpPr>
            <p:spPr bwMode="auto">
              <a:xfrm>
                <a:off x="6289498" y="3933583"/>
                <a:ext cx="405624" cy="566356"/>
              </a:xfrm>
              <a:custGeom>
                <a:avLst/>
                <a:gdLst>
                  <a:gd name="T0" fmla="*/ 422 w 444"/>
                  <a:gd name="T1" fmla="*/ 55 h 618"/>
                  <a:gd name="T2" fmla="*/ 367 w 444"/>
                  <a:gd name="T3" fmla="*/ 55 h 618"/>
                  <a:gd name="T4" fmla="*/ 341 w 444"/>
                  <a:gd name="T5" fmla="*/ 30 h 618"/>
                  <a:gd name="T6" fmla="*/ 308 w 444"/>
                  <a:gd name="T7" fmla="*/ 30 h 618"/>
                  <a:gd name="T8" fmla="*/ 308 w 444"/>
                  <a:gd name="T9" fmla="*/ 56 h 618"/>
                  <a:gd name="T10" fmla="*/ 295 w 444"/>
                  <a:gd name="T11" fmla="*/ 56 h 618"/>
                  <a:gd name="T12" fmla="*/ 285 w 444"/>
                  <a:gd name="T13" fmla="*/ 46 h 618"/>
                  <a:gd name="T14" fmla="*/ 233 w 444"/>
                  <a:gd name="T15" fmla="*/ 32 h 618"/>
                  <a:gd name="T16" fmla="*/ 233 w 444"/>
                  <a:gd name="T17" fmla="*/ 0 h 618"/>
                  <a:gd name="T18" fmla="*/ 164 w 444"/>
                  <a:gd name="T19" fmla="*/ 0 h 618"/>
                  <a:gd name="T20" fmla="*/ 146 w 444"/>
                  <a:gd name="T21" fmla="*/ 15 h 618"/>
                  <a:gd name="T22" fmla="*/ 98 w 444"/>
                  <a:gd name="T23" fmla="*/ 15 h 618"/>
                  <a:gd name="T24" fmla="*/ 69 w 444"/>
                  <a:gd name="T25" fmla="*/ 34 h 618"/>
                  <a:gd name="T26" fmla="*/ 69 w 444"/>
                  <a:gd name="T27" fmla="*/ 68 h 618"/>
                  <a:gd name="T28" fmla="*/ 0 w 444"/>
                  <a:gd name="T29" fmla="*/ 117 h 618"/>
                  <a:gd name="T30" fmla="*/ 0 w 444"/>
                  <a:gd name="T31" fmla="*/ 136 h 618"/>
                  <a:gd name="T32" fmla="*/ 20 w 444"/>
                  <a:gd name="T33" fmla="*/ 136 h 618"/>
                  <a:gd name="T34" fmla="*/ 20 w 444"/>
                  <a:gd name="T35" fmla="*/ 158 h 618"/>
                  <a:gd name="T36" fmla="*/ 0 w 444"/>
                  <a:gd name="T37" fmla="*/ 158 h 618"/>
                  <a:gd name="T38" fmla="*/ 0 w 444"/>
                  <a:gd name="T39" fmla="*/ 218 h 618"/>
                  <a:gd name="T40" fmla="*/ 61 w 444"/>
                  <a:gd name="T41" fmla="*/ 279 h 618"/>
                  <a:gd name="T42" fmla="*/ 138 w 444"/>
                  <a:gd name="T43" fmla="*/ 279 h 618"/>
                  <a:gd name="T44" fmla="*/ 152 w 444"/>
                  <a:gd name="T45" fmla="*/ 265 h 618"/>
                  <a:gd name="T46" fmla="*/ 177 w 444"/>
                  <a:gd name="T47" fmla="*/ 265 h 618"/>
                  <a:gd name="T48" fmla="*/ 190 w 444"/>
                  <a:gd name="T49" fmla="*/ 284 h 618"/>
                  <a:gd name="T50" fmla="*/ 223 w 444"/>
                  <a:gd name="T51" fmla="*/ 284 h 618"/>
                  <a:gd name="T52" fmla="*/ 223 w 444"/>
                  <a:gd name="T53" fmla="*/ 337 h 618"/>
                  <a:gd name="T54" fmla="*/ 268 w 444"/>
                  <a:gd name="T55" fmla="*/ 412 h 618"/>
                  <a:gd name="T56" fmla="*/ 244 w 444"/>
                  <a:gd name="T57" fmla="*/ 454 h 618"/>
                  <a:gd name="T58" fmla="*/ 244 w 444"/>
                  <a:gd name="T59" fmla="*/ 481 h 618"/>
                  <a:gd name="T60" fmla="*/ 263 w 444"/>
                  <a:gd name="T61" fmla="*/ 491 h 618"/>
                  <a:gd name="T62" fmla="*/ 263 w 444"/>
                  <a:gd name="T63" fmla="*/ 546 h 618"/>
                  <a:gd name="T64" fmla="*/ 287 w 444"/>
                  <a:gd name="T65" fmla="*/ 580 h 618"/>
                  <a:gd name="T66" fmla="*/ 287 w 444"/>
                  <a:gd name="T67" fmla="*/ 618 h 618"/>
                  <a:gd name="T68" fmla="*/ 293 w 444"/>
                  <a:gd name="T69" fmla="*/ 618 h 618"/>
                  <a:gd name="T70" fmla="*/ 444 w 444"/>
                  <a:gd name="T71" fmla="*/ 215 h 618"/>
                  <a:gd name="T72" fmla="*/ 423 w 444"/>
                  <a:gd name="T73" fmla="*/ 56 h 618"/>
                  <a:gd name="T74" fmla="*/ 422 w 444"/>
                  <a:gd name="T75" fmla="*/ 5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 h="618">
                    <a:moveTo>
                      <a:pt x="422" y="55"/>
                    </a:moveTo>
                    <a:cubicBezTo>
                      <a:pt x="367" y="55"/>
                      <a:pt x="367" y="55"/>
                      <a:pt x="367" y="55"/>
                    </a:cubicBezTo>
                    <a:cubicBezTo>
                      <a:pt x="341" y="30"/>
                      <a:pt x="341" y="30"/>
                      <a:pt x="341" y="30"/>
                    </a:cubicBezTo>
                    <a:cubicBezTo>
                      <a:pt x="308" y="30"/>
                      <a:pt x="308" y="30"/>
                      <a:pt x="308" y="30"/>
                    </a:cubicBezTo>
                    <a:cubicBezTo>
                      <a:pt x="308" y="56"/>
                      <a:pt x="308" y="56"/>
                      <a:pt x="308" y="56"/>
                    </a:cubicBezTo>
                    <a:cubicBezTo>
                      <a:pt x="295" y="56"/>
                      <a:pt x="295" y="56"/>
                      <a:pt x="295" y="56"/>
                    </a:cubicBezTo>
                    <a:cubicBezTo>
                      <a:pt x="285" y="46"/>
                      <a:pt x="285" y="46"/>
                      <a:pt x="285" y="46"/>
                    </a:cubicBezTo>
                    <a:cubicBezTo>
                      <a:pt x="233" y="32"/>
                      <a:pt x="233" y="32"/>
                      <a:pt x="233" y="32"/>
                    </a:cubicBezTo>
                    <a:cubicBezTo>
                      <a:pt x="233" y="0"/>
                      <a:pt x="233" y="0"/>
                      <a:pt x="233" y="0"/>
                    </a:cubicBezTo>
                    <a:cubicBezTo>
                      <a:pt x="164" y="0"/>
                      <a:pt x="164" y="0"/>
                      <a:pt x="164" y="0"/>
                    </a:cubicBez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52" y="265"/>
                      <a:pt x="152" y="265"/>
                      <a:pt x="152" y="265"/>
                    </a:cubicBezTo>
                    <a:cubicBezTo>
                      <a:pt x="177" y="265"/>
                      <a:pt x="177" y="265"/>
                      <a:pt x="177" y="265"/>
                    </a:cubicBezTo>
                    <a:cubicBezTo>
                      <a:pt x="190" y="284"/>
                      <a:pt x="190" y="284"/>
                      <a:pt x="190" y="284"/>
                    </a:cubicBezTo>
                    <a:cubicBezTo>
                      <a:pt x="223" y="284"/>
                      <a:pt x="223" y="284"/>
                      <a:pt x="223" y="284"/>
                    </a:cubicBezTo>
                    <a:cubicBezTo>
                      <a:pt x="223" y="337"/>
                      <a:pt x="223" y="337"/>
                      <a:pt x="223" y="337"/>
                    </a:cubicBezTo>
                    <a:cubicBezTo>
                      <a:pt x="268" y="412"/>
                      <a:pt x="268" y="412"/>
                      <a:pt x="268" y="412"/>
                    </a:cubicBezTo>
                    <a:cubicBezTo>
                      <a:pt x="244" y="454"/>
                      <a:pt x="244" y="454"/>
                      <a:pt x="244" y="454"/>
                    </a:cubicBezTo>
                    <a:cubicBezTo>
                      <a:pt x="244" y="481"/>
                      <a:pt x="244" y="481"/>
                      <a:pt x="244" y="481"/>
                    </a:cubicBezTo>
                    <a:cubicBezTo>
                      <a:pt x="263" y="491"/>
                      <a:pt x="263" y="491"/>
                      <a:pt x="263" y="491"/>
                    </a:cubicBezTo>
                    <a:cubicBezTo>
                      <a:pt x="263" y="546"/>
                      <a:pt x="263" y="546"/>
                      <a:pt x="263" y="546"/>
                    </a:cubicBezTo>
                    <a:cubicBezTo>
                      <a:pt x="287" y="580"/>
                      <a:pt x="287" y="580"/>
                      <a:pt x="287" y="580"/>
                    </a:cubicBezTo>
                    <a:cubicBezTo>
                      <a:pt x="287" y="618"/>
                      <a:pt x="287" y="618"/>
                      <a:pt x="287" y="618"/>
                    </a:cubicBezTo>
                    <a:cubicBezTo>
                      <a:pt x="293" y="618"/>
                      <a:pt x="293" y="618"/>
                      <a:pt x="293" y="618"/>
                    </a:cubicBezTo>
                    <a:cubicBezTo>
                      <a:pt x="387" y="510"/>
                      <a:pt x="444" y="369"/>
                      <a:pt x="444" y="215"/>
                    </a:cubicBezTo>
                    <a:cubicBezTo>
                      <a:pt x="444" y="160"/>
                      <a:pt x="437" y="106"/>
                      <a:pt x="423" y="56"/>
                    </a:cubicBezTo>
                    <a:lnTo>
                      <a:pt x="422" y="55"/>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71" name="Freeform 24">
                <a:extLst>
                  <a:ext uri="{FF2B5EF4-FFF2-40B4-BE49-F238E27FC236}">
                    <a16:creationId xmlns:a16="http://schemas.microsoft.com/office/drawing/2014/main" id="{43C71180-A72B-4D57-8DC6-95A9986AE412}"/>
                  </a:ext>
                </a:extLst>
              </p:cNvPr>
              <p:cNvSpPr>
                <a:spLocks/>
              </p:cNvSpPr>
              <p:nvPr/>
            </p:nvSpPr>
            <p:spPr bwMode="auto">
              <a:xfrm>
                <a:off x="6361241" y="3704557"/>
                <a:ext cx="299389" cy="231095"/>
              </a:xfrm>
              <a:custGeom>
                <a:avLst/>
                <a:gdLst>
                  <a:gd name="T0" fmla="*/ 200 w 328"/>
                  <a:gd name="T1" fmla="*/ 80 h 252"/>
                  <a:gd name="T2" fmla="*/ 200 w 328"/>
                  <a:gd name="T3" fmla="*/ 46 h 252"/>
                  <a:gd name="T4" fmla="*/ 153 w 328"/>
                  <a:gd name="T5" fmla="*/ 0 h 252"/>
                  <a:gd name="T6" fmla="*/ 153 w 328"/>
                  <a:gd name="T7" fmla="*/ 25 h 252"/>
                  <a:gd name="T8" fmla="*/ 133 w 328"/>
                  <a:gd name="T9" fmla="*/ 31 h 252"/>
                  <a:gd name="T10" fmla="*/ 110 w 328"/>
                  <a:gd name="T11" fmla="*/ 47 h 252"/>
                  <a:gd name="T12" fmla="*/ 110 w 328"/>
                  <a:gd name="T13" fmla="*/ 67 h 252"/>
                  <a:gd name="T14" fmla="*/ 130 w 328"/>
                  <a:gd name="T15" fmla="*/ 67 h 252"/>
                  <a:gd name="T16" fmla="*/ 136 w 328"/>
                  <a:gd name="T17" fmla="*/ 92 h 252"/>
                  <a:gd name="T18" fmla="*/ 166 w 328"/>
                  <a:gd name="T19" fmla="*/ 78 h 252"/>
                  <a:gd name="T20" fmla="*/ 166 w 328"/>
                  <a:gd name="T21" fmla="*/ 106 h 252"/>
                  <a:gd name="T22" fmla="*/ 115 w 328"/>
                  <a:gd name="T23" fmla="*/ 106 h 252"/>
                  <a:gd name="T24" fmla="*/ 91 w 328"/>
                  <a:gd name="T25" fmla="*/ 141 h 252"/>
                  <a:gd name="T26" fmla="*/ 62 w 328"/>
                  <a:gd name="T27" fmla="*/ 141 h 252"/>
                  <a:gd name="T28" fmla="*/ 56 w 328"/>
                  <a:gd name="T29" fmla="*/ 173 h 252"/>
                  <a:gd name="T30" fmla="*/ 72 w 328"/>
                  <a:gd name="T31" fmla="*/ 173 h 252"/>
                  <a:gd name="T32" fmla="*/ 72 w 328"/>
                  <a:gd name="T33" fmla="*/ 194 h 252"/>
                  <a:gd name="T34" fmla="*/ 48 w 328"/>
                  <a:gd name="T35" fmla="*/ 186 h 252"/>
                  <a:gd name="T36" fmla="*/ 24 w 328"/>
                  <a:gd name="T37" fmla="*/ 186 h 252"/>
                  <a:gd name="T38" fmla="*/ 0 w 328"/>
                  <a:gd name="T39" fmla="*/ 196 h 252"/>
                  <a:gd name="T40" fmla="*/ 0 w 328"/>
                  <a:gd name="T41" fmla="*/ 235 h 252"/>
                  <a:gd name="T42" fmla="*/ 18 w 328"/>
                  <a:gd name="T43" fmla="*/ 249 h 252"/>
                  <a:gd name="T44" fmla="*/ 70 w 328"/>
                  <a:gd name="T45" fmla="*/ 249 h 252"/>
                  <a:gd name="T46" fmla="*/ 70 w 328"/>
                  <a:gd name="T47" fmla="*/ 237 h 252"/>
                  <a:gd name="T48" fmla="*/ 106 w 328"/>
                  <a:gd name="T49" fmla="*/ 199 h 252"/>
                  <a:gd name="T50" fmla="*/ 125 w 328"/>
                  <a:gd name="T51" fmla="*/ 199 h 252"/>
                  <a:gd name="T52" fmla="*/ 144 w 328"/>
                  <a:gd name="T53" fmla="*/ 183 h 252"/>
                  <a:gd name="T54" fmla="*/ 144 w 328"/>
                  <a:gd name="T55" fmla="*/ 196 h 252"/>
                  <a:gd name="T56" fmla="*/ 193 w 328"/>
                  <a:gd name="T57" fmla="*/ 227 h 252"/>
                  <a:gd name="T58" fmla="*/ 193 w 328"/>
                  <a:gd name="T59" fmla="*/ 237 h 252"/>
                  <a:gd name="T60" fmla="*/ 171 w 328"/>
                  <a:gd name="T61" fmla="*/ 237 h 252"/>
                  <a:gd name="T62" fmla="*/ 171 w 328"/>
                  <a:gd name="T63" fmla="*/ 251 h 252"/>
                  <a:gd name="T64" fmla="*/ 205 w 328"/>
                  <a:gd name="T65" fmla="*/ 251 h 252"/>
                  <a:gd name="T66" fmla="*/ 205 w 328"/>
                  <a:gd name="T67" fmla="*/ 226 h 252"/>
                  <a:gd name="T68" fmla="*/ 213 w 328"/>
                  <a:gd name="T69" fmla="*/ 223 h 252"/>
                  <a:gd name="T70" fmla="*/ 174 w 328"/>
                  <a:gd name="T71" fmla="*/ 197 h 252"/>
                  <a:gd name="T72" fmla="*/ 168 w 328"/>
                  <a:gd name="T73" fmla="*/ 173 h 252"/>
                  <a:gd name="T74" fmla="*/ 191 w 328"/>
                  <a:gd name="T75" fmla="*/ 173 h 252"/>
                  <a:gd name="T76" fmla="*/ 226 w 328"/>
                  <a:gd name="T77" fmla="*/ 202 h 252"/>
                  <a:gd name="T78" fmla="*/ 226 w 328"/>
                  <a:gd name="T79" fmla="*/ 229 h 252"/>
                  <a:gd name="T80" fmla="*/ 249 w 328"/>
                  <a:gd name="T81" fmla="*/ 252 h 252"/>
                  <a:gd name="T82" fmla="*/ 259 w 328"/>
                  <a:gd name="T83" fmla="*/ 218 h 252"/>
                  <a:gd name="T84" fmla="*/ 280 w 328"/>
                  <a:gd name="T85" fmla="*/ 207 h 252"/>
                  <a:gd name="T86" fmla="*/ 280 w 328"/>
                  <a:gd name="T87" fmla="*/ 234 h 252"/>
                  <a:gd name="T88" fmla="*/ 297 w 328"/>
                  <a:gd name="T89" fmla="*/ 250 h 252"/>
                  <a:gd name="T90" fmla="*/ 328 w 328"/>
                  <a:gd name="T91" fmla="*/ 250 h 252"/>
                  <a:gd name="T92" fmla="*/ 319 w 328"/>
                  <a:gd name="T93" fmla="*/ 229 h 252"/>
                  <a:gd name="T94" fmla="*/ 295 w 328"/>
                  <a:gd name="T95" fmla="*/ 229 h 252"/>
                  <a:gd name="T96" fmla="*/ 295 w 328"/>
                  <a:gd name="T97" fmla="*/ 178 h 252"/>
                  <a:gd name="T98" fmla="*/ 236 w 328"/>
                  <a:gd name="T99" fmla="*/ 88 h 252"/>
                  <a:gd name="T100" fmla="*/ 220 w 328"/>
                  <a:gd name="T101" fmla="*/ 104 h 252"/>
                  <a:gd name="T102" fmla="*/ 174 w 328"/>
                  <a:gd name="T103" fmla="*/ 104 h 252"/>
                  <a:gd name="T104" fmla="*/ 174 w 328"/>
                  <a:gd name="T105" fmla="*/ 97 h 252"/>
                  <a:gd name="T106" fmla="*/ 200 w 328"/>
                  <a:gd name="T107" fmla="*/ 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8" h="252">
                    <a:moveTo>
                      <a:pt x="200" y="80"/>
                    </a:moveTo>
                    <a:cubicBezTo>
                      <a:pt x="200" y="46"/>
                      <a:pt x="200" y="46"/>
                      <a:pt x="200" y="46"/>
                    </a:cubicBezTo>
                    <a:cubicBezTo>
                      <a:pt x="185" y="30"/>
                      <a:pt x="169" y="15"/>
                      <a:pt x="153" y="0"/>
                    </a:cubicBezTo>
                    <a:cubicBezTo>
                      <a:pt x="153" y="25"/>
                      <a:pt x="153" y="25"/>
                      <a:pt x="153" y="25"/>
                    </a:cubicBezTo>
                    <a:cubicBezTo>
                      <a:pt x="133" y="31"/>
                      <a:pt x="133" y="31"/>
                      <a:pt x="133" y="31"/>
                    </a:cubicBezTo>
                    <a:cubicBezTo>
                      <a:pt x="110" y="47"/>
                      <a:pt x="110" y="47"/>
                      <a:pt x="110" y="47"/>
                    </a:cubicBezTo>
                    <a:cubicBezTo>
                      <a:pt x="110" y="67"/>
                      <a:pt x="110" y="67"/>
                      <a:pt x="110" y="67"/>
                    </a:cubicBezTo>
                    <a:cubicBezTo>
                      <a:pt x="130" y="67"/>
                      <a:pt x="130" y="67"/>
                      <a:pt x="130" y="67"/>
                    </a:cubicBezTo>
                    <a:cubicBezTo>
                      <a:pt x="136" y="92"/>
                      <a:pt x="136" y="92"/>
                      <a:pt x="136" y="92"/>
                    </a:cubicBezTo>
                    <a:cubicBezTo>
                      <a:pt x="166" y="78"/>
                      <a:pt x="166" y="78"/>
                      <a:pt x="166" y="78"/>
                    </a:cubicBezTo>
                    <a:cubicBezTo>
                      <a:pt x="166" y="106"/>
                      <a:pt x="166" y="106"/>
                      <a:pt x="166" y="106"/>
                    </a:cubicBezTo>
                    <a:cubicBezTo>
                      <a:pt x="115" y="106"/>
                      <a:pt x="115" y="106"/>
                      <a:pt x="115" y="106"/>
                    </a:cubicBezTo>
                    <a:cubicBezTo>
                      <a:pt x="91" y="141"/>
                      <a:pt x="91" y="141"/>
                      <a:pt x="91" y="141"/>
                    </a:cubicBezTo>
                    <a:cubicBezTo>
                      <a:pt x="62" y="141"/>
                      <a:pt x="62" y="141"/>
                      <a:pt x="62" y="141"/>
                    </a:cubicBezTo>
                    <a:cubicBezTo>
                      <a:pt x="56" y="173"/>
                      <a:pt x="56" y="173"/>
                      <a:pt x="56" y="173"/>
                    </a:cubicBezTo>
                    <a:cubicBezTo>
                      <a:pt x="72" y="173"/>
                      <a:pt x="72" y="173"/>
                      <a:pt x="72" y="173"/>
                    </a:cubicBezTo>
                    <a:cubicBezTo>
                      <a:pt x="72" y="194"/>
                      <a:pt x="72" y="194"/>
                      <a:pt x="72" y="194"/>
                    </a:cubicBezTo>
                    <a:cubicBezTo>
                      <a:pt x="48" y="186"/>
                      <a:pt x="48" y="186"/>
                      <a:pt x="48" y="186"/>
                    </a:cubicBezTo>
                    <a:cubicBezTo>
                      <a:pt x="24" y="186"/>
                      <a:pt x="24" y="186"/>
                      <a:pt x="24" y="186"/>
                    </a:cubicBezTo>
                    <a:cubicBezTo>
                      <a:pt x="0" y="196"/>
                      <a:pt x="0" y="196"/>
                      <a:pt x="0" y="196"/>
                    </a:cubicBezTo>
                    <a:cubicBezTo>
                      <a:pt x="0" y="235"/>
                      <a:pt x="0" y="235"/>
                      <a:pt x="0" y="235"/>
                    </a:cubicBezTo>
                    <a:cubicBezTo>
                      <a:pt x="18" y="249"/>
                      <a:pt x="18" y="249"/>
                      <a:pt x="18" y="249"/>
                    </a:cubicBezTo>
                    <a:cubicBezTo>
                      <a:pt x="70" y="249"/>
                      <a:pt x="70" y="249"/>
                      <a:pt x="70" y="249"/>
                    </a:cubicBezTo>
                    <a:cubicBezTo>
                      <a:pt x="70" y="237"/>
                      <a:pt x="70" y="237"/>
                      <a:pt x="70" y="237"/>
                    </a:cubicBezTo>
                    <a:cubicBezTo>
                      <a:pt x="106" y="199"/>
                      <a:pt x="106" y="199"/>
                      <a:pt x="106" y="199"/>
                    </a:cubicBezTo>
                    <a:cubicBezTo>
                      <a:pt x="125" y="199"/>
                      <a:pt x="125" y="199"/>
                      <a:pt x="125" y="199"/>
                    </a:cubicBezTo>
                    <a:cubicBezTo>
                      <a:pt x="144" y="183"/>
                      <a:pt x="144" y="183"/>
                      <a:pt x="144" y="183"/>
                    </a:cubicBezTo>
                    <a:cubicBezTo>
                      <a:pt x="144" y="196"/>
                      <a:pt x="144" y="196"/>
                      <a:pt x="144" y="196"/>
                    </a:cubicBezTo>
                    <a:cubicBezTo>
                      <a:pt x="193" y="227"/>
                      <a:pt x="193" y="227"/>
                      <a:pt x="193" y="227"/>
                    </a:cubicBezTo>
                    <a:cubicBezTo>
                      <a:pt x="193" y="237"/>
                      <a:pt x="193" y="237"/>
                      <a:pt x="193" y="237"/>
                    </a:cubicBezTo>
                    <a:cubicBezTo>
                      <a:pt x="171" y="237"/>
                      <a:pt x="171" y="237"/>
                      <a:pt x="171" y="237"/>
                    </a:cubicBezTo>
                    <a:cubicBezTo>
                      <a:pt x="171" y="251"/>
                      <a:pt x="171" y="251"/>
                      <a:pt x="171" y="251"/>
                    </a:cubicBezTo>
                    <a:cubicBezTo>
                      <a:pt x="205" y="251"/>
                      <a:pt x="205" y="251"/>
                      <a:pt x="205" y="251"/>
                    </a:cubicBezTo>
                    <a:cubicBezTo>
                      <a:pt x="205" y="226"/>
                      <a:pt x="205" y="226"/>
                      <a:pt x="205" y="226"/>
                    </a:cubicBezTo>
                    <a:cubicBezTo>
                      <a:pt x="213" y="223"/>
                      <a:pt x="213" y="223"/>
                      <a:pt x="213" y="223"/>
                    </a:cubicBezTo>
                    <a:cubicBezTo>
                      <a:pt x="174" y="197"/>
                      <a:pt x="174" y="197"/>
                      <a:pt x="174" y="197"/>
                    </a:cubicBezTo>
                    <a:cubicBezTo>
                      <a:pt x="168" y="173"/>
                      <a:pt x="168" y="173"/>
                      <a:pt x="168" y="173"/>
                    </a:cubicBezTo>
                    <a:cubicBezTo>
                      <a:pt x="191" y="173"/>
                      <a:pt x="191" y="173"/>
                      <a:pt x="191" y="173"/>
                    </a:cubicBezTo>
                    <a:cubicBezTo>
                      <a:pt x="226" y="202"/>
                      <a:pt x="226" y="202"/>
                      <a:pt x="226" y="202"/>
                    </a:cubicBezTo>
                    <a:cubicBezTo>
                      <a:pt x="226" y="229"/>
                      <a:pt x="226" y="229"/>
                      <a:pt x="226" y="229"/>
                    </a:cubicBezTo>
                    <a:cubicBezTo>
                      <a:pt x="249" y="252"/>
                      <a:pt x="249" y="252"/>
                      <a:pt x="249" y="252"/>
                    </a:cubicBezTo>
                    <a:cubicBezTo>
                      <a:pt x="259" y="218"/>
                      <a:pt x="259" y="218"/>
                      <a:pt x="259" y="218"/>
                    </a:cubicBezTo>
                    <a:cubicBezTo>
                      <a:pt x="280" y="207"/>
                      <a:pt x="280" y="207"/>
                      <a:pt x="280" y="207"/>
                    </a:cubicBezTo>
                    <a:cubicBezTo>
                      <a:pt x="280" y="234"/>
                      <a:pt x="280" y="234"/>
                      <a:pt x="280" y="234"/>
                    </a:cubicBezTo>
                    <a:cubicBezTo>
                      <a:pt x="297" y="250"/>
                      <a:pt x="297" y="250"/>
                      <a:pt x="297" y="250"/>
                    </a:cubicBezTo>
                    <a:cubicBezTo>
                      <a:pt x="328" y="250"/>
                      <a:pt x="328" y="250"/>
                      <a:pt x="328" y="250"/>
                    </a:cubicBezTo>
                    <a:cubicBezTo>
                      <a:pt x="325" y="243"/>
                      <a:pt x="322" y="236"/>
                      <a:pt x="319" y="229"/>
                    </a:cubicBezTo>
                    <a:cubicBezTo>
                      <a:pt x="295" y="229"/>
                      <a:pt x="295" y="229"/>
                      <a:pt x="295" y="229"/>
                    </a:cubicBezTo>
                    <a:cubicBezTo>
                      <a:pt x="295" y="178"/>
                      <a:pt x="295" y="178"/>
                      <a:pt x="295" y="178"/>
                    </a:cubicBezTo>
                    <a:cubicBezTo>
                      <a:pt x="278" y="146"/>
                      <a:pt x="258" y="116"/>
                      <a:pt x="236" y="88"/>
                    </a:cubicBezTo>
                    <a:cubicBezTo>
                      <a:pt x="220" y="104"/>
                      <a:pt x="220" y="104"/>
                      <a:pt x="220" y="104"/>
                    </a:cubicBezTo>
                    <a:cubicBezTo>
                      <a:pt x="174" y="104"/>
                      <a:pt x="174" y="104"/>
                      <a:pt x="174" y="104"/>
                    </a:cubicBezTo>
                    <a:cubicBezTo>
                      <a:pt x="174" y="97"/>
                      <a:pt x="174" y="97"/>
                      <a:pt x="174" y="97"/>
                    </a:cubicBezTo>
                    <a:lnTo>
                      <a:pt x="200" y="80"/>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72" name="Freeform 25">
                <a:extLst>
                  <a:ext uri="{FF2B5EF4-FFF2-40B4-BE49-F238E27FC236}">
                    <a16:creationId xmlns:a16="http://schemas.microsoft.com/office/drawing/2014/main" id="{F1DECACD-17CE-490F-AB0D-AB86B0C54380}"/>
                  </a:ext>
                </a:extLst>
              </p:cNvPr>
              <p:cNvSpPr>
                <a:spLocks noEditPoints="1"/>
              </p:cNvSpPr>
              <p:nvPr/>
            </p:nvSpPr>
            <p:spPr bwMode="auto">
              <a:xfrm>
                <a:off x="5611389" y="3651440"/>
                <a:ext cx="621543" cy="856777"/>
              </a:xfrm>
              <a:custGeom>
                <a:avLst/>
                <a:gdLst>
                  <a:gd name="T0" fmla="*/ 538 w 681"/>
                  <a:gd name="T1" fmla="*/ 592 h 935"/>
                  <a:gd name="T2" fmla="*/ 445 w 681"/>
                  <a:gd name="T3" fmla="*/ 541 h 935"/>
                  <a:gd name="T4" fmla="*/ 275 w 681"/>
                  <a:gd name="T5" fmla="*/ 543 h 935"/>
                  <a:gd name="T6" fmla="*/ 251 w 681"/>
                  <a:gd name="T7" fmla="*/ 447 h 935"/>
                  <a:gd name="T8" fmla="*/ 167 w 681"/>
                  <a:gd name="T9" fmla="*/ 420 h 935"/>
                  <a:gd name="T10" fmla="*/ 292 w 681"/>
                  <a:gd name="T11" fmla="*/ 369 h 935"/>
                  <a:gd name="T12" fmla="*/ 318 w 681"/>
                  <a:gd name="T13" fmla="*/ 364 h 935"/>
                  <a:gd name="T14" fmla="*/ 456 w 681"/>
                  <a:gd name="T15" fmla="*/ 244 h 935"/>
                  <a:gd name="T16" fmla="*/ 500 w 681"/>
                  <a:gd name="T17" fmla="*/ 207 h 935"/>
                  <a:gd name="T18" fmla="*/ 513 w 681"/>
                  <a:gd name="T19" fmla="*/ 195 h 935"/>
                  <a:gd name="T20" fmla="*/ 557 w 681"/>
                  <a:gd name="T21" fmla="*/ 200 h 935"/>
                  <a:gd name="T22" fmla="*/ 590 w 681"/>
                  <a:gd name="T23" fmla="*/ 215 h 935"/>
                  <a:gd name="T24" fmla="*/ 577 w 681"/>
                  <a:gd name="T25" fmla="*/ 159 h 935"/>
                  <a:gd name="T26" fmla="*/ 516 w 681"/>
                  <a:gd name="T27" fmla="*/ 130 h 935"/>
                  <a:gd name="T28" fmla="*/ 423 w 681"/>
                  <a:gd name="T29" fmla="*/ 158 h 935"/>
                  <a:gd name="T30" fmla="*/ 348 w 681"/>
                  <a:gd name="T31" fmla="*/ 135 h 935"/>
                  <a:gd name="T32" fmla="*/ 426 w 681"/>
                  <a:gd name="T33" fmla="*/ 85 h 935"/>
                  <a:gd name="T34" fmla="*/ 455 w 681"/>
                  <a:gd name="T35" fmla="*/ 81 h 935"/>
                  <a:gd name="T36" fmla="*/ 522 w 681"/>
                  <a:gd name="T37" fmla="*/ 43 h 935"/>
                  <a:gd name="T38" fmla="*/ 512 w 681"/>
                  <a:gd name="T39" fmla="*/ 84 h 935"/>
                  <a:gd name="T40" fmla="*/ 593 w 681"/>
                  <a:gd name="T41" fmla="*/ 76 h 935"/>
                  <a:gd name="T42" fmla="*/ 545 w 681"/>
                  <a:gd name="T43" fmla="*/ 15 h 935"/>
                  <a:gd name="T44" fmla="*/ 444 w 681"/>
                  <a:gd name="T45" fmla="*/ 48 h 935"/>
                  <a:gd name="T46" fmla="*/ 417 w 681"/>
                  <a:gd name="T47" fmla="*/ 11 h 935"/>
                  <a:gd name="T48" fmla="*/ 415 w 681"/>
                  <a:gd name="T49" fmla="*/ 39 h 935"/>
                  <a:gd name="T50" fmla="*/ 353 w 681"/>
                  <a:gd name="T51" fmla="*/ 57 h 935"/>
                  <a:gd name="T52" fmla="*/ 387 w 681"/>
                  <a:gd name="T53" fmla="*/ 9 h 935"/>
                  <a:gd name="T54" fmla="*/ 334 w 681"/>
                  <a:gd name="T55" fmla="*/ 17 h 935"/>
                  <a:gd name="T56" fmla="*/ 264 w 681"/>
                  <a:gd name="T57" fmla="*/ 26 h 935"/>
                  <a:gd name="T58" fmla="*/ 309 w 681"/>
                  <a:gd name="T59" fmla="*/ 46 h 935"/>
                  <a:gd name="T60" fmla="*/ 273 w 681"/>
                  <a:gd name="T61" fmla="*/ 45 h 935"/>
                  <a:gd name="T62" fmla="*/ 49 w 681"/>
                  <a:gd name="T63" fmla="*/ 218 h 935"/>
                  <a:gd name="T64" fmla="*/ 25 w 681"/>
                  <a:gd name="T65" fmla="*/ 375 h 935"/>
                  <a:gd name="T66" fmla="*/ 49 w 681"/>
                  <a:gd name="T67" fmla="*/ 381 h 935"/>
                  <a:gd name="T68" fmla="*/ 87 w 681"/>
                  <a:gd name="T69" fmla="*/ 436 h 935"/>
                  <a:gd name="T70" fmla="*/ 166 w 681"/>
                  <a:gd name="T71" fmla="*/ 495 h 935"/>
                  <a:gd name="T72" fmla="*/ 186 w 681"/>
                  <a:gd name="T73" fmla="*/ 503 h 935"/>
                  <a:gd name="T74" fmla="*/ 305 w 681"/>
                  <a:gd name="T75" fmla="*/ 560 h 935"/>
                  <a:gd name="T76" fmla="*/ 332 w 681"/>
                  <a:gd name="T77" fmla="*/ 739 h 935"/>
                  <a:gd name="T78" fmla="*/ 399 w 681"/>
                  <a:gd name="T79" fmla="*/ 900 h 935"/>
                  <a:gd name="T80" fmla="*/ 620 w 681"/>
                  <a:gd name="T81" fmla="*/ 831 h 935"/>
                  <a:gd name="T82" fmla="*/ 681 w 681"/>
                  <a:gd name="T83" fmla="*/ 682 h 935"/>
                  <a:gd name="T84" fmla="*/ 213 w 681"/>
                  <a:gd name="T85" fmla="*/ 100 h 935"/>
                  <a:gd name="T86" fmla="*/ 363 w 681"/>
                  <a:gd name="T87" fmla="*/ 268 h 935"/>
                  <a:gd name="T88" fmla="*/ 337 w 681"/>
                  <a:gd name="T89" fmla="*/ 262 h 935"/>
                  <a:gd name="T90" fmla="*/ 364 w 681"/>
                  <a:gd name="T91" fmla="*/ 243 h 935"/>
                  <a:gd name="T92" fmla="*/ 367 w 681"/>
                  <a:gd name="T93" fmla="*/ 231 h 935"/>
                  <a:gd name="T94" fmla="*/ 389 w 681"/>
                  <a:gd name="T95" fmla="*/ 240 h 935"/>
                  <a:gd name="T96" fmla="*/ 398 w 681"/>
                  <a:gd name="T97" fmla="*/ 256 h 935"/>
                  <a:gd name="T98" fmla="*/ 371 w 681"/>
                  <a:gd name="T99" fmla="*/ 244 h 935"/>
                  <a:gd name="T100" fmla="*/ 356 w 681"/>
                  <a:gd name="T101" fmla="*/ 225 h 935"/>
                  <a:gd name="T102" fmla="*/ 297 w 681"/>
                  <a:gd name="T103" fmla="*/ 226 h 935"/>
                  <a:gd name="T104" fmla="*/ 347 w 681"/>
                  <a:gd name="T105" fmla="*/ 209 h 935"/>
                  <a:gd name="T106" fmla="*/ 305 w 681"/>
                  <a:gd name="T107" fmla="*/ 266 h 935"/>
                  <a:gd name="T108" fmla="*/ 287 w 681"/>
                  <a:gd name="T109" fmla="*/ 159 h 935"/>
                  <a:gd name="T110" fmla="*/ 263 w 681"/>
                  <a:gd name="T111" fmla="*/ 168 h 935"/>
                  <a:gd name="T112" fmla="*/ 244 w 681"/>
                  <a:gd name="T113" fmla="*/ 59 h 935"/>
                  <a:gd name="T114" fmla="*/ 201 w 681"/>
                  <a:gd name="T115" fmla="*/ 71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1" h="935">
                    <a:moveTo>
                      <a:pt x="643" y="649"/>
                    </a:moveTo>
                    <a:cubicBezTo>
                      <a:pt x="587" y="649"/>
                      <a:pt x="587" y="649"/>
                      <a:pt x="587" y="649"/>
                    </a:cubicBezTo>
                    <a:cubicBezTo>
                      <a:pt x="543" y="631"/>
                      <a:pt x="543" y="631"/>
                      <a:pt x="543" y="631"/>
                    </a:cubicBezTo>
                    <a:cubicBezTo>
                      <a:pt x="543" y="610"/>
                      <a:pt x="543" y="610"/>
                      <a:pt x="543" y="610"/>
                    </a:cubicBezTo>
                    <a:cubicBezTo>
                      <a:pt x="543" y="603"/>
                      <a:pt x="541" y="597"/>
                      <a:pt x="538" y="592"/>
                    </a:cubicBezTo>
                    <a:cubicBezTo>
                      <a:pt x="528" y="576"/>
                      <a:pt x="528" y="576"/>
                      <a:pt x="528" y="576"/>
                    </a:cubicBezTo>
                    <a:cubicBezTo>
                      <a:pt x="490" y="576"/>
                      <a:pt x="490" y="576"/>
                      <a:pt x="490" y="576"/>
                    </a:cubicBezTo>
                    <a:cubicBezTo>
                      <a:pt x="462" y="535"/>
                      <a:pt x="462" y="535"/>
                      <a:pt x="462" y="535"/>
                    </a:cubicBezTo>
                    <a:cubicBezTo>
                      <a:pt x="445" y="530"/>
                      <a:pt x="445" y="530"/>
                      <a:pt x="445" y="530"/>
                    </a:cubicBezTo>
                    <a:cubicBezTo>
                      <a:pt x="445" y="541"/>
                      <a:pt x="445" y="541"/>
                      <a:pt x="445" y="541"/>
                    </a:cubicBezTo>
                    <a:cubicBezTo>
                      <a:pt x="407" y="541"/>
                      <a:pt x="407" y="541"/>
                      <a:pt x="407" y="541"/>
                    </a:cubicBezTo>
                    <a:cubicBezTo>
                      <a:pt x="392" y="520"/>
                      <a:pt x="392" y="520"/>
                      <a:pt x="392" y="520"/>
                    </a:cubicBezTo>
                    <a:cubicBezTo>
                      <a:pt x="354" y="516"/>
                      <a:pt x="354" y="516"/>
                      <a:pt x="354" y="516"/>
                    </a:cubicBezTo>
                    <a:cubicBezTo>
                      <a:pt x="328" y="550"/>
                      <a:pt x="328" y="550"/>
                      <a:pt x="328" y="550"/>
                    </a:cubicBezTo>
                    <a:cubicBezTo>
                      <a:pt x="275" y="543"/>
                      <a:pt x="275" y="543"/>
                      <a:pt x="275" y="543"/>
                    </a:cubicBezTo>
                    <a:cubicBezTo>
                      <a:pt x="275" y="497"/>
                      <a:pt x="275" y="497"/>
                      <a:pt x="275" y="497"/>
                    </a:cubicBezTo>
                    <a:cubicBezTo>
                      <a:pt x="275" y="492"/>
                      <a:pt x="271" y="488"/>
                      <a:pt x="266" y="487"/>
                    </a:cubicBezTo>
                    <a:cubicBezTo>
                      <a:pt x="236" y="483"/>
                      <a:pt x="236" y="483"/>
                      <a:pt x="236" y="483"/>
                    </a:cubicBezTo>
                    <a:cubicBezTo>
                      <a:pt x="251" y="458"/>
                      <a:pt x="251" y="458"/>
                      <a:pt x="251" y="458"/>
                    </a:cubicBezTo>
                    <a:cubicBezTo>
                      <a:pt x="251" y="447"/>
                      <a:pt x="251" y="447"/>
                      <a:pt x="251" y="447"/>
                    </a:cubicBezTo>
                    <a:cubicBezTo>
                      <a:pt x="251" y="441"/>
                      <a:pt x="244" y="438"/>
                      <a:pt x="239" y="442"/>
                    </a:cubicBezTo>
                    <a:cubicBezTo>
                      <a:pt x="202" y="469"/>
                      <a:pt x="202" y="469"/>
                      <a:pt x="202" y="469"/>
                    </a:cubicBezTo>
                    <a:cubicBezTo>
                      <a:pt x="171" y="469"/>
                      <a:pt x="171" y="469"/>
                      <a:pt x="171" y="469"/>
                    </a:cubicBezTo>
                    <a:cubicBezTo>
                      <a:pt x="168" y="464"/>
                      <a:pt x="168" y="464"/>
                      <a:pt x="168" y="464"/>
                    </a:cubicBezTo>
                    <a:cubicBezTo>
                      <a:pt x="162" y="450"/>
                      <a:pt x="161" y="434"/>
                      <a:pt x="167" y="420"/>
                    </a:cubicBezTo>
                    <a:cubicBezTo>
                      <a:pt x="173" y="406"/>
                      <a:pt x="173" y="406"/>
                      <a:pt x="173" y="406"/>
                    </a:cubicBezTo>
                    <a:cubicBezTo>
                      <a:pt x="178" y="394"/>
                      <a:pt x="187" y="385"/>
                      <a:pt x="198" y="379"/>
                    </a:cubicBezTo>
                    <a:cubicBezTo>
                      <a:pt x="207" y="375"/>
                      <a:pt x="207" y="375"/>
                      <a:pt x="207" y="375"/>
                    </a:cubicBezTo>
                    <a:cubicBezTo>
                      <a:pt x="215" y="371"/>
                      <a:pt x="223" y="369"/>
                      <a:pt x="231" y="369"/>
                    </a:cubicBezTo>
                    <a:cubicBezTo>
                      <a:pt x="292" y="369"/>
                      <a:pt x="292" y="369"/>
                      <a:pt x="292" y="369"/>
                    </a:cubicBezTo>
                    <a:cubicBezTo>
                      <a:pt x="292" y="386"/>
                      <a:pt x="292" y="386"/>
                      <a:pt x="292" y="386"/>
                    </a:cubicBezTo>
                    <a:cubicBezTo>
                      <a:pt x="292" y="395"/>
                      <a:pt x="297" y="403"/>
                      <a:pt x="304" y="408"/>
                    </a:cubicBezTo>
                    <a:cubicBezTo>
                      <a:pt x="309" y="411"/>
                      <a:pt x="309" y="411"/>
                      <a:pt x="309" y="411"/>
                    </a:cubicBezTo>
                    <a:cubicBezTo>
                      <a:pt x="313" y="413"/>
                      <a:pt x="318" y="410"/>
                      <a:pt x="318" y="406"/>
                    </a:cubicBezTo>
                    <a:cubicBezTo>
                      <a:pt x="318" y="364"/>
                      <a:pt x="318" y="364"/>
                      <a:pt x="318" y="364"/>
                    </a:cubicBezTo>
                    <a:cubicBezTo>
                      <a:pt x="347" y="338"/>
                      <a:pt x="347" y="338"/>
                      <a:pt x="347" y="338"/>
                    </a:cubicBezTo>
                    <a:cubicBezTo>
                      <a:pt x="376" y="322"/>
                      <a:pt x="376" y="322"/>
                      <a:pt x="376" y="322"/>
                    </a:cubicBezTo>
                    <a:cubicBezTo>
                      <a:pt x="376" y="303"/>
                      <a:pt x="376" y="303"/>
                      <a:pt x="376" y="303"/>
                    </a:cubicBezTo>
                    <a:cubicBezTo>
                      <a:pt x="415" y="264"/>
                      <a:pt x="415" y="264"/>
                      <a:pt x="415" y="264"/>
                    </a:cubicBezTo>
                    <a:cubicBezTo>
                      <a:pt x="456" y="244"/>
                      <a:pt x="456" y="244"/>
                      <a:pt x="456" y="244"/>
                    </a:cubicBezTo>
                    <a:cubicBezTo>
                      <a:pt x="456" y="234"/>
                      <a:pt x="456" y="234"/>
                      <a:pt x="456" y="234"/>
                    </a:cubicBezTo>
                    <a:cubicBezTo>
                      <a:pt x="479" y="215"/>
                      <a:pt x="479" y="215"/>
                      <a:pt x="479" y="215"/>
                    </a:cubicBezTo>
                    <a:cubicBezTo>
                      <a:pt x="486" y="217"/>
                      <a:pt x="486" y="217"/>
                      <a:pt x="486" y="217"/>
                    </a:cubicBezTo>
                    <a:cubicBezTo>
                      <a:pt x="492" y="219"/>
                      <a:pt x="499" y="217"/>
                      <a:pt x="502" y="212"/>
                    </a:cubicBezTo>
                    <a:cubicBezTo>
                      <a:pt x="504" y="210"/>
                      <a:pt x="502" y="207"/>
                      <a:pt x="500" y="207"/>
                    </a:cubicBezTo>
                    <a:cubicBezTo>
                      <a:pt x="492" y="207"/>
                      <a:pt x="492" y="207"/>
                      <a:pt x="492" y="207"/>
                    </a:cubicBezTo>
                    <a:cubicBezTo>
                      <a:pt x="488" y="207"/>
                      <a:pt x="483" y="204"/>
                      <a:pt x="482" y="199"/>
                    </a:cubicBezTo>
                    <a:cubicBezTo>
                      <a:pt x="481" y="193"/>
                      <a:pt x="486" y="187"/>
                      <a:pt x="492" y="187"/>
                    </a:cubicBezTo>
                    <a:cubicBezTo>
                      <a:pt x="499" y="187"/>
                      <a:pt x="499" y="187"/>
                      <a:pt x="499" y="187"/>
                    </a:cubicBezTo>
                    <a:cubicBezTo>
                      <a:pt x="505" y="187"/>
                      <a:pt x="510" y="190"/>
                      <a:pt x="513" y="195"/>
                    </a:cubicBezTo>
                    <a:cubicBezTo>
                      <a:pt x="515" y="200"/>
                      <a:pt x="515" y="200"/>
                      <a:pt x="515" y="200"/>
                    </a:cubicBezTo>
                    <a:cubicBezTo>
                      <a:pt x="537" y="200"/>
                      <a:pt x="537" y="200"/>
                      <a:pt x="537" y="200"/>
                    </a:cubicBezTo>
                    <a:cubicBezTo>
                      <a:pt x="549" y="188"/>
                      <a:pt x="549" y="188"/>
                      <a:pt x="549" y="188"/>
                    </a:cubicBezTo>
                    <a:cubicBezTo>
                      <a:pt x="557" y="188"/>
                      <a:pt x="557" y="188"/>
                      <a:pt x="557" y="188"/>
                    </a:cubicBezTo>
                    <a:cubicBezTo>
                      <a:pt x="557" y="200"/>
                      <a:pt x="557" y="200"/>
                      <a:pt x="557" y="200"/>
                    </a:cubicBezTo>
                    <a:cubicBezTo>
                      <a:pt x="547" y="210"/>
                      <a:pt x="547" y="210"/>
                      <a:pt x="547" y="210"/>
                    </a:cubicBezTo>
                    <a:cubicBezTo>
                      <a:pt x="545" y="212"/>
                      <a:pt x="546" y="217"/>
                      <a:pt x="549" y="218"/>
                    </a:cubicBezTo>
                    <a:cubicBezTo>
                      <a:pt x="580" y="229"/>
                      <a:pt x="580" y="229"/>
                      <a:pt x="580" y="229"/>
                    </a:cubicBezTo>
                    <a:cubicBezTo>
                      <a:pt x="585" y="231"/>
                      <a:pt x="590" y="227"/>
                      <a:pt x="590" y="222"/>
                    </a:cubicBezTo>
                    <a:cubicBezTo>
                      <a:pt x="590" y="215"/>
                      <a:pt x="590" y="215"/>
                      <a:pt x="590" y="215"/>
                    </a:cubicBezTo>
                    <a:cubicBezTo>
                      <a:pt x="563" y="202"/>
                      <a:pt x="563" y="202"/>
                      <a:pt x="563" y="202"/>
                    </a:cubicBezTo>
                    <a:cubicBezTo>
                      <a:pt x="563" y="194"/>
                      <a:pt x="563" y="194"/>
                      <a:pt x="563" y="194"/>
                    </a:cubicBezTo>
                    <a:cubicBezTo>
                      <a:pt x="583" y="187"/>
                      <a:pt x="583" y="187"/>
                      <a:pt x="583" y="187"/>
                    </a:cubicBezTo>
                    <a:cubicBezTo>
                      <a:pt x="583" y="170"/>
                      <a:pt x="583" y="170"/>
                      <a:pt x="583" y="170"/>
                    </a:cubicBezTo>
                    <a:cubicBezTo>
                      <a:pt x="583" y="165"/>
                      <a:pt x="581" y="161"/>
                      <a:pt x="577" y="159"/>
                    </a:cubicBezTo>
                    <a:cubicBezTo>
                      <a:pt x="559" y="149"/>
                      <a:pt x="559" y="149"/>
                      <a:pt x="559" y="149"/>
                    </a:cubicBezTo>
                    <a:cubicBezTo>
                      <a:pt x="559" y="126"/>
                      <a:pt x="559" y="126"/>
                      <a:pt x="559" y="126"/>
                    </a:cubicBezTo>
                    <a:cubicBezTo>
                      <a:pt x="559" y="121"/>
                      <a:pt x="553" y="117"/>
                      <a:pt x="548" y="120"/>
                    </a:cubicBezTo>
                    <a:cubicBezTo>
                      <a:pt x="529" y="130"/>
                      <a:pt x="529" y="130"/>
                      <a:pt x="529" y="130"/>
                    </a:cubicBezTo>
                    <a:cubicBezTo>
                      <a:pt x="516" y="130"/>
                      <a:pt x="516" y="130"/>
                      <a:pt x="516" y="130"/>
                    </a:cubicBezTo>
                    <a:cubicBezTo>
                      <a:pt x="518" y="102"/>
                      <a:pt x="518" y="102"/>
                      <a:pt x="518" y="102"/>
                    </a:cubicBezTo>
                    <a:cubicBezTo>
                      <a:pt x="475" y="92"/>
                      <a:pt x="475" y="92"/>
                      <a:pt x="475" y="92"/>
                    </a:cubicBezTo>
                    <a:cubicBezTo>
                      <a:pt x="455" y="105"/>
                      <a:pt x="455" y="105"/>
                      <a:pt x="455" y="105"/>
                    </a:cubicBezTo>
                    <a:cubicBezTo>
                      <a:pt x="455" y="146"/>
                      <a:pt x="455" y="146"/>
                      <a:pt x="455" y="146"/>
                    </a:cubicBezTo>
                    <a:cubicBezTo>
                      <a:pt x="423" y="158"/>
                      <a:pt x="423" y="158"/>
                      <a:pt x="423" y="158"/>
                    </a:cubicBezTo>
                    <a:cubicBezTo>
                      <a:pt x="408" y="186"/>
                      <a:pt x="408" y="186"/>
                      <a:pt x="408" y="186"/>
                    </a:cubicBezTo>
                    <a:cubicBezTo>
                      <a:pt x="395" y="186"/>
                      <a:pt x="395" y="186"/>
                      <a:pt x="395" y="186"/>
                    </a:cubicBezTo>
                    <a:cubicBezTo>
                      <a:pt x="395" y="154"/>
                      <a:pt x="395" y="154"/>
                      <a:pt x="395" y="154"/>
                    </a:cubicBezTo>
                    <a:cubicBezTo>
                      <a:pt x="363" y="149"/>
                      <a:pt x="363" y="149"/>
                      <a:pt x="363" y="149"/>
                    </a:cubicBezTo>
                    <a:cubicBezTo>
                      <a:pt x="348" y="135"/>
                      <a:pt x="348" y="135"/>
                      <a:pt x="348" y="135"/>
                    </a:cubicBezTo>
                    <a:cubicBezTo>
                      <a:pt x="347" y="123"/>
                      <a:pt x="347" y="123"/>
                      <a:pt x="347" y="123"/>
                    </a:cubicBezTo>
                    <a:cubicBezTo>
                      <a:pt x="346" y="117"/>
                      <a:pt x="349" y="112"/>
                      <a:pt x="353" y="109"/>
                    </a:cubicBezTo>
                    <a:cubicBezTo>
                      <a:pt x="395" y="82"/>
                      <a:pt x="395" y="82"/>
                      <a:pt x="395" y="82"/>
                    </a:cubicBezTo>
                    <a:cubicBezTo>
                      <a:pt x="417" y="77"/>
                      <a:pt x="417" y="77"/>
                      <a:pt x="417" y="77"/>
                    </a:cubicBezTo>
                    <a:cubicBezTo>
                      <a:pt x="422" y="76"/>
                      <a:pt x="426" y="80"/>
                      <a:pt x="426" y="85"/>
                    </a:cubicBezTo>
                    <a:cubicBezTo>
                      <a:pt x="426" y="94"/>
                      <a:pt x="426" y="94"/>
                      <a:pt x="426" y="94"/>
                    </a:cubicBezTo>
                    <a:cubicBezTo>
                      <a:pt x="439" y="94"/>
                      <a:pt x="439" y="94"/>
                      <a:pt x="439" y="94"/>
                    </a:cubicBezTo>
                    <a:cubicBezTo>
                      <a:pt x="443" y="94"/>
                      <a:pt x="447" y="90"/>
                      <a:pt x="447" y="86"/>
                    </a:cubicBezTo>
                    <a:cubicBezTo>
                      <a:pt x="447" y="81"/>
                      <a:pt x="447" y="81"/>
                      <a:pt x="447" y="81"/>
                    </a:cubicBezTo>
                    <a:cubicBezTo>
                      <a:pt x="455" y="81"/>
                      <a:pt x="455" y="81"/>
                      <a:pt x="455" y="81"/>
                    </a:cubicBezTo>
                    <a:cubicBezTo>
                      <a:pt x="458" y="81"/>
                      <a:pt x="459" y="78"/>
                      <a:pt x="457" y="75"/>
                    </a:cubicBezTo>
                    <a:cubicBezTo>
                      <a:pt x="450" y="66"/>
                      <a:pt x="450" y="66"/>
                      <a:pt x="450" y="66"/>
                    </a:cubicBezTo>
                    <a:cubicBezTo>
                      <a:pt x="471" y="66"/>
                      <a:pt x="471" y="66"/>
                      <a:pt x="471" y="66"/>
                    </a:cubicBezTo>
                    <a:cubicBezTo>
                      <a:pt x="487" y="46"/>
                      <a:pt x="487" y="46"/>
                      <a:pt x="487" y="46"/>
                    </a:cubicBezTo>
                    <a:cubicBezTo>
                      <a:pt x="522" y="43"/>
                      <a:pt x="522" y="43"/>
                      <a:pt x="522" y="43"/>
                    </a:cubicBezTo>
                    <a:cubicBezTo>
                      <a:pt x="526" y="43"/>
                      <a:pt x="531" y="44"/>
                      <a:pt x="534" y="47"/>
                    </a:cubicBezTo>
                    <a:cubicBezTo>
                      <a:pt x="538" y="51"/>
                      <a:pt x="538" y="51"/>
                      <a:pt x="538" y="51"/>
                    </a:cubicBezTo>
                    <a:cubicBezTo>
                      <a:pt x="541" y="55"/>
                      <a:pt x="541" y="61"/>
                      <a:pt x="536" y="63"/>
                    </a:cubicBezTo>
                    <a:cubicBezTo>
                      <a:pt x="529" y="67"/>
                      <a:pt x="519" y="72"/>
                      <a:pt x="511" y="76"/>
                    </a:cubicBezTo>
                    <a:cubicBezTo>
                      <a:pt x="508" y="78"/>
                      <a:pt x="509" y="83"/>
                      <a:pt x="512" y="84"/>
                    </a:cubicBezTo>
                    <a:cubicBezTo>
                      <a:pt x="551" y="94"/>
                      <a:pt x="551" y="94"/>
                      <a:pt x="551" y="94"/>
                    </a:cubicBezTo>
                    <a:cubicBezTo>
                      <a:pt x="556" y="96"/>
                      <a:pt x="561" y="93"/>
                      <a:pt x="562" y="87"/>
                    </a:cubicBezTo>
                    <a:cubicBezTo>
                      <a:pt x="563" y="83"/>
                      <a:pt x="563" y="83"/>
                      <a:pt x="563" y="83"/>
                    </a:cubicBezTo>
                    <a:cubicBezTo>
                      <a:pt x="564" y="79"/>
                      <a:pt x="568" y="76"/>
                      <a:pt x="573" y="76"/>
                    </a:cubicBezTo>
                    <a:cubicBezTo>
                      <a:pt x="593" y="76"/>
                      <a:pt x="593" y="76"/>
                      <a:pt x="593" y="76"/>
                    </a:cubicBezTo>
                    <a:cubicBezTo>
                      <a:pt x="600" y="63"/>
                      <a:pt x="600" y="63"/>
                      <a:pt x="600" y="63"/>
                    </a:cubicBezTo>
                    <a:cubicBezTo>
                      <a:pt x="602" y="60"/>
                      <a:pt x="599" y="56"/>
                      <a:pt x="595" y="56"/>
                    </a:cubicBezTo>
                    <a:cubicBezTo>
                      <a:pt x="584" y="56"/>
                      <a:pt x="584" y="56"/>
                      <a:pt x="584" y="56"/>
                    </a:cubicBezTo>
                    <a:cubicBezTo>
                      <a:pt x="584" y="32"/>
                      <a:pt x="584" y="32"/>
                      <a:pt x="584" y="32"/>
                    </a:cubicBezTo>
                    <a:cubicBezTo>
                      <a:pt x="545" y="15"/>
                      <a:pt x="545" y="15"/>
                      <a:pt x="545" y="15"/>
                    </a:cubicBezTo>
                    <a:cubicBezTo>
                      <a:pt x="529" y="8"/>
                      <a:pt x="511" y="7"/>
                      <a:pt x="494" y="13"/>
                    </a:cubicBezTo>
                    <a:cubicBezTo>
                      <a:pt x="464" y="23"/>
                      <a:pt x="464" y="23"/>
                      <a:pt x="464" y="23"/>
                    </a:cubicBezTo>
                    <a:cubicBezTo>
                      <a:pt x="464" y="42"/>
                      <a:pt x="464" y="42"/>
                      <a:pt x="464" y="42"/>
                    </a:cubicBezTo>
                    <a:cubicBezTo>
                      <a:pt x="464" y="47"/>
                      <a:pt x="460" y="50"/>
                      <a:pt x="456" y="49"/>
                    </a:cubicBezTo>
                    <a:cubicBezTo>
                      <a:pt x="444" y="48"/>
                      <a:pt x="444" y="48"/>
                      <a:pt x="444" y="48"/>
                    </a:cubicBezTo>
                    <a:cubicBezTo>
                      <a:pt x="440" y="48"/>
                      <a:pt x="437" y="45"/>
                      <a:pt x="437" y="41"/>
                    </a:cubicBezTo>
                    <a:cubicBezTo>
                      <a:pt x="437" y="31"/>
                      <a:pt x="437" y="31"/>
                      <a:pt x="437" y="31"/>
                    </a:cubicBezTo>
                    <a:cubicBezTo>
                      <a:pt x="448" y="20"/>
                      <a:pt x="448" y="20"/>
                      <a:pt x="448" y="20"/>
                    </a:cubicBezTo>
                    <a:cubicBezTo>
                      <a:pt x="452" y="17"/>
                      <a:pt x="450" y="11"/>
                      <a:pt x="445" y="11"/>
                    </a:cubicBezTo>
                    <a:cubicBezTo>
                      <a:pt x="417" y="11"/>
                      <a:pt x="417" y="11"/>
                      <a:pt x="417" y="11"/>
                    </a:cubicBezTo>
                    <a:cubicBezTo>
                      <a:pt x="413" y="11"/>
                      <a:pt x="409" y="13"/>
                      <a:pt x="407" y="17"/>
                    </a:cubicBezTo>
                    <a:cubicBezTo>
                      <a:pt x="402" y="28"/>
                      <a:pt x="402" y="28"/>
                      <a:pt x="402" y="28"/>
                    </a:cubicBezTo>
                    <a:cubicBezTo>
                      <a:pt x="408" y="28"/>
                      <a:pt x="408" y="28"/>
                      <a:pt x="408" y="28"/>
                    </a:cubicBezTo>
                    <a:cubicBezTo>
                      <a:pt x="412" y="28"/>
                      <a:pt x="415" y="31"/>
                      <a:pt x="415" y="35"/>
                    </a:cubicBezTo>
                    <a:cubicBezTo>
                      <a:pt x="415" y="39"/>
                      <a:pt x="415" y="39"/>
                      <a:pt x="415" y="39"/>
                    </a:cubicBezTo>
                    <a:cubicBezTo>
                      <a:pt x="415" y="43"/>
                      <a:pt x="412" y="46"/>
                      <a:pt x="408" y="46"/>
                    </a:cubicBezTo>
                    <a:cubicBezTo>
                      <a:pt x="387" y="46"/>
                      <a:pt x="387" y="46"/>
                      <a:pt x="387" y="46"/>
                    </a:cubicBezTo>
                    <a:cubicBezTo>
                      <a:pt x="383" y="53"/>
                      <a:pt x="383" y="53"/>
                      <a:pt x="383" y="53"/>
                    </a:cubicBezTo>
                    <a:cubicBezTo>
                      <a:pt x="381" y="56"/>
                      <a:pt x="377" y="57"/>
                      <a:pt x="374" y="57"/>
                    </a:cubicBezTo>
                    <a:cubicBezTo>
                      <a:pt x="353" y="57"/>
                      <a:pt x="353" y="57"/>
                      <a:pt x="353" y="57"/>
                    </a:cubicBezTo>
                    <a:cubicBezTo>
                      <a:pt x="347" y="57"/>
                      <a:pt x="342" y="53"/>
                      <a:pt x="342" y="47"/>
                    </a:cubicBezTo>
                    <a:cubicBezTo>
                      <a:pt x="342" y="36"/>
                      <a:pt x="342" y="36"/>
                      <a:pt x="342" y="36"/>
                    </a:cubicBezTo>
                    <a:cubicBezTo>
                      <a:pt x="375" y="36"/>
                      <a:pt x="375" y="36"/>
                      <a:pt x="375" y="36"/>
                    </a:cubicBezTo>
                    <a:cubicBezTo>
                      <a:pt x="393" y="13"/>
                      <a:pt x="393" y="13"/>
                      <a:pt x="393" y="13"/>
                    </a:cubicBezTo>
                    <a:cubicBezTo>
                      <a:pt x="387" y="9"/>
                      <a:pt x="387" y="9"/>
                      <a:pt x="387" y="9"/>
                    </a:cubicBezTo>
                    <a:cubicBezTo>
                      <a:pt x="384" y="7"/>
                      <a:pt x="380" y="7"/>
                      <a:pt x="377" y="10"/>
                    </a:cubicBezTo>
                    <a:cubicBezTo>
                      <a:pt x="369" y="19"/>
                      <a:pt x="369" y="19"/>
                      <a:pt x="369" y="19"/>
                    </a:cubicBezTo>
                    <a:cubicBezTo>
                      <a:pt x="367" y="21"/>
                      <a:pt x="364" y="23"/>
                      <a:pt x="360" y="23"/>
                    </a:cubicBezTo>
                    <a:cubicBezTo>
                      <a:pt x="344" y="23"/>
                      <a:pt x="344" y="23"/>
                      <a:pt x="344" y="23"/>
                    </a:cubicBezTo>
                    <a:cubicBezTo>
                      <a:pt x="340" y="23"/>
                      <a:pt x="336" y="20"/>
                      <a:pt x="334" y="17"/>
                    </a:cubicBezTo>
                    <a:cubicBezTo>
                      <a:pt x="323" y="0"/>
                      <a:pt x="323" y="0"/>
                      <a:pt x="323" y="0"/>
                    </a:cubicBezTo>
                    <a:cubicBezTo>
                      <a:pt x="294" y="0"/>
                      <a:pt x="294" y="0"/>
                      <a:pt x="294" y="0"/>
                    </a:cubicBezTo>
                    <a:cubicBezTo>
                      <a:pt x="287" y="0"/>
                      <a:pt x="281" y="2"/>
                      <a:pt x="276" y="7"/>
                    </a:cubicBezTo>
                    <a:cubicBezTo>
                      <a:pt x="262" y="19"/>
                      <a:pt x="262" y="19"/>
                      <a:pt x="262" y="19"/>
                    </a:cubicBezTo>
                    <a:cubicBezTo>
                      <a:pt x="259" y="22"/>
                      <a:pt x="261" y="26"/>
                      <a:pt x="264" y="26"/>
                    </a:cubicBezTo>
                    <a:cubicBezTo>
                      <a:pt x="289" y="26"/>
                      <a:pt x="289" y="26"/>
                      <a:pt x="289" y="26"/>
                    </a:cubicBezTo>
                    <a:cubicBezTo>
                      <a:pt x="289" y="37"/>
                      <a:pt x="289" y="37"/>
                      <a:pt x="289" y="37"/>
                    </a:cubicBezTo>
                    <a:cubicBezTo>
                      <a:pt x="288" y="38"/>
                      <a:pt x="288" y="38"/>
                      <a:pt x="288" y="38"/>
                    </a:cubicBezTo>
                    <a:cubicBezTo>
                      <a:pt x="285" y="41"/>
                      <a:pt x="287" y="46"/>
                      <a:pt x="291" y="46"/>
                    </a:cubicBezTo>
                    <a:cubicBezTo>
                      <a:pt x="309" y="46"/>
                      <a:pt x="309" y="46"/>
                      <a:pt x="309" y="46"/>
                    </a:cubicBezTo>
                    <a:cubicBezTo>
                      <a:pt x="314" y="46"/>
                      <a:pt x="319" y="50"/>
                      <a:pt x="320" y="55"/>
                    </a:cubicBezTo>
                    <a:cubicBezTo>
                      <a:pt x="321" y="59"/>
                      <a:pt x="321" y="59"/>
                      <a:pt x="321" y="59"/>
                    </a:cubicBezTo>
                    <a:cubicBezTo>
                      <a:pt x="287" y="59"/>
                      <a:pt x="287" y="59"/>
                      <a:pt x="287" y="59"/>
                    </a:cubicBezTo>
                    <a:cubicBezTo>
                      <a:pt x="281" y="59"/>
                      <a:pt x="277" y="56"/>
                      <a:pt x="275" y="51"/>
                    </a:cubicBezTo>
                    <a:cubicBezTo>
                      <a:pt x="273" y="45"/>
                      <a:pt x="273" y="45"/>
                      <a:pt x="273" y="45"/>
                    </a:cubicBezTo>
                    <a:cubicBezTo>
                      <a:pt x="236" y="31"/>
                      <a:pt x="236" y="31"/>
                      <a:pt x="236" y="31"/>
                    </a:cubicBezTo>
                    <a:cubicBezTo>
                      <a:pt x="212" y="32"/>
                      <a:pt x="212" y="32"/>
                      <a:pt x="212" y="32"/>
                    </a:cubicBezTo>
                    <a:cubicBezTo>
                      <a:pt x="206" y="35"/>
                      <a:pt x="206" y="35"/>
                      <a:pt x="206" y="35"/>
                    </a:cubicBezTo>
                    <a:cubicBezTo>
                      <a:pt x="143" y="83"/>
                      <a:pt x="89" y="143"/>
                      <a:pt x="49" y="211"/>
                    </a:cubicBezTo>
                    <a:cubicBezTo>
                      <a:pt x="49" y="218"/>
                      <a:pt x="49" y="218"/>
                      <a:pt x="49" y="218"/>
                    </a:cubicBezTo>
                    <a:cubicBezTo>
                      <a:pt x="39" y="228"/>
                      <a:pt x="39" y="228"/>
                      <a:pt x="39" y="228"/>
                    </a:cubicBezTo>
                    <a:cubicBezTo>
                      <a:pt x="24" y="256"/>
                      <a:pt x="11" y="285"/>
                      <a:pt x="0" y="315"/>
                    </a:cubicBezTo>
                    <a:cubicBezTo>
                      <a:pt x="0" y="327"/>
                      <a:pt x="0" y="327"/>
                      <a:pt x="0" y="327"/>
                    </a:cubicBezTo>
                    <a:cubicBezTo>
                      <a:pt x="25" y="340"/>
                      <a:pt x="25" y="340"/>
                      <a:pt x="25" y="340"/>
                    </a:cubicBezTo>
                    <a:cubicBezTo>
                      <a:pt x="25" y="375"/>
                      <a:pt x="25" y="375"/>
                      <a:pt x="25" y="375"/>
                    </a:cubicBezTo>
                    <a:cubicBezTo>
                      <a:pt x="25" y="384"/>
                      <a:pt x="28" y="393"/>
                      <a:pt x="32" y="401"/>
                    </a:cubicBezTo>
                    <a:cubicBezTo>
                      <a:pt x="51" y="435"/>
                      <a:pt x="51" y="435"/>
                      <a:pt x="51" y="435"/>
                    </a:cubicBezTo>
                    <a:cubicBezTo>
                      <a:pt x="62" y="435"/>
                      <a:pt x="62" y="435"/>
                      <a:pt x="62" y="435"/>
                    </a:cubicBezTo>
                    <a:cubicBezTo>
                      <a:pt x="62" y="417"/>
                      <a:pt x="62" y="417"/>
                      <a:pt x="62" y="417"/>
                    </a:cubicBezTo>
                    <a:cubicBezTo>
                      <a:pt x="49" y="381"/>
                      <a:pt x="49" y="381"/>
                      <a:pt x="49" y="381"/>
                    </a:cubicBezTo>
                    <a:cubicBezTo>
                      <a:pt x="49" y="359"/>
                      <a:pt x="49" y="359"/>
                      <a:pt x="49" y="359"/>
                    </a:cubicBezTo>
                    <a:cubicBezTo>
                      <a:pt x="49" y="353"/>
                      <a:pt x="54" y="348"/>
                      <a:pt x="60" y="348"/>
                    </a:cubicBezTo>
                    <a:cubicBezTo>
                      <a:pt x="60" y="378"/>
                      <a:pt x="60" y="378"/>
                      <a:pt x="60" y="378"/>
                    </a:cubicBezTo>
                    <a:cubicBezTo>
                      <a:pt x="87" y="419"/>
                      <a:pt x="87" y="419"/>
                      <a:pt x="87" y="419"/>
                    </a:cubicBezTo>
                    <a:cubicBezTo>
                      <a:pt x="87" y="436"/>
                      <a:pt x="87" y="436"/>
                      <a:pt x="87" y="436"/>
                    </a:cubicBezTo>
                    <a:cubicBezTo>
                      <a:pt x="93" y="436"/>
                      <a:pt x="93" y="436"/>
                      <a:pt x="93" y="436"/>
                    </a:cubicBezTo>
                    <a:cubicBezTo>
                      <a:pt x="93" y="450"/>
                      <a:pt x="93" y="450"/>
                      <a:pt x="93" y="450"/>
                    </a:cubicBezTo>
                    <a:cubicBezTo>
                      <a:pt x="110" y="483"/>
                      <a:pt x="110" y="483"/>
                      <a:pt x="110" y="483"/>
                    </a:cubicBezTo>
                    <a:cubicBezTo>
                      <a:pt x="162" y="498"/>
                      <a:pt x="162" y="498"/>
                      <a:pt x="162" y="498"/>
                    </a:cubicBezTo>
                    <a:cubicBezTo>
                      <a:pt x="164" y="499"/>
                      <a:pt x="166" y="497"/>
                      <a:pt x="166" y="495"/>
                    </a:cubicBezTo>
                    <a:cubicBezTo>
                      <a:pt x="166" y="489"/>
                      <a:pt x="166" y="489"/>
                      <a:pt x="166" y="489"/>
                    </a:cubicBezTo>
                    <a:cubicBezTo>
                      <a:pt x="166" y="488"/>
                      <a:pt x="167" y="487"/>
                      <a:pt x="169" y="487"/>
                    </a:cubicBezTo>
                    <a:cubicBezTo>
                      <a:pt x="184" y="491"/>
                      <a:pt x="184" y="491"/>
                      <a:pt x="184" y="491"/>
                    </a:cubicBezTo>
                    <a:cubicBezTo>
                      <a:pt x="185" y="491"/>
                      <a:pt x="186" y="492"/>
                      <a:pt x="186" y="493"/>
                    </a:cubicBezTo>
                    <a:cubicBezTo>
                      <a:pt x="186" y="503"/>
                      <a:pt x="186" y="503"/>
                      <a:pt x="186" y="503"/>
                    </a:cubicBezTo>
                    <a:cubicBezTo>
                      <a:pt x="186" y="504"/>
                      <a:pt x="187" y="505"/>
                      <a:pt x="188" y="506"/>
                    </a:cubicBezTo>
                    <a:cubicBezTo>
                      <a:pt x="223" y="516"/>
                      <a:pt x="223" y="516"/>
                      <a:pt x="223" y="516"/>
                    </a:cubicBezTo>
                    <a:cubicBezTo>
                      <a:pt x="226" y="516"/>
                      <a:pt x="228" y="518"/>
                      <a:pt x="229" y="520"/>
                    </a:cubicBezTo>
                    <a:cubicBezTo>
                      <a:pt x="264" y="560"/>
                      <a:pt x="264" y="560"/>
                      <a:pt x="264" y="560"/>
                    </a:cubicBezTo>
                    <a:cubicBezTo>
                      <a:pt x="305" y="560"/>
                      <a:pt x="305" y="560"/>
                      <a:pt x="305" y="560"/>
                    </a:cubicBezTo>
                    <a:cubicBezTo>
                      <a:pt x="310" y="560"/>
                      <a:pt x="315" y="565"/>
                      <a:pt x="315" y="570"/>
                    </a:cubicBezTo>
                    <a:cubicBezTo>
                      <a:pt x="315" y="594"/>
                      <a:pt x="315" y="594"/>
                      <a:pt x="315" y="594"/>
                    </a:cubicBezTo>
                    <a:cubicBezTo>
                      <a:pt x="284" y="625"/>
                      <a:pt x="284" y="625"/>
                      <a:pt x="284" y="625"/>
                    </a:cubicBezTo>
                    <a:cubicBezTo>
                      <a:pt x="284" y="691"/>
                      <a:pt x="284" y="691"/>
                      <a:pt x="284" y="691"/>
                    </a:cubicBezTo>
                    <a:cubicBezTo>
                      <a:pt x="332" y="739"/>
                      <a:pt x="332" y="739"/>
                      <a:pt x="332" y="739"/>
                    </a:cubicBezTo>
                    <a:cubicBezTo>
                      <a:pt x="332" y="756"/>
                      <a:pt x="332" y="756"/>
                      <a:pt x="332" y="756"/>
                    </a:cubicBezTo>
                    <a:cubicBezTo>
                      <a:pt x="352" y="756"/>
                      <a:pt x="352" y="756"/>
                      <a:pt x="352" y="756"/>
                    </a:cubicBezTo>
                    <a:cubicBezTo>
                      <a:pt x="389" y="793"/>
                      <a:pt x="389" y="793"/>
                      <a:pt x="389" y="793"/>
                    </a:cubicBezTo>
                    <a:cubicBezTo>
                      <a:pt x="389" y="900"/>
                      <a:pt x="389" y="900"/>
                      <a:pt x="389" y="900"/>
                    </a:cubicBezTo>
                    <a:cubicBezTo>
                      <a:pt x="399" y="900"/>
                      <a:pt x="399" y="900"/>
                      <a:pt x="399" y="900"/>
                    </a:cubicBezTo>
                    <a:cubicBezTo>
                      <a:pt x="392" y="935"/>
                      <a:pt x="392" y="935"/>
                      <a:pt x="392" y="935"/>
                    </a:cubicBezTo>
                    <a:cubicBezTo>
                      <a:pt x="458" y="923"/>
                      <a:pt x="520" y="901"/>
                      <a:pt x="578" y="872"/>
                    </a:cubicBezTo>
                    <a:cubicBezTo>
                      <a:pt x="572" y="847"/>
                      <a:pt x="572" y="847"/>
                      <a:pt x="572" y="847"/>
                    </a:cubicBezTo>
                    <a:cubicBezTo>
                      <a:pt x="584" y="831"/>
                      <a:pt x="584" y="831"/>
                      <a:pt x="584" y="831"/>
                    </a:cubicBezTo>
                    <a:cubicBezTo>
                      <a:pt x="620" y="831"/>
                      <a:pt x="620" y="831"/>
                      <a:pt x="620" y="831"/>
                    </a:cubicBezTo>
                    <a:cubicBezTo>
                      <a:pt x="646" y="804"/>
                      <a:pt x="646" y="804"/>
                      <a:pt x="646" y="804"/>
                    </a:cubicBezTo>
                    <a:cubicBezTo>
                      <a:pt x="650" y="738"/>
                      <a:pt x="650" y="738"/>
                      <a:pt x="650" y="738"/>
                    </a:cubicBezTo>
                    <a:cubicBezTo>
                      <a:pt x="671" y="713"/>
                      <a:pt x="671" y="713"/>
                      <a:pt x="671" y="713"/>
                    </a:cubicBezTo>
                    <a:cubicBezTo>
                      <a:pt x="677" y="705"/>
                      <a:pt x="681" y="696"/>
                      <a:pt x="681" y="686"/>
                    </a:cubicBezTo>
                    <a:cubicBezTo>
                      <a:pt x="681" y="682"/>
                      <a:pt x="681" y="682"/>
                      <a:pt x="681" y="682"/>
                    </a:cubicBezTo>
                    <a:cubicBezTo>
                      <a:pt x="656" y="676"/>
                      <a:pt x="656" y="676"/>
                      <a:pt x="656" y="676"/>
                    </a:cubicBezTo>
                    <a:lnTo>
                      <a:pt x="643" y="649"/>
                    </a:lnTo>
                    <a:close/>
                    <a:moveTo>
                      <a:pt x="244" y="105"/>
                    </a:moveTo>
                    <a:cubicBezTo>
                      <a:pt x="214" y="105"/>
                      <a:pt x="214" y="105"/>
                      <a:pt x="214" y="105"/>
                    </a:cubicBezTo>
                    <a:cubicBezTo>
                      <a:pt x="211" y="105"/>
                      <a:pt x="210" y="101"/>
                      <a:pt x="213" y="100"/>
                    </a:cubicBezTo>
                    <a:cubicBezTo>
                      <a:pt x="222" y="95"/>
                      <a:pt x="222" y="95"/>
                      <a:pt x="222" y="95"/>
                    </a:cubicBezTo>
                    <a:cubicBezTo>
                      <a:pt x="225" y="93"/>
                      <a:pt x="228" y="92"/>
                      <a:pt x="230" y="92"/>
                    </a:cubicBezTo>
                    <a:cubicBezTo>
                      <a:pt x="244" y="92"/>
                      <a:pt x="244" y="92"/>
                      <a:pt x="244" y="92"/>
                    </a:cubicBezTo>
                    <a:lnTo>
                      <a:pt x="244" y="105"/>
                    </a:lnTo>
                    <a:close/>
                    <a:moveTo>
                      <a:pt x="363" y="268"/>
                    </a:moveTo>
                    <a:cubicBezTo>
                      <a:pt x="359" y="272"/>
                      <a:pt x="359" y="272"/>
                      <a:pt x="359" y="272"/>
                    </a:cubicBezTo>
                    <a:cubicBezTo>
                      <a:pt x="356" y="275"/>
                      <a:pt x="352" y="277"/>
                      <a:pt x="347" y="277"/>
                    </a:cubicBezTo>
                    <a:cubicBezTo>
                      <a:pt x="339" y="277"/>
                      <a:pt x="339" y="277"/>
                      <a:pt x="339" y="277"/>
                    </a:cubicBezTo>
                    <a:cubicBezTo>
                      <a:pt x="335" y="277"/>
                      <a:pt x="333" y="274"/>
                      <a:pt x="334" y="270"/>
                    </a:cubicBezTo>
                    <a:cubicBezTo>
                      <a:pt x="337" y="262"/>
                      <a:pt x="337" y="262"/>
                      <a:pt x="337" y="262"/>
                    </a:cubicBezTo>
                    <a:cubicBezTo>
                      <a:pt x="357" y="256"/>
                      <a:pt x="357" y="256"/>
                      <a:pt x="357" y="256"/>
                    </a:cubicBezTo>
                    <a:cubicBezTo>
                      <a:pt x="360" y="255"/>
                      <a:pt x="363" y="257"/>
                      <a:pt x="363" y="261"/>
                    </a:cubicBezTo>
                    <a:lnTo>
                      <a:pt x="363" y="268"/>
                    </a:lnTo>
                    <a:close/>
                    <a:moveTo>
                      <a:pt x="367" y="238"/>
                    </a:moveTo>
                    <a:cubicBezTo>
                      <a:pt x="367" y="240"/>
                      <a:pt x="366" y="242"/>
                      <a:pt x="364" y="243"/>
                    </a:cubicBezTo>
                    <a:cubicBezTo>
                      <a:pt x="360" y="247"/>
                      <a:pt x="360" y="247"/>
                      <a:pt x="360" y="247"/>
                    </a:cubicBezTo>
                    <a:cubicBezTo>
                      <a:pt x="359" y="249"/>
                      <a:pt x="357" y="249"/>
                      <a:pt x="355" y="249"/>
                    </a:cubicBezTo>
                    <a:cubicBezTo>
                      <a:pt x="346" y="249"/>
                      <a:pt x="346" y="249"/>
                      <a:pt x="346" y="249"/>
                    </a:cubicBezTo>
                    <a:cubicBezTo>
                      <a:pt x="346" y="231"/>
                      <a:pt x="346" y="231"/>
                      <a:pt x="346" y="231"/>
                    </a:cubicBezTo>
                    <a:cubicBezTo>
                      <a:pt x="367" y="231"/>
                      <a:pt x="367" y="231"/>
                      <a:pt x="367" y="231"/>
                    </a:cubicBezTo>
                    <a:lnTo>
                      <a:pt x="367" y="238"/>
                    </a:lnTo>
                    <a:close/>
                    <a:moveTo>
                      <a:pt x="382" y="233"/>
                    </a:moveTo>
                    <a:cubicBezTo>
                      <a:pt x="382" y="231"/>
                      <a:pt x="385" y="230"/>
                      <a:pt x="387" y="232"/>
                    </a:cubicBezTo>
                    <a:cubicBezTo>
                      <a:pt x="390" y="235"/>
                      <a:pt x="390" y="235"/>
                      <a:pt x="390" y="235"/>
                    </a:cubicBezTo>
                    <a:cubicBezTo>
                      <a:pt x="392" y="237"/>
                      <a:pt x="391" y="240"/>
                      <a:pt x="389" y="240"/>
                    </a:cubicBezTo>
                    <a:cubicBezTo>
                      <a:pt x="382" y="240"/>
                      <a:pt x="382" y="240"/>
                      <a:pt x="382" y="240"/>
                    </a:cubicBezTo>
                    <a:lnTo>
                      <a:pt x="382" y="233"/>
                    </a:lnTo>
                    <a:close/>
                    <a:moveTo>
                      <a:pt x="371" y="244"/>
                    </a:moveTo>
                    <a:cubicBezTo>
                      <a:pt x="392" y="248"/>
                      <a:pt x="392" y="248"/>
                      <a:pt x="392" y="248"/>
                    </a:cubicBezTo>
                    <a:cubicBezTo>
                      <a:pt x="396" y="249"/>
                      <a:pt x="398" y="252"/>
                      <a:pt x="398" y="256"/>
                    </a:cubicBezTo>
                    <a:cubicBezTo>
                      <a:pt x="398" y="266"/>
                      <a:pt x="398" y="266"/>
                      <a:pt x="398" y="266"/>
                    </a:cubicBezTo>
                    <a:cubicBezTo>
                      <a:pt x="386" y="266"/>
                      <a:pt x="386" y="266"/>
                      <a:pt x="386" y="266"/>
                    </a:cubicBezTo>
                    <a:cubicBezTo>
                      <a:pt x="381" y="266"/>
                      <a:pt x="377" y="263"/>
                      <a:pt x="375" y="259"/>
                    </a:cubicBezTo>
                    <a:cubicBezTo>
                      <a:pt x="371" y="254"/>
                      <a:pt x="371" y="254"/>
                      <a:pt x="371" y="254"/>
                    </a:cubicBezTo>
                    <a:lnTo>
                      <a:pt x="371" y="244"/>
                    </a:lnTo>
                    <a:close/>
                    <a:moveTo>
                      <a:pt x="356" y="216"/>
                    </a:moveTo>
                    <a:cubicBezTo>
                      <a:pt x="356" y="214"/>
                      <a:pt x="358" y="213"/>
                      <a:pt x="360" y="214"/>
                    </a:cubicBezTo>
                    <a:cubicBezTo>
                      <a:pt x="367" y="221"/>
                      <a:pt x="367" y="221"/>
                      <a:pt x="367" y="221"/>
                    </a:cubicBezTo>
                    <a:cubicBezTo>
                      <a:pt x="368" y="223"/>
                      <a:pt x="367" y="225"/>
                      <a:pt x="365" y="225"/>
                    </a:cubicBezTo>
                    <a:cubicBezTo>
                      <a:pt x="356" y="225"/>
                      <a:pt x="356" y="225"/>
                      <a:pt x="356" y="225"/>
                    </a:cubicBezTo>
                    <a:lnTo>
                      <a:pt x="356" y="216"/>
                    </a:lnTo>
                    <a:close/>
                    <a:moveTo>
                      <a:pt x="297" y="251"/>
                    </a:moveTo>
                    <a:cubicBezTo>
                      <a:pt x="297" y="248"/>
                      <a:pt x="298" y="245"/>
                      <a:pt x="300" y="243"/>
                    </a:cubicBezTo>
                    <a:cubicBezTo>
                      <a:pt x="316" y="226"/>
                      <a:pt x="316" y="226"/>
                      <a:pt x="316" y="226"/>
                    </a:cubicBezTo>
                    <a:cubicBezTo>
                      <a:pt x="297" y="226"/>
                      <a:pt x="297" y="226"/>
                      <a:pt x="297" y="226"/>
                    </a:cubicBezTo>
                    <a:cubicBezTo>
                      <a:pt x="297" y="217"/>
                      <a:pt x="297" y="217"/>
                      <a:pt x="297" y="217"/>
                    </a:cubicBezTo>
                    <a:cubicBezTo>
                      <a:pt x="317" y="204"/>
                      <a:pt x="317" y="204"/>
                      <a:pt x="317" y="204"/>
                    </a:cubicBezTo>
                    <a:cubicBezTo>
                      <a:pt x="319" y="203"/>
                      <a:pt x="321" y="203"/>
                      <a:pt x="323" y="203"/>
                    </a:cubicBezTo>
                    <a:cubicBezTo>
                      <a:pt x="337" y="203"/>
                      <a:pt x="337" y="203"/>
                      <a:pt x="337" y="203"/>
                    </a:cubicBezTo>
                    <a:cubicBezTo>
                      <a:pt x="341" y="203"/>
                      <a:pt x="345" y="205"/>
                      <a:pt x="347" y="209"/>
                    </a:cubicBezTo>
                    <a:cubicBezTo>
                      <a:pt x="348" y="213"/>
                      <a:pt x="348" y="213"/>
                      <a:pt x="348" y="213"/>
                    </a:cubicBezTo>
                    <a:cubicBezTo>
                      <a:pt x="348" y="226"/>
                      <a:pt x="348" y="226"/>
                      <a:pt x="348" y="226"/>
                    </a:cubicBezTo>
                    <a:cubicBezTo>
                      <a:pt x="333" y="226"/>
                      <a:pt x="333" y="226"/>
                      <a:pt x="333" y="226"/>
                    </a:cubicBezTo>
                    <a:cubicBezTo>
                      <a:pt x="308" y="268"/>
                      <a:pt x="308" y="268"/>
                      <a:pt x="308" y="268"/>
                    </a:cubicBezTo>
                    <a:cubicBezTo>
                      <a:pt x="305" y="266"/>
                      <a:pt x="305" y="266"/>
                      <a:pt x="305" y="266"/>
                    </a:cubicBezTo>
                    <a:cubicBezTo>
                      <a:pt x="300" y="264"/>
                      <a:pt x="297" y="259"/>
                      <a:pt x="297" y="253"/>
                    </a:cubicBezTo>
                    <a:lnTo>
                      <a:pt x="297" y="251"/>
                    </a:lnTo>
                    <a:close/>
                    <a:moveTo>
                      <a:pt x="275" y="159"/>
                    </a:moveTo>
                    <a:cubicBezTo>
                      <a:pt x="277" y="158"/>
                      <a:pt x="279" y="158"/>
                      <a:pt x="281" y="158"/>
                    </a:cubicBezTo>
                    <a:cubicBezTo>
                      <a:pt x="287" y="159"/>
                      <a:pt x="287" y="159"/>
                      <a:pt x="287" y="159"/>
                    </a:cubicBezTo>
                    <a:cubicBezTo>
                      <a:pt x="290" y="160"/>
                      <a:pt x="293" y="163"/>
                      <a:pt x="293" y="167"/>
                    </a:cubicBezTo>
                    <a:cubicBezTo>
                      <a:pt x="293" y="179"/>
                      <a:pt x="293" y="179"/>
                      <a:pt x="293" y="179"/>
                    </a:cubicBezTo>
                    <a:cubicBezTo>
                      <a:pt x="282" y="185"/>
                      <a:pt x="282" y="185"/>
                      <a:pt x="282" y="185"/>
                    </a:cubicBezTo>
                    <a:cubicBezTo>
                      <a:pt x="278" y="186"/>
                      <a:pt x="274" y="185"/>
                      <a:pt x="272" y="182"/>
                    </a:cubicBezTo>
                    <a:cubicBezTo>
                      <a:pt x="263" y="168"/>
                      <a:pt x="263" y="168"/>
                      <a:pt x="263" y="168"/>
                    </a:cubicBezTo>
                    <a:lnTo>
                      <a:pt x="275" y="159"/>
                    </a:lnTo>
                    <a:close/>
                    <a:moveTo>
                      <a:pt x="201" y="69"/>
                    </a:moveTo>
                    <a:cubicBezTo>
                      <a:pt x="201" y="66"/>
                      <a:pt x="204" y="63"/>
                      <a:pt x="207" y="62"/>
                    </a:cubicBezTo>
                    <a:cubicBezTo>
                      <a:pt x="223" y="59"/>
                      <a:pt x="223" y="59"/>
                      <a:pt x="223" y="59"/>
                    </a:cubicBezTo>
                    <a:cubicBezTo>
                      <a:pt x="244" y="59"/>
                      <a:pt x="244" y="59"/>
                      <a:pt x="244" y="59"/>
                    </a:cubicBezTo>
                    <a:cubicBezTo>
                      <a:pt x="244" y="72"/>
                      <a:pt x="244" y="72"/>
                      <a:pt x="244" y="72"/>
                    </a:cubicBezTo>
                    <a:cubicBezTo>
                      <a:pt x="239" y="76"/>
                      <a:pt x="239" y="76"/>
                      <a:pt x="239" y="76"/>
                    </a:cubicBezTo>
                    <a:cubicBezTo>
                      <a:pt x="236" y="77"/>
                      <a:pt x="234" y="78"/>
                      <a:pt x="231" y="78"/>
                    </a:cubicBezTo>
                    <a:cubicBezTo>
                      <a:pt x="208" y="78"/>
                      <a:pt x="208" y="78"/>
                      <a:pt x="208" y="78"/>
                    </a:cubicBezTo>
                    <a:cubicBezTo>
                      <a:pt x="205" y="78"/>
                      <a:pt x="201" y="75"/>
                      <a:pt x="201" y="71"/>
                    </a:cubicBezTo>
                    <a:lnTo>
                      <a:pt x="201" y="69"/>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73" name="Freeform 26">
                <a:extLst>
                  <a:ext uri="{FF2B5EF4-FFF2-40B4-BE49-F238E27FC236}">
                    <a16:creationId xmlns:a16="http://schemas.microsoft.com/office/drawing/2014/main" id="{FC90033B-F37C-4BD3-8FCA-E89526DE8F06}"/>
                  </a:ext>
                </a:extLst>
              </p:cNvPr>
              <p:cNvSpPr>
                <a:spLocks/>
              </p:cNvSpPr>
              <p:nvPr/>
            </p:nvSpPr>
            <p:spPr bwMode="auto">
              <a:xfrm>
                <a:off x="5621047" y="3837696"/>
                <a:ext cx="160042" cy="75882"/>
              </a:xfrm>
              <a:custGeom>
                <a:avLst/>
                <a:gdLst>
                  <a:gd name="T0" fmla="*/ 0 w 175"/>
                  <a:gd name="T1" fmla="*/ 83 h 83"/>
                  <a:gd name="T2" fmla="*/ 175 w 175"/>
                  <a:gd name="T3" fmla="*/ 25 h 83"/>
                  <a:gd name="T4" fmla="*/ 43 w 175"/>
                  <a:gd name="T5" fmla="*/ 0 h 83"/>
                  <a:gd name="T6" fmla="*/ 0 w 175"/>
                  <a:gd name="T7" fmla="*/ 83 h 83"/>
                </a:gdLst>
                <a:ahLst/>
                <a:cxnLst>
                  <a:cxn ang="0">
                    <a:pos x="T0" y="T1"/>
                  </a:cxn>
                  <a:cxn ang="0">
                    <a:pos x="T2" y="T3"/>
                  </a:cxn>
                  <a:cxn ang="0">
                    <a:pos x="T4" y="T5"/>
                  </a:cxn>
                  <a:cxn ang="0">
                    <a:pos x="T6" y="T7"/>
                  </a:cxn>
                </a:cxnLst>
                <a:rect l="0" t="0" r="r" b="b"/>
                <a:pathLst>
                  <a:path w="175" h="83">
                    <a:moveTo>
                      <a:pt x="0" y="83"/>
                    </a:moveTo>
                    <a:cubicBezTo>
                      <a:pt x="175" y="25"/>
                      <a:pt x="175" y="25"/>
                      <a:pt x="175" y="25"/>
                    </a:cubicBezTo>
                    <a:cubicBezTo>
                      <a:pt x="43" y="0"/>
                      <a:pt x="43" y="0"/>
                      <a:pt x="43" y="0"/>
                    </a:cubicBezTo>
                    <a:cubicBezTo>
                      <a:pt x="26" y="26"/>
                      <a:pt x="12" y="54"/>
                      <a:pt x="0" y="8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74" name="Freeform 27">
                <a:extLst>
                  <a:ext uri="{FF2B5EF4-FFF2-40B4-BE49-F238E27FC236}">
                    <a16:creationId xmlns:a16="http://schemas.microsoft.com/office/drawing/2014/main" id="{C978C218-A7BD-4ADE-995D-AEC40307FB2C}"/>
                  </a:ext>
                </a:extLst>
              </p:cNvPr>
              <p:cNvSpPr>
                <a:spLocks/>
              </p:cNvSpPr>
              <p:nvPr/>
            </p:nvSpPr>
            <p:spPr bwMode="auto">
              <a:xfrm>
                <a:off x="6289498" y="3933583"/>
                <a:ext cx="209710" cy="255929"/>
              </a:xfrm>
              <a:custGeom>
                <a:avLst/>
                <a:gdLst>
                  <a:gd name="T0" fmla="*/ 164 w 229"/>
                  <a:gd name="T1" fmla="*/ 0 h 279"/>
                  <a:gd name="T2" fmla="*/ 146 w 229"/>
                  <a:gd name="T3" fmla="*/ 15 h 279"/>
                  <a:gd name="T4" fmla="*/ 98 w 229"/>
                  <a:gd name="T5" fmla="*/ 15 h 279"/>
                  <a:gd name="T6" fmla="*/ 69 w 229"/>
                  <a:gd name="T7" fmla="*/ 34 h 279"/>
                  <a:gd name="T8" fmla="*/ 69 w 229"/>
                  <a:gd name="T9" fmla="*/ 68 h 279"/>
                  <a:gd name="T10" fmla="*/ 0 w 229"/>
                  <a:gd name="T11" fmla="*/ 117 h 279"/>
                  <a:gd name="T12" fmla="*/ 0 w 229"/>
                  <a:gd name="T13" fmla="*/ 136 h 279"/>
                  <a:gd name="T14" fmla="*/ 20 w 229"/>
                  <a:gd name="T15" fmla="*/ 136 h 279"/>
                  <a:gd name="T16" fmla="*/ 20 w 229"/>
                  <a:gd name="T17" fmla="*/ 158 h 279"/>
                  <a:gd name="T18" fmla="*/ 0 w 229"/>
                  <a:gd name="T19" fmla="*/ 158 h 279"/>
                  <a:gd name="T20" fmla="*/ 0 w 229"/>
                  <a:gd name="T21" fmla="*/ 218 h 279"/>
                  <a:gd name="T22" fmla="*/ 61 w 229"/>
                  <a:gd name="T23" fmla="*/ 279 h 279"/>
                  <a:gd name="T24" fmla="*/ 138 w 229"/>
                  <a:gd name="T25" fmla="*/ 279 h 279"/>
                  <a:gd name="T26" fmla="*/ 138 w 229"/>
                  <a:gd name="T27" fmla="*/ 279 h 279"/>
                  <a:gd name="T28" fmla="*/ 229 w 229"/>
                  <a:gd name="T29" fmla="*/ 0 h 279"/>
                  <a:gd name="T30" fmla="*/ 164 w 229"/>
                  <a:gd name="T31"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9" h="279">
                    <a:moveTo>
                      <a:pt x="164" y="0"/>
                    </a:move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38" y="279"/>
                      <a:pt x="138" y="279"/>
                      <a:pt x="138" y="279"/>
                    </a:cubicBezTo>
                    <a:cubicBezTo>
                      <a:pt x="186" y="195"/>
                      <a:pt x="218" y="101"/>
                      <a:pt x="229" y="0"/>
                    </a:cubicBezTo>
                    <a:lnTo>
                      <a:pt x="164" y="0"/>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76" name="Freeform 28">
                <a:extLst>
                  <a:ext uri="{FF2B5EF4-FFF2-40B4-BE49-F238E27FC236}">
                    <a16:creationId xmlns:a16="http://schemas.microsoft.com/office/drawing/2014/main" id="{E6473C27-48E0-40F2-8640-FD05DC059DD1}"/>
                  </a:ext>
                </a:extLst>
              </p:cNvPr>
              <p:cNvSpPr>
                <a:spLocks/>
              </p:cNvSpPr>
              <p:nvPr/>
            </p:nvSpPr>
            <p:spPr bwMode="auto">
              <a:xfrm>
                <a:off x="6461267" y="3731461"/>
                <a:ext cx="36562" cy="57257"/>
              </a:xfrm>
              <a:custGeom>
                <a:avLst/>
                <a:gdLst>
                  <a:gd name="T0" fmla="*/ 0 w 40"/>
                  <a:gd name="T1" fmla="*/ 38 h 63"/>
                  <a:gd name="T2" fmla="*/ 20 w 40"/>
                  <a:gd name="T3" fmla="*/ 38 h 63"/>
                  <a:gd name="T4" fmla="*/ 26 w 40"/>
                  <a:gd name="T5" fmla="*/ 63 h 63"/>
                  <a:gd name="T6" fmla="*/ 40 w 40"/>
                  <a:gd name="T7" fmla="*/ 56 h 63"/>
                  <a:gd name="T8" fmla="*/ 31 w 40"/>
                  <a:gd name="T9" fmla="*/ 0 h 63"/>
                  <a:gd name="T10" fmla="*/ 23 w 40"/>
                  <a:gd name="T11" fmla="*/ 2 h 63"/>
                  <a:gd name="T12" fmla="*/ 0 w 40"/>
                  <a:gd name="T13" fmla="*/ 18 h 63"/>
                  <a:gd name="T14" fmla="*/ 0 w 40"/>
                  <a:gd name="T15" fmla="*/ 38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63">
                    <a:moveTo>
                      <a:pt x="0" y="38"/>
                    </a:moveTo>
                    <a:cubicBezTo>
                      <a:pt x="20" y="38"/>
                      <a:pt x="20" y="38"/>
                      <a:pt x="20" y="38"/>
                    </a:cubicBezTo>
                    <a:cubicBezTo>
                      <a:pt x="26" y="63"/>
                      <a:pt x="26" y="63"/>
                      <a:pt x="26" y="63"/>
                    </a:cubicBezTo>
                    <a:cubicBezTo>
                      <a:pt x="40" y="56"/>
                      <a:pt x="40" y="56"/>
                      <a:pt x="40" y="56"/>
                    </a:cubicBezTo>
                    <a:cubicBezTo>
                      <a:pt x="38" y="37"/>
                      <a:pt x="35" y="18"/>
                      <a:pt x="31" y="0"/>
                    </a:cubicBezTo>
                    <a:cubicBezTo>
                      <a:pt x="23" y="2"/>
                      <a:pt x="23" y="2"/>
                      <a:pt x="23" y="2"/>
                    </a:cubicBezTo>
                    <a:cubicBezTo>
                      <a:pt x="0" y="18"/>
                      <a:pt x="0" y="18"/>
                      <a:pt x="0" y="18"/>
                    </a:cubicBezTo>
                    <a:lnTo>
                      <a:pt x="0" y="38"/>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01" name="Freeform 29">
                <a:extLst>
                  <a:ext uri="{FF2B5EF4-FFF2-40B4-BE49-F238E27FC236}">
                    <a16:creationId xmlns:a16="http://schemas.microsoft.com/office/drawing/2014/main" id="{4FB34703-A3E6-4958-97D8-20EAD10DE9EF}"/>
                  </a:ext>
                </a:extLst>
              </p:cNvPr>
              <p:cNvSpPr>
                <a:spLocks/>
              </p:cNvSpPr>
              <p:nvPr/>
            </p:nvSpPr>
            <p:spPr bwMode="auto">
              <a:xfrm>
                <a:off x="6361241" y="3801825"/>
                <a:ext cx="141417" cy="131069"/>
              </a:xfrm>
              <a:custGeom>
                <a:avLst/>
                <a:gdLst>
                  <a:gd name="T0" fmla="*/ 155 w 155"/>
                  <a:gd name="T1" fmla="*/ 96 h 143"/>
                  <a:gd name="T2" fmla="*/ 155 w 155"/>
                  <a:gd name="T3" fmla="*/ 65 h 143"/>
                  <a:gd name="T4" fmla="*/ 152 w 155"/>
                  <a:gd name="T5" fmla="*/ 0 h 143"/>
                  <a:gd name="T6" fmla="*/ 115 w 155"/>
                  <a:gd name="T7" fmla="*/ 0 h 143"/>
                  <a:gd name="T8" fmla="*/ 91 w 155"/>
                  <a:gd name="T9" fmla="*/ 35 h 143"/>
                  <a:gd name="T10" fmla="*/ 62 w 155"/>
                  <a:gd name="T11" fmla="*/ 35 h 143"/>
                  <a:gd name="T12" fmla="*/ 56 w 155"/>
                  <a:gd name="T13" fmla="*/ 67 h 143"/>
                  <a:gd name="T14" fmla="*/ 72 w 155"/>
                  <a:gd name="T15" fmla="*/ 67 h 143"/>
                  <a:gd name="T16" fmla="*/ 72 w 155"/>
                  <a:gd name="T17" fmla="*/ 88 h 143"/>
                  <a:gd name="T18" fmla="*/ 48 w 155"/>
                  <a:gd name="T19" fmla="*/ 80 h 143"/>
                  <a:gd name="T20" fmla="*/ 24 w 155"/>
                  <a:gd name="T21" fmla="*/ 80 h 143"/>
                  <a:gd name="T22" fmla="*/ 0 w 155"/>
                  <a:gd name="T23" fmla="*/ 90 h 143"/>
                  <a:gd name="T24" fmla="*/ 0 w 155"/>
                  <a:gd name="T25" fmla="*/ 129 h 143"/>
                  <a:gd name="T26" fmla="*/ 18 w 155"/>
                  <a:gd name="T27" fmla="*/ 143 h 143"/>
                  <a:gd name="T28" fmla="*/ 70 w 155"/>
                  <a:gd name="T29" fmla="*/ 143 h 143"/>
                  <a:gd name="T30" fmla="*/ 70 w 155"/>
                  <a:gd name="T31" fmla="*/ 131 h 143"/>
                  <a:gd name="T32" fmla="*/ 106 w 155"/>
                  <a:gd name="T33" fmla="*/ 93 h 143"/>
                  <a:gd name="T34" fmla="*/ 125 w 155"/>
                  <a:gd name="T35" fmla="*/ 93 h 143"/>
                  <a:gd name="T36" fmla="*/ 144 w 155"/>
                  <a:gd name="T37" fmla="*/ 77 h 143"/>
                  <a:gd name="T38" fmla="*/ 144 w 155"/>
                  <a:gd name="T39" fmla="*/ 90 h 143"/>
                  <a:gd name="T40" fmla="*/ 155 w 155"/>
                  <a:gd name="T41" fmla="*/ 9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143">
                    <a:moveTo>
                      <a:pt x="155" y="96"/>
                    </a:moveTo>
                    <a:cubicBezTo>
                      <a:pt x="155" y="86"/>
                      <a:pt x="155" y="76"/>
                      <a:pt x="155" y="65"/>
                    </a:cubicBezTo>
                    <a:cubicBezTo>
                      <a:pt x="155" y="43"/>
                      <a:pt x="154" y="21"/>
                      <a:pt x="152" y="0"/>
                    </a:cubicBezTo>
                    <a:cubicBezTo>
                      <a:pt x="115" y="0"/>
                      <a:pt x="115" y="0"/>
                      <a:pt x="115" y="0"/>
                    </a:cubicBezTo>
                    <a:cubicBezTo>
                      <a:pt x="91" y="35"/>
                      <a:pt x="91" y="35"/>
                      <a:pt x="91" y="35"/>
                    </a:cubicBezTo>
                    <a:cubicBezTo>
                      <a:pt x="62" y="35"/>
                      <a:pt x="62" y="35"/>
                      <a:pt x="62" y="35"/>
                    </a:cubicBezTo>
                    <a:cubicBezTo>
                      <a:pt x="56" y="67"/>
                      <a:pt x="56" y="67"/>
                      <a:pt x="56" y="67"/>
                    </a:cubicBezTo>
                    <a:cubicBezTo>
                      <a:pt x="72" y="67"/>
                      <a:pt x="72" y="67"/>
                      <a:pt x="72" y="67"/>
                    </a:cubicBezTo>
                    <a:cubicBezTo>
                      <a:pt x="72" y="88"/>
                      <a:pt x="72" y="88"/>
                      <a:pt x="72" y="88"/>
                    </a:cubicBezTo>
                    <a:cubicBezTo>
                      <a:pt x="48" y="80"/>
                      <a:pt x="48" y="80"/>
                      <a:pt x="48" y="80"/>
                    </a:cubicBezTo>
                    <a:cubicBezTo>
                      <a:pt x="24" y="80"/>
                      <a:pt x="24" y="80"/>
                      <a:pt x="24" y="80"/>
                    </a:cubicBezTo>
                    <a:cubicBezTo>
                      <a:pt x="0" y="90"/>
                      <a:pt x="0" y="90"/>
                      <a:pt x="0" y="90"/>
                    </a:cubicBezTo>
                    <a:cubicBezTo>
                      <a:pt x="0" y="129"/>
                      <a:pt x="0" y="129"/>
                      <a:pt x="0" y="129"/>
                    </a:cubicBezTo>
                    <a:cubicBezTo>
                      <a:pt x="18" y="143"/>
                      <a:pt x="18" y="143"/>
                      <a:pt x="18" y="143"/>
                    </a:cubicBezTo>
                    <a:cubicBezTo>
                      <a:pt x="70" y="143"/>
                      <a:pt x="70" y="143"/>
                      <a:pt x="70" y="143"/>
                    </a:cubicBezTo>
                    <a:cubicBezTo>
                      <a:pt x="70" y="131"/>
                      <a:pt x="70" y="131"/>
                      <a:pt x="70" y="131"/>
                    </a:cubicBezTo>
                    <a:cubicBezTo>
                      <a:pt x="106" y="93"/>
                      <a:pt x="106" y="93"/>
                      <a:pt x="106" y="93"/>
                    </a:cubicBezTo>
                    <a:cubicBezTo>
                      <a:pt x="125" y="93"/>
                      <a:pt x="125" y="93"/>
                      <a:pt x="125" y="93"/>
                    </a:cubicBezTo>
                    <a:cubicBezTo>
                      <a:pt x="144" y="77"/>
                      <a:pt x="144" y="77"/>
                      <a:pt x="144" y="77"/>
                    </a:cubicBezTo>
                    <a:cubicBezTo>
                      <a:pt x="144" y="90"/>
                      <a:pt x="144" y="90"/>
                      <a:pt x="144" y="90"/>
                    </a:cubicBezTo>
                    <a:lnTo>
                      <a:pt x="155" y="96"/>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02" name="Freeform 31">
                <a:extLst>
                  <a:ext uri="{FF2B5EF4-FFF2-40B4-BE49-F238E27FC236}">
                    <a16:creationId xmlns:a16="http://schemas.microsoft.com/office/drawing/2014/main" id="{C1B2F627-6B3C-42BC-9571-25723F1CE42C}"/>
                  </a:ext>
                </a:extLst>
              </p:cNvPr>
              <p:cNvSpPr>
                <a:spLocks/>
              </p:cNvSpPr>
              <p:nvPr/>
            </p:nvSpPr>
            <p:spPr bwMode="auto">
              <a:xfrm>
                <a:off x="5029857" y="3288586"/>
                <a:ext cx="750542" cy="571874"/>
              </a:xfrm>
              <a:custGeom>
                <a:avLst/>
                <a:gdLst>
                  <a:gd name="T0" fmla="*/ 0 w 821"/>
                  <a:gd name="T1" fmla="*/ 119 h 624"/>
                  <a:gd name="T2" fmla="*/ 0 w 821"/>
                  <a:gd name="T3" fmla="*/ 392 h 624"/>
                  <a:gd name="T4" fmla="*/ 119 w 821"/>
                  <a:gd name="T5" fmla="*/ 624 h 624"/>
                  <a:gd name="T6" fmla="*/ 821 w 821"/>
                  <a:gd name="T7" fmla="*/ 624 h 624"/>
                  <a:gd name="T8" fmla="*/ 655 w 821"/>
                  <a:gd name="T9" fmla="*/ 513 h 624"/>
                  <a:gd name="T10" fmla="*/ 656 w 821"/>
                  <a:gd name="T11" fmla="*/ 506 h 624"/>
                  <a:gd name="T12" fmla="*/ 656 w 821"/>
                  <a:gd name="T13" fmla="*/ 119 h 624"/>
                  <a:gd name="T14" fmla="*/ 537 w 821"/>
                  <a:gd name="T15" fmla="*/ 0 h 624"/>
                  <a:gd name="T16" fmla="*/ 119 w 821"/>
                  <a:gd name="T17" fmla="*/ 0 h 624"/>
                  <a:gd name="T18" fmla="*/ 0 w 821"/>
                  <a:gd name="T19" fmla="*/ 119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1" h="624">
                    <a:moveTo>
                      <a:pt x="0" y="119"/>
                    </a:moveTo>
                    <a:cubicBezTo>
                      <a:pt x="0" y="392"/>
                      <a:pt x="0" y="392"/>
                      <a:pt x="0" y="392"/>
                    </a:cubicBezTo>
                    <a:cubicBezTo>
                      <a:pt x="0" y="458"/>
                      <a:pt x="54" y="624"/>
                      <a:pt x="119" y="624"/>
                    </a:cubicBezTo>
                    <a:cubicBezTo>
                      <a:pt x="821" y="624"/>
                      <a:pt x="821" y="624"/>
                      <a:pt x="821" y="624"/>
                    </a:cubicBezTo>
                    <a:cubicBezTo>
                      <a:pt x="655" y="513"/>
                      <a:pt x="655" y="513"/>
                      <a:pt x="655" y="513"/>
                    </a:cubicBezTo>
                    <a:cubicBezTo>
                      <a:pt x="655" y="511"/>
                      <a:pt x="656" y="509"/>
                      <a:pt x="656" y="506"/>
                    </a:cubicBezTo>
                    <a:cubicBezTo>
                      <a:pt x="656" y="119"/>
                      <a:pt x="656" y="119"/>
                      <a:pt x="656" y="119"/>
                    </a:cubicBezTo>
                    <a:cubicBezTo>
                      <a:pt x="656" y="54"/>
                      <a:pt x="602" y="0"/>
                      <a:pt x="537" y="0"/>
                    </a:cubicBezTo>
                    <a:cubicBezTo>
                      <a:pt x="119" y="0"/>
                      <a:pt x="119" y="0"/>
                      <a:pt x="119" y="0"/>
                    </a:cubicBezTo>
                    <a:cubicBezTo>
                      <a:pt x="54" y="0"/>
                      <a:pt x="0" y="54"/>
                      <a:pt x="0" y="11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03" name="Freeform 32">
                <a:extLst>
                  <a:ext uri="{FF2B5EF4-FFF2-40B4-BE49-F238E27FC236}">
                    <a16:creationId xmlns:a16="http://schemas.microsoft.com/office/drawing/2014/main" id="{A9EDE688-4033-47CE-8E75-474A0E773F8F}"/>
                  </a:ext>
                </a:extLst>
              </p:cNvPr>
              <p:cNvSpPr>
                <a:spLocks/>
              </p:cNvSpPr>
              <p:nvPr/>
            </p:nvSpPr>
            <p:spPr bwMode="auto">
              <a:xfrm>
                <a:off x="5223012" y="4401292"/>
                <a:ext cx="558078" cy="648446"/>
              </a:xfrm>
              <a:custGeom>
                <a:avLst/>
                <a:gdLst>
                  <a:gd name="T0" fmla="*/ 117 w 611"/>
                  <a:gd name="T1" fmla="*/ 708 h 708"/>
                  <a:gd name="T2" fmla="*/ 496 w 611"/>
                  <a:gd name="T3" fmla="*/ 708 h 708"/>
                  <a:gd name="T4" fmla="*/ 611 w 611"/>
                  <a:gd name="T5" fmla="*/ 591 h 708"/>
                  <a:gd name="T6" fmla="*/ 611 w 611"/>
                  <a:gd name="T7" fmla="*/ 0 h 708"/>
                  <a:gd name="T8" fmla="*/ 503 w 611"/>
                  <a:gd name="T9" fmla="*/ 162 h 708"/>
                  <a:gd name="T10" fmla="*/ 496 w 611"/>
                  <a:gd name="T11" fmla="*/ 162 h 708"/>
                  <a:gd name="T12" fmla="*/ 117 w 611"/>
                  <a:gd name="T13" fmla="*/ 162 h 708"/>
                  <a:gd name="T14" fmla="*/ 0 w 611"/>
                  <a:gd name="T15" fmla="*/ 279 h 708"/>
                  <a:gd name="T16" fmla="*/ 0 w 611"/>
                  <a:gd name="T17" fmla="*/ 591 h 708"/>
                  <a:gd name="T18" fmla="*/ 117 w 611"/>
                  <a:gd name="T19"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1" h="708">
                    <a:moveTo>
                      <a:pt x="117" y="708"/>
                    </a:moveTo>
                    <a:cubicBezTo>
                      <a:pt x="496" y="708"/>
                      <a:pt x="496" y="708"/>
                      <a:pt x="496" y="708"/>
                    </a:cubicBezTo>
                    <a:cubicBezTo>
                      <a:pt x="560" y="708"/>
                      <a:pt x="611" y="655"/>
                      <a:pt x="611" y="591"/>
                    </a:cubicBezTo>
                    <a:cubicBezTo>
                      <a:pt x="611" y="0"/>
                      <a:pt x="611" y="0"/>
                      <a:pt x="611" y="0"/>
                    </a:cubicBezTo>
                    <a:cubicBezTo>
                      <a:pt x="503" y="162"/>
                      <a:pt x="503" y="162"/>
                      <a:pt x="503" y="162"/>
                    </a:cubicBezTo>
                    <a:cubicBezTo>
                      <a:pt x="501" y="162"/>
                      <a:pt x="498" y="162"/>
                      <a:pt x="496" y="162"/>
                    </a:cubicBezTo>
                    <a:cubicBezTo>
                      <a:pt x="117" y="162"/>
                      <a:pt x="117" y="162"/>
                      <a:pt x="117" y="162"/>
                    </a:cubicBezTo>
                    <a:cubicBezTo>
                      <a:pt x="53" y="162"/>
                      <a:pt x="0" y="214"/>
                      <a:pt x="0" y="279"/>
                    </a:cubicBezTo>
                    <a:cubicBezTo>
                      <a:pt x="0" y="591"/>
                      <a:pt x="0" y="591"/>
                      <a:pt x="0" y="591"/>
                    </a:cubicBezTo>
                    <a:cubicBezTo>
                      <a:pt x="0" y="655"/>
                      <a:pt x="53" y="708"/>
                      <a:pt x="117" y="708"/>
                    </a:cubicBezTo>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nvGrpSpPr>
              <p:cNvPr id="705" name="Group 704">
                <a:extLst>
                  <a:ext uri="{FF2B5EF4-FFF2-40B4-BE49-F238E27FC236}">
                    <a16:creationId xmlns:a16="http://schemas.microsoft.com/office/drawing/2014/main" id="{22DD712F-F472-4196-B8F6-779EF4582CD9}"/>
                  </a:ext>
                </a:extLst>
              </p:cNvPr>
              <p:cNvGrpSpPr/>
              <p:nvPr/>
            </p:nvGrpSpPr>
            <p:grpSpPr>
              <a:xfrm>
                <a:off x="6284813" y="4699169"/>
                <a:ext cx="352908" cy="353886"/>
                <a:chOff x="6387455" y="4764836"/>
                <a:chExt cx="248341" cy="249031"/>
              </a:xfrm>
            </p:grpSpPr>
            <p:sp>
              <p:nvSpPr>
                <p:cNvPr id="783" name="Oval 33">
                  <a:extLst>
                    <a:ext uri="{FF2B5EF4-FFF2-40B4-BE49-F238E27FC236}">
                      <a16:creationId xmlns:a16="http://schemas.microsoft.com/office/drawing/2014/main" id="{C92F28AC-14FB-4ADE-9450-C8DF609D8DD0}"/>
                    </a:ext>
                  </a:extLst>
                </p:cNvPr>
                <p:cNvSpPr>
                  <a:spLocks noChangeArrowheads="1"/>
                </p:cNvSpPr>
                <p:nvPr/>
              </p:nvSpPr>
              <p:spPr bwMode="auto">
                <a:xfrm>
                  <a:off x="6387455" y="4764836"/>
                  <a:ext cx="248341" cy="249031"/>
                </a:xfrm>
                <a:prstGeom prst="ellipse">
                  <a:avLst/>
                </a:pr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4" name="Freeform 34">
                  <a:extLst>
                    <a:ext uri="{FF2B5EF4-FFF2-40B4-BE49-F238E27FC236}">
                      <a16:creationId xmlns:a16="http://schemas.microsoft.com/office/drawing/2014/main" id="{5A408D37-61E9-4BB0-A31A-13D5861C9B6C}"/>
                    </a:ext>
                  </a:extLst>
                </p:cNvPr>
                <p:cNvSpPr>
                  <a:spLocks/>
                </p:cNvSpPr>
                <p:nvPr/>
              </p:nvSpPr>
              <p:spPr bwMode="auto">
                <a:xfrm>
                  <a:off x="6440572" y="4837269"/>
                  <a:ext cx="145556" cy="97957"/>
                </a:xfrm>
                <a:custGeom>
                  <a:avLst/>
                  <a:gdLst>
                    <a:gd name="T0" fmla="*/ 87 w 211"/>
                    <a:gd name="T1" fmla="*/ 20 h 142"/>
                    <a:gd name="T2" fmla="*/ 87 w 211"/>
                    <a:gd name="T3" fmla="*/ 0 h 142"/>
                    <a:gd name="T4" fmla="*/ 33 w 211"/>
                    <a:gd name="T5" fmla="*/ 0 h 142"/>
                    <a:gd name="T6" fmla="*/ 33 w 211"/>
                    <a:gd name="T7" fmla="*/ 20 h 142"/>
                    <a:gd name="T8" fmla="*/ 0 w 211"/>
                    <a:gd name="T9" fmla="*/ 20 h 142"/>
                    <a:gd name="T10" fmla="*/ 0 w 211"/>
                    <a:gd name="T11" fmla="*/ 142 h 142"/>
                    <a:gd name="T12" fmla="*/ 211 w 211"/>
                    <a:gd name="T13" fmla="*/ 142 h 142"/>
                    <a:gd name="T14" fmla="*/ 211 w 211"/>
                    <a:gd name="T15" fmla="*/ 20 h 142"/>
                    <a:gd name="T16" fmla="*/ 87 w 211"/>
                    <a:gd name="T17" fmla="*/ 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42">
                      <a:moveTo>
                        <a:pt x="87" y="20"/>
                      </a:moveTo>
                      <a:lnTo>
                        <a:pt x="87" y="0"/>
                      </a:lnTo>
                      <a:lnTo>
                        <a:pt x="33" y="0"/>
                      </a:lnTo>
                      <a:lnTo>
                        <a:pt x="33" y="20"/>
                      </a:lnTo>
                      <a:lnTo>
                        <a:pt x="0" y="20"/>
                      </a:lnTo>
                      <a:lnTo>
                        <a:pt x="0" y="142"/>
                      </a:lnTo>
                      <a:lnTo>
                        <a:pt x="211" y="142"/>
                      </a:lnTo>
                      <a:lnTo>
                        <a:pt x="211" y="20"/>
                      </a:lnTo>
                      <a:lnTo>
                        <a:pt x="87" y="2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706" name="Group 705">
                <a:extLst>
                  <a:ext uri="{FF2B5EF4-FFF2-40B4-BE49-F238E27FC236}">
                    <a16:creationId xmlns:a16="http://schemas.microsoft.com/office/drawing/2014/main" id="{8CAF9CA9-0432-48A5-AADA-8654D317AD8D}"/>
                  </a:ext>
                </a:extLst>
              </p:cNvPr>
              <p:cNvGrpSpPr/>
              <p:nvPr/>
            </p:nvGrpSpPr>
            <p:grpSpPr>
              <a:xfrm>
                <a:off x="6789629" y="4251392"/>
                <a:ext cx="313514" cy="285108"/>
                <a:chOff x="5135402" y="4090176"/>
                <a:chExt cx="197983" cy="180047"/>
              </a:xfrm>
            </p:grpSpPr>
            <p:sp>
              <p:nvSpPr>
                <p:cNvPr id="770" name="Rectangle 43">
                  <a:extLst>
                    <a:ext uri="{FF2B5EF4-FFF2-40B4-BE49-F238E27FC236}">
                      <a16:creationId xmlns:a16="http://schemas.microsoft.com/office/drawing/2014/main" id="{412C3851-6976-4F96-BEF0-DD6142EE3A83}"/>
                    </a:ext>
                  </a:extLst>
                </p:cNvPr>
                <p:cNvSpPr>
                  <a:spLocks noChangeArrowheads="1"/>
                </p:cNvSpPr>
                <p:nvPr/>
              </p:nvSpPr>
              <p:spPr bwMode="auto">
                <a:xfrm>
                  <a:off x="5135402" y="4106042"/>
                  <a:ext cx="197983" cy="164181"/>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IN"/>
                </a:p>
              </p:txBody>
            </p:sp>
            <p:sp>
              <p:nvSpPr>
                <p:cNvPr id="771" name="Rectangle 44">
                  <a:extLst>
                    <a:ext uri="{FF2B5EF4-FFF2-40B4-BE49-F238E27FC236}">
                      <a16:creationId xmlns:a16="http://schemas.microsoft.com/office/drawing/2014/main" id="{7B7D2F3F-9ADB-44A7-8D31-7DF74FBD791B}"/>
                    </a:ext>
                  </a:extLst>
                </p:cNvPr>
                <p:cNvSpPr>
                  <a:spLocks noChangeArrowheads="1"/>
                </p:cNvSpPr>
                <p:nvPr/>
              </p:nvSpPr>
              <p:spPr bwMode="auto">
                <a:xfrm>
                  <a:off x="5156787"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72" name="Rectangle 45">
                  <a:extLst>
                    <a:ext uri="{FF2B5EF4-FFF2-40B4-BE49-F238E27FC236}">
                      <a16:creationId xmlns:a16="http://schemas.microsoft.com/office/drawing/2014/main" id="{C84F71ED-CB32-49C4-B698-0C220D0E2418}"/>
                    </a:ext>
                  </a:extLst>
                </p:cNvPr>
                <p:cNvSpPr>
                  <a:spLocks noChangeArrowheads="1"/>
                </p:cNvSpPr>
                <p:nvPr/>
              </p:nvSpPr>
              <p:spPr bwMode="auto">
                <a:xfrm>
                  <a:off x="5185070"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73" name="Rectangle 46">
                  <a:extLst>
                    <a:ext uri="{FF2B5EF4-FFF2-40B4-BE49-F238E27FC236}">
                      <a16:creationId xmlns:a16="http://schemas.microsoft.com/office/drawing/2014/main" id="{9F9B0055-2BDD-4209-BE1E-A031EE5B97D5}"/>
                    </a:ext>
                  </a:extLst>
                </p:cNvPr>
                <p:cNvSpPr>
                  <a:spLocks noChangeArrowheads="1"/>
                </p:cNvSpPr>
                <p:nvPr/>
              </p:nvSpPr>
              <p:spPr bwMode="auto">
                <a:xfrm>
                  <a:off x="521404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74" name="Rectangle 47">
                  <a:extLst>
                    <a:ext uri="{FF2B5EF4-FFF2-40B4-BE49-F238E27FC236}">
                      <a16:creationId xmlns:a16="http://schemas.microsoft.com/office/drawing/2014/main" id="{4D4EF748-73FE-41C3-999A-B1C74EBE6408}"/>
                    </a:ext>
                  </a:extLst>
                </p:cNvPr>
                <p:cNvSpPr>
                  <a:spLocks noChangeArrowheads="1"/>
                </p:cNvSpPr>
                <p:nvPr/>
              </p:nvSpPr>
              <p:spPr bwMode="auto">
                <a:xfrm>
                  <a:off x="5242327"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75" name="Rectangle 48">
                  <a:extLst>
                    <a:ext uri="{FF2B5EF4-FFF2-40B4-BE49-F238E27FC236}">
                      <a16:creationId xmlns:a16="http://schemas.microsoft.com/office/drawing/2014/main" id="{3F96152F-4684-4BAC-97BC-A201F828F63F}"/>
                    </a:ext>
                  </a:extLst>
                </p:cNvPr>
                <p:cNvSpPr>
                  <a:spLocks noChangeArrowheads="1"/>
                </p:cNvSpPr>
                <p:nvPr/>
              </p:nvSpPr>
              <p:spPr bwMode="auto">
                <a:xfrm>
                  <a:off x="5270610"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76" name="Rectangle 49">
                  <a:extLst>
                    <a:ext uri="{FF2B5EF4-FFF2-40B4-BE49-F238E27FC236}">
                      <a16:creationId xmlns:a16="http://schemas.microsoft.com/office/drawing/2014/main" id="{B83609B2-7445-4DC9-8DFA-90F8F8D30E31}"/>
                    </a:ext>
                  </a:extLst>
                </p:cNvPr>
                <p:cNvSpPr>
                  <a:spLocks noChangeArrowheads="1"/>
                </p:cNvSpPr>
                <p:nvPr/>
              </p:nvSpPr>
              <p:spPr bwMode="auto">
                <a:xfrm>
                  <a:off x="529889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77" name="Rectangle 50">
                  <a:extLst>
                    <a:ext uri="{FF2B5EF4-FFF2-40B4-BE49-F238E27FC236}">
                      <a16:creationId xmlns:a16="http://schemas.microsoft.com/office/drawing/2014/main" id="{0E5242D1-0A4C-4EBC-9E8A-EC0D72837482}"/>
                    </a:ext>
                  </a:extLst>
                </p:cNvPr>
                <p:cNvSpPr>
                  <a:spLocks noChangeArrowheads="1"/>
                </p:cNvSpPr>
                <p:nvPr/>
              </p:nvSpPr>
              <p:spPr bwMode="auto">
                <a:xfrm>
                  <a:off x="5163686"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78" name="Rectangle 51">
                  <a:extLst>
                    <a:ext uri="{FF2B5EF4-FFF2-40B4-BE49-F238E27FC236}">
                      <a16:creationId xmlns:a16="http://schemas.microsoft.com/office/drawing/2014/main" id="{AF031A58-7F4E-4508-AEC8-C3C9D3226FF6}"/>
                    </a:ext>
                  </a:extLst>
                </p:cNvPr>
                <p:cNvSpPr>
                  <a:spLocks noChangeArrowheads="1"/>
                </p:cNvSpPr>
                <p:nvPr/>
              </p:nvSpPr>
              <p:spPr bwMode="auto">
                <a:xfrm>
                  <a:off x="5220252"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79" name="Rectangle 52">
                  <a:extLst>
                    <a:ext uri="{FF2B5EF4-FFF2-40B4-BE49-F238E27FC236}">
                      <a16:creationId xmlns:a16="http://schemas.microsoft.com/office/drawing/2014/main" id="{0EA2F2AC-2FA3-4F1F-8A6D-5ACB1B1AA4A3}"/>
                    </a:ext>
                  </a:extLst>
                </p:cNvPr>
                <p:cNvSpPr>
                  <a:spLocks noChangeArrowheads="1"/>
                </p:cNvSpPr>
                <p:nvPr/>
              </p:nvSpPr>
              <p:spPr bwMode="auto">
                <a:xfrm>
                  <a:off x="5276819"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0" name="Rectangle 53">
                  <a:extLst>
                    <a:ext uri="{FF2B5EF4-FFF2-40B4-BE49-F238E27FC236}">
                      <a16:creationId xmlns:a16="http://schemas.microsoft.com/office/drawing/2014/main" id="{0B416B32-DB35-48FE-91D0-A3EFD955774E}"/>
                    </a:ext>
                  </a:extLst>
                </p:cNvPr>
                <p:cNvSpPr>
                  <a:spLocks noChangeArrowheads="1"/>
                </p:cNvSpPr>
                <p:nvPr/>
              </p:nvSpPr>
              <p:spPr bwMode="auto">
                <a:xfrm>
                  <a:off x="5163686"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1" name="Rectangle 54">
                  <a:extLst>
                    <a:ext uri="{FF2B5EF4-FFF2-40B4-BE49-F238E27FC236}">
                      <a16:creationId xmlns:a16="http://schemas.microsoft.com/office/drawing/2014/main" id="{70D131AE-7C80-4322-AEB5-01FB6003FA03}"/>
                    </a:ext>
                  </a:extLst>
                </p:cNvPr>
                <p:cNvSpPr>
                  <a:spLocks noChangeArrowheads="1"/>
                </p:cNvSpPr>
                <p:nvPr/>
              </p:nvSpPr>
              <p:spPr bwMode="auto">
                <a:xfrm>
                  <a:off x="5220252"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2" name="Rectangle 55">
                  <a:extLst>
                    <a:ext uri="{FF2B5EF4-FFF2-40B4-BE49-F238E27FC236}">
                      <a16:creationId xmlns:a16="http://schemas.microsoft.com/office/drawing/2014/main" id="{7A39FFD7-B5D4-4555-AC00-7FC7E3463DDA}"/>
                    </a:ext>
                  </a:extLst>
                </p:cNvPr>
                <p:cNvSpPr>
                  <a:spLocks noChangeArrowheads="1"/>
                </p:cNvSpPr>
                <p:nvPr/>
              </p:nvSpPr>
              <p:spPr bwMode="auto">
                <a:xfrm>
                  <a:off x="5276819"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707" name="Freeform 61">
                <a:extLst>
                  <a:ext uri="{FF2B5EF4-FFF2-40B4-BE49-F238E27FC236}">
                    <a16:creationId xmlns:a16="http://schemas.microsoft.com/office/drawing/2014/main" id="{F8BE3FD9-3945-44F3-A4D4-4FA5777E95A2}"/>
                  </a:ext>
                </a:extLst>
              </p:cNvPr>
              <p:cNvSpPr>
                <a:spLocks/>
              </p:cNvSpPr>
              <p:nvPr/>
            </p:nvSpPr>
            <p:spPr bwMode="auto">
              <a:xfrm>
                <a:off x="5260952" y="4857964"/>
                <a:ext cx="446324" cy="191774"/>
              </a:xfrm>
              <a:custGeom>
                <a:avLst/>
                <a:gdLst>
                  <a:gd name="T0" fmla="*/ 454 w 488"/>
                  <a:gd name="T1" fmla="*/ 107 h 209"/>
                  <a:gd name="T2" fmla="*/ 302 w 488"/>
                  <a:gd name="T3" fmla="*/ 4 h 209"/>
                  <a:gd name="T4" fmla="*/ 134 w 488"/>
                  <a:gd name="T5" fmla="*/ 31 h 209"/>
                  <a:gd name="T6" fmla="*/ 0 w 488"/>
                  <a:gd name="T7" fmla="*/ 181 h 209"/>
                  <a:gd name="T8" fmla="*/ 75 w 488"/>
                  <a:gd name="T9" fmla="*/ 209 h 209"/>
                  <a:gd name="T10" fmla="*/ 454 w 488"/>
                  <a:gd name="T11" fmla="*/ 209 h 209"/>
                  <a:gd name="T12" fmla="*/ 488 w 488"/>
                  <a:gd name="T13" fmla="*/ 204 h 209"/>
                  <a:gd name="T14" fmla="*/ 454 w 488"/>
                  <a:gd name="T15" fmla="*/ 107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209">
                    <a:moveTo>
                      <a:pt x="454" y="107"/>
                    </a:moveTo>
                    <a:cubicBezTo>
                      <a:pt x="432" y="42"/>
                      <a:pt x="370" y="0"/>
                      <a:pt x="302" y="4"/>
                    </a:cubicBezTo>
                    <a:cubicBezTo>
                      <a:pt x="134" y="31"/>
                      <a:pt x="134" y="31"/>
                      <a:pt x="134" y="31"/>
                    </a:cubicBezTo>
                    <a:cubicBezTo>
                      <a:pt x="28" y="64"/>
                      <a:pt x="4" y="139"/>
                      <a:pt x="0" y="181"/>
                    </a:cubicBezTo>
                    <a:cubicBezTo>
                      <a:pt x="20" y="198"/>
                      <a:pt x="46" y="209"/>
                      <a:pt x="75" y="209"/>
                    </a:cubicBezTo>
                    <a:cubicBezTo>
                      <a:pt x="454" y="209"/>
                      <a:pt x="454" y="209"/>
                      <a:pt x="454" y="209"/>
                    </a:cubicBezTo>
                    <a:cubicBezTo>
                      <a:pt x="466" y="209"/>
                      <a:pt x="477" y="207"/>
                      <a:pt x="488" y="204"/>
                    </a:cubicBezTo>
                    <a:lnTo>
                      <a:pt x="454" y="107"/>
                    </a:lnTo>
                    <a:close/>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08" name="Freeform 62">
                <a:extLst>
                  <a:ext uri="{FF2B5EF4-FFF2-40B4-BE49-F238E27FC236}">
                    <a16:creationId xmlns:a16="http://schemas.microsoft.com/office/drawing/2014/main" id="{38168159-FA15-411C-A378-0FF977A33CD1}"/>
                  </a:ext>
                </a:extLst>
              </p:cNvPr>
              <p:cNvSpPr>
                <a:spLocks/>
              </p:cNvSpPr>
              <p:nvPr/>
            </p:nvSpPr>
            <p:spPr bwMode="auto">
              <a:xfrm>
                <a:off x="5298894" y="4536500"/>
                <a:ext cx="274555" cy="378720"/>
              </a:xfrm>
              <a:custGeom>
                <a:avLst/>
                <a:gdLst>
                  <a:gd name="T0" fmla="*/ 239 w 301"/>
                  <a:gd name="T1" fmla="*/ 314 h 413"/>
                  <a:gd name="T2" fmla="*/ 239 w 301"/>
                  <a:gd name="T3" fmla="*/ 311 h 413"/>
                  <a:gd name="T4" fmla="*/ 288 w 301"/>
                  <a:gd name="T5" fmla="*/ 176 h 413"/>
                  <a:gd name="T6" fmla="*/ 244 w 301"/>
                  <a:gd name="T7" fmla="*/ 0 h 413"/>
                  <a:gd name="T8" fmla="*/ 115 w 301"/>
                  <a:gd name="T9" fmla="*/ 33 h 413"/>
                  <a:gd name="T10" fmla="*/ 26 w 301"/>
                  <a:gd name="T11" fmla="*/ 181 h 413"/>
                  <a:gd name="T12" fmla="*/ 31 w 301"/>
                  <a:gd name="T13" fmla="*/ 199 h 413"/>
                  <a:gd name="T14" fmla="*/ 28 w 301"/>
                  <a:gd name="T15" fmla="*/ 200 h 413"/>
                  <a:gd name="T16" fmla="*/ 4 w 301"/>
                  <a:gd name="T17" fmla="*/ 240 h 413"/>
                  <a:gd name="T18" fmla="*/ 44 w 301"/>
                  <a:gd name="T19" fmla="*/ 264 h 413"/>
                  <a:gd name="T20" fmla="*/ 49 w 301"/>
                  <a:gd name="T21" fmla="*/ 263 h 413"/>
                  <a:gd name="T22" fmla="*/ 111 w 301"/>
                  <a:gd name="T23" fmla="*/ 323 h 413"/>
                  <a:gd name="T24" fmla="*/ 95 w 301"/>
                  <a:gd name="T25" fmla="*/ 379 h 413"/>
                  <a:gd name="T26" fmla="*/ 93 w 301"/>
                  <a:gd name="T27" fmla="*/ 382 h 413"/>
                  <a:gd name="T28" fmla="*/ 171 w 301"/>
                  <a:gd name="T29" fmla="*/ 405 h 413"/>
                  <a:gd name="T30" fmla="*/ 245 w 301"/>
                  <a:gd name="T31" fmla="*/ 382 h 413"/>
                  <a:gd name="T32" fmla="*/ 267 w 301"/>
                  <a:gd name="T33" fmla="*/ 355 h 413"/>
                  <a:gd name="T34" fmla="*/ 239 w 301"/>
                  <a:gd name="T35" fmla="*/ 314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1" h="413">
                    <a:moveTo>
                      <a:pt x="239" y="314"/>
                    </a:moveTo>
                    <a:cubicBezTo>
                      <a:pt x="239" y="311"/>
                      <a:pt x="239" y="311"/>
                      <a:pt x="239" y="311"/>
                    </a:cubicBezTo>
                    <a:cubicBezTo>
                      <a:pt x="280" y="281"/>
                      <a:pt x="301" y="228"/>
                      <a:pt x="288" y="176"/>
                    </a:cubicBezTo>
                    <a:cubicBezTo>
                      <a:pt x="244" y="0"/>
                      <a:pt x="244" y="0"/>
                      <a:pt x="244" y="0"/>
                    </a:cubicBezTo>
                    <a:cubicBezTo>
                      <a:pt x="115" y="33"/>
                      <a:pt x="115" y="33"/>
                      <a:pt x="115" y="33"/>
                    </a:cubicBezTo>
                    <a:cubicBezTo>
                      <a:pt x="50" y="49"/>
                      <a:pt x="10" y="115"/>
                      <a:pt x="26" y="181"/>
                    </a:cubicBezTo>
                    <a:cubicBezTo>
                      <a:pt x="31" y="199"/>
                      <a:pt x="31" y="199"/>
                      <a:pt x="31" y="199"/>
                    </a:cubicBezTo>
                    <a:cubicBezTo>
                      <a:pt x="28" y="200"/>
                      <a:pt x="28" y="200"/>
                      <a:pt x="28" y="200"/>
                    </a:cubicBezTo>
                    <a:cubicBezTo>
                      <a:pt x="10" y="204"/>
                      <a:pt x="0" y="222"/>
                      <a:pt x="4" y="240"/>
                    </a:cubicBezTo>
                    <a:cubicBezTo>
                      <a:pt x="9" y="258"/>
                      <a:pt x="27" y="269"/>
                      <a:pt x="44" y="264"/>
                    </a:cubicBezTo>
                    <a:cubicBezTo>
                      <a:pt x="49" y="263"/>
                      <a:pt x="49" y="263"/>
                      <a:pt x="49" y="263"/>
                    </a:cubicBezTo>
                    <a:cubicBezTo>
                      <a:pt x="63" y="290"/>
                      <a:pt x="85" y="311"/>
                      <a:pt x="111" y="323"/>
                    </a:cubicBezTo>
                    <a:cubicBezTo>
                      <a:pt x="113" y="343"/>
                      <a:pt x="107" y="363"/>
                      <a:pt x="95" y="379"/>
                    </a:cubicBezTo>
                    <a:cubicBezTo>
                      <a:pt x="93" y="382"/>
                      <a:pt x="93" y="382"/>
                      <a:pt x="93" y="382"/>
                    </a:cubicBezTo>
                    <a:cubicBezTo>
                      <a:pt x="171" y="405"/>
                      <a:pt x="171" y="405"/>
                      <a:pt x="171" y="405"/>
                    </a:cubicBezTo>
                    <a:cubicBezTo>
                      <a:pt x="198" y="413"/>
                      <a:pt x="227" y="404"/>
                      <a:pt x="245" y="382"/>
                    </a:cubicBezTo>
                    <a:cubicBezTo>
                      <a:pt x="267" y="355"/>
                      <a:pt x="267" y="355"/>
                      <a:pt x="267" y="355"/>
                    </a:cubicBezTo>
                    <a:cubicBezTo>
                      <a:pt x="252" y="347"/>
                      <a:pt x="241" y="331"/>
                      <a:pt x="239" y="314"/>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09" name="Freeform 63">
                <a:extLst>
                  <a:ext uri="{FF2B5EF4-FFF2-40B4-BE49-F238E27FC236}">
                    <a16:creationId xmlns:a16="http://schemas.microsoft.com/office/drawing/2014/main" id="{09D421B0-4F5C-4222-8249-F1142ACA65A0}"/>
                  </a:ext>
                </a:extLst>
              </p:cNvPr>
              <p:cNvSpPr>
                <a:spLocks/>
              </p:cNvSpPr>
              <p:nvPr/>
            </p:nvSpPr>
            <p:spPr bwMode="auto">
              <a:xfrm>
                <a:off x="5429962" y="4663430"/>
                <a:ext cx="143486" cy="224197"/>
              </a:xfrm>
              <a:custGeom>
                <a:avLst/>
                <a:gdLst>
                  <a:gd name="T0" fmla="*/ 95 w 157"/>
                  <a:gd name="T1" fmla="*/ 176 h 245"/>
                  <a:gd name="T2" fmla="*/ 95 w 157"/>
                  <a:gd name="T3" fmla="*/ 173 h 245"/>
                  <a:gd name="T4" fmla="*/ 95 w 157"/>
                  <a:gd name="T5" fmla="*/ 173 h 245"/>
                  <a:gd name="T6" fmla="*/ 144 w 157"/>
                  <a:gd name="T7" fmla="*/ 38 h 245"/>
                  <a:gd name="T8" fmla="*/ 135 w 157"/>
                  <a:gd name="T9" fmla="*/ 0 h 245"/>
                  <a:gd name="T10" fmla="*/ 95 w 157"/>
                  <a:gd name="T11" fmla="*/ 9 h 245"/>
                  <a:gd name="T12" fmla="*/ 90 w 157"/>
                  <a:gd name="T13" fmla="*/ 38 h 245"/>
                  <a:gd name="T14" fmla="*/ 111 w 157"/>
                  <a:gd name="T15" fmla="*/ 52 h 245"/>
                  <a:gd name="T16" fmla="*/ 108 w 157"/>
                  <a:gd name="T17" fmla="*/ 72 h 245"/>
                  <a:gd name="T18" fmla="*/ 75 w 157"/>
                  <a:gd name="T19" fmla="*/ 80 h 245"/>
                  <a:gd name="T20" fmla="*/ 78 w 157"/>
                  <a:gd name="T21" fmla="*/ 95 h 245"/>
                  <a:gd name="T22" fmla="*/ 84 w 157"/>
                  <a:gd name="T23" fmla="*/ 180 h 245"/>
                  <a:gd name="T24" fmla="*/ 84 w 157"/>
                  <a:gd name="T25" fmla="*/ 179 h 245"/>
                  <a:gd name="T26" fmla="*/ 84 w 157"/>
                  <a:gd name="T27" fmla="*/ 180 h 245"/>
                  <a:gd name="T28" fmla="*/ 51 w 157"/>
                  <a:gd name="T29" fmla="*/ 193 h 245"/>
                  <a:gd name="T30" fmla="*/ 0 w 157"/>
                  <a:gd name="T31" fmla="*/ 195 h 245"/>
                  <a:gd name="T32" fmla="*/ 100 w 157"/>
                  <a:gd name="T33" fmla="*/ 245 h 245"/>
                  <a:gd name="T34" fmla="*/ 101 w 157"/>
                  <a:gd name="T35" fmla="*/ 244 h 245"/>
                  <a:gd name="T36" fmla="*/ 123 w 157"/>
                  <a:gd name="T37" fmla="*/ 217 h 245"/>
                  <a:gd name="T38" fmla="*/ 95 w 157"/>
                  <a:gd name="T39" fmla="*/ 17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45">
                    <a:moveTo>
                      <a:pt x="95" y="176"/>
                    </a:moveTo>
                    <a:cubicBezTo>
                      <a:pt x="95" y="173"/>
                      <a:pt x="95" y="173"/>
                      <a:pt x="95" y="173"/>
                    </a:cubicBezTo>
                    <a:cubicBezTo>
                      <a:pt x="95" y="173"/>
                      <a:pt x="95" y="173"/>
                      <a:pt x="95" y="173"/>
                    </a:cubicBezTo>
                    <a:cubicBezTo>
                      <a:pt x="136" y="143"/>
                      <a:pt x="157" y="90"/>
                      <a:pt x="144" y="38"/>
                    </a:cubicBezTo>
                    <a:cubicBezTo>
                      <a:pt x="135" y="0"/>
                      <a:pt x="135" y="0"/>
                      <a:pt x="135" y="0"/>
                    </a:cubicBezTo>
                    <a:cubicBezTo>
                      <a:pt x="95" y="9"/>
                      <a:pt x="95" y="9"/>
                      <a:pt x="95" y="9"/>
                    </a:cubicBezTo>
                    <a:cubicBezTo>
                      <a:pt x="81" y="13"/>
                      <a:pt x="78" y="31"/>
                      <a:pt x="90" y="38"/>
                    </a:cubicBezTo>
                    <a:cubicBezTo>
                      <a:pt x="111" y="52"/>
                      <a:pt x="111" y="52"/>
                      <a:pt x="111" y="52"/>
                    </a:cubicBezTo>
                    <a:cubicBezTo>
                      <a:pt x="119" y="57"/>
                      <a:pt x="117" y="70"/>
                      <a:pt x="108" y="72"/>
                    </a:cubicBezTo>
                    <a:cubicBezTo>
                      <a:pt x="75" y="80"/>
                      <a:pt x="75" y="80"/>
                      <a:pt x="75" y="80"/>
                    </a:cubicBezTo>
                    <a:cubicBezTo>
                      <a:pt x="78" y="95"/>
                      <a:pt x="78" y="95"/>
                      <a:pt x="78" y="95"/>
                    </a:cubicBezTo>
                    <a:cubicBezTo>
                      <a:pt x="97" y="120"/>
                      <a:pt x="98" y="153"/>
                      <a:pt x="84" y="180"/>
                    </a:cubicBezTo>
                    <a:cubicBezTo>
                      <a:pt x="84" y="180"/>
                      <a:pt x="84" y="180"/>
                      <a:pt x="84" y="179"/>
                    </a:cubicBezTo>
                    <a:cubicBezTo>
                      <a:pt x="84" y="180"/>
                      <a:pt x="84" y="180"/>
                      <a:pt x="84" y="180"/>
                    </a:cubicBezTo>
                    <a:cubicBezTo>
                      <a:pt x="74" y="186"/>
                      <a:pt x="63" y="190"/>
                      <a:pt x="51" y="193"/>
                    </a:cubicBezTo>
                    <a:cubicBezTo>
                      <a:pt x="34" y="197"/>
                      <a:pt x="16" y="198"/>
                      <a:pt x="0" y="195"/>
                    </a:cubicBezTo>
                    <a:cubicBezTo>
                      <a:pt x="14" y="213"/>
                      <a:pt x="45" y="242"/>
                      <a:pt x="100" y="245"/>
                    </a:cubicBezTo>
                    <a:cubicBezTo>
                      <a:pt x="101" y="245"/>
                      <a:pt x="101" y="245"/>
                      <a:pt x="101" y="244"/>
                    </a:cubicBezTo>
                    <a:cubicBezTo>
                      <a:pt x="123" y="217"/>
                      <a:pt x="123" y="217"/>
                      <a:pt x="123" y="217"/>
                    </a:cubicBezTo>
                    <a:cubicBezTo>
                      <a:pt x="108" y="209"/>
                      <a:pt x="97" y="193"/>
                      <a:pt x="95" y="176"/>
                    </a:cubicBezTo>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10" name="Freeform 64">
                <a:extLst>
                  <a:ext uri="{FF2B5EF4-FFF2-40B4-BE49-F238E27FC236}">
                    <a16:creationId xmlns:a16="http://schemas.microsoft.com/office/drawing/2014/main" id="{6C2FCD97-DDA8-4989-98BA-2210FE7CE2B4}"/>
                  </a:ext>
                </a:extLst>
              </p:cNvPr>
              <p:cNvSpPr>
                <a:spLocks/>
              </p:cNvSpPr>
              <p:nvPr/>
            </p:nvSpPr>
            <p:spPr bwMode="auto">
              <a:xfrm>
                <a:off x="5457556" y="4742761"/>
                <a:ext cx="73813" cy="39321"/>
              </a:xfrm>
              <a:custGeom>
                <a:avLst/>
                <a:gdLst>
                  <a:gd name="T0" fmla="*/ 0 w 81"/>
                  <a:gd name="T1" fmla="*/ 20 h 43"/>
                  <a:gd name="T2" fmla="*/ 47 w 81"/>
                  <a:gd name="T3" fmla="*/ 38 h 43"/>
                  <a:gd name="T4" fmla="*/ 81 w 81"/>
                  <a:gd name="T5" fmla="*/ 0 h 43"/>
                  <a:gd name="T6" fmla="*/ 0 w 81"/>
                  <a:gd name="T7" fmla="*/ 20 h 43"/>
                </a:gdLst>
                <a:ahLst/>
                <a:cxnLst>
                  <a:cxn ang="0">
                    <a:pos x="T0" y="T1"/>
                  </a:cxn>
                  <a:cxn ang="0">
                    <a:pos x="T2" y="T3"/>
                  </a:cxn>
                  <a:cxn ang="0">
                    <a:pos x="T4" y="T5"/>
                  </a:cxn>
                  <a:cxn ang="0">
                    <a:pos x="T6" y="T7"/>
                  </a:cxn>
                </a:cxnLst>
                <a:rect l="0" t="0" r="r" b="b"/>
                <a:pathLst>
                  <a:path w="81" h="43">
                    <a:moveTo>
                      <a:pt x="0" y="20"/>
                    </a:moveTo>
                    <a:cubicBezTo>
                      <a:pt x="10" y="35"/>
                      <a:pt x="29" y="43"/>
                      <a:pt x="47" y="38"/>
                    </a:cubicBezTo>
                    <a:cubicBezTo>
                      <a:pt x="66" y="34"/>
                      <a:pt x="79" y="18"/>
                      <a:pt x="81" y="0"/>
                    </a:cubicBez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11" name="Freeform 65">
                <a:extLst>
                  <a:ext uri="{FF2B5EF4-FFF2-40B4-BE49-F238E27FC236}">
                    <a16:creationId xmlns:a16="http://schemas.microsoft.com/office/drawing/2014/main" id="{6FE4ED5C-692B-4E1A-A276-87E54408632C}"/>
                  </a:ext>
                </a:extLst>
              </p:cNvPr>
              <p:cNvSpPr>
                <a:spLocks/>
              </p:cNvSpPr>
              <p:nvPr/>
            </p:nvSpPr>
            <p:spPr bwMode="auto">
              <a:xfrm>
                <a:off x="5403749" y="4695852"/>
                <a:ext cx="25524" cy="2621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7" y="0"/>
                      <a:pt x="24" y="4"/>
                      <a:pt x="26" y="11"/>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sp>
            <p:nvSpPr>
              <p:cNvPr id="712" name="Freeform 66">
                <a:extLst>
                  <a:ext uri="{FF2B5EF4-FFF2-40B4-BE49-F238E27FC236}">
                    <a16:creationId xmlns:a16="http://schemas.microsoft.com/office/drawing/2014/main" id="{4E61C4EF-7B6E-4B2E-804A-5D2546955208}"/>
                  </a:ext>
                </a:extLst>
              </p:cNvPr>
              <p:cNvSpPr>
                <a:spLocks/>
              </p:cNvSpPr>
              <p:nvPr/>
            </p:nvSpPr>
            <p:spPr bwMode="auto">
              <a:xfrm>
                <a:off x="5524470" y="4666189"/>
                <a:ext cx="25524" cy="2552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8" y="0"/>
                      <a:pt x="24" y="4"/>
                      <a:pt x="26" y="11"/>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sp>
            <p:nvSpPr>
              <p:cNvPr id="713" name="Freeform 67">
                <a:extLst>
                  <a:ext uri="{FF2B5EF4-FFF2-40B4-BE49-F238E27FC236}">
                    <a16:creationId xmlns:a16="http://schemas.microsoft.com/office/drawing/2014/main" id="{9646CEDF-8545-4595-8256-05455009A241}"/>
                  </a:ext>
                </a:extLst>
              </p:cNvPr>
              <p:cNvSpPr>
                <a:spLocks/>
              </p:cNvSpPr>
              <p:nvPr/>
            </p:nvSpPr>
            <p:spPr bwMode="auto">
              <a:xfrm>
                <a:off x="5294755" y="4525463"/>
                <a:ext cx="300769" cy="237304"/>
              </a:xfrm>
              <a:custGeom>
                <a:avLst/>
                <a:gdLst>
                  <a:gd name="T0" fmla="*/ 282 w 329"/>
                  <a:gd name="T1" fmla="*/ 97 h 259"/>
                  <a:gd name="T2" fmla="*/ 314 w 329"/>
                  <a:gd name="T3" fmla="*/ 93 h 259"/>
                  <a:gd name="T4" fmla="*/ 286 w 329"/>
                  <a:gd name="T5" fmla="*/ 48 h 259"/>
                  <a:gd name="T6" fmla="*/ 207 w 329"/>
                  <a:gd name="T7" fmla="*/ 8 h 259"/>
                  <a:gd name="T8" fmla="*/ 110 w 329"/>
                  <a:gd name="T9" fmla="*/ 32 h 259"/>
                  <a:gd name="T10" fmla="*/ 17 w 329"/>
                  <a:gd name="T11" fmla="*/ 188 h 259"/>
                  <a:gd name="T12" fmla="*/ 24 w 329"/>
                  <a:gd name="T13" fmla="*/ 216 h 259"/>
                  <a:gd name="T14" fmla="*/ 32 w 329"/>
                  <a:gd name="T15" fmla="*/ 212 h 259"/>
                  <a:gd name="T16" fmla="*/ 46 w 329"/>
                  <a:gd name="T17" fmla="*/ 209 h 259"/>
                  <a:gd name="T18" fmla="*/ 58 w 329"/>
                  <a:gd name="T19" fmla="*/ 259 h 259"/>
                  <a:gd name="T20" fmla="*/ 85 w 329"/>
                  <a:gd name="T21" fmla="*/ 252 h 259"/>
                  <a:gd name="T22" fmla="*/ 73 w 329"/>
                  <a:gd name="T23" fmla="*/ 203 h 259"/>
                  <a:gd name="T24" fmla="*/ 124 w 329"/>
                  <a:gd name="T25" fmla="*/ 179 h 259"/>
                  <a:gd name="T26" fmla="*/ 152 w 329"/>
                  <a:gd name="T27" fmla="*/ 172 h 259"/>
                  <a:gd name="T28" fmla="*/ 157 w 329"/>
                  <a:gd name="T29" fmla="*/ 165 h 259"/>
                  <a:gd name="T30" fmla="*/ 149 w 329"/>
                  <a:gd name="T31" fmla="*/ 160 h 259"/>
                  <a:gd name="T32" fmla="*/ 147 w 329"/>
                  <a:gd name="T33" fmla="*/ 160 h 259"/>
                  <a:gd name="T34" fmla="*/ 178 w 329"/>
                  <a:gd name="T35" fmla="*/ 66 h 259"/>
                  <a:gd name="T36" fmla="*/ 254 w 329"/>
                  <a:gd name="T37" fmla="*/ 124 h 259"/>
                  <a:gd name="T38" fmla="*/ 203 w 329"/>
                  <a:gd name="T39" fmla="*/ 77 h 259"/>
                  <a:gd name="T40" fmla="*/ 270 w 329"/>
                  <a:gd name="T41" fmla="*/ 98 h 259"/>
                  <a:gd name="T42" fmla="*/ 277 w 329"/>
                  <a:gd name="T43" fmla="*/ 128 h 259"/>
                  <a:gd name="T44" fmla="*/ 232 w 329"/>
                  <a:gd name="T45" fmla="*/ 139 h 259"/>
                  <a:gd name="T46" fmla="*/ 227 w 329"/>
                  <a:gd name="T47" fmla="*/ 147 h 259"/>
                  <a:gd name="T48" fmla="*/ 235 w 329"/>
                  <a:gd name="T49" fmla="*/ 152 h 259"/>
                  <a:gd name="T50" fmla="*/ 280 w 329"/>
                  <a:gd name="T51" fmla="*/ 140 h 259"/>
                  <a:gd name="T52" fmla="*/ 285 w 329"/>
                  <a:gd name="T53" fmla="*/ 159 h 259"/>
                  <a:gd name="T54" fmla="*/ 329 w 329"/>
                  <a:gd name="T55" fmla="*/ 113 h 259"/>
                  <a:gd name="T56" fmla="*/ 282 w 329"/>
                  <a:gd name="T57" fmla="*/ 9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9" h="259">
                    <a:moveTo>
                      <a:pt x="282" y="97"/>
                    </a:moveTo>
                    <a:cubicBezTo>
                      <a:pt x="292" y="97"/>
                      <a:pt x="303" y="95"/>
                      <a:pt x="314" y="93"/>
                    </a:cubicBezTo>
                    <a:cubicBezTo>
                      <a:pt x="303" y="86"/>
                      <a:pt x="294" y="68"/>
                      <a:pt x="286" y="48"/>
                    </a:cubicBezTo>
                    <a:cubicBezTo>
                      <a:pt x="273" y="17"/>
                      <a:pt x="239" y="0"/>
                      <a:pt x="207" y="8"/>
                    </a:cubicBezTo>
                    <a:cubicBezTo>
                      <a:pt x="110" y="32"/>
                      <a:pt x="110" y="32"/>
                      <a:pt x="110" y="32"/>
                    </a:cubicBezTo>
                    <a:cubicBezTo>
                      <a:pt x="41" y="49"/>
                      <a:pt x="0" y="119"/>
                      <a:pt x="17" y="188"/>
                    </a:cubicBezTo>
                    <a:cubicBezTo>
                      <a:pt x="24" y="216"/>
                      <a:pt x="24" y="216"/>
                      <a:pt x="24" y="216"/>
                    </a:cubicBezTo>
                    <a:cubicBezTo>
                      <a:pt x="26" y="214"/>
                      <a:pt x="29" y="213"/>
                      <a:pt x="32" y="212"/>
                    </a:cubicBezTo>
                    <a:cubicBezTo>
                      <a:pt x="46" y="209"/>
                      <a:pt x="46" y="209"/>
                      <a:pt x="46" y="209"/>
                    </a:cubicBezTo>
                    <a:cubicBezTo>
                      <a:pt x="58" y="259"/>
                      <a:pt x="58" y="259"/>
                      <a:pt x="58" y="259"/>
                    </a:cubicBezTo>
                    <a:cubicBezTo>
                      <a:pt x="85" y="252"/>
                      <a:pt x="85" y="252"/>
                      <a:pt x="85" y="252"/>
                    </a:cubicBezTo>
                    <a:cubicBezTo>
                      <a:pt x="73" y="203"/>
                      <a:pt x="73" y="203"/>
                      <a:pt x="73" y="203"/>
                    </a:cubicBezTo>
                    <a:cubicBezTo>
                      <a:pt x="89" y="198"/>
                      <a:pt x="107" y="191"/>
                      <a:pt x="124" y="179"/>
                    </a:cubicBezTo>
                    <a:cubicBezTo>
                      <a:pt x="152" y="172"/>
                      <a:pt x="152" y="172"/>
                      <a:pt x="152" y="172"/>
                    </a:cubicBezTo>
                    <a:cubicBezTo>
                      <a:pt x="155" y="172"/>
                      <a:pt x="158" y="168"/>
                      <a:pt x="157" y="165"/>
                    </a:cubicBezTo>
                    <a:cubicBezTo>
                      <a:pt x="156" y="161"/>
                      <a:pt x="152" y="159"/>
                      <a:pt x="149" y="160"/>
                    </a:cubicBezTo>
                    <a:cubicBezTo>
                      <a:pt x="147" y="160"/>
                      <a:pt x="147" y="160"/>
                      <a:pt x="147" y="160"/>
                    </a:cubicBezTo>
                    <a:cubicBezTo>
                      <a:pt x="167" y="139"/>
                      <a:pt x="181" y="108"/>
                      <a:pt x="178" y="66"/>
                    </a:cubicBezTo>
                    <a:cubicBezTo>
                      <a:pt x="190" y="145"/>
                      <a:pt x="254" y="124"/>
                      <a:pt x="254" y="124"/>
                    </a:cubicBezTo>
                    <a:cubicBezTo>
                      <a:pt x="203" y="77"/>
                      <a:pt x="203" y="77"/>
                      <a:pt x="203" y="77"/>
                    </a:cubicBezTo>
                    <a:cubicBezTo>
                      <a:pt x="218" y="87"/>
                      <a:pt x="240" y="97"/>
                      <a:pt x="270" y="98"/>
                    </a:cubicBezTo>
                    <a:cubicBezTo>
                      <a:pt x="277" y="128"/>
                      <a:pt x="277" y="128"/>
                      <a:pt x="277" y="128"/>
                    </a:cubicBezTo>
                    <a:cubicBezTo>
                      <a:pt x="232" y="139"/>
                      <a:pt x="232" y="139"/>
                      <a:pt x="232" y="139"/>
                    </a:cubicBezTo>
                    <a:cubicBezTo>
                      <a:pt x="228" y="140"/>
                      <a:pt x="226" y="144"/>
                      <a:pt x="227" y="147"/>
                    </a:cubicBezTo>
                    <a:cubicBezTo>
                      <a:pt x="228" y="151"/>
                      <a:pt x="231" y="153"/>
                      <a:pt x="235" y="152"/>
                    </a:cubicBezTo>
                    <a:cubicBezTo>
                      <a:pt x="280" y="140"/>
                      <a:pt x="280" y="140"/>
                      <a:pt x="280" y="140"/>
                    </a:cubicBezTo>
                    <a:cubicBezTo>
                      <a:pt x="285" y="159"/>
                      <a:pt x="285" y="159"/>
                      <a:pt x="285" y="159"/>
                    </a:cubicBezTo>
                    <a:cubicBezTo>
                      <a:pt x="304" y="155"/>
                      <a:pt x="321" y="140"/>
                      <a:pt x="329" y="113"/>
                    </a:cubicBezTo>
                    <a:cubicBezTo>
                      <a:pt x="311" y="123"/>
                      <a:pt x="295" y="112"/>
                      <a:pt x="282" y="9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14" name="Freeform 68">
                <a:extLst>
                  <a:ext uri="{FF2B5EF4-FFF2-40B4-BE49-F238E27FC236}">
                    <a16:creationId xmlns:a16="http://schemas.microsoft.com/office/drawing/2014/main" id="{6E257EE1-A732-4310-BCFE-D49C764A159E}"/>
                  </a:ext>
                </a:extLst>
              </p:cNvPr>
              <p:cNvSpPr>
                <a:spLocks/>
              </p:cNvSpPr>
              <p:nvPr/>
            </p:nvSpPr>
            <p:spPr bwMode="auto">
              <a:xfrm>
                <a:off x="5440310" y="4743451"/>
                <a:ext cx="23454" cy="31732"/>
              </a:xfrm>
              <a:custGeom>
                <a:avLst/>
                <a:gdLst>
                  <a:gd name="T0" fmla="*/ 26 w 26"/>
                  <a:gd name="T1" fmla="*/ 2 h 34"/>
                  <a:gd name="T2" fmla="*/ 5 w 26"/>
                  <a:gd name="T3" fmla="*/ 11 h 34"/>
                  <a:gd name="T4" fmla="*/ 7 w 26"/>
                  <a:gd name="T5" fmla="*/ 34 h 34"/>
                  <a:gd name="T6" fmla="*/ 26 w 26"/>
                  <a:gd name="T7" fmla="*/ 2 h 34"/>
                </a:gdLst>
                <a:ahLst/>
                <a:cxnLst>
                  <a:cxn ang="0">
                    <a:pos x="T0" y="T1"/>
                  </a:cxn>
                  <a:cxn ang="0">
                    <a:pos x="T2" y="T3"/>
                  </a:cxn>
                  <a:cxn ang="0">
                    <a:pos x="T4" y="T5"/>
                  </a:cxn>
                  <a:cxn ang="0">
                    <a:pos x="T6" y="T7"/>
                  </a:cxn>
                </a:cxnLst>
                <a:rect l="0" t="0" r="r" b="b"/>
                <a:pathLst>
                  <a:path w="26" h="34">
                    <a:moveTo>
                      <a:pt x="26" y="2"/>
                    </a:moveTo>
                    <a:cubicBezTo>
                      <a:pt x="18" y="0"/>
                      <a:pt x="9" y="3"/>
                      <a:pt x="5" y="11"/>
                    </a:cubicBezTo>
                    <a:cubicBezTo>
                      <a:pt x="0" y="18"/>
                      <a:pt x="1" y="28"/>
                      <a:pt x="7" y="34"/>
                    </a:cubicBezTo>
                    <a:lnTo>
                      <a:pt x="26" y="2"/>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15" name="Freeform 72">
                <a:extLst>
                  <a:ext uri="{FF2B5EF4-FFF2-40B4-BE49-F238E27FC236}">
                    <a16:creationId xmlns:a16="http://schemas.microsoft.com/office/drawing/2014/main" id="{62DD28AF-7369-4045-B59E-2A5AD94133F1}"/>
                  </a:ext>
                </a:extLst>
              </p:cNvPr>
              <p:cNvSpPr>
                <a:spLocks/>
              </p:cNvSpPr>
              <p:nvPr/>
            </p:nvSpPr>
            <p:spPr bwMode="auto">
              <a:xfrm>
                <a:off x="5140921" y="3558312"/>
                <a:ext cx="225577" cy="114513"/>
              </a:xfrm>
              <a:custGeom>
                <a:avLst/>
                <a:gdLst>
                  <a:gd name="T0" fmla="*/ 0 w 247"/>
                  <a:gd name="T1" fmla="*/ 12 h 125"/>
                  <a:gd name="T2" fmla="*/ 29 w 247"/>
                  <a:gd name="T3" fmla="*/ 8 h 125"/>
                  <a:gd name="T4" fmla="*/ 214 w 247"/>
                  <a:gd name="T5" fmla="*/ 27 h 125"/>
                  <a:gd name="T6" fmla="*/ 239 w 247"/>
                  <a:gd name="T7" fmla="*/ 36 h 125"/>
                  <a:gd name="T8" fmla="*/ 247 w 247"/>
                  <a:gd name="T9" fmla="*/ 125 h 125"/>
                  <a:gd name="T10" fmla="*/ 14 w 247"/>
                  <a:gd name="T11" fmla="*/ 125 h 125"/>
                  <a:gd name="T12" fmla="*/ 0 w 247"/>
                  <a:gd name="T13" fmla="*/ 12 h 125"/>
                </a:gdLst>
                <a:ahLst/>
                <a:cxnLst>
                  <a:cxn ang="0">
                    <a:pos x="T0" y="T1"/>
                  </a:cxn>
                  <a:cxn ang="0">
                    <a:pos x="T2" y="T3"/>
                  </a:cxn>
                  <a:cxn ang="0">
                    <a:pos x="T4" y="T5"/>
                  </a:cxn>
                  <a:cxn ang="0">
                    <a:pos x="T6" y="T7"/>
                  </a:cxn>
                  <a:cxn ang="0">
                    <a:pos x="T8" y="T9"/>
                  </a:cxn>
                  <a:cxn ang="0">
                    <a:pos x="T10" y="T11"/>
                  </a:cxn>
                  <a:cxn ang="0">
                    <a:pos x="T12" y="T13"/>
                  </a:cxn>
                </a:cxnLst>
                <a:rect l="0" t="0" r="r" b="b"/>
                <a:pathLst>
                  <a:path w="247" h="125">
                    <a:moveTo>
                      <a:pt x="0" y="12"/>
                    </a:moveTo>
                    <a:cubicBezTo>
                      <a:pt x="29" y="8"/>
                      <a:pt x="29" y="8"/>
                      <a:pt x="29" y="8"/>
                    </a:cubicBezTo>
                    <a:cubicBezTo>
                      <a:pt x="91" y="0"/>
                      <a:pt x="155" y="6"/>
                      <a:pt x="214" y="27"/>
                    </a:cubicBezTo>
                    <a:cubicBezTo>
                      <a:pt x="239" y="36"/>
                      <a:pt x="239" y="36"/>
                      <a:pt x="239" y="36"/>
                    </a:cubicBezTo>
                    <a:cubicBezTo>
                      <a:pt x="247" y="125"/>
                      <a:pt x="247" y="125"/>
                      <a:pt x="247" y="125"/>
                    </a:cubicBezTo>
                    <a:cubicBezTo>
                      <a:pt x="14" y="125"/>
                      <a:pt x="14" y="125"/>
                      <a:pt x="14" y="125"/>
                    </a:cubicBezTo>
                    <a:lnTo>
                      <a:pt x="0" y="1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16" name="Freeform 73">
                <a:extLst>
                  <a:ext uri="{FF2B5EF4-FFF2-40B4-BE49-F238E27FC236}">
                    <a16:creationId xmlns:a16="http://schemas.microsoft.com/office/drawing/2014/main" id="{917788D2-98BE-482E-80AF-D6B9BA3F4F62}"/>
                  </a:ext>
                </a:extLst>
              </p:cNvPr>
              <p:cNvSpPr>
                <a:spLocks/>
              </p:cNvSpPr>
              <p:nvPr/>
            </p:nvSpPr>
            <p:spPr bwMode="auto">
              <a:xfrm>
                <a:off x="5051242" y="3258234"/>
                <a:ext cx="366303" cy="502891"/>
              </a:xfrm>
              <a:custGeom>
                <a:avLst/>
                <a:gdLst>
                  <a:gd name="T0" fmla="*/ 362 w 401"/>
                  <a:gd name="T1" fmla="*/ 393 h 549"/>
                  <a:gd name="T2" fmla="*/ 302 w 401"/>
                  <a:gd name="T3" fmla="*/ 355 h 549"/>
                  <a:gd name="T4" fmla="*/ 373 w 401"/>
                  <a:gd name="T5" fmla="*/ 247 h 549"/>
                  <a:gd name="T6" fmla="*/ 382 w 401"/>
                  <a:gd name="T7" fmla="*/ 173 h 549"/>
                  <a:gd name="T8" fmla="*/ 254 w 401"/>
                  <a:gd name="T9" fmla="*/ 10 h 549"/>
                  <a:gd name="T10" fmla="*/ 91 w 401"/>
                  <a:gd name="T11" fmla="*/ 137 h 549"/>
                  <a:gd name="T12" fmla="*/ 91 w 401"/>
                  <a:gd name="T13" fmla="*/ 143 h 549"/>
                  <a:gd name="T14" fmla="*/ 82 w 401"/>
                  <a:gd name="T15" fmla="*/ 136 h 549"/>
                  <a:gd name="T16" fmla="*/ 50 w 401"/>
                  <a:gd name="T17" fmla="*/ 145 h 549"/>
                  <a:gd name="T18" fmla="*/ 49 w 401"/>
                  <a:gd name="T19" fmla="*/ 148 h 549"/>
                  <a:gd name="T20" fmla="*/ 53 w 401"/>
                  <a:gd name="T21" fmla="*/ 220 h 549"/>
                  <a:gd name="T22" fmla="*/ 77 w 401"/>
                  <a:gd name="T23" fmla="*/ 233 h 549"/>
                  <a:gd name="T24" fmla="*/ 81 w 401"/>
                  <a:gd name="T25" fmla="*/ 232 h 549"/>
                  <a:gd name="T26" fmla="*/ 125 w 401"/>
                  <a:gd name="T27" fmla="*/ 333 h 549"/>
                  <a:gd name="T28" fmla="*/ 123 w 401"/>
                  <a:gd name="T29" fmla="*/ 349 h 549"/>
                  <a:gd name="T30" fmla="*/ 70 w 401"/>
                  <a:gd name="T31" fmla="*/ 405 h 549"/>
                  <a:gd name="T32" fmla="*/ 48 w 401"/>
                  <a:gd name="T33" fmla="*/ 408 h 549"/>
                  <a:gd name="T34" fmla="*/ 0 w 401"/>
                  <a:gd name="T35" fmla="*/ 503 h 549"/>
                  <a:gd name="T36" fmla="*/ 47 w 401"/>
                  <a:gd name="T37" fmla="*/ 547 h 549"/>
                  <a:gd name="T38" fmla="*/ 290 w 401"/>
                  <a:gd name="T39" fmla="*/ 549 h 549"/>
                  <a:gd name="T40" fmla="*/ 401 w 401"/>
                  <a:gd name="T41" fmla="*/ 455 h 549"/>
                  <a:gd name="T42" fmla="*/ 401 w 401"/>
                  <a:gd name="T43" fmla="*/ 430 h 549"/>
                  <a:gd name="T44" fmla="*/ 362 w 401"/>
                  <a:gd name="T45" fmla="*/ 393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549">
                    <a:moveTo>
                      <a:pt x="362" y="393"/>
                    </a:moveTo>
                    <a:cubicBezTo>
                      <a:pt x="335" y="394"/>
                      <a:pt x="312" y="378"/>
                      <a:pt x="302" y="355"/>
                    </a:cubicBezTo>
                    <a:cubicBezTo>
                      <a:pt x="340" y="332"/>
                      <a:pt x="367" y="294"/>
                      <a:pt x="373" y="247"/>
                    </a:cubicBezTo>
                    <a:cubicBezTo>
                      <a:pt x="382" y="173"/>
                      <a:pt x="382" y="173"/>
                      <a:pt x="382" y="173"/>
                    </a:cubicBezTo>
                    <a:cubicBezTo>
                      <a:pt x="392" y="93"/>
                      <a:pt x="334" y="20"/>
                      <a:pt x="254" y="10"/>
                    </a:cubicBezTo>
                    <a:cubicBezTo>
                      <a:pt x="175" y="0"/>
                      <a:pt x="101" y="57"/>
                      <a:pt x="91" y="137"/>
                    </a:cubicBezTo>
                    <a:cubicBezTo>
                      <a:pt x="91" y="143"/>
                      <a:pt x="91" y="143"/>
                      <a:pt x="91" y="143"/>
                    </a:cubicBezTo>
                    <a:cubicBezTo>
                      <a:pt x="82" y="136"/>
                      <a:pt x="82" y="136"/>
                      <a:pt x="82" y="136"/>
                    </a:cubicBezTo>
                    <a:cubicBezTo>
                      <a:pt x="71" y="128"/>
                      <a:pt x="56" y="133"/>
                      <a:pt x="50" y="145"/>
                    </a:cubicBezTo>
                    <a:cubicBezTo>
                      <a:pt x="49" y="148"/>
                      <a:pt x="49" y="148"/>
                      <a:pt x="49" y="148"/>
                    </a:cubicBezTo>
                    <a:cubicBezTo>
                      <a:pt x="39" y="171"/>
                      <a:pt x="40" y="198"/>
                      <a:pt x="53" y="220"/>
                    </a:cubicBezTo>
                    <a:cubicBezTo>
                      <a:pt x="58" y="228"/>
                      <a:pt x="67" y="234"/>
                      <a:pt x="77" y="233"/>
                    </a:cubicBezTo>
                    <a:cubicBezTo>
                      <a:pt x="81" y="232"/>
                      <a:pt x="81" y="232"/>
                      <a:pt x="81" y="232"/>
                    </a:cubicBezTo>
                    <a:cubicBezTo>
                      <a:pt x="82" y="271"/>
                      <a:pt x="98" y="307"/>
                      <a:pt x="125" y="333"/>
                    </a:cubicBezTo>
                    <a:cubicBezTo>
                      <a:pt x="123" y="349"/>
                      <a:pt x="123" y="349"/>
                      <a:pt x="123" y="349"/>
                    </a:cubicBezTo>
                    <a:cubicBezTo>
                      <a:pt x="120" y="378"/>
                      <a:pt x="98" y="401"/>
                      <a:pt x="70" y="405"/>
                    </a:cubicBezTo>
                    <a:cubicBezTo>
                      <a:pt x="48" y="408"/>
                      <a:pt x="48" y="408"/>
                      <a:pt x="48" y="408"/>
                    </a:cubicBezTo>
                    <a:cubicBezTo>
                      <a:pt x="2" y="414"/>
                      <a:pt x="0" y="458"/>
                      <a:pt x="0" y="503"/>
                    </a:cubicBezTo>
                    <a:cubicBezTo>
                      <a:pt x="47" y="547"/>
                      <a:pt x="47" y="547"/>
                      <a:pt x="47" y="547"/>
                    </a:cubicBezTo>
                    <a:cubicBezTo>
                      <a:pt x="290" y="549"/>
                      <a:pt x="290" y="549"/>
                      <a:pt x="290" y="549"/>
                    </a:cubicBezTo>
                    <a:cubicBezTo>
                      <a:pt x="401" y="455"/>
                      <a:pt x="401" y="455"/>
                      <a:pt x="401" y="455"/>
                    </a:cubicBezTo>
                    <a:cubicBezTo>
                      <a:pt x="401" y="430"/>
                      <a:pt x="401" y="430"/>
                      <a:pt x="401" y="430"/>
                    </a:cubicBezTo>
                    <a:cubicBezTo>
                      <a:pt x="401" y="409"/>
                      <a:pt x="383" y="392"/>
                      <a:pt x="362" y="393"/>
                    </a:cubicBezTo>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17" name="Freeform 74">
                <a:extLst>
                  <a:ext uri="{FF2B5EF4-FFF2-40B4-BE49-F238E27FC236}">
                    <a16:creationId xmlns:a16="http://schemas.microsoft.com/office/drawing/2014/main" id="{48854A3B-1F8D-4E6D-AE84-1F205F523BA3}"/>
                  </a:ext>
                </a:extLst>
              </p:cNvPr>
              <p:cNvSpPr>
                <a:spLocks/>
              </p:cNvSpPr>
              <p:nvPr/>
            </p:nvSpPr>
            <p:spPr bwMode="auto">
              <a:xfrm>
                <a:off x="5102290" y="3392751"/>
                <a:ext cx="33112" cy="74502"/>
              </a:xfrm>
              <a:custGeom>
                <a:avLst/>
                <a:gdLst>
                  <a:gd name="T0" fmla="*/ 36 w 36"/>
                  <a:gd name="T1" fmla="*/ 6 h 81"/>
                  <a:gd name="T2" fmla="*/ 33 w 36"/>
                  <a:gd name="T3" fmla="*/ 6 h 81"/>
                  <a:gd name="T4" fmla="*/ 9 w 36"/>
                  <a:gd name="T5" fmla="*/ 12 h 81"/>
                  <a:gd name="T6" fmla="*/ 8 w 36"/>
                  <a:gd name="T7" fmla="*/ 14 h 81"/>
                  <a:gd name="T8" fmla="*/ 11 w 36"/>
                  <a:gd name="T9" fmla="*/ 70 h 81"/>
                  <a:gd name="T10" fmla="*/ 30 w 36"/>
                  <a:gd name="T11" fmla="*/ 80 h 81"/>
                  <a:gd name="T12" fmla="*/ 32 w 36"/>
                  <a:gd name="T13" fmla="*/ 71 h 81"/>
                  <a:gd name="T14" fmla="*/ 36 w 36"/>
                  <a:gd name="T15" fmla="*/ 6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81">
                    <a:moveTo>
                      <a:pt x="36" y="6"/>
                    </a:moveTo>
                    <a:cubicBezTo>
                      <a:pt x="33" y="6"/>
                      <a:pt x="33" y="6"/>
                      <a:pt x="33" y="6"/>
                    </a:cubicBezTo>
                    <a:cubicBezTo>
                      <a:pt x="25" y="0"/>
                      <a:pt x="13" y="3"/>
                      <a:pt x="9" y="12"/>
                    </a:cubicBezTo>
                    <a:cubicBezTo>
                      <a:pt x="8" y="14"/>
                      <a:pt x="8" y="14"/>
                      <a:pt x="8" y="14"/>
                    </a:cubicBezTo>
                    <a:cubicBezTo>
                      <a:pt x="0" y="32"/>
                      <a:pt x="1" y="53"/>
                      <a:pt x="11" y="70"/>
                    </a:cubicBezTo>
                    <a:cubicBezTo>
                      <a:pt x="15" y="77"/>
                      <a:pt x="22" y="81"/>
                      <a:pt x="30" y="80"/>
                    </a:cubicBezTo>
                    <a:cubicBezTo>
                      <a:pt x="32" y="71"/>
                      <a:pt x="32" y="71"/>
                      <a:pt x="32" y="71"/>
                    </a:cubicBezTo>
                    <a:lnTo>
                      <a:pt x="36" y="6"/>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18" name="Freeform 75">
                <a:extLst>
                  <a:ext uri="{FF2B5EF4-FFF2-40B4-BE49-F238E27FC236}">
                    <a16:creationId xmlns:a16="http://schemas.microsoft.com/office/drawing/2014/main" id="{411E7CBE-6B22-4566-B019-5A81401BCF91}"/>
                  </a:ext>
                </a:extLst>
              </p:cNvPr>
              <p:cNvSpPr>
                <a:spLocks/>
              </p:cNvSpPr>
              <p:nvPr/>
            </p:nvSpPr>
            <p:spPr bwMode="auto">
              <a:xfrm>
                <a:off x="5181621" y="3414826"/>
                <a:ext cx="238683" cy="267656"/>
              </a:xfrm>
              <a:custGeom>
                <a:avLst/>
                <a:gdLst>
                  <a:gd name="T0" fmla="*/ 225 w 261"/>
                  <a:gd name="T1" fmla="*/ 98 h 292"/>
                  <a:gd name="T2" fmla="*/ 237 w 261"/>
                  <a:gd name="T3" fmla="*/ 91 h 292"/>
                  <a:gd name="T4" fmla="*/ 257 w 261"/>
                  <a:gd name="T5" fmla="*/ 27 h 292"/>
                  <a:gd name="T6" fmla="*/ 256 w 261"/>
                  <a:gd name="T7" fmla="*/ 24 h 292"/>
                  <a:gd name="T8" fmla="*/ 238 w 261"/>
                  <a:gd name="T9" fmla="*/ 8 h 292"/>
                  <a:gd name="T10" fmla="*/ 235 w 261"/>
                  <a:gd name="T11" fmla="*/ 31 h 292"/>
                  <a:gd name="T12" fmla="*/ 223 w 261"/>
                  <a:gd name="T13" fmla="*/ 21 h 292"/>
                  <a:gd name="T14" fmla="*/ 149 w 261"/>
                  <a:gd name="T15" fmla="*/ 8 h 292"/>
                  <a:gd name="T16" fmla="*/ 131 w 261"/>
                  <a:gd name="T17" fmla="*/ 44 h 292"/>
                  <a:gd name="T18" fmla="*/ 143 w 261"/>
                  <a:gd name="T19" fmla="*/ 73 h 292"/>
                  <a:gd name="T20" fmla="*/ 128 w 261"/>
                  <a:gd name="T21" fmla="*/ 98 h 292"/>
                  <a:gd name="T22" fmla="*/ 95 w 261"/>
                  <a:gd name="T23" fmla="*/ 104 h 292"/>
                  <a:gd name="T24" fmla="*/ 91 w 261"/>
                  <a:gd name="T25" fmla="*/ 137 h 292"/>
                  <a:gd name="T26" fmla="*/ 94 w 261"/>
                  <a:gd name="T27" fmla="*/ 141 h 292"/>
                  <a:gd name="T28" fmla="*/ 102 w 261"/>
                  <a:gd name="T29" fmla="*/ 169 h 292"/>
                  <a:gd name="T30" fmla="*/ 0 w 261"/>
                  <a:gd name="T31" fmla="*/ 181 h 292"/>
                  <a:gd name="T32" fmla="*/ 136 w 261"/>
                  <a:gd name="T33" fmla="*/ 284 h 292"/>
                  <a:gd name="T34" fmla="*/ 225 w 261"/>
                  <a:gd name="T35" fmla="*/ 257 h 292"/>
                  <a:gd name="T36" fmla="*/ 198 w 261"/>
                  <a:gd name="T37" fmla="*/ 219 h 292"/>
                  <a:gd name="T38" fmla="*/ 160 w 261"/>
                  <a:gd name="T39" fmla="*/ 184 h 292"/>
                  <a:gd name="T40" fmla="*/ 225 w 261"/>
                  <a:gd name="T41" fmla="*/ 9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 h="292">
                    <a:moveTo>
                      <a:pt x="225" y="98"/>
                    </a:moveTo>
                    <a:cubicBezTo>
                      <a:pt x="230" y="97"/>
                      <a:pt x="234" y="95"/>
                      <a:pt x="237" y="91"/>
                    </a:cubicBezTo>
                    <a:cubicBezTo>
                      <a:pt x="254" y="74"/>
                      <a:pt x="261" y="50"/>
                      <a:pt x="257" y="27"/>
                    </a:cubicBezTo>
                    <a:cubicBezTo>
                      <a:pt x="256" y="24"/>
                      <a:pt x="256" y="24"/>
                      <a:pt x="256" y="24"/>
                    </a:cubicBezTo>
                    <a:cubicBezTo>
                      <a:pt x="255" y="15"/>
                      <a:pt x="247" y="8"/>
                      <a:pt x="238" y="8"/>
                    </a:cubicBezTo>
                    <a:cubicBezTo>
                      <a:pt x="235" y="31"/>
                      <a:pt x="235" y="31"/>
                      <a:pt x="235" y="31"/>
                    </a:cubicBezTo>
                    <a:cubicBezTo>
                      <a:pt x="223" y="21"/>
                      <a:pt x="223" y="21"/>
                      <a:pt x="223" y="21"/>
                    </a:cubicBezTo>
                    <a:cubicBezTo>
                      <a:pt x="202" y="5"/>
                      <a:pt x="174" y="0"/>
                      <a:pt x="149" y="8"/>
                    </a:cubicBezTo>
                    <a:cubicBezTo>
                      <a:pt x="134" y="12"/>
                      <a:pt x="125" y="29"/>
                      <a:pt x="131" y="44"/>
                    </a:cubicBezTo>
                    <a:cubicBezTo>
                      <a:pt x="143" y="73"/>
                      <a:pt x="143" y="73"/>
                      <a:pt x="143" y="73"/>
                    </a:cubicBezTo>
                    <a:cubicBezTo>
                      <a:pt x="147" y="84"/>
                      <a:pt x="140" y="96"/>
                      <a:pt x="128" y="98"/>
                    </a:cubicBezTo>
                    <a:cubicBezTo>
                      <a:pt x="95" y="104"/>
                      <a:pt x="95" y="104"/>
                      <a:pt x="95" y="104"/>
                    </a:cubicBezTo>
                    <a:cubicBezTo>
                      <a:pt x="91" y="137"/>
                      <a:pt x="91" y="137"/>
                      <a:pt x="91" y="137"/>
                    </a:cubicBezTo>
                    <a:cubicBezTo>
                      <a:pt x="94" y="141"/>
                      <a:pt x="94" y="141"/>
                      <a:pt x="94" y="141"/>
                    </a:cubicBezTo>
                    <a:cubicBezTo>
                      <a:pt x="99" y="150"/>
                      <a:pt x="102" y="159"/>
                      <a:pt x="102" y="169"/>
                    </a:cubicBezTo>
                    <a:cubicBezTo>
                      <a:pt x="0" y="181"/>
                      <a:pt x="0" y="181"/>
                      <a:pt x="0" y="181"/>
                    </a:cubicBezTo>
                    <a:cubicBezTo>
                      <a:pt x="0" y="181"/>
                      <a:pt x="110" y="275"/>
                      <a:pt x="136" y="284"/>
                    </a:cubicBezTo>
                    <a:cubicBezTo>
                      <a:pt x="163" y="292"/>
                      <a:pt x="225" y="257"/>
                      <a:pt x="225" y="257"/>
                    </a:cubicBezTo>
                    <a:cubicBezTo>
                      <a:pt x="198" y="219"/>
                      <a:pt x="198" y="219"/>
                      <a:pt x="198" y="219"/>
                    </a:cubicBezTo>
                    <a:cubicBezTo>
                      <a:pt x="181" y="214"/>
                      <a:pt x="167" y="200"/>
                      <a:pt x="160" y="184"/>
                    </a:cubicBezTo>
                    <a:cubicBezTo>
                      <a:pt x="191" y="165"/>
                      <a:pt x="215" y="135"/>
                      <a:pt x="225" y="98"/>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19" name="Freeform 76">
                <a:extLst>
                  <a:ext uri="{FF2B5EF4-FFF2-40B4-BE49-F238E27FC236}">
                    <a16:creationId xmlns:a16="http://schemas.microsoft.com/office/drawing/2014/main" id="{2A59C40A-1B41-4E94-919D-39B9A5338750}"/>
                  </a:ext>
                </a:extLst>
              </p:cNvPr>
              <p:cNvSpPr>
                <a:spLocks/>
              </p:cNvSpPr>
              <p:nvPr/>
            </p:nvSpPr>
            <p:spPr bwMode="auto">
              <a:xfrm>
                <a:off x="5183691" y="3417585"/>
                <a:ext cx="27593" cy="2690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20" name="Freeform 77">
                <a:extLst>
                  <a:ext uri="{FF2B5EF4-FFF2-40B4-BE49-F238E27FC236}">
                    <a16:creationId xmlns:a16="http://schemas.microsoft.com/office/drawing/2014/main" id="{D2510B04-700A-4D48-BFA5-C2061EEAC634}"/>
                  </a:ext>
                </a:extLst>
              </p:cNvPr>
              <p:cNvSpPr>
                <a:spLocks/>
              </p:cNvSpPr>
              <p:nvPr/>
            </p:nvSpPr>
            <p:spPr bwMode="auto">
              <a:xfrm>
                <a:off x="5332695" y="3436211"/>
                <a:ext cx="26904" cy="2621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21" name="Freeform 78">
                <a:extLst>
                  <a:ext uri="{FF2B5EF4-FFF2-40B4-BE49-F238E27FC236}">
                    <a16:creationId xmlns:a16="http://schemas.microsoft.com/office/drawing/2014/main" id="{32A9CA20-B467-4B49-9296-857629643193}"/>
                  </a:ext>
                </a:extLst>
              </p:cNvPr>
              <p:cNvSpPr>
                <a:spLocks/>
              </p:cNvSpPr>
              <p:nvPr/>
            </p:nvSpPr>
            <p:spPr bwMode="auto">
              <a:xfrm>
                <a:off x="5116777" y="3422415"/>
                <a:ext cx="276625" cy="197983"/>
              </a:xfrm>
              <a:custGeom>
                <a:avLst/>
                <a:gdLst>
                  <a:gd name="T0" fmla="*/ 166 w 303"/>
                  <a:gd name="T1" fmla="*/ 96 h 216"/>
                  <a:gd name="T2" fmla="*/ 91 w 303"/>
                  <a:gd name="T3" fmla="*/ 80 h 216"/>
                  <a:gd name="T4" fmla="*/ 64 w 303"/>
                  <a:gd name="T5" fmla="*/ 91 h 216"/>
                  <a:gd name="T6" fmla="*/ 48 w 303"/>
                  <a:gd name="T7" fmla="*/ 80 h 216"/>
                  <a:gd name="T8" fmla="*/ 49 w 303"/>
                  <a:gd name="T9" fmla="*/ 25 h 216"/>
                  <a:gd name="T10" fmla="*/ 33 w 303"/>
                  <a:gd name="T11" fmla="*/ 5 h 216"/>
                  <a:gd name="T12" fmla="*/ 11 w 303"/>
                  <a:gd name="T13" fmla="*/ 0 h 216"/>
                  <a:gd name="T14" fmla="*/ 4 w 303"/>
                  <a:gd name="T15" fmla="*/ 58 h 216"/>
                  <a:gd name="T16" fmla="*/ 39 w 303"/>
                  <a:gd name="T17" fmla="*/ 151 h 216"/>
                  <a:gd name="T18" fmla="*/ 68 w 303"/>
                  <a:gd name="T19" fmla="*/ 177 h 216"/>
                  <a:gd name="T20" fmla="*/ 143 w 303"/>
                  <a:gd name="T21" fmla="*/ 211 h 216"/>
                  <a:gd name="T22" fmla="*/ 244 w 303"/>
                  <a:gd name="T23" fmla="*/ 183 h 216"/>
                  <a:gd name="T24" fmla="*/ 261 w 303"/>
                  <a:gd name="T25" fmla="*/ 170 h 216"/>
                  <a:gd name="T26" fmla="*/ 295 w 303"/>
                  <a:gd name="T27" fmla="*/ 109 h 216"/>
                  <a:gd name="T28" fmla="*/ 303 w 303"/>
                  <a:gd name="T29" fmla="*/ 46 h 216"/>
                  <a:gd name="T30" fmla="*/ 282 w 303"/>
                  <a:gd name="T31" fmla="*/ 60 h 216"/>
                  <a:gd name="T32" fmla="*/ 269 w 303"/>
                  <a:gd name="T33" fmla="*/ 102 h 216"/>
                  <a:gd name="T34" fmla="*/ 244 w 303"/>
                  <a:gd name="T35" fmla="*/ 111 h 216"/>
                  <a:gd name="T36" fmla="*/ 231 w 303"/>
                  <a:gd name="T37" fmla="*/ 103 h 216"/>
                  <a:gd name="T38" fmla="*/ 188 w 303"/>
                  <a:gd name="T39" fmla="*/ 93 h 216"/>
                  <a:gd name="T40" fmla="*/ 166 w 303"/>
                  <a:gd name="T41" fmla="*/ 9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3" h="216">
                    <a:moveTo>
                      <a:pt x="166" y="96"/>
                    </a:moveTo>
                    <a:cubicBezTo>
                      <a:pt x="166" y="96"/>
                      <a:pt x="121" y="70"/>
                      <a:pt x="91" y="80"/>
                    </a:cubicBezTo>
                    <a:cubicBezTo>
                      <a:pt x="64" y="91"/>
                      <a:pt x="64" y="91"/>
                      <a:pt x="64" y="91"/>
                    </a:cubicBezTo>
                    <a:cubicBezTo>
                      <a:pt x="56" y="94"/>
                      <a:pt x="47" y="88"/>
                      <a:pt x="48" y="80"/>
                    </a:cubicBezTo>
                    <a:cubicBezTo>
                      <a:pt x="49" y="25"/>
                      <a:pt x="49" y="25"/>
                      <a:pt x="49" y="25"/>
                    </a:cubicBezTo>
                    <a:cubicBezTo>
                      <a:pt x="49" y="15"/>
                      <a:pt x="42" y="6"/>
                      <a:pt x="33" y="5"/>
                    </a:cubicBezTo>
                    <a:cubicBezTo>
                      <a:pt x="11" y="0"/>
                      <a:pt x="11" y="0"/>
                      <a:pt x="11" y="0"/>
                    </a:cubicBezTo>
                    <a:cubicBezTo>
                      <a:pt x="4" y="58"/>
                      <a:pt x="4" y="58"/>
                      <a:pt x="4" y="58"/>
                    </a:cubicBezTo>
                    <a:cubicBezTo>
                      <a:pt x="0" y="93"/>
                      <a:pt x="13" y="128"/>
                      <a:pt x="39" y="151"/>
                    </a:cubicBezTo>
                    <a:cubicBezTo>
                      <a:pt x="68" y="177"/>
                      <a:pt x="68" y="177"/>
                      <a:pt x="68" y="177"/>
                    </a:cubicBezTo>
                    <a:cubicBezTo>
                      <a:pt x="89" y="196"/>
                      <a:pt x="115" y="208"/>
                      <a:pt x="143" y="211"/>
                    </a:cubicBezTo>
                    <a:cubicBezTo>
                      <a:pt x="179" y="216"/>
                      <a:pt x="216" y="205"/>
                      <a:pt x="244" y="183"/>
                    </a:cubicBezTo>
                    <a:cubicBezTo>
                      <a:pt x="261" y="170"/>
                      <a:pt x="261" y="170"/>
                      <a:pt x="261" y="170"/>
                    </a:cubicBezTo>
                    <a:cubicBezTo>
                      <a:pt x="280" y="155"/>
                      <a:pt x="293" y="133"/>
                      <a:pt x="295" y="109"/>
                    </a:cubicBezTo>
                    <a:cubicBezTo>
                      <a:pt x="303" y="46"/>
                      <a:pt x="303" y="46"/>
                      <a:pt x="303" y="46"/>
                    </a:cubicBezTo>
                    <a:cubicBezTo>
                      <a:pt x="294" y="45"/>
                      <a:pt x="284" y="51"/>
                      <a:pt x="282" y="60"/>
                    </a:cubicBezTo>
                    <a:cubicBezTo>
                      <a:pt x="269" y="102"/>
                      <a:pt x="269" y="102"/>
                      <a:pt x="269" y="102"/>
                    </a:cubicBezTo>
                    <a:cubicBezTo>
                      <a:pt x="266" y="113"/>
                      <a:pt x="253" y="118"/>
                      <a:pt x="244" y="111"/>
                    </a:cubicBezTo>
                    <a:cubicBezTo>
                      <a:pt x="231" y="103"/>
                      <a:pt x="231" y="103"/>
                      <a:pt x="231" y="103"/>
                    </a:cubicBezTo>
                    <a:cubicBezTo>
                      <a:pt x="219" y="94"/>
                      <a:pt x="203" y="91"/>
                      <a:pt x="188" y="93"/>
                    </a:cubicBezTo>
                    <a:lnTo>
                      <a:pt x="166" y="96"/>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22" name="Freeform 79">
                <a:extLst>
                  <a:ext uri="{FF2B5EF4-FFF2-40B4-BE49-F238E27FC236}">
                    <a16:creationId xmlns:a16="http://schemas.microsoft.com/office/drawing/2014/main" id="{857FC74E-B7A7-4F2F-9A7F-701CAC03DFD3}"/>
                  </a:ext>
                </a:extLst>
              </p:cNvPr>
              <p:cNvSpPr>
                <a:spLocks/>
              </p:cNvSpPr>
              <p:nvPr/>
            </p:nvSpPr>
            <p:spPr bwMode="auto">
              <a:xfrm>
                <a:off x="5212664" y="3518302"/>
                <a:ext cx="110374" cy="51738"/>
              </a:xfrm>
              <a:custGeom>
                <a:avLst/>
                <a:gdLst>
                  <a:gd name="T0" fmla="*/ 0 w 121"/>
                  <a:gd name="T1" fmla="*/ 0 h 56"/>
                  <a:gd name="T2" fmla="*/ 22 w 121"/>
                  <a:gd name="T3" fmla="*/ 9 h 56"/>
                  <a:gd name="T4" fmla="*/ 98 w 121"/>
                  <a:gd name="T5" fmla="*/ 21 h 56"/>
                  <a:gd name="T6" fmla="*/ 121 w 121"/>
                  <a:gd name="T7" fmla="*/ 19 h 56"/>
                  <a:gd name="T8" fmla="*/ 88 w 121"/>
                  <a:gd name="T9" fmla="*/ 45 h 56"/>
                  <a:gd name="T10" fmla="*/ 53 w 121"/>
                  <a:gd name="T11" fmla="*/ 55 h 56"/>
                  <a:gd name="T12" fmla="*/ 17 w 121"/>
                  <a:gd name="T13" fmla="*/ 30 h 56"/>
                  <a:gd name="T14" fmla="*/ 0 w 121"/>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6">
                    <a:moveTo>
                      <a:pt x="0" y="0"/>
                    </a:moveTo>
                    <a:cubicBezTo>
                      <a:pt x="22" y="9"/>
                      <a:pt x="22" y="9"/>
                      <a:pt x="22" y="9"/>
                    </a:cubicBezTo>
                    <a:cubicBezTo>
                      <a:pt x="46" y="20"/>
                      <a:pt x="72" y="24"/>
                      <a:pt x="98" y="21"/>
                    </a:cubicBezTo>
                    <a:cubicBezTo>
                      <a:pt x="121" y="19"/>
                      <a:pt x="121" y="19"/>
                      <a:pt x="121" y="19"/>
                    </a:cubicBezTo>
                    <a:cubicBezTo>
                      <a:pt x="88" y="45"/>
                      <a:pt x="88" y="45"/>
                      <a:pt x="88" y="45"/>
                    </a:cubicBezTo>
                    <a:cubicBezTo>
                      <a:pt x="78" y="53"/>
                      <a:pt x="65" y="56"/>
                      <a:pt x="53" y="55"/>
                    </a:cubicBezTo>
                    <a:cubicBezTo>
                      <a:pt x="38" y="53"/>
                      <a:pt x="24" y="44"/>
                      <a:pt x="17" y="3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23" name="Freeform 80">
                <a:extLst>
                  <a:ext uri="{FF2B5EF4-FFF2-40B4-BE49-F238E27FC236}">
                    <a16:creationId xmlns:a16="http://schemas.microsoft.com/office/drawing/2014/main" id="{6EDA12FE-CE13-4624-9AE2-6DAC400D8AAC}"/>
                  </a:ext>
                </a:extLst>
              </p:cNvPr>
              <p:cNvSpPr>
                <a:spLocks/>
              </p:cNvSpPr>
              <p:nvPr/>
            </p:nvSpPr>
            <p:spPr bwMode="auto">
              <a:xfrm>
                <a:off x="5156787" y="3374126"/>
                <a:ext cx="77952" cy="35182"/>
              </a:xfrm>
              <a:custGeom>
                <a:avLst/>
                <a:gdLst>
                  <a:gd name="T0" fmla="*/ 79 w 85"/>
                  <a:gd name="T1" fmla="*/ 39 h 39"/>
                  <a:gd name="T2" fmla="*/ 76 w 85"/>
                  <a:gd name="T3" fmla="*/ 38 h 39"/>
                  <a:gd name="T4" fmla="*/ 10 w 85"/>
                  <a:gd name="T5" fmla="*/ 36 h 39"/>
                  <a:gd name="T6" fmla="*/ 2 w 85"/>
                  <a:gd name="T7" fmla="*/ 36 h 39"/>
                  <a:gd name="T8" fmla="*/ 3 w 85"/>
                  <a:gd name="T9" fmla="*/ 28 h 39"/>
                  <a:gd name="T10" fmla="*/ 82 w 85"/>
                  <a:gd name="T11" fmla="*/ 29 h 39"/>
                  <a:gd name="T12" fmla="*/ 83 w 85"/>
                  <a:gd name="T13" fmla="*/ 36 h 39"/>
                  <a:gd name="T14" fmla="*/ 79 w 85"/>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39">
                    <a:moveTo>
                      <a:pt x="79" y="39"/>
                    </a:moveTo>
                    <a:cubicBezTo>
                      <a:pt x="78" y="39"/>
                      <a:pt x="77" y="39"/>
                      <a:pt x="76" y="38"/>
                    </a:cubicBezTo>
                    <a:cubicBezTo>
                      <a:pt x="36" y="14"/>
                      <a:pt x="11" y="35"/>
                      <a:pt x="10" y="36"/>
                    </a:cubicBezTo>
                    <a:cubicBezTo>
                      <a:pt x="8" y="38"/>
                      <a:pt x="4" y="38"/>
                      <a:pt x="2" y="36"/>
                    </a:cubicBezTo>
                    <a:cubicBezTo>
                      <a:pt x="0" y="34"/>
                      <a:pt x="0" y="30"/>
                      <a:pt x="3" y="28"/>
                    </a:cubicBezTo>
                    <a:cubicBezTo>
                      <a:pt x="4" y="27"/>
                      <a:pt x="35" y="0"/>
                      <a:pt x="82" y="29"/>
                    </a:cubicBezTo>
                    <a:cubicBezTo>
                      <a:pt x="84" y="30"/>
                      <a:pt x="85" y="34"/>
                      <a:pt x="83" y="36"/>
                    </a:cubicBezTo>
                    <a:cubicBezTo>
                      <a:pt x="82" y="38"/>
                      <a:pt x="81" y="39"/>
                      <a:pt x="79" y="3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24" name="Freeform 81">
                <a:extLst>
                  <a:ext uri="{FF2B5EF4-FFF2-40B4-BE49-F238E27FC236}">
                    <a16:creationId xmlns:a16="http://schemas.microsoft.com/office/drawing/2014/main" id="{4F431700-4A11-414F-820A-462221DC45C6}"/>
                  </a:ext>
                </a:extLst>
              </p:cNvPr>
              <p:cNvSpPr>
                <a:spLocks/>
              </p:cNvSpPr>
              <p:nvPr/>
            </p:nvSpPr>
            <p:spPr bwMode="auto">
              <a:xfrm>
                <a:off x="5310621" y="3399650"/>
                <a:ext cx="76572" cy="40011"/>
              </a:xfrm>
              <a:custGeom>
                <a:avLst/>
                <a:gdLst>
                  <a:gd name="T0" fmla="*/ 78 w 84"/>
                  <a:gd name="T1" fmla="*/ 44 h 44"/>
                  <a:gd name="T2" fmla="*/ 74 w 84"/>
                  <a:gd name="T3" fmla="*/ 43 h 44"/>
                  <a:gd name="T4" fmla="*/ 9 w 84"/>
                  <a:gd name="T5" fmla="*/ 32 h 44"/>
                  <a:gd name="T6" fmla="*/ 2 w 84"/>
                  <a:gd name="T7" fmla="*/ 31 h 44"/>
                  <a:gd name="T8" fmla="*/ 3 w 84"/>
                  <a:gd name="T9" fmla="*/ 23 h 44"/>
                  <a:gd name="T10" fmla="*/ 81 w 84"/>
                  <a:gd name="T11" fmla="*/ 34 h 44"/>
                  <a:gd name="T12" fmla="*/ 82 w 84"/>
                  <a:gd name="T13" fmla="*/ 42 h 44"/>
                  <a:gd name="T14" fmla="*/ 78 w 84"/>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44">
                    <a:moveTo>
                      <a:pt x="78" y="44"/>
                    </a:moveTo>
                    <a:cubicBezTo>
                      <a:pt x="77" y="44"/>
                      <a:pt x="75" y="44"/>
                      <a:pt x="74" y="43"/>
                    </a:cubicBezTo>
                    <a:cubicBezTo>
                      <a:pt x="38" y="14"/>
                      <a:pt x="10" y="31"/>
                      <a:pt x="9" y="32"/>
                    </a:cubicBezTo>
                    <a:cubicBezTo>
                      <a:pt x="7" y="34"/>
                      <a:pt x="3" y="33"/>
                      <a:pt x="2" y="31"/>
                    </a:cubicBezTo>
                    <a:cubicBezTo>
                      <a:pt x="0" y="28"/>
                      <a:pt x="1" y="25"/>
                      <a:pt x="3" y="23"/>
                    </a:cubicBezTo>
                    <a:cubicBezTo>
                      <a:pt x="5" y="22"/>
                      <a:pt x="39" y="0"/>
                      <a:pt x="81" y="34"/>
                    </a:cubicBezTo>
                    <a:cubicBezTo>
                      <a:pt x="84" y="36"/>
                      <a:pt x="84" y="40"/>
                      <a:pt x="82" y="42"/>
                    </a:cubicBezTo>
                    <a:cubicBezTo>
                      <a:pt x="81" y="43"/>
                      <a:pt x="79" y="44"/>
                      <a:pt x="78" y="44"/>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25" name="Freeform 82">
                <a:extLst>
                  <a:ext uri="{FF2B5EF4-FFF2-40B4-BE49-F238E27FC236}">
                    <a16:creationId xmlns:a16="http://schemas.microsoft.com/office/drawing/2014/main" id="{7EC9A973-7E36-405E-992A-533EA644F841}"/>
                  </a:ext>
                </a:extLst>
              </p:cNvPr>
              <p:cNvSpPr>
                <a:spLocks/>
              </p:cNvSpPr>
              <p:nvPr/>
            </p:nvSpPr>
            <p:spPr bwMode="auto">
              <a:xfrm>
                <a:off x="5181621" y="3290656"/>
                <a:ext cx="87609" cy="61396"/>
              </a:xfrm>
              <a:custGeom>
                <a:avLst/>
                <a:gdLst>
                  <a:gd name="T0" fmla="*/ 91 w 96"/>
                  <a:gd name="T1" fmla="*/ 15 h 67"/>
                  <a:gd name="T2" fmla="*/ 38 w 96"/>
                  <a:gd name="T3" fmla="*/ 10 h 67"/>
                  <a:gd name="T4" fmla="*/ 5 w 96"/>
                  <a:gd name="T5" fmla="*/ 52 h 67"/>
                  <a:gd name="T6" fmla="*/ 58 w 96"/>
                  <a:gd name="T7" fmla="*/ 57 h 67"/>
                  <a:gd name="T8" fmla="*/ 91 w 96"/>
                  <a:gd name="T9" fmla="*/ 15 h 67"/>
                </a:gdLst>
                <a:ahLst/>
                <a:cxnLst>
                  <a:cxn ang="0">
                    <a:pos x="T0" y="T1"/>
                  </a:cxn>
                  <a:cxn ang="0">
                    <a:pos x="T2" y="T3"/>
                  </a:cxn>
                  <a:cxn ang="0">
                    <a:pos x="T4" y="T5"/>
                  </a:cxn>
                  <a:cxn ang="0">
                    <a:pos x="T6" y="T7"/>
                  </a:cxn>
                  <a:cxn ang="0">
                    <a:pos x="T8" y="T9"/>
                  </a:cxn>
                </a:cxnLst>
                <a:rect l="0" t="0" r="r" b="b"/>
                <a:pathLst>
                  <a:path w="96" h="67">
                    <a:moveTo>
                      <a:pt x="91" y="15"/>
                    </a:moveTo>
                    <a:cubicBezTo>
                      <a:pt x="85" y="2"/>
                      <a:pt x="61" y="0"/>
                      <a:pt x="38" y="10"/>
                    </a:cubicBezTo>
                    <a:cubicBezTo>
                      <a:pt x="14" y="20"/>
                      <a:pt x="0" y="39"/>
                      <a:pt x="5" y="52"/>
                    </a:cubicBezTo>
                    <a:cubicBezTo>
                      <a:pt x="11" y="65"/>
                      <a:pt x="34" y="67"/>
                      <a:pt x="58" y="57"/>
                    </a:cubicBezTo>
                    <a:cubicBezTo>
                      <a:pt x="82" y="47"/>
                      <a:pt x="96" y="28"/>
                      <a:pt x="91" y="15"/>
                    </a:cubicBezTo>
                  </a:path>
                </a:pathLst>
              </a:custGeom>
              <a:solidFill>
                <a:srgbClr val="8E7B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26" name="Freeform 83">
                <a:extLst>
                  <a:ext uri="{FF2B5EF4-FFF2-40B4-BE49-F238E27FC236}">
                    <a16:creationId xmlns:a16="http://schemas.microsoft.com/office/drawing/2014/main" id="{6A6A30BB-729A-4A81-86D1-705F5128D672}"/>
                  </a:ext>
                </a:extLst>
              </p:cNvPr>
              <p:cNvSpPr>
                <a:spLocks/>
              </p:cNvSpPr>
              <p:nvPr/>
            </p:nvSpPr>
            <p:spPr bwMode="auto">
              <a:xfrm>
                <a:off x="5029857" y="3568660"/>
                <a:ext cx="460811" cy="294560"/>
              </a:xfrm>
              <a:custGeom>
                <a:avLst/>
                <a:gdLst>
                  <a:gd name="T0" fmla="*/ 504 w 504"/>
                  <a:gd name="T1" fmla="*/ 127 h 321"/>
                  <a:gd name="T2" fmla="*/ 385 w 504"/>
                  <a:gd name="T3" fmla="*/ 52 h 321"/>
                  <a:gd name="T4" fmla="*/ 368 w 504"/>
                  <a:gd name="T5" fmla="*/ 52 h 321"/>
                  <a:gd name="T6" fmla="*/ 360 w 504"/>
                  <a:gd name="T7" fmla="*/ 24 h 321"/>
                  <a:gd name="T8" fmla="*/ 284 w 504"/>
                  <a:gd name="T9" fmla="*/ 64 h 321"/>
                  <a:gd name="T10" fmla="*/ 241 w 504"/>
                  <a:gd name="T11" fmla="*/ 159 h 321"/>
                  <a:gd name="T12" fmla="*/ 200 w 504"/>
                  <a:gd name="T13" fmla="*/ 62 h 321"/>
                  <a:gd name="T14" fmla="*/ 121 w 504"/>
                  <a:gd name="T15" fmla="*/ 0 h 321"/>
                  <a:gd name="T16" fmla="*/ 115 w 504"/>
                  <a:gd name="T17" fmla="*/ 47 h 321"/>
                  <a:gd name="T18" fmla="*/ 38 w 504"/>
                  <a:gd name="T19" fmla="*/ 66 h 321"/>
                  <a:gd name="T20" fmla="*/ 0 w 504"/>
                  <a:gd name="T21" fmla="*/ 86 h 321"/>
                  <a:gd name="T22" fmla="*/ 0 w 504"/>
                  <a:gd name="T23" fmla="*/ 203 h 321"/>
                  <a:gd name="T24" fmla="*/ 119 w 504"/>
                  <a:gd name="T25" fmla="*/ 321 h 321"/>
                  <a:gd name="T26" fmla="*/ 248 w 504"/>
                  <a:gd name="T27" fmla="*/ 321 h 321"/>
                  <a:gd name="T28" fmla="*/ 504 w 504"/>
                  <a:gd name="T29" fmla="*/ 12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4" h="321">
                    <a:moveTo>
                      <a:pt x="504" y="127"/>
                    </a:moveTo>
                    <a:cubicBezTo>
                      <a:pt x="482" y="81"/>
                      <a:pt x="436" y="52"/>
                      <a:pt x="385" y="52"/>
                    </a:cubicBezTo>
                    <a:cubicBezTo>
                      <a:pt x="368" y="52"/>
                      <a:pt x="368" y="52"/>
                      <a:pt x="368" y="52"/>
                    </a:cubicBezTo>
                    <a:cubicBezTo>
                      <a:pt x="360" y="24"/>
                      <a:pt x="360" y="24"/>
                      <a:pt x="360" y="24"/>
                    </a:cubicBezTo>
                    <a:cubicBezTo>
                      <a:pt x="284" y="64"/>
                      <a:pt x="284" y="64"/>
                      <a:pt x="284" y="64"/>
                    </a:cubicBezTo>
                    <a:cubicBezTo>
                      <a:pt x="241" y="159"/>
                      <a:pt x="241" y="159"/>
                      <a:pt x="241" y="159"/>
                    </a:cubicBezTo>
                    <a:cubicBezTo>
                      <a:pt x="200" y="62"/>
                      <a:pt x="200" y="62"/>
                      <a:pt x="200" y="62"/>
                    </a:cubicBezTo>
                    <a:cubicBezTo>
                      <a:pt x="121" y="0"/>
                      <a:pt x="121" y="0"/>
                      <a:pt x="121" y="0"/>
                    </a:cubicBezTo>
                    <a:cubicBezTo>
                      <a:pt x="115" y="47"/>
                      <a:pt x="115" y="47"/>
                      <a:pt x="115" y="47"/>
                    </a:cubicBezTo>
                    <a:cubicBezTo>
                      <a:pt x="38" y="66"/>
                      <a:pt x="38" y="66"/>
                      <a:pt x="38" y="66"/>
                    </a:cubicBezTo>
                    <a:cubicBezTo>
                      <a:pt x="23" y="70"/>
                      <a:pt x="10" y="77"/>
                      <a:pt x="0" y="86"/>
                    </a:cubicBezTo>
                    <a:cubicBezTo>
                      <a:pt x="0" y="203"/>
                      <a:pt x="0" y="203"/>
                      <a:pt x="0" y="203"/>
                    </a:cubicBezTo>
                    <a:cubicBezTo>
                      <a:pt x="0" y="269"/>
                      <a:pt x="54" y="321"/>
                      <a:pt x="119" y="321"/>
                    </a:cubicBezTo>
                    <a:cubicBezTo>
                      <a:pt x="248" y="321"/>
                      <a:pt x="248" y="321"/>
                      <a:pt x="248" y="321"/>
                    </a:cubicBezTo>
                    <a:lnTo>
                      <a:pt x="504" y="12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a:p>
            </p:txBody>
          </p:sp>
          <p:sp>
            <p:nvSpPr>
              <p:cNvPr id="727" name="Freeform 84">
                <a:extLst>
                  <a:ext uri="{FF2B5EF4-FFF2-40B4-BE49-F238E27FC236}">
                    <a16:creationId xmlns:a16="http://schemas.microsoft.com/office/drawing/2014/main" id="{D232B968-3A24-47D1-930F-540E713945B7}"/>
                  </a:ext>
                </a:extLst>
              </p:cNvPr>
              <p:cNvSpPr>
                <a:spLocks/>
              </p:cNvSpPr>
              <p:nvPr/>
            </p:nvSpPr>
            <p:spPr bwMode="auto">
              <a:xfrm>
                <a:off x="5158857" y="3632125"/>
                <a:ext cx="62775" cy="66914"/>
              </a:xfrm>
              <a:custGeom>
                <a:avLst/>
                <a:gdLst>
                  <a:gd name="T0" fmla="*/ 91 w 91"/>
                  <a:gd name="T1" fmla="*/ 72 h 97"/>
                  <a:gd name="T2" fmla="*/ 68 w 91"/>
                  <a:gd name="T3" fmla="*/ 0 h 97"/>
                  <a:gd name="T4" fmla="*/ 0 w 91"/>
                  <a:gd name="T5" fmla="*/ 97 h 97"/>
                  <a:gd name="T6" fmla="*/ 68 w 91"/>
                  <a:gd name="T7" fmla="*/ 68 h 97"/>
                  <a:gd name="T8" fmla="*/ 91 w 91"/>
                  <a:gd name="T9" fmla="*/ 72 h 97"/>
                </a:gdLst>
                <a:ahLst/>
                <a:cxnLst>
                  <a:cxn ang="0">
                    <a:pos x="T0" y="T1"/>
                  </a:cxn>
                  <a:cxn ang="0">
                    <a:pos x="T2" y="T3"/>
                  </a:cxn>
                  <a:cxn ang="0">
                    <a:pos x="T4" y="T5"/>
                  </a:cxn>
                  <a:cxn ang="0">
                    <a:pos x="T6" y="T7"/>
                  </a:cxn>
                  <a:cxn ang="0">
                    <a:pos x="T8" y="T9"/>
                  </a:cxn>
                </a:cxnLst>
                <a:rect l="0" t="0" r="r" b="b"/>
                <a:pathLst>
                  <a:path w="91" h="97">
                    <a:moveTo>
                      <a:pt x="91" y="72"/>
                    </a:moveTo>
                    <a:lnTo>
                      <a:pt x="68" y="0"/>
                    </a:lnTo>
                    <a:lnTo>
                      <a:pt x="0" y="97"/>
                    </a:lnTo>
                    <a:lnTo>
                      <a:pt x="68" y="68"/>
                    </a:lnTo>
                    <a:lnTo>
                      <a:pt x="91" y="7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28" name="Freeform 85">
                <a:extLst>
                  <a:ext uri="{FF2B5EF4-FFF2-40B4-BE49-F238E27FC236}">
                    <a16:creationId xmlns:a16="http://schemas.microsoft.com/office/drawing/2014/main" id="{A86BE023-7C53-47AA-B8AB-BC19CE1AA922}"/>
                  </a:ext>
                </a:extLst>
              </p:cNvPr>
              <p:cNvSpPr>
                <a:spLocks/>
              </p:cNvSpPr>
              <p:nvPr/>
            </p:nvSpPr>
            <p:spPr bwMode="auto">
              <a:xfrm>
                <a:off x="5291995" y="3632125"/>
                <a:ext cx="68984" cy="80711"/>
              </a:xfrm>
              <a:custGeom>
                <a:avLst/>
                <a:gdLst>
                  <a:gd name="T0" fmla="*/ 0 w 100"/>
                  <a:gd name="T1" fmla="*/ 5 h 117"/>
                  <a:gd name="T2" fmla="*/ 57 w 100"/>
                  <a:gd name="T3" fmla="*/ 67 h 117"/>
                  <a:gd name="T4" fmla="*/ 100 w 100"/>
                  <a:gd name="T5" fmla="*/ 0 h 117"/>
                  <a:gd name="T6" fmla="*/ 55 w 100"/>
                  <a:gd name="T7" fmla="*/ 117 h 117"/>
                  <a:gd name="T8" fmla="*/ 0 w 100"/>
                  <a:gd name="T9" fmla="*/ 5 h 117"/>
                </a:gdLst>
                <a:ahLst/>
                <a:cxnLst>
                  <a:cxn ang="0">
                    <a:pos x="T0" y="T1"/>
                  </a:cxn>
                  <a:cxn ang="0">
                    <a:pos x="T2" y="T3"/>
                  </a:cxn>
                  <a:cxn ang="0">
                    <a:pos x="T4" y="T5"/>
                  </a:cxn>
                  <a:cxn ang="0">
                    <a:pos x="T6" y="T7"/>
                  </a:cxn>
                  <a:cxn ang="0">
                    <a:pos x="T8" y="T9"/>
                  </a:cxn>
                </a:cxnLst>
                <a:rect l="0" t="0" r="r" b="b"/>
                <a:pathLst>
                  <a:path w="100" h="117">
                    <a:moveTo>
                      <a:pt x="0" y="5"/>
                    </a:moveTo>
                    <a:lnTo>
                      <a:pt x="57" y="67"/>
                    </a:lnTo>
                    <a:lnTo>
                      <a:pt x="100" y="0"/>
                    </a:lnTo>
                    <a:lnTo>
                      <a:pt x="55" y="117"/>
                    </a:lnTo>
                    <a:lnTo>
                      <a:pt x="0" y="5"/>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29" name="Oval 86">
                <a:extLst>
                  <a:ext uri="{FF2B5EF4-FFF2-40B4-BE49-F238E27FC236}">
                    <a16:creationId xmlns:a16="http://schemas.microsoft.com/office/drawing/2014/main" id="{BA8A2761-0DAD-4032-A105-804363B0348E}"/>
                  </a:ext>
                </a:extLst>
              </p:cNvPr>
              <p:cNvSpPr>
                <a:spLocks noChangeArrowheads="1"/>
              </p:cNvSpPr>
              <p:nvPr/>
            </p:nvSpPr>
            <p:spPr bwMode="auto">
              <a:xfrm>
                <a:off x="5216803" y="3718354"/>
                <a:ext cx="17246" cy="17246"/>
              </a:xfrm>
              <a:prstGeom prst="ellipse">
                <a:avLst/>
              </a:pr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30" name="Freeform 87">
                <a:extLst>
                  <a:ext uri="{FF2B5EF4-FFF2-40B4-BE49-F238E27FC236}">
                    <a16:creationId xmlns:a16="http://schemas.microsoft.com/office/drawing/2014/main" id="{58474C43-00C0-4B42-A945-4647CD97653B}"/>
                  </a:ext>
                </a:extLst>
              </p:cNvPr>
              <p:cNvSpPr>
                <a:spLocks/>
              </p:cNvSpPr>
              <p:nvPr/>
            </p:nvSpPr>
            <p:spPr bwMode="auto">
              <a:xfrm>
                <a:off x="5520331" y="4712408"/>
                <a:ext cx="380100" cy="380790"/>
              </a:xfrm>
              <a:custGeom>
                <a:avLst/>
                <a:gdLst>
                  <a:gd name="T0" fmla="*/ 239 w 416"/>
                  <a:gd name="T1" fmla="*/ 5 h 415"/>
                  <a:gd name="T2" fmla="*/ 6 w 416"/>
                  <a:gd name="T3" fmla="*/ 234 h 415"/>
                  <a:gd name="T4" fmla="*/ 6 w 416"/>
                  <a:gd name="T5" fmla="*/ 254 h 415"/>
                  <a:gd name="T6" fmla="*/ 158 w 416"/>
                  <a:gd name="T7" fmla="*/ 409 h 415"/>
                  <a:gd name="T8" fmla="*/ 178 w 416"/>
                  <a:gd name="T9" fmla="*/ 409 h 415"/>
                  <a:gd name="T10" fmla="*/ 411 w 416"/>
                  <a:gd name="T11" fmla="*/ 181 h 415"/>
                  <a:gd name="T12" fmla="*/ 343 w 416"/>
                  <a:gd name="T13" fmla="*/ 74 h 415"/>
                  <a:gd name="T14" fmla="*/ 337 w 416"/>
                  <a:gd name="T15" fmla="*/ 69 h 415"/>
                  <a:gd name="T16" fmla="*/ 239 w 416"/>
                  <a:gd name="T17" fmla="*/ 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6" h="415">
                    <a:moveTo>
                      <a:pt x="239" y="5"/>
                    </a:moveTo>
                    <a:cubicBezTo>
                      <a:pt x="6" y="234"/>
                      <a:pt x="6" y="234"/>
                      <a:pt x="6" y="234"/>
                    </a:cubicBezTo>
                    <a:cubicBezTo>
                      <a:pt x="0" y="240"/>
                      <a:pt x="0" y="249"/>
                      <a:pt x="6" y="254"/>
                    </a:cubicBezTo>
                    <a:cubicBezTo>
                      <a:pt x="158" y="409"/>
                      <a:pt x="158" y="409"/>
                      <a:pt x="158" y="409"/>
                    </a:cubicBezTo>
                    <a:cubicBezTo>
                      <a:pt x="163" y="415"/>
                      <a:pt x="172" y="415"/>
                      <a:pt x="178" y="409"/>
                    </a:cubicBezTo>
                    <a:cubicBezTo>
                      <a:pt x="411" y="181"/>
                      <a:pt x="411" y="181"/>
                      <a:pt x="411" y="181"/>
                    </a:cubicBezTo>
                    <a:cubicBezTo>
                      <a:pt x="416" y="175"/>
                      <a:pt x="348" y="80"/>
                      <a:pt x="343" y="74"/>
                    </a:cubicBezTo>
                    <a:cubicBezTo>
                      <a:pt x="337" y="69"/>
                      <a:pt x="337" y="69"/>
                      <a:pt x="337" y="69"/>
                    </a:cubicBezTo>
                    <a:cubicBezTo>
                      <a:pt x="332" y="63"/>
                      <a:pt x="244" y="0"/>
                      <a:pt x="239" y="5"/>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31" name="Freeform 88">
                <a:extLst>
                  <a:ext uri="{FF2B5EF4-FFF2-40B4-BE49-F238E27FC236}">
                    <a16:creationId xmlns:a16="http://schemas.microsoft.com/office/drawing/2014/main" id="{E6311610-80DA-4C69-82C9-75FA9AF24A5D}"/>
                  </a:ext>
                </a:extLst>
              </p:cNvPr>
              <p:cNvSpPr>
                <a:spLocks/>
              </p:cNvSpPr>
              <p:nvPr/>
            </p:nvSpPr>
            <p:spPr bwMode="auto">
              <a:xfrm>
                <a:off x="5601042" y="4780702"/>
                <a:ext cx="307667" cy="304908"/>
              </a:xfrm>
              <a:custGeom>
                <a:avLst/>
                <a:gdLst>
                  <a:gd name="T0" fmla="*/ 331 w 337"/>
                  <a:gd name="T1" fmla="*/ 78 h 333"/>
                  <a:gd name="T2" fmla="*/ 255 w 337"/>
                  <a:gd name="T3" fmla="*/ 0 h 333"/>
                  <a:gd name="T4" fmla="*/ 1 w 337"/>
                  <a:gd name="T5" fmla="*/ 249 h 333"/>
                  <a:gd name="T6" fmla="*/ 0 w 337"/>
                  <a:gd name="T7" fmla="*/ 247 h 333"/>
                  <a:gd name="T8" fmla="*/ 78 w 337"/>
                  <a:gd name="T9" fmla="*/ 327 h 333"/>
                  <a:gd name="T10" fmla="*/ 98 w 337"/>
                  <a:gd name="T11" fmla="*/ 327 h 333"/>
                  <a:gd name="T12" fmla="*/ 331 w 337"/>
                  <a:gd name="T13" fmla="*/ 98 h 333"/>
                  <a:gd name="T14" fmla="*/ 331 w 337"/>
                  <a:gd name="T15" fmla="*/ 78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333">
                    <a:moveTo>
                      <a:pt x="331" y="78"/>
                    </a:moveTo>
                    <a:cubicBezTo>
                      <a:pt x="255" y="0"/>
                      <a:pt x="255" y="0"/>
                      <a:pt x="255" y="0"/>
                    </a:cubicBezTo>
                    <a:cubicBezTo>
                      <a:pt x="1" y="249"/>
                      <a:pt x="1" y="249"/>
                      <a:pt x="1" y="249"/>
                    </a:cubicBezTo>
                    <a:cubicBezTo>
                      <a:pt x="0" y="247"/>
                      <a:pt x="0" y="247"/>
                      <a:pt x="0" y="247"/>
                    </a:cubicBezTo>
                    <a:cubicBezTo>
                      <a:pt x="78" y="327"/>
                      <a:pt x="78" y="327"/>
                      <a:pt x="78" y="327"/>
                    </a:cubicBezTo>
                    <a:cubicBezTo>
                      <a:pt x="83" y="333"/>
                      <a:pt x="93" y="333"/>
                      <a:pt x="98" y="327"/>
                    </a:cubicBezTo>
                    <a:cubicBezTo>
                      <a:pt x="331" y="98"/>
                      <a:pt x="331" y="98"/>
                      <a:pt x="331" y="98"/>
                    </a:cubicBezTo>
                    <a:cubicBezTo>
                      <a:pt x="337" y="93"/>
                      <a:pt x="337" y="84"/>
                      <a:pt x="331" y="78"/>
                    </a:cubicBezTo>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32" name="Freeform 89">
                <a:extLst>
                  <a:ext uri="{FF2B5EF4-FFF2-40B4-BE49-F238E27FC236}">
                    <a16:creationId xmlns:a16="http://schemas.microsoft.com/office/drawing/2014/main" id="{564C5BEF-8F44-443E-BE7B-2CCA808771E6}"/>
                  </a:ext>
                </a:extLst>
              </p:cNvPr>
              <p:cNvSpPr>
                <a:spLocks/>
              </p:cNvSpPr>
              <p:nvPr/>
            </p:nvSpPr>
            <p:spPr bwMode="auto">
              <a:xfrm>
                <a:off x="5527919" y="4705510"/>
                <a:ext cx="304218" cy="298699"/>
              </a:xfrm>
              <a:custGeom>
                <a:avLst/>
                <a:gdLst>
                  <a:gd name="T0" fmla="*/ 329 w 333"/>
                  <a:gd name="T1" fmla="*/ 77 h 326"/>
                  <a:gd name="T2" fmla="*/ 333 w 333"/>
                  <a:gd name="T3" fmla="*/ 80 h 326"/>
                  <a:gd name="T4" fmla="*/ 259 w 333"/>
                  <a:gd name="T5" fmla="*/ 6 h 326"/>
                  <a:gd name="T6" fmla="*/ 239 w 333"/>
                  <a:gd name="T7" fmla="*/ 5 h 326"/>
                  <a:gd name="T8" fmla="*/ 6 w 333"/>
                  <a:gd name="T9" fmla="*/ 234 h 326"/>
                  <a:gd name="T10" fmla="*/ 6 w 333"/>
                  <a:gd name="T11" fmla="*/ 254 h 326"/>
                  <a:gd name="T12" fmla="*/ 76 w 333"/>
                  <a:gd name="T13" fmla="*/ 326 h 326"/>
                  <a:gd name="T14" fmla="*/ 329 w 333"/>
                  <a:gd name="T15" fmla="*/ 77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3" h="326">
                    <a:moveTo>
                      <a:pt x="329" y="77"/>
                    </a:moveTo>
                    <a:cubicBezTo>
                      <a:pt x="333" y="80"/>
                      <a:pt x="333" y="80"/>
                      <a:pt x="333" y="80"/>
                    </a:cubicBezTo>
                    <a:cubicBezTo>
                      <a:pt x="259" y="6"/>
                      <a:pt x="259" y="6"/>
                      <a:pt x="259" y="6"/>
                    </a:cubicBezTo>
                    <a:cubicBezTo>
                      <a:pt x="254" y="0"/>
                      <a:pt x="244" y="0"/>
                      <a:pt x="239" y="5"/>
                    </a:cubicBezTo>
                    <a:cubicBezTo>
                      <a:pt x="6" y="234"/>
                      <a:pt x="6" y="234"/>
                      <a:pt x="6" y="234"/>
                    </a:cubicBezTo>
                    <a:cubicBezTo>
                      <a:pt x="0" y="240"/>
                      <a:pt x="0" y="249"/>
                      <a:pt x="6" y="254"/>
                    </a:cubicBezTo>
                    <a:cubicBezTo>
                      <a:pt x="76" y="326"/>
                      <a:pt x="76" y="326"/>
                      <a:pt x="76" y="326"/>
                    </a:cubicBezTo>
                    <a:lnTo>
                      <a:pt x="329" y="77"/>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33" name="Freeform 90">
                <a:extLst>
                  <a:ext uri="{FF2B5EF4-FFF2-40B4-BE49-F238E27FC236}">
                    <a16:creationId xmlns:a16="http://schemas.microsoft.com/office/drawing/2014/main" id="{083ABBC2-E4C4-4B4C-ABA5-DA11DE9602C0}"/>
                  </a:ext>
                </a:extLst>
              </p:cNvPr>
              <p:cNvSpPr>
                <a:spLocks/>
              </p:cNvSpPr>
              <p:nvPr/>
            </p:nvSpPr>
            <p:spPr bwMode="auto">
              <a:xfrm>
                <a:off x="5527919" y="4713788"/>
                <a:ext cx="214539" cy="290421"/>
              </a:xfrm>
              <a:custGeom>
                <a:avLst/>
                <a:gdLst>
                  <a:gd name="T0" fmla="*/ 234 w 235"/>
                  <a:gd name="T1" fmla="*/ 162 h 317"/>
                  <a:gd name="T2" fmla="*/ 235 w 235"/>
                  <a:gd name="T3" fmla="*/ 0 h 317"/>
                  <a:gd name="T4" fmla="*/ 6 w 235"/>
                  <a:gd name="T5" fmla="*/ 225 h 317"/>
                  <a:gd name="T6" fmla="*/ 6 w 235"/>
                  <a:gd name="T7" fmla="*/ 245 h 317"/>
                  <a:gd name="T8" fmla="*/ 76 w 235"/>
                  <a:gd name="T9" fmla="*/ 317 h 317"/>
                  <a:gd name="T10" fmla="*/ 234 w 235"/>
                  <a:gd name="T11" fmla="*/ 162 h 317"/>
                </a:gdLst>
                <a:ahLst/>
                <a:cxnLst>
                  <a:cxn ang="0">
                    <a:pos x="T0" y="T1"/>
                  </a:cxn>
                  <a:cxn ang="0">
                    <a:pos x="T2" y="T3"/>
                  </a:cxn>
                  <a:cxn ang="0">
                    <a:pos x="T4" y="T5"/>
                  </a:cxn>
                  <a:cxn ang="0">
                    <a:pos x="T6" y="T7"/>
                  </a:cxn>
                  <a:cxn ang="0">
                    <a:pos x="T8" y="T9"/>
                  </a:cxn>
                  <a:cxn ang="0">
                    <a:pos x="T10" y="T11"/>
                  </a:cxn>
                </a:cxnLst>
                <a:rect l="0" t="0" r="r" b="b"/>
                <a:pathLst>
                  <a:path w="235" h="317">
                    <a:moveTo>
                      <a:pt x="234" y="162"/>
                    </a:moveTo>
                    <a:cubicBezTo>
                      <a:pt x="235" y="0"/>
                      <a:pt x="235" y="0"/>
                      <a:pt x="235" y="0"/>
                    </a:cubicBezTo>
                    <a:cubicBezTo>
                      <a:pt x="6" y="225"/>
                      <a:pt x="6" y="225"/>
                      <a:pt x="6" y="225"/>
                    </a:cubicBezTo>
                    <a:cubicBezTo>
                      <a:pt x="0" y="231"/>
                      <a:pt x="0" y="240"/>
                      <a:pt x="6" y="245"/>
                    </a:cubicBezTo>
                    <a:cubicBezTo>
                      <a:pt x="76" y="317"/>
                      <a:pt x="76" y="317"/>
                      <a:pt x="76" y="317"/>
                    </a:cubicBezTo>
                    <a:lnTo>
                      <a:pt x="234" y="162"/>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34" name="Freeform 91">
                <a:extLst>
                  <a:ext uri="{FF2B5EF4-FFF2-40B4-BE49-F238E27FC236}">
                    <a16:creationId xmlns:a16="http://schemas.microsoft.com/office/drawing/2014/main" id="{25C18282-353C-4A92-81AF-50894234D946}"/>
                  </a:ext>
                </a:extLst>
              </p:cNvPr>
              <p:cNvSpPr>
                <a:spLocks/>
              </p:cNvSpPr>
              <p:nvPr/>
            </p:nvSpPr>
            <p:spPr bwMode="auto">
              <a:xfrm>
                <a:off x="5601731" y="4871071"/>
                <a:ext cx="140037" cy="214539"/>
              </a:xfrm>
              <a:custGeom>
                <a:avLst/>
                <a:gdLst>
                  <a:gd name="T0" fmla="*/ 0 w 153"/>
                  <a:gd name="T1" fmla="*/ 150 h 234"/>
                  <a:gd name="T2" fmla="*/ 77 w 153"/>
                  <a:gd name="T3" fmla="*/ 228 h 234"/>
                  <a:gd name="T4" fmla="*/ 97 w 153"/>
                  <a:gd name="T5" fmla="*/ 228 h 234"/>
                  <a:gd name="T6" fmla="*/ 151 w 153"/>
                  <a:gd name="T7" fmla="*/ 175 h 234"/>
                  <a:gd name="T8" fmla="*/ 153 w 153"/>
                  <a:gd name="T9" fmla="*/ 0 h 234"/>
                  <a:gd name="T10" fmla="*/ 0 w 153"/>
                  <a:gd name="T11" fmla="*/ 150 h 234"/>
                </a:gdLst>
                <a:ahLst/>
                <a:cxnLst>
                  <a:cxn ang="0">
                    <a:pos x="T0" y="T1"/>
                  </a:cxn>
                  <a:cxn ang="0">
                    <a:pos x="T2" y="T3"/>
                  </a:cxn>
                  <a:cxn ang="0">
                    <a:pos x="T4" y="T5"/>
                  </a:cxn>
                  <a:cxn ang="0">
                    <a:pos x="T6" y="T7"/>
                  </a:cxn>
                  <a:cxn ang="0">
                    <a:pos x="T8" y="T9"/>
                  </a:cxn>
                  <a:cxn ang="0">
                    <a:pos x="T10" y="T11"/>
                  </a:cxn>
                </a:cxnLst>
                <a:rect l="0" t="0" r="r" b="b"/>
                <a:pathLst>
                  <a:path w="153" h="234">
                    <a:moveTo>
                      <a:pt x="0" y="150"/>
                    </a:moveTo>
                    <a:cubicBezTo>
                      <a:pt x="77" y="228"/>
                      <a:pt x="77" y="228"/>
                      <a:pt x="77" y="228"/>
                    </a:cubicBezTo>
                    <a:cubicBezTo>
                      <a:pt x="82" y="234"/>
                      <a:pt x="92" y="234"/>
                      <a:pt x="97" y="228"/>
                    </a:cubicBezTo>
                    <a:cubicBezTo>
                      <a:pt x="151" y="175"/>
                      <a:pt x="151" y="175"/>
                      <a:pt x="151" y="175"/>
                    </a:cubicBezTo>
                    <a:cubicBezTo>
                      <a:pt x="153" y="0"/>
                      <a:pt x="153" y="0"/>
                      <a:pt x="153" y="0"/>
                    </a:cubicBezTo>
                    <a:lnTo>
                      <a:pt x="0" y="15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35" name="Freeform 92">
                <a:extLst>
                  <a:ext uri="{FF2B5EF4-FFF2-40B4-BE49-F238E27FC236}">
                    <a16:creationId xmlns:a16="http://schemas.microsoft.com/office/drawing/2014/main" id="{87953C73-197E-464D-B34D-353DC52E180D}"/>
                  </a:ext>
                </a:extLst>
              </p:cNvPr>
              <p:cNvSpPr>
                <a:spLocks/>
              </p:cNvSpPr>
              <p:nvPr/>
            </p:nvSpPr>
            <p:spPr bwMode="auto">
              <a:xfrm>
                <a:off x="5728661" y="4918669"/>
                <a:ext cx="22075" cy="22075"/>
              </a:xfrm>
              <a:custGeom>
                <a:avLst/>
                <a:gdLst>
                  <a:gd name="T0" fmla="*/ 32 w 32"/>
                  <a:gd name="T1" fmla="*/ 16 h 32"/>
                  <a:gd name="T2" fmla="*/ 16 w 32"/>
                  <a:gd name="T3" fmla="*/ 0 h 32"/>
                  <a:gd name="T4" fmla="*/ 0 w 32"/>
                  <a:gd name="T5" fmla="*/ 16 h 32"/>
                  <a:gd name="T6" fmla="*/ 16 w 32"/>
                  <a:gd name="T7" fmla="*/ 32 h 32"/>
                  <a:gd name="T8" fmla="*/ 32 w 32"/>
                  <a:gd name="T9" fmla="*/ 16 h 32"/>
                </a:gdLst>
                <a:ahLst/>
                <a:cxnLst>
                  <a:cxn ang="0">
                    <a:pos x="T0" y="T1"/>
                  </a:cxn>
                  <a:cxn ang="0">
                    <a:pos x="T2" y="T3"/>
                  </a:cxn>
                  <a:cxn ang="0">
                    <a:pos x="T4" y="T5"/>
                  </a:cxn>
                  <a:cxn ang="0">
                    <a:pos x="T6" y="T7"/>
                  </a:cxn>
                  <a:cxn ang="0">
                    <a:pos x="T8" y="T9"/>
                  </a:cxn>
                </a:cxnLst>
                <a:rect l="0" t="0" r="r" b="b"/>
                <a:pathLst>
                  <a:path w="32" h="32">
                    <a:moveTo>
                      <a:pt x="32" y="16"/>
                    </a:moveTo>
                    <a:lnTo>
                      <a:pt x="16" y="0"/>
                    </a:lnTo>
                    <a:lnTo>
                      <a:pt x="0" y="16"/>
                    </a:lnTo>
                    <a:lnTo>
                      <a:pt x="16" y="32"/>
                    </a:lnTo>
                    <a:lnTo>
                      <a:pt x="32"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36" name="Freeform 93">
                <a:extLst>
                  <a:ext uri="{FF2B5EF4-FFF2-40B4-BE49-F238E27FC236}">
                    <a16:creationId xmlns:a16="http://schemas.microsoft.com/office/drawing/2014/main" id="{A8C00A75-A1C5-4F89-90BC-4B431AE90859}"/>
                  </a:ext>
                </a:extLst>
              </p:cNvPr>
              <p:cNvSpPr>
                <a:spLocks/>
              </p:cNvSpPr>
              <p:nvPr/>
            </p:nvSpPr>
            <p:spPr bwMode="auto">
              <a:xfrm>
                <a:off x="5741768" y="4906252"/>
                <a:ext cx="22075" cy="21385"/>
              </a:xfrm>
              <a:custGeom>
                <a:avLst/>
                <a:gdLst>
                  <a:gd name="T0" fmla="*/ 16 w 32"/>
                  <a:gd name="T1" fmla="*/ 31 h 31"/>
                  <a:gd name="T2" fmla="*/ 32 w 32"/>
                  <a:gd name="T3" fmla="*/ 15 h 31"/>
                  <a:gd name="T4" fmla="*/ 16 w 32"/>
                  <a:gd name="T5" fmla="*/ 0 h 31"/>
                  <a:gd name="T6" fmla="*/ 0 w 32"/>
                  <a:gd name="T7" fmla="*/ 15 h 31"/>
                  <a:gd name="T8" fmla="*/ 16 w 32"/>
                  <a:gd name="T9" fmla="*/ 31 h 31"/>
                </a:gdLst>
                <a:ahLst/>
                <a:cxnLst>
                  <a:cxn ang="0">
                    <a:pos x="T0" y="T1"/>
                  </a:cxn>
                  <a:cxn ang="0">
                    <a:pos x="T2" y="T3"/>
                  </a:cxn>
                  <a:cxn ang="0">
                    <a:pos x="T4" y="T5"/>
                  </a:cxn>
                  <a:cxn ang="0">
                    <a:pos x="T6" y="T7"/>
                  </a:cxn>
                  <a:cxn ang="0">
                    <a:pos x="T8" y="T9"/>
                  </a:cxn>
                </a:cxnLst>
                <a:rect l="0" t="0" r="r" b="b"/>
                <a:pathLst>
                  <a:path w="32" h="31">
                    <a:moveTo>
                      <a:pt x="16" y="31"/>
                    </a:moveTo>
                    <a:lnTo>
                      <a:pt x="32" y="15"/>
                    </a:lnTo>
                    <a:lnTo>
                      <a:pt x="16" y="0"/>
                    </a:lnTo>
                    <a:lnTo>
                      <a:pt x="0" y="15"/>
                    </a:lnTo>
                    <a:lnTo>
                      <a:pt x="16" y="3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37" name="Freeform 94">
                <a:extLst>
                  <a:ext uri="{FF2B5EF4-FFF2-40B4-BE49-F238E27FC236}">
                    <a16:creationId xmlns:a16="http://schemas.microsoft.com/office/drawing/2014/main" id="{BC2732F7-1FC3-4921-BDD4-8F40B79A9ECD}"/>
                  </a:ext>
                </a:extLst>
              </p:cNvPr>
              <p:cNvSpPr>
                <a:spLocks/>
              </p:cNvSpPr>
              <p:nvPr/>
            </p:nvSpPr>
            <p:spPr bwMode="auto">
              <a:xfrm>
                <a:off x="5753495" y="4918669"/>
                <a:ext cx="22075" cy="22075"/>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lnTo>
                      <a:pt x="16" y="32"/>
                    </a:lnTo>
                    <a:lnTo>
                      <a:pt x="32" y="16"/>
                    </a:lnTo>
                    <a:lnTo>
                      <a:pt x="16" y="0"/>
                    </a:lnTo>
                    <a:lnTo>
                      <a:pt x="0"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38" name="Freeform 95">
                <a:extLst>
                  <a:ext uri="{FF2B5EF4-FFF2-40B4-BE49-F238E27FC236}">
                    <a16:creationId xmlns:a16="http://schemas.microsoft.com/office/drawing/2014/main" id="{A55104CA-D7C2-496C-AC9F-781DD4D002D9}"/>
                  </a:ext>
                </a:extLst>
              </p:cNvPr>
              <p:cNvSpPr>
                <a:spLocks/>
              </p:cNvSpPr>
              <p:nvPr/>
            </p:nvSpPr>
            <p:spPr bwMode="auto">
              <a:xfrm>
                <a:off x="5741768" y="4931776"/>
                <a:ext cx="20695" cy="22075"/>
              </a:xfrm>
              <a:custGeom>
                <a:avLst/>
                <a:gdLst>
                  <a:gd name="T0" fmla="*/ 16 w 30"/>
                  <a:gd name="T1" fmla="*/ 0 h 32"/>
                  <a:gd name="T2" fmla="*/ 0 w 30"/>
                  <a:gd name="T3" fmla="*/ 16 h 32"/>
                  <a:gd name="T4" fmla="*/ 15 w 30"/>
                  <a:gd name="T5" fmla="*/ 32 h 32"/>
                  <a:gd name="T6" fmla="*/ 30 w 30"/>
                  <a:gd name="T7" fmla="*/ 16 h 32"/>
                  <a:gd name="T8" fmla="*/ 16 w 30"/>
                  <a:gd name="T9" fmla="*/ 0 h 32"/>
                </a:gdLst>
                <a:ahLst/>
                <a:cxnLst>
                  <a:cxn ang="0">
                    <a:pos x="T0" y="T1"/>
                  </a:cxn>
                  <a:cxn ang="0">
                    <a:pos x="T2" y="T3"/>
                  </a:cxn>
                  <a:cxn ang="0">
                    <a:pos x="T4" y="T5"/>
                  </a:cxn>
                  <a:cxn ang="0">
                    <a:pos x="T6" y="T7"/>
                  </a:cxn>
                  <a:cxn ang="0">
                    <a:pos x="T8" y="T9"/>
                  </a:cxn>
                </a:cxnLst>
                <a:rect l="0" t="0" r="r" b="b"/>
                <a:pathLst>
                  <a:path w="30" h="32">
                    <a:moveTo>
                      <a:pt x="16" y="0"/>
                    </a:moveTo>
                    <a:lnTo>
                      <a:pt x="0" y="16"/>
                    </a:lnTo>
                    <a:lnTo>
                      <a:pt x="15" y="32"/>
                    </a:lnTo>
                    <a:lnTo>
                      <a:pt x="30" y="16"/>
                    </a:lnTo>
                    <a:lnTo>
                      <a:pt x="1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39" name="Freeform 96">
                <a:extLst>
                  <a:ext uri="{FF2B5EF4-FFF2-40B4-BE49-F238E27FC236}">
                    <a16:creationId xmlns:a16="http://schemas.microsoft.com/office/drawing/2014/main" id="{F32AD0F8-A0B3-4D38-A2C5-4591CD4E171E}"/>
                  </a:ext>
                </a:extLst>
              </p:cNvPr>
              <p:cNvSpPr>
                <a:spLocks/>
              </p:cNvSpPr>
              <p:nvPr/>
            </p:nvSpPr>
            <p:spPr bwMode="auto">
              <a:xfrm>
                <a:off x="5690721" y="4935225"/>
                <a:ext cx="116583" cy="145556"/>
              </a:xfrm>
              <a:custGeom>
                <a:avLst/>
                <a:gdLst>
                  <a:gd name="T0" fmla="*/ 127 w 128"/>
                  <a:gd name="T1" fmla="*/ 63 h 159"/>
                  <a:gd name="T2" fmla="*/ 121 w 128"/>
                  <a:gd name="T3" fmla="*/ 12 h 159"/>
                  <a:gd name="T4" fmla="*/ 108 w 128"/>
                  <a:gd name="T5" fmla="*/ 1 h 159"/>
                  <a:gd name="T6" fmla="*/ 97 w 128"/>
                  <a:gd name="T7" fmla="*/ 13 h 159"/>
                  <a:gd name="T8" fmla="*/ 96 w 128"/>
                  <a:gd name="T9" fmla="*/ 50 h 159"/>
                  <a:gd name="T10" fmla="*/ 88 w 128"/>
                  <a:gd name="T11" fmla="*/ 14 h 159"/>
                  <a:gd name="T12" fmla="*/ 71 w 128"/>
                  <a:gd name="T13" fmla="*/ 4 h 159"/>
                  <a:gd name="T14" fmla="*/ 61 w 128"/>
                  <a:gd name="T15" fmla="*/ 18 h 159"/>
                  <a:gd name="T16" fmla="*/ 65 w 128"/>
                  <a:gd name="T17" fmla="*/ 60 h 159"/>
                  <a:gd name="T18" fmla="*/ 59 w 128"/>
                  <a:gd name="T19" fmla="*/ 41 h 159"/>
                  <a:gd name="T20" fmla="*/ 42 w 128"/>
                  <a:gd name="T21" fmla="*/ 34 h 159"/>
                  <a:gd name="T22" fmla="*/ 35 w 128"/>
                  <a:gd name="T23" fmla="*/ 48 h 159"/>
                  <a:gd name="T24" fmla="*/ 48 w 128"/>
                  <a:gd name="T25" fmla="*/ 111 h 159"/>
                  <a:gd name="T26" fmla="*/ 46 w 128"/>
                  <a:gd name="T27" fmla="*/ 113 h 159"/>
                  <a:gd name="T28" fmla="*/ 26 w 128"/>
                  <a:gd name="T29" fmla="*/ 77 h 159"/>
                  <a:gd name="T30" fmla="*/ 9 w 128"/>
                  <a:gd name="T31" fmla="*/ 73 h 159"/>
                  <a:gd name="T32" fmla="*/ 4 w 128"/>
                  <a:gd name="T33" fmla="*/ 88 h 159"/>
                  <a:gd name="T34" fmla="*/ 22 w 128"/>
                  <a:gd name="T35" fmla="*/ 137 h 159"/>
                  <a:gd name="T36" fmla="*/ 12 w 128"/>
                  <a:gd name="T37" fmla="*/ 147 h 159"/>
                  <a:gd name="T38" fmla="*/ 0 w 128"/>
                  <a:gd name="T39" fmla="*/ 158 h 159"/>
                  <a:gd name="T40" fmla="*/ 38 w 128"/>
                  <a:gd name="T41" fmla="*/ 159 h 159"/>
                  <a:gd name="T42" fmla="*/ 92 w 128"/>
                  <a:gd name="T43" fmla="*/ 129 h 159"/>
                  <a:gd name="T44" fmla="*/ 123 w 128"/>
                  <a:gd name="T45" fmla="*/ 78 h 159"/>
                  <a:gd name="T46" fmla="*/ 123 w 128"/>
                  <a:gd name="T47" fmla="*/ 78 h 159"/>
                  <a:gd name="T48" fmla="*/ 127 w 128"/>
                  <a:gd name="T49" fmla="*/ 6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59">
                    <a:moveTo>
                      <a:pt x="127" y="63"/>
                    </a:moveTo>
                    <a:cubicBezTo>
                      <a:pt x="121" y="12"/>
                      <a:pt x="121" y="12"/>
                      <a:pt x="121" y="12"/>
                    </a:cubicBezTo>
                    <a:cubicBezTo>
                      <a:pt x="121" y="5"/>
                      <a:pt x="114" y="0"/>
                      <a:pt x="108" y="1"/>
                    </a:cubicBezTo>
                    <a:cubicBezTo>
                      <a:pt x="102" y="2"/>
                      <a:pt x="98" y="7"/>
                      <a:pt x="97" y="13"/>
                    </a:cubicBezTo>
                    <a:cubicBezTo>
                      <a:pt x="96" y="50"/>
                      <a:pt x="96" y="50"/>
                      <a:pt x="96" y="50"/>
                    </a:cubicBezTo>
                    <a:cubicBezTo>
                      <a:pt x="88" y="14"/>
                      <a:pt x="88" y="14"/>
                      <a:pt x="88" y="14"/>
                    </a:cubicBezTo>
                    <a:cubicBezTo>
                      <a:pt x="86" y="7"/>
                      <a:pt x="79" y="2"/>
                      <a:pt x="71" y="4"/>
                    </a:cubicBezTo>
                    <a:cubicBezTo>
                      <a:pt x="65" y="6"/>
                      <a:pt x="61" y="12"/>
                      <a:pt x="61" y="18"/>
                    </a:cubicBezTo>
                    <a:cubicBezTo>
                      <a:pt x="65" y="60"/>
                      <a:pt x="65" y="60"/>
                      <a:pt x="65" y="60"/>
                    </a:cubicBezTo>
                    <a:cubicBezTo>
                      <a:pt x="59" y="41"/>
                      <a:pt x="59" y="41"/>
                      <a:pt x="59" y="41"/>
                    </a:cubicBezTo>
                    <a:cubicBezTo>
                      <a:pt x="56" y="34"/>
                      <a:pt x="49" y="31"/>
                      <a:pt x="42" y="34"/>
                    </a:cubicBezTo>
                    <a:cubicBezTo>
                      <a:pt x="37" y="36"/>
                      <a:pt x="34" y="42"/>
                      <a:pt x="35" y="48"/>
                    </a:cubicBezTo>
                    <a:cubicBezTo>
                      <a:pt x="48" y="111"/>
                      <a:pt x="48" y="111"/>
                      <a:pt x="48" y="111"/>
                    </a:cubicBezTo>
                    <a:cubicBezTo>
                      <a:pt x="46" y="113"/>
                      <a:pt x="46" y="113"/>
                      <a:pt x="46" y="113"/>
                    </a:cubicBezTo>
                    <a:cubicBezTo>
                      <a:pt x="26" y="77"/>
                      <a:pt x="26" y="77"/>
                      <a:pt x="26" y="77"/>
                    </a:cubicBezTo>
                    <a:cubicBezTo>
                      <a:pt x="23" y="71"/>
                      <a:pt x="15" y="69"/>
                      <a:pt x="9" y="73"/>
                    </a:cubicBezTo>
                    <a:cubicBezTo>
                      <a:pt x="4" y="76"/>
                      <a:pt x="2" y="82"/>
                      <a:pt x="4" y="88"/>
                    </a:cubicBezTo>
                    <a:cubicBezTo>
                      <a:pt x="22" y="137"/>
                      <a:pt x="22" y="137"/>
                      <a:pt x="22" y="137"/>
                    </a:cubicBezTo>
                    <a:cubicBezTo>
                      <a:pt x="12" y="147"/>
                      <a:pt x="12" y="147"/>
                      <a:pt x="12" y="147"/>
                    </a:cubicBezTo>
                    <a:cubicBezTo>
                      <a:pt x="0" y="158"/>
                      <a:pt x="0" y="158"/>
                      <a:pt x="0" y="158"/>
                    </a:cubicBezTo>
                    <a:cubicBezTo>
                      <a:pt x="38" y="159"/>
                      <a:pt x="38" y="159"/>
                      <a:pt x="38" y="159"/>
                    </a:cubicBezTo>
                    <a:cubicBezTo>
                      <a:pt x="60" y="159"/>
                      <a:pt x="80" y="148"/>
                      <a:pt x="92" y="129"/>
                    </a:cubicBezTo>
                    <a:cubicBezTo>
                      <a:pt x="123" y="78"/>
                      <a:pt x="123" y="78"/>
                      <a:pt x="123" y="78"/>
                    </a:cubicBezTo>
                    <a:cubicBezTo>
                      <a:pt x="123" y="78"/>
                      <a:pt x="123" y="78"/>
                      <a:pt x="123" y="78"/>
                    </a:cubicBezTo>
                    <a:cubicBezTo>
                      <a:pt x="126" y="74"/>
                      <a:pt x="128" y="69"/>
                      <a:pt x="127" y="63"/>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40" name="Freeform 97">
                <a:extLst>
                  <a:ext uri="{FF2B5EF4-FFF2-40B4-BE49-F238E27FC236}">
                    <a16:creationId xmlns:a16="http://schemas.microsoft.com/office/drawing/2014/main" id="{5A65589D-3000-4D3C-8E18-14DAC6E757AF}"/>
                  </a:ext>
                </a:extLst>
              </p:cNvPr>
              <p:cNvSpPr>
                <a:spLocks/>
              </p:cNvSpPr>
              <p:nvPr/>
            </p:nvSpPr>
            <p:spPr bwMode="auto">
              <a:xfrm>
                <a:off x="5256813" y="3603841"/>
                <a:ext cx="524966" cy="259378"/>
              </a:xfrm>
              <a:custGeom>
                <a:avLst/>
                <a:gdLst>
                  <a:gd name="T0" fmla="*/ 550 w 575"/>
                  <a:gd name="T1" fmla="*/ 0 h 283"/>
                  <a:gd name="T2" fmla="*/ 152 w 575"/>
                  <a:gd name="T3" fmla="*/ 0 h 283"/>
                  <a:gd name="T4" fmla="*/ 119 w 575"/>
                  <a:gd name="T5" fmla="*/ 21 h 283"/>
                  <a:gd name="T6" fmla="*/ 0 w 575"/>
                  <a:gd name="T7" fmla="*/ 283 h 283"/>
                  <a:gd name="T8" fmla="*/ 453 w 575"/>
                  <a:gd name="T9" fmla="*/ 283 h 283"/>
                  <a:gd name="T10" fmla="*/ 569 w 575"/>
                  <a:gd name="T11" fmla="*/ 29 h 283"/>
                  <a:gd name="T12" fmla="*/ 550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0" y="0"/>
                    </a:moveTo>
                    <a:cubicBezTo>
                      <a:pt x="152" y="0"/>
                      <a:pt x="152" y="0"/>
                      <a:pt x="152" y="0"/>
                    </a:cubicBezTo>
                    <a:cubicBezTo>
                      <a:pt x="138" y="0"/>
                      <a:pt x="125" y="8"/>
                      <a:pt x="119" y="21"/>
                    </a:cubicBezTo>
                    <a:cubicBezTo>
                      <a:pt x="0" y="283"/>
                      <a:pt x="0" y="283"/>
                      <a:pt x="0" y="283"/>
                    </a:cubicBezTo>
                    <a:cubicBezTo>
                      <a:pt x="453" y="283"/>
                      <a:pt x="453" y="283"/>
                      <a:pt x="453" y="283"/>
                    </a:cubicBezTo>
                    <a:cubicBezTo>
                      <a:pt x="569" y="29"/>
                      <a:pt x="569" y="29"/>
                      <a:pt x="569" y="29"/>
                    </a:cubicBezTo>
                    <a:cubicBezTo>
                      <a:pt x="575" y="15"/>
                      <a:pt x="565" y="0"/>
                      <a:pt x="550" y="0"/>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41" name="Freeform 98">
                <a:extLst>
                  <a:ext uri="{FF2B5EF4-FFF2-40B4-BE49-F238E27FC236}">
                    <a16:creationId xmlns:a16="http://schemas.microsoft.com/office/drawing/2014/main" id="{3D840978-320B-4604-B32B-40B232340F2C}"/>
                  </a:ext>
                </a:extLst>
              </p:cNvPr>
              <p:cNvSpPr>
                <a:spLocks/>
              </p:cNvSpPr>
              <p:nvPr/>
            </p:nvSpPr>
            <p:spPr bwMode="auto">
              <a:xfrm>
                <a:off x="5278888" y="3603841"/>
                <a:ext cx="524966" cy="259378"/>
              </a:xfrm>
              <a:custGeom>
                <a:avLst/>
                <a:gdLst>
                  <a:gd name="T0" fmla="*/ 551 w 575"/>
                  <a:gd name="T1" fmla="*/ 0 h 283"/>
                  <a:gd name="T2" fmla="*/ 153 w 575"/>
                  <a:gd name="T3" fmla="*/ 0 h 283"/>
                  <a:gd name="T4" fmla="*/ 120 w 575"/>
                  <a:gd name="T5" fmla="*/ 21 h 283"/>
                  <a:gd name="T6" fmla="*/ 0 w 575"/>
                  <a:gd name="T7" fmla="*/ 283 h 283"/>
                  <a:gd name="T8" fmla="*/ 453 w 575"/>
                  <a:gd name="T9" fmla="*/ 283 h 283"/>
                  <a:gd name="T10" fmla="*/ 569 w 575"/>
                  <a:gd name="T11" fmla="*/ 29 h 283"/>
                  <a:gd name="T12" fmla="*/ 551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1" y="0"/>
                    </a:moveTo>
                    <a:cubicBezTo>
                      <a:pt x="153" y="0"/>
                      <a:pt x="153" y="0"/>
                      <a:pt x="153" y="0"/>
                    </a:cubicBezTo>
                    <a:cubicBezTo>
                      <a:pt x="138" y="0"/>
                      <a:pt x="126" y="8"/>
                      <a:pt x="120" y="21"/>
                    </a:cubicBezTo>
                    <a:cubicBezTo>
                      <a:pt x="0" y="283"/>
                      <a:pt x="0" y="283"/>
                      <a:pt x="0" y="283"/>
                    </a:cubicBezTo>
                    <a:cubicBezTo>
                      <a:pt x="453" y="283"/>
                      <a:pt x="453" y="283"/>
                      <a:pt x="453" y="283"/>
                    </a:cubicBezTo>
                    <a:cubicBezTo>
                      <a:pt x="569" y="29"/>
                      <a:pt x="569" y="29"/>
                      <a:pt x="569" y="29"/>
                    </a:cubicBezTo>
                    <a:cubicBezTo>
                      <a:pt x="575" y="15"/>
                      <a:pt x="565" y="0"/>
                      <a:pt x="551"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42" name="Freeform 99">
                <a:extLst>
                  <a:ext uri="{FF2B5EF4-FFF2-40B4-BE49-F238E27FC236}">
                    <a16:creationId xmlns:a16="http://schemas.microsoft.com/office/drawing/2014/main" id="{0B9250A2-3BD1-4530-9732-2F9BC05F76A9}"/>
                  </a:ext>
                </a:extLst>
              </p:cNvPr>
              <p:cNvSpPr>
                <a:spLocks/>
              </p:cNvSpPr>
              <p:nvPr/>
            </p:nvSpPr>
            <p:spPr bwMode="auto">
              <a:xfrm>
                <a:off x="5525160" y="3725943"/>
                <a:ext cx="33802" cy="20695"/>
              </a:xfrm>
              <a:custGeom>
                <a:avLst/>
                <a:gdLst>
                  <a:gd name="T0" fmla="*/ 35 w 49"/>
                  <a:gd name="T1" fmla="*/ 30 h 30"/>
                  <a:gd name="T2" fmla="*/ 49 w 49"/>
                  <a:gd name="T3" fmla="*/ 0 h 30"/>
                  <a:gd name="T4" fmla="*/ 15 w 49"/>
                  <a:gd name="T5" fmla="*/ 0 h 30"/>
                  <a:gd name="T6" fmla="*/ 0 w 49"/>
                  <a:gd name="T7" fmla="*/ 30 h 30"/>
                  <a:gd name="T8" fmla="*/ 35 w 49"/>
                  <a:gd name="T9" fmla="*/ 30 h 30"/>
                </a:gdLst>
                <a:ahLst/>
                <a:cxnLst>
                  <a:cxn ang="0">
                    <a:pos x="T0" y="T1"/>
                  </a:cxn>
                  <a:cxn ang="0">
                    <a:pos x="T2" y="T3"/>
                  </a:cxn>
                  <a:cxn ang="0">
                    <a:pos x="T4" y="T5"/>
                  </a:cxn>
                  <a:cxn ang="0">
                    <a:pos x="T6" y="T7"/>
                  </a:cxn>
                  <a:cxn ang="0">
                    <a:pos x="T8" y="T9"/>
                  </a:cxn>
                </a:cxnLst>
                <a:rect l="0" t="0" r="r" b="b"/>
                <a:pathLst>
                  <a:path w="49" h="30">
                    <a:moveTo>
                      <a:pt x="35" y="30"/>
                    </a:moveTo>
                    <a:lnTo>
                      <a:pt x="49" y="0"/>
                    </a:lnTo>
                    <a:lnTo>
                      <a:pt x="15" y="0"/>
                    </a:lnTo>
                    <a:lnTo>
                      <a:pt x="0" y="30"/>
                    </a:lnTo>
                    <a:lnTo>
                      <a:pt x="35"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43" name="Freeform 100">
                <a:extLst>
                  <a:ext uri="{FF2B5EF4-FFF2-40B4-BE49-F238E27FC236}">
                    <a16:creationId xmlns:a16="http://schemas.microsoft.com/office/drawing/2014/main" id="{D9168A67-D3A8-4593-8F1C-564182108D98}"/>
                  </a:ext>
                </a:extLst>
              </p:cNvPr>
              <p:cNvSpPr>
                <a:spLocks/>
              </p:cNvSpPr>
              <p:nvPr/>
            </p:nvSpPr>
            <p:spPr bwMode="auto">
              <a:xfrm>
                <a:off x="5515502" y="3750777"/>
                <a:ext cx="31732" cy="18626"/>
              </a:xfrm>
              <a:custGeom>
                <a:avLst/>
                <a:gdLst>
                  <a:gd name="T0" fmla="*/ 13 w 46"/>
                  <a:gd name="T1" fmla="*/ 0 h 27"/>
                  <a:gd name="T2" fmla="*/ 0 w 46"/>
                  <a:gd name="T3" fmla="*/ 27 h 27"/>
                  <a:gd name="T4" fmla="*/ 33 w 46"/>
                  <a:gd name="T5" fmla="*/ 27 h 27"/>
                  <a:gd name="T6" fmla="*/ 46 w 46"/>
                  <a:gd name="T7" fmla="*/ 0 h 27"/>
                  <a:gd name="T8" fmla="*/ 13 w 46"/>
                  <a:gd name="T9" fmla="*/ 0 h 27"/>
                </a:gdLst>
                <a:ahLst/>
                <a:cxnLst>
                  <a:cxn ang="0">
                    <a:pos x="T0" y="T1"/>
                  </a:cxn>
                  <a:cxn ang="0">
                    <a:pos x="T2" y="T3"/>
                  </a:cxn>
                  <a:cxn ang="0">
                    <a:pos x="T4" y="T5"/>
                  </a:cxn>
                  <a:cxn ang="0">
                    <a:pos x="T6" y="T7"/>
                  </a:cxn>
                  <a:cxn ang="0">
                    <a:pos x="T8" y="T9"/>
                  </a:cxn>
                </a:cxnLst>
                <a:rect l="0" t="0" r="r" b="b"/>
                <a:pathLst>
                  <a:path w="46" h="27">
                    <a:moveTo>
                      <a:pt x="13" y="0"/>
                    </a:moveTo>
                    <a:lnTo>
                      <a:pt x="0" y="27"/>
                    </a:lnTo>
                    <a:lnTo>
                      <a:pt x="33" y="27"/>
                    </a:lnTo>
                    <a:lnTo>
                      <a:pt x="46" y="0"/>
                    </a:lnTo>
                    <a:lnTo>
                      <a:pt x="13"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44" name="Freeform 101">
                <a:extLst>
                  <a:ext uri="{FF2B5EF4-FFF2-40B4-BE49-F238E27FC236}">
                    <a16:creationId xmlns:a16="http://schemas.microsoft.com/office/drawing/2014/main" id="{3E0CA278-10AF-476F-96EF-B76B373A02B7}"/>
                  </a:ext>
                </a:extLst>
              </p:cNvPr>
              <p:cNvSpPr>
                <a:spLocks/>
              </p:cNvSpPr>
              <p:nvPr/>
            </p:nvSpPr>
            <p:spPr bwMode="auto">
              <a:xfrm>
                <a:off x="5553443" y="3725943"/>
                <a:ext cx="31043" cy="20695"/>
              </a:xfrm>
              <a:custGeom>
                <a:avLst/>
                <a:gdLst>
                  <a:gd name="T0" fmla="*/ 31 w 45"/>
                  <a:gd name="T1" fmla="*/ 30 h 30"/>
                  <a:gd name="T2" fmla="*/ 45 w 45"/>
                  <a:gd name="T3" fmla="*/ 0 h 30"/>
                  <a:gd name="T4" fmla="*/ 13 w 45"/>
                  <a:gd name="T5" fmla="*/ 0 h 30"/>
                  <a:gd name="T6" fmla="*/ 0 w 45"/>
                  <a:gd name="T7" fmla="*/ 30 h 30"/>
                  <a:gd name="T8" fmla="*/ 31 w 45"/>
                  <a:gd name="T9" fmla="*/ 30 h 30"/>
                </a:gdLst>
                <a:ahLst/>
                <a:cxnLst>
                  <a:cxn ang="0">
                    <a:pos x="T0" y="T1"/>
                  </a:cxn>
                  <a:cxn ang="0">
                    <a:pos x="T2" y="T3"/>
                  </a:cxn>
                  <a:cxn ang="0">
                    <a:pos x="T4" y="T5"/>
                  </a:cxn>
                  <a:cxn ang="0">
                    <a:pos x="T6" y="T7"/>
                  </a:cxn>
                  <a:cxn ang="0">
                    <a:pos x="T8" y="T9"/>
                  </a:cxn>
                </a:cxnLst>
                <a:rect l="0" t="0" r="r" b="b"/>
                <a:pathLst>
                  <a:path w="45" h="30">
                    <a:moveTo>
                      <a:pt x="31" y="30"/>
                    </a:moveTo>
                    <a:lnTo>
                      <a:pt x="45" y="0"/>
                    </a:lnTo>
                    <a:lnTo>
                      <a:pt x="13" y="0"/>
                    </a:lnTo>
                    <a:lnTo>
                      <a:pt x="0" y="30"/>
                    </a:lnTo>
                    <a:lnTo>
                      <a:pt x="31"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45" name="Freeform 102">
                <a:extLst>
                  <a:ext uri="{FF2B5EF4-FFF2-40B4-BE49-F238E27FC236}">
                    <a16:creationId xmlns:a16="http://schemas.microsoft.com/office/drawing/2014/main" id="{AFAEAB1A-0B0B-496F-9DD6-1FCB8D1FB2E6}"/>
                  </a:ext>
                </a:extLst>
              </p:cNvPr>
              <p:cNvSpPr>
                <a:spLocks/>
              </p:cNvSpPr>
              <p:nvPr/>
            </p:nvSpPr>
            <p:spPr bwMode="auto">
              <a:xfrm>
                <a:off x="5542406" y="3750777"/>
                <a:ext cx="31043" cy="18626"/>
              </a:xfrm>
              <a:custGeom>
                <a:avLst/>
                <a:gdLst>
                  <a:gd name="T0" fmla="*/ 14 w 45"/>
                  <a:gd name="T1" fmla="*/ 0 h 27"/>
                  <a:gd name="T2" fmla="*/ 0 w 45"/>
                  <a:gd name="T3" fmla="*/ 27 h 27"/>
                  <a:gd name="T4" fmla="*/ 32 w 45"/>
                  <a:gd name="T5" fmla="*/ 27 h 27"/>
                  <a:gd name="T6" fmla="*/ 45 w 45"/>
                  <a:gd name="T7" fmla="*/ 0 h 27"/>
                  <a:gd name="T8" fmla="*/ 14 w 45"/>
                  <a:gd name="T9" fmla="*/ 0 h 27"/>
                </a:gdLst>
                <a:ahLst/>
                <a:cxnLst>
                  <a:cxn ang="0">
                    <a:pos x="T0" y="T1"/>
                  </a:cxn>
                  <a:cxn ang="0">
                    <a:pos x="T2" y="T3"/>
                  </a:cxn>
                  <a:cxn ang="0">
                    <a:pos x="T4" y="T5"/>
                  </a:cxn>
                  <a:cxn ang="0">
                    <a:pos x="T6" y="T7"/>
                  </a:cxn>
                  <a:cxn ang="0">
                    <a:pos x="T8" y="T9"/>
                  </a:cxn>
                </a:cxnLst>
                <a:rect l="0" t="0" r="r" b="b"/>
                <a:pathLst>
                  <a:path w="45" h="27">
                    <a:moveTo>
                      <a:pt x="14" y="0"/>
                    </a:moveTo>
                    <a:lnTo>
                      <a:pt x="0" y="27"/>
                    </a:lnTo>
                    <a:lnTo>
                      <a:pt x="32" y="27"/>
                    </a:lnTo>
                    <a:lnTo>
                      <a:pt x="45" y="0"/>
                    </a:lnTo>
                    <a:lnTo>
                      <a:pt x="14"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nvGrpSpPr>
              <p:cNvPr id="746" name="Group 745">
                <a:extLst>
                  <a:ext uri="{FF2B5EF4-FFF2-40B4-BE49-F238E27FC236}">
                    <a16:creationId xmlns:a16="http://schemas.microsoft.com/office/drawing/2014/main" id="{E0E7A341-562D-41E5-AE79-0B25672356F6}"/>
                  </a:ext>
                </a:extLst>
              </p:cNvPr>
              <p:cNvGrpSpPr/>
              <p:nvPr/>
            </p:nvGrpSpPr>
            <p:grpSpPr>
              <a:xfrm>
                <a:off x="6039097" y="3136192"/>
                <a:ext cx="298233" cy="299389"/>
                <a:chOff x="5981831" y="3136822"/>
                <a:chExt cx="177978" cy="178668"/>
              </a:xfrm>
            </p:grpSpPr>
            <p:sp>
              <p:nvSpPr>
                <p:cNvPr id="768" name="Oval 107">
                  <a:extLst>
                    <a:ext uri="{FF2B5EF4-FFF2-40B4-BE49-F238E27FC236}">
                      <a16:creationId xmlns:a16="http://schemas.microsoft.com/office/drawing/2014/main" id="{C84B4DF8-A004-4ACB-A7D6-2C83BE0CAE98}"/>
                    </a:ext>
                  </a:extLst>
                </p:cNvPr>
                <p:cNvSpPr>
                  <a:spLocks noChangeArrowheads="1"/>
                </p:cNvSpPr>
                <p:nvPr/>
              </p:nvSpPr>
              <p:spPr bwMode="auto">
                <a:xfrm>
                  <a:off x="5981831" y="3136822"/>
                  <a:ext cx="177978" cy="178668"/>
                </a:xfrm>
                <a:prstGeom prst="ellipse">
                  <a:avLst/>
                </a:pr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69" name="Freeform 108">
                  <a:extLst>
                    <a:ext uri="{FF2B5EF4-FFF2-40B4-BE49-F238E27FC236}">
                      <a16:creationId xmlns:a16="http://schemas.microsoft.com/office/drawing/2014/main" id="{3AD9AA23-58C6-47FB-9604-5E5BBBFCB7BD}"/>
                    </a:ext>
                  </a:extLst>
                </p:cNvPr>
                <p:cNvSpPr>
                  <a:spLocks noEditPoints="1"/>
                </p:cNvSpPr>
                <p:nvPr/>
              </p:nvSpPr>
              <p:spPr bwMode="auto">
                <a:xfrm>
                  <a:off x="6018393" y="3171314"/>
                  <a:ext cx="107614" cy="108305"/>
                </a:xfrm>
                <a:custGeom>
                  <a:avLst/>
                  <a:gdLst>
                    <a:gd name="T0" fmla="*/ 118 w 118"/>
                    <a:gd name="T1" fmla="*/ 65 h 118"/>
                    <a:gd name="T2" fmla="*/ 118 w 118"/>
                    <a:gd name="T3" fmla="*/ 54 h 118"/>
                    <a:gd name="T4" fmla="*/ 97 w 118"/>
                    <a:gd name="T5" fmla="*/ 54 h 118"/>
                    <a:gd name="T6" fmla="*/ 89 w 118"/>
                    <a:gd name="T7" fmla="*/ 37 h 118"/>
                    <a:gd name="T8" fmla="*/ 105 w 118"/>
                    <a:gd name="T9" fmla="*/ 22 h 118"/>
                    <a:gd name="T10" fmla="*/ 97 w 118"/>
                    <a:gd name="T11" fmla="*/ 14 h 118"/>
                    <a:gd name="T12" fmla="*/ 81 w 118"/>
                    <a:gd name="T13" fmla="*/ 29 h 118"/>
                    <a:gd name="T14" fmla="*/ 64 w 118"/>
                    <a:gd name="T15" fmla="*/ 23 h 118"/>
                    <a:gd name="T16" fmla="*/ 64 w 118"/>
                    <a:gd name="T17" fmla="*/ 0 h 118"/>
                    <a:gd name="T18" fmla="*/ 54 w 118"/>
                    <a:gd name="T19" fmla="*/ 0 h 118"/>
                    <a:gd name="T20" fmla="*/ 54 w 118"/>
                    <a:gd name="T21" fmla="*/ 23 h 118"/>
                    <a:gd name="T22" fmla="*/ 37 w 118"/>
                    <a:gd name="T23" fmla="*/ 29 h 118"/>
                    <a:gd name="T24" fmla="*/ 21 w 118"/>
                    <a:gd name="T25" fmla="*/ 14 h 118"/>
                    <a:gd name="T26" fmla="*/ 13 w 118"/>
                    <a:gd name="T27" fmla="*/ 22 h 118"/>
                    <a:gd name="T28" fmla="*/ 29 w 118"/>
                    <a:gd name="T29" fmla="*/ 37 h 118"/>
                    <a:gd name="T30" fmla="*/ 21 w 118"/>
                    <a:gd name="T31" fmla="*/ 54 h 118"/>
                    <a:gd name="T32" fmla="*/ 0 w 118"/>
                    <a:gd name="T33" fmla="*/ 54 h 118"/>
                    <a:gd name="T34" fmla="*/ 0 w 118"/>
                    <a:gd name="T35" fmla="*/ 65 h 118"/>
                    <a:gd name="T36" fmla="*/ 21 w 118"/>
                    <a:gd name="T37" fmla="*/ 65 h 118"/>
                    <a:gd name="T38" fmla="*/ 28 w 118"/>
                    <a:gd name="T39" fmla="*/ 83 h 118"/>
                    <a:gd name="T40" fmla="*/ 13 w 118"/>
                    <a:gd name="T41" fmla="*/ 97 h 118"/>
                    <a:gd name="T42" fmla="*/ 21 w 118"/>
                    <a:gd name="T43" fmla="*/ 105 h 118"/>
                    <a:gd name="T44" fmla="*/ 36 w 118"/>
                    <a:gd name="T45" fmla="*/ 90 h 118"/>
                    <a:gd name="T46" fmla="*/ 54 w 118"/>
                    <a:gd name="T47" fmla="*/ 98 h 118"/>
                    <a:gd name="T48" fmla="*/ 54 w 118"/>
                    <a:gd name="T49" fmla="*/ 118 h 118"/>
                    <a:gd name="T50" fmla="*/ 64 w 118"/>
                    <a:gd name="T51" fmla="*/ 118 h 118"/>
                    <a:gd name="T52" fmla="*/ 64 w 118"/>
                    <a:gd name="T53" fmla="*/ 98 h 118"/>
                    <a:gd name="T54" fmla="*/ 82 w 118"/>
                    <a:gd name="T55" fmla="*/ 90 h 118"/>
                    <a:gd name="T56" fmla="*/ 97 w 118"/>
                    <a:gd name="T57" fmla="*/ 105 h 118"/>
                    <a:gd name="T58" fmla="*/ 105 w 118"/>
                    <a:gd name="T59" fmla="*/ 97 h 118"/>
                    <a:gd name="T60" fmla="*/ 90 w 118"/>
                    <a:gd name="T61" fmla="*/ 83 h 118"/>
                    <a:gd name="T62" fmla="*/ 97 w 118"/>
                    <a:gd name="T63" fmla="*/ 65 h 118"/>
                    <a:gd name="T64" fmla="*/ 118 w 118"/>
                    <a:gd name="T65" fmla="*/ 65 h 118"/>
                    <a:gd name="T66" fmla="*/ 59 w 118"/>
                    <a:gd name="T67" fmla="*/ 88 h 118"/>
                    <a:gd name="T68" fmla="*/ 32 w 118"/>
                    <a:gd name="T69" fmla="*/ 60 h 118"/>
                    <a:gd name="T70" fmla="*/ 59 w 118"/>
                    <a:gd name="T71" fmla="*/ 33 h 118"/>
                    <a:gd name="T72" fmla="*/ 86 w 118"/>
                    <a:gd name="T73" fmla="*/ 60 h 118"/>
                    <a:gd name="T74" fmla="*/ 59 w 118"/>
                    <a:gd name="T75" fmla="*/ 8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18">
                      <a:moveTo>
                        <a:pt x="118" y="65"/>
                      </a:moveTo>
                      <a:cubicBezTo>
                        <a:pt x="118" y="54"/>
                        <a:pt x="118" y="54"/>
                        <a:pt x="118" y="54"/>
                      </a:cubicBezTo>
                      <a:cubicBezTo>
                        <a:pt x="97" y="54"/>
                        <a:pt x="97" y="54"/>
                        <a:pt x="97" y="54"/>
                      </a:cubicBezTo>
                      <a:cubicBezTo>
                        <a:pt x="96" y="48"/>
                        <a:pt x="93" y="42"/>
                        <a:pt x="89" y="37"/>
                      </a:cubicBezTo>
                      <a:cubicBezTo>
                        <a:pt x="105" y="22"/>
                        <a:pt x="105" y="22"/>
                        <a:pt x="105" y="22"/>
                      </a:cubicBezTo>
                      <a:cubicBezTo>
                        <a:pt x="97" y="14"/>
                        <a:pt x="97" y="14"/>
                        <a:pt x="97" y="14"/>
                      </a:cubicBezTo>
                      <a:cubicBezTo>
                        <a:pt x="81" y="29"/>
                        <a:pt x="81" y="29"/>
                        <a:pt x="81" y="29"/>
                      </a:cubicBezTo>
                      <a:cubicBezTo>
                        <a:pt x="76" y="26"/>
                        <a:pt x="71" y="23"/>
                        <a:pt x="64" y="23"/>
                      </a:cubicBezTo>
                      <a:cubicBezTo>
                        <a:pt x="64" y="0"/>
                        <a:pt x="64" y="0"/>
                        <a:pt x="64" y="0"/>
                      </a:cubicBezTo>
                      <a:cubicBezTo>
                        <a:pt x="54" y="0"/>
                        <a:pt x="54" y="0"/>
                        <a:pt x="54" y="0"/>
                      </a:cubicBezTo>
                      <a:cubicBezTo>
                        <a:pt x="54" y="23"/>
                        <a:pt x="54" y="23"/>
                        <a:pt x="54" y="23"/>
                      </a:cubicBezTo>
                      <a:cubicBezTo>
                        <a:pt x="47" y="23"/>
                        <a:pt x="42" y="26"/>
                        <a:pt x="37" y="29"/>
                      </a:cubicBezTo>
                      <a:cubicBezTo>
                        <a:pt x="21" y="14"/>
                        <a:pt x="21" y="14"/>
                        <a:pt x="21" y="14"/>
                      </a:cubicBezTo>
                      <a:cubicBezTo>
                        <a:pt x="13" y="22"/>
                        <a:pt x="13" y="22"/>
                        <a:pt x="13" y="22"/>
                      </a:cubicBezTo>
                      <a:cubicBezTo>
                        <a:pt x="29" y="37"/>
                        <a:pt x="29" y="37"/>
                        <a:pt x="29" y="37"/>
                      </a:cubicBezTo>
                      <a:cubicBezTo>
                        <a:pt x="25" y="42"/>
                        <a:pt x="22" y="48"/>
                        <a:pt x="21" y="54"/>
                      </a:cubicBezTo>
                      <a:cubicBezTo>
                        <a:pt x="0" y="54"/>
                        <a:pt x="0" y="54"/>
                        <a:pt x="0" y="54"/>
                      </a:cubicBezTo>
                      <a:cubicBezTo>
                        <a:pt x="0" y="65"/>
                        <a:pt x="0" y="65"/>
                        <a:pt x="0" y="65"/>
                      </a:cubicBezTo>
                      <a:cubicBezTo>
                        <a:pt x="21" y="65"/>
                        <a:pt x="21" y="65"/>
                        <a:pt x="21" y="65"/>
                      </a:cubicBezTo>
                      <a:cubicBezTo>
                        <a:pt x="22" y="71"/>
                        <a:pt x="24" y="78"/>
                        <a:pt x="28" y="83"/>
                      </a:cubicBezTo>
                      <a:cubicBezTo>
                        <a:pt x="13" y="97"/>
                        <a:pt x="13" y="97"/>
                        <a:pt x="13" y="97"/>
                      </a:cubicBezTo>
                      <a:cubicBezTo>
                        <a:pt x="21" y="105"/>
                        <a:pt x="21" y="105"/>
                        <a:pt x="21" y="105"/>
                      </a:cubicBezTo>
                      <a:cubicBezTo>
                        <a:pt x="36" y="90"/>
                        <a:pt x="36" y="90"/>
                        <a:pt x="36" y="90"/>
                      </a:cubicBezTo>
                      <a:cubicBezTo>
                        <a:pt x="41" y="94"/>
                        <a:pt x="47" y="97"/>
                        <a:pt x="54" y="98"/>
                      </a:cubicBezTo>
                      <a:cubicBezTo>
                        <a:pt x="54" y="118"/>
                        <a:pt x="54" y="118"/>
                        <a:pt x="54" y="118"/>
                      </a:cubicBezTo>
                      <a:cubicBezTo>
                        <a:pt x="64" y="118"/>
                        <a:pt x="64" y="118"/>
                        <a:pt x="64" y="118"/>
                      </a:cubicBezTo>
                      <a:cubicBezTo>
                        <a:pt x="64" y="98"/>
                        <a:pt x="64" y="98"/>
                        <a:pt x="64" y="98"/>
                      </a:cubicBezTo>
                      <a:cubicBezTo>
                        <a:pt x="71" y="97"/>
                        <a:pt x="77" y="94"/>
                        <a:pt x="82" y="90"/>
                      </a:cubicBezTo>
                      <a:cubicBezTo>
                        <a:pt x="97" y="105"/>
                        <a:pt x="97" y="105"/>
                        <a:pt x="97" y="105"/>
                      </a:cubicBezTo>
                      <a:cubicBezTo>
                        <a:pt x="105" y="97"/>
                        <a:pt x="105" y="97"/>
                        <a:pt x="105" y="97"/>
                      </a:cubicBezTo>
                      <a:cubicBezTo>
                        <a:pt x="90" y="83"/>
                        <a:pt x="90" y="83"/>
                        <a:pt x="90" y="83"/>
                      </a:cubicBezTo>
                      <a:cubicBezTo>
                        <a:pt x="94" y="78"/>
                        <a:pt x="96" y="71"/>
                        <a:pt x="97" y="65"/>
                      </a:cubicBezTo>
                      <a:lnTo>
                        <a:pt x="118" y="65"/>
                      </a:lnTo>
                      <a:close/>
                      <a:moveTo>
                        <a:pt x="59" y="88"/>
                      </a:moveTo>
                      <a:cubicBezTo>
                        <a:pt x="44" y="88"/>
                        <a:pt x="32" y="75"/>
                        <a:pt x="32" y="60"/>
                      </a:cubicBezTo>
                      <a:cubicBezTo>
                        <a:pt x="32" y="45"/>
                        <a:pt x="44" y="33"/>
                        <a:pt x="59" y="33"/>
                      </a:cubicBezTo>
                      <a:cubicBezTo>
                        <a:pt x="74" y="33"/>
                        <a:pt x="86" y="45"/>
                        <a:pt x="86" y="60"/>
                      </a:cubicBezTo>
                      <a:cubicBezTo>
                        <a:pt x="86" y="75"/>
                        <a:pt x="74" y="88"/>
                        <a:pt x="59" y="8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747" name="Freeform 109">
                <a:extLst>
                  <a:ext uri="{FF2B5EF4-FFF2-40B4-BE49-F238E27FC236}">
                    <a16:creationId xmlns:a16="http://schemas.microsoft.com/office/drawing/2014/main" id="{F7F53367-EA1A-46C4-8D79-8D6F1C4D25C0}"/>
                  </a:ext>
                </a:extLst>
              </p:cNvPr>
              <p:cNvSpPr>
                <a:spLocks/>
              </p:cNvSpPr>
              <p:nvPr/>
            </p:nvSpPr>
            <p:spPr bwMode="auto">
              <a:xfrm>
                <a:off x="6501968" y="3180282"/>
                <a:ext cx="800210" cy="653275"/>
              </a:xfrm>
              <a:custGeom>
                <a:avLst/>
                <a:gdLst>
                  <a:gd name="T0" fmla="*/ 876 w 876"/>
                  <a:gd name="T1" fmla="*/ 135 h 713"/>
                  <a:gd name="T2" fmla="*/ 876 w 876"/>
                  <a:gd name="T3" fmla="*/ 577 h 713"/>
                  <a:gd name="T4" fmla="*/ 816 w 876"/>
                  <a:gd name="T5" fmla="*/ 690 h 713"/>
                  <a:gd name="T6" fmla="*/ 740 w 876"/>
                  <a:gd name="T7" fmla="*/ 698 h 713"/>
                  <a:gd name="T8" fmla="*/ 224 w 876"/>
                  <a:gd name="T9" fmla="*/ 713 h 713"/>
                  <a:gd name="T10" fmla="*/ 0 w 876"/>
                  <a:gd name="T11" fmla="*/ 713 h 713"/>
                  <a:gd name="T12" fmla="*/ 189 w 876"/>
                  <a:gd name="T13" fmla="*/ 585 h 713"/>
                  <a:gd name="T14" fmla="*/ 189 w 876"/>
                  <a:gd name="T15" fmla="*/ 135 h 713"/>
                  <a:gd name="T16" fmla="*/ 325 w 876"/>
                  <a:gd name="T17" fmla="*/ 0 h 713"/>
                  <a:gd name="T18" fmla="*/ 740 w 876"/>
                  <a:gd name="T19" fmla="*/ 0 h 713"/>
                  <a:gd name="T20" fmla="*/ 876 w 876"/>
                  <a:gd name="T21" fmla="*/ 135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6" h="713">
                    <a:moveTo>
                      <a:pt x="876" y="135"/>
                    </a:moveTo>
                    <a:cubicBezTo>
                      <a:pt x="876" y="577"/>
                      <a:pt x="876" y="577"/>
                      <a:pt x="876" y="577"/>
                    </a:cubicBezTo>
                    <a:cubicBezTo>
                      <a:pt x="876" y="624"/>
                      <a:pt x="852" y="665"/>
                      <a:pt x="816" y="690"/>
                    </a:cubicBezTo>
                    <a:cubicBezTo>
                      <a:pt x="794" y="704"/>
                      <a:pt x="768" y="698"/>
                      <a:pt x="740" y="698"/>
                    </a:cubicBezTo>
                    <a:cubicBezTo>
                      <a:pt x="224" y="713"/>
                      <a:pt x="224" y="713"/>
                      <a:pt x="224" y="713"/>
                    </a:cubicBezTo>
                    <a:cubicBezTo>
                      <a:pt x="0" y="713"/>
                      <a:pt x="0" y="713"/>
                      <a:pt x="0" y="713"/>
                    </a:cubicBezTo>
                    <a:cubicBezTo>
                      <a:pt x="189" y="585"/>
                      <a:pt x="189" y="585"/>
                      <a:pt x="189" y="585"/>
                    </a:cubicBezTo>
                    <a:cubicBezTo>
                      <a:pt x="189" y="582"/>
                      <a:pt x="189" y="135"/>
                      <a:pt x="189" y="135"/>
                    </a:cubicBezTo>
                    <a:cubicBezTo>
                      <a:pt x="189" y="61"/>
                      <a:pt x="250" y="0"/>
                      <a:pt x="325" y="0"/>
                    </a:cubicBezTo>
                    <a:cubicBezTo>
                      <a:pt x="740" y="0"/>
                      <a:pt x="740" y="0"/>
                      <a:pt x="740" y="0"/>
                    </a:cubicBezTo>
                    <a:cubicBezTo>
                      <a:pt x="815" y="0"/>
                      <a:pt x="876" y="61"/>
                      <a:pt x="876" y="135"/>
                    </a:cubicBezTo>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48" name="Freeform 111">
                <a:extLst>
                  <a:ext uri="{FF2B5EF4-FFF2-40B4-BE49-F238E27FC236}">
                    <a16:creationId xmlns:a16="http://schemas.microsoft.com/office/drawing/2014/main" id="{80309C0F-F9CB-43F0-A5FB-583DE6FDC4D3}"/>
                  </a:ext>
                </a:extLst>
              </p:cNvPr>
              <p:cNvSpPr>
                <a:spLocks/>
              </p:cNvSpPr>
              <p:nvPr/>
            </p:nvSpPr>
            <p:spPr bwMode="auto">
              <a:xfrm>
                <a:off x="6706159" y="3589355"/>
                <a:ext cx="539452" cy="244202"/>
              </a:xfrm>
              <a:custGeom>
                <a:avLst/>
                <a:gdLst>
                  <a:gd name="T0" fmla="*/ 586 w 590"/>
                  <a:gd name="T1" fmla="*/ 134 h 267"/>
                  <a:gd name="T2" fmla="*/ 475 w 590"/>
                  <a:gd name="T3" fmla="*/ 0 h 267"/>
                  <a:gd name="T4" fmla="*/ 120 w 590"/>
                  <a:gd name="T5" fmla="*/ 32 h 267"/>
                  <a:gd name="T6" fmla="*/ 16 w 590"/>
                  <a:gd name="T7" fmla="*/ 156 h 267"/>
                  <a:gd name="T8" fmla="*/ 0 w 590"/>
                  <a:gd name="T9" fmla="*/ 267 h 267"/>
                  <a:gd name="T10" fmla="*/ 516 w 590"/>
                  <a:gd name="T11" fmla="*/ 267 h 267"/>
                  <a:gd name="T12" fmla="*/ 590 w 590"/>
                  <a:gd name="T13" fmla="*/ 245 h 267"/>
                  <a:gd name="T14" fmla="*/ 586 w 590"/>
                  <a:gd name="T15" fmla="*/ 134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67">
                    <a:moveTo>
                      <a:pt x="586" y="134"/>
                    </a:moveTo>
                    <a:cubicBezTo>
                      <a:pt x="584" y="69"/>
                      <a:pt x="538" y="14"/>
                      <a:pt x="475" y="0"/>
                    </a:cubicBezTo>
                    <a:cubicBezTo>
                      <a:pt x="120" y="32"/>
                      <a:pt x="120" y="32"/>
                      <a:pt x="120" y="32"/>
                    </a:cubicBezTo>
                    <a:cubicBezTo>
                      <a:pt x="64" y="49"/>
                      <a:pt x="24" y="98"/>
                      <a:pt x="16" y="156"/>
                    </a:cubicBezTo>
                    <a:cubicBezTo>
                      <a:pt x="0" y="267"/>
                      <a:pt x="0" y="267"/>
                      <a:pt x="0" y="267"/>
                    </a:cubicBezTo>
                    <a:cubicBezTo>
                      <a:pt x="516" y="267"/>
                      <a:pt x="516" y="267"/>
                      <a:pt x="516" y="267"/>
                    </a:cubicBezTo>
                    <a:cubicBezTo>
                      <a:pt x="543" y="267"/>
                      <a:pt x="568" y="259"/>
                      <a:pt x="590" y="245"/>
                    </a:cubicBezTo>
                    <a:lnTo>
                      <a:pt x="586" y="134"/>
                    </a:lnTo>
                    <a:close/>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49" name="Freeform 112">
                <a:extLst>
                  <a:ext uri="{FF2B5EF4-FFF2-40B4-BE49-F238E27FC236}">
                    <a16:creationId xmlns:a16="http://schemas.microsoft.com/office/drawing/2014/main" id="{28C7927C-39AC-4B81-97DA-9E4BA555E16B}"/>
                  </a:ext>
                </a:extLst>
              </p:cNvPr>
              <p:cNvSpPr>
                <a:spLocks/>
              </p:cNvSpPr>
              <p:nvPr/>
            </p:nvSpPr>
            <p:spPr bwMode="auto">
              <a:xfrm>
                <a:off x="6782041" y="3285827"/>
                <a:ext cx="120032" cy="278694"/>
              </a:xfrm>
              <a:custGeom>
                <a:avLst/>
                <a:gdLst>
                  <a:gd name="T0" fmla="*/ 0 w 174"/>
                  <a:gd name="T1" fmla="*/ 17 h 404"/>
                  <a:gd name="T2" fmla="*/ 8 w 174"/>
                  <a:gd name="T3" fmla="*/ 404 h 404"/>
                  <a:gd name="T4" fmla="*/ 174 w 174"/>
                  <a:gd name="T5" fmla="*/ 343 h 404"/>
                  <a:gd name="T6" fmla="*/ 131 w 174"/>
                  <a:gd name="T7" fmla="*/ 0 h 404"/>
                  <a:gd name="T8" fmla="*/ 0 w 174"/>
                  <a:gd name="T9" fmla="*/ 17 h 404"/>
                </a:gdLst>
                <a:ahLst/>
                <a:cxnLst>
                  <a:cxn ang="0">
                    <a:pos x="T0" y="T1"/>
                  </a:cxn>
                  <a:cxn ang="0">
                    <a:pos x="T2" y="T3"/>
                  </a:cxn>
                  <a:cxn ang="0">
                    <a:pos x="T4" y="T5"/>
                  </a:cxn>
                  <a:cxn ang="0">
                    <a:pos x="T6" y="T7"/>
                  </a:cxn>
                  <a:cxn ang="0">
                    <a:pos x="T8" y="T9"/>
                  </a:cxn>
                </a:cxnLst>
                <a:rect l="0" t="0" r="r" b="b"/>
                <a:pathLst>
                  <a:path w="174" h="404">
                    <a:moveTo>
                      <a:pt x="0" y="17"/>
                    </a:moveTo>
                    <a:lnTo>
                      <a:pt x="8" y="404"/>
                    </a:lnTo>
                    <a:lnTo>
                      <a:pt x="174" y="343"/>
                    </a:lnTo>
                    <a:lnTo>
                      <a:pt x="131" y="0"/>
                    </a:lnTo>
                    <a:lnTo>
                      <a:pt x="0" y="17"/>
                    </a:lnTo>
                    <a:close/>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0" name="Freeform 113">
                <a:extLst>
                  <a:ext uri="{FF2B5EF4-FFF2-40B4-BE49-F238E27FC236}">
                    <a16:creationId xmlns:a16="http://schemas.microsoft.com/office/drawing/2014/main" id="{84A06939-44F4-47AF-A772-2E2448B8B922}"/>
                  </a:ext>
                </a:extLst>
              </p:cNvPr>
              <p:cNvSpPr>
                <a:spLocks/>
              </p:cNvSpPr>
              <p:nvPr/>
            </p:nvSpPr>
            <p:spPr bwMode="auto">
              <a:xfrm>
                <a:off x="6807565" y="3444489"/>
                <a:ext cx="43460" cy="105545"/>
              </a:xfrm>
              <a:custGeom>
                <a:avLst/>
                <a:gdLst>
                  <a:gd name="T0" fmla="*/ 63 w 63"/>
                  <a:gd name="T1" fmla="*/ 50 h 153"/>
                  <a:gd name="T2" fmla="*/ 28 w 63"/>
                  <a:gd name="T3" fmla="*/ 0 h 153"/>
                  <a:gd name="T4" fmla="*/ 0 w 63"/>
                  <a:gd name="T5" fmla="*/ 54 h 153"/>
                  <a:gd name="T6" fmla="*/ 35 w 63"/>
                  <a:gd name="T7" fmla="*/ 102 h 153"/>
                  <a:gd name="T8" fmla="*/ 21 w 63"/>
                  <a:gd name="T9" fmla="*/ 129 h 153"/>
                  <a:gd name="T10" fmla="*/ 39 w 63"/>
                  <a:gd name="T11" fmla="*/ 153 h 153"/>
                  <a:gd name="T12" fmla="*/ 53 w 63"/>
                  <a:gd name="T13" fmla="*/ 126 h 153"/>
                  <a:gd name="T14" fmla="*/ 36 w 63"/>
                  <a:gd name="T15" fmla="*/ 102 h 153"/>
                  <a:gd name="T16" fmla="*/ 63 w 63"/>
                  <a:gd name="T17"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153">
                    <a:moveTo>
                      <a:pt x="63" y="50"/>
                    </a:moveTo>
                    <a:lnTo>
                      <a:pt x="28" y="0"/>
                    </a:lnTo>
                    <a:lnTo>
                      <a:pt x="0" y="54"/>
                    </a:lnTo>
                    <a:lnTo>
                      <a:pt x="35" y="102"/>
                    </a:lnTo>
                    <a:lnTo>
                      <a:pt x="21" y="129"/>
                    </a:lnTo>
                    <a:lnTo>
                      <a:pt x="39" y="153"/>
                    </a:lnTo>
                    <a:lnTo>
                      <a:pt x="53" y="126"/>
                    </a:lnTo>
                    <a:lnTo>
                      <a:pt x="36" y="102"/>
                    </a:lnTo>
                    <a:lnTo>
                      <a:pt x="63" y="5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1" name="Freeform 114">
                <a:extLst>
                  <a:ext uri="{FF2B5EF4-FFF2-40B4-BE49-F238E27FC236}">
                    <a16:creationId xmlns:a16="http://schemas.microsoft.com/office/drawing/2014/main" id="{71CB9116-2A6F-4807-AA53-07F7F2931F5B}"/>
                  </a:ext>
                </a:extLst>
              </p:cNvPr>
              <p:cNvSpPr>
                <a:spLocks/>
              </p:cNvSpPr>
              <p:nvPr/>
            </p:nvSpPr>
            <p:spPr bwMode="auto">
              <a:xfrm>
                <a:off x="6784111" y="3160277"/>
                <a:ext cx="302838" cy="544281"/>
              </a:xfrm>
              <a:custGeom>
                <a:avLst/>
                <a:gdLst>
                  <a:gd name="T0" fmla="*/ 327 w 332"/>
                  <a:gd name="T1" fmla="*/ 237 h 594"/>
                  <a:gd name="T2" fmla="*/ 322 w 332"/>
                  <a:gd name="T3" fmla="*/ 153 h 594"/>
                  <a:gd name="T4" fmla="*/ 153 w 332"/>
                  <a:gd name="T5" fmla="*/ 6 h 594"/>
                  <a:gd name="T6" fmla="*/ 7 w 332"/>
                  <a:gd name="T7" fmla="*/ 175 h 594"/>
                  <a:gd name="T8" fmla="*/ 13 w 332"/>
                  <a:gd name="T9" fmla="*/ 265 h 594"/>
                  <a:gd name="T10" fmla="*/ 129 w 332"/>
                  <a:gd name="T11" fmla="*/ 414 h 594"/>
                  <a:gd name="T12" fmla="*/ 81 w 332"/>
                  <a:gd name="T13" fmla="*/ 479 h 594"/>
                  <a:gd name="T14" fmla="*/ 35 w 332"/>
                  <a:gd name="T15" fmla="*/ 500 h 594"/>
                  <a:gd name="T16" fmla="*/ 159 w 332"/>
                  <a:gd name="T17" fmla="*/ 594 h 594"/>
                  <a:gd name="T18" fmla="*/ 269 w 332"/>
                  <a:gd name="T19" fmla="*/ 534 h 594"/>
                  <a:gd name="T20" fmla="*/ 239 w 332"/>
                  <a:gd name="T21" fmla="*/ 415 h 594"/>
                  <a:gd name="T22" fmla="*/ 234 w 332"/>
                  <a:gd name="T23" fmla="*/ 392 h 594"/>
                  <a:gd name="T24" fmla="*/ 327 w 332"/>
                  <a:gd name="T25" fmla="*/ 237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2" h="594">
                    <a:moveTo>
                      <a:pt x="327" y="237"/>
                    </a:moveTo>
                    <a:cubicBezTo>
                      <a:pt x="322" y="153"/>
                      <a:pt x="322" y="153"/>
                      <a:pt x="322" y="153"/>
                    </a:cubicBezTo>
                    <a:cubicBezTo>
                      <a:pt x="316" y="66"/>
                      <a:pt x="240" y="0"/>
                      <a:pt x="153" y="6"/>
                    </a:cubicBezTo>
                    <a:cubicBezTo>
                      <a:pt x="66" y="12"/>
                      <a:pt x="0" y="88"/>
                      <a:pt x="7" y="175"/>
                    </a:cubicBezTo>
                    <a:cubicBezTo>
                      <a:pt x="13" y="265"/>
                      <a:pt x="13" y="265"/>
                      <a:pt x="13" y="265"/>
                    </a:cubicBezTo>
                    <a:cubicBezTo>
                      <a:pt x="18" y="343"/>
                      <a:pt x="73" y="406"/>
                      <a:pt x="129" y="414"/>
                    </a:cubicBezTo>
                    <a:cubicBezTo>
                      <a:pt x="125" y="442"/>
                      <a:pt x="107" y="467"/>
                      <a:pt x="81" y="479"/>
                    </a:cubicBezTo>
                    <a:cubicBezTo>
                      <a:pt x="35" y="500"/>
                      <a:pt x="35" y="500"/>
                      <a:pt x="35" y="500"/>
                    </a:cubicBezTo>
                    <a:cubicBezTo>
                      <a:pt x="159" y="594"/>
                      <a:pt x="159" y="594"/>
                      <a:pt x="159" y="594"/>
                    </a:cubicBezTo>
                    <a:cubicBezTo>
                      <a:pt x="269" y="534"/>
                      <a:pt x="269" y="534"/>
                      <a:pt x="269" y="534"/>
                    </a:cubicBezTo>
                    <a:cubicBezTo>
                      <a:pt x="270" y="485"/>
                      <a:pt x="276" y="447"/>
                      <a:pt x="239" y="415"/>
                    </a:cubicBezTo>
                    <a:cubicBezTo>
                      <a:pt x="234" y="392"/>
                      <a:pt x="234" y="392"/>
                      <a:pt x="234" y="392"/>
                    </a:cubicBezTo>
                    <a:cubicBezTo>
                      <a:pt x="298" y="362"/>
                      <a:pt x="332" y="303"/>
                      <a:pt x="327" y="237"/>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2" name="Freeform 115">
                <a:extLst>
                  <a:ext uri="{FF2B5EF4-FFF2-40B4-BE49-F238E27FC236}">
                    <a16:creationId xmlns:a16="http://schemas.microsoft.com/office/drawing/2014/main" id="{70037F37-8B7D-4D64-A739-97977707093D}"/>
                  </a:ext>
                </a:extLst>
              </p:cNvPr>
              <p:cNvSpPr>
                <a:spLocks/>
              </p:cNvSpPr>
              <p:nvPr/>
            </p:nvSpPr>
            <p:spPr bwMode="auto">
              <a:xfrm>
                <a:off x="6868271" y="3207875"/>
                <a:ext cx="271795" cy="448394"/>
              </a:xfrm>
              <a:custGeom>
                <a:avLst/>
                <a:gdLst>
                  <a:gd name="T0" fmla="*/ 242 w 298"/>
                  <a:gd name="T1" fmla="*/ 398 h 489"/>
                  <a:gd name="T2" fmla="*/ 182 w 298"/>
                  <a:gd name="T3" fmla="*/ 341 h 489"/>
                  <a:gd name="T4" fmla="*/ 171 w 298"/>
                  <a:gd name="T5" fmla="*/ 309 h 489"/>
                  <a:gd name="T6" fmla="*/ 176 w 298"/>
                  <a:gd name="T7" fmla="*/ 302 h 489"/>
                  <a:gd name="T8" fmla="*/ 249 w 298"/>
                  <a:gd name="T9" fmla="*/ 178 h 489"/>
                  <a:gd name="T10" fmla="*/ 241 w 298"/>
                  <a:gd name="T11" fmla="*/ 103 h 489"/>
                  <a:gd name="T12" fmla="*/ 226 w 298"/>
                  <a:gd name="T13" fmla="*/ 74 h 489"/>
                  <a:gd name="T14" fmla="*/ 46 w 298"/>
                  <a:gd name="T15" fmla="*/ 0 h 489"/>
                  <a:gd name="T16" fmla="*/ 29 w 298"/>
                  <a:gd name="T17" fmla="*/ 143 h 489"/>
                  <a:gd name="T18" fmla="*/ 4 w 298"/>
                  <a:gd name="T19" fmla="*/ 214 h 489"/>
                  <a:gd name="T20" fmla="*/ 22 w 298"/>
                  <a:gd name="T21" fmla="*/ 238 h 489"/>
                  <a:gd name="T22" fmla="*/ 36 w 298"/>
                  <a:gd name="T23" fmla="*/ 257 h 489"/>
                  <a:gd name="T24" fmla="*/ 36 w 298"/>
                  <a:gd name="T25" fmla="*/ 356 h 489"/>
                  <a:gd name="T26" fmla="*/ 39 w 298"/>
                  <a:gd name="T27" fmla="*/ 362 h 489"/>
                  <a:gd name="T28" fmla="*/ 55 w 298"/>
                  <a:gd name="T29" fmla="*/ 362 h 489"/>
                  <a:gd name="T30" fmla="*/ 55 w 298"/>
                  <a:gd name="T31" fmla="*/ 362 h 489"/>
                  <a:gd name="T32" fmla="*/ 98 w 298"/>
                  <a:gd name="T33" fmla="*/ 351 h 489"/>
                  <a:gd name="T34" fmla="*/ 97 w 298"/>
                  <a:gd name="T35" fmla="*/ 352 h 489"/>
                  <a:gd name="T36" fmla="*/ 107 w 298"/>
                  <a:gd name="T37" fmla="*/ 360 h 489"/>
                  <a:gd name="T38" fmla="*/ 164 w 298"/>
                  <a:gd name="T39" fmla="*/ 489 h 489"/>
                  <a:gd name="T40" fmla="*/ 298 w 298"/>
                  <a:gd name="T41" fmla="*/ 416 h 489"/>
                  <a:gd name="T42" fmla="*/ 242 w 298"/>
                  <a:gd name="T43" fmla="*/ 398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8" h="489">
                    <a:moveTo>
                      <a:pt x="242" y="398"/>
                    </a:moveTo>
                    <a:cubicBezTo>
                      <a:pt x="214" y="389"/>
                      <a:pt x="192" y="368"/>
                      <a:pt x="182" y="341"/>
                    </a:cubicBezTo>
                    <a:cubicBezTo>
                      <a:pt x="171" y="309"/>
                      <a:pt x="171" y="309"/>
                      <a:pt x="171" y="309"/>
                    </a:cubicBezTo>
                    <a:cubicBezTo>
                      <a:pt x="173" y="306"/>
                      <a:pt x="175" y="303"/>
                      <a:pt x="176" y="302"/>
                    </a:cubicBezTo>
                    <a:cubicBezTo>
                      <a:pt x="212" y="269"/>
                      <a:pt x="252" y="221"/>
                      <a:pt x="249" y="178"/>
                    </a:cubicBezTo>
                    <a:cubicBezTo>
                      <a:pt x="241" y="103"/>
                      <a:pt x="241" y="103"/>
                      <a:pt x="241" y="103"/>
                    </a:cubicBezTo>
                    <a:cubicBezTo>
                      <a:pt x="240" y="94"/>
                      <a:pt x="228" y="83"/>
                      <a:pt x="226" y="74"/>
                    </a:cubicBezTo>
                    <a:cubicBezTo>
                      <a:pt x="46" y="0"/>
                      <a:pt x="46" y="0"/>
                      <a:pt x="46" y="0"/>
                    </a:cubicBezTo>
                    <a:cubicBezTo>
                      <a:pt x="29" y="143"/>
                      <a:pt x="29" y="143"/>
                      <a:pt x="29" y="143"/>
                    </a:cubicBezTo>
                    <a:cubicBezTo>
                      <a:pt x="4" y="214"/>
                      <a:pt x="4" y="214"/>
                      <a:pt x="4" y="214"/>
                    </a:cubicBezTo>
                    <a:cubicBezTo>
                      <a:pt x="0" y="226"/>
                      <a:pt x="9" y="239"/>
                      <a:pt x="22" y="238"/>
                    </a:cubicBezTo>
                    <a:cubicBezTo>
                      <a:pt x="32" y="238"/>
                      <a:pt x="40" y="248"/>
                      <a:pt x="36" y="257"/>
                    </a:cubicBezTo>
                    <a:cubicBezTo>
                      <a:pt x="22" y="289"/>
                      <a:pt x="22" y="325"/>
                      <a:pt x="36" y="356"/>
                    </a:cubicBezTo>
                    <a:cubicBezTo>
                      <a:pt x="39" y="362"/>
                      <a:pt x="39" y="362"/>
                      <a:pt x="39" y="362"/>
                    </a:cubicBezTo>
                    <a:cubicBezTo>
                      <a:pt x="44" y="363"/>
                      <a:pt x="49" y="363"/>
                      <a:pt x="55" y="362"/>
                    </a:cubicBezTo>
                    <a:cubicBezTo>
                      <a:pt x="55" y="362"/>
                      <a:pt x="55" y="362"/>
                      <a:pt x="55" y="362"/>
                    </a:cubicBezTo>
                    <a:cubicBezTo>
                      <a:pt x="68" y="361"/>
                      <a:pt x="83" y="357"/>
                      <a:pt x="98" y="351"/>
                    </a:cubicBezTo>
                    <a:cubicBezTo>
                      <a:pt x="98" y="351"/>
                      <a:pt x="98" y="351"/>
                      <a:pt x="97" y="352"/>
                    </a:cubicBezTo>
                    <a:cubicBezTo>
                      <a:pt x="107" y="360"/>
                      <a:pt x="107" y="360"/>
                      <a:pt x="107" y="360"/>
                    </a:cubicBezTo>
                    <a:cubicBezTo>
                      <a:pt x="144" y="393"/>
                      <a:pt x="164" y="440"/>
                      <a:pt x="164" y="489"/>
                    </a:cubicBezTo>
                    <a:cubicBezTo>
                      <a:pt x="298" y="416"/>
                      <a:pt x="298" y="416"/>
                      <a:pt x="298" y="416"/>
                    </a:cubicBezTo>
                    <a:lnTo>
                      <a:pt x="242" y="398"/>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3" name="Freeform 116">
                <a:extLst>
                  <a:ext uri="{FF2B5EF4-FFF2-40B4-BE49-F238E27FC236}">
                    <a16:creationId xmlns:a16="http://schemas.microsoft.com/office/drawing/2014/main" id="{3C3BDE47-9B67-411F-9AF9-54895133F167}"/>
                  </a:ext>
                </a:extLst>
              </p:cNvPr>
              <p:cNvSpPr>
                <a:spLocks/>
              </p:cNvSpPr>
              <p:nvPr/>
            </p:nvSpPr>
            <p:spPr bwMode="auto">
              <a:xfrm>
                <a:off x="6809635" y="3363778"/>
                <a:ext cx="27593" cy="27593"/>
              </a:xfrm>
              <a:custGeom>
                <a:avLst/>
                <a:gdLst>
                  <a:gd name="T0" fmla="*/ 30 w 30"/>
                  <a:gd name="T1" fmla="*/ 14 h 30"/>
                  <a:gd name="T2" fmla="*/ 16 w 30"/>
                  <a:gd name="T3" fmla="*/ 29 h 30"/>
                  <a:gd name="T4" fmla="*/ 1 w 30"/>
                  <a:gd name="T5" fmla="*/ 16 h 30"/>
                  <a:gd name="T6" fmla="*/ 14 w 30"/>
                  <a:gd name="T7" fmla="*/ 1 h 30"/>
                  <a:gd name="T8" fmla="*/ 30 w 30"/>
                  <a:gd name="T9" fmla="*/ 14 h 30"/>
                </a:gdLst>
                <a:ahLst/>
                <a:cxnLst>
                  <a:cxn ang="0">
                    <a:pos x="T0" y="T1"/>
                  </a:cxn>
                  <a:cxn ang="0">
                    <a:pos x="T2" y="T3"/>
                  </a:cxn>
                  <a:cxn ang="0">
                    <a:pos x="T4" y="T5"/>
                  </a:cxn>
                  <a:cxn ang="0">
                    <a:pos x="T6" y="T7"/>
                  </a:cxn>
                  <a:cxn ang="0">
                    <a:pos x="T8" y="T9"/>
                  </a:cxn>
                </a:cxnLst>
                <a:rect l="0" t="0" r="r" b="b"/>
                <a:pathLst>
                  <a:path w="30" h="30">
                    <a:moveTo>
                      <a:pt x="30" y="14"/>
                    </a:moveTo>
                    <a:cubicBezTo>
                      <a:pt x="30" y="22"/>
                      <a:pt x="24" y="29"/>
                      <a:pt x="16" y="29"/>
                    </a:cubicBezTo>
                    <a:cubicBezTo>
                      <a:pt x="8" y="30"/>
                      <a:pt x="1" y="24"/>
                      <a:pt x="1" y="16"/>
                    </a:cubicBezTo>
                    <a:cubicBezTo>
                      <a:pt x="0" y="8"/>
                      <a:pt x="6" y="1"/>
                      <a:pt x="14" y="1"/>
                    </a:cubicBezTo>
                    <a:cubicBezTo>
                      <a:pt x="22" y="0"/>
                      <a:pt x="29" y="6"/>
                      <a:pt x="30" y="14"/>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4" name="Freeform 117">
                <a:extLst>
                  <a:ext uri="{FF2B5EF4-FFF2-40B4-BE49-F238E27FC236}">
                    <a16:creationId xmlns:a16="http://schemas.microsoft.com/office/drawing/2014/main" id="{C5FB1B0E-0D2D-4C27-8ADC-795E801834EF}"/>
                  </a:ext>
                </a:extLst>
              </p:cNvPr>
              <p:cNvSpPr>
                <a:spLocks/>
              </p:cNvSpPr>
              <p:nvPr/>
            </p:nvSpPr>
            <p:spPr bwMode="auto">
              <a:xfrm>
                <a:off x="6965538" y="3350672"/>
                <a:ext cx="27593" cy="26904"/>
              </a:xfrm>
              <a:custGeom>
                <a:avLst/>
                <a:gdLst>
                  <a:gd name="T0" fmla="*/ 30 w 30"/>
                  <a:gd name="T1" fmla="*/ 13 h 29"/>
                  <a:gd name="T2" fmla="*/ 16 w 30"/>
                  <a:gd name="T3" fmla="*/ 29 h 29"/>
                  <a:gd name="T4" fmla="*/ 1 w 30"/>
                  <a:gd name="T5" fmla="*/ 15 h 29"/>
                  <a:gd name="T6" fmla="*/ 14 w 30"/>
                  <a:gd name="T7" fmla="*/ 0 h 29"/>
                  <a:gd name="T8" fmla="*/ 30 w 30"/>
                  <a:gd name="T9" fmla="*/ 13 h 29"/>
                </a:gdLst>
                <a:ahLst/>
                <a:cxnLst>
                  <a:cxn ang="0">
                    <a:pos x="T0" y="T1"/>
                  </a:cxn>
                  <a:cxn ang="0">
                    <a:pos x="T2" y="T3"/>
                  </a:cxn>
                  <a:cxn ang="0">
                    <a:pos x="T4" y="T5"/>
                  </a:cxn>
                  <a:cxn ang="0">
                    <a:pos x="T6" y="T7"/>
                  </a:cxn>
                  <a:cxn ang="0">
                    <a:pos x="T8" y="T9"/>
                  </a:cxn>
                </a:cxnLst>
                <a:rect l="0" t="0" r="r" b="b"/>
                <a:pathLst>
                  <a:path w="30" h="29">
                    <a:moveTo>
                      <a:pt x="30" y="13"/>
                    </a:moveTo>
                    <a:cubicBezTo>
                      <a:pt x="30" y="21"/>
                      <a:pt x="24" y="28"/>
                      <a:pt x="16" y="29"/>
                    </a:cubicBezTo>
                    <a:cubicBezTo>
                      <a:pt x="8" y="29"/>
                      <a:pt x="2" y="23"/>
                      <a:pt x="1" y="15"/>
                    </a:cubicBezTo>
                    <a:cubicBezTo>
                      <a:pt x="0" y="8"/>
                      <a:pt x="6" y="1"/>
                      <a:pt x="14" y="0"/>
                    </a:cubicBezTo>
                    <a:cubicBezTo>
                      <a:pt x="22" y="0"/>
                      <a:pt x="29" y="6"/>
                      <a:pt x="30" y="13"/>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5" name="Freeform 118">
                <a:extLst>
                  <a:ext uri="{FF2B5EF4-FFF2-40B4-BE49-F238E27FC236}">
                    <a16:creationId xmlns:a16="http://schemas.microsoft.com/office/drawing/2014/main" id="{3A5B0AEA-B721-4B1C-BF75-67DA8E610E95}"/>
                  </a:ext>
                </a:extLst>
              </p:cNvPr>
              <p:cNvSpPr>
                <a:spLocks/>
              </p:cNvSpPr>
              <p:nvPr/>
            </p:nvSpPr>
            <p:spPr bwMode="auto">
              <a:xfrm>
                <a:off x="6855854" y="3451388"/>
                <a:ext cx="98647" cy="33112"/>
              </a:xfrm>
              <a:custGeom>
                <a:avLst/>
                <a:gdLst>
                  <a:gd name="T0" fmla="*/ 0 w 108"/>
                  <a:gd name="T1" fmla="*/ 8 h 36"/>
                  <a:gd name="T2" fmla="*/ 6 w 108"/>
                  <a:gd name="T3" fmla="*/ 20 h 36"/>
                  <a:gd name="T4" fmla="*/ 39 w 108"/>
                  <a:gd name="T5" fmla="*/ 36 h 36"/>
                  <a:gd name="T6" fmla="*/ 47 w 108"/>
                  <a:gd name="T7" fmla="*/ 35 h 36"/>
                  <a:gd name="T8" fmla="*/ 87 w 108"/>
                  <a:gd name="T9" fmla="*/ 21 h 36"/>
                  <a:gd name="T10" fmla="*/ 108 w 108"/>
                  <a:gd name="T11" fmla="*/ 0 h 36"/>
                  <a:gd name="T12" fmla="*/ 44 w 108"/>
                  <a:gd name="T13" fmla="*/ 12 h 36"/>
                  <a:gd name="T14" fmla="*/ 0 w 108"/>
                  <a:gd name="T15" fmla="*/ 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36">
                    <a:moveTo>
                      <a:pt x="0" y="8"/>
                    </a:moveTo>
                    <a:cubicBezTo>
                      <a:pt x="6" y="20"/>
                      <a:pt x="6" y="20"/>
                      <a:pt x="6" y="20"/>
                    </a:cubicBezTo>
                    <a:cubicBezTo>
                      <a:pt x="13" y="30"/>
                      <a:pt x="26" y="36"/>
                      <a:pt x="39" y="36"/>
                    </a:cubicBezTo>
                    <a:cubicBezTo>
                      <a:pt x="47" y="35"/>
                      <a:pt x="47" y="35"/>
                      <a:pt x="47" y="35"/>
                    </a:cubicBezTo>
                    <a:cubicBezTo>
                      <a:pt x="62" y="35"/>
                      <a:pt x="75" y="30"/>
                      <a:pt x="87" y="21"/>
                    </a:cubicBezTo>
                    <a:cubicBezTo>
                      <a:pt x="108" y="0"/>
                      <a:pt x="108" y="0"/>
                      <a:pt x="108" y="0"/>
                    </a:cubicBezTo>
                    <a:cubicBezTo>
                      <a:pt x="44" y="12"/>
                      <a:pt x="44" y="12"/>
                      <a:pt x="44" y="12"/>
                    </a:cubicBezTo>
                    <a:lnTo>
                      <a:pt x="0" y="8"/>
                    </a:lnTo>
                    <a:close/>
                  </a:path>
                </a:pathLst>
              </a:custGeom>
              <a:solidFill>
                <a:srgbClr val="EB51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6" name="Freeform 119">
                <a:extLst>
                  <a:ext uri="{FF2B5EF4-FFF2-40B4-BE49-F238E27FC236}">
                    <a16:creationId xmlns:a16="http://schemas.microsoft.com/office/drawing/2014/main" id="{1F14D75F-B7AD-4750-B6EB-0422FAE15A2E}"/>
                  </a:ext>
                </a:extLst>
              </p:cNvPr>
              <p:cNvSpPr>
                <a:spLocks/>
              </p:cNvSpPr>
              <p:nvPr/>
            </p:nvSpPr>
            <p:spPr bwMode="auto">
              <a:xfrm>
                <a:off x="6855854" y="3443799"/>
                <a:ext cx="98647" cy="24144"/>
              </a:xfrm>
              <a:custGeom>
                <a:avLst/>
                <a:gdLst>
                  <a:gd name="T0" fmla="*/ 0 w 108"/>
                  <a:gd name="T1" fmla="*/ 17 h 27"/>
                  <a:gd name="T2" fmla="*/ 11 w 108"/>
                  <a:gd name="T3" fmla="*/ 11 h 27"/>
                  <a:gd name="T4" fmla="*/ 44 w 108"/>
                  <a:gd name="T5" fmla="*/ 13 h 27"/>
                  <a:gd name="T6" fmla="*/ 50 w 108"/>
                  <a:gd name="T7" fmla="*/ 9 h 27"/>
                  <a:gd name="T8" fmla="*/ 76 w 108"/>
                  <a:gd name="T9" fmla="*/ 2 h 27"/>
                  <a:gd name="T10" fmla="*/ 108 w 108"/>
                  <a:gd name="T11" fmla="*/ 9 h 27"/>
                  <a:gd name="T12" fmla="*/ 62 w 108"/>
                  <a:gd name="T13" fmla="*/ 23 h 27"/>
                  <a:gd name="T14" fmla="*/ 27 w 108"/>
                  <a:gd name="T15" fmla="*/ 24 h 27"/>
                  <a:gd name="T16" fmla="*/ 0 w 108"/>
                  <a:gd name="T1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27">
                    <a:moveTo>
                      <a:pt x="0" y="17"/>
                    </a:moveTo>
                    <a:cubicBezTo>
                      <a:pt x="11" y="11"/>
                      <a:pt x="11" y="11"/>
                      <a:pt x="11" y="11"/>
                    </a:cubicBezTo>
                    <a:cubicBezTo>
                      <a:pt x="22" y="5"/>
                      <a:pt x="35" y="6"/>
                      <a:pt x="44" y="13"/>
                    </a:cubicBezTo>
                    <a:cubicBezTo>
                      <a:pt x="50" y="9"/>
                      <a:pt x="50" y="9"/>
                      <a:pt x="50" y="9"/>
                    </a:cubicBezTo>
                    <a:cubicBezTo>
                      <a:pt x="57" y="2"/>
                      <a:pt x="67" y="0"/>
                      <a:pt x="76" y="2"/>
                    </a:cubicBezTo>
                    <a:cubicBezTo>
                      <a:pt x="108" y="9"/>
                      <a:pt x="108" y="9"/>
                      <a:pt x="108" y="9"/>
                    </a:cubicBezTo>
                    <a:cubicBezTo>
                      <a:pt x="62" y="23"/>
                      <a:pt x="62" y="23"/>
                      <a:pt x="62" y="23"/>
                    </a:cubicBezTo>
                    <a:cubicBezTo>
                      <a:pt x="51" y="26"/>
                      <a:pt x="38" y="27"/>
                      <a:pt x="27" y="24"/>
                    </a:cubicBezTo>
                    <a:lnTo>
                      <a:pt x="0" y="1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7" name="Freeform 120">
                <a:extLst>
                  <a:ext uri="{FF2B5EF4-FFF2-40B4-BE49-F238E27FC236}">
                    <a16:creationId xmlns:a16="http://schemas.microsoft.com/office/drawing/2014/main" id="{4F2BA4EB-9047-4C39-9CF3-BAEC698EDA54}"/>
                  </a:ext>
                </a:extLst>
              </p:cNvPr>
              <p:cNvSpPr>
                <a:spLocks/>
              </p:cNvSpPr>
              <p:nvPr/>
            </p:nvSpPr>
            <p:spPr bwMode="auto">
              <a:xfrm>
                <a:off x="6947602" y="3438281"/>
                <a:ext cx="19315" cy="15866"/>
              </a:xfrm>
              <a:custGeom>
                <a:avLst/>
                <a:gdLst>
                  <a:gd name="T0" fmla="*/ 0 w 21"/>
                  <a:gd name="T1" fmla="*/ 1 h 18"/>
                  <a:gd name="T2" fmla="*/ 20 w 21"/>
                  <a:gd name="T3" fmla="*/ 18 h 18"/>
                  <a:gd name="T4" fmla="*/ 0 w 21"/>
                  <a:gd name="T5" fmla="*/ 1 h 18"/>
                </a:gdLst>
                <a:ahLst/>
                <a:cxnLst>
                  <a:cxn ang="0">
                    <a:pos x="T0" y="T1"/>
                  </a:cxn>
                  <a:cxn ang="0">
                    <a:pos x="T2" y="T3"/>
                  </a:cxn>
                  <a:cxn ang="0">
                    <a:pos x="T4" y="T5"/>
                  </a:cxn>
                </a:cxnLst>
                <a:rect l="0" t="0" r="r" b="b"/>
                <a:pathLst>
                  <a:path w="21" h="18">
                    <a:moveTo>
                      <a:pt x="0" y="1"/>
                    </a:moveTo>
                    <a:cubicBezTo>
                      <a:pt x="20" y="18"/>
                      <a:pt x="20" y="18"/>
                      <a:pt x="20" y="18"/>
                    </a:cubicBezTo>
                    <a:cubicBezTo>
                      <a:pt x="20" y="18"/>
                      <a:pt x="21" y="0"/>
                      <a:pt x="0" y="1"/>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8" name="Freeform 121">
                <a:extLst>
                  <a:ext uri="{FF2B5EF4-FFF2-40B4-BE49-F238E27FC236}">
                    <a16:creationId xmlns:a16="http://schemas.microsoft.com/office/drawing/2014/main" id="{D1F7C685-34B3-401F-B513-A6E94DA01842}"/>
                  </a:ext>
                </a:extLst>
              </p:cNvPr>
              <p:cNvSpPr>
                <a:spLocks/>
              </p:cNvSpPr>
              <p:nvPr/>
            </p:nvSpPr>
            <p:spPr bwMode="auto">
              <a:xfrm>
                <a:off x="6789629" y="3325147"/>
                <a:ext cx="64845" cy="38631"/>
              </a:xfrm>
              <a:custGeom>
                <a:avLst/>
                <a:gdLst>
                  <a:gd name="T0" fmla="*/ 6 w 71"/>
                  <a:gd name="T1" fmla="*/ 42 h 42"/>
                  <a:gd name="T2" fmla="*/ 3 w 71"/>
                  <a:gd name="T3" fmla="*/ 41 h 42"/>
                  <a:gd name="T4" fmla="*/ 2 w 71"/>
                  <a:gd name="T5" fmla="*/ 34 h 42"/>
                  <a:gd name="T6" fmla="*/ 68 w 71"/>
                  <a:gd name="T7" fmla="*/ 29 h 42"/>
                  <a:gd name="T8" fmla="*/ 69 w 71"/>
                  <a:gd name="T9" fmla="*/ 36 h 42"/>
                  <a:gd name="T10" fmla="*/ 62 w 71"/>
                  <a:gd name="T11" fmla="*/ 37 h 42"/>
                  <a:gd name="T12" fmla="*/ 10 w 71"/>
                  <a:gd name="T13" fmla="*/ 40 h 42"/>
                  <a:gd name="T14" fmla="*/ 6 w 71"/>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42">
                    <a:moveTo>
                      <a:pt x="6" y="42"/>
                    </a:moveTo>
                    <a:cubicBezTo>
                      <a:pt x="5" y="42"/>
                      <a:pt x="4" y="42"/>
                      <a:pt x="3" y="41"/>
                    </a:cubicBezTo>
                    <a:cubicBezTo>
                      <a:pt x="1" y="39"/>
                      <a:pt x="0" y="36"/>
                      <a:pt x="2" y="34"/>
                    </a:cubicBezTo>
                    <a:cubicBezTo>
                      <a:pt x="2" y="34"/>
                      <a:pt x="29" y="0"/>
                      <a:pt x="68" y="29"/>
                    </a:cubicBezTo>
                    <a:cubicBezTo>
                      <a:pt x="70" y="30"/>
                      <a:pt x="71" y="34"/>
                      <a:pt x="69" y="36"/>
                    </a:cubicBezTo>
                    <a:cubicBezTo>
                      <a:pt x="68" y="38"/>
                      <a:pt x="64" y="39"/>
                      <a:pt x="62" y="37"/>
                    </a:cubicBezTo>
                    <a:cubicBezTo>
                      <a:pt x="31" y="15"/>
                      <a:pt x="11" y="39"/>
                      <a:pt x="10" y="40"/>
                    </a:cubicBezTo>
                    <a:cubicBezTo>
                      <a:pt x="9" y="42"/>
                      <a:pt x="8" y="42"/>
                      <a:pt x="6"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9" name="Freeform 122">
                <a:extLst>
                  <a:ext uri="{FF2B5EF4-FFF2-40B4-BE49-F238E27FC236}">
                    <a16:creationId xmlns:a16="http://schemas.microsoft.com/office/drawing/2014/main" id="{5D53552D-940F-42CD-B440-00F74E340B15}"/>
                  </a:ext>
                </a:extLst>
              </p:cNvPr>
              <p:cNvSpPr>
                <a:spLocks/>
              </p:cNvSpPr>
              <p:nvPr/>
            </p:nvSpPr>
            <p:spPr bwMode="auto">
              <a:xfrm>
                <a:off x="6946912" y="3312730"/>
                <a:ext cx="63465" cy="37941"/>
              </a:xfrm>
              <a:custGeom>
                <a:avLst/>
                <a:gdLst>
                  <a:gd name="T0" fmla="*/ 5 w 70"/>
                  <a:gd name="T1" fmla="*/ 42 h 42"/>
                  <a:gd name="T2" fmla="*/ 2 w 70"/>
                  <a:gd name="T3" fmla="*/ 41 h 42"/>
                  <a:gd name="T4" fmla="*/ 1 w 70"/>
                  <a:gd name="T5" fmla="*/ 33 h 42"/>
                  <a:gd name="T6" fmla="*/ 67 w 70"/>
                  <a:gd name="T7" fmla="*/ 28 h 42"/>
                  <a:gd name="T8" fmla="*/ 69 w 70"/>
                  <a:gd name="T9" fmla="*/ 35 h 42"/>
                  <a:gd name="T10" fmla="*/ 61 w 70"/>
                  <a:gd name="T11" fmla="*/ 36 h 42"/>
                  <a:gd name="T12" fmla="*/ 9 w 70"/>
                  <a:gd name="T13" fmla="*/ 40 h 42"/>
                  <a:gd name="T14" fmla="*/ 5 w 70"/>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42">
                    <a:moveTo>
                      <a:pt x="5" y="42"/>
                    </a:moveTo>
                    <a:cubicBezTo>
                      <a:pt x="4" y="42"/>
                      <a:pt x="3" y="41"/>
                      <a:pt x="2" y="41"/>
                    </a:cubicBezTo>
                    <a:cubicBezTo>
                      <a:pt x="0" y="39"/>
                      <a:pt x="0" y="36"/>
                      <a:pt x="1" y="33"/>
                    </a:cubicBezTo>
                    <a:cubicBezTo>
                      <a:pt x="2" y="33"/>
                      <a:pt x="28" y="0"/>
                      <a:pt x="67" y="28"/>
                    </a:cubicBezTo>
                    <a:cubicBezTo>
                      <a:pt x="70" y="30"/>
                      <a:pt x="70" y="33"/>
                      <a:pt x="69" y="35"/>
                    </a:cubicBezTo>
                    <a:cubicBezTo>
                      <a:pt x="67" y="38"/>
                      <a:pt x="64" y="38"/>
                      <a:pt x="61" y="36"/>
                    </a:cubicBezTo>
                    <a:cubicBezTo>
                      <a:pt x="30" y="14"/>
                      <a:pt x="10" y="39"/>
                      <a:pt x="9" y="40"/>
                    </a:cubicBezTo>
                    <a:cubicBezTo>
                      <a:pt x="8" y="41"/>
                      <a:pt x="7" y="42"/>
                      <a:pt x="5"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60" name="Freeform 123">
                <a:extLst>
                  <a:ext uri="{FF2B5EF4-FFF2-40B4-BE49-F238E27FC236}">
                    <a16:creationId xmlns:a16="http://schemas.microsoft.com/office/drawing/2014/main" id="{5460A414-8DCC-44FD-8F3B-66C4A6D0E356}"/>
                  </a:ext>
                </a:extLst>
              </p:cNvPr>
              <p:cNvSpPr>
                <a:spLocks noEditPoints="1"/>
              </p:cNvSpPr>
              <p:nvPr/>
            </p:nvSpPr>
            <p:spPr bwMode="auto">
              <a:xfrm>
                <a:off x="6769624" y="3143721"/>
                <a:ext cx="346988" cy="414592"/>
              </a:xfrm>
              <a:custGeom>
                <a:avLst/>
                <a:gdLst>
                  <a:gd name="T0" fmla="*/ 347 w 380"/>
                  <a:gd name="T1" fmla="*/ 144 h 452"/>
                  <a:gd name="T2" fmla="*/ 347 w 380"/>
                  <a:gd name="T3" fmla="*/ 139 h 452"/>
                  <a:gd name="T4" fmla="*/ 148 w 380"/>
                  <a:gd name="T5" fmla="*/ 10 h 452"/>
                  <a:gd name="T6" fmla="*/ 0 w 380"/>
                  <a:gd name="T7" fmla="*/ 186 h 452"/>
                  <a:gd name="T8" fmla="*/ 46 w 380"/>
                  <a:gd name="T9" fmla="*/ 196 h 452"/>
                  <a:gd name="T10" fmla="*/ 59 w 380"/>
                  <a:gd name="T11" fmla="*/ 125 h 452"/>
                  <a:gd name="T12" fmla="*/ 68 w 380"/>
                  <a:gd name="T13" fmla="*/ 198 h 452"/>
                  <a:gd name="T14" fmla="*/ 93 w 380"/>
                  <a:gd name="T15" fmla="*/ 199 h 452"/>
                  <a:gd name="T16" fmla="*/ 98 w 380"/>
                  <a:gd name="T17" fmla="*/ 144 h 452"/>
                  <a:gd name="T18" fmla="*/ 108 w 380"/>
                  <a:gd name="T19" fmla="*/ 199 h 452"/>
                  <a:gd name="T20" fmla="*/ 275 w 380"/>
                  <a:gd name="T21" fmla="*/ 161 h 452"/>
                  <a:gd name="T22" fmla="*/ 270 w 380"/>
                  <a:gd name="T23" fmla="*/ 452 h 452"/>
                  <a:gd name="T24" fmla="*/ 380 w 380"/>
                  <a:gd name="T25" fmla="*/ 362 h 452"/>
                  <a:gd name="T26" fmla="*/ 347 w 380"/>
                  <a:gd name="T27" fmla="*/ 144 h 452"/>
                  <a:gd name="T28" fmla="*/ 343 w 380"/>
                  <a:gd name="T29" fmla="*/ 255 h 452"/>
                  <a:gd name="T30" fmla="*/ 322 w 380"/>
                  <a:gd name="T31" fmla="*/ 280 h 452"/>
                  <a:gd name="T32" fmla="*/ 315 w 380"/>
                  <a:gd name="T33" fmla="*/ 189 h 452"/>
                  <a:gd name="T34" fmla="*/ 351 w 380"/>
                  <a:gd name="T35" fmla="*/ 226 h 452"/>
                  <a:gd name="T36" fmla="*/ 351 w 380"/>
                  <a:gd name="T37" fmla="*/ 232 h 452"/>
                  <a:gd name="T38" fmla="*/ 343 w 380"/>
                  <a:gd name="T39" fmla="*/ 25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0" h="452">
                    <a:moveTo>
                      <a:pt x="347" y="144"/>
                    </a:moveTo>
                    <a:cubicBezTo>
                      <a:pt x="347" y="142"/>
                      <a:pt x="347" y="140"/>
                      <a:pt x="347" y="139"/>
                    </a:cubicBezTo>
                    <a:cubicBezTo>
                      <a:pt x="330" y="61"/>
                      <a:pt x="284" y="0"/>
                      <a:pt x="148" y="10"/>
                    </a:cubicBezTo>
                    <a:cubicBezTo>
                      <a:pt x="23" y="19"/>
                      <a:pt x="0" y="186"/>
                      <a:pt x="0" y="186"/>
                    </a:cubicBezTo>
                    <a:cubicBezTo>
                      <a:pt x="0" y="186"/>
                      <a:pt x="17" y="193"/>
                      <a:pt x="46" y="196"/>
                    </a:cubicBezTo>
                    <a:cubicBezTo>
                      <a:pt x="59" y="125"/>
                      <a:pt x="59" y="125"/>
                      <a:pt x="59" y="125"/>
                    </a:cubicBezTo>
                    <a:cubicBezTo>
                      <a:pt x="68" y="198"/>
                      <a:pt x="68" y="198"/>
                      <a:pt x="68" y="198"/>
                    </a:cubicBezTo>
                    <a:cubicBezTo>
                      <a:pt x="75" y="199"/>
                      <a:pt x="84" y="199"/>
                      <a:pt x="93" y="199"/>
                    </a:cubicBezTo>
                    <a:cubicBezTo>
                      <a:pt x="98" y="144"/>
                      <a:pt x="98" y="144"/>
                      <a:pt x="98" y="144"/>
                    </a:cubicBezTo>
                    <a:cubicBezTo>
                      <a:pt x="108" y="199"/>
                      <a:pt x="108" y="199"/>
                      <a:pt x="108" y="199"/>
                    </a:cubicBezTo>
                    <a:cubicBezTo>
                      <a:pt x="153" y="197"/>
                      <a:pt x="210" y="188"/>
                      <a:pt x="275" y="161"/>
                    </a:cubicBezTo>
                    <a:cubicBezTo>
                      <a:pt x="284" y="292"/>
                      <a:pt x="270" y="452"/>
                      <a:pt x="270" y="452"/>
                    </a:cubicBezTo>
                    <a:cubicBezTo>
                      <a:pt x="357" y="436"/>
                      <a:pt x="380" y="362"/>
                      <a:pt x="380" y="362"/>
                    </a:cubicBezTo>
                    <a:lnTo>
                      <a:pt x="347" y="144"/>
                    </a:lnTo>
                    <a:close/>
                    <a:moveTo>
                      <a:pt x="343" y="255"/>
                    </a:moveTo>
                    <a:cubicBezTo>
                      <a:pt x="322" y="280"/>
                      <a:pt x="322" y="280"/>
                      <a:pt x="322" y="280"/>
                    </a:cubicBezTo>
                    <a:cubicBezTo>
                      <a:pt x="315" y="189"/>
                      <a:pt x="315" y="189"/>
                      <a:pt x="315" y="189"/>
                    </a:cubicBezTo>
                    <a:cubicBezTo>
                      <a:pt x="335" y="189"/>
                      <a:pt x="352" y="206"/>
                      <a:pt x="351" y="226"/>
                    </a:cubicBezTo>
                    <a:cubicBezTo>
                      <a:pt x="351" y="232"/>
                      <a:pt x="351" y="232"/>
                      <a:pt x="351" y="232"/>
                    </a:cubicBezTo>
                    <a:cubicBezTo>
                      <a:pt x="351" y="240"/>
                      <a:pt x="348" y="248"/>
                      <a:pt x="343" y="255"/>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61" name="Freeform 124">
                <a:extLst>
                  <a:ext uri="{FF2B5EF4-FFF2-40B4-BE49-F238E27FC236}">
                    <a16:creationId xmlns:a16="http://schemas.microsoft.com/office/drawing/2014/main" id="{E11E73FB-7D67-49EB-B4D4-D58A5592659C}"/>
                  </a:ext>
                </a:extLst>
              </p:cNvPr>
              <p:cNvSpPr>
                <a:spLocks/>
              </p:cNvSpPr>
              <p:nvPr/>
            </p:nvSpPr>
            <p:spPr bwMode="auto">
              <a:xfrm>
                <a:off x="7045559" y="3412067"/>
                <a:ext cx="42770" cy="104855"/>
              </a:xfrm>
              <a:custGeom>
                <a:avLst/>
                <a:gdLst>
                  <a:gd name="T0" fmla="*/ 62 w 62"/>
                  <a:gd name="T1" fmla="*/ 49 h 152"/>
                  <a:gd name="T2" fmla="*/ 27 w 62"/>
                  <a:gd name="T3" fmla="*/ 0 h 152"/>
                  <a:gd name="T4" fmla="*/ 0 w 62"/>
                  <a:gd name="T5" fmla="*/ 53 h 152"/>
                  <a:gd name="T6" fmla="*/ 33 w 62"/>
                  <a:gd name="T7" fmla="*/ 101 h 152"/>
                  <a:gd name="T8" fmla="*/ 19 w 62"/>
                  <a:gd name="T9" fmla="*/ 128 h 152"/>
                  <a:gd name="T10" fmla="*/ 37 w 62"/>
                  <a:gd name="T11" fmla="*/ 152 h 152"/>
                  <a:gd name="T12" fmla="*/ 51 w 62"/>
                  <a:gd name="T13" fmla="*/ 125 h 152"/>
                  <a:gd name="T14" fmla="*/ 34 w 62"/>
                  <a:gd name="T15" fmla="*/ 103 h 152"/>
                  <a:gd name="T16" fmla="*/ 62 w 62"/>
                  <a:gd name="T17"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52">
                    <a:moveTo>
                      <a:pt x="62" y="49"/>
                    </a:moveTo>
                    <a:lnTo>
                      <a:pt x="27" y="0"/>
                    </a:lnTo>
                    <a:lnTo>
                      <a:pt x="0" y="53"/>
                    </a:lnTo>
                    <a:lnTo>
                      <a:pt x="33" y="101"/>
                    </a:lnTo>
                    <a:lnTo>
                      <a:pt x="19" y="128"/>
                    </a:lnTo>
                    <a:lnTo>
                      <a:pt x="37" y="152"/>
                    </a:lnTo>
                    <a:lnTo>
                      <a:pt x="51" y="125"/>
                    </a:lnTo>
                    <a:lnTo>
                      <a:pt x="34" y="103"/>
                    </a:lnTo>
                    <a:lnTo>
                      <a:pt x="62" y="49"/>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62" name="Freeform 125">
                <a:extLst>
                  <a:ext uri="{FF2B5EF4-FFF2-40B4-BE49-F238E27FC236}">
                    <a16:creationId xmlns:a16="http://schemas.microsoft.com/office/drawing/2014/main" id="{8411C346-B0D2-4897-A8B4-F50F8BCEFD01}"/>
                  </a:ext>
                </a:extLst>
              </p:cNvPr>
              <p:cNvSpPr>
                <a:spLocks/>
              </p:cNvSpPr>
              <p:nvPr/>
            </p:nvSpPr>
            <p:spPr bwMode="auto">
              <a:xfrm>
                <a:off x="6650973" y="3537617"/>
                <a:ext cx="179357" cy="271795"/>
              </a:xfrm>
              <a:custGeom>
                <a:avLst/>
                <a:gdLst>
                  <a:gd name="T0" fmla="*/ 147 w 197"/>
                  <a:gd name="T1" fmla="*/ 1 h 296"/>
                  <a:gd name="T2" fmla="*/ 17 w 197"/>
                  <a:gd name="T3" fmla="*/ 19 h 296"/>
                  <a:gd name="T4" fmla="*/ 9 w 197"/>
                  <a:gd name="T5" fmla="*/ 24 h 296"/>
                  <a:gd name="T6" fmla="*/ 9 w 197"/>
                  <a:gd name="T7" fmla="*/ 24 h 296"/>
                  <a:gd name="T8" fmla="*/ 9 w 197"/>
                  <a:gd name="T9" fmla="*/ 24 h 296"/>
                  <a:gd name="T10" fmla="*/ 8 w 197"/>
                  <a:gd name="T11" fmla="*/ 25 h 296"/>
                  <a:gd name="T12" fmla="*/ 0 w 197"/>
                  <a:gd name="T13" fmla="*/ 36 h 296"/>
                  <a:gd name="T14" fmla="*/ 6 w 197"/>
                  <a:gd name="T15" fmla="*/ 35 h 296"/>
                  <a:gd name="T16" fmla="*/ 41 w 197"/>
                  <a:gd name="T17" fmla="*/ 283 h 296"/>
                  <a:gd name="T18" fmla="*/ 56 w 197"/>
                  <a:gd name="T19" fmla="*/ 295 h 296"/>
                  <a:gd name="T20" fmla="*/ 183 w 197"/>
                  <a:gd name="T21" fmla="*/ 277 h 296"/>
                  <a:gd name="T22" fmla="*/ 185 w 197"/>
                  <a:gd name="T23" fmla="*/ 283 h 296"/>
                  <a:gd name="T24" fmla="*/ 194 w 197"/>
                  <a:gd name="T25" fmla="*/ 272 h 296"/>
                  <a:gd name="T26" fmla="*/ 194 w 197"/>
                  <a:gd name="T27" fmla="*/ 272 h 296"/>
                  <a:gd name="T28" fmla="*/ 197 w 197"/>
                  <a:gd name="T29" fmla="*/ 262 h 296"/>
                  <a:gd name="T30" fmla="*/ 162 w 197"/>
                  <a:gd name="T31" fmla="*/ 13 h 296"/>
                  <a:gd name="T32" fmla="*/ 147 w 197"/>
                  <a:gd name="T33" fmla="*/ 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7" h="296">
                    <a:moveTo>
                      <a:pt x="147" y="1"/>
                    </a:moveTo>
                    <a:cubicBezTo>
                      <a:pt x="17" y="19"/>
                      <a:pt x="17" y="19"/>
                      <a:pt x="17" y="19"/>
                    </a:cubicBezTo>
                    <a:cubicBezTo>
                      <a:pt x="14" y="20"/>
                      <a:pt x="11" y="22"/>
                      <a:pt x="9" y="24"/>
                    </a:cubicBezTo>
                    <a:cubicBezTo>
                      <a:pt x="9" y="24"/>
                      <a:pt x="9" y="24"/>
                      <a:pt x="9" y="24"/>
                    </a:cubicBezTo>
                    <a:cubicBezTo>
                      <a:pt x="9" y="24"/>
                      <a:pt x="9" y="24"/>
                      <a:pt x="9" y="24"/>
                    </a:cubicBezTo>
                    <a:cubicBezTo>
                      <a:pt x="9" y="24"/>
                      <a:pt x="9" y="25"/>
                      <a:pt x="8" y="25"/>
                    </a:cubicBezTo>
                    <a:cubicBezTo>
                      <a:pt x="0" y="36"/>
                      <a:pt x="0" y="36"/>
                      <a:pt x="0" y="36"/>
                    </a:cubicBezTo>
                    <a:cubicBezTo>
                      <a:pt x="6" y="35"/>
                      <a:pt x="6" y="35"/>
                      <a:pt x="6" y="35"/>
                    </a:cubicBezTo>
                    <a:cubicBezTo>
                      <a:pt x="41" y="283"/>
                      <a:pt x="41" y="283"/>
                      <a:pt x="41" y="283"/>
                    </a:cubicBezTo>
                    <a:cubicBezTo>
                      <a:pt x="42" y="290"/>
                      <a:pt x="48" y="296"/>
                      <a:pt x="56" y="295"/>
                    </a:cubicBezTo>
                    <a:cubicBezTo>
                      <a:pt x="183" y="277"/>
                      <a:pt x="183" y="277"/>
                      <a:pt x="183" y="277"/>
                    </a:cubicBezTo>
                    <a:cubicBezTo>
                      <a:pt x="185" y="283"/>
                      <a:pt x="185" y="283"/>
                      <a:pt x="185" y="283"/>
                    </a:cubicBezTo>
                    <a:cubicBezTo>
                      <a:pt x="194" y="272"/>
                      <a:pt x="194" y="272"/>
                      <a:pt x="194" y="272"/>
                    </a:cubicBezTo>
                    <a:cubicBezTo>
                      <a:pt x="194" y="272"/>
                      <a:pt x="194" y="272"/>
                      <a:pt x="194" y="272"/>
                    </a:cubicBezTo>
                    <a:cubicBezTo>
                      <a:pt x="196" y="269"/>
                      <a:pt x="197" y="265"/>
                      <a:pt x="197" y="262"/>
                    </a:cubicBezTo>
                    <a:cubicBezTo>
                      <a:pt x="162" y="13"/>
                      <a:pt x="162" y="13"/>
                      <a:pt x="162" y="13"/>
                    </a:cubicBezTo>
                    <a:cubicBezTo>
                      <a:pt x="161" y="5"/>
                      <a:pt x="154" y="0"/>
                      <a:pt x="147" y="1"/>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63" name="Freeform 126">
                <a:extLst>
                  <a:ext uri="{FF2B5EF4-FFF2-40B4-BE49-F238E27FC236}">
                    <a16:creationId xmlns:a16="http://schemas.microsoft.com/office/drawing/2014/main" id="{66F8ABB0-8D76-4156-B216-BB064615282E}"/>
                  </a:ext>
                </a:extLst>
              </p:cNvPr>
              <p:cNvSpPr>
                <a:spLocks/>
              </p:cNvSpPr>
              <p:nvPr/>
            </p:nvSpPr>
            <p:spPr bwMode="auto">
              <a:xfrm>
                <a:off x="6648213" y="3547965"/>
                <a:ext cx="175218" cy="270416"/>
              </a:xfrm>
              <a:custGeom>
                <a:avLst/>
                <a:gdLst>
                  <a:gd name="T0" fmla="*/ 180 w 192"/>
                  <a:gd name="T1" fmla="*/ 276 h 295"/>
                  <a:gd name="T2" fmla="*/ 51 w 192"/>
                  <a:gd name="T3" fmla="*/ 294 h 295"/>
                  <a:gd name="T4" fmla="*/ 36 w 192"/>
                  <a:gd name="T5" fmla="*/ 283 h 295"/>
                  <a:gd name="T6" fmla="*/ 1 w 192"/>
                  <a:gd name="T7" fmla="*/ 34 h 295"/>
                  <a:gd name="T8" fmla="*/ 12 w 192"/>
                  <a:gd name="T9" fmla="*/ 19 h 295"/>
                  <a:gd name="T10" fmla="*/ 142 w 192"/>
                  <a:gd name="T11" fmla="*/ 1 h 295"/>
                  <a:gd name="T12" fmla="*/ 157 w 192"/>
                  <a:gd name="T13" fmla="*/ 12 h 295"/>
                  <a:gd name="T14" fmla="*/ 191 w 192"/>
                  <a:gd name="T15" fmla="*/ 261 h 295"/>
                  <a:gd name="T16" fmla="*/ 180 w 192"/>
                  <a:gd name="T17" fmla="*/ 27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95">
                    <a:moveTo>
                      <a:pt x="180" y="276"/>
                    </a:moveTo>
                    <a:cubicBezTo>
                      <a:pt x="51" y="294"/>
                      <a:pt x="51" y="294"/>
                      <a:pt x="51" y="294"/>
                    </a:cubicBezTo>
                    <a:cubicBezTo>
                      <a:pt x="43" y="295"/>
                      <a:pt x="37" y="290"/>
                      <a:pt x="36" y="283"/>
                    </a:cubicBezTo>
                    <a:cubicBezTo>
                      <a:pt x="1" y="34"/>
                      <a:pt x="1" y="34"/>
                      <a:pt x="1" y="34"/>
                    </a:cubicBezTo>
                    <a:cubicBezTo>
                      <a:pt x="0" y="27"/>
                      <a:pt x="5" y="20"/>
                      <a:pt x="12" y="19"/>
                    </a:cubicBezTo>
                    <a:cubicBezTo>
                      <a:pt x="142" y="1"/>
                      <a:pt x="142" y="1"/>
                      <a:pt x="142" y="1"/>
                    </a:cubicBezTo>
                    <a:cubicBezTo>
                      <a:pt x="149" y="0"/>
                      <a:pt x="156" y="5"/>
                      <a:pt x="157" y="12"/>
                    </a:cubicBezTo>
                    <a:cubicBezTo>
                      <a:pt x="191" y="261"/>
                      <a:pt x="191" y="261"/>
                      <a:pt x="191" y="261"/>
                    </a:cubicBezTo>
                    <a:cubicBezTo>
                      <a:pt x="192" y="269"/>
                      <a:pt x="187" y="275"/>
                      <a:pt x="180" y="276"/>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64" name="Freeform 127">
                <a:extLst>
                  <a:ext uri="{FF2B5EF4-FFF2-40B4-BE49-F238E27FC236}">
                    <a16:creationId xmlns:a16="http://schemas.microsoft.com/office/drawing/2014/main" id="{D367ED03-77BC-48D7-91C0-26EAB742942D}"/>
                  </a:ext>
                </a:extLst>
              </p:cNvPr>
              <p:cNvSpPr>
                <a:spLocks/>
              </p:cNvSpPr>
              <p:nvPr/>
            </p:nvSpPr>
            <p:spPr bwMode="auto">
              <a:xfrm>
                <a:off x="6666839" y="3574179"/>
                <a:ext cx="156593" cy="244202"/>
              </a:xfrm>
              <a:custGeom>
                <a:avLst/>
                <a:gdLst>
                  <a:gd name="T0" fmla="*/ 0 w 171"/>
                  <a:gd name="T1" fmla="*/ 145 h 266"/>
                  <a:gd name="T2" fmla="*/ 15 w 171"/>
                  <a:gd name="T3" fmla="*/ 254 h 266"/>
                  <a:gd name="T4" fmla="*/ 30 w 171"/>
                  <a:gd name="T5" fmla="*/ 265 h 266"/>
                  <a:gd name="T6" fmla="*/ 159 w 171"/>
                  <a:gd name="T7" fmla="*/ 247 h 266"/>
                  <a:gd name="T8" fmla="*/ 170 w 171"/>
                  <a:gd name="T9" fmla="*/ 232 h 266"/>
                  <a:gd name="T10" fmla="*/ 138 w 171"/>
                  <a:gd name="T11" fmla="*/ 0 h 266"/>
                  <a:gd name="T12" fmla="*/ 0 w 171"/>
                  <a:gd name="T13" fmla="*/ 145 h 266"/>
                </a:gdLst>
                <a:ahLst/>
                <a:cxnLst>
                  <a:cxn ang="0">
                    <a:pos x="T0" y="T1"/>
                  </a:cxn>
                  <a:cxn ang="0">
                    <a:pos x="T2" y="T3"/>
                  </a:cxn>
                  <a:cxn ang="0">
                    <a:pos x="T4" y="T5"/>
                  </a:cxn>
                  <a:cxn ang="0">
                    <a:pos x="T6" y="T7"/>
                  </a:cxn>
                  <a:cxn ang="0">
                    <a:pos x="T8" y="T9"/>
                  </a:cxn>
                  <a:cxn ang="0">
                    <a:pos x="T10" y="T11"/>
                  </a:cxn>
                  <a:cxn ang="0">
                    <a:pos x="T12" y="T13"/>
                  </a:cxn>
                </a:cxnLst>
                <a:rect l="0" t="0" r="r" b="b"/>
                <a:pathLst>
                  <a:path w="171" h="266">
                    <a:moveTo>
                      <a:pt x="0" y="145"/>
                    </a:moveTo>
                    <a:cubicBezTo>
                      <a:pt x="15" y="254"/>
                      <a:pt x="15" y="254"/>
                      <a:pt x="15" y="254"/>
                    </a:cubicBezTo>
                    <a:cubicBezTo>
                      <a:pt x="16" y="261"/>
                      <a:pt x="22" y="266"/>
                      <a:pt x="30" y="265"/>
                    </a:cubicBezTo>
                    <a:cubicBezTo>
                      <a:pt x="159" y="247"/>
                      <a:pt x="159" y="247"/>
                      <a:pt x="159" y="247"/>
                    </a:cubicBezTo>
                    <a:cubicBezTo>
                      <a:pt x="166" y="246"/>
                      <a:pt x="171" y="240"/>
                      <a:pt x="170" y="232"/>
                    </a:cubicBezTo>
                    <a:cubicBezTo>
                      <a:pt x="138" y="0"/>
                      <a:pt x="138" y="0"/>
                      <a:pt x="138" y="0"/>
                    </a:cubicBezTo>
                    <a:lnTo>
                      <a:pt x="0" y="145"/>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65" name="Freeform 128">
                <a:extLst>
                  <a:ext uri="{FF2B5EF4-FFF2-40B4-BE49-F238E27FC236}">
                    <a16:creationId xmlns:a16="http://schemas.microsoft.com/office/drawing/2014/main" id="{FAE3050F-55C7-4F14-8713-86ABDF008EA3}"/>
                  </a:ext>
                </a:extLst>
              </p:cNvPr>
              <p:cNvSpPr>
                <a:spLocks/>
              </p:cNvSpPr>
              <p:nvPr/>
            </p:nvSpPr>
            <p:spPr bwMode="auto">
              <a:xfrm>
                <a:off x="6711678" y="3576938"/>
                <a:ext cx="24144" cy="24144"/>
              </a:xfrm>
              <a:custGeom>
                <a:avLst/>
                <a:gdLst>
                  <a:gd name="T0" fmla="*/ 25 w 26"/>
                  <a:gd name="T1" fmla="*/ 11 h 26"/>
                  <a:gd name="T2" fmla="*/ 15 w 26"/>
                  <a:gd name="T3" fmla="*/ 25 h 26"/>
                  <a:gd name="T4" fmla="*/ 1 w 26"/>
                  <a:gd name="T5" fmla="*/ 14 h 26"/>
                  <a:gd name="T6" fmla="*/ 12 w 26"/>
                  <a:gd name="T7" fmla="*/ 1 h 26"/>
                  <a:gd name="T8" fmla="*/ 25 w 26"/>
                  <a:gd name="T9" fmla="*/ 11 h 26"/>
                </a:gdLst>
                <a:ahLst/>
                <a:cxnLst>
                  <a:cxn ang="0">
                    <a:pos x="T0" y="T1"/>
                  </a:cxn>
                  <a:cxn ang="0">
                    <a:pos x="T2" y="T3"/>
                  </a:cxn>
                  <a:cxn ang="0">
                    <a:pos x="T4" y="T5"/>
                  </a:cxn>
                  <a:cxn ang="0">
                    <a:pos x="T6" y="T7"/>
                  </a:cxn>
                  <a:cxn ang="0">
                    <a:pos x="T8" y="T9"/>
                  </a:cxn>
                </a:cxnLst>
                <a:rect l="0" t="0" r="r" b="b"/>
                <a:pathLst>
                  <a:path w="26" h="26">
                    <a:moveTo>
                      <a:pt x="25" y="11"/>
                    </a:moveTo>
                    <a:cubicBezTo>
                      <a:pt x="26" y="18"/>
                      <a:pt x="21" y="24"/>
                      <a:pt x="15" y="25"/>
                    </a:cubicBezTo>
                    <a:cubicBezTo>
                      <a:pt x="8" y="26"/>
                      <a:pt x="2" y="21"/>
                      <a:pt x="1" y="14"/>
                    </a:cubicBezTo>
                    <a:cubicBezTo>
                      <a:pt x="0" y="8"/>
                      <a:pt x="5" y="2"/>
                      <a:pt x="12" y="1"/>
                    </a:cubicBezTo>
                    <a:cubicBezTo>
                      <a:pt x="18" y="0"/>
                      <a:pt x="24" y="5"/>
                      <a:pt x="25" y="11"/>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66" name="Freeform 129">
                <a:extLst>
                  <a:ext uri="{FF2B5EF4-FFF2-40B4-BE49-F238E27FC236}">
                    <a16:creationId xmlns:a16="http://schemas.microsoft.com/office/drawing/2014/main" id="{2DD510E0-70A7-4CB2-8065-D0DAA578DFD4}"/>
                  </a:ext>
                </a:extLst>
              </p:cNvPr>
              <p:cNvSpPr>
                <a:spLocks/>
              </p:cNvSpPr>
              <p:nvPr/>
            </p:nvSpPr>
            <p:spPr bwMode="auto">
              <a:xfrm>
                <a:off x="6666149" y="3661788"/>
                <a:ext cx="331811" cy="171769"/>
              </a:xfrm>
              <a:custGeom>
                <a:avLst/>
                <a:gdLst>
                  <a:gd name="T0" fmla="*/ 262 w 363"/>
                  <a:gd name="T1" fmla="*/ 120 h 188"/>
                  <a:gd name="T2" fmla="*/ 229 w 363"/>
                  <a:gd name="T3" fmla="*/ 79 h 188"/>
                  <a:gd name="T4" fmla="*/ 208 w 363"/>
                  <a:gd name="T5" fmla="*/ 59 h 188"/>
                  <a:gd name="T6" fmla="*/ 185 w 363"/>
                  <a:gd name="T7" fmla="*/ 14 h 188"/>
                  <a:gd name="T8" fmla="*/ 168 w 363"/>
                  <a:gd name="T9" fmla="*/ 1 h 188"/>
                  <a:gd name="T10" fmla="*/ 162 w 363"/>
                  <a:gd name="T11" fmla="*/ 0 h 188"/>
                  <a:gd name="T12" fmla="*/ 167 w 363"/>
                  <a:gd name="T13" fmla="*/ 35 h 188"/>
                  <a:gd name="T14" fmla="*/ 141 w 363"/>
                  <a:gd name="T15" fmla="*/ 25 h 188"/>
                  <a:gd name="T16" fmla="*/ 141 w 363"/>
                  <a:gd name="T17" fmla="*/ 25 h 188"/>
                  <a:gd name="T18" fmla="*/ 75 w 363"/>
                  <a:gd name="T19" fmla="*/ 10 h 188"/>
                  <a:gd name="T20" fmla="*/ 5 w 363"/>
                  <a:gd name="T21" fmla="*/ 14 h 188"/>
                  <a:gd name="T22" fmla="*/ 7 w 363"/>
                  <a:gd name="T23" fmla="*/ 22 h 188"/>
                  <a:gd name="T24" fmla="*/ 24 w 363"/>
                  <a:gd name="T25" fmla="*/ 38 h 188"/>
                  <a:gd name="T26" fmla="*/ 69 w 363"/>
                  <a:gd name="T27" fmla="*/ 38 h 188"/>
                  <a:gd name="T28" fmla="*/ 123 w 363"/>
                  <a:gd name="T29" fmla="*/ 57 h 188"/>
                  <a:gd name="T30" fmla="*/ 62 w 363"/>
                  <a:gd name="T31" fmla="*/ 51 h 188"/>
                  <a:gd name="T32" fmla="*/ 0 w 363"/>
                  <a:gd name="T33" fmla="*/ 74 h 188"/>
                  <a:gd name="T34" fmla="*/ 2 w 363"/>
                  <a:gd name="T35" fmla="*/ 78 h 188"/>
                  <a:gd name="T36" fmla="*/ 26 w 363"/>
                  <a:gd name="T37" fmla="*/ 91 h 188"/>
                  <a:gd name="T38" fmla="*/ 57 w 363"/>
                  <a:gd name="T39" fmla="*/ 80 h 188"/>
                  <a:gd name="T40" fmla="*/ 124 w 363"/>
                  <a:gd name="T41" fmla="*/ 92 h 188"/>
                  <a:gd name="T42" fmla="*/ 124 w 363"/>
                  <a:gd name="T43" fmla="*/ 93 h 188"/>
                  <a:gd name="T44" fmla="*/ 60 w 363"/>
                  <a:gd name="T45" fmla="*/ 87 h 188"/>
                  <a:gd name="T46" fmla="*/ 10 w 363"/>
                  <a:gd name="T47" fmla="*/ 112 h 188"/>
                  <a:gd name="T48" fmla="*/ 12 w 363"/>
                  <a:gd name="T49" fmla="*/ 116 h 188"/>
                  <a:gd name="T50" fmla="*/ 37 w 363"/>
                  <a:gd name="T51" fmla="*/ 124 h 188"/>
                  <a:gd name="T52" fmla="*/ 65 w 363"/>
                  <a:gd name="T53" fmla="*/ 110 h 188"/>
                  <a:gd name="T54" fmla="*/ 115 w 363"/>
                  <a:gd name="T55" fmla="*/ 123 h 188"/>
                  <a:gd name="T56" fmla="*/ 63 w 363"/>
                  <a:gd name="T57" fmla="*/ 123 h 188"/>
                  <a:gd name="T58" fmla="*/ 34 w 363"/>
                  <a:gd name="T59" fmla="*/ 150 h 188"/>
                  <a:gd name="T60" fmla="*/ 40 w 363"/>
                  <a:gd name="T61" fmla="*/ 155 h 188"/>
                  <a:gd name="T62" fmla="*/ 61 w 363"/>
                  <a:gd name="T63" fmla="*/ 156 h 188"/>
                  <a:gd name="T64" fmla="*/ 78 w 363"/>
                  <a:gd name="T65" fmla="*/ 146 h 188"/>
                  <a:gd name="T66" fmla="*/ 94 w 363"/>
                  <a:gd name="T67" fmla="*/ 153 h 188"/>
                  <a:gd name="T68" fmla="*/ 107 w 363"/>
                  <a:gd name="T69" fmla="*/ 160 h 188"/>
                  <a:gd name="T70" fmla="*/ 106 w 363"/>
                  <a:gd name="T71" fmla="*/ 162 h 188"/>
                  <a:gd name="T72" fmla="*/ 114 w 363"/>
                  <a:gd name="T73" fmla="*/ 165 h 188"/>
                  <a:gd name="T74" fmla="*/ 153 w 363"/>
                  <a:gd name="T75" fmla="*/ 181 h 188"/>
                  <a:gd name="T76" fmla="*/ 171 w 363"/>
                  <a:gd name="T77" fmla="*/ 188 h 188"/>
                  <a:gd name="T78" fmla="*/ 359 w 363"/>
                  <a:gd name="T79" fmla="*/ 188 h 188"/>
                  <a:gd name="T80" fmla="*/ 363 w 363"/>
                  <a:gd name="T81" fmla="*/ 161 h 188"/>
                  <a:gd name="T82" fmla="*/ 363 w 363"/>
                  <a:gd name="T83" fmla="*/ 155 h 188"/>
                  <a:gd name="T84" fmla="*/ 262 w 363"/>
                  <a:gd name="T85" fmla="*/ 12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3" h="188">
                    <a:moveTo>
                      <a:pt x="262" y="120"/>
                    </a:moveTo>
                    <a:cubicBezTo>
                      <a:pt x="229" y="79"/>
                      <a:pt x="229" y="79"/>
                      <a:pt x="229" y="79"/>
                    </a:cubicBezTo>
                    <a:cubicBezTo>
                      <a:pt x="223" y="72"/>
                      <a:pt x="216" y="65"/>
                      <a:pt x="208" y="59"/>
                    </a:cubicBezTo>
                    <a:cubicBezTo>
                      <a:pt x="185" y="14"/>
                      <a:pt x="185" y="14"/>
                      <a:pt x="185" y="14"/>
                    </a:cubicBezTo>
                    <a:cubicBezTo>
                      <a:pt x="182" y="7"/>
                      <a:pt x="176" y="3"/>
                      <a:pt x="168" y="1"/>
                    </a:cubicBezTo>
                    <a:cubicBezTo>
                      <a:pt x="162" y="0"/>
                      <a:pt x="162" y="0"/>
                      <a:pt x="162" y="0"/>
                    </a:cubicBezTo>
                    <a:cubicBezTo>
                      <a:pt x="167" y="35"/>
                      <a:pt x="167" y="35"/>
                      <a:pt x="167" y="35"/>
                    </a:cubicBezTo>
                    <a:cubicBezTo>
                      <a:pt x="141" y="25"/>
                      <a:pt x="141" y="25"/>
                      <a:pt x="141" y="25"/>
                    </a:cubicBezTo>
                    <a:cubicBezTo>
                      <a:pt x="141" y="25"/>
                      <a:pt x="141" y="25"/>
                      <a:pt x="141" y="25"/>
                    </a:cubicBezTo>
                    <a:cubicBezTo>
                      <a:pt x="75" y="10"/>
                      <a:pt x="75" y="10"/>
                      <a:pt x="75" y="10"/>
                    </a:cubicBezTo>
                    <a:cubicBezTo>
                      <a:pt x="5" y="14"/>
                      <a:pt x="5" y="14"/>
                      <a:pt x="5" y="14"/>
                    </a:cubicBezTo>
                    <a:cubicBezTo>
                      <a:pt x="7" y="22"/>
                      <a:pt x="7" y="22"/>
                      <a:pt x="7" y="22"/>
                    </a:cubicBezTo>
                    <a:cubicBezTo>
                      <a:pt x="8" y="31"/>
                      <a:pt x="15" y="38"/>
                      <a:pt x="24" y="38"/>
                    </a:cubicBezTo>
                    <a:cubicBezTo>
                      <a:pt x="69" y="38"/>
                      <a:pt x="69" y="38"/>
                      <a:pt x="69" y="38"/>
                    </a:cubicBezTo>
                    <a:cubicBezTo>
                      <a:pt x="123" y="57"/>
                      <a:pt x="123" y="57"/>
                      <a:pt x="123" y="57"/>
                    </a:cubicBezTo>
                    <a:cubicBezTo>
                      <a:pt x="62" y="51"/>
                      <a:pt x="62" y="51"/>
                      <a:pt x="62" y="51"/>
                    </a:cubicBezTo>
                    <a:cubicBezTo>
                      <a:pt x="0" y="74"/>
                      <a:pt x="0" y="74"/>
                      <a:pt x="0" y="74"/>
                    </a:cubicBezTo>
                    <a:cubicBezTo>
                      <a:pt x="2" y="78"/>
                      <a:pt x="2" y="78"/>
                      <a:pt x="2" y="78"/>
                    </a:cubicBezTo>
                    <a:cubicBezTo>
                      <a:pt x="5" y="89"/>
                      <a:pt x="16" y="94"/>
                      <a:pt x="26" y="91"/>
                    </a:cubicBezTo>
                    <a:cubicBezTo>
                      <a:pt x="57" y="80"/>
                      <a:pt x="57" y="80"/>
                      <a:pt x="57" y="80"/>
                    </a:cubicBezTo>
                    <a:cubicBezTo>
                      <a:pt x="124" y="92"/>
                      <a:pt x="124" y="92"/>
                      <a:pt x="124" y="92"/>
                    </a:cubicBezTo>
                    <a:cubicBezTo>
                      <a:pt x="124" y="93"/>
                      <a:pt x="124" y="93"/>
                      <a:pt x="124" y="93"/>
                    </a:cubicBezTo>
                    <a:cubicBezTo>
                      <a:pt x="60" y="87"/>
                      <a:pt x="60" y="87"/>
                      <a:pt x="60" y="87"/>
                    </a:cubicBezTo>
                    <a:cubicBezTo>
                      <a:pt x="10" y="112"/>
                      <a:pt x="10" y="112"/>
                      <a:pt x="10" y="112"/>
                    </a:cubicBezTo>
                    <a:cubicBezTo>
                      <a:pt x="12" y="116"/>
                      <a:pt x="12" y="116"/>
                      <a:pt x="12" y="116"/>
                    </a:cubicBezTo>
                    <a:cubicBezTo>
                      <a:pt x="16" y="125"/>
                      <a:pt x="27" y="129"/>
                      <a:pt x="37" y="124"/>
                    </a:cubicBezTo>
                    <a:cubicBezTo>
                      <a:pt x="65" y="110"/>
                      <a:pt x="65" y="110"/>
                      <a:pt x="65" y="110"/>
                    </a:cubicBezTo>
                    <a:cubicBezTo>
                      <a:pt x="115" y="123"/>
                      <a:pt x="115" y="123"/>
                      <a:pt x="115" y="123"/>
                    </a:cubicBezTo>
                    <a:cubicBezTo>
                      <a:pt x="63" y="123"/>
                      <a:pt x="63" y="123"/>
                      <a:pt x="63" y="123"/>
                    </a:cubicBezTo>
                    <a:cubicBezTo>
                      <a:pt x="34" y="150"/>
                      <a:pt x="34" y="150"/>
                      <a:pt x="34" y="150"/>
                    </a:cubicBezTo>
                    <a:cubicBezTo>
                      <a:pt x="40" y="155"/>
                      <a:pt x="40" y="155"/>
                      <a:pt x="40" y="155"/>
                    </a:cubicBezTo>
                    <a:cubicBezTo>
                      <a:pt x="46" y="159"/>
                      <a:pt x="55" y="159"/>
                      <a:pt x="61" y="156"/>
                    </a:cubicBezTo>
                    <a:cubicBezTo>
                      <a:pt x="78" y="146"/>
                      <a:pt x="78" y="146"/>
                      <a:pt x="78" y="146"/>
                    </a:cubicBezTo>
                    <a:cubicBezTo>
                      <a:pt x="94" y="153"/>
                      <a:pt x="94" y="153"/>
                      <a:pt x="94" y="153"/>
                    </a:cubicBezTo>
                    <a:cubicBezTo>
                      <a:pt x="98" y="155"/>
                      <a:pt x="102" y="158"/>
                      <a:pt x="107" y="160"/>
                    </a:cubicBezTo>
                    <a:cubicBezTo>
                      <a:pt x="106" y="162"/>
                      <a:pt x="106" y="162"/>
                      <a:pt x="106" y="162"/>
                    </a:cubicBezTo>
                    <a:cubicBezTo>
                      <a:pt x="114" y="165"/>
                      <a:pt x="114" y="165"/>
                      <a:pt x="114" y="165"/>
                    </a:cubicBezTo>
                    <a:cubicBezTo>
                      <a:pt x="153" y="181"/>
                      <a:pt x="153" y="181"/>
                      <a:pt x="153" y="181"/>
                    </a:cubicBezTo>
                    <a:cubicBezTo>
                      <a:pt x="159" y="184"/>
                      <a:pt x="165" y="186"/>
                      <a:pt x="171" y="188"/>
                    </a:cubicBezTo>
                    <a:cubicBezTo>
                      <a:pt x="359" y="188"/>
                      <a:pt x="359" y="188"/>
                      <a:pt x="359" y="188"/>
                    </a:cubicBezTo>
                    <a:cubicBezTo>
                      <a:pt x="362" y="179"/>
                      <a:pt x="363" y="170"/>
                      <a:pt x="363" y="161"/>
                    </a:cubicBezTo>
                    <a:cubicBezTo>
                      <a:pt x="363" y="155"/>
                      <a:pt x="363" y="155"/>
                      <a:pt x="363" y="155"/>
                    </a:cubicBezTo>
                    <a:lnTo>
                      <a:pt x="262" y="120"/>
                    </a:lnTo>
                    <a:close/>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67" name="Freeform 130">
                <a:extLst>
                  <a:ext uri="{FF2B5EF4-FFF2-40B4-BE49-F238E27FC236}">
                    <a16:creationId xmlns:a16="http://schemas.microsoft.com/office/drawing/2014/main" id="{C2084772-439C-4B18-90C1-F504AFBAC7A0}"/>
                  </a:ext>
                </a:extLst>
              </p:cNvPr>
              <p:cNvSpPr>
                <a:spLocks/>
              </p:cNvSpPr>
              <p:nvPr/>
            </p:nvSpPr>
            <p:spPr bwMode="auto">
              <a:xfrm>
                <a:off x="6737202" y="3795616"/>
                <a:ext cx="201432" cy="37941"/>
              </a:xfrm>
              <a:custGeom>
                <a:avLst/>
                <a:gdLst>
                  <a:gd name="T0" fmla="*/ 32 w 220"/>
                  <a:gd name="T1" fmla="*/ 18 h 42"/>
                  <a:gd name="T2" fmla="*/ 75 w 220"/>
                  <a:gd name="T3" fmla="*/ 35 h 42"/>
                  <a:gd name="T4" fmla="*/ 93 w 220"/>
                  <a:gd name="T5" fmla="*/ 42 h 42"/>
                  <a:gd name="T6" fmla="*/ 220 w 220"/>
                  <a:gd name="T7" fmla="*/ 42 h 42"/>
                  <a:gd name="T8" fmla="*/ 185 w 220"/>
                  <a:gd name="T9" fmla="*/ 29 h 42"/>
                  <a:gd name="T10" fmla="*/ 140 w 220"/>
                  <a:gd name="T11" fmla="*/ 21 h 42"/>
                  <a:gd name="T12" fmla="*/ 104 w 220"/>
                  <a:gd name="T13" fmla="*/ 20 h 42"/>
                  <a:gd name="T14" fmla="*/ 59 w 220"/>
                  <a:gd name="T15" fmla="*/ 15 h 42"/>
                  <a:gd name="T16" fmla="*/ 0 w 220"/>
                  <a:gd name="T17" fmla="*/ 0 h 42"/>
                  <a:gd name="T18" fmla="*/ 25 w 220"/>
                  <a:gd name="T19" fmla="*/ 15 h 42"/>
                  <a:gd name="T20" fmla="*/ 32 w 220"/>
                  <a:gd name="T21"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42">
                    <a:moveTo>
                      <a:pt x="32" y="18"/>
                    </a:moveTo>
                    <a:cubicBezTo>
                      <a:pt x="75" y="35"/>
                      <a:pt x="75" y="35"/>
                      <a:pt x="75" y="35"/>
                    </a:cubicBezTo>
                    <a:cubicBezTo>
                      <a:pt x="81" y="38"/>
                      <a:pt x="87" y="40"/>
                      <a:pt x="93" y="42"/>
                    </a:cubicBezTo>
                    <a:cubicBezTo>
                      <a:pt x="220" y="42"/>
                      <a:pt x="220" y="42"/>
                      <a:pt x="220" y="42"/>
                    </a:cubicBezTo>
                    <a:cubicBezTo>
                      <a:pt x="185" y="29"/>
                      <a:pt x="185" y="29"/>
                      <a:pt x="185" y="29"/>
                    </a:cubicBezTo>
                    <a:cubicBezTo>
                      <a:pt x="171" y="24"/>
                      <a:pt x="155" y="21"/>
                      <a:pt x="140" y="21"/>
                    </a:cubicBezTo>
                    <a:cubicBezTo>
                      <a:pt x="104" y="20"/>
                      <a:pt x="104" y="20"/>
                      <a:pt x="104" y="20"/>
                    </a:cubicBezTo>
                    <a:cubicBezTo>
                      <a:pt x="89" y="20"/>
                      <a:pt x="74" y="18"/>
                      <a:pt x="59" y="15"/>
                    </a:cubicBezTo>
                    <a:cubicBezTo>
                      <a:pt x="0" y="0"/>
                      <a:pt x="0" y="0"/>
                      <a:pt x="0" y="0"/>
                    </a:cubicBezTo>
                    <a:cubicBezTo>
                      <a:pt x="25" y="15"/>
                      <a:pt x="25" y="15"/>
                      <a:pt x="25" y="15"/>
                    </a:cubicBezTo>
                    <a:cubicBezTo>
                      <a:pt x="27" y="16"/>
                      <a:pt x="29" y="17"/>
                      <a:pt x="32" y="18"/>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377" name="TextBox 376">
              <a:extLst>
                <a:ext uri="{FF2B5EF4-FFF2-40B4-BE49-F238E27FC236}">
                  <a16:creationId xmlns:a16="http://schemas.microsoft.com/office/drawing/2014/main" id="{06C182A8-6657-4C05-952B-B411E379E212}"/>
                </a:ext>
              </a:extLst>
            </p:cNvPr>
            <p:cNvSpPr txBox="1"/>
            <p:nvPr/>
          </p:nvSpPr>
          <p:spPr>
            <a:xfrm>
              <a:off x="3417025" y="4748020"/>
              <a:ext cx="2535518" cy="1509904"/>
            </a:xfrm>
            <a:prstGeom prst="rect">
              <a:avLst/>
            </a:prstGeom>
            <a:solidFill>
              <a:schemeClr val="bg1">
                <a:lumMod val="95000"/>
              </a:schemeClr>
            </a:solidFill>
            <a:ln w="6350">
              <a:solidFill>
                <a:schemeClr val="bg1">
                  <a:lumMod val="95000"/>
                </a:schemeClr>
              </a:solidFill>
            </a:ln>
          </p:spPr>
          <p:txBody>
            <a:bodyPr wrap="square" lIns="91440" tIns="182880" rIns="91440" bIns="73152" rtlCol="0" anchor="t">
              <a:noAutofit/>
            </a:bodyPr>
            <a:lstStyle/>
            <a:p>
              <a:pPr marL="0" lvl="1" algn="ctr" defTabSz="914367">
                <a:spcBef>
                  <a:spcPts val="600"/>
                </a:spcBef>
                <a:buSzPct val="100000"/>
                <a:defRPr/>
              </a:pPr>
              <a:r>
                <a:rPr lang="en-US" sz="1600">
                  <a:cs typeface="Segoe UI"/>
                </a:rPr>
                <a:t>Reverse connect technology eliminates the need to open inbound ports to the VMs</a:t>
              </a:r>
            </a:p>
          </p:txBody>
        </p:sp>
        <p:sp>
          <p:nvSpPr>
            <p:cNvPr id="401" name="TextBox 400">
              <a:extLst>
                <a:ext uri="{FF2B5EF4-FFF2-40B4-BE49-F238E27FC236}">
                  <a16:creationId xmlns:a16="http://schemas.microsoft.com/office/drawing/2014/main" id="{523ABB48-3836-438C-84FE-4C4BA66731A0}"/>
                </a:ext>
              </a:extLst>
            </p:cNvPr>
            <p:cNvSpPr txBox="1"/>
            <p:nvPr/>
          </p:nvSpPr>
          <p:spPr>
            <a:xfrm>
              <a:off x="586503" y="4748020"/>
              <a:ext cx="2535518" cy="1509904"/>
            </a:xfrm>
            <a:prstGeom prst="rect">
              <a:avLst/>
            </a:prstGeom>
            <a:solidFill>
              <a:schemeClr val="bg1">
                <a:lumMod val="95000"/>
              </a:schemeClr>
            </a:solidFill>
            <a:ln w="6350">
              <a:solidFill>
                <a:schemeClr val="bg1">
                  <a:lumMod val="95000"/>
                </a:schemeClr>
              </a:solidFill>
            </a:ln>
          </p:spPr>
          <p:txBody>
            <a:bodyPr wrap="square" lIns="91440" tIns="182880" rIns="91440" bIns="73152" rtlCol="0" anchor="t">
              <a:noAutofit/>
            </a:bodyPr>
            <a:lstStyle/>
            <a:p>
              <a:pPr marL="0" lvl="1" algn="ctr" defTabSz="914367">
                <a:spcBef>
                  <a:spcPts val="600"/>
                </a:spcBef>
                <a:buSzPct val="100000"/>
                <a:defRPr/>
              </a:pPr>
              <a:r>
                <a:rPr lang="en-US" sz="1600">
                  <a:cs typeface="Times New Roman" panose="02020603050405020304" pitchFamily="18" charset="0"/>
                </a:rPr>
                <a:t>Sophisticated security services easily configured through Azure AD (e.g. MFA, CA, etc.)</a:t>
              </a:r>
            </a:p>
          </p:txBody>
        </p:sp>
        <p:sp>
          <p:nvSpPr>
            <p:cNvPr id="405" name="TextBox 404">
              <a:extLst>
                <a:ext uri="{FF2B5EF4-FFF2-40B4-BE49-F238E27FC236}">
                  <a16:creationId xmlns:a16="http://schemas.microsoft.com/office/drawing/2014/main" id="{BFB4AA1A-70D1-4DD0-9BCE-6A9036C5AD49}"/>
                </a:ext>
              </a:extLst>
            </p:cNvPr>
            <p:cNvSpPr txBox="1"/>
            <p:nvPr/>
          </p:nvSpPr>
          <p:spPr>
            <a:xfrm>
              <a:off x="6247071" y="4748020"/>
              <a:ext cx="2535518" cy="1509904"/>
            </a:xfrm>
            <a:prstGeom prst="rect">
              <a:avLst/>
            </a:prstGeom>
            <a:solidFill>
              <a:schemeClr val="bg1">
                <a:lumMod val="95000"/>
              </a:schemeClr>
            </a:solidFill>
            <a:ln w="6350">
              <a:solidFill>
                <a:schemeClr val="bg1">
                  <a:lumMod val="95000"/>
                </a:schemeClr>
              </a:solidFill>
            </a:ln>
          </p:spPr>
          <p:txBody>
            <a:bodyPr wrap="square" lIns="91440" tIns="182880" rIns="91440" bIns="73152" rtlCol="0" anchor="t">
              <a:noAutofit/>
            </a:bodyPr>
            <a:lstStyle>
              <a:defPPr>
                <a:defRPr lang="en-US"/>
              </a:defPPr>
              <a:lvl2pPr marL="231775" lvl="1" indent="-231775" defTabSz="914367">
                <a:spcBef>
                  <a:spcPts val="200"/>
                </a:spcBef>
                <a:spcAft>
                  <a:spcPts val="400"/>
                </a:spcAft>
                <a:buSzPct val="100000"/>
                <a:buFont typeface="Arial" panose="020B0604020202020204" pitchFamily="34" charset="0"/>
                <a:buChar char="•"/>
              </a:lvl2pPr>
            </a:lstStyle>
            <a:p>
              <a:pPr lvl="0" algn="ctr">
                <a:spcBef>
                  <a:spcPts val="600"/>
                </a:spcBef>
                <a:defRPr/>
              </a:pPr>
              <a:r>
                <a:rPr lang="en-US" sz="1600"/>
                <a:t>Multiple admins can be assigned role-based access control </a:t>
              </a:r>
            </a:p>
          </p:txBody>
        </p:sp>
        <p:sp>
          <p:nvSpPr>
            <p:cNvPr id="220" name="TextBox 219">
              <a:extLst>
                <a:ext uri="{FF2B5EF4-FFF2-40B4-BE49-F238E27FC236}">
                  <a16:creationId xmlns:a16="http://schemas.microsoft.com/office/drawing/2014/main" id="{3B2A8744-8E50-4F8E-B923-17A763C20C80}"/>
                </a:ext>
              </a:extLst>
            </p:cNvPr>
            <p:cNvSpPr txBox="1"/>
            <p:nvPr/>
          </p:nvSpPr>
          <p:spPr>
            <a:xfrm>
              <a:off x="9075834" y="4748020"/>
              <a:ext cx="2535518" cy="1509904"/>
            </a:xfrm>
            <a:prstGeom prst="rect">
              <a:avLst/>
            </a:prstGeom>
            <a:solidFill>
              <a:schemeClr val="bg1">
                <a:lumMod val="95000"/>
              </a:schemeClr>
            </a:solidFill>
            <a:ln w="6350">
              <a:solidFill>
                <a:schemeClr val="bg1">
                  <a:lumMod val="95000"/>
                </a:schemeClr>
              </a:solidFill>
            </a:ln>
          </p:spPr>
          <p:txBody>
            <a:bodyPr wrap="square" lIns="91440" tIns="182880" rIns="91440" bIns="73152" rtlCol="0" anchor="t">
              <a:noAutofit/>
            </a:bodyPr>
            <a:lstStyle>
              <a:defPPr>
                <a:defRPr lang="en-US"/>
              </a:defPPr>
              <a:lvl2pPr marL="231775" lvl="1" indent="-231775" defTabSz="914367">
                <a:spcBef>
                  <a:spcPts val="200"/>
                </a:spcBef>
                <a:spcAft>
                  <a:spcPts val="400"/>
                </a:spcAft>
                <a:buSzPct val="100000"/>
                <a:buFont typeface="Arial" panose="020B0604020202020204" pitchFamily="34" charset="0"/>
                <a:buChar char="•"/>
              </a:lvl2pPr>
            </a:lstStyle>
            <a:p>
              <a:pPr lvl="0" algn="ctr">
                <a:spcBef>
                  <a:spcPts val="600"/>
                </a:spcBef>
                <a:defRPr/>
              </a:pPr>
              <a:r>
                <a:rPr lang="en-US" sz="1600"/>
                <a:t>Isolated user sessions in both single and multi-session environments</a:t>
              </a:r>
            </a:p>
          </p:txBody>
        </p:sp>
      </p:grpSp>
      <p:grpSp>
        <p:nvGrpSpPr>
          <p:cNvPr id="360" name="Group 359">
            <a:extLst>
              <a:ext uri="{FF2B5EF4-FFF2-40B4-BE49-F238E27FC236}">
                <a16:creationId xmlns:a16="http://schemas.microsoft.com/office/drawing/2014/main" id="{47643732-5C55-4032-957A-9331716F182F}"/>
              </a:ext>
            </a:extLst>
          </p:cNvPr>
          <p:cNvGrpSpPr/>
          <p:nvPr/>
        </p:nvGrpSpPr>
        <p:grpSpPr>
          <a:xfrm>
            <a:off x="10052458" y="146014"/>
            <a:ext cx="2033626" cy="1015650"/>
            <a:chOff x="10052458" y="146014"/>
            <a:chExt cx="2033626" cy="1015650"/>
          </a:xfrm>
        </p:grpSpPr>
        <p:pic>
          <p:nvPicPr>
            <p:cNvPr id="364" name="Picture 363">
              <a:extLst>
                <a:ext uri="{FF2B5EF4-FFF2-40B4-BE49-F238E27FC236}">
                  <a16:creationId xmlns:a16="http://schemas.microsoft.com/office/drawing/2014/main" id="{979CF8CA-5E9D-4749-A315-8E401E51FB7F}"/>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365" name="Rectangle 364">
              <a:extLst>
                <a:ext uri="{FF2B5EF4-FFF2-40B4-BE49-F238E27FC236}">
                  <a16:creationId xmlns:a16="http://schemas.microsoft.com/office/drawing/2014/main" id="{09756D61-F59E-46EA-8E34-BA957132C885}"/>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a:solidFill>
                    <a:srgbClr val="000000"/>
                  </a:solidFill>
                  <a:latin typeface="Segoe UI Semibold"/>
                  <a:cs typeface="Segoe UI" pitchFamily="34" charset="0"/>
                </a:rPr>
                <a:t>Enhanced Security</a:t>
              </a:r>
            </a:p>
          </p:txBody>
        </p:sp>
      </p:grpSp>
    </p:spTree>
    <p:extLst>
      <p:ext uri="{BB962C8B-B14F-4D97-AF65-F5344CB8AC3E}">
        <p14:creationId xmlns:p14="http://schemas.microsoft.com/office/powerpoint/2010/main" val="46296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0648127-451F-452A-B35D-C0FE4CB8C9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8"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70648127-451F-452A-B35D-C0FE4CB8C92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B20889D-250F-4CB6-9ED2-EBAB683426EE}"/>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 name="Title 2">
            <a:extLst>
              <a:ext uri="{FF2B5EF4-FFF2-40B4-BE49-F238E27FC236}">
                <a16:creationId xmlns:a16="http://schemas.microsoft.com/office/drawing/2014/main" id="{23498999-B371-4B0E-903A-5726EAB804DC}"/>
              </a:ext>
            </a:extLst>
          </p:cNvPr>
          <p:cNvSpPr>
            <a:spLocks noGrp="1"/>
          </p:cNvSpPr>
          <p:nvPr>
            <p:ph type="title"/>
          </p:nvPr>
        </p:nvSpPr>
        <p:spPr/>
        <p:txBody>
          <a:bodyPr/>
          <a:lstStyle/>
          <a:p>
            <a:r>
              <a:rPr lang="en-US" dirty="0"/>
              <a:t>Default Values (Microsoft Guidance) for WVD Cost Estimation</a:t>
            </a:r>
          </a:p>
        </p:txBody>
      </p:sp>
      <p:graphicFrame>
        <p:nvGraphicFramePr>
          <p:cNvPr id="7" name="Table 6">
            <a:extLst>
              <a:ext uri="{FF2B5EF4-FFF2-40B4-BE49-F238E27FC236}">
                <a16:creationId xmlns:a16="http://schemas.microsoft.com/office/drawing/2014/main" id="{720AFA52-67B7-428D-856B-3DB863A3A21B}"/>
              </a:ext>
            </a:extLst>
          </p:cNvPr>
          <p:cNvGraphicFramePr>
            <a:graphicFrameLocks noGrp="1"/>
          </p:cNvGraphicFramePr>
          <p:nvPr>
            <p:extLst>
              <p:ext uri="{D42A27DB-BD31-4B8C-83A1-F6EECF244321}">
                <p14:modId xmlns:p14="http://schemas.microsoft.com/office/powerpoint/2010/main" val="9499008"/>
              </p:ext>
            </p:extLst>
          </p:nvPr>
        </p:nvGraphicFramePr>
        <p:xfrm>
          <a:off x="588263" y="1252830"/>
          <a:ext cx="11036808" cy="5178552"/>
        </p:xfrm>
        <a:graphic>
          <a:graphicData uri="http://schemas.openxmlformats.org/drawingml/2006/table">
            <a:tbl>
              <a:tblPr/>
              <a:tblGrid>
                <a:gridCol w="3607219">
                  <a:extLst>
                    <a:ext uri="{9D8B030D-6E8A-4147-A177-3AD203B41FA5}">
                      <a16:colId xmlns:a16="http://schemas.microsoft.com/office/drawing/2014/main" val="2886341376"/>
                    </a:ext>
                  </a:extLst>
                </a:gridCol>
                <a:gridCol w="1699709">
                  <a:extLst>
                    <a:ext uri="{9D8B030D-6E8A-4147-A177-3AD203B41FA5}">
                      <a16:colId xmlns:a16="http://schemas.microsoft.com/office/drawing/2014/main" val="3533701701"/>
                    </a:ext>
                  </a:extLst>
                </a:gridCol>
                <a:gridCol w="2130014">
                  <a:extLst>
                    <a:ext uri="{9D8B030D-6E8A-4147-A177-3AD203B41FA5}">
                      <a16:colId xmlns:a16="http://schemas.microsoft.com/office/drawing/2014/main" val="1317578029"/>
                    </a:ext>
                  </a:extLst>
                </a:gridCol>
                <a:gridCol w="1880794">
                  <a:extLst>
                    <a:ext uri="{9D8B030D-6E8A-4147-A177-3AD203B41FA5}">
                      <a16:colId xmlns:a16="http://schemas.microsoft.com/office/drawing/2014/main" val="3797169287"/>
                    </a:ext>
                  </a:extLst>
                </a:gridCol>
                <a:gridCol w="1719072">
                  <a:extLst>
                    <a:ext uri="{9D8B030D-6E8A-4147-A177-3AD203B41FA5}">
                      <a16:colId xmlns:a16="http://schemas.microsoft.com/office/drawing/2014/main" val="3706383620"/>
                    </a:ext>
                  </a:extLst>
                </a:gridCol>
              </a:tblGrid>
              <a:tr h="0">
                <a:tc>
                  <a:txBody>
                    <a:bodyPr/>
                    <a:lstStyle/>
                    <a:p>
                      <a:pPr algn="l" fontAlgn="b"/>
                      <a:r>
                        <a:rPr lang="en-US" sz="1600" b="1" i="0" u="none" strike="noStrike" dirty="0">
                          <a:solidFill>
                            <a:schemeClr val="bg1"/>
                          </a:solidFill>
                          <a:effectLst/>
                          <a:latin typeface="+mn-lt"/>
                        </a:rPr>
                        <a:t>User Type Profiles</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b="1" i="0" u="none" strike="noStrike" dirty="0">
                          <a:solidFill>
                            <a:schemeClr val="bg1"/>
                          </a:solidFill>
                          <a:effectLst/>
                          <a:latin typeface="+mn-lt"/>
                        </a:rPr>
                        <a:t>Light</a:t>
                      </a:r>
                    </a:p>
                  </a:txBody>
                  <a:tcPr marL="54864" marR="5486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b="1" i="0" u="none" strike="noStrike" dirty="0">
                          <a:solidFill>
                            <a:schemeClr val="bg1"/>
                          </a:solidFill>
                          <a:effectLst/>
                          <a:latin typeface="+mn-lt"/>
                        </a:rPr>
                        <a:t>Medium</a:t>
                      </a:r>
                    </a:p>
                  </a:txBody>
                  <a:tcPr marL="54864" marR="5486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b="1" i="0" u="none" strike="noStrike" dirty="0">
                          <a:solidFill>
                            <a:schemeClr val="bg1"/>
                          </a:solidFill>
                          <a:effectLst/>
                          <a:latin typeface="+mn-lt"/>
                        </a:rPr>
                        <a:t>Heavy</a:t>
                      </a:r>
                    </a:p>
                  </a:txBody>
                  <a:tcPr marL="54864" marR="5486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b="1" i="0" u="none" strike="noStrike" dirty="0">
                          <a:solidFill>
                            <a:schemeClr val="bg1"/>
                          </a:solidFill>
                          <a:effectLst/>
                          <a:latin typeface="+mn-lt"/>
                        </a:rPr>
                        <a:t>Heavy Graphics</a:t>
                      </a:r>
                    </a:p>
                  </a:txBody>
                  <a:tcPr marL="54864" marR="54864"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5234486"/>
                  </a:ext>
                </a:extLst>
              </a:tr>
              <a:tr h="0">
                <a:tc>
                  <a:txBody>
                    <a:bodyPr/>
                    <a:lstStyle/>
                    <a:p>
                      <a:pPr algn="l" fontAlgn="ctr"/>
                      <a:r>
                        <a:rPr lang="en-US" sz="1400" b="0" i="0" u="none" strike="noStrike" dirty="0">
                          <a:solidFill>
                            <a:srgbClr val="000000"/>
                          </a:solidFill>
                          <a:effectLst/>
                          <a:latin typeface="+mn-lt"/>
                        </a:rPr>
                        <a:t>Description</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algn="l" fontAlgn="t"/>
                      <a:r>
                        <a:rPr lang="en-US" sz="1400" b="0" i="0" u="none" strike="noStrike" dirty="0">
                          <a:solidFill>
                            <a:srgbClr val="000000"/>
                          </a:solidFill>
                          <a:effectLst/>
                          <a:latin typeface="+mn-lt"/>
                        </a:rPr>
                        <a:t>Ideal for lightweight use cases with such as data entry and call center apps.</a:t>
                      </a:r>
                    </a:p>
                  </a:txBody>
                  <a:tcPr marL="54864" marR="54864" marB="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algn="l" fontAlgn="t"/>
                      <a:r>
                        <a:rPr lang="en-US" sz="1400" b="0" i="0" u="none" strike="noStrike" dirty="0">
                          <a:solidFill>
                            <a:srgbClr val="000000"/>
                          </a:solidFill>
                          <a:effectLst/>
                          <a:latin typeface="+mn-lt"/>
                        </a:rPr>
                        <a:t>Ideal for basic Microsoft Office apps such as Word and Excel, as well as database apps.</a:t>
                      </a:r>
                    </a:p>
                  </a:txBody>
                  <a:tcPr marL="54864" marR="54864" marB="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algn="l" fontAlgn="t"/>
                      <a:r>
                        <a:rPr lang="en-US" sz="1400" b="0" i="0" u="none" strike="noStrike" dirty="0">
                          <a:solidFill>
                            <a:srgbClr val="000000"/>
                          </a:solidFill>
                          <a:effectLst/>
                          <a:latin typeface="+mn-lt"/>
                        </a:rPr>
                        <a:t>Ideal for more intensive workloads such as development or engineering.</a:t>
                      </a:r>
                    </a:p>
                  </a:txBody>
                  <a:tcPr marL="54864" marR="54864" marB="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algn="l" fontAlgn="t"/>
                      <a:r>
                        <a:rPr lang="en-US" sz="1400" b="0" i="0" u="none" strike="noStrike" dirty="0">
                          <a:solidFill>
                            <a:srgbClr val="000000"/>
                          </a:solidFill>
                          <a:effectLst/>
                          <a:latin typeface="+mn-lt"/>
                        </a:rPr>
                        <a:t>Ideal for graphics intensive apps such as 3D CAD and Adobe Photoshop.</a:t>
                      </a:r>
                    </a:p>
                  </a:txBody>
                  <a:tcPr marL="54864" marR="54864" marB="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17617874"/>
                  </a:ext>
                </a:extLst>
              </a:tr>
              <a:tr h="0">
                <a:tc>
                  <a:txBody>
                    <a:bodyPr/>
                    <a:lstStyle/>
                    <a:p>
                      <a:pPr algn="l" fontAlgn="ctr"/>
                      <a:r>
                        <a:rPr lang="en-US" sz="1400" b="0" i="0" u="none" strike="noStrike" dirty="0">
                          <a:solidFill>
                            <a:srgbClr val="000000"/>
                          </a:solidFill>
                          <a:effectLst/>
                          <a:latin typeface="+mn-lt"/>
                        </a:rPr>
                        <a:t>VM Instance (Default) Multi-session</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8s v3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8s v3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8s v3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NV6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62206280"/>
                  </a:ext>
                </a:extLst>
              </a:tr>
              <a:tr h="0">
                <a:tc>
                  <a:txBody>
                    <a:bodyPr/>
                    <a:lstStyle/>
                    <a:p>
                      <a:pPr algn="l" fontAlgn="ctr"/>
                      <a:r>
                        <a:rPr lang="en-US" sz="1400" b="0" i="0" u="none" strike="noStrike" dirty="0">
                          <a:solidFill>
                            <a:srgbClr val="000000"/>
                          </a:solidFill>
                          <a:effectLst/>
                          <a:latin typeface="+mn-lt"/>
                        </a:rPr>
                        <a:t>VM Instance (Default) Single-session</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2s v3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2s v3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2s v3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NV6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45567790"/>
                  </a:ext>
                </a:extLst>
              </a:tr>
              <a:tr h="0">
                <a:tc>
                  <a:txBody>
                    <a:bodyPr/>
                    <a:lstStyle/>
                    <a:p>
                      <a:pPr algn="l" fontAlgn="ctr"/>
                      <a:r>
                        <a:rPr lang="en-US" sz="1400" b="0" i="0" u="none" strike="noStrike" dirty="0">
                          <a:solidFill>
                            <a:srgbClr val="000000"/>
                          </a:solidFill>
                          <a:effectLst/>
                          <a:latin typeface="+mn-lt"/>
                        </a:rPr>
                        <a:t># users/vCPU (only valid for multi-session)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6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4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3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16106816"/>
                  </a:ext>
                </a:extLst>
              </a:tr>
              <a:tr h="0">
                <a:tc>
                  <a:txBody>
                    <a:bodyPr/>
                    <a:lstStyle/>
                    <a:p>
                      <a:pPr algn="l" fontAlgn="ctr"/>
                      <a:r>
                        <a:rPr lang="en-US" sz="1400" b="0" i="0" u="none" strike="noStrike" dirty="0">
                          <a:solidFill>
                            <a:srgbClr val="000000"/>
                          </a:solidFill>
                          <a:effectLst/>
                          <a:latin typeface="+mn-lt"/>
                        </a:rPr>
                        <a:t>OS Disk size (GB) required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27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27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27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27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47523917"/>
                  </a:ext>
                </a:extLst>
              </a:tr>
              <a:tr h="0">
                <a:tc>
                  <a:txBody>
                    <a:bodyPr/>
                    <a:lstStyle/>
                    <a:p>
                      <a:pPr algn="l" fontAlgn="ctr"/>
                      <a:r>
                        <a:rPr lang="en-US" sz="1400" b="0" i="0" u="none" strike="noStrike" dirty="0">
                          <a:solidFill>
                            <a:srgbClr val="000000"/>
                          </a:solidFill>
                          <a:effectLst/>
                          <a:latin typeface="+mn-lt"/>
                        </a:rPr>
                        <a:t># OS Disk per VM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14379492"/>
                  </a:ext>
                </a:extLst>
              </a:tr>
              <a:tr h="0">
                <a:tc>
                  <a:txBody>
                    <a:bodyPr/>
                    <a:lstStyle/>
                    <a:p>
                      <a:pPr algn="l" fontAlgn="ctr"/>
                      <a:r>
                        <a:rPr lang="en-US" sz="1400" b="0" i="0" u="none" strike="noStrike" dirty="0">
                          <a:solidFill>
                            <a:srgbClr val="000000"/>
                          </a:solidFill>
                          <a:effectLst/>
                          <a:latin typeface="+mn-lt"/>
                        </a:rPr>
                        <a:t>OS Disk Tier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96267199"/>
                  </a:ext>
                </a:extLst>
              </a:tr>
              <a:tr h="0">
                <a:tc>
                  <a:txBody>
                    <a:bodyPr/>
                    <a:lstStyle/>
                    <a:p>
                      <a:pPr algn="l" fontAlgn="ctr"/>
                      <a:r>
                        <a:rPr lang="en-US" sz="1400" b="0" i="0" u="none" strike="noStrike" dirty="0">
                          <a:solidFill>
                            <a:srgbClr val="000000"/>
                          </a:solidFill>
                          <a:effectLst/>
                          <a:latin typeface="+mn-lt"/>
                        </a:rPr>
                        <a:t>Profile Data Disk size (GB) required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0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0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0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0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64908989"/>
                  </a:ext>
                </a:extLst>
              </a:tr>
              <a:tr h="0">
                <a:tc>
                  <a:txBody>
                    <a:bodyPr/>
                    <a:lstStyle/>
                    <a:p>
                      <a:pPr algn="l" fontAlgn="ctr"/>
                      <a:r>
                        <a:rPr lang="en-US" sz="1400" b="0" i="0" u="none" strike="noStrike" dirty="0">
                          <a:solidFill>
                            <a:srgbClr val="000000"/>
                          </a:solidFill>
                          <a:effectLst/>
                          <a:latin typeface="+mn-lt"/>
                        </a:rPr>
                        <a:t>Storage GB/user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48723042"/>
                  </a:ext>
                </a:extLst>
              </a:tr>
              <a:tr h="0">
                <a:tc>
                  <a:txBody>
                    <a:bodyPr/>
                    <a:lstStyle/>
                    <a:p>
                      <a:pPr algn="l" fontAlgn="ctr"/>
                      <a:r>
                        <a:rPr lang="en-US" sz="1400" b="0" i="0" u="none" strike="noStrike" dirty="0">
                          <a:solidFill>
                            <a:srgbClr val="000000"/>
                          </a:solidFill>
                          <a:effectLst/>
                          <a:latin typeface="+mn-lt"/>
                        </a:rPr>
                        <a:t>Storage Option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Azure NetApp Files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Azure NetApp Files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Azure NetApp Files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Azure NetApp Files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71469488"/>
                  </a:ext>
                </a:extLst>
              </a:tr>
              <a:tr h="0">
                <a:tc>
                  <a:txBody>
                    <a:bodyPr/>
                    <a:lstStyle/>
                    <a:p>
                      <a:pPr algn="l" fontAlgn="ctr"/>
                      <a:r>
                        <a:rPr lang="en-US" sz="1400" b="0" i="0" u="none" strike="noStrike" dirty="0">
                          <a:solidFill>
                            <a:srgbClr val="000000"/>
                          </a:solidFill>
                          <a:effectLst/>
                          <a:latin typeface="+mn-lt"/>
                        </a:rPr>
                        <a:t>Storage Tier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Standard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Standard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Standard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Standard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43365407"/>
                  </a:ext>
                </a:extLst>
              </a:tr>
              <a:tr h="0">
                <a:tc>
                  <a:txBody>
                    <a:bodyPr/>
                    <a:lstStyle/>
                    <a:p>
                      <a:pPr algn="l" fontAlgn="ctr"/>
                      <a:r>
                        <a:rPr lang="en-US" sz="1400" b="0" i="0" u="none" strike="noStrike" dirty="0">
                          <a:solidFill>
                            <a:srgbClr val="000000"/>
                          </a:solidFill>
                          <a:effectLst/>
                          <a:latin typeface="+mn-lt"/>
                        </a:rPr>
                        <a:t>Profile Data Disk Tier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8740039"/>
                  </a:ext>
                </a:extLst>
              </a:tr>
              <a:tr h="0">
                <a:tc>
                  <a:txBody>
                    <a:bodyPr/>
                    <a:lstStyle/>
                    <a:p>
                      <a:pPr algn="l" fontAlgn="ctr"/>
                      <a:r>
                        <a:rPr lang="en-US" sz="1400" b="0" i="0" u="none" strike="noStrike" dirty="0">
                          <a:solidFill>
                            <a:srgbClr val="000000"/>
                          </a:solidFill>
                          <a:effectLst/>
                          <a:latin typeface="+mn-lt"/>
                        </a:rPr>
                        <a:t>Network egress (Default kbps per user)</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75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5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50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00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1881931"/>
                  </a:ext>
                </a:extLst>
              </a:tr>
            </a:tbl>
          </a:graphicData>
        </a:graphic>
      </p:graphicFrame>
    </p:spTree>
    <p:extLst>
      <p:ext uri="{BB962C8B-B14F-4D97-AF65-F5344CB8AC3E}">
        <p14:creationId xmlns:p14="http://schemas.microsoft.com/office/powerpoint/2010/main" val="144963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9EFB82-C37D-4E44-B6CD-F7507BAD15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6" imgW="503" imgH="503" progId="TCLayout.ActiveDocument.1">
                  <p:embed/>
                </p:oleObj>
              </mc:Choice>
              <mc:Fallback>
                <p:oleObj name="think-cell Slide" r:id="rId6" imgW="503" imgH="503" progId="TCLayout.ActiveDocument.1">
                  <p:embed/>
                  <p:pic>
                    <p:nvPicPr>
                      <p:cNvPr id="5" name="Object 4" hidden="1">
                        <a:extLst>
                          <a:ext uri="{FF2B5EF4-FFF2-40B4-BE49-F238E27FC236}">
                            <a16:creationId xmlns:a16="http://schemas.microsoft.com/office/drawing/2014/main" id="{F79EFB82-C37D-4E44-B6CD-F7507BAD150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B41474-0946-469A-8070-01072C2FD298}"/>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767" name="TextBox 766">
            <a:extLst>
              <a:ext uri="{FF2B5EF4-FFF2-40B4-BE49-F238E27FC236}">
                <a16:creationId xmlns:a16="http://schemas.microsoft.com/office/drawing/2014/main" id="{7566E713-BA17-4158-AB17-D3A5EE62FF1C}"/>
              </a:ext>
            </a:extLst>
          </p:cNvPr>
          <p:cNvSpPr txBox="1"/>
          <p:nvPr/>
        </p:nvSpPr>
        <p:spPr>
          <a:xfrm>
            <a:off x="8129024" y="2445889"/>
            <a:ext cx="3474720" cy="2241277"/>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a:endParaRPr lang="en-US" sz="2400" b="1">
              <a:solidFill>
                <a:schemeClr val="bg1"/>
              </a:solidFill>
            </a:endParaRPr>
          </a:p>
        </p:txBody>
      </p:sp>
      <p:sp>
        <p:nvSpPr>
          <p:cNvPr id="317" name="TextBox 316">
            <a:extLst>
              <a:ext uri="{FF2B5EF4-FFF2-40B4-BE49-F238E27FC236}">
                <a16:creationId xmlns:a16="http://schemas.microsoft.com/office/drawing/2014/main" id="{BB171CD5-B1CB-460E-9703-102DAB528280}"/>
              </a:ext>
            </a:extLst>
          </p:cNvPr>
          <p:cNvSpPr txBox="1"/>
          <p:nvPr/>
        </p:nvSpPr>
        <p:spPr>
          <a:xfrm>
            <a:off x="586501" y="2445889"/>
            <a:ext cx="3474720" cy="2241277"/>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a:endParaRPr lang="en-US" sz="2400" b="1">
              <a:solidFill>
                <a:schemeClr val="bg1"/>
              </a:solidFill>
            </a:endParaRPr>
          </a:p>
        </p:txBody>
      </p:sp>
      <p:sp>
        <p:nvSpPr>
          <p:cNvPr id="4" name="Title 3">
            <a:extLst>
              <a:ext uri="{FF2B5EF4-FFF2-40B4-BE49-F238E27FC236}">
                <a16:creationId xmlns:a16="http://schemas.microsoft.com/office/drawing/2014/main" id="{BA2EB312-9B35-448A-A67B-E4CCDBFB407D}"/>
              </a:ext>
            </a:extLst>
          </p:cNvPr>
          <p:cNvSpPr>
            <a:spLocks noGrp="1"/>
          </p:cNvSpPr>
          <p:nvPr>
            <p:ph type="title"/>
          </p:nvPr>
        </p:nvSpPr>
        <p:spPr>
          <a:xfrm>
            <a:off x="588263" y="457200"/>
            <a:ext cx="11018520" cy="430887"/>
          </a:xfrm>
        </p:spPr>
        <p:txBody>
          <a:bodyPr/>
          <a:lstStyle/>
          <a:p>
            <a:r>
              <a:rPr lang="en-US"/>
              <a:t>Efficient and Simplified Management</a:t>
            </a:r>
          </a:p>
        </p:txBody>
      </p:sp>
      <p:sp>
        <p:nvSpPr>
          <p:cNvPr id="319" name="TextBox 318">
            <a:extLst>
              <a:ext uri="{FF2B5EF4-FFF2-40B4-BE49-F238E27FC236}">
                <a16:creationId xmlns:a16="http://schemas.microsoft.com/office/drawing/2014/main" id="{C54BC711-605A-414C-88AE-3264CE9CB0AB}"/>
              </a:ext>
            </a:extLst>
          </p:cNvPr>
          <p:cNvSpPr txBox="1"/>
          <p:nvPr/>
        </p:nvSpPr>
        <p:spPr>
          <a:xfrm>
            <a:off x="4357763" y="2445889"/>
            <a:ext cx="3474720" cy="2241277"/>
          </a:xfrm>
          <a:prstGeom prst="rect">
            <a:avLst/>
          </a:prstGeom>
          <a:noFill/>
          <a:ln w="6350">
            <a:solidFill>
              <a:schemeClr val="bg1">
                <a:lumMod val="75000"/>
              </a:schemeClr>
            </a:solidFill>
          </a:ln>
        </p:spPr>
        <p:txBody>
          <a:bodyPr wrap="square" lIns="0" tIns="0" rIns="0" bIns="0" rtlCol="0" anchor="ctr">
            <a:noAutofit/>
          </a:bodyPr>
          <a:lstStyle/>
          <a:p>
            <a:pPr algn="ctr"/>
            <a:endParaRPr lang="en-US" sz="2400" b="1">
              <a:solidFill>
                <a:schemeClr val="bg1"/>
              </a:solidFill>
            </a:endParaRPr>
          </a:p>
        </p:txBody>
      </p:sp>
      <p:sp>
        <p:nvSpPr>
          <p:cNvPr id="318" name="TextBox 317">
            <a:extLst>
              <a:ext uri="{FF2B5EF4-FFF2-40B4-BE49-F238E27FC236}">
                <a16:creationId xmlns:a16="http://schemas.microsoft.com/office/drawing/2014/main" id="{62A73716-D624-440D-9B57-4238AC1D96C5}"/>
              </a:ext>
            </a:extLst>
          </p:cNvPr>
          <p:cNvSpPr txBox="1"/>
          <p:nvPr/>
        </p:nvSpPr>
        <p:spPr>
          <a:xfrm>
            <a:off x="586501" y="1795781"/>
            <a:ext cx="3474720" cy="658683"/>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2000" b="1">
                <a:solidFill>
                  <a:schemeClr val="bg1"/>
                </a:solidFill>
              </a:rPr>
              <a:t>User Experience Management</a:t>
            </a:r>
          </a:p>
        </p:txBody>
      </p:sp>
      <p:sp>
        <p:nvSpPr>
          <p:cNvPr id="629" name="TextBox 628">
            <a:extLst>
              <a:ext uri="{FF2B5EF4-FFF2-40B4-BE49-F238E27FC236}">
                <a16:creationId xmlns:a16="http://schemas.microsoft.com/office/drawing/2014/main" id="{B883A530-9432-4D64-B3C6-4035DD756B62}"/>
              </a:ext>
            </a:extLst>
          </p:cNvPr>
          <p:cNvSpPr txBox="1"/>
          <p:nvPr/>
        </p:nvSpPr>
        <p:spPr>
          <a:xfrm>
            <a:off x="4357763" y="1795876"/>
            <a:ext cx="3474720" cy="658587"/>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2000" b="1">
                <a:solidFill>
                  <a:schemeClr val="bg1"/>
                </a:solidFill>
              </a:rPr>
              <a:t>VM </a:t>
            </a:r>
          </a:p>
          <a:p>
            <a:pPr algn="ctr"/>
            <a:r>
              <a:rPr lang="en-US" sz="2000" b="1">
                <a:solidFill>
                  <a:schemeClr val="bg1"/>
                </a:solidFill>
              </a:rPr>
              <a:t>Management</a:t>
            </a:r>
          </a:p>
        </p:txBody>
      </p:sp>
      <p:sp>
        <p:nvSpPr>
          <p:cNvPr id="769" name="TextBox 768">
            <a:extLst>
              <a:ext uri="{FF2B5EF4-FFF2-40B4-BE49-F238E27FC236}">
                <a16:creationId xmlns:a16="http://schemas.microsoft.com/office/drawing/2014/main" id="{53CB0267-EE4A-4703-83A7-CA4358EE31ED}"/>
              </a:ext>
            </a:extLst>
          </p:cNvPr>
          <p:cNvSpPr txBox="1"/>
          <p:nvPr/>
        </p:nvSpPr>
        <p:spPr>
          <a:xfrm>
            <a:off x="8129024" y="1795877"/>
            <a:ext cx="3474720" cy="650012"/>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2000" b="1">
                <a:solidFill>
                  <a:schemeClr val="bg1"/>
                </a:solidFill>
              </a:rPr>
              <a:t>WVD Service </a:t>
            </a:r>
          </a:p>
          <a:p>
            <a:pPr algn="ctr"/>
            <a:r>
              <a:rPr lang="en-US" sz="2000" b="1">
                <a:solidFill>
                  <a:schemeClr val="bg1"/>
                </a:solidFill>
              </a:rPr>
              <a:t>Management</a:t>
            </a:r>
          </a:p>
        </p:txBody>
      </p:sp>
      <p:grpSp>
        <p:nvGrpSpPr>
          <p:cNvPr id="20" name="Group 19">
            <a:extLst>
              <a:ext uri="{FF2B5EF4-FFF2-40B4-BE49-F238E27FC236}">
                <a16:creationId xmlns:a16="http://schemas.microsoft.com/office/drawing/2014/main" id="{3490D2B9-763B-409B-9968-2539D83DEF2A}"/>
              </a:ext>
            </a:extLst>
          </p:cNvPr>
          <p:cNvGrpSpPr/>
          <p:nvPr/>
        </p:nvGrpSpPr>
        <p:grpSpPr>
          <a:xfrm>
            <a:off x="5190725" y="2598282"/>
            <a:ext cx="1698883" cy="1985056"/>
            <a:chOff x="-3822623" y="6290521"/>
            <a:chExt cx="1873808" cy="2189447"/>
          </a:xfrm>
        </p:grpSpPr>
        <p:grpSp>
          <p:nvGrpSpPr>
            <p:cNvPr id="18" name="Group 17">
              <a:extLst>
                <a:ext uri="{FF2B5EF4-FFF2-40B4-BE49-F238E27FC236}">
                  <a16:creationId xmlns:a16="http://schemas.microsoft.com/office/drawing/2014/main" id="{5AE6B052-7BD8-4928-985A-D994BA11CDD3}"/>
                </a:ext>
              </a:extLst>
            </p:cNvPr>
            <p:cNvGrpSpPr/>
            <p:nvPr/>
          </p:nvGrpSpPr>
          <p:grpSpPr>
            <a:xfrm>
              <a:off x="-3608551" y="6290521"/>
              <a:ext cx="1588079" cy="1060512"/>
              <a:chOff x="-3561528" y="6516005"/>
              <a:chExt cx="1588079" cy="1060512"/>
            </a:xfrm>
          </p:grpSpPr>
          <p:sp>
            <p:nvSpPr>
              <p:cNvPr id="545" name="Freeform 586">
                <a:extLst>
                  <a:ext uri="{FF2B5EF4-FFF2-40B4-BE49-F238E27FC236}">
                    <a16:creationId xmlns:a16="http://schemas.microsoft.com/office/drawing/2014/main" id="{F4ED364A-0F8C-418B-BA18-FABB128D295F}"/>
                  </a:ext>
                </a:extLst>
              </p:cNvPr>
              <p:cNvSpPr>
                <a:spLocks/>
              </p:cNvSpPr>
              <p:nvPr/>
            </p:nvSpPr>
            <p:spPr bwMode="auto">
              <a:xfrm>
                <a:off x="-3451805" y="6636925"/>
                <a:ext cx="215416" cy="148239"/>
              </a:xfrm>
              <a:custGeom>
                <a:avLst/>
                <a:gdLst>
                  <a:gd name="T0" fmla="*/ 1362 w 1501"/>
                  <a:gd name="T1" fmla="*/ 755 h 1035"/>
                  <a:gd name="T2" fmla="*/ 1294 w 1501"/>
                  <a:gd name="T3" fmla="*/ 772 h 1035"/>
                  <a:gd name="T4" fmla="*/ 1362 w 1501"/>
                  <a:gd name="T5" fmla="*/ 517 h 1035"/>
                  <a:gd name="T6" fmla="*/ 844 w 1501"/>
                  <a:gd name="T7" fmla="*/ 0 h 1035"/>
                  <a:gd name="T8" fmla="*/ 327 w 1501"/>
                  <a:gd name="T9" fmla="*/ 517 h 1035"/>
                  <a:gd name="T10" fmla="*/ 330 w 1501"/>
                  <a:gd name="T11" fmla="*/ 567 h 1035"/>
                  <a:gd name="T12" fmla="*/ 242 w 1501"/>
                  <a:gd name="T13" fmla="*/ 550 h 1035"/>
                  <a:gd name="T14" fmla="*/ 0 w 1501"/>
                  <a:gd name="T15" fmla="*/ 793 h 1035"/>
                  <a:gd name="T16" fmla="*/ 242 w 1501"/>
                  <a:gd name="T17" fmla="*/ 1035 h 1035"/>
                  <a:gd name="T18" fmla="*/ 1362 w 1501"/>
                  <a:gd name="T19" fmla="*/ 1035 h 1035"/>
                  <a:gd name="T20" fmla="*/ 1501 w 1501"/>
                  <a:gd name="T21" fmla="*/ 895 h 1035"/>
                  <a:gd name="T22" fmla="*/ 1362 w 1501"/>
                  <a:gd name="T23" fmla="*/ 75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1" h="1035">
                    <a:moveTo>
                      <a:pt x="1362" y="755"/>
                    </a:moveTo>
                    <a:cubicBezTo>
                      <a:pt x="1337" y="755"/>
                      <a:pt x="1314" y="761"/>
                      <a:pt x="1294" y="772"/>
                    </a:cubicBezTo>
                    <a:cubicBezTo>
                      <a:pt x="1337" y="697"/>
                      <a:pt x="1362" y="610"/>
                      <a:pt x="1362" y="517"/>
                    </a:cubicBezTo>
                    <a:cubicBezTo>
                      <a:pt x="1362" y="232"/>
                      <a:pt x="1130" y="0"/>
                      <a:pt x="844" y="0"/>
                    </a:cubicBezTo>
                    <a:cubicBezTo>
                      <a:pt x="559" y="0"/>
                      <a:pt x="327" y="232"/>
                      <a:pt x="327" y="517"/>
                    </a:cubicBezTo>
                    <a:cubicBezTo>
                      <a:pt x="327" y="534"/>
                      <a:pt x="328" y="551"/>
                      <a:pt x="330" y="567"/>
                    </a:cubicBezTo>
                    <a:cubicBezTo>
                      <a:pt x="303" y="556"/>
                      <a:pt x="273" y="550"/>
                      <a:pt x="242" y="550"/>
                    </a:cubicBezTo>
                    <a:cubicBezTo>
                      <a:pt x="109" y="550"/>
                      <a:pt x="0" y="659"/>
                      <a:pt x="0" y="793"/>
                    </a:cubicBezTo>
                    <a:cubicBezTo>
                      <a:pt x="0" y="926"/>
                      <a:pt x="109" y="1035"/>
                      <a:pt x="242" y="1035"/>
                    </a:cubicBezTo>
                    <a:cubicBezTo>
                      <a:pt x="347" y="1035"/>
                      <a:pt x="1284" y="1035"/>
                      <a:pt x="1362" y="1035"/>
                    </a:cubicBezTo>
                    <a:cubicBezTo>
                      <a:pt x="1439" y="1035"/>
                      <a:pt x="1501" y="972"/>
                      <a:pt x="1501" y="895"/>
                    </a:cubicBezTo>
                    <a:cubicBezTo>
                      <a:pt x="1501" y="818"/>
                      <a:pt x="1439" y="755"/>
                      <a:pt x="1362" y="75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46" name="Freeform 587">
                <a:extLst>
                  <a:ext uri="{FF2B5EF4-FFF2-40B4-BE49-F238E27FC236}">
                    <a16:creationId xmlns:a16="http://schemas.microsoft.com/office/drawing/2014/main" id="{9C19C08F-55D6-42CE-996B-299F6BA4DED1}"/>
                  </a:ext>
                </a:extLst>
              </p:cNvPr>
              <p:cNvSpPr>
                <a:spLocks noEditPoints="1"/>
              </p:cNvSpPr>
              <p:nvPr/>
            </p:nvSpPr>
            <p:spPr bwMode="auto">
              <a:xfrm>
                <a:off x="-3561528" y="6516005"/>
                <a:ext cx="1588079" cy="883611"/>
              </a:xfrm>
              <a:custGeom>
                <a:avLst/>
                <a:gdLst>
                  <a:gd name="T0" fmla="*/ 10648 w 11064"/>
                  <a:gd name="T1" fmla="*/ 5333 h 6164"/>
                  <a:gd name="T2" fmla="*/ 10350 w 11064"/>
                  <a:gd name="T3" fmla="*/ 5458 h 6164"/>
                  <a:gd name="T4" fmla="*/ 10353 w 11064"/>
                  <a:gd name="T5" fmla="*/ 5401 h 6164"/>
                  <a:gd name="T6" fmla="*/ 9589 w 11064"/>
                  <a:gd name="T7" fmla="*/ 4637 h 6164"/>
                  <a:gd name="T8" fmla="*/ 9040 w 11064"/>
                  <a:gd name="T9" fmla="*/ 4871 h 6164"/>
                  <a:gd name="T10" fmla="*/ 9040 w 11064"/>
                  <a:gd name="T11" fmla="*/ 4201 h 6164"/>
                  <a:gd name="T12" fmla="*/ 8593 w 11064"/>
                  <a:gd name="T13" fmla="*/ 4201 h 6164"/>
                  <a:gd name="T14" fmla="*/ 8570 w 11064"/>
                  <a:gd name="T15" fmla="*/ 4179 h 6164"/>
                  <a:gd name="T16" fmla="*/ 8570 w 11064"/>
                  <a:gd name="T17" fmla="*/ 1712 h 6164"/>
                  <a:gd name="T18" fmla="*/ 7158 w 11064"/>
                  <a:gd name="T19" fmla="*/ 1712 h 6164"/>
                  <a:gd name="T20" fmla="*/ 7158 w 11064"/>
                  <a:gd name="T21" fmla="*/ 2618 h 6164"/>
                  <a:gd name="T22" fmla="*/ 6404 w 11064"/>
                  <a:gd name="T23" fmla="*/ 2618 h 6164"/>
                  <a:gd name="T24" fmla="*/ 6404 w 11064"/>
                  <a:gd name="T25" fmla="*/ 690 h 6164"/>
                  <a:gd name="T26" fmla="*/ 5277 w 11064"/>
                  <a:gd name="T27" fmla="*/ 690 h 6164"/>
                  <a:gd name="T28" fmla="*/ 5277 w 11064"/>
                  <a:gd name="T29" fmla="*/ 2133 h 6164"/>
                  <a:gd name="T30" fmla="*/ 4982 w 11064"/>
                  <a:gd name="T31" fmla="*/ 2133 h 6164"/>
                  <a:gd name="T32" fmla="*/ 4982 w 11064"/>
                  <a:gd name="T33" fmla="*/ 0 h 6164"/>
                  <a:gd name="T34" fmla="*/ 4090 w 11064"/>
                  <a:gd name="T35" fmla="*/ 892 h 6164"/>
                  <a:gd name="T36" fmla="*/ 4090 w 11064"/>
                  <a:gd name="T37" fmla="*/ 3906 h 6164"/>
                  <a:gd name="T38" fmla="*/ 2348 w 11064"/>
                  <a:gd name="T39" fmla="*/ 3906 h 6164"/>
                  <a:gd name="T40" fmla="*/ 2348 w 11064"/>
                  <a:gd name="T41" fmla="*/ 2957 h 6164"/>
                  <a:gd name="T42" fmla="*/ 1712 w 11064"/>
                  <a:gd name="T43" fmla="*/ 2957 h 6164"/>
                  <a:gd name="T44" fmla="*/ 1712 w 11064"/>
                  <a:gd name="T45" fmla="*/ 4549 h 6164"/>
                  <a:gd name="T46" fmla="*/ 1477 w 11064"/>
                  <a:gd name="T47" fmla="*/ 4549 h 6164"/>
                  <a:gd name="T48" fmla="*/ 1477 w 11064"/>
                  <a:gd name="T49" fmla="*/ 3951 h 6164"/>
                  <a:gd name="T50" fmla="*/ 965 w 11064"/>
                  <a:gd name="T51" fmla="*/ 3951 h 6164"/>
                  <a:gd name="T52" fmla="*/ 965 w 11064"/>
                  <a:gd name="T53" fmla="*/ 4549 h 6164"/>
                  <a:gd name="T54" fmla="*/ 523 w 11064"/>
                  <a:gd name="T55" fmla="*/ 4549 h 6164"/>
                  <a:gd name="T56" fmla="*/ 523 w 11064"/>
                  <a:gd name="T57" fmla="*/ 5144 h 6164"/>
                  <a:gd name="T58" fmla="*/ 392 w 11064"/>
                  <a:gd name="T59" fmla="*/ 5121 h 6164"/>
                  <a:gd name="T60" fmla="*/ 0 w 11064"/>
                  <a:gd name="T61" fmla="*/ 5514 h 6164"/>
                  <a:gd name="T62" fmla="*/ 392 w 11064"/>
                  <a:gd name="T63" fmla="*/ 5906 h 6164"/>
                  <a:gd name="T64" fmla="*/ 1978 w 11064"/>
                  <a:gd name="T65" fmla="*/ 5906 h 6164"/>
                  <a:gd name="T66" fmla="*/ 2265 w 11064"/>
                  <a:gd name="T67" fmla="*/ 5619 h 6164"/>
                  <a:gd name="T68" fmla="*/ 2080 w 11064"/>
                  <a:gd name="T69" fmla="*/ 5350 h 6164"/>
                  <a:gd name="T70" fmla="*/ 2431 w 11064"/>
                  <a:gd name="T71" fmla="*/ 5350 h 6164"/>
                  <a:gd name="T72" fmla="*/ 5525 w 11064"/>
                  <a:gd name="T73" fmla="*/ 5350 h 6164"/>
                  <a:gd name="T74" fmla="*/ 5493 w 11064"/>
                  <a:gd name="T75" fmla="*/ 5546 h 6164"/>
                  <a:gd name="T76" fmla="*/ 6111 w 11064"/>
                  <a:gd name="T77" fmla="*/ 6164 h 6164"/>
                  <a:gd name="T78" fmla="*/ 7778 w 11064"/>
                  <a:gd name="T79" fmla="*/ 6164 h 6164"/>
                  <a:gd name="T80" fmla="*/ 9589 w 11064"/>
                  <a:gd name="T81" fmla="*/ 6164 h 6164"/>
                  <a:gd name="T82" fmla="*/ 10648 w 11064"/>
                  <a:gd name="T83" fmla="*/ 6164 h 6164"/>
                  <a:gd name="T84" fmla="*/ 11064 w 11064"/>
                  <a:gd name="T85" fmla="*/ 5748 h 6164"/>
                  <a:gd name="T86" fmla="*/ 10648 w 11064"/>
                  <a:gd name="T87" fmla="*/ 5333 h 6164"/>
                  <a:gd name="T88" fmla="*/ 1855 w 11064"/>
                  <a:gd name="T89" fmla="*/ 5359 h 6164"/>
                  <a:gd name="T90" fmla="*/ 1855 w 11064"/>
                  <a:gd name="T91" fmla="*/ 5350 h 6164"/>
                  <a:gd name="T92" fmla="*/ 1876 w 11064"/>
                  <a:gd name="T93" fmla="*/ 5350 h 6164"/>
                  <a:gd name="T94" fmla="*/ 1855 w 11064"/>
                  <a:gd name="T95" fmla="*/ 5359 h 6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64" h="6164">
                    <a:moveTo>
                      <a:pt x="10648" y="5333"/>
                    </a:moveTo>
                    <a:cubicBezTo>
                      <a:pt x="10531" y="5333"/>
                      <a:pt x="10426" y="5381"/>
                      <a:pt x="10350" y="5458"/>
                    </a:cubicBezTo>
                    <a:cubicBezTo>
                      <a:pt x="10352" y="5439"/>
                      <a:pt x="10353" y="5420"/>
                      <a:pt x="10353" y="5401"/>
                    </a:cubicBezTo>
                    <a:cubicBezTo>
                      <a:pt x="10353" y="4979"/>
                      <a:pt x="10011" y="4637"/>
                      <a:pt x="9589" y="4637"/>
                    </a:cubicBezTo>
                    <a:cubicBezTo>
                      <a:pt x="9373" y="4637"/>
                      <a:pt x="9179" y="4727"/>
                      <a:pt x="9040" y="4871"/>
                    </a:cubicBezTo>
                    <a:cubicBezTo>
                      <a:pt x="9040" y="4201"/>
                      <a:pt x="9040" y="4201"/>
                      <a:pt x="9040" y="4201"/>
                    </a:cubicBezTo>
                    <a:cubicBezTo>
                      <a:pt x="8593" y="4201"/>
                      <a:pt x="8593" y="4201"/>
                      <a:pt x="8593" y="4201"/>
                    </a:cubicBezTo>
                    <a:cubicBezTo>
                      <a:pt x="8586" y="4193"/>
                      <a:pt x="8578" y="4186"/>
                      <a:pt x="8570" y="4179"/>
                    </a:cubicBezTo>
                    <a:cubicBezTo>
                      <a:pt x="8570" y="1712"/>
                      <a:pt x="8570" y="1712"/>
                      <a:pt x="8570" y="1712"/>
                    </a:cubicBezTo>
                    <a:cubicBezTo>
                      <a:pt x="7158" y="1712"/>
                      <a:pt x="7158" y="1712"/>
                      <a:pt x="7158" y="1712"/>
                    </a:cubicBezTo>
                    <a:cubicBezTo>
                      <a:pt x="7158" y="2618"/>
                      <a:pt x="7158" y="2618"/>
                      <a:pt x="7158" y="2618"/>
                    </a:cubicBezTo>
                    <a:cubicBezTo>
                      <a:pt x="6404" y="2618"/>
                      <a:pt x="6404" y="2618"/>
                      <a:pt x="6404" y="2618"/>
                    </a:cubicBezTo>
                    <a:cubicBezTo>
                      <a:pt x="6404" y="690"/>
                      <a:pt x="6404" y="690"/>
                      <a:pt x="6404" y="690"/>
                    </a:cubicBezTo>
                    <a:cubicBezTo>
                      <a:pt x="5277" y="690"/>
                      <a:pt x="5277" y="690"/>
                      <a:pt x="5277" y="690"/>
                    </a:cubicBezTo>
                    <a:cubicBezTo>
                      <a:pt x="5277" y="2133"/>
                      <a:pt x="5277" y="2133"/>
                      <a:pt x="5277" y="2133"/>
                    </a:cubicBezTo>
                    <a:cubicBezTo>
                      <a:pt x="4982" y="2133"/>
                      <a:pt x="4982" y="2133"/>
                      <a:pt x="4982" y="2133"/>
                    </a:cubicBezTo>
                    <a:cubicBezTo>
                      <a:pt x="4982" y="0"/>
                      <a:pt x="4982" y="0"/>
                      <a:pt x="4982" y="0"/>
                    </a:cubicBezTo>
                    <a:cubicBezTo>
                      <a:pt x="4090" y="892"/>
                      <a:pt x="4090" y="892"/>
                      <a:pt x="4090" y="892"/>
                    </a:cubicBezTo>
                    <a:cubicBezTo>
                      <a:pt x="4090" y="3906"/>
                      <a:pt x="4090" y="3906"/>
                      <a:pt x="4090" y="3906"/>
                    </a:cubicBezTo>
                    <a:cubicBezTo>
                      <a:pt x="2348" y="3906"/>
                      <a:pt x="2348" y="3906"/>
                      <a:pt x="2348" y="3906"/>
                    </a:cubicBezTo>
                    <a:cubicBezTo>
                      <a:pt x="2348" y="2957"/>
                      <a:pt x="2348" y="2957"/>
                      <a:pt x="2348" y="2957"/>
                    </a:cubicBezTo>
                    <a:cubicBezTo>
                      <a:pt x="1712" y="2957"/>
                      <a:pt x="1712" y="2957"/>
                      <a:pt x="1712" y="2957"/>
                    </a:cubicBezTo>
                    <a:cubicBezTo>
                      <a:pt x="1712" y="4549"/>
                      <a:pt x="1712" y="4549"/>
                      <a:pt x="1712" y="4549"/>
                    </a:cubicBezTo>
                    <a:cubicBezTo>
                      <a:pt x="1477" y="4549"/>
                      <a:pt x="1477" y="4549"/>
                      <a:pt x="1477" y="4549"/>
                    </a:cubicBezTo>
                    <a:cubicBezTo>
                      <a:pt x="1477" y="3951"/>
                      <a:pt x="1477" y="3951"/>
                      <a:pt x="1477" y="3951"/>
                    </a:cubicBezTo>
                    <a:cubicBezTo>
                      <a:pt x="965" y="3951"/>
                      <a:pt x="965" y="3951"/>
                      <a:pt x="965" y="3951"/>
                    </a:cubicBezTo>
                    <a:cubicBezTo>
                      <a:pt x="965" y="4549"/>
                      <a:pt x="965" y="4549"/>
                      <a:pt x="965" y="4549"/>
                    </a:cubicBezTo>
                    <a:cubicBezTo>
                      <a:pt x="523" y="4549"/>
                      <a:pt x="523" y="4549"/>
                      <a:pt x="523" y="4549"/>
                    </a:cubicBezTo>
                    <a:cubicBezTo>
                      <a:pt x="523" y="5144"/>
                      <a:pt x="523" y="5144"/>
                      <a:pt x="523" y="5144"/>
                    </a:cubicBezTo>
                    <a:cubicBezTo>
                      <a:pt x="482" y="5130"/>
                      <a:pt x="438" y="5121"/>
                      <a:pt x="392" y="5121"/>
                    </a:cubicBezTo>
                    <a:cubicBezTo>
                      <a:pt x="175" y="5121"/>
                      <a:pt x="0" y="5297"/>
                      <a:pt x="0" y="5514"/>
                    </a:cubicBezTo>
                    <a:cubicBezTo>
                      <a:pt x="0" y="5731"/>
                      <a:pt x="175" y="5906"/>
                      <a:pt x="392" y="5906"/>
                    </a:cubicBezTo>
                    <a:cubicBezTo>
                      <a:pt x="578" y="5906"/>
                      <a:pt x="1853" y="5906"/>
                      <a:pt x="1978" y="5906"/>
                    </a:cubicBezTo>
                    <a:cubicBezTo>
                      <a:pt x="2137" y="5906"/>
                      <a:pt x="2265" y="5778"/>
                      <a:pt x="2265" y="5619"/>
                    </a:cubicBezTo>
                    <a:cubicBezTo>
                      <a:pt x="2265" y="5496"/>
                      <a:pt x="2188" y="5391"/>
                      <a:pt x="2080" y="5350"/>
                    </a:cubicBezTo>
                    <a:cubicBezTo>
                      <a:pt x="2431" y="5350"/>
                      <a:pt x="2431" y="5350"/>
                      <a:pt x="2431" y="5350"/>
                    </a:cubicBezTo>
                    <a:cubicBezTo>
                      <a:pt x="5525" y="5350"/>
                      <a:pt x="5525" y="5350"/>
                      <a:pt x="5525" y="5350"/>
                    </a:cubicBezTo>
                    <a:cubicBezTo>
                      <a:pt x="5504" y="5412"/>
                      <a:pt x="5493" y="5477"/>
                      <a:pt x="5493" y="5546"/>
                    </a:cubicBezTo>
                    <a:cubicBezTo>
                      <a:pt x="5493" y="5887"/>
                      <a:pt x="5770" y="6164"/>
                      <a:pt x="6111" y="6164"/>
                    </a:cubicBezTo>
                    <a:cubicBezTo>
                      <a:pt x="6452" y="6164"/>
                      <a:pt x="7308" y="6164"/>
                      <a:pt x="7778" y="6164"/>
                    </a:cubicBezTo>
                    <a:cubicBezTo>
                      <a:pt x="8247" y="6164"/>
                      <a:pt x="9195" y="6164"/>
                      <a:pt x="9589" y="6164"/>
                    </a:cubicBezTo>
                    <a:cubicBezTo>
                      <a:pt x="9862" y="6164"/>
                      <a:pt x="10438" y="6164"/>
                      <a:pt x="10648" y="6164"/>
                    </a:cubicBezTo>
                    <a:cubicBezTo>
                      <a:pt x="10877" y="6164"/>
                      <a:pt x="11064" y="5978"/>
                      <a:pt x="11064" y="5748"/>
                    </a:cubicBezTo>
                    <a:cubicBezTo>
                      <a:pt x="11064" y="5519"/>
                      <a:pt x="10877" y="5333"/>
                      <a:pt x="10648" y="5333"/>
                    </a:cubicBezTo>
                    <a:close/>
                    <a:moveTo>
                      <a:pt x="1855" y="5359"/>
                    </a:moveTo>
                    <a:cubicBezTo>
                      <a:pt x="1855" y="5356"/>
                      <a:pt x="1855" y="5353"/>
                      <a:pt x="1855" y="5350"/>
                    </a:cubicBezTo>
                    <a:cubicBezTo>
                      <a:pt x="1876" y="5350"/>
                      <a:pt x="1876" y="5350"/>
                      <a:pt x="1876" y="5350"/>
                    </a:cubicBezTo>
                    <a:cubicBezTo>
                      <a:pt x="1869" y="5353"/>
                      <a:pt x="1862" y="5356"/>
                      <a:pt x="1855" y="5359"/>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47" name="Rectangle 588">
                <a:extLst>
                  <a:ext uri="{FF2B5EF4-FFF2-40B4-BE49-F238E27FC236}">
                    <a16:creationId xmlns:a16="http://schemas.microsoft.com/office/drawing/2014/main" id="{E08968A1-BA92-4E0F-9051-81831B847691}"/>
                  </a:ext>
                </a:extLst>
              </p:cNvPr>
              <p:cNvSpPr>
                <a:spLocks noChangeArrowheads="1"/>
              </p:cNvSpPr>
              <p:nvPr/>
            </p:nvSpPr>
            <p:spPr bwMode="auto">
              <a:xfrm>
                <a:off x="-3145923" y="6785164"/>
                <a:ext cx="306778" cy="637741"/>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48" name="Rectangle 589">
                <a:extLst>
                  <a:ext uri="{FF2B5EF4-FFF2-40B4-BE49-F238E27FC236}">
                    <a16:creationId xmlns:a16="http://schemas.microsoft.com/office/drawing/2014/main" id="{88ED9714-E79B-463E-9ACF-7DDB4BCC16B1}"/>
                  </a:ext>
                </a:extLst>
              </p:cNvPr>
              <p:cNvSpPr>
                <a:spLocks noChangeArrowheads="1"/>
              </p:cNvSpPr>
              <p:nvPr/>
            </p:nvSpPr>
            <p:spPr bwMode="auto">
              <a:xfrm>
                <a:off x="-2839145" y="6785164"/>
                <a:ext cx="89122" cy="637741"/>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49" name="Rectangle 590">
                <a:extLst>
                  <a:ext uri="{FF2B5EF4-FFF2-40B4-BE49-F238E27FC236}">
                    <a16:creationId xmlns:a16="http://schemas.microsoft.com/office/drawing/2014/main" id="{6C36EEC8-BC1A-45AE-8490-268F3680E2F6}"/>
                  </a:ext>
                </a:extLst>
              </p:cNvPr>
              <p:cNvSpPr>
                <a:spLocks noChangeArrowheads="1"/>
              </p:cNvSpPr>
              <p:nvPr/>
            </p:nvSpPr>
            <p:spPr bwMode="auto">
              <a:xfrm>
                <a:off x="-3116365" y="681785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50" name="Rectangle 591">
                <a:extLst>
                  <a:ext uri="{FF2B5EF4-FFF2-40B4-BE49-F238E27FC236}">
                    <a16:creationId xmlns:a16="http://schemas.microsoft.com/office/drawing/2014/main" id="{B3312DBC-837E-48D1-BBD8-9D7B36AC3089}"/>
                  </a:ext>
                </a:extLst>
              </p:cNvPr>
              <p:cNvSpPr>
                <a:spLocks noChangeArrowheads="1"/>
              </p:cNvSpPr>
              <p:nvPr/>
            </p:nvSpPr>
            <p:spPr bwMode="auto">
              <a:xfrm>
                <a:off x="-3104720" y="682815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51" name="Rectangle 592">
                <a:extLst>
                  <a:ext uri="{FF2B5EF4-FFF2-40B4-BE49-F238E27FC236}">
                    <a16:creationId xmlns:a16="http://schemas.microsoft.com/office/drawing/2014/main" id="{CE8810C5-422B-48AA-92A5-5F43E64698A0}"/>
                  </a:ext>
                </a:extLst>
              </p:cNvPr>
              <p:cNvSpPr>
                <a:spLocks noChangeArrowheads="1"/>
              </p:cNvSpPr>
              <p:nvPr/>
            </p:nvSpPr>
            <p:spPr bwMode="auto">
              <a:xfrm>
                <a:off x="-3086359" y="682815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52" name="Rectangle 593">
                <a:extLst>
                  <a:ext uri="{FF2B5EF4-FFF2-40B4-BE49-F238E27FC236}">
                    <a16:creationId xmlns:a16="http://schemas.microsoft.com/office/drawing/2014/main" id="{58BF8415-6F3F-4D94-8786-6B2BC1668CBB}"/>
                  </a:ext>
                </a:extLst>
              </p:cNvPr>
              <p:cNvSpPr>
                <a:spLocks noChangeArrowheads="1"/>
              </p:cNvSpPr>
              <p:nvPr/>
            </p:nvSpPr>
            <p:spPr bwMode="auto">
              <a:xfrm>
                <a:off x="-3067549" y="682815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53" name="Rectangle 594">
                <a:extLst>
                  <a:ext uri="{FF2B5EF4-FFF2-40B4-BE49-F238E27FC236}">
                    <a16:creationId xmlns:a16="http://schemas.microsoft.com/office/drawing/2014/main" id="{2388EFDF-E566-4FD1-9014-DFE792209674}"/>
                  </a:ext>
                </a:extLst>
              </p:cNvPr>
              <p:cNvSpPr>
                <a:spLocks noChangeArrowheads="1"/>
              </p:cNvSpPr>
              <p:nvPr/>
            </p:nvSpPr>
            <p:spPr bwMode="auto">
              <a:xfrm>
                <a:off x="-3049187" y="682815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54" name="Oval 595">
                <a:extLst>
                  <a:ext uri="{FF2B5EF4-FFF2-40B4-BE49-F238E27FC236}">
                    <a16:creationId xmlns:a16="http://schemas.microsoft.com/office/drawing/2014/main" id="{96BFC7C8-3B2F-40FC-8948-9E36D3D317C8}"/>
                  </a:ext>
                </a:extLst>
              </p:cNvPr>
              <p:cNvSpPr>
                <a:spLocks noChangeArrowheads="1"/>
              </p:cNvSpPr>
              <p:nvPr/>
            </p:nvSpPr>
            <p:spPr bwMode="auto">
              <a:xfrm>
                <a:off x="-2922445" y="684562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55" name="Oval 596">
                <a:extLst>
                  <a:ext uri="{FF2B5EF4-FFF2-40B4-BE49-F238E27FC236}">
                    <a16:creationId xmlns:a16="http://schemas.microsoft.com/office/drawing/2014/main" id="{193788A0-99B4-4E3A-9651-F43650295494}"/>
                  </a:ext>
                </a:extLst>
              </p:cNvPr>
              <p:cNvSpPr>
                <a:spLocks noChangeArrowheads="1"/>
              </p:cNvSpPr>
              <p:nvPr/>
            </p:nvSpPr>
            <p:spPr bwMode="auto">
              <a:xfrm>
                <a:off x="-2897365" y="684562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56" name="Rectangle 597">
                <a:extLst>
                  <a:ext uri="{FF2B5EF4-FFF2-40B4-BE49-F238E27FC236}">
                    <a16:creationId xmlns:a16="http://schemas.microsoft.com/office/drawing/2014/main" id="{46F124D6-DB1C-4DCF-A4A4-C1CE20DD41AA}"/>
                  </a:ext>
                </a:extLst>
              </p:cNvPr>
              <p:cNvSpPr>
                <a:spLocks noChangeArrowheads="1"/>
              </p:cNvSpPr>
              <p:nvPr/>
            </p:nvSpPr>
            <p:spPr bwMode="auto">
              <a:xfrm>
                <a:off x="-3116365" y="6898918"/>
                <a:ext cx="248109"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57" name="Rectangle 598">
                <a:extLst>
                  <a:ext uri="{FF2B5EF4-FFF2-40B4-BE49-F238E27FC236}">
                    <a16:creationId xmlns:a16="http://schemas.microsoft.com/office/drawing/2014/main" id="{25545F38-2760-4F5E-9D21-3CB20E0B48D4}"/>
                  </a:ext>
                </a:extLst>
              </p:cNvPr>
              <p:cNvSpPr>
                <a:spLocks noChangeArrowheads="1"/>
              </p:cNvSpPr>
              <p:nvPr/>
            </p:nvSpPr>
            <p:spPr bwMode="auto">
              <a:xfrm>
                <a:off x="-3104720" y="690921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58" name="Rectangle 599">
                <a:extLst>
                  <a:ext uri="{FF2B5EF4-FFF2-40B4-BE49-F238E27FC236}">
                    <a16:creationId xmlns:a16="http://schemas.microsoft.com/office/drawing/2014/main" id="{933C9FB2-854A-4F10-87AC-E14C6BC008D3}"/>
                  </a:ext>
                </a:extLst>
              </p:cNvPr>
              <p:cNvSpPr>
                <a:spLocks noChangeArrowheads="1"/>
              </p:cNvSpPr>
              <p:nvPr/>
            </p:nvSpPr>
            <p:spPr bwMode="auto">
              <a:xfrm>
                <a:off x="-3086359" y="690921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59" name="Rectangle 600">
                <a:extLst>
                  <a:ext uri="{FF2B5EF4-FFF2-40B4-BE49-F238E27FC236}">
                    <a16:creationId xmlns:a16="http://schemas.microsoft.com/office/drawing/2014/main" id="{0BED54F7-8B35-4BD4-983B-75BAF4B602BD}"/>
                  </a:ext>
                </a:extLst>
              </p:cNvPr>
              <p:cNvSpPr>
                <a:spLocks noChangeArrowheads="1"/>
              </p:cNvSpPr>
              <p:nvPr/>
            </p:nvSpPr>
            <p:spPr bwMode="auto">
              <a:xfrm>
                <a:off x="-3067549" y="6909219"/>
                <a:ext cx="11196"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60" name="Rectangle 601">
                <a:extLst>
                  <a:ext uri="{FF2B5EF4-FFF2-40B4-BE49-F238E27FC236}">
                    <a16:creationId xmlns:a16="http://schemas.microsoft.com/office/drawing/2014/main" id="{D29D0717-A812-4CBC-B547-BF02D7C77313}"/>
                  </a:ext>
                </a:extLst>
              </p:cNvPr>
              <p:cNvSpPr>
                <a:spLocks noChangeArrowheads="1"/>
              </p:cNvSpPr>
              <p:nvPr/>
            </p:nvSpPr>
            <p:spPr bwMode="auto">
              <a:xfrm>
                <a:off x="-3049187" y="690921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61" name="Oval 602">
                <a:extLst>
                  <a:ext uri="{FF2B5EF4-FFF2-40B4-BE49-F238E27FC236}">
                    <a16:creationId xmlns:a16="http://schemas.microsoft.com/office/drawing/2014/main" id="{8AD13A7D-98B0-4A1E-8AA6-2ACDCCB64908}"/>
                  </a:ext>
                </a:extLst>
              </p:cNvPr>
              <p:cNvSpPr>
                <a:spLocks noChangeArrowheads="1"/>
              </p:cNvSpPr>
              <p:nvPr/>
            </p:nvSpPr>
            <p:spPr bwMode="auto">
              <a:xfrm>
                <a:off x="-2922445" y="6926685"/>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62" name="Oval 603">
                <a:extLst>
                  <a:ext uri="{FF2B5EF4-FFF2-40B4-BE49-F238E27FC236}">
                    <a16:creationId xmlns:a16="http://schemas.microsoft.com/office/drawing/2014/main" id="{35F1A637-6385-4EF5-A054-902C8E290954}"/>
                  </a:ext>
                </a:extLst>
              </p:cNvPr>
              <p:cNvSpPr>
                <a:spLocks noChangeArrowheads="1"/>
              </p:cNvSpPr>
              <p:nvPr/>
            </p:nvSpPr>
            <p:spPr bwMode="auto">
              <a:xfrm>
                <a:off x="-2897365" y="6926685"/>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63" name="Rectangle 604">
                <a:extLst>
                  <a:ext uri="{FF2B5EF4-FFF2-40B4-BE49-F238E27FC236}">
                    <a16:creationId xmlns:a16="http://schemas.microsoft.com/office/drawing/2014/main" id="{3421BCCE-AFE9-4E63-8C01-0C1617DEF3FC}"/>
                  </a:ext>
                </a:extLst>
              </p:cNvPr>
              <p:cNvSpPr>
                <a:spLocks noChangeArrowheads="1"/>
              </p:cNvSpPr>
              <p:nvPr/>
            </p:nvSpPr>
            <p:spPr bwMode="auto">
              <a:xfrm>
                <a:off x="-3116365" y="698042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64" name="Rectangle 605">
                <a:extLst>
                  <a:ext uri="{FF2B5EF4-FFF2-40B4-BE49-F238E27FC236}">
                    <a16:creationId xmlns:a16="http://schemas.microsoft.com/office/drawing/2014/main" id="{FC45E423-5CD4-4007-A605-61E420F04707}"/>
                  </a:ext>
                </a:extLst>
              </p:cNvPr>
              <p:cNvSpPr>
                <a:spLocks noChangeArrowheads="1"/>
              </p:cNvSpPr>
              <p:nvPr/>
            </p:nvSpPr>
            <p:spPr bwMode="auto">
              <a:xfrm>
                <a:off x="-3104720" y="699072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65" name="Rectangle 606">
                <a:extLst>
                  <a:ext uri="{FF2B5EF4-FFF2-40B4-BE49-F238E27FC236}">
                    <a16:creationId xmlns:a16="http://schemas.microsoft.com/office/drawing/2014/main" id="{A0918126-996E-4E74-A5BF-BE61B96D608D}"/>
                  </a:ext>
                </a:extLst>
              </p:cNvPr>
              <p:cNvSpPr>
                <a:spLocks noChangeArrowheads="1"/>
              </p:cNvSpPr>
              <p:nvPr/>
            </p:nvSpPr>
            <p:spPr bwMode="auto">
              <a:xfrm>
                <a:off x="-3086359" y="699072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66" name="Rectangle 607">
                <a:extLst>
                  <a:ext uri="{FF2B5EF4-FFF2-40B4-BE49-F238E27FC236}">
                    <a16:creationId xmlns:a16="http://schemas.microsoft.com/office/drawing/2014/main" id="{0AE05A42-3F12-4F6B-A672-A94B66C20F64}"/>
                  </a:ext>
                </a:extLst>
              </p:cNvPr>
              <p:cNvSpPr>
                <a:spLocks noChangeArrowheads="1"/>
              </p:cNvSpPr>
              <p:nvPr/>
            </p:nvSpPr>
            <p:spPr bwMode="auto">
              <a:xfrm>
                <a:off x="-3067549" y="699072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67" name="Rectangle 608">
                <a:extLst>
                  <a:ext uri="{FF2B5EF4-FFF2-40B4-BE49-F238E27FC236}">
                    <a16:creationId xmlns:a16="http://schemas.microsoft.com/office/drawing/2014/main" id="{2EC3EDAC-F561-42EA-BDA6-18DFA54B1539}"/>
                  </a:ext>
                </a:extLst>
              </p:cNvPr>
              <p:cNvSpPr>
                <a:spLocks noChangeArrowheads="1"/>
              </p:cNvSpPr>
              <p:nvPr/>
            </p:nvSpPr>
            <p:spPr bwMode="auto">
              <a:xfrm>
                <a:off x="-3049187" y="699072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68" name="Oval 609">
                <a:extLst>
                  <a:ext uri="{FF2B5EF4-FFF2-40B4-BE49-F238E27FC236}">
                    <a16:creationId xmlns:a16="http://schemas.microsoft.com/office/drawing/2014/main" id="{0D539EF6-043B-4FCB-AEC1-7234B3675DDA}"/>
                  </a:ext>
                </a:extLst>
              </p:cNvPr>
              <p:cNvSpPr>
                <a:spLocks noChangeArrowheads="1"/>
              </p:cNvSpPr>
              <p:nvPr/>
            </p:nvSpPr>
            <p:spPr bwMode="auto">
              <a:xfrm>
                <a:off x="-2922445" y="700819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69" name="Oval 610">
                <a:extLst>
                  <a:ext uri="{FF2B5EF4-FFF2-40B4-BE49-F238E27FC236}">
                    <a16:creationId xmlns:a16="http://schemas.microsoft.com/office/drawing/2014/main" id="{FC7F678B-A4C8-47CC-8B3D-D9F058894003}"/>
                  </a:ext>
                </a:extLst>
              </p:cNvPr>
              <p:cNvSpPr>
                <a:spLocks noChangeArrowheads="1"/>
              </p:cNvSpPr>
              <p:nvPr/>
            </p:nvSpPr>
            <p:spPr bwMode="auto">
              <a:xfrm>
                <a:off x="-2897365" y="700819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70" name="Rectangle 611">
                <a:extLst>
                  <a:ext uri="{FF2B5EF4-FFF2-40B4-BE49-F238E27FC236}">
                    <a16:creationId xmlns:a16="http://schemas.microsoft.com/office/drawing/2014/main" id="{BEC00886-7AE0-4F66-92B0-533A9C76A8DA}"/>
                  </a:ext>
                </a:extLst>
              </p:cNvPr>
              <p:cNvSpPr>
                <a:spLocks noChangeArrowheads="1"/>
              </p:cNvSpPr>
              <p:nvPr/>
            </p:nvSpPr>
            <p:spPr bwMode="auto">
              <a:xfrm>
                <a:off x="-3116365" y="7061488"/>
                <a:ext cx="248109"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71" name="Rectangle 612">
                <a:extLst>
                  <a:ext uri="{FF2B5EF4-FFF2-40B4-BE49-F238E27FC236}">
                    <a16:creationId xmlns:a16="http://schemas.microsoft.com/office/drawing/2014/main" id="{7AD4FFF7-B17E-4678-B2BC-87FEFD226652}"/>
                  </a:ext>
                </a:extLst>
              </p:cNvPr>
              <p:cNvSpPr>
                <a:spLocks noChangeArrowheads="1"/>
              </p:cNvSpPr>
              <p:nvPr/>
            </p:nvSpPr>
            <p:spPr bwMode="auto">
              <a:xfrm>
                <a:off x="-3104720" y="707178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72" name="Rectangle 613">
                <a:extLst>
                  <a:ext uri="{FF2B5EF4-FFF2-40B4-BE49-F238E27FC236}">
                    <a16:creationId xmlns:a16="http://schemas.microsoft.com/office/drawing/2014/main" id="{71E3C307-C172-48B0-9450-5909490DC012}"/>
                  </a:ext>
                </a:extLst>
              </p:cNvPr>
              <p:cNvSpPr>
                <a:spLocks noChangeArrowheads="1"/>
              </p:cNvSpPr>
              <p:nvPr/>
            </p:nvSpPr>
            <p:spPr bwMode="auto">
              <a:xfrm>
                <a:off x="-3086359" y="707178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73" name="Rectangle 614">
                <a:extLst>
                  <a:ext uri="{FF2B5EF4-FFF2-40B4-BE49-F238E27FC236}">
                    <a16:creationId xmlns:a16="http://schemas.microsoft.com/office/drawing/2014/main" id="{CFF125B8-17CF-4C27-97F1-1C397FEE7B8E}"/>
                  </a:ext>
                </a:extLst>
              </p:cNvPr>
              <p:cNvSpPr>
                <a:spLocks noChangeArrowheads="1"/>
              </p:cNvSpPr>
              <p:nvPr/>
            </p:nvSpPr>
            <p:spPr bwMode="auto">
              <a:xfrm>
                <a:off x="-3067549" y="7071789"/>
                <a:ext cx="11196"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74" name="Rectangle 615">
                <a:extLst>
                  <a:ext uri="{FF2B5EF4-FFF2-40B4-BE49-F238E27FC236}">
                    <a16:creationId xmlns:a16="http://schemas.microsoft.com/office/drawing/2014/main" id="{9CAD062A-FC7A-46E4-BCD6-A3B6F0833B14}"/>
                  </a:ext>
                </a:extLst>
              </p:cNvPr>
              <p:cNvSpPr>
                <a:spLocks noChangeArrowheads="1"/>
              </p:cNvSpPr>
              <p:nvPr/>
            </p:nvSpPr>
            <p:spPr bwMode="auto">
              <a:xfrm>
                <a:off x="-3049187" y="707178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75" name="Rectangle 616">
                <a:extLst>
                  <a:ext uri="{FF2B5EF4-FFF2-40B4-BE49-F238E27FC236}">
                    <a16:creationId xmlns:a16="http://schemas.microsoft.com/office/drawing/2014/main" id="{B14F1D55-5929-44D8-B33B-8021BA4783BB}"/>
                  </a:ext>
                </a:extLst>
              </p:cNvPr>
              <p:cNvSpPr>
                <a:spLocks noChangeArrowheads="1"/>
              </p:cNvSpPr>
              <p:nvPr/>
            </p:nvSpPr>
            <p:spPr bwMode="auto">
              <a:xfrm>
                <a:off x="-3116365" y="714299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76" name="Rectangle 617">
                <a:extLst>
                  <a:ext uri="{FF2B5EF4-FFF2-40B4-BE49-F238E27FC236}">
                    <a16:creationId xmlns:a16="http://schemas.microsoft.com/office/drawing/2014/main" id="{F4797BCA-37C4-4BFA-B7D6-B9CC96CC1775}"/>
                  </a:ext>
                </a:extLst>
              </p:cNvPr>
              <p:cNvSpPr>
                <a:spLocks noChangeArrowheads="1"/>
              </p:cNvSpPr>
              <p:nvPr/>
            </p:nvSpPr>
            <p:spPr bwMode="auto">
              <a:xfrm>
                <a:off x="-3104720" y="715329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77" name="Rectangle 618">
                <a:extLst>
                  <a:ext uri="{FF2B5EF4-FFF2-40B4-BE49-F238E27FC236}">
                    <a16:creationId xmlns:a16="http://schemas.microsoft.com/office/drawing/2014/main" id="{4D957963-D9D8-4801-81E0-5A824B9C505D}"/>
                  </a:ext>
                </a:extLst>
              </p:cNvPr>
              <p:cNvSpPr>
                <a:spLocks noChangeArrowheads="1"/>
              </p:cNvSpPr>
              <p:nvPr/>
            </p:nvSpPr>
            <p:spPr bwMode="auto">
              <a:xfrm>
                <a:off x="-3086359" y="715329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78" name="Rectangle 619">
                <a:extLst>
                  <a:ext uri="{FF2B5EF4-FFF2-40B4-BE49-F238E27FC236}">
                    <a16:creationId xmlns:a16="http://schemas.microsoft.com/office/drawing/2014/main" id="{BE2B5F83-5EC7-4A71-88E8-EE578815A6F3}"/>
                  </a:ext>
                </a:extLst>
              </p:cNvPr>
              <p:cNvSpPr>
                <a:spLocks noChangeArrowheads="1"/>
              </p:cNvSpPr>
              <p:nvPr/>
            </p:nvSpPr>
            <p:spPr bwMode="auto">
              <a:xfrm>
                <a:off x="-3067549" y="715329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79" name="Rectangle 620">
                <a:extLst>
                  <a:ext uri="{FF2B5EF4-FFF2-40B4-BE49-F238E27FC236}">
                    <a16:creationId xmlns:a16="http://schemas.microsoft.com/office/drawing/2014/main" id="{B321A324-6A45-4508-823C-27F88B9A6C31}"/>
                  </a:ext>
                </a:extLst>
              </p:cNvPr>
              <p:cNvSpPr>
                <a:spLocks noChangeArrowheads="1"/>
              </p:cNvSpPr>
              <p:nvPr/>
            </p:nvSpPr>
            <p:spPr bwMode="auto">
              <a:xfrm>
                <a:off x="-3049187" y="715329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80" name="Oval 621">
                <a:extLst>
                  <a:ext uri="{FF2B5EF4-FFF2-40B4-BE49-F238E27FC236}">
                    <a16:creationId xmlns:a16="http://schemas.microsoft.com/office/drawing/2014/main" id="{BA04385D-7A4D-4CFC-8CC8-5765CAE689A6}"/>
                  </a:ext>
                </a:extLst>
              </p:cNvPr>
              <p:cNvSpPr>
                <a:spLocks noChangeArrowheads="1"/>
              </p:cNvSpPr>
              <p:nvPr/>
            </p:nvSpPr>
            <p:spPr bwMode="auto">
              <a:xfrm>
                <a:off x="-2922445" y="717076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81" name="Oval 622">
                <a:extLst>
                  <a:ext uri="{FF2B5EF4-FFF2-40B4-BE49-F238E27FC236}">
                    <a16:creationId xmlns:a16="http://schemas.microsoft.com/office/drawing/2014/main" id="{2BF3C6DF-AA0D-4274-A5DA-A1D3A01728AF}"/>
                  </a:ext>
                </a:extLst>
              </p:cNvPr>
              <p:cNvSpPr>
                <a:spLocks noChangeArrowheads="1"/>
              </p:cNvSpPr>
              <p:nvPr/>
            </p:nvSpPr>
            <p:spPr bwMode="auto">
              <a:xfrm>
                <a:off x="-2897365" y="717076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82" name="Rectangle 623">
                <a:extLst>
                  <a:ext uri="{FF2B5EF4-FFF2-40B4-BE49-F238E27FC236}">
                    <a16:creationId xmlns:a16="http://schemas.microsoft.com/office/drawing/2014/main" id="{C170311A-12C5-4CF6-A165-19E080340350}"/>
                  </a:ext>
                </a:extLst>
              </p:cNvPr>
              <p:cNvSpPr>
                <a:spLocks noChangeArrowheads="1"/>
              </p:cNvSpPr>
              <p:nvPr/>
            </p:nvSpPr>
            <p:spPr bwMode="auto">
              <a:xfrm>
                <a:off x="-3116365" y="7224058"/>
                <a:ext cx="248109"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83" name="Rectangle 624">
                <a:extLst>
                  <a:ext uri="{FF2B5EF4-FFF2-40B4-BE49-F238E27FC236}">
                    <a16:creationId xmlns:a16="http://schemas.microsoft.com/office/drawing/2014/main" id="{AA1153D7-13C0-4EA7-964B-296F16FB4D97}"/>
                  </a:ext>
                </a:extLst>
              </p:cNvPr>
              <p:cNvSpPr>
                <a:spLocks noChangeArrowheads="1"/>
              </p:cNvSpPr>
              <p:nvPr/>
            </p:nvSpPr>
            <p:spPr bwMode="auto">
              <a:xfrm>
                <a:off x="-3104720" y="723435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84" name="Rectangle 625">
                <a:extLst>
                  <a:ext uri="{FF2B5EF4-FFF2-40B4-BE49-F238E27FC236}">
                    <a16:creationId xmlns:a16="http://schemas.microsoft.com/office/drawing/2014/main" id="{7B53379B-E0C2-4892-9B60-63310C1A236E}"/>
                  </a:ext>
                </a:extLst>
              </p:cNvPr>
              <p:cNvSpPr>
                <a:spLocks noChangeArrowheads="1"/>
              </p:cNvSpPr>
              <p:nvPr/>
            </p:nvSpPr>
            <p:spPr bwMode="auto">
              <a:xfrm>
                <a:off x="-3086359" y="723435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85" name="Rectangle 626">
                <a:extLst>
                  <a:ext uri="{FF2B5EF4-FFF2-40B4-BE49-F238E27FC236}">
                    <a16:creationId xmlns:a16="http://schemas.microsoft.com/office/drawing/2014/main" id="{8150E7C1-8FAA-426E-97C2-DD562A1F5157}"/>
                  </a:ext>
                </a:extLst>
              </p:cNvPr>
              <p:cNvSpPr>
                <a:spLocks noChangeArrowheads="1"/>
              </p:cNvSpPr>
              <p:nvPr/>
            </p:nvSpPr>
            <p:spPr bwMode="auto">
              <a:xfrm>
                <a:off x="-3067549" y="7234359"/>
                <a:ext cx="11196"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86" name="Rectangle 627">
                <a:extLst>
                  <a:ext uri="{FF2B5EF4-FFF2-40B4-BE49-F238E27FC236}">
                    <a16:creationId xmlns:a16="http://schemas.microsoft.com/office/drawing/2014/main" id="{1065E67A-3332-4EF3-A367-75E99EC454D2}"/>
                  </a:ext>
                </a:extLst>
              </p:cNvPr>
              <p:cNvSpPr>
                <a:spLocks noChangeArrowheads="1"/>
              </p:cNvSpPr>
              <p:nvPr/>
            </p:nvSpPr>
            <p:spPr bwMode="auto">
              <a:xfrm>
                <a:off x="-3049187" y="723435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87" name="Oval 628">
                <a:extLst>
                  <a:ext uri="{FF2B5EF4-FFF2-40B4-BE49-F238E27FC236}">
                    <a16:creationId xmlns:a16="http://schemas.microsoft.com/office/drawing/2014/main" id="{8CBC2FA8-90A0-4C6F-8CE8-EADF323E5A79}"/>
                  </a:ext>
                </a:extLst>
              </p:cNvPr>
              <p:cNvSpPr>
                <a:spLocks noChangeArrowheads="1"/>
              </p:cNvSpPr>
              <p:nvPr/>
            </p:nvSpPr>
            <p:spPr bwMode="auto">
              <a:xfrm>
                <a:off x="-2922445" y="7251825"/>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88" name="Oval 629">
                <a:extLst>
                  <a:ext uri="{FF2B5EF4-FFF2-40B4-BE49-F238E27FC236}">
                    <a16:creationId xmlns:a16="http://schemas.microsoft.com/office/drawing/2014/main" id="{A919960D-08CB-4EF9-885D-B9AEFD015FFD}"/>
                  </a:ext>
                </a:extLst>
              </p:cNvPr>
              <p:cNvSpPr>
                <a:spLocks noChangeArrowheads="1"/>
              </p:cNvSpPr>
              <p:nvPr/>
            </p:nvSpPr>
            <p:spPr bwMode="auto">
              <a:xfrm>
                <a:off x="-2897365" y="7251825"/>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89" name="Rectangle 630">
                <a:extLst>
                  <a:ext uri="{FF2B5EF4-FFF2-40B4-BE49-F238E27FC236}">
                    <a16:creationId xmlns:a16="http://schemas.microsoft.com/office/drawing/2014/main" id="{B7E63966-4467-4DC8-B66A-E64AC8E56B06}"/>
                  </a:ext>
                </a:extLst>
              </p:cNvPr>
              <p:cNvSpPr>
                <a:spLocks noChangeArrowheads="1"/>
              </p:cNvSpPr>
              <p:nvPr/>
            </p:nvSpPr>
            <p:spPr bwMode="auto">
              <a:xfrm>
                <a:off x="-3116365" y="730556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90" name="Rectangle 631">
                <a:extLst>
                  <a:ext uri="{FF2B5EF4-FFF2-40B4-BE49-F238E27FC236}">
                    <a16:creationId xmlns:a16="http://schemas.microsoft.com/office/drawing/2014/main" id="{082AEFD2-2B8E-4171-9356-1C3132661DFB}"/>
                  </a:ext>
                </a:extLst>
              </p:cNvPr>
              <p:cNvSpPr>
                <a:spLocks noChangeArrowheads="1"/>
              </p:cNvSpPr>
              <p:nvPr/>
            </p:nvSpPr>
            <p:spPr bwMode="auto">
              <a:xfrm>
                <a:off x="-3104720" y="731586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91" name="Rectangle 632">
                <a:extLst>
                  <a:ext uri="{FF2B5EF4-FFF2-40B4-BE49-F238E27FC236}">
                    <a16:creationId xmlns:a16="http://schemas.microsoft.com/office/drawing/2014/main" id="{F8CC6F04-C161-4BBE-B298-3CFAB1A19DD5}"/>
                  </a:ext>
                </a:extLst>
              </p:cNvPr>
              <p:cNvSpPr>
                <a:spLocks noChangeArrowheads="1"/>
              </p:cNvSpPr>
              <p:nvPr/>
            </p:nvSpPr>
            <p:spPr bwMode="auto">
              <a:xfrm>
                <a:off x="-3086359" y="731586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92" name="Rectangle 633">
                <a:extLst>
                  <a:ext uri="{FF2B5EF4-FFF2-40B4-BE49-F238E27FC236}">
                    <a16:creationId xmlns:a16="http://schemas.microsoft.com/office/drawing/2014/main" id="{C56C907B-667C-4506-9BF5-3D0341EFD47C}"/>
                  </a:ext>
                </a:extLst>
              </p:cNvPr>
              <p:cNvSpPr>
                <a:spLocks noChangeArrowheads="1"/>
              </p:cNvSpPr>
              <p:nvPr/>
            </p:nvSpPr>
            <p:spPr bwMode="auto">
              <a:xfrm>
                <a:off x="-3067549" y="731586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93" name="Rectangle 634">
                <a:extLst>
                  <a:ext uri="{FF2B5EF4-FFF2-40B4-BE49-F238E27FC236}">
                    <a16:creationId xmlns:a16="http://schemas.microsoft.com/office/drawing/2014/main" id="{4226E18E-8CA2-45A4-84DF-FD7CB1DAF9A6}"/>
                  </a:ext>
                </a:extLst>
              </p:cNvPr>
              <p:cNvSpPr>
                <a:spLocks noChangeArrowheads="1"/>
              </p:cNvSpPr>
              <p:nvPr/>
            </p:nvSpPr>
            <p:spPr bwMode="auto">
              <a:xfrm>
                <a:off x="-3049187" y="731586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94" name="Oval 635">
                <a:extLst>
                  <a:ext uri="{FF2B5EF4-FFF2-40B4-BE49-F238E27FC236}">
                    <a16:creationId xmlns:a16="http://schemas.microsoft.com/office/drawing/2014/main" id="{B1E67D98-FA62-4646-A421-D5057BA08A1E}"/>
                  </a:ext>
                </a:extLst>
              </p:cNvPr>
              <p:cNvSpPr>
                <a:spLocks noChangeArrowheads="1"/>
              </p:cNvSpPr>
              <p:nvPr/>
            </p:nvSpPr>
            <p:spPr bwMode="auto">
              <a:xfrm>
                <a:off x="-2922445" y="733333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95" name="Oval 636">
                <a:extLst>
                  <a:ext uri="{FF2B5EF4-FFF2-40B4-BE49-F238E27FC236}">
                    <a16:creationId xmlns:a16="http://schemas.microsoft.com/office/drawing/2014/main" id="{1FDE71CE-BC66-4E88-BFCA-63E50325CA22}"/>
                  </a:ext>
                </a:extLst>
              </p:cNvPr>
              <p:cNvSpPr>
                <a:spLocks noChangeArrowheads="1"/>
              </p:cNvSpPr>
              <p:nvPr/>
            </p:nvSpPr>
            <p:spPr bwMode="auto">
              <a:xfrm>
                <a:off x="-2897365" y="733333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96" name="Rectangle 637">
                <a:extLst>
                  <a:ext uri="{FF2B5EF4-FFF2-40B4-BE49-F238E27FC236}">
                    <a16:creationId xmlns:a16="http://schemas.microsoft.com/office/drawing/2014/main" id="{7C2700D3-3470-4C8A-8D13-4E084B2AABC8}"/>
                  </a:ext>
                </a:extLst>
              </p:cNvPr>
              <p:cNvSpPr>
                <a:spLocks noChangeArrowheads="1"/>
              </p:cNvSpPr>
              <p:nvPr/>
            </p:nvSpPr>
            <p:spPr bwMode="auto">
              <a:xfrm>
                <a:off x="-2802421" y="6902501"/>
                <a:ext cx="306330" cy="637741"/>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97" name="Rectangle 638">
                <a:extLst>
                  <a:ext uri="{FF2B5EF4-FFF2-40B4-BE49-F238E27FC236}">
                    <a16:creationId xmlns:a16="http://schemas.microsoft.com/office/drawing/2014/main" id="{E84B9492-E381-4E6B-B54C-8B0C64BC8254}"/>
                  </a:ext>
                </a:extLst>
              </p:cNvPr>
              <p:cNvSpPr>
                <a:spLocks noChangeArrowheads="1"/>
              </p:cNvSpPr>
              <p:nvPr/>
            </p:nvSpPr>
            <p:spPr bwMode="auto">
              <a:xfrm>
                <a:off x="-2496091" y="6902501"/>
                <a:ext cx="89570" cy="637741"/>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98" name="Rectangle 639">
                <a:extLst>
                  <a:ext uri="{FF2B5EF4-FFF2-40B4-BE49-F238E27FC236}">
                    <a16:creationId xmlns:a16="http://schemas.microsoft.com/office/drawing/2014/main" id="{E92DE853-FB56-41F5-95DD-22CE7E7173FE}"/>
                  </a:ext>
                </a:extLst>
              </p:cNvPr>
              <p:cNvSpPr>
                <a:spLocks noChangeArrowheads="1"/>
              </p:cNvSpPr>
              <p:nvPr/>
            </p:nvSpPr>
            <p:spPr bwMode="auto">
              <a:xfrm>
                <a:off x="-2772863" y="6934746"/>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99" name="Rectangle 640">
                <a:extLst>
                  <a:ext uri="{FF2B5EF4-FFF2-40B4-BE49-F238E27FC236}">
                    <a16:creationId xmlns:a16="http://schemas.microsoft.com/office/drawing/2014/main" id="{23B93B30-4F38-4CD6-A602-0C1924CE2FBE}"/>
                  </a:ext>
                </a:extLst>
              </p:cNvPr>
              <p:cNvSpPr>
                <a:spLocks noChangeArrowheads="1"/>
              </p:cNvSpPr>
              <p:nvPr/>
            </p:nvSpPr>
            <p:spPr bwMode="auto">
              <a:xfrm>
                <a:off x="-2761219" y="694549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00" name="Rectangle 641">
                <a:extLst>
                  <a:ext uri="{FF2B5EF4-FFF2-40B4-BE49-F238E27FC236}">
                    <a16:creationId xmlns:a16="http://schemas.microsoft.com/office/drawing/2014/main" id="{9ED7EECB-472E-4D66-A9C3-5D1619A2077C}"/>
                  </a:ext>
                </a:extLst>
              </p:cNvPr>
              <p:cNvSpPr>
                <a:spLocks noChangeArrowheads="1"/>
              </p:cNvSpPr>
              <p:nvPr/>
            </p:nvSpPr>
            <p:spPr bwMode="auto">
              <a:xfrm>
                <a:off x="-2742857" y="694549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01" name="Rectangle 642">
                <a:extLst>
                  <a:ext uri="{FF2B5EF4-FFF2-40B4-BE49-F238E27FC236}">
                    <a16:creationId xmlns:a16="http://schemas.microsoft.com/office/drawing/2014/main" id="{BFDF2867-4794-4207-8CF7-49FB747EF97A}"/>
                  </a:ext>
                </a:extLst>
              </p:cNvPr>
              <p:cNvSpPr>
                <a:spLocks noChangeArrowheads="1"/>
              </p:cNvSpPr>
              <p:nvPr/>
            </p:nvSpPr>
            <p:spPr bwMode="auto">
              <a:xfrm>
                <a:off x="-2724495" y="694549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02" name="Rectangle 643">
                <a:extLst>
                  <a:ext uri="{FF2B5EF4-FFF2-40B4-BE49-F238E27FC236}">
                    <a16:creationId xmlns:a16="http://schemas.microsoft.com/office/drawing/2014/main" id="{01B8E63F-45FB-4E49-BDBA-7F8F9D371577}"/>
                  </a:ext>
                </a:extLst>
              </p:cNvPr>
              <p:cNvSpPr>
                <a:spLocks noChangeArrowheads="1"/>
              </p:cNvSpPr>
              <p:nvPr/>
            </p:nvSpPr>
            <p:spPr bwMode="auto">
              <a:xfrm>
                <a:off x="-2706133" y="694549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03" name="Oval 644">
                <a:extLst>
                  <a:ext uri="{FF2B5EF4-FFF2-40B4-BE49-F238E27FC236}">
                    <a16:creationId xmlns:a16="http://schemas.microsoft.com/office/drawing/2014/main" id="{E29D0266-9E83-42AA-966C-FFE310E46527}"/>
                  </a:ext>
                </a:extLst>
              </p:cNvPr>
              <p:cNvSpPr>
                <a:spLocks noChangeArrowheads="1"/>
              </p:cNvSpPr>
              <p:nvPr/>
            </p:nvSpPr>
            <p:spPr bwMode="auto">
              <a:xfrm>
                <a:off x="-2579391" y="6962513"/>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04" name="Oval 645">
                <a:extLst>
                  <a:ext uri="{FF2B5EF4-FFF2-40B4-BE49-F238E27FC236}">
                    <a16:creationId xmlns:a16="http://schemas.microsoft.com/office/drawing/2014/main" id="{677D6C11-D4F5-4571-BD7D-D475BFA5A979}"/>
                  </a:ext>
                </a:extLst>
              </p:cNvPr>
              <p:cNvSpPr>
                <a:spLocks noChangeArrowheads="1"/>
              </p:cNvSpPr>
              <p:nvPr/>
            </p:nvSpPr>
            <p:spPr bwMode="auto">
              <a:xfrm>
                <a:off x="-2554312" y="6962513"/>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05" name="Rectangle 646">
                <a:extLst>
                  <a:ext uri="{FF2B5EF4-FFF2-40B4-BE49-F238E27FC236}">
                    <a16:creationId xmlns:a16="http://schemas.microsoft.com/office/drawing/2014/main" id="{565AA127-CC23-48DF-953D-1B8AEAE48965}"/>
                  </a:ext>
                </a:extLst>
              </p:cNvPr>
              <p:cNvSpPr>
                <a:spLocks noChangeArrowheads="1"/>
              </p:cNvSpPr>
              <p:nvPr/>
            </p:nvSpPr>
            <p:spPr bwMode="auto">
              <a:xfrm>
                <a:off x="-2772863" y="7016255"/>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06" name="Rectangle 647">
                <a:extLst>
                  <a:ext uri="{FF2B5EF4-FFF2-40B4-BE49-F238E27FC236}">
                    <a16:creationId xmlns:a16="http://schemas.microsoft.com/office/drawing/2014/main" id="{E9C6F266-1264-4A8A-A7B4-04FB34BB6C27}"/>
                  </a:ext>
                </a:extLst>
              </p:cNvPr>
              <p:cNvSpPr>
                <a:spLocks noChangeArrowheads="1"/>
              </p:cNvSpPr>
              <p:nvPr/>
            </p:nvSpPr>
            <p:spPr bwMode="auto">
              <a:xfrm>
                <a:off x="-2761219" y="7027004"/>
                <a:ext cx="11196"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07" name="Rectangle 648">
                <a:extLst>
                  <a:ext uri="{FF2B5EF4-FFF2-40B4-BE49-F238E27FC236}">
                    <a16:creationId xmlns:a16="http://schemas.microsoft.com/office/drawing/2014/main" id="{401D8D68-C0B0-4175-807F-548F5D3355D2}"/>
                  </a:ext>
                </a:extLst>
              </p:cNvPr>
              <p:cNvSpPr>
                <a:spLocks noChangeArrowheads="1"/>
              </p:cNvSpPr>
              <p:nvPr/>
            </p:nvSpPr>
            <p:spPr bwMode="auto">
              <a:xfrm>
                <a:off x="-2742857" y="702700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08" name="Rectangle 649">
                <a:extLst>
                  <a:ext uri="{FF2B5EF4-FFF2-40B4-BE49-F238E27FC236}">
                    <a16:creationId xmlns:a16="http://schemas.microsoft.com/office/drawing/2014/main" id="{3554E104-2D95-4851-A125-932C9B044941}"/>
                  </a:ext>
                </a:extLst>
              </p:cNvPr>
              <p:cNvSpPr>
                <a:spLocks noChangeArrowheads="1"/>
              </p:cNvSpPr>
              <p:nvPr/>
            </p:nvSpPr>
            <p:spPr bwMode="auto">
              <a:xfrm>
                <a:off x="-2724495" y="702700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09" name="Rectangle 650">
                <a:extLst>
                  <a:ext uri="{FF2B5EF4-FFF2-40B4-BE49-F238E27FC236}">
                    <a16:creationId xmlns:a16="http://schemas.microsoft.com/office/drawing/2014/main" id="{AF45EC29-9E0B-4732-8864-C7A4D0F7E685}"/>
                  </a:ext>
                </a:extLst>
              </p:cNvPr>
              <p:cNvSpPr>
                <a:spLocks noChangeArrowheads="1"/>
              </p:cNvSpPr>
              <p:nvPr/>
            </p:nvSpPr>
            <p:spPr bwMode="auto">
              <a:xfrm>
                <a:off x="-2706133" y="702700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10" name="Oval 651">
                <a:extLst>
                  <a:ext uri="{FF2B5EF4-FFF2-40B4-BE49-F238E27FC236}">
                    <a16:creationId xmlns:a16="http://schemas.microsoft.com/office/drawing/2014/main" id="{33FD5DEF-75FE-4118-A29F-F92F02FCE31A}"/>
                  </a:ext>
                </a:extLst>
              </p:cNvPr>
              <p:cNvSpPr>
                <a:spLocks noChangeArrowheads="1"/>
              </p:cNvSpPr>
              <p:nvPr/>
            </p:nvSpPr>
            <p:spPr bwMode="auto">
              <a:xfrm>
                <a:off x="-2579391" y="7044022"/>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11" name="Oval 652">
                <a:extLst>
                  <a:ext uri="{FF2B5EF4-FFF2-40B4-BE49-F238E27FC236}">
                    <a16:creationId xmlns:a16="http://schemas.microsoft.com/office/drawing/2014/main" id="{D97536E6-3B80-4D51-A031-193F694E8F46}"/>
                  </a:ext>
                </a:extLst>
              </p:cNvPr>
              <p:cNvSpPr>
                <a:spLocks noChangeArrowheads="1"/>
              </p:cNvSpPr>
              <p:nvPr/>
            </p:nvSpPr>
            <p:spPr bwMode="auto">
              <a:xfrm>
                <a:off x="-2554312" y="7044022"/>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12" name="Rectangle 653">
                <a:extLst>
                  <a:ext uri="{FF2B5EF4-FFF2-40B4-BE49-F238E27FC236}">
                    <a16:creationId xmlns:a16="http://schemas.microsoft.com/office/drawing/2014/main" id="{64303254-DA02-4C0F-865A-E9D3EE41FD1A}"/>
                  </a:ext>
                </a:extLst>
              </p:cNvPr>
              <p:cNvSpPr>
                <a:spLocks noChangeArrowheads="1"/>
              </p:cNvSpPr>
              <p:nvPr/>
            </p:nvSpPr>
            <p:spPr bwMode="auto">
              <a:xfrm>
                <a:off x="-2772863" y="7097316"/>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13" name="Rectangle 654">
                <a:extLst>
                  <a:ext uri="{FF2B5EF4-FFF2-40B4-BE49-F238E27FC236}">
                    <a16:creationId xmlns:a16="http://schemas.microsoft.com/office/drawing/2014/main" id="{8914E427-A4EC-4176-AFB6-E8B8979C40C4}"/>
                  </a:ext>
                </a:extLst>
              </p:cNvPr>
              <p:cNvSpPr>
                <a:spLocks noChangeArrowheads="1"/>
              </p:cNvSpPr>
              <p:nvPr/>
            </p:nvSpPr>
            <p:spPr bwMode="auto">
              <a:xfrm>
                <a:off x="-2761219" y="710806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14" name="Rectangle 655">
                <a:extLst>
                  <a:ext uri="{FF2B5EF4-FFF2-40B4-BE49-F238E27FC236}">
                    <a16:creationId xmlns:a16="http://schemas.microsoft.com/office/drawing/2014/main" id="{781A262B-D6D1-4E4D-B766-88CB4D2B2907}"/>
                  </a:ext>
                </a:extLst>
              </p:cNvPr>
              <p:cNvSpPr>
                <a:spLocks noChangeArrowheads="1"/>
              </p:cNvSpPr>
              <p:nvPr/>
            </p:nvSpPr>
            <p:spPr bwMode="auto">
              <a:xfrm>
                <a:off x="-2742857" y="710806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15" name="Rectangle 656">
                <a:extLst>
                  <a:ext uri="{FF2B5EF4-FFF2-40B4-BE49-F238E27FC236}">
                    <a16:creationId xmlns:a16="http://schemas.microsoft.com/office/drawing/2014/main" id="{6F8B3204-A149-4047-9B40-7BFC399F9014}"/>
                  </a:ext>
                </a:extLst>
              </p:cNvPr>
              <p:cNvSpPr>
                <a:spLocks noChangeArrowheads="1"/>
              </p:cNvSpPr>
              <p:nvPr/>
            </p:nvSpPr>
            <p:spPr bwMode="auto">
              <a:xfrm>
                <a:off x="-2724495" y="710806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16" name="Rectangle 657">
                <a:extLst>
                  <a:ext uri="{FF2B5EF4-FFF2-40B4-BE49-F238E27FC236}">
                    <a16:creationId xmlns:a16="http://schemas.microsoft.com/office/drawing/2014/main" id="{B2B3FB9C-B9A0-4C10-84B5-C1A2C939CCDA}"/>
                  </a:ext>
                </a:extLst>
              </p:cNvPr>
              <p:cNvSpPr>
                <a:spLocks noChangeArrowheads="1"/>
              </p:cNvSpPr>
              <p:nvPr/>
            </p:nvSpPr>
            <p:spPr bwMode="auto">
              <a:xfrm>
                <a:off x="-2706133" y="710806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17" name="Oval 658">
                <a:extLst>
                  <a:ext uri="{FF2B5EF4-FFF2-40B4-BE49-F238E27FC236}">
                    <a16:creationId xmlns:a16="http://schemas.microsoft.com/office/drawing/2014/main" id="{CCC31CC8-0781-4641-B866-A6B7ED1BED35}"/>
                  </a:ext>
                </a:extLst>
              </p:cNvPr>
              <p:cNvSpPr>
                <a:spLocks noChangeArrowheads="1"/>
              </p:cNvSpPr>
              <p:nvPr/>
            </p:nvSpPr>
            <p:spPr bwMode="auto">
              <a:xfrm>
                <a:off x="-2579391" y="7125531"/>
                <a:ext cx="14779" cy="143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18" name="Oval 659">
                <a:extLst>
                  <a:ext uri="{FF2B5EF4-FFF2-40B4-BE49-F238E27FC236}">
                    <a16:creationId xmlns:a16="http://schemas.microsoft.com/office/drawing/2014/main" id="{55786FBE-F3E4-4306-91A2-95AF739D5355}"/>
                  </a:ext>
                </a:extLst>
              </p:cNvPr>
              <p:cNvSpPr>
                <a:spLocks noChangeArrowheads="1"/>
              </p:cNvSpPr>
              <p:nvPr/>
            </p:nvSpPr>
            <p:spPr bwMode="auto">
              <a:xfrm>
                <a:off x="-2554312" y="7125531"/>
                <a:ext cx="14779" cy="1433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19" name="Rectangle 660">
                <a:extLst>
                  <a:ext uri="{FF2B5EF4-FFF2-40B4-BE49-F238E27FC236}">
                    <a16:creationId xmlns:a16="http://schemas.microsoft.com/office/drawing/2014/main" id="{635E0DD7-7D5B-4644-80EC-9A497765F2A7}"/>
                  </a:ext>
                </a:extLst>
              </p:cNvPr>
              <p:cNvSpPr>
                <a:spLocks noChangeArrowheads="1"/>
              </p:cNvSpPr>
              <p:nvPr/>
            </p:nvSpPr>
            <p:spPr bwMode="auto">
              <a:xfrm>
                <a:off x="-2772863" y="7178825"/>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20" name="Rectangle 661">
                <a:extLst>
                  <a:ext uri="{FF2B5EF4-FFF2-40B4-BE49-F238E27FC236}">
                    <a16:creationId xmlns:a16="http://schemas.microsoft.com/office/drawing/2014/main" id="{CF481AD3-CF84-424A-BBBF-5A66D292A274}"/>
                  </a:ext>
                </a:extLst>
              </p:cNvPr>
              <p:cNvSpPr>
                <a:spLocks noChangeArrowheads="1"/>
              </p:cNvSpPr>
              <p:nvPr/>
            </p:nvSpPr>
            <p:spPr bwMode="auto">
              <a:xfrm>
                <a:off x="-2761219" y="7189574"/>
                <a:ext cx="11196"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21" name="Rectangle 662">
                <a:extLst>
                  <a:ext uri="{FF2B5EF4-FFF2-40B4-BE49-F238E27FC236}">
                    <a16:creationId xmlns:a16="http://schemas.microsoft.com/office/drawing/2014/main" id="{C2E88E2E-C936-441D-843F-EE38784C5565}"/>
                  </a:ext>
                </a:extLst>
              </p:cNvPr>
              <p:cNvSpPr>
                <a:spLocks noChangeArrowheads="1"/>
              </p:cNvSpPr>
              <p:nvPr/>
            </p:nvSpPr>
            <p:spPr bwMode="auto">
              <a:xfrm>
                <a:off x="-2742857" y="718957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22" name="Rectangle 663">
                <a:extLst>
                  <a:ext uri="{FF2B5EF4-FFF2-40B4-BE49-F238E27FC236}">
                    <a16:creationId xmlns:a16="http://schemas.microsoft.com/office/drawing/2014/main" id="{BB9221E2-03E0-46AC-925A-5C5A8BD7820E}"/>
                  </a:ext>
                </a:extLst>
              </p:cNvPr>
              <p:cNvSpPr>
                <a:spLocks noChangeArrowheads="1"/>
              </p:cNvSpPr>
              <p:nvPr/>
            </p:nvSpPr>
            <p:spPr bwMode="auto">
              <a:xfrm>
                <a:off x="-2724495" y="718957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23" name="Rectangle 664">
                <a:extLst>
                  <a:ext uri="{FF2B5EF4-FFF2-40B4-BE49-F238E27FC236}">
                    <a16:creationId xmlns:a16="http://schemas.microsoft.com/office/drawing/2014/main" id="{74DC184D-CC86-41EF-B38B-B1D88FC1C869}"/>
                  </a:ext>
                </a:extLst>
              </p:cNvPr>
              <p:cNvSpPr>
                <a:spLocks noChangeArrowheads="1"/>
              </p:cNvSpPr>
              <p:nvPr/>
            </p:nvSpPr>
            <p:spPr bwMode="auto">
              <a:xfrm>
                <a:off x="-2706133" y="718957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24" name="Oval 665">
                <a:extLst>
                  <a:ext uri="{FF2B5EF4-FFF2-40B4-BE49-F238E27FC236}">
                    <a16:creationId xmlns:a16="http://schemas.microsoft.com/office/drawing/2014/main" id="{7DBDE27F-8132-4A1E-BF5F-D34F1207B229}"/>
                  </a:ext>
                </a:extLst>
              </p:cNvPr>
              <p:cNvSpPr>
                <a:spLocks noChangeArrowheads="1"/>
              </p:cNvSpPr>
              <p:nvPr/>
            </p:nvSpPr>
            <p:spPr bwMode="auto">
              <a:xfrm>
                <a:off x="-2579391" y="7206592"/>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25" name="Oval 666">
                <a:extLst>
                  <a:ext uri="{FF2B5EF4-FFF2-40B4-BE49-F238E27FC236}">
                    <a16:creationId xmlns:a16="http://schemas.microsoft.com/office/drawing/2014/main" id="{B8976A6A-8D1F-430F-972E-E84D5152E72A}"/>
                  </a:ext>
                </a:extLst>
              </p:cNvPr>
              <p:cNvSpPr>
                <a:spLocks noChangeArrowheads="1"/>
              </p:cNvSpPr>
              <p:nvPr/>
            </p:nvSpPr>
            <p:spPr bwMode="auto">
              <a:xfrm>
                <a:off x="-2554312" y="7206592"/>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26" name="Rectangle 667">
                <a:extLst>
                  <a:ext uri="{FF2B5EF4-FFF2-40B4-BE49-F238E27FC236}">
                    <a16:creationId xmlns:a16="http://schemas.microsoft.com/office/drawing/2014/main" id="{ED162F9C-16CA-4FF6-AE67-85F99E0ACF25}"/>
                  </a:ext>
                </a:extLst>
              </p:cNvPr>
              <p:cNvSpPr>
                <a:spLocks noChangeArrowheads="1"/>
              </p:cNvSpPr>
              <p:nvPr/>
            </p:nvSpPr>
            <p:spPr bwMode="auto">
              <a:xfrm>
                <a:off x="-2772863" y="7260334"/>
                <a:ext cx="247662"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27" name="Rectangle 668">
                <a:extLst>
                  <a:ext uri="{FF2B5EF4-FFF2-40B4-BE49-F238E27FC236}">
                    <a16:creationId xmlns:a16="http://schemas.microsoft.com/office/drawing/2014/main" id="{CC5FE611-AFCD-43ED-A60A-9FBF6354BA08}"/>
                  </a:ext>
                </a:extLst>
              </p:cNvPr>
              <p:cNvSpPr>
                <a:spLocks noChangeArrowheads="1"/>
              </p:cNvSpPr>
              <p:nvPr/>
            </p:nvSpPr>
            <p:spPr bwMode="auto">
              <a:xfrm>
                <a:off x="-2761219" y="727063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30" name="Rectangle 669">
                <a:extLst>
                  <a:ext uri="{FF2B5EF4-FFF2-40B4-BE49-F238E27FC236}">
                    <a16:creationId xmlns:a16="http://schemas.microsoft.com/office/drawing/2014/main" id="{4F4BA6EB-5660-4FF5-8B10-A2D079DCA71D}"/>
                  </a:ext>
                </a:extLst>
              </p:cNvPr>
              <p:cNvSpPr>
                <a:spLocks noChangeArrowheads="1"/>
              </p:cNvSpPr>
              <p:nvPr/>
            </p:nvSpPr>
            <p:spPr bwMode="auto">
              <a:xfrm>
                <a:off x="-2742857" y="727063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31" name="Rectangle 670">
                <a:extLst>
                  <a:ext uri="{FF2B5EF4-FFF2-40B4-BE49-F238E27FC236}">
                    <a16:creationId xmlns:a16="http://schemas.microsoft.com/office/drawing/2014/main" id="{A5C5915A-63DA-4EF4-9F4F-7211CD2DC5BD}"/>
                  </a:ext>
                </a:extLst>
              </p:cNvPr>
              <p:cNvSpPr>
                <a:spLocks noChangeArrowheads="1"/>
              </p:cNvSpPr>
              <p:nvPr/>
            </p:nvSpPr>
            <p:spPr bwMode="auto">
              <a:xfrm>
                <a:off x="-2724495" y="727063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32" name="Rectangle 671">
                <a:extLst>
                  <a:ext uri="{FF2B5EF4-FFF2-40B4-BE49-F238E27FC236}">
                    <a16:creationId xmlns:a16="http://schemas.microsoft.com/office/drawing/2014/main" id="{7CF546F6-EDE8-43C8-80E9-0E68027A8EFF}"/>
                  </a:ext>
                </a:extLst>
              </p:cNvPr>
              <p:cNvSpPr>
                <a:spLocks noChangeArrowheads="1"/>
              </p:cNvSpPr>
              <p:nvPr/>
            </p:nvSpPr>
            <p:spPr bwMode="auto">
              <a:xfrm>
                <a:off x="-2706133" y="727063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33" name="Oval 672">
                <a:extLst>
                  <a:ext uri="{FF2B5EF4-FFF2-40B4-BE49-F238E27FC236}">
                    <a16:creationId xmlns:a16="http://schemas.microsoft.com/office/drawing/2014/main" id="{457D4438-D2EA-4A79-9213-D5651524882F}"/>
                  </a:ext>
                </a:extLst>
              </p:cNvPr>
              <p:cNvSpPr>
                <a:spLocks noChangeArrowheads="1"/>
              </p:cNvSpPr>
              <p:nvPr/>
            </p:nvSpPr>
            <p:spPr bwMode="auto">
              <a:xfrm>
                <a:off x="-2579391" y="7288101"/>
                <a:ext cx="14779" cy="143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34" name="Oval 673">
                <a:extLst>
                  <a:ext uri="{FF2B5EF4-FFF2-40B4-BE49-F238E27FC236}">
                    <a16:creationId xmlns:a16="http://schemas.microsoft.com/office/drawing/2014/main" id="{F958F016-8FF9-4798-AC48-14BD5B0A4B28}"/>
                  </a:ext>
                </a:extLst>
              </p:cNvPr>
              <p:cNvSpPr>
                <a:spLocks noChangeArrowheads="1"/>
              </p:cNvSpPr>
              <p:nvPr/>
            </p:nvSpPr>
            <p:spPr bwMode="auto">
              <a:xfrm>
                <a:off x="-2554312" y="7288101"/>
                <a:ext cx="14779" cy="1433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35" name="Rectangle 674">
                <a:extLst>
                  <a:ext uri="{FF2B5EF4-FFF2-40B4-BE49-F238E27FC236}">
                    <a16:creationId xmlns:a16="http://schemas.microsoft.com/office/drawing/2014/main" id="{1C3E8E0E-A994-4B18-8D6F-2962BD36A0DC}"/>
                  </a:ext>
                </a:extLst>
              </p:cNvPr>
              <p:cNvSpPr>
                <a:spLocks noChangeArrowheads="1"/>
              </p:cNvSpPr>
              <p:nvPr/>
            </p:nvSpPr>
            <p:spPr bwMode="auto">
              <a:xfrm>
                <a:off x="-2772863" y="7341395"/>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36" name="Rectangle 675">
                <a:extLst>
                  <a:ext uri="{FF2B5EF4-FFF2-40B4-BE49-F238E27FC236}">
                    <a16:creationId xmlns:a16="http://schemas.microsoft.com/office/drawing/2014/main" id="{95B8B328-1EB4-4934-A8EC-718B53F81189}"/>
                  </a:ext>
                </a:extLst>
              </p:cNvPr>
              <p:cNvSpPr>
                <a:spLocks noChangeArrowheads="1"/>
              </p:cNvSpPr>
              <p:nvPr/>
            </p:nvSpPr>
            <p:spPr bwMode="auto">
              <a:xfrm>
                <a:off x="-2761219" y="7352144"/>
                <a:ext cx="11196"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37" name="Rectangle 676">
                <a:extLst>
                  <a:ext uri="{FF2B5EF4-FFF2-40B4-BE49-F238E27FC236}">
                    <a16:creationId xmlns:a16="http://schemas.microsoft.com/office/drawing/2014/main" id="{C399970E-4677-4E71-9138-70C22864E859}"/>
                  </a:ext>
                </a:extLst>
              </p:cNvPr>
              <p:cNvSpPr>
                <a:spLocks noChangeArrowheads="1"/>
              </p:cNvSpPr>
              <p:nvPr/>
            </p:nvSpPr>
            <p:spPr bwMode="auto">
              <a:xfrm>
                <a:off x="-2742857" y="735214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38" name="Rectangle 677">
                <a:extLst>
                  <a:ext uri="{FF2B5EF4-FFF2-40B4-BE49-F238E27FC236}">
                    <a16:creationId xmlns:a16="http://schemas.microsoft.com/office/drawing/2014/main" id="{69FAB274-934C-48F9-8AA8-2CD93C646483}"/>
                  </a:ext>
                </a:extLst>
              </p:cNvPr>
              <p:cNvSpPr>
                <a:spLocks noChangeArrowheads="1"/>
              </p:cNvSpPr>
              <p:nvPr/>
            </p:nvSpPr>
            <p:spPr bwMode="auto">
              <a:xfrm>
                <a:off x="-2724495" y="735214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39" name="Rectangle 678">
                <a:extLst>
                  <a:ext uri="{FF2B5EF4-FFF2-40B4-BE49-F238E27FC236}">
                    <a16:creationId xmlns:a16="http://schemas.microsoft.com/office/drawing/2014/main" id="{8EA5B943-2BB4-4CE2-89BC-418FC7ED06AD}"/>
                  </a:ext>
                </a:extLst>
              </p:cNvPr>
              <p:cNvSpPr>
                <a:spLocks noChangeArrowheads="1"/>
              </p:cNvSpPr>
              <p:nvPr/>
            </p:nvSpPr>
            <p:spPr bwMode="auto">
              <a:xfrm>
                <a:off x="-2706133" y="735214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40" name="Oval 679">
                <a:extLst>
                  <a:ext uri="{FF2B5EF4-FFF2-40B4-BE49-F238E27FC236}">
                    <a16:creationId xmlns:a16="http://schemas.microsoft.com/office/drawing/2014/main" id="{14C53C31-E9BE-4ACA-8522-1A8481026746}"/>
                  </a:ext>
                </a:extLst>
              </p:cNvPr>
              <p:cNvSpPr>
                <a:spLocks noChangeArrowheads="1"/>
              </p:cNvSpPr>
              <p:nvPr/>
            </p:nvSpPr>
            <p:spPr bwMode="auto">
              <a:xfrm>
                <a:off x="-2579391" y="7369162"/>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41" name="Oval 680">
                <a:extLst>
                  <a:ext uri="{FF2B5EF4-FFF2-40B4-BE49-F238E27FC236}">
                    <a16:creationId xmlns:a16="http://schemas.microsoft.com/office/drawing/2014/main" id="{EB5AA87C-9F0E-4970-BFE7-5BB2DC73F11C}"/>
                  </a:ext>
                </a:extLst>
              </p:cNvPr>
              <p:cNvSpPr>
                <a:spLocks noChangeArrowheads="1"/>
              </p:cNvSpPr>
              <p:nvPr/>
            </p:nvSpPr>
            <p:spPr bwMode="auto">
              <a:xfrm>
                <a:off x="-2554312" y="7369162"/>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42" name="Rectangle 681">
                <a:extLst>
                  <a:ext uri="{FF2B5EF4-FFF2-40B4-BE49-F238E27FC236}">
                    <a16:creationId xmlns:a16="http://schemas.microsoft.com/office/drawing/2014/main" id="{D1959C01-8DE6-45B9-8D82-BCC8095F3E16}"/>
                  </a:ext>
                </a:extLst>
              </p:cNvPr>
              <p:cNvSpPr>
                <a:spLocks noChangeArrowheads="1"/>
              </p:cNvSpPr>
              <p:nvPr/>
            </p:nvSpPr>
            <p:spPr bwMode="auto">
              <a:xfrm>
                <a:off x="-2772863" y="7422904"/>
                <a:ext cx="247662"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43" name="Rectangle 682">
                <a:extLst>
                  <a:ext uri="{FF2B5EF4-FFF2-40B4-BE49-F238E27FC236}">
                    <a16:creationId xmlns:a16="http://schemas.microsoft.com/office/drawing/2014/main" id="{148C27E0-A843-48CC-84B7-10E768E4292A}"/>
                  </a:ext>
                </a:extLst>
              </p:cNvPr>
              <p:cNvSpPr>
                <a:spLocks noChangeArrowheads="1"/>
              </p:cNvSpPr>
              <p:nvPr/>
            </p:nvSpPr>
            <p:spPr bwMode="auto">
              <a:xfrm>
                <a:off x="-2761219" y="743320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44" name="Rectangle 683">
                <a:extLst>
                  <a:ext uri="{FF2B5EF4-FFF2-40B4-BE49-F238E27FC236}">
                    <a16:creationId xmlns:a16="http://schemas.microsoft.com/office/drawing/2014/main" id="{22F5BB7D-E37A-47ED-B049-729CF2B67060}"/>
                  </a:ext>
                </a:extLst>
              </p:cNvPr>
              <p:cNvSpPr>
                <a:spLocks noChangeArrowheads="1"/>
              </p:cNvSpPr>
              <p:nvPr/>
            </p:nvSpPr>
            <p:spPr bwMode="auto">
              <a:xfrm>
                <a:off x="-2742857" y="743320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45" name="Rectangle 684">
                <a:extLst>
                  <a:ext uri="{FF2B5EF4-FFF2-40B4-BE49-F238E27FC236}">
                    <a16:creationId xmlns:a16="http://schemas.microsoft.com/office/drawing/2014/main" id="{3AC06319-0312-479F-950C-E97C7540749B}"/>
                  </a:ext>
                </a:extLst>
              </p:cNvPr>
              <p:cNvSpPr>
                <a:spLocks noChangeArrowheads="1"/>
              </p:cNvSpPr>
              <p:nvPr/>
            </p:nvSpPr>
            <p:spPr bwMode="auto">
              <a:xfrm>
                <a:off x="-2724495" y="743320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46" name="Rectangle 685">
                <a:extLst>
                  <a:ext uri="{FF2B5EF4-FFF2-40B4-BE49-F238E27FC236}">
                    <a16:creationId xmlns:a16="http://schemas.microsoft.com/office/drawing/2014/main" id="{212CDD61-B8BA-48ED-B6F8-70EB4241177A}"/>
                  </a:ext>
                </a:extLst>
              </p:cNvPr>
              <p:cNvSpPr>
                <a:spLocks noChangeArrowheads="1"/>
              </p:cNvSpPr>
              <p:nvPr/>
            </p:nvSpPr>
            <p:spPr bwMode="auto">
              <a:xfrm>
                <a:off x="-2706133" y="743320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47" name="Oval 686">
                <a:extLst>
                  <a:ext uri="{FF2B5EF4-FFF2-40B4-BE49-F238E27FC236}">
                    <a16:creationId xmlns:a16="http://schemas.microsoft.com/office/drawing/2014/main" id="{1049F8CF-5657-473B-B0B1-D84EC2B96C0B}"/>
                  </a:ext>
                </a:extLst>
              </p:cNvPr>
              <p:cNvSpPr>
                <a:spLocks noChangeArrowheads="1"/>
              </p:cNvSpPr>
              <p:nvPr/>
            </p:nvSpPr>
            <p:spPr bwMode="auto">
              <a:xfrm>
                <a:off x="-2579391" y="7450671"/>
                <a:ext cx="14779" cy="143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48" name="Oval 687">
                <a:extLst>
                  <a:ext uri="{FF2B5EF4-FFF2-40B4-BE49-F238E27FC236}">
                    <a16:creationId xmlns:a16="http://schemas.microsoft.com/office/drawing/2014/main" id="{3C34F5C6-E853-4E9F-B1AA-75D2892422A1}"/>
                  </a:ext>
                </a:extLst>
              </p:cNvPr>
              <p:cNvSpPr>
                <a:spLocks noChangeArrowheads="1"/>
              </p:cNvSpPr>
              <p:nvPr/>
            </p:nvSpPr>
            <p:spPr bwMode="auto">
              <a:xfrm>
                <a:off x="-2554312" y="7450671"/>
                <a:ext cx="14779" cy="1433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49" name="Freeform 688">
                <a:extLst>
                  <a:ext uri="{FF2B5EF4-FFF2-40B4-BE49-F238E27FC236}">
                    <a16:creationId xmlns:a16="http://schemas.microsoft.com/office/drawing/2014/main" id="{8361EFCA-2CC3-4AC5-9BCF-B7AA429B8B68}"/>
                  </a:ext>
                </a:extLst>
              </p:cNvPr>
              <p:cNvSpPr>
                <a:spLocks/>
              </p:cNvSpPr>
              <p:nvPr/>
            </p:nvSpPr>
            <p:spPr bwMode="auto">
              <a:xfrm>
                <a:off x="-3475541" y="7181960"/>
                <a:ext cx="1216363" cy="394557"/>
              </a:xfrm>
              <a:custGeom>
                <a:avLst/>
                <a:gdLst>
                  <a:gd name="T0" fmla="*/ 7965 w 8474"/>
                  <a:gd name="T1" fmla="*/ 1733 h 2750"/>
                  <a:gd name="T2" fmla="*/ 7748 w 8474"/>
                  <a:gd name="T3" fmla="*/ 1782 h 2750"/>
                  <a:gd name="T4" fmla="*/ 7749 w 8474"/>
                  <a:gd name="T5" fmla="*/ 1733 h 2750"/>
                  <a:gd name="T6" fmla="*/ 6732 w 8474"/>
                  <a:gd name="T7" fmla="*/ 715 h 2750"/>
                  <a:gd name="T8" fmla="*/ 5718 w 8474"/>
                  <a:gd name="T9" fmla="*/ 1642 h 2750"/>
                  <a:gd name="T10" fmla="*/ 5161 w 8474"/>
                  <a:gd name="T11" fmla="*/ 1362 h 2750"/>
                  <a:gd name="T12" fmla="*/ 4885 w 8474"/>
                  <a:gd name="T13" fmla="*/ 1419 h 2750"/>
                  <a:gd name="T14" fmla="*/ 4633 w 8474"/>
                  <a:gd name="T15" fmla="*/ 1321 h 2750"/>
                  <a:gd name="T16" fmla="*/ 4365 w 8474"/>
                  <a:gd name="T17" fmla="*/ 1434 h 2750"/>
                  <a:gd name="T18" fmla="*/ 4368 w 8474"/>
                  <a:gd name="T19" fmla="*/ 1382 h 2750"/>
                  <a:gd name="T20" fmla="*/ 3681 w 8474"/>
                  <a:gd name="T21" fmla="*/ 696 h 2750"/>
                  <a:gd name="T22" fmla="*/ 3088 w 8474"/>
                  <a:gd name="T23" fmla="*/ 1038 h 2750"/>
                  <a:gd name="T24" fmla="*/ 3088 w 8474"/>
                  <a:gd name="T25" fmla="*/ 1034 h 2750"/>
                  <a:gd name="T26" fmla="*/ 2054 w 8474"/>
                  <a:gd name="T27" fmla="*/ 0 h 2750"/>
                  <a:gd name="T28" fmla="*/ 1020 w 8474"/>
                  <a:gd name="T29" fmla="*/ 1034 h 2750"/>
                  <a:gd name="T30" fmla="*/ 1041 w 8474"/>
                  <a:gd name="T31" fmla="*/ 1243 h 2750"/>
                  <a:gd name="T32" fmla="*/ 555 w 8474"/>
                  <a:gd name="T33" fmla="*/ 957 h 2750"/>
                  <a:gd name="T34" fmla="*/ 0 w 8474"/>
                  <a:gd name="T35" fmla="*/ 1513 h 2750"/>
                  <a:gd name="T36" fmla="*/ 555 w 8474"/>
                  <a:gd name="T37" fmla="*/ 2068 h 2750"/>
                  <a:gd name="T38" fmla="*/ 2054 w 8474"/>
                  <a:gd name="T39" fmla="*/ 2068 h 2750"/>
                  <a:gd name="T40" fmla="*/ 3681 w 8474"/>
                  <a:gd name="T41" fmla="*/ 2068 h 2750"/>
                  <a:gd name="T42" fmla="*/ 4467 w 8474"/>
                  <a:gd name="T43" fmla="*/ 2068 h 2750"/>
                  <a:gd name="T44" fmla="*/ 5161 w 8474"/>
                  <a:gd name="T45" fmla="*/ 2750 h 2750"/>
                  <a:gd name="T46" fmla="*/ 7965 w 8474"/>
                  <a:gd name="T47" fmla="*/ 2750 h 2750"/>
                  <a:gd name="T48" fmla="*/ 8474 w 8474"/>
                  <a:gd name="T49" fmla="*/ 2242 h 2750"/>
                  <a:gd name="T50" fmla="*/ 7965 w 8474"/>
                  <a:gd name="T51" fmla="*/ 1733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474" h="2750">
                    <a:moveTo>
                      <a:pt x="7965" y="1733"/>
                    </a:moveTo>
                    <a:cubicBezTo>
                      <a:pt x="7887" y="1733"/>
                      <a:pt x="7814" y="1751"/>
                      <a:pt x="7748" y="1782"/>
                    </a:cubicBezTo>
                    <a:cubicBezTo>
                      <a:pt x="7749" y="1766"/>
                      <a:pt x="7749" y="1749"/>
                      <a:pt x="7749" y="1733"/>
                    </a:cubicBezTo>
                    <a:cubicBezTo>
                      <a:pt x="7749" y="1171"/>
                      <a:pt x="7294" y="715"/>
                      <a:pt x="6732" y="715"/>
                    </a:cubicBezTo>
                    <a:cubicBezTo>
                      <a:pt x="6200" y="715"/>
                      <a:pt x="5764" y="1122"/>
                      <a:pt x="5718" y="1642"/>
                    </a:cubicBezTo>
                    <a:cubicBezTo>
                      <a:pt x="5592" y="1472"/>
                      <a:pt x="5389" y="1362"/>
                      <a:pt x="5161" y="1362"/>
                    </a:cubicBezTo>
                    <a:cubicBezTo>
                      <a:pt x="5063" y="1362"/>
                      <a:pt x="4969" y="1383"/>
                      <a:pt x="4885" y="1419"/>
                    </a:cubicBezTo>
                    <a:cubicBezTo>
                      <a:pt x="4818" y="1359"/>
                      <a:pt x="4730" y="1321"/>
                      <a:pt x="4633" y="1321"/>
                    </a:cubicBezTo>
                    <a:cubicBezTo>
                      <a:pt x="4528" y="1321"/>
                      <a:pt x="4433" y="1365"/>
                      <a:pt x="4365" y="1434"/>
                    </a:cubicBezTo>
                    <a:cubicBezTo>
                      <a:pt x="4367" y="1417"/>
                      <a:pt x="4368" y="1400"/>
                      <a:pt x="4368" y="1382"/>
                    </a:cubicBezTo>
                    <a:cubicBezTo>
                      <a:pt x="4368" y="1003"/>
                      <a:pt x="4060" y="696"/>
                      <a:pt x="3681" y="696"/>
                    </a:cubicBezTo>
                    <a:cubicBezTo>
                      <a:pt x="3428" y="696"/>
                      <a:pt x="3207" y="834"/>
                      <a:pt x="3088" y="1038"/>
                    </a:cubicBezTo>
                    <a:cubicBezTo>
                      <a:pt x="3088" y="1037"/>
                      <a:pt x="3088" y="1035"/>
                      <a:pt x="3088" y="1034"/>
                    </a:cubicBezTo>
                    <a:cubicBezTo>
                      <a:pt x="3088" y="463"/>
                      <a:pt x="2625" y="0"/>
                      <a:pt x="2054" y="0"/>
                    </a:cubicBezTo>
                    <a:cubicBezTo>
                      <a:pt x="1483" y="0"/>
                      <a:pt x="1020" y="463"/>
                      <a:pt x="1020" y="1034"/>
                    </a:cubicBezTo>
                    <a:cubicBezTo>
                      <a:pt x="1020" y="1106"/>
                      <a:pt x="1027" y="1176"/>
                      <a:pt x="1041" y="1243"/>
                    </a:cubicBezTo>
                    <a:cubicBezTo>
                      <a:pt x="946" y="1073"/>
                      <a:pt x="764" y="957"/>
                      <a:pt x="555" y="957"/>
                    </a:cubicBezTo>
                    <a:cubicBezTo>
                      <a:pt x="249" y="957"/>
                      <a:pt x="0" y="1206"/>
                      <a:pt x="0" y="1513"/>
                    </a:cubicBezTo>
                    <a:cubicBezTo>
                      <a:pt x="0" y="1820"/>
                      <a:pt x="249" y="2068"/>
                      <a:pt x="555" y="2068"/>
                    </a:cubicBezTo>
                    <a:cubicBezTo>
                      <a:pt x="862" y="2068"/>
                      <a:pt x="1631" y="2068"/>
                      <a:pt x="2054" y="2068"/>
                    </a:cubicBezTo>
                    <a:cubicBezTo>
                      <a:pt x="2476" y="2068"/>
                      <a:pt x="3327" y="2068"/>
                      <a:pt x="3681" y="2068"/>
                    </a:cubicBezTo>
                    <a:cubicBezTo>
                      <a:pt x="3873" y="2068"/>
                      <a:pt x="4230" y="2068"/>
                      <a:pt x="4467" y="2068"/>
                    </a:cubicBezTo>
                    <a:cubicBezTo>
                      <a:pt x="4474" y="2446"/>
                      <a:pt x="4782" y="2750"/>
                      <a:pt x="5161" y="2750"/>
                    </a:cubicBezTo>
                    <a:cubicBezTo>
                      <a:pt x="5489" y="2750"/>
                      <a:pt x="7745" y="2750"/>
                      <a:pt x="7965" y="2750"/>
                    </a:cubicBezTo>
                    <a:cubicBezTo>
                      <a:pt x="8246" y="2750"/>
                      <a:pt x="8474" y="2523"/>
                      <a:pt x="8474" y="2242"/>
                    </a:cubicBezTo>
                    <a:cubicBezTo>
                      <a:pt x="8474" y="1961"/>
                      <a:pt x="8246" y="1733"/>
                      <a:pt x="7965" y="1733"/>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grpSp>
        <p:grpSp>
          <p:nvGrpSpPr>
            <p:cNvPr id="19" name="Group 18">
              <a:extLst>
                <a:ext uri="{FF2B5EF4-FFF2-40B4-BE49-F238E27FC236}">
                  <a16:creationId xmlns:a16="http://schemas.microsoft.com/office/drawing/2014/main" id="{1ECC5C1C-D50D-4240-AB05-EEE74C3D3460}"/>
                </a:ext>
              </a:extLst>
            </p:cNvPr>
            <p:cNvGrpSpPr/>
            <p:nvPr/>
          </p:nvGrpSpPr>
          <p:grpSpPr>
            <a:xfrm>
              <a:off x="-3822623" y="6953242"/>
              <a:ext cx="1873808" cy="1526726"/>
              <a:chOff x="-3757687" y="6962513"/>
              <a:chExt cx="1873808" cy="1526726"/>
            </a:xfrm>
          </p:grpSpPr>
          <p:sp>
            <p:nvSpPr>
              <p:cNvPr id="543" name="Freeform 584">
                <a:extLst>
                  <a:ext uri="{FF2B5EF4-FFF2-40B4-BE49-F238E27FC236}">
                    <a16:creationId xmlns:a16="http://schemas.microsoft.com/office/drawing/2014/main" id="{8D38DB51-A671-4EB4-BBC7-039B5E644B22}"/>
                  </a:ext>
                </a:extLst>
              </p:cNvPr>
              <p:cNvSpPr>
                <a:spLocks/>
              </p:cNvSpPr>
              <p:nvPr/>
            </p:nvSpPr>
            <p:spPr bwMode="auto">
              <a:xfrm>
                <a:off x="-2749575" y="8135884"/>
                <a:ext cx="865696" cy="353355"/>
              </a:xfrm>
              <a:custGeom>
                <a:avLst/>
                <a:gdLst>
                  <a:gd name="T0" fmla="*/ 5540 w 6028"/>
                  <a:gd name="T1" fmla="*/ 1488 h 2464"/>
                  <a:gd name="T2" fmla="*/ 5278 w 6028"/>
                  <a:gd name="T3" fmla="*/ 1565 h 2464"/>
                  <a:gd name="T4" fmla="*/ 5279 w 6028"/>
                  <a:gd name="T5" fmla="*/ 1512 h 2464"/>
                  <a:gd name="T6" fmla="*/ 4327 w 6028"/>
                  <a:gd name="T7" fmla="*/ 559 h 2464"/>
                  <a:gd name="T8" fmla="*/ 3668 w 6028"/>
                  <a:gd name="T9" fmla="*/ 824 h 2464"/>
                  <a:gd name="T10" fmla="*/ 2506 w 6028"/>
                  <a:gd name="T11" fmla="*/ 0 h 2464"/>
                  <a:gd name="T12" fmla="*/ 1274 w 6028"/>
                  <a:gd name="T13" fmla="*/ 1220 h 2464"/>
                  <a:gd name="T14" fmla="*/ 738 w 6028"/>
                  <a:gd name="T15" fmla="*/ 988 h 2464"/>
                  <a:gd name="T16" fmla="*/ 0 w 6028"/>
                  <a:gd name="T17" fmla="*/ 1726 h 2464"/>
                  <a:gd name="T18" fmla="*/ 738 w 6028"/>
                  <a:gd name="T19" fmla="*/ 2464 h 2464"/>
                  <a:gd name="T20" fmla="*/ 5540 w 6028"/>
                  <a:gd name="T21" fmla="*/ 2464 h 2464"/>
                  <a:gd name="T22" fmla="*/ 6028 w 6028"/>
                  <a:gd name="T23" fmla="*/ 1976 h 2464"/>
                  <a:gd name="T24" fmla="*/ 5540 w 6028"/>
                  <a:gd name="T25" fmla="*/ 1488 h 2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28" h="2464">
                    <a:moveTo>
                      <a:pt x="5540" y="1488"/>
                    </a:moveTo>
                    <a:cubicBezTo>
                      <a:pt x="5443" y="1488"/>
                      <a:pt x="5353" y="1517"/>
                      <a:pt x="5278" y="1565"/>
                    </a:cubicBezTo>
                    <a:cubicBezTo>
                      <a:pt x="5279" y="1547"/>
                      <a:pt x="5279" y="1530"/>
                      <a:pt x="5279" y="1512"/>
                    </a:cubicBezTo>
                    <a:cubicBezTo>
                      <a:pt x="5279" y="986"/>
                      <a:pt x="4853" y="559"/>
                      <a:pt x="4327" y="559"/>
                    </a:cubicBezTo>
                    <a:cubicBezTo>
                      <a:pt x="4071" y="559"/>
                      <a:pt x="3839" y="660"/>
                      <a:pt x="3668" y="824"/>
                    </a:cubicBezTo>
                    <a:cubicBezTo>
                      <a:pt x="3499" y="344"/>
                      <a:pt x="3043" y="0"/>
                      <a:pt x="2506" y="0"/>
                    </a:cubicBezTo>
                    <a:cubicBezTo>
                      <a:pt x="1829" y="0"/>
                      <a:pt x="1280" y="545"/>
                      <a:pt x="1274" y="1220"/>
                    </a:cubicBezTo>
                    <a:cubicBezTo>
                      <a:pt x="1139" y="1078"/>
                      <a:pt x="949" y="988"/>
                      <a:pt x="738" y="988"/>
                    </a:cubicBezTo>
                    <a:cubicBezTo>
                      <a:pt x="330" y="988"/>
                      <a:pt x="0" y="1319"/>
                      <a:pt x="0" y="1726"/>
                    </a:cubicBezTo>
                    <a:cubicBezTo>
                      <a:pt x="0" y="2134"/>
                      <a:pt x="330" y="2464"/>
                      <a:pt x="738" y="2464"/>
                    </a:cubicBezTo>
                    <a:cubicBezTo>
                      <a:pt x="1092" y="2464"/>
                      <a:pt x="5316" y="2464"/>
                      <a:pt x="5540" y="2464"/>
                    </a:cubicBezTo>
                    <a:cubicBezTo>
                      <a:pt x="5810" y="2464"/>
                      <a:pt x="6028" y="2246"/>
                      <a:pt x="6028" y="1976"/>
                    </a:cubicBezTo>
                    <a:cubicBezTo>
                      <a:pt x="6028" y="1707"/>
                      <a:pt x="5810" y="1488"/>
                      <a:pt x="5540" y="148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44" name="Freeform 585">
                <a:extLst>
                  <a:ext uri="{FF2B5EF4-FFF2-40B4-BE49-F238E27FC236}">
                    <a16:creationId xmlns:a16="http://schemas.microsoft.com/office/drawing/2014/main" id="{D0B3283E-42EA-43D7-8BA7-2A313E551BA5}"/>
                  </a:ext>
                </a:extLst>
              </p:cNvPr>
              <p:cNvSpPr>
                <a:spLocks/>
              </p:cNvSpPr>
              <p:nvPr/>
            </p:nvSpPr>
            <p:spPr bwMode="auto">
              <a:xfrm>
                <a:off x="-3757687" y="7744910"/>
                <a:ext cx="1137093" cy="468901"/>
              </a:xfrm>
              <a:custGeom>
                <a:avLst/>
                <a:gdLst>
                  <a:gd name="T0" fmla="*/ 591 w 7919"/>
                  <a:gd name="T1" fmla="*/ 2089 h 3271"/>
                  <a:gd name="T2" fmla="*/ 1015 w 7919"/>
                  <a:gd name="T3" fmla="*/ 2268 h 3271"/>
                  <a:gd name="T4" fmla="*/ 1011 w 7919"/>
                  <a:gd name="T5" fmla="*/ 2186 h 3271"/>
                  <a:gd name="T6" fmla="*/ 2096 w 7919"/>
                  <a:gd name="T7" fmla="*/ 1101 h 3271"/>
                  <a:gd name="T8" fmla="*/ 3035 w 7919"/>
                  <a:gd name="T9" fmla="*/ 1641 h 3271"/>
                  <a:gd name="T10" fmla="*/ 3035 w 7919"/>
                  <a:gd name="T11" fmla="*/ 1635 h 3271"/>
                  <a:gd name="T12" fmla="*/ 4670 w 7919"/>
                  <a:gd name="T13" fmla="*/ 0 h 3271"/>
                  <a:gd name="T14" fmla="*/ 6306 w 7919"/>
                  <a:gd name="T15" fmla="*/ 1635 h 3271"/>
                  <a:gd name="T16" fmla="*/ 6272 w 7919"/>
                  <a:gd name="T17" fmla="*/ 1966 h 3271"/>
                  <a:gd name="T18" fmla="*/ 7041 w 7919"/>
                  <a:gd name="T19" fmla="*/ 1514 h 3271"/>
                  <a:gd name="T20" fmla="*/ 7919 w 7919"/>
                  <a:gd name="T21" fmla="*/ 2392 h 3271"/>
                  <a:gd name="T22" fmla="*/ 7041 w 7919"/>
                  <a:gd name="T23" fmla="*/ 3271 h 3271"/>
                  <a:gd name="T24" fmla="*/ 4670 w 7919"/>
                  <a:gd name="T25" fmla="*/ 3271 h 3271"/>
                  <a:gd name="T26" fmla="*/ 2096 w 7919"/>
                  <a:gd name="T27" fmla="*/ 3271 h 3271"/>
                  <a:gd name="T28" fmla="*/ 591 w 7919"/>
                  <a:gd name="T29" fmla="*/ 3271 h 3271"/>
                  <a:gd name="T30" fmla="*/ 0 w 7919"/>
                  <a:gd name="T31" fmla="*/ 2680 h 3271"/>
                  <a:gd name="T32" fmla="*/ 591 w 7919"/>
                  <a:gd name="T33" fmla="*/ 2089 h 3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19" h="3271">
                    <a:moveTo>
                      <a:pt x="591" y="2089"/>
                    </a:moveTo>
                    <a:cubicBezTo>
                      <a:pt x="757" y="2089"/>
                      <a:pt x="907" y="2158"/>
                      <a:pt x="1015" y="2268"/>
                    </a:cubicBezTo>
                    <a:cubicBezTo>
                      <a:pt x="1013" y="2241"/>
                      <a:pt x="1011" y="2213"/>
                      <a:pt x="1011" y="2186"/>
                    </a:cubicBezTo>
                    <a:cubicBezTo>
                      <a:pt x="1011" y="1586"/>
                      <a:pt x="1497" y="1101"/>
                      <a:pt x="2096" y="1101"/>
                    </a:cubicBezTo>
                    <a:cubicBezTo>
                      <a:pt x="2497" y="1101"/>
                      <a:pt x="2847" y="1318"/>
                      <a:pt x="3035" y="1641"/>
                    </a:cubicBezTo>
                    <a:cubicBezTo>
                      <a:pt x="3035" y="1639"/>
                      <a:pt x="3035" y="1637"/>
                      <a:pt x="3035" y="1635"/>
                    </a:cubicBezTo>
                    <a:cubicBezTo>
                      <a:pt x="3035" y="732"/>
                      <a:pt x="3767" y="0"/>
                      <a:pt x="4670" y="0"/>
                    </a:cubicBezTo>
                    <a:cubicBezTo>
                      <a:pt x="5574" y="0"/>
                      <a:pt x="6306" y="732"/>
                      <a:pt x="6306" y="1635"/>
                    </a:cubicBezTo>
                    <a:cubicBezTo>
                      <a:pt x="6306" y="1749"/>
                      <a:pt x="6294" y="1859"/>
                      <a:pt x="6272" y="1966"/>
                    </a:cubicBezTo>
                    <a:cubicBezTo>
                      <a:pt x="6422" y="1696"/>
                      <a:pt x="6710" y="1514"/>
                      <a:pt x="7041" y="1514"/>
                    </a:cubicBezTo>
                    <a:cubicBezTo>
                      <a:pt x="7526" y="1514"/>
                      <a:pt x="7919" y="1907"/>
                      <a:pt x="7919" y="2392"/>
                    </a:cubicBezTo>
                    <a:cubicBezTo>
                      <a:pt x="7919" y="2878"/>
                      <a:pt x="7526" y="3271"/>
                      <a:pt x="7041" y="3271"/>
                    </a:cubicBezTo>
                    <a:cubicBezTo>
                      <a:pt x="6555" y="3271"/>
                      <a:pt x="5339" y="3271"/>
                      <a:pt x="4670" y="3271"/>
                    </a:cubicBezTo>
                    <a:cubicBezTo>
                      <a:pt x="4004" y="3271"/>
                      <a:pt x="2657" y="3271"/>
                      <a:pt x="2096" y="3271"/>
                    </a:cubicBezTo>
                    <a:cubicBezTo>
                      <a:pt x="1708" y="3271"/>
                      <a:pt x="890" y="3271"/>
                      <a:pt x="591" y="3271"/>
                    </a:cubicBezTo>
                    <a:cubicBezTo>
                      <a:pt x="265" y="3271"/>
                      <a:pt x="0" y="3006"/>
                      <a:pt x="0" y="2680"/>
                    </a:cubicBezTo>
                    <a:cubicBezTo>
                      <a:pt x="0" y="2354"/>
                      <a:pt x="265" y="2089"/>
                      <a:pt x="591" y="208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50" name="Freeform 689">
                <a:extLst>
                  <a:ext uri="{FF2B5EF4-FFF2-40B4-BE49-F238E27FC236}">
                    <a16:creationId xmlns:a16="http://schemas.microsoft.com/office/drawing/2014/main" id="{E5868D67-640F-41A4-B6FF-8DC997033690}"/>
                  </a:ext>
                </a:extLst>
              </p:cNvPr>
              <p:cNvSpPr>
                <a:spLocks/>
              </p:cNvSpPr>
              <p:nvPr/>
            </p:nvSpPr>
            <p:spPr bwMode="auto">
              <a:xfrm>
                <a:off x="-3446879" y="7675941"/>
                <a:ext cx="635948" cy="382017"/>
              </a:xfrm>
              <a:custGeom>
                <a:avLst/>
                <a:gdLst>
                  <a:gd name="T0" fmla="*/ 0 w 4430"/>
                  <a:gd name="T1" fmla="*/ 0 h 2664"/>
                  <a:gd name="T2" fmla="*/ 0 w 4430"/>
                  <a:gd name="T3" fmla="*/ 2664 h 2664"/>
                  <a:gd name="T4" fmla="*/ 1573 w 4430"/>
                  <a:gd name="T5" fmla="*/ 2664 h 2664"/>
                  <a:gd name="T6" fmla="*/ 2753 w 4430"/>
                  <a:gd name="T7" fmla="*/ 2255 h 2664"/>
                  <a:gd name="T8" fmla="*/ 3933 w 4430"/>
                  <a:gd name="T9" fmla="*/ 2664 h 2664"/>
                  <a:gd name="T10" fmla="*/ 4430 w 4430"/>
                  <a:gd name="T11" fmla="*/ 2664 h 2664"/>
                  <a:gd name="T12" fmla="*/ 4430 w 4430"/>
                  <a:gd name="T13" fmla="*/ 0 h 2664"/>
                  <a:gd name="T14" fmla="*/ 0 w 4430"/>
                  <a:gd name="T15" fmla="*/ 0 h 26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30" h="2664">
                    <a:moveTo>
                      <a:pt x="0" y="0"/>
                    </a:moveTo>
                    <a:cubicBezTo>
                      <a:pt x="0" y="2664"/>
                      <a:pt x="0" y="2664"/>
                      <a:pt x="0" y="2664"/>
                    </a:cubicBezTo>
                    <a:cubicBezTo>
                      <a:pt x="1573" y="2664"/>
                      <a:pt x="1573" y="2664"/>
                      <a:pt x="1573" y="2664"/>
                    </a:cubicBezTo>
                    <a:cubicBezTo>
                      <a:pt x="1898" y="2408"/>
                      <a:pt x="2307" y="2255"/>
                      <a:pt x="2753" y="2255"/>
                    </a:cubicBezTo>
                    <a:cubicBezTo>
                      <a:pt x="3199" y="2255"/>
                      <a:pt x="3608" y="2408"/>
                      <a:pt x="3933" y="2664"/>
                    </a:cubicBezTo>
                    <a:cubicBezTo>
                      <a:pt x="4430" y="2664"/>
                      <a:pt x="4430" y="2664"/>
                      <a:pt x="4430" y="2664"/>
                    </a:cubicBezTo>
                    <a:cubicBezTo>
                      <a:pt x="4430" y="0"/>
                      <a:pt x="4430" y="0"/>
                      <a:pt x="4430" y="0"/>
                    </a:cubicBezTo>
                    <a:lnTo>
                      <a:pt x="0" y="0"/>
                    </a:lnTo>
                    <a:close/>
                  </a:path>
                </a:pathLst>
              </a:custGeom>
              <a:solidFill>
                <a:srgbClr val="010101"/>
              </a:solidFill>
              <a:ln>
                <a:noFill/>
              </a:ln>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51" name="Freeform 690">
                <a:extLst>
                  <a:ext uri="{FF2B5EF4-FFF2-40B4-BE49-F238E27FC236}">
                    <a16:creationId xmlns:a16="http://schemas.microsoft.com/office/drawing/2014/main" id="{4253A8A4-9EF3-4C10-8392-22DE34E02A79}"/>
                  </a:ext>
                </a:extLst>
              </p:cNvPr>
              <p:cNvSpPr>
                <a:spLocks/>
              </p:cNvSpPr>
              <p:nvPr/>
            </p:nvSpPr>
            <p:spPr bwMode="auto">
              <a:xfrm>
                <a:off x="-3036647" y="7675941"/>
                <a:ext cx="225717" cy="225269"/>
              </a:xfrm>
              <a:custGeom>
                <a:avLst/>
                <a:gdLst>
                  <a:gd name="T0" fmla="*/ 0 w 504"/>
                  <a:gd name="T1" fmla="*/ 0 h 503"/>
                  <a:gd name="T2" fmla="*/ 504 w 504"/>
                  <a:gd name="T3" fmla="*/ 503 h 503"/>
                  <a:gd name="T4" fmla="*/ 504 w 504"/>
                  <a:gd name="T5" fmla="*/ 0 h 503"/>
                  <a:gd name="T6" fmla="*/ 0 w 504"/>
                  <a:gd name="T7" fmla="*/ 0 h 503"/>
                </a:gdLst>
                <a:ahLst/>
                <a:cxnLst>
                  <a:cxn ang="0">
                    <a:pos x="T0" y="T1"/>
                  </a:cxn>
                  <a:cxn ang="0">
                    <a:pos x="T2" y="T3"/>
                  </a:cxn>
                  <a:cxn ang="0">
                    <a:pos x="T4" y="T5"/>
                  </a:cxn>
                  <a:cxn ang="0">
                    <a:pos x="T6" y="T7"/>
                  </a:cxn>
                </a:cxnLst>
                <a:rect l="0" t="0" r="r" b="b"/>
                <a:pathLst>
                  <a:path w="504" h="503">
                    <a:moveTo>
                      <a:pt x="0" y="0"/>
                    </a:moveTo>
                    <a:lnTo>
                      <a:pt x="504" y="503"/>
                    </a:lnTo>
                    <a:lnTo>
                      <a:pt x="504" y="0"/>
                    </a:lnTo>
                    <a:lnTo>
                      <a:pt x="0"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52" name="Freeform 691">
                <a:extLst>
                  <a:ext uri="{FF2B5EF4-FFF2-40B4-BE49-F238E27FC236}">
                    <a16:creationId xmlns:a16="http://schemas.microsoft.com/office/drawing/2014/main" id="{8E46D660-752A-4D43-984E-183A9CC09980}"/>
                  </a:ext>
                </a:extLst>
              </p:cNvPr>
              <p:cNvSpPr>
                <a:spLocks/>
              </p:cNvSpPr>
              <p:nvPr/>
            </p:nvSpPr>
            <p:spPr bwMode="auto">
              <a:xfrm>
                <a:off x="-3404781" y="7698333"/>
                <a:ext cx="551752" cy="336784"/>
              </a:xfrm>
              <a:custGeom>
                <a:avLst/>
                <a:gdLst>
                  <a:gd name="T0" fmla="*/ 2460 w 3843"/>
                  <a:gd name="T1" fmla="*/ 2097 h 2348"/>
                  <a:gd name="T2" fmla="*/ 3407 w 3843"/>
                  <a:gd name="T3" fmla="*/ 2348 h 2348"/>
                  <a:gd name="T4" fmla="*/ 3843 w 3843"/>
                  <a:gd name="T5" fmla="*/ 2348 h 2348"/>
                  <a:gd name="T6" fmla="*/ 3843 w 3843"/>
                  <a:gd name="T7" fmla="*/ 0 h 2348"/>
                  <a:gd name="T8" fmla="*/ 0 w 3843"/>
                  <a:gd name="T9" fmla="*/ 0 h 2348"/>
                  <a:gd name="T10" fmla="*/ 0 w 3843"/>
                  <a:gd name="T11" fmla="*/ 2348 h 2348"/>
                  <a:gd name="T12" fmla="*/ 1514 w 3843"/>
                  <a:gd name="T13" fmla="*/ 2348 h 2348"/>
                  <a:gd name="T14" fmla="*/ 2460 w 3843"/>
                  <a:gd name="T15" fmla="*/ 2097 h 2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3" h="2348">
                    <a:moveTo>
                      <a:pt x="2460" y="2097"/>
                    </a:moveTo>
                    <a:cubicBezTo>
                      <a:pt x="2805" y="2097"/>
                      <a:pt x="3128" y="2188"/>
                      <a:pt x="3407" y="2348"/>
                    </a:cubicBezTo>
                    <a:cubicBezTo>
                      <a:pt x="3843" y="2348"/>
                      <a:pt x="3843" y="2348"/>
                      <a:pt x="3843" y="2348"/>
                    </a:cubicBezTo>
                    <a:cubicBezTo>
                      <a:pt x="3843" y="0"/>
                      <a:pt x="3843" y="0"/>
                      <a:pt x="3843" y="0"/>
                    </a:cubicBezTo>
                    <a:cubicBezTo>
                      <a:pt x="0" y="0"/>
                      <a:pt x="0" y="0"/>
                      <a:pt x="0" y="0"/>
                    </a:cubicBezTo>
                    <a:cubicBezTo>
                      <a:pt x="0" y="2348"/>
                      <a:pt x="0" y="2348"/>
                      <a:pt x="0" y="2348"/>
                    </a:cubicBezTo>
                    <a:cubicBezTo>
                      <a:pt x="1514" y="2348"/>
                      <a:pt x="1514" y="2348"/>
                      <a:pt x="1514" y="2348"/>
                    </a:cubicBezTo>
                    <a:cubicBezTo>
                      <a:pt x="1793" y="2188"/>
                      <a:pt x="2116" y="2097"/>
                      <a:pt x="2460" y="2097"/>
                    </a:cubicBez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53" name="Freeform 692">
                <a:extLst>
                  <a:ext uri="{FF2B5EF4-FFF2-40B4-BE49-F238E27FC236}">
                    <a16:creationId xmlns:a16="http://schemas.microsoft.com/office/drawing/2014/main" id="{695C8F2B-1125-4744-90A5-6707D4838BB0}"/>
                  </a:ext>
                </a:extLst>
              </p:cNvPr>
              <p:cNvSpPr>
                <a:spLocks/>
              </p:cNvSpPr>
              <p:nvPr/>
            </p:nvSpPr>
            <p:spPr bwMode="auto">
              <a:xfrm>
                <a:off x="-2882139" y="8057958"/>
                <a:ext cx="163018" cy="34932"/>
              </a:xfrm>
              <a:custGeom>
                <a:avLst/>
                <a:gdLst>
                  <a:gd name="T0" fmla="*/ 0 w 1137"/>
                  <a:gd name="T1" fmla="*/ 0 h 246"/>
                  <a:gd name="T2" fmla="*/ 259 w 1137"/>
                  <a:gd name="T3" fmla="*/ 246 h 246"/>
                  <a:gd name="T4" fmla="*/ 972 w 1137"/>
                  <a:gd name="T5" fmla="*/ 246 h 246"/>
                  <a:gd name="T6" fmla="*/ 1137 w 1137"/>
                  <a:gd name="T7" fmla="*/ 81 h 246"/>
                  <a:gd name="T8" fmla="*/ 1137 w 1137"/>
                  <a:gd name="T9" fmla="*/ 0 h 246"/>
                  <a:gd name="T10" fmla="*/ 0 w 1137"/>
                  <a:gd name="T11" fmla="*/ 0 h 246"/>
                </a:gdLst>
                <a:ahLst/>
                <a:cxnLst>
                  <a:cxn ang="0">
                    <a:pos x="T0" y="T1"/>
                  </a:cxn>
                  <a:cxn ang="0">
                    <a:pos x="T2" y="T3"/>
                  </a:cxn>
                  <a:cxn ang="0">
                    <a:pos x="T4" y="T5"/>
                  </a:cxn>
                  <a:cxn ang="0">
                    <a:pos x="T6" y="T7"/>
                  </a:cxn>
                  <a:cxn ang="0">
                    <a:pos x="T8" y="T9"/>
                  </a:cxn>
                  <a:cxn ang="0">
                    <a:pos x="T10" y="T11"/>
                  </a:cxn>
                </a:cxnLst>
                <a:rect l="0" t="0" r="r" b="b"/>
                <a:pathLst>
                  <a:path w="1137" h="246">
                    <a:moveTo>
                      <a:pt x="0" y="0"/>
                    </a:moveTo>
                    <a:cubicBezTo>
                      <a:pt x="94" y="74"/>
                      <a:pt x="181" y="156"/>
                      <a:pt x="259" y="246"/>
                    </a:cubicBezTo>
                    <a:cubicBezTo>
                      <a:pt x="972" y="246"/>
                      <a:pt x="972" y="246"/>
                      <a:pt x="972" y="246"/>
                    </a:cubicBezTo>
                    <a:cubicBezTo>
                      <a:pt x="1063" y="246"/>
                      <a:pt x="1137" y="172"/>
                      <a:pt x="1137" y="81"/>
                    </a:cubicBezTo>
                    <a:cubicBezTo>
                      <a:pt x="1137" y="0"/>
                      <a:pt x="1137" y="0"/>
                      <a:pt x="1137"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54" name="Freeform 693">
                <a:extLst>
                  <a:ext uri="{FF2B5EF4-FFF2-40B4-BE49-F238E27FC236}">
                    <a16:creationId xmlns:a16="http://schemas.microsoft.com/office/drawing/2014/main" id="{F7C56586-2E29-45BC-9B2E-63D9D6059F1C}"/>
                  </a:ext>
                </a:extLst>
              </p:cNvPr>
              <p:cNvSpPr>
                <a:spLocks/>
              </p:cNvSpPr>
              <p:nvPr/>
            </p:nvSpPr>
            <p:spPr bwMode="auto">
              <a:xfrm>
                <a:off x="-3538688" y="8057958"/>
                <a:ext cx="317526" cy="34932"/>
              </a:xfrm>
              <a:custGeom>
                <a:avLst/>
                <a:gdLst>
                  <a:gd name="T0" fmla="*/ 2214 w 2214"/>
                  <a:gd name="T1" fmla="*/ 0 h 246"/>
                  <a:gd name="T2" fmla="*/ 0 w 2214"/>
                  <a:gd name="T3" fmla="*/ 0 h 246"/>
                  <a:gd name="T4" fmla="*/ 0 w 2214"/>
                  <a:gd name="T5" fmla="*/ 81 h 246"/>
                  <a:gd name="T6" fmla="*/ 166 w 2214"/>
                  <a:gd name="T7" fmla="*/ 246 h 246"/>
                  <a:gd name="T8" fmla="*/ 1955 w 2214"/>
                  <a:gd name="T9" fmla="*/ 246 h 246"/>
                  <a:gd name="T10" fmla="*/ 2214 w 2214"/>
                  <a:gd name="T11" fmla="*/ 0 h 246"/>
                </a:gdLst>
                <a:ahLst/>
                <a:cxnLst>
                  <a:cxn ang="0">
                    <a:pos x="T0" y="T1"/>
                  </a:cxn>
                  <a:cxn ang="0">
                    <a:pos x="T2" y="T3"/>
                  </a:cxn>
                  <a:cxn ang="0">
                    <a:pos x="T4" y="T5"/>
                  </a:cxn>
                  <a:cxn ang="0">
                    <a:pos x="T6" y="T7"/>
                  </a:cxn>
                  <a:cxn ang="0">
                    <a:pos x="T8" y="T9"/>
                  </a:cxn>
                  <a:cxn ang="0">
                    <a:pos x="T10" y="T11"/>
                  </a:cxn>
                </a:cxnLst>
                <a:rect l="0" t="0" r="r" b="b"/>
                <a:pathLst>
                  <a:path w="2214" h="246">
                    <a:moveTo>
                      <a:pt x="2214" y="0"/>
                    </a:moveTo>
                    <a:cubicBezTo>
                      <a:pt x="0" y="0"/>
                      <a:pt x="0" y="0"/>
                      <a:pt x="0" y="0"/>
                    </a:cubicBezTo>
                    <a:cubicBezTo>
                      <a:pt x="0" y="81"/>
                      <a:pt x="0" y="81"/>
                      <a:pt x="0" y="81"/>
                    </a:cubicBezTo>
                    <a:cubicBezTo>
                      <a:pt x="0" y="172"/>
                      <a:pt x="74" y="246"/>
                      <a:pt x="166" y="246"/>
                    </a:cubicBezTo>
                    <a:cubicBezTo>
                      <a:pt x="1955" y="246"/>
                      <a:pt x="1955" y="246"/>
                      <a:pt x="1955" y="246"/>
                    </a:cubicBezTo>
                    <a:cubicBezTo>
                      <a:pt x="2033" y="156"/>
                      <a:pt x="2120" y="74"/>
                      <a:pt x="2214"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55" name="Rectangle 694">
                <a:extLst>
                  <a:ext uri="{FF2B5EF4-FFF2-40B4-BE49-F238E27FC236}">
                    <a16:creationId xmlns:a16="http://schemas.microsoft.com/office/drawing/2014/main" id="{EBA0438E-E60B-4C71-9AB9-3C5D16BA7CEB}"/>
                  </a:ext>
                </a:extLst>
              </p:cNvPr>
              <p:cNvSpPr>
                <a:spLocks noChangeArrowheads="1"/>
              </p:cNvSpPr>
              <p:nvPr/>
            </p:nvSpPr>
            <p:spPr bwMode="auto">
              <a:xfrm>
                <a:off x="-3060383" y="7726548"/>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56" name="Rectangle 695">
                <a:extLst>
                  <a:ext uri="{FF2B5EF4-FFF2-40B4-BE49-F238E27FC236}">
                    <a16:creationId xmlns:a16="http://schemas.microsoft.com/office/drawing/2014/main" id="{DD97B591-07B4-433E-A95C-5FF971B549A6}"/>
                  </a:ext>
                </a:extLst>
              </p:cNvPr>
              <p:cNvSpPr>
                <a:spLocks noChangeArrowheads="1"/>
              </p:cNvSpPr>
              <p:nvPr/>
            </p:nvSpPr>
            <p:spPr bwMode="auto">
              <a:xfrm>
                <a:off x="-3060383" y="7764615"/>
                <a:ext cx="161226" cy="14779"/>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57" name="Rectangle 696">
                <a:extLst>
                  <a:ext uri="{FF2B5EF4-FFF2-40B4-BE49-F238E27FC236}">
                    <a16:creationId xmlns:a16="http://schemas.microsoft.com/office/drawing/2014/main" id="{2139070C-04E8-491F-B00E-D3E61FAEB684}"/>
                  </a:ext>
                </a:extLst>
              </p:cNvPr>
              <p:cNvSpPr>
                <a:spLocks noChangeArrowheads="1"/>
              </p:cNvSpPr>
              <p:nvPr/>
            </p:nvSpPr>
            <p:spPr bwMode="auto">
              <a:xfrm>
                <a:off x="-3060383" y="7802235"/>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58" name="Rectangle 697">
                <a:extLst>
                  <a:ext uri="{FF2B5EF4-FFF2-40B4-BE49-F238E27FC236}">
                    <a16:creationId xmlns:a16="http://schemas.microsoft.com/office/drawing/2014/main" id="{F1DDCB75-702E-413C-883A-6E9D26298EAB}"/>
                  </a:ext>
                </a:extLst>
              </p:cNvPr>
              <p:cNvSpPr>
                <a:spLocks noChangeArrowheads="1"/>
              </p:cNvSpPr>
              <p:nvPr/>
            </p:nvSpPr>
            <p:spPr bwMode="auto">
              <a:xfrm>
                <a:off x="-3060383" y="7840302"/>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59" name="Rectangle 698">
                <a:extLst>
                  <a:ext uri="{FF2B5EF4-FFF2-40B4-BE49-F238E27FC236}">
                    <a16:creationId xmlns:a16="http://schemas.microsoft.com/office/drawing/2014/main" id="{B747463B-B081-4649-B6FD-117BC1DBDF2A}"/>
                  </a:ext>
                </a:extLst>
              </p:cNvPr>
              <p:cNvSpPr>
                <a:spLocks noChangeArrowheads="1"/>
              </p:cNvSpPr>
              <p:nvPr/>
            </p:nvSpPr>
            <p:spPr bwMode="auto">
              <a:xfrm>
                <a:off x="-3060383" y="7877922"/>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60" name="Rectangle 699">
                <a:extLst>
                  <a:ext uri="{FF2B5EF4-FFF2-40B4-BE49-F238E27FC236}">
                    <a16:creationId xmlns:a16="http://schemas.microsoft.com/office/drawing/2014/main" id="{3D177F26-00A7-45DA-A823-8C406F76AD46}"/>
                  </a:ext>
                </a:extLst>
              </p:cNvPr>
              <p:cNvSpPr>
                <a:spLocks noChangeArrowheads="1"/>
              </p:cNvSpPr>
              <p:nvPr/>
            </p:nvSpPr>
            <p:spPr bwMode="auto">
              <a:xfrm>
                <a:off x="-3060383" y="7915989"/>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61" name="Rectangle 700">
                <a:extLst>
                  <a:ext uri="{FF2B5EF4-FFF2-40B4-BE49-F238E27FC236}">
                    <a16:creationId xmlns:a16="http://schemas.microsoft.com/office/drawing/2014/main" id="{C29529FA-F0E1-497A-98B3-5B4E0ADC7316}"/>
                  </a:ext>
                </a:extLst>
              </p:cNvPr>
              <p:cNvSpPr>
                <a:spLocks noChangeArrowheads="1"/>
              </p:cNvSpPr>
              <p:nvPr/>
            </p:nvSpPr>
            <p:spPr bwMode="auto">
              <a:xfrm>
                <a:off x="-3060383" y="7953609"/>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62" name="Freeform 701">
                <a:extLst>
                  <a:ext uri="{FF2B5EF4-FFF2-40B4-BE49-F238E27FC236}">
                    <a16:creationId xmlns:a16="http://schemas.microsoft.com/office/drawing/2014/main" id="{46FC3964-46B9-4A88-A827-02DA60EAC5C8}"/>
                  </a:ext>
                </a:extLst>
              </p:cNvPr>
              <p:cNvSpPr>
                <a:spLocks/>
              </p:cNvSpPr>
              <p:nvPr/>
            </p:nvSpPr>
            <p:spPr bwMode="auto">
              <a:xfrm>
                <a:off x="-3060383" y="7991676"/>
                <a:ext cx="161226" cy="15227"/>
              </a:xfrm>
              <a:custGeom>
                <a:avLst/>
                <a:gdLst>
                  <a:gd name="T0" fmla="*/ 59 w 1122"/>
                  <a:gd name="T1" fmla="*/ 53 h 106"/>
                  <a:gd name="T2" fmla="*/ 503 w 1122"/>
                  <a:gd name="T3" fmla="*/ 106 h 106"/>
                  <a:gd name="T4" fmla="*/ 1122 w 1122"/>
                  <a:gd name="T5" fmla="*/ 106 h 106"/>
                  <a:gd name="T6" fmla="*/ 1122 w 1122"/>
                  <a:gd name="T7" fmla="*/ 0 h 106"/>
                  <a:gd name="T8" fmla="*/ 0 w 1122"/>
                  <a:gd name="T9" fmla="*/ 0 h 106"/>
                  <a:gd name="T10" fmla="*/ 0 w 1122"/>
                  <a:gd name="T11" fmla="*/ 55 h 106"/>
                  <a:gd name="T12" fmla="*/ 59 w 1122"/>
                  <a:gd name="T13" fmla="*/ 53 h 106"/>
                </a:gdLst>
                <a:ahLst/>
                <a:cxnLst>
                  <a:cxn ang="0">
                    <a:pos x="T0" y="T1"/>
                  </a:cxn>
                  <a:cxn ang="0">
                    <a:pos x="T2" y="T3"/>
                  </a:cxn>
                  <a:cxn ang="0">
                    <a:pos x="T4" y="T5"/>
                  </a:cxn>
                  <a:cxn ang="0">
                    <a:pos x="T6" y="T7"/>
                  </a:cxn>
                  <a:cxn ang="0">
                    <a:pos x="T8" y="T9"/>
                  </a:cxn>
                  <a:cxn ang="0">
                    <a:pos x="T10" y="T11"/>
                  </a:cxn>
                  <a:cxn ang="0">
                    <a:pos x="T12" y="T13"/>
                  </a:cxn>
                </a:cxnLst>
                <a:rect l="0" t="0" r="r" b="b"/>
                <a:pathLst>
                  <a:path w="1122" h="106">
                    <a:moveTo>
                      <a:pt x="59" y="53"/>
                    </a:moveTo>
                    <a:cubicBezTo>
                      <a:pt x="212" y="53"/>
                      <a:pt x="361" y="72"/>
                      <a:pt x="503" y="106"/>
                    </a:cubicBezTo>
                    <a:cubicBezTo>
                      <a:pt x="1122" y="106"/>
                      <a:pt x="1122" y="106"/>
                      <a:pt x="1122" y="106"/>
                    </a:cubicBezTo>
                    <a:cubicBezTo>
                      <a:pt x="1122" y="0"/>
                      <a:pt x="1122" y="0"/>
                      <a:pt x="1122" y="0"/>
                    </a:cubicBezTo>
                    <a:cubicBezTo>
                      <a:pt x="0" y="0"/>
                      <a:pt x="0" y="0"/>
                      <a:pt x="0" y="0"/>
                    </a:cubicBezTo>
                    <a:cubicBezTo>
                      <a:pt x="0" y="55"/>
                      <a:pt x="0" y="55"/>
                      <a:pt x="0" y="55"/>
                    </a:cubicBezTo>
                    <a:cubicBezTo>
                      <a:pt x="20" y="54"/>
                      <a:pt x="39" y="53"/>
                      <a:pt x="59" y="53"/>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63" name="Freeform 702">
                <a:extLst>
                  <a:ext uri="{FF2B5EF4-FFF2-40B4-BE49-F238E27FC236}">
                    <a16:creationId xmlns:a16="http://schemas.microsoft.com/office/drawing/2014/main" id="{3FAC7910-7D73-436D-A247-BB656187DD82}"/>
                  </a:ext>
                </a:extLst>
              </p:cNvPr>
              <p:cNvSpPr>
                <a:spLocks/>
              </p:cNvSpPr>
              <p:nvPr/>
            </p:nvSpPr>
            <p:spPr bwMode="auto">
              <a:xfrm>
                <a:off x="-3363578" y="7725652"/>
                <a:ext cx="134355" cy="141073"/>
              </a:xfrm>
              <a:custGeom>
                <a:avLst/>
                <a:gdLst>
                  <a:gd name="T0" fmla="*/ 937 w 937"/>
                  <a:gd name="T1" fmla="*/ 985 h 985"/>
                  <a:gd name="T2" fmla="*/ 0 w 937"/>
                  <a:gd name="T3" fmla="*/ 677 h 985"/>
                  <a:gd name="T4" fmla="*/ 937 w 937"/>
                  <a:gd name="T5" fmla="*/ 0 h 985"/>
                  <a:gd name="T6" fmla="*/ 937 w 937"/>
                  <a:gd name="T7" fmla="*/ 985 h 985"/>
                </a:gdLst>
                <a:ahLst/>
                <a:cxnLst>
                  <a:cxn ang="0">
                    <a:pos x="T0" y="T1"/>
                  </a:cxn>
                  <a:cxn ang="0">
                    <a:pos x="T2" y="T3"/>
                  </a:cxn>
                  <a:cxn ang="0">
                    <a:pos x="T4" y="T5"/>
                  </a:cxn>
                  <a:cxn ang="0">
                    <a:pos x="T6" y="T7"/>
                  </a:cxn>
                </a:cxnLst>
                <a:rect l="0" t="0" r="r" b="b"/>
                <a:pathLst>
                  <a:path w="937" h="985">
                    <a:moveTo>
                      <a:pt x="937" y="985"/>
                    </a:moveTo>
                    <a:cubicBezTo>
                      <a:pt x="0" y="677"/>
                      <a:pt x="0" y="677"/>
                      <a:pt x="0" y="677"/>
                    </a:cubicBezTo>
                    <a:cubicBezTo>
                      <a:pt x="133" y="265"/>
                      <a:pt x="499" y="0"/>
                      <a:pt x="937" y="0"/>
                    </a:cubicBezTo>
                    <a:lnTo>
                      <a:pt x="937" y="9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64" name="Freeform 703">
                <a:extLst>
                  <a:ext uri="{FF2B5EF4-FFF2-40B4-BE49-F238E27FC236}">
                    <a16:creationId xmlns:a16="http://schemas.microsoft.com/office/drawing/2014/main" id="{575497A0-EB44-4C38-8B6A-C02D8512A290}"/>
                  </a:ext>
                </a:extLst>
              </p:cNvPr>
              <p:cNvSpPr>
                <a:spLocks/>
              </p:cNvSpPr>
              <p:nvPr/>
            </p:nvSpPr>
            <p:spPr bwMode="auto">
              <a:xfrm>
                <a:off x="-3363578" y="7866725"/>
                <a:ext cx="134355" cy="114202"/>
              </a:xfrm>
              <a:custGeom>
                <a:avLst/>
                <a:gdLst>
                  <a:gd name="T0" fmla="*/ 937 w 937"/>
                  <a:gd name="T1" fmla="*/ 0 h 795"/>
                  <a:gd name="T2" fmla="*/ 357 w 937"/>
                  <a:gd name="T3" fmla="*/ 795 h 795"/>
                  <a:gd name="T4" fmla="*/ 0 w 937"/>
                  <a:gd name="T5" fmla="*/ 303 h 795"/>
                  <a:gd name="T6" fmla="*/ 937 w 937"/>
                  <a:gd name="T7" fmla="*/ 0 h 795"/>
                </a:gdLst>
                <a:ahLst/>
                <a:cxnLst>
                  <a:cxn ang="0">
                    <a:pos x="T0" y="T1"/>
                  </a:cxn>
                  <a:cxn ang="0">
                    <a:pos x="T2" y="T3"/>
                  </a:cxn>
                  <a:cxn ang="0">
                    <a:pos x="T4" y="T5"/>
                  </a:cxn>
                  <a:cxn ang="0">
                    <a:pos x="T6" y="T7"/>
                  </a:cxn>
                </a:cxnLst>
                <a:rect l="0" t="0" r="r" b="b"/>
                <a:pathLst>
                  <a:path w="937" h="795">
                    <a:moveTo>
                      <a:pt x="937" y="0"/>
                    </a:moveTo>
                    <a:cubicBezTo>
                      <a:pt x="357" y="795"/>
                      <a:pt x="357" y="795"/>
                      <a:pt x="357" y="795"/>
                    </a:cubicBezTo>
                    <a:cubicBezTo>
                      <a:pt x="181" y="667"/>
                      <a:pt x="67" y="511"/>
                      <a:pt x="0" y="303"/>
                    </a:cubicBezTo>
                    <a:lnTo>
                      <a:pt x="937"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65" name="Freeform 704">
                <a:extLst>
                  <a:ext uri="{FF2B5EF4-FFF2-40B4-BE49-F238E27FC236}">
                    <a16:creationId xmlns:a16="http://schemas.microsoft.com/office/drawing/2014/main" id="{53C529DB-5829-4E4A-81DF-67A163BAAC78}"/>
                  </a:ext>
                </a:extLst>
              </p:cNvPr>
              <p:cNvSpPr>
                <a:spLocks/>
              </p:cNvSpPr>
              <p:nvPr/>
            </p:nvSpPr>
            <p:spPr bwMode="auto">
              <a:xfrm>
                <a:off x="-3312523" y="7866725"/>
                <a:ext cx="217208" cy="158092"/>
              </a:xfrm>
              <a:custGeom>
                <a:avLst/>
                <a:gdLst>
                  <a:gd name="T0" fmla="*/ 580 w 1513"/>
                  <a:gd name="T1" fmla="*/ 0 h 1103"/>
                  <a:gd name="T2" fmla="*/ 1513 w 1513"/>
                  <a:gd name="T3" fmla="*/ 303 h 1103"/>
                  <a:gd name="T4" fmla="*/ 271 w 1513"/>
                  <a:gd name="T5" fmla="*/ 937 h 1103"/>
                  <a:gd name="T6" fmla="*/ 0 w 1513"/>
                  <a:gd name="T7" fmla="*/ 795 h 1103"/>
                  <a:gd name="T8" fmla="*/ 580 w 1513"/>
                  <a:gd name="T9" fmla="*/ 0 h 1103"/>
                </a:gdLst>
                <a:ahLst/>
                <a:cxnLst>
                  <a:cxn ang="0">
                    <a:pos x="T0" y="T1"/>
                  </a:cxn>
                  <a:cxn ang="0">
                    <a:pos x="T2" y="T3"/>
                  </a:cxn>
                  <a:cxn ang="0">
                    <a:pos x="T4" y="T5"/>
                  </a:cxn>
                  <a:cxn ang="0">
                    <a:pos x="T6" y="T7"/>
                  </a:cxn>
                  <a:cxn ang="0">
                    <a:pos x="T8" y="T9"/>
                  </a:cxn>
                </a:cxnLst>
                <a:rect l="0" t="0" r="r" b="b"/>
                <a:pathLst>
                  <a:path w="1513" h="1103">
                    <a:moveTo>
                      <a:pt x="580" y="0"/>
                    </a:moveTo>
                    <a:cubicBezTo>
                      <a:pt x="1513" y="303"/>
                      <a:pt x="1513" y="303"/>
                      <a:pt x="1513" y="303"/>
                    </a:cubicBezTo>
                    <a:cubicBezTo>
                      <a:pt x="1342" y="819"/>
                      <a:pt x="790" y="1103"/>
                      <a:pt x="271" y="937"/>
                    </a:cubicBezTo>
                    <a:cubicBezTo>
                      <a:pt x="171" y="904"/>
                      <a:pt x="85" y="862"/>
                      <a:pt x="0" y="795"/>
                    </a:cubicBezTo>
                    <a:lnTo>
                      <a:pt x="580" y="0"/>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66" name="Freeform 705">
                <a:extLst>
                  <a:ext uri="{FF2B5EF4-FFF2-40B4-BE49-F238E27FC236}">
                    <a16:creationId xmlns:a16="http://schemas.microsoft.com/office/drawing/2014/main" id="{20B507C9-5D57-4A37-AF9A-094B9186F085}"/>
                  </a:ext>
                </a:extLst>
              </p:cNvPr>
              <p:cNvSpPr>
                <a:spLocks/>
              </p:cNvSpPr>
              <p:nvPr/>
            </p:nvSpPr>
            <p:spPr bwMode="auto">
              <a:xfrm>
                <a:off x="-3229223" y="7725652"/>
                <a:ext cx="141073" cy="184515"/>
              </a:xfrm>
              <a:custGeom>
                <a:avLst/>
                <a:gdLst>
                  <a:gd name="T0" fmla="*/ 0 w 981"/>
                  <a:gd name="T1" fmla="*/ 985 h 1288"/>
                  <a:gd name="T2" fmla="*/ 0 w 981"/>
                  <a:gd name="T3" fmla="*/ 0 h 1288"/>
                  <a:gd name="T4" fmla="*/ 981 w 981"/>
                  <a:gd name="T5" fmla="*/ 985 h 1288"/>
                  <a:gd name="T6" fmla="*/ 933 w 981"/>
                  <a:gd name="T7" fmla="*/ 1288 h 1288"/>
                  <a:gd name="T8" fmla="*/ 0 w 981"/>
                  <a:gd name="T9" fmla="*/ 985 h 1288"/>
                </a:gdLst>
                <a:ahLst/>
                <a:cxnLst>
                  <a:cxn ang="0">
                    <a:pos x="T0" y="T1"/>
                  </a:cxn>
                  <a:cxn ang="0">
                    <a:pos x="T2" y="T3"/>
                  </a:cxn>
                  <a:cxn ang="0">
                    <a:pos x="T4" y="T5"/>
                  </a:cxn>
                  <a:cxn ang="0">
                    <a:pos x="T6" y="T7"/>
                  </a:cxn>
                  <a:cxn ang="0">
                    <a:pos x="T8" y="T9"/>
                  </a:cxn>
                </a:cxnLst>
                <a:rect l="0" t="0" r="r" b="b"/>
                <a:pathLst>
                  <a:path w="981" h="1288">
                    <a:moveTo>
                      <a:pt x="0" y="985"/>
                    </a:moveTo>
                    <a:cubicBezTo>
                      <a:pt x="0" y="0"/>
                      <a:pt x="0" y="0"/>
                      <a:pt x="0" y="0"/>
                    </a:cubicBezTo>
                    <a:cubicBezTo>
                      <a:pt x="543" y="0"/>
                      <a:pt x="981" y="440"/>
                      <a:pt x="981" y="985"/>
                    </a:cubicBezTo>
                    <a:cubicBezTo>
                      <a:pt x="981" y="1094"/>
                      <a:pt x="966" y="1184"/>
                      <a:pt x="933" y="1288"/>
                    </a:cubicBezTo>
                    <a:lnTo>
                      <a:pt x="0" y="985"/>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67" name="Freeform 706">
                <a:extLst>
                  <a:ext uri="{FF2B5EF4-FFF2-40B4-BE49-F238E27FC236}">
                    <a16:creationId xmlns:a16="http://schemas.microsoft.com/office/drawing/2014/main" id="{A6782E6B-F72D-448B-8443-F175AE8A6175}"/>
                  </a:ext>
                </a:extLst>
              </p:cNvPr>
              <p:cNvSpPr>
                <a:spLocks/>
              </p:cNvSpPr>
              <p:nvPr/>
            </p:nvSpPr>
            <p:spPr bwMode="auto">
              <a:xfrm>
                <a:off x="-2505048" y="8105878"/>
                <a:ext cx="418741" cy="251693"/>
              </a:xfrm>
              <a:custGeom>
                <a:avLst/>
                <a:gdLst>
                  <a:gd name="T0" fmla="*/ 0 w 2918"/>
                  <a:gd name="T1" fmla="*/ 0 h 1755"/>
                  <a:gd name="T2" fmla="*/ 0 w 2918"/>
                  <a:gd name="T3" fmla="*/ 1755 h 1755"/>
                  <a:gd name="T4" fmla="*/ 196 w 2918"/>
                  <a:gd name="T5" fmla="*/ 1755 h 1755"/>
                  <a:gd name="T6" fmla="*/ 732 w 2918"/>
                  <a:gd name="T7" fmla="*/ 1627 h 1755"/>
                  <a:gd name="T8" fmla="*/ 1267 w 2918"/>
                  <a:gd name="T9" fmla="*/ 1755 h 1755"/>
                  <a:gd name="T10" fmla="*/ 2918 w 2918"/>
                  <a:gd name="T11" fmla="*/ 1755 h 1755"/>
                  <a:gd name="T12" fmla="*/ 2918 w 2918"/>
                  <a:gd name="T13" fmla="*/ 0 h 1755"/>
                  <a:gd name="T14" fmla="*/ 0 w 2918"/>
                  <a:gd name="T15" fmla="*/ 0 h 17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18" h="1755">
                    <a:moveTo>
                      <a:pt x="0" y="0"/>
                    </a:moveTo>
                    <a:cubicBezTo>
                      <a:pt x="0" y="1755"/>
                      <a:pt x="0" y="1755"/>
                      <a:pt x="0" y="1755"/>
                    </a:cubicBezTo>
                    <a:cubicBezTo>
                      <a:pt x="196" y="1755"/>
                      <a:pt x="196" y="1755"/>
                      <a:pt x="196" y="1755"/>
                    </a:cubicBezTo>
                    <a:cubicBezTo>
                      <a:pt x="357" y="1673"/>
                      <a:pt x="539" y="1627"/>
                      <a:pt x="732" y="1627"/>
                    </a:cubicBezTo>
                    <a:cubicBezTo>
                      <a:pt x="924" y="1627"/>
                      <a:pt x="1106" y="1673"/>
                      <a:pt x="1267" y="1755"/>
                    </a:cubicBezTo>
                    <a:cubicBezTo>
                      <a:pt x="2918" y="1755"/>
                      <a:pt x="2918" y="1755"/>
                      <a:pt x="2918" y="1755"/>
                    </a:cubicBezTo>
                    <a:cubicBezTo>
                      <a:pt x="2918" y="0"/>
                      <a:pt x="2918" y="0"/>
                      <a:pt x="2918" y="0"/>
                    </a:cubicBezTo>
                    <a:lnTo>
                      <a:pt x="0" y="0"/>
                    </a:lnTo>
                    <a:close/>
                  </a:path>
                </a:pathLst>
              </a:custGeom>
              <a:solidFill>
                <a:srgbClr val="010101"/>
              </a:solidFill>
              <a:ln>
                <a:noFill/>
              </a:ln>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68" name="Freeform 707">
                <a:extLst>
                  <a:ext uri="{FF2B5EF4-FFF2-40B4-BE49-F238E27FC236}">
                    <a16:creationId xmlns:a16="http://schemas.microsoft.com/office/drawing/2014/main" id="{ED6A45BD-CD5F-4B7D-A66B-2D57B7F4B8DD}"/>
                  </a:ext>
                </a:extLst>
              </p:cNvPr>
              <p:cNvSpPr>
                <a:spLocks/>
              </p:cNvSpPr>
              <p:nvPr/>
            </p:nvSpPr>
            <p:spPr bwMode="auto">
              <a:xfrm>
                <a:off x="-2234994" y="8105878"/>
                <a:ext cx="148686" cy="148239"/>
              </a:xfrm>
              <a:custGeom>
                <a:avLst/>
                <a:gdLst>
                  <a:gd name="T0" fmla="*/ 0 w 332"/>
                  <a:gd name="T1" fmla="*/ 0 h 331"/>
                  <a:gd name="T2" fmla="*/ 332 w 332"/>
                  <a:gd name="T3" fmla="*/ 331 h 331"/>
                  <a:gd name="T4" fmla="*/ 332 w 332"/>
                  <a:gd name="T5" fmla="*/ 0 h 331"/>
                  <a:gd name="T6" fmla="*/ 0 w 332"/>
                  <a:gd name="T7" fmla="*/ 0 h 331"/>
                </a:gdLst>
                <a:ahLst/>
                <a:cxnLst>
                  <a:cxn ang="0">
                    <a:pos x="T0" y="T1"/>
                  </a:cxn>
                  <a:cxn ang="0">
                    <a:pos x="T2" y="T3"/>
                  </a:cxn>
                  <a:cxn ang="0">
                    <a:pos x="T4" y="T5"/>
                  </a:cxn>
                  <a:cxn ang="0">
                    <a:pos x="T6" y="T7"/>
                  </a:cxn>
                </a:cxnLst>
                <a:rect l="0" t="0" r="r" b="b"/>
                <a:pathLst>
                  <a:path w="332" h="331">
                    <a:moveTo>
                      <a:pt x="0" y="0"/>
                    </a:moveTo>
                    <a:lnTo>
                      <a:pt x="332" y="331"/>
                    </a:lnTo>
                    <a:lnTo>
                      <a:pt x="332" y="0"/>
                    </a:lnTo>
                    <a:lnTo>
                      <a:pt x="0"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69" name="Freeform 708">
                <a:extLst>
                  <a:ext uri="{FF2B5EF4-FFF2-40B4-BE49-F238E27FC236}">
                    <a16:creationId xmlns:a16="http://schemas.microsoft.com/office/drawing/2014/main" id="{3D42B68D-BC92-46E0-87B3-47E0F8D6EB0E}"/>
                  </a:ext>
                </a:extLst>
              </p:cNvPr>
              <p:cNvSpPr>
                <a:spLocks/>
              </p:cNvSpPr>
              <p:nvPr/>
            </p:nvSpPr>
            <p:spPr bwMode="auto">
              <a:xfrm>
                <a:off x="-2565956" y="8357571"/>
                <a:ext cx="89122" cy="22840"/>
              </a:xfrm>
              <a:custGeom>
                <a:avLst/>
                <a:gdLst>
                  <a:gd name="T0" fmla="*/ 619 w 619"/>
                  <a:gd name="T1" fmla="*/ 0 h 162"/>
                  <a:gd name="T2" fmla="*/ 0 w 619"/>
                  <a:gd name="T3" fmla="*/ 0 h 162"/>
                  <a:gd name="T4" fmla="*/ 0 w 619"/>
                  <a:gd name="T5" fmla="*/ 53 h 162"/>
                  <a:gd name="T6" fmla="*/ 110 w 619"/>
                  <a:gd name="T7" fmla="*/ 162 h 162"/>
                  <a:gd name="T8" fmla="*/ 377 w 619"/>
                  <a:gd name="T9" fmla="*/ 162 h 162"/>
                  <a:gd name="T10" fmla="*/ 619 w 619"/>
                  <a:gd name="T11" fmla="*/ 0 h 162"/>
                </a:gdLst>
                <a:ahLst/>
                <a:cxnLst>
                  <a:cxn ang="0">
                    <a:pos x="T0" y="T1"/>
                  </a:cxn>
                  <a:cxn ang="0">
                    <a:pos x="T2" y="T3"/>
                  </a:cxn>
                  <a:cxn ang="0">
                    <a:pos x="T4" y="T5"/>
                  </a:cxn>
                  <a:cxn ang="0">
                    <a:pos x="T6" y="T7"/>
                  </a:cxn>
                  <a:cxn ang="0">
                    <a:pos x="T8" y="T9"/>
                  </a:cxn>
                  <a:cxn ang="0">
                    <a:pos x="T10" y="T11"/>
                  </a:cxn>
                </a:cxnLst>
                <a:rect l="0" t="0" r="r" b="b"/>
                <a:pathLst>
                  <a:path w="619" h="162">
                    <a:moveTo>
                      <a:pt x="619" y="0"/>
                    </a:moveTo>
                    <a:cubicBezTo>
                      <a:pt x="0" y="0"/>
                      <a:pt x="0" y="0"/>
                      <a:pt x="0" y="0"/>
                    </a:cubicBezTo>
                    <a:cubicBezTo>
                      <a:pt x="0" y="53"/>
                      <a:pt x="0" y="53"/>
                      <a:pt x="0" y="53"/>
                    </a:cubicBezTo>
                    <a:cubicBezTo>
                      <a:pt x="0" y="113"/>
                      <a:pt x="49" y="162"/>
                      <a:pt x="110" y="162"/>
                    </a:cubicBezTo>
                    <a:cubicBezTo>
                      <a:pt x="377" y="162"/>
                      <a:pt x="377" y="162"/>
                      <a:pt x="377" y="162"/>
                    </a:cubicBezTo>
                    <a:cubicBezTo>
                      <a:pt x="450" y="98"/>
                      <a:pt x="532" y="44"/>
                      <a:pt x="619"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70" name="Freeform 709">
                <a:extLst>
                  <a:ext uri="{FF2B5EF4-FFF2-40B4-BE49-F238E27FC236}">
                    <a16:creationId xmlns:a16="http://schemas.microsoft.com/office/drawing/2014/main" id="{4C69B90E-BFDD-4162-AAA6-102A73D1DDB6}"/>
                  </a:ext>
                </a:extLst>
              </p:cNvPr>
              <p:cNvSpPr>
                <a:spLocks/>
              </p:cNvSpPr>
              <p:nvPr/>
            </p:nvSpPr>
            <p:spPr bwMode="auto">
              <a:xfrm>
                <a:off x="-2323221" y="8357571"/>
                <a:ext cx="297373" cy="22840"/>
              </a:xfrm>
              <a:custGeom>
                <a:avLst/>
                <a:gdLst>
                  <a:gd name="T0" fmla="*/ 0 w 2073"/>
                  <a:gd name="T1" fmla="*/ 0 h 162"/>
                  <a:gd name="T2" fmla="*/ 242 w 2073"/>
                  <a:gd name="T3" fmla="*/ 162 h 162"/>
                  <a:gd name="T4" fmla="*/ 1964 w 2073"/>
                  <a:gd name="T5" fmla="*/ 162 h 162"/>
                  <a:gd name="T6" fmla="*/ 2073 w 2073"/>
                  <a:gd name="T7" fmla="*/ 53 h 162"/>
                  <a:gd name="T8" fmla="*/ 2073 w 2073"/>
                  <a:gd name="T9" fmla="*/ 0 h 162"/>
                  <a:gd name="T10" fmla="*/ 0 w 2073"/>
                  <a:gd name="T11" fmla="*/ 0 h 162"/>
                </a:gdLst>
                <a:ahLst/>
                <a:cxnLst>
                  <a:cxn ang="0">
                    <a:pos x="T0" y="T1"/>
                  </a:cxn>
                  <a:cxn ang="0">
                    <a:pos x="T2" y="T3"/>
                  </a:cxn>
                  <a:cxn ang="0">
                    <a:pos x="T4" y="T5"/>
                  </a:cxn>
                  <a:cxn ang="0">
                    <a:pos x="T6" y="T7"/>
                  </a:cxn>
                  <a:cxn ang="0">
                    <a:pos x="T8" y="T9"/>
                  </a:cxn>
                  <a:cxn ang="0">
                    <a:pos x="T10" y="T11"/>
                  </a:cxn>
                </a:cxnLst>
                <a:rect l="0" t="0" r="r" b="b"/>
                <a:pathLst>
                  <a:path w="2073" h="162">
                    <a:moveTo>
                      <a:pt x="0" y="0"/>
                    </a:moveTo>
                    <a:cubicBezTo>
                      <a:pt x="87" y="44"/>
                      <a:pt x="169" y="98"/>
                      <a:pt x="242" y="162"/>
                    </a:cubicBezTo>
                    <a:cubicBezTo>
                      <a:pt x="1964" y="162"/>
                      <a:pt x="1964" y="162"/>
                      <a:pt x="1964" y="162"/>
                    </a:cubicBezTo>
                    <a:cubicBezTo>
                      <a:pt x="2024" y="162"/>
                      <a:pt x="2073" y="113"/>
                      <a:pt x="2073" y="53"/>
                    </a:cubicBezTo>
                    <a:cubicBezTo>
                      <a:pt x="2073" y="0"/>
                      <a:pt x="2073" y="0"/>
                      <a:pt x="2073"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71" name="Freeform 710">
                <a:extLst>
                  <a:ext uri="{FF2B5EF4-FFF2-40B4-BE49-F238E27FC236}">
                    <a16:creationId xmlns:a16="http://schemas.microsoft.com/office/drawing/2014/main" id="{DA0188CC-2F1B-45D3-AC88-53ACA7E29D44}"/>
                  </a:ext>
                </a:extLst>
              </p:cNvPr>
              <p:cNvSpPr>
                <a:spLocks/>
              </p:cNvSpPr>
              <p:nvPr/>
            </p:nvSpPr>
            <p:spPr bwMode="auto">
              <a:xfrm>
                <a:off x="-2554760" y="6962513"/>
                <a:ext cx="440685" cy="1379831"/>
              </a:xfrm>
              <a:custGeom>
                <a:avLst/>
                <a:gdLst>
                  <a:gd name="T0" fmla="*/ 1772 w 3069"/>
                  <a:gd name="T1" fmla="*/ 8080 h 9627"/>
                  <a:gd name="T2" fmla="*/ 1772 w 3069"/>
                  <a:gd name="T3" fmla="*/ 654 h 9627"/>
                  <a:gd name="T4" fmla="*/ 1117 w 3069"/>
                  <a:gd name="T5" fmla="*/ 0 h 9627"/>
                  <a:gd name="T6" fmla="*/ 54 w 3069"/>
                  <a:gd name="T7" fmla="*/ 0 h 9627"/>
                  <a:gd name="T8" fmla="*/ 0 w 3069"/>
                  <a:gd name="T9" fmla="*/ 54 h 9627"/>
                  <a:gd name="T10" fmla="*/ 54 w 3069"/>
                  <a:gd name="T11" fmla="*/ 109 h 9627"/>
                  <a:gd name="T12" fmla="*/ 1117 w 3069"/>
                  <a:gd name="T13" fmla="*/ 109 h 9627"/>
                  <a:gd name="T14" fmla="*/ 1662 w 3069"/>
                  <a:gd name="T15" fmla="*/ 654 h 9627"/>
                  <a:gd name="T16" fmla="*/ 1662 w 3069"/>
                  <a:gd name="T17" fmla="*/ 8080 h 9627"/>
                  <a:gd name="T18" fmla="*/ 537 w 3069"/>
                  <a:gd name="T19" fmla="*/ 8080 h 9627"/>
                  <a:gd name="T20" fmla="*/ 537 w 3069"/>
                  <a:gd name="T21" fmla="*/ 9627 h 9627"/>
                  <a:gd name="T22" fmla="*/ 841 w 3069"/>
                  <a:gd name="T23" fmla="*/ 9627 h 9627"/>
                  <a:gd name="T24" fmla="*/ 1076 w 3069"/>
                  <a:gd name="T25" fmla="*/ 9603 h 9627"/>
                  <a:gd name="T26" fmla="*/ 1310 w 3069"/>
                  <a:gd name="T27" fmla="*/ 9627 h 9627"/>
                  <a:gd name="T28" fmla="*/ 3069 w 3069"/>
                  <a:gd name="T29" fmla="*/ 9627 h 9627"/>
                  <a:gd name="T30" fmla="*/ 3069 w 3069"/>
                  <a:gd name="T31" fmla="*/ 8080 h 9627"/>
                  <a:gd name="T32" fmla="*/ 1772 w 3069"/>
                  <a:gd name="T33" fmla="*/ 8080 h 9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69" h="9627">
                    <a:moveTo>
                      <a:pt x="1772" y="8080"/>
                    </a:moveTo>
                    <a:cubicBezTo>
                      <a:pt x="1772" y="654"/>
                      <a:pt x="1772" y="654"/>
                      <a:pt x="1772" y="654"/>
                    </a:cubicBezTo>
                    <a:cubicBezTo>
                      <a:pt x="1772" y="293"/>
                      <a:pt x="1478" y="0"/>
                      <a:pt x="1117" y="0"/>
                    </a:cubicBezTo>
                    <a:cubicBezTo>
                      <a:pt x="54" y="0"/>
                      <a:pt x="54" y="0"/>
                      <a:pt x="54" y="0"/>
                    </a:cubicBezTo>
                    <a:cubicBezTo>
                      <a:pt x="24" y="0"/>
                      <a:pt x="0" y="24"/>
                      <a:pt x="0" y="54"/>
                    </a:cubicBezTo>
                    <a:cubicBezTo>
                      <a:pt x="0" y="84"/>
                      <a:pt x="24" y="109"/>
                      <a:pt x="54" y="109"/>
                    </a:cubicBezTo>
                    <a:cubicBezTo>
                      <a:pt x="1117" y="109"/>
                      <a:pt x="1117" y="109"/>
                      <a:pt x="1117" y="109"/>
                    </a:cubicBezTo>
                    <a:cubicBezTo>
                      <a:pt x="1418" y="109"/>
                      <a:pt x="1662" y="354"/>
                      <a:pt x="1662" y="654"/>
                    </a:cubicBezTo>
                    <a:cubicBezTo>
                      <a:pt x="1662" y="8080"/>
                      <a:pt x="1662" y="8080"/>
                      <a:pt x="1662" y="8080"/>
                    </a:cubicBezTo>
                    <a:cubicBezTo>
                      <a:pt x="537" y="8080"/>
                      <a:pt x="537" y="8080"/>
                      <a:pt x="537" y="8080"/>
                    </a:cubicBezTo>
                    <a:cubicBezTo>
                      <a:pt x="537" y="9627"/>
                      <a:pt x="537" y="9627"/>
                      <a:pt x="537" y="9627"/>
                    </a:cubicBezTo>
                    <a:cubicBezTo>
                      <a:pt x="841" y="9627"/>
                      <a:pt x="841" y="9627"/>
                      <a:pt x="841" y="9627"/>
                    </a:cubicBezTo>
                    <a:cubicBezTo>
                      <a:pt x="917" y="9611"/>
                      <a:pt x="995" y="9603"/>
                      <a:pt x="1076" y="9603"/>
                    </a:cubicBezTo>
                    <a:cubicBezTo>
                      <a:pt x="1156" y="9603"/>
                      <a:pt x="1234" y="9611"/>
                      <a:pt x="1310" y="9627"/>
                    </a:cubicBezTo>
                    <a:cubicBezTo>
                      <a:pt x="3069" y="9627"/>
                      <a:pt x="3069" y="9627"/>
                      <a:pt x="3069" y="9627"/>
                    </a:cubicBezTo>
                    <a:cubicBezTo>
                      <a:pt x="3069" y="8080"/>
                      <a:pt x="3069" y="8080"/>
                      <a:pt x="3069" y="8080"/>
                    </a:cubicBezTo>
                    <a:lnTo>
                      <a:pt x="1772" y="808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72" name="Freeform 711">
                <a:extLst>
                  <a:ext uri="{FF2B5EF4-FFF2-40B4-BE49-F238E27FC236}">
                    <a16:creationId xmlns:a16="http://schemas.microsoft.com/office/drawing/2014/main" id="{C7BC49C4-CFBA-48D1-9F3A-8618279FC2A3}"/>
                  </a:ext>
                </a:extLst>
              </p:cNvPr>
              <p:cNvSpPr>
                <a:spLocks/>
              </p:cNvSpPr>
              <p:nvPr/>
            </p:nvSpPr>
            <p:spPr bwMode="auto">
              <a:xfrm>
                <a:off x="-3230119" y="7088807"/>
                <a:ext cx="347980" cy="626992"/>
              </a:xfrm>
              <a:custGeom>
                <a:avLst/>
                <a:gdLst>
                  <a:gd name="T0" fmla="*/ 54 w 2424"/>
                  <a:gd name="T1" fmla="*/ 4373 h 4373"/>
                  <a:gd name="T2" fmla="*/ 0 w 2424"/>
                  <a:gd name="T3" fmla="*/ 4318 h 4373"/>
                  <a:gd name="T4" fmla="*/ 0 w 2424"/>
                  <a:gd name="T5" fmla="*/ 813 h 4373"/>
                  <a:gd name="T6" fmla="*/ 813 w 2424"/>
                  <a:gd name="T7" fmla="*/ 0 h 4373"/>
                  <a:gd name="T8" fmla="*/ 2370 w 2424"/>
                  <a:gd name="T9" fmla="*/ 0 h 4373"/>
                  <a:gd name="T10" fmla="*/ 2424 w 2424"/>
                  <a:gd name="T11" fmla="*/ 54 h 4373"/>
                  <a:gd name="T12" fmla="*/ 2370 w 2424"/>
                  <a:gd name="T13" fmla="*/ 109 h 4373"/>
                  <a:gd name="T14" fmla="*/ 813 w 2424"/>
                  <a:gd name="T15" fmla="*/ 109 h 4373"/>
                  <a:gd name="T16" fmla="*/ 109 w 2424"/>
                  <a:gd name="T17" fmla="*/ 813 h 4373"/>
                  <a:gd name="T18" fmla="*/ 109 w 2424"/>
                  <a:gd name="T19" fmla="*/ 4318 h 4373"/>
                  <a:gd name="T20" fmla="*/ 54 w 2424"/>
                  <a:gd name="T21" fmla="*/ 4373 h 4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4" h="4373">
                    <a:moveTo>
                      <a:pt x="54" y="4373"/>
                    </a:moveTo>
                    <a:cubicBezTo>
                      <a:pt x="24" y="4373"/>
                      <a:pt x="0" y="4348"/>
                      <a:pt x="0" y="4318"/>
                    </a:cubicBezTo>
                    <a:cubicBezTo>
                      <a:pt x="0" y="813"/>
                      <a:pt x="0" y="813"/>
                      <a:pt x="0" y="813"/>
                    </a:cubicBezTo>
                    <a:cubicBezTo>
                      <a:pt x="0" y="364"/>
                      <a:pt x="365" y="0"/>
                      <a:pt x="813" y="0"/>
                    </a:cubicBezTo>
                    <a:cubicBezTo>
                      <a:pt x="2370" y="0"/>
                      <a:pt x="2370" y="0"/>
                      <a:pt x="2370" y="0"/>
                    </a:cubicBezTo>
                    <a:cubicBezTo>
                      <a:pt x="2400" y="0"/>
                      <a:pt x="2424" y="24"/>
                      <a:pt x="2424" y="54"/>
                    </a:cubicBezTo>
                    <a:cubicBezTo>
                      <a:pt x="2424" y="84"/>
                      <a:pt x="2400" y="109"/>
                      <a:pt x="2370" y="109"/>
                    </a:cubicBezTo>
                    <a:cubicBezTo>
                      <a:pt x="813" y="109"/>
                      <a:pt x="813" y="109"/>
                      <a:pt x="813" y="109"/>
                    </a:cubicBezTo>
                    <a:cubicBezTo>
                      <a:pt x="425" y="109"/>
                      <a:pt x="109" y="425"/>
                      <a:pt x="109" y="813"/>
                    </a:cubicBezTo>
                    <a:cubicBezTo>
                      <a:pt x="109" y="4318"/>
                      <a:pt x="109" y="4318"/>
                      <a:pt x="109" y="4318"/>
                    </a:cubicBezTo>
                    <a:cubicBezTo>
                      <a:pt x="109" y="4348"/>
                      <a:pt x="85" y="4373"/>
                      <a:pt x="54" y="4373"/>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73" name="Rectangle 712">
                <a:extLst>
                  <a:ext uri="{FF2B5EF4-FFF2-40B4-BE49-F238E27FC236}">
                    <a16:creationId xmlns:a16="http://schemas.microsoft.com/office/drawing/2014/main" id="{6250830A-4C16-4FA7-9579-189C84EF92F0}"/>
                  </a:ext>
                </a:extLst>
              </p:cNvPr>
              <p:cNvSpPr>
                <a:spLocks noChangeArrowheads="1"/>
              </p:cNvSpPr>
              <p:nvPr/>
            </p:nvSpPr>
            <p:spPr bwMode="auto">
              <a:xfrm>
                <a:off x="-2380993" y="8266657"/>
                <a:ext cx="41202" cy="61804"/>
              </a:xfrm>
              <a:prstGeom prst="rect">
                <a:avLst/>
              </a:prstGeom>
              <a:solidFill>
                <a:srgbClr val="1386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74" name="Rectangle 713">
                <a:extLst>
                  <a:ext uri="{FF2B5EF4-FFF2-40B4-BE49-F238E27FC236}">
                    <a16:creationId xmlns:a16="http://schemas.microsoft.com/office/drawing/2014/main" id="{B1E958E2-8046-4214-ABE8-039E0C04CAA8}"/>
                  </a:ext>
                </a:extLst>
              </p:cNvPr>
              <p:cNvSpPr>
                <a:spLocks noChangeArrowheads="1"/>
              </p:cNvSpPr>
              <p:nvPr/>
            </p:nvSpPr>
            <p:spPr bwMode="auto">
              <a:xfrm>
                <a:off x="-2318742" y="8197240"/>
                <a:ext cx="41202" cy="131221"/>
              </a:xfrm>
              <a:prstGeom prst="rect">
                <a:avLst/>
              </a:prstGeom>
              <a:solidFill>
                <a:srgbClr val="1DB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75" name="Rectangle 714">
                <a:extLst>
                  <a:ext uri="{FF2B5EF4-FFF2-40B4-BE49-F238E27FC236}">
                    <a16:creationId xmlns:a16="http://schemas.microsoft.com/office/drawing/2014/main" id="{A4487F3D-A3B8-4421-9FE4-04E06420AFFF}"/>
                  </a:ext>
                </a:extLst>
              </p:cNvPr>
              <p:cNvSpPr>
                <a:spLocks noChangeArrowheads="1"/>
              </p:cNvSpPr>
              <p:nvPr/>
            </p:nvSpPr>
            <p:spPr bwMode="auto">
              <a:xfrm>
                <a:off x="-2256043" y="8140363"/>
                <a:ext cx="41202" cy="188098"/>
              </a:xfrm>
              <a:prstGeom prst="rect">
                <a:avLst/>
              </a:prstGeom>
              <a:solidFill>
                <a:srgbClr val="49CD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76" name="Freeform 715">
                <a:extLst>
                  <a:ext uri="{FF2B5EF4-FFF2-40B4-BE49-F238E27FC236}">
                    <a16:creationId xmlns:a16="http://schemas.microsoft.com/office/drawing/2014/main" id="{996221A9-CC37-4B80-A716-21FBBFFF8856}"/>
                  </a:ext>
                </a:extLst>
              </p:cNvPr>
              <p:cNvSpPr>
                <a:spLocks/>
              </p:cNvSpPr>
              <p:nvPr/>
            </p:nvSpPr>
            <p:spPr bwMode="auto">
              <a:xfrm>
                <a:off x="-2372484" y="8211123"/>
                <a:ext cx="149134" cy="67626"/>
              </a:xfrm>
              <a:custGeom>
                <a:avLst/>
                <a:gdLst>
                  <a:gd name="T0" fmla="*/ 955 w 1041"/>
                  <a:gd name="T1" fmla="*/ 299 h 471"/>
                  <a:gd name="T2" fmla="*/ 898 w 1041"/>
                  <a:gd name="T3" fmla="*/ 320 h 471"/>
                  <a:gd name="T4" fmla="*/ 597 w 1041"/>
                  <a:gd name="T5" fmla="*/ 115 h 471"/>
                  <a:gd name="T6" fmla="*/ 602 w 1041"/>
                  <a:gd name="T7" fmla="*/ 86 h 471"/>
                  <a:gd name="T8" fmla="*/ 516 w 1041"/>
                  <a:gd name="T9" fmla="*/ 0 h 471"/>
                  <a:gd name="T10" fmla="*/ 430 w 1041"/>
                  <a:gd name="T11" fmla="*/ 86 h 471"/>
                  <a:gd name="T12" fmla="*/ 430 w 1041"/>
                  <a:gd name="T13" fmla="*/ 91 h 471"/>
                  <a:gd name="T14" fmla="*/ 158 w 1041"/>
                  <a:gd name="T15" fmla="*/ 181 h 471"/>
                  <a:gd name="T16" fmla="*/ 86 w 1041"/>
                  <a:gd name="T17" fmla="*/ 142 h 471"/>
                  <a:gd name="T18" fmla="*/ 0 w 1041"/>
                  <a:gd name="T19" fmla="*/ 228 h 471"/>
                  <a:gd name="T20" fmla="*/ 86 w 1041"/>
                  <a:gd name="T21" fmla="*/ 314 h 471"/>
                  <a:gd name="T22" fmla="*/ 172 w 1041"/>
                  <a:gd name="T23" fmla="*/ 228 h 471"/>
                  <a:gd name="T24" fmla="*/ 172 w 1041"/>
                  <a:gd name="T25" fmla="*/ 222 h 471"/>
                  <a:gd name="T26" fmla="*/ 444 w 1041"/>
                  <a:gd name="T27" fmla="*/ 133 h 471"/>
                  <a:gd name="T28" fmla="*/ 516 w 1041"/>
                  <a:gd name="T29" fmla="*/ 172 h 471"/>
                  <a:gd name="T30" fmla="*/ 572 w 1041"/>
                  <a:gd name="T31" fmla="*/ 151 h 471"/>
                  <a:gd name="T32" fmla="*/ 874 w 1041"/>
                  <a:gd name="T33" fmla="*/ 356 h 471"/>
                  <a:gd name="T34" fmla="*/ 869 w 1041"/>
                  <a:gd name="T35" fmla="*/ 385 h 471"/>
                  <a:gd name="T36" fmla="*/ 955 w 1041"/>
                  <a:gd name="T37" fmla="*/ 471 h 471"/>
                  <a:gd name="T38" fmla="*/ 1041 w 1041"/>
                  <a:gd name="T39" fmla="*/ 385 h 471"/>
                  <a:gd name="T40" fmla="*/ 955 w 1041"/>
                  <a:gd name="T41" fmla="*/ 299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1" h="471">
                    <a:moveTo>
                      <a:pt x="955" y="299"/>
                    </a:moveTo>
                    <a:cubicBezTo>
                      <a:pt x="933" y="299"/>
                      <a:pt x="914" y="307"/>
                      <a:pt x="898" y="320"/>
                    </a:cubicBezTo>
                    <a:cubicBezTo>
                      <a:pt x="597" y="115"/>
                      <a:pt x="597" y="115"/>
                      <a:pt x="597" y="115"/>
                    </a:cubicBezTo>
                    <a:cubicBezTo>
                      <a:pt x="600" y="106"/>
                      <a:pt x="602" y="96"/>
                      <a:pt x="602" y="86"/>
                    </a:cubicBezTo>
                    <a:cubicBezTo>
                      <a:pt x="602" y="38"/>
                      <a:pt x="564" y="0"/>
                      <a:pt x="516" y="0"/>
                    </a:cubicBezTo>
                    <a:cubicBezTo>
                      <a:pt x="468" y="0"/>
                      <a:pt x="430" y="38"/>
                      <a:pt x="430" y="86"/>
                    </a:cubicBezTo>
                    <a:cubicBezTo>
                      <a:pt x="430" y="88"/>
                      <a:pt x="430" y="89"/>
                      <a:pt x="430" y="91"/>
                    </a:cubicBezTo>
                    <a:cubicBezTo>
                      <a:pt x="158" y="181"/>
                      <a:pt x="158" y="181"/>
                      <a:pt x="158" y="181"/>
                    </a:cubicBezTo>
                    <a:cubicBezTo>
                      <a:pt x="143" y="157"/>
                      <a:pt x="116" y="142"/>
                      <a:pt x="86" y="142"/>
                    </a:cubicBezTo>
                    <a:cubicBezTo>
                      <a:pt x="39" y="142"/>
                      <a:pt x="0" y="180"/>
                      <a:pt x="0" y="228"/>
                    </a:cubicBezTo>
                    <a:cubicBezTo>
                      <a:pt x="0" y="275"/>
                      <a:pt x="39" y="314"/>
                      <a:pt x="86" y="314"/>
                    </a:cubicBezTo>
                    <a:cubicBezTo>
                      <a:pt x="134" y="314"/>
                      <a:pt x="172" y="275"/>
                      <a:pt x="172" y="228"/>
                    </a:cubicBezTo>
                    <a:cubicBezTo>
                      <a:pt x="172" y="226"/>
                      <a:pt x="172" y="224"/>
                      <a:pt x="172" y="222"/>
                    </a:cubicBezTo>
                    <a:cubicBezTo>
                      <a:pt x="444" y="133"/>
                      <a:pt x="444" y="133"/>
                      <a:pt x="444" y="133"/>
                    </a:cubicBezTo>
                    <a:cubicBezTo>
                      <a:pt x="459" y="156"/>
                      <a:pt x="486" y="172"/>
                      <a:pt x="516" y="172"/>
                    </a:cubicBezTo>
                    <a:cubicBezTo>
                      <a:pt x="538" y="172"/>
                      <a:pt x="557" y="164"/>
                      <a:pt x="572" y="151"/>
                    </a:cubicBezTo>
                    <a:cubicBezTo>
                      <a:pt x="874" y="356"/>
                      <a:pt x="874" y="356"/>
                      <a:pt x="874" y="356"/>
                    </a:cubicBezTo>
                    <a:cubicBezTo>
                      <a:pt x="871" y="365"/>
                      <a:pt x="869" y="375"/>
                      <a:pt x="869" y="385"/>
                    </a:cubicBezTo>
                    <a:cubicBezTo>
                      <a:pt x="869" y="433"/>
                      <a:pt x="907" y="471"/>
                      <a:pt x="955" y="471"/>
                    </a:cubicBezTo>
                    <a:cubicBezTo>
                      <a:pt x="1002" y="471"/>
                      <a:pt x="1041" y="433"/>
                      <a:pt x="1041" y="385"/>
                    </a:cubicBezTo>
                    <a:cubicBezTo>
                      <a:pt x="1041" y="338"/>
                      <a:pt x="1002" y="299"/>
                      <a:pt x="955" y="299"/>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grpSp>
      </p:grpSp>
      <p:grpSp>
        <p:nvGrpSpPr>
          <p:cNvPr id="29" name="Group 28">
            <a:extLst>
              <a:ext uri="{FF2B5EF4-FFF2-40B4-BE49-F238E27FC236}">
                <a16:creationId xmlns:a16="http://schemas.microsoft.com/office/drawing/2014/main" id="{ABCED58F-0C3A-45B8-B559-52ADDA313F1C}"/>
              </a:ext>
            </a:extLst>
          </p:cNvPr>
          <p:cNvGrpSpPr/>
          <p:nvPr/>
        </p:nvGrpSpPr>
        <p:grpSpPr>
          <a:xfrm>
            <a:off x="8727676" y="3112500"/>
            <a:ext cx="2181560" cy="861774"/>
            <a:chOff x="4389438" y="-1214199"/>
            <a:chExt cx="2181560" cy="861774"/>
          </a:xfrm>
        </p:grpSpPr>
        <p:sp>
          <p:nvSpPr>
            <p:cNvPr id="23" name="Freeform 29">
              <a:extLst>
                <a:ext uri="{FF2B5EF4-FFF2-40B4-BE49-F238E27FC236}">
                  <a16:creationId xmlns:a16="http://schemas.microsoft.com/office/drawing/2014/main" id="{237E9CF9-9347-441E-A55A-3E645FC5C59D}"/>
                </a:ext>
              </a:extLst>
            </p:cNvPr>
            <p:cNvSpPr>
              <a:spLocks noEditPoints="1"/>
            </p:cNvSpPr>
            <p:nvPr/>
          </p:nvSpPr>
          <p:spPr bwMode="auto">
            <a:xfrm>
              <a:off x="5184478" y="-1001516"/>
              <a:ext cx="250611" cy="250611"/>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N"/>
            </a:p>
          </p:txBody>
        </p:sp>
        <p:sp>
          <p:nvSpPr>
            <p:cNvPr id="24" name="Freeform 30">
              <a:extLst>
                <a:ext uri="{FF2B5EF4-FFF2-40B4-BE49-F238E27FC236}">
                  <a16:creationId xmlns:a16="http://schemas.microsoft.com/office/drawing/2014/main" id="{6B703188-4112-4C99-A84E-96A47C33463D}"/>
                </a:ext>
              </a:extLst>
            </p:cNvPr>
            <p:cNvSpPr>
              <a:spLocks noEditPoints="1"/>
            </p:cNvSpPr>
            <p:nvPr/>
          </p:nvSpPr>
          <p:spPr bwMode="auto">
            <a:xfrm>
              <a:off x="4944430" y="-821480"/>
              <a:ext cx="343269" cy="343749"/>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a:p>
          </p:txBody>
        </p:sp>
        <p:sp>
          <p:nvSpPr>
            <p:cNvPr id="25" name="Freeform 31">
              <a:extLst>
                <a:ext uri="{FF2B5EF4-FFF2-40B4-BE49-F238E27FC236}">
                  <a16:creationId xmlns:a16="http://schemas.microsoft.com/office/drawing/2014/main" id="{0600A455-CEA8-4A1B-8C50-E502E2422F11}"/>
                </a:ext>
              </a:extLst>
            </p:cNvPr>
            <p:cNvSpPr>
              <a:spLocks noEditPoints="1"/>
            </p:cNvSpPr>
            <p:nvPr/>
          </p:nvSpPr>
          <p:spPr bwMode="auto">
            <a:xfrm>
              <a:off x="5353472" y="-920860"/>
              <a:ext cx="500741" cy="502181"/>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N"/>
            </a:p>
          </p:txBody>
        </p:sp>
        <p:sp>
          <p:nvSpPr>
            <p:cNvPr id="26" name="Freeform 32">
              <a:extLst>
                <a:ext uri="{FF2B5EF4-FFF2-40B4-BE49-F238E27FC236}">
                  <a16:creationId xmlns:a16="http://schemas.microsoft.com/office/drawing/2014/main" id="{C2395514-B27F-420C-9A87-1176E93BF1AC}"/>
                </a:ext>
              </a:extLst>
            </p:cNvPr>
            <p:cNvSpPr>
              <a:spLocks/>
            </p:cNvSpPr>
            <p:nvPr/>
          </p:nvSpPr>
          <p:spPr bwMode="auto">
            <a:xfrm>
              <a:off x="4389438" y="-1075451"/>
              <a:ext cx="682218" cy="723026"/>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p>
          </p:txBody>
        </p:sp>
        <p:sp>
          <p:nvSpPr>
            <p:cNvPr id="27" name="Freeform 33">
              <a:extLst>
                <a:ext uri="{FF2B5EF4-FFF2-40B4-BE49-F238E27FC236}">
                  <a16:creationId xmlns:a16="http://schemas.microsoft.com/office/drawing/2014/main" id="{BDB2CDBC-51FD-4D69-A78A-93C6F5166274}"/>
                </a:ext>
              </a:extLst>
            </p:cNvPr>
            <p:cNvSpPr>
              <a:spLocks/>
            </p:cNvSpPr>
            <p:nvPr/>
          </p:nvSpPr>
          <p:spPr bwMode="auto">
            <a:xfrm>
              <a:off x="5732749" y="-1214199"/>
              <a:ext cx="838249" cy="8617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17" name="Group 516">
            <a:extLst>
              <a:ext uri="{FF2B5EF4-FFF2-40B4-BE49-F238E27FC236}">
                <a16:creationId xmlns:a16="http://schemas.microsoft.com/office/drawing/2014/main" id="{624A9A5A-0DBB-4996-B360-60FC75B50E66}"/>
              </a:ext>
            </a:extLst>
          </p:cNvPr>
          <p:cNvGrpSpPr/>
          <p:nvPr/>
        </p:nvGrpSpPr>
        <p:grpSpPr>
          <a:xfrm>
            <a:off x="1366230" y="2711610"/>
            <a:ext cx="1902750" cy="1703370"/>
            <a:chOff x="1468458" y="2803126"/>
            <a:chExt cx="1698294" cy="1520338"/>
          </a:xfrm>
        </p:grpSpPr>
        <p:sp>
          <p:nvSpPr>
            <p:cNvPr id="15" name="Freeform: Shape 14">
              <a:extLst>
                <a:ext uri="{FF2B5EF4-FFF2-40B4-BE49-F238E27FC236}">
                  <a16:creationId xmlns:a16="http://schemas.microsoft.com/office/drawing/2014/main" id="{23C32821-EA1B-40A7-900A-C907C34FE600}"/>
                </a:ext>
              </a:extLst>
            </p:cNvPr>
            <p:cNvSpPr/>
            <p:nvPr/>
          </p:nvSpPr>
          <p:spPr>
            <a:xfrm>
              <a:off x="1636047" y="2899810"/>
              <a:ext cx="1429258" cy="1317159"/>
            </a:xfrm>
            <a:custGeom>
              <a:avLst/>
              <a:gdLst>
                <a:gd name="connsiteX0" fmla="*/ 484822 w 485775"/>
                <a:gd name="connsiteY0" fmla="*/ 118300 h 447675"/>
                <a:gd name="connsiteX1" fmla="*/ 494157 w 485775"/>
                <a:gd name="connsiteY1" fmla="*/ 114014 h 447675"/>
                <a:gd name="connsiteX2" fmla="*/ 184690 w 485775"/>
                <a:gd name="connsiteY2" fmla="*/ 95917 h 447675"/>
                <a:gd name="connsiteX3" fmla="*/ 167069 w 485775"/>
                <a:gd name="connsiteY3" fmla="*/ 1905 h 447675"/>
                <a:gd name="connsiteX4" fmla="*/ 164306 w 485775"/>
                <a:gd name="connsiteY4" fmla="*/ 2381 h 447675"/>
                <a:gd name="connsiteX5" fmla="*/ 162973 w 485775"/>
                <a:gd name="connsiteY5" fmla="*/ 0 h 447675"/>
                <a:gd name="connsiteX6" fmla="*/ 8573 w 485775"/>
                <a:gd name="connsiteY6" fmla="*/ 85630 h 447675"/>
                <a:gd name="connsiteX7" fmla="*/ 0 w 485775"/>
                <a:gd name="connsiteY7" fmla="*/ 85153 h 447675"/>
                <a:gd name="connsiteX8" fmla="*/ 97060 w 485775"/>
                <a:gd name="connsiteY8" fmla="*/ 156496 h 447675"/>
                <a:gd name="connsiteX9" fmla="*/ 27908 w 485775"/>
                <a:gd name="connsiteY9" fmla="*/ 322612 h 447675"/>
                <a:gd name="connsiteX10" fmla="*/ 24003 w 485775"/>
                <a:gd name="connsiteY10" fmla="*/ 324422 h 447675"/>
                <a:gd name="connsiteX11" fmla="*/ 247174 w 485775"/>
                <a:gd name="connsiteY11" fmla="*/ 453009 h 447675"/>
                <a:gd name="connsiteX12" fmla="*/ 248126 w 485775"/>
                <a:gd name="connsiteY12" fmla="*/ 453581 h 447675"/>
                <a:gd name="connsiteX13" fmla="*/ 442055 w 485775"/>
                <a:gd name="connsiteY13" fmla="*/ 403098 h 447675"/>
                <a:gd name="connsiteX14" fmla="*/ 338519 w 485775"/>
                <a:gd name="connsiteY14" fmla="*/ 326993 h 447675"/>
                <a:gd name="connsiteX15" fmla="*/ 484822 w 485775"/>
                <a:gd name="connsiteY15" fmla="*/ 118300 h 447675"/>
                <a:gd name="connsiteX16" fmla="*/ 334137 w 485775"/>
                <a:gd name="connsiteY16" fmla="*/ 323660 h 447675"/>
                <a:gd name="connsiteX17" fmla="*/ 220313 w 485775"/>
                <a:gd name="connsiteY17" fmla="*/ 240125 h 447675"/>
                <a:gd name="connsiteX18" fmla="*/ 474821 w 485775"/>
                <a:gd name="connsiteY18" fmla="*/ 122968 h 447675"/>
                <a:gd name="connsiteX19" fmla="*/ 334137 w 485775"/>
                <a:gd name="connsiteY19" fmla="*/ 323660 h 447675"/>
                <a:gd name="connsiteX20" fmla="*/ 330899 w 485775"/>
                <a:gd name="connsiteY20" fmla="*/ 328232 h 447675"/>
                <a:gd name="connsiteX21" fmla="*/ 250031 w 485775"/>
                <a:gd name="connsiteY21" fmla="*/ 443579 h 447675"/>
                <a:gd name="connsiteX22" fmla="*/ 212503 w 485775"/>
                <a:gd name="connsiteY22" fmla="*/ 243649 h 447675"/>
                <a:gd name="connsiteX23" fmla="*/ 214598 w 485775"/>
                <a:gd name="connsiteY23" fmla="*/ 242697 h 447675"/>
                <a:gd name="connsiteX24" fmla="*/ 330899 w 485775"/>
                <a:gd name="connsiteY24" fmla="*/ 328232 h 447675"/>
                <a:gd name="connsiteX25" fmla="*/ 471773 w 485775"/>
                <a:gd name="connsiteY25" fmla="*/ 118205 h 447675"/>
                <a:gd name="connsiteX26" fmla="*/ 215265 w 485775"/>
                <a:gd name="connsiteY26" fmla="*/ 236315 h 447675"/>
                <a:gd name="connsiteX27" fmla="*/ 210503 w 485775"/>
                <a:gd name="connsiteY27" fmla="*/ 232791 h 447675"/>
                <a:gd name="connsiteX28" fmla="*/ 185833 w 485775"/>
                <a:gd name="connsiteY28" fmla="*/ 101441 h 447675"/>
                <a:gd name="connsiteX29" fmla="*/ 471773 w 485775"/>
                <a:gd name="connsiteY29" fmla="*/ 118205 h 447675"/>
                <a:gd name="connsiteX30" fmla="*/ 203930 w 485775"/>
                <a:gd name="connsiteY30" fmla="*/ 228029 h 447675"/>
                <a:gd name="connsiteX31" fmla="*/ 103918 w 485775"/>
                <a:gd name="connsiteY31" fmla="*/ 154496 h 447675"/>
                <a:gd name="connsiteX32" fmla="*/ 127445 w 485775"/>
                <a:gd name="connsiteY32" fmla="*/ 98012 h 447675"/>
                <a:gd name="connsiteX33" fmla="*/ 180118 w 485775"/>
                <a:gd name="connsiteY33" fmla="*/ 101060 h 447675"/>
                <a:gd name="connsiteX34" fmla="*/ 203930 w 485775"/>
                <a:gd name="connsiteY34" fmla="*/ 228029 h 447675"/>
                <a:gd name="connsiteX35" fmla="*/ 179070 w 485775"/>
                <a:gd name="connsiteY35" fmla="*/ 95536 h 447675"/>
                <a:gd name="connsiteX36" fmla="*/ 129731 w 485775"/>
                <a:gd name="connsiteY36" fmla="*/ 92678 h 447675"/>
                <a:gd name="connsiteX37" fmla="*/ 163354 w 485775"/>
                <a:gd name="connsiteY37" fmla="*/ 12002 h 447675"/>
                <a:gd name="connsiteX38" fmla="*/ 179070 w 485775"/>
                <a:gd name="connsiteY38" fmla="*/ 95536 h 447675"/>
                <a:gd name="connsiteX39" fmla="*/ 158782 w 485775"/>
                <a:gd name="connsiteY39" fmla="*/ 8668 h 447675"/>
                <a:gd name="connsiteX40" fmla="*/ 123920 w 485775"/>
                <a:gd name="connsiteY40" fmla="*/ 92297 h 447675"/>
                <a:gd name="connsiteX41" fmla="*/ 19050 w 485775"/>
                <a:gd name="connsiteY41" fmla="*/ 86201 h 447675"/>
                <a:gd name="connsiteX42" fmla="*/ 158782 w 485775"/>
                <a:gd name="connsiteY42" fmla="*/ 8668 h 447675"/>
                <a:gd name="connsiteX43" fmla="*/ 18479 w 485775"/>
                <a:gd name="connsiteY43" fmla="*/ 91726 h 447675"/>
                <a:gd name="connsiteX44" fmla="*/ 121634 w 485775"/>
                <a:gd name="connsiteY44" fmla="*/ 97726 h 447675"/>
                <a:gd name="connsiteX45" fmla="*/ 99346 w 485775"/>
                <a:gd name="connsiteY45" fmla="*/ 151162 h 447675"/>
                <a:gd name="connsiteX46" fmla="*/ 18479 w 485775"/>
                <a:gd name="connsiteY46" fmla="*/ 91726 h 447675"/>
                <a:gd name="connsiteX47" fmla="*/ 101727 w 485775"/>
                <a:gd name="connsiteY47" fmla="*/ 159830 h 447675"/>
                <a:gd name="connsiteX48" fmla="*/ 205454 w 485775"/>
                <a:gd name="connsiteY48" fmla="*/ 236030 h 447675"/>
                <a:gd name="connsiteX49" fmla="*/ 206312 w 485775"/>
                <a:gd name="connsiteY49" fmla="*/ 240506 h 447675"/>
                <a:gd name="connsiteX50" fmla="*/ 35338 w 485775"/>
                <a:gd name="connsiteY50" fmla="*/ 319278 h 447675"/>
                <a:gd name="connsiteX51" fmla="*/ 101727 w 485775"/>
                <a:gd name="connsiteY51" fmla="*/ 159830 h 447675"/>
                <a:gd name="connsiteX52" fmla="*/ 207359 w 485775"/>
                <a:gd name="connsiteY52" fmla="*/ 246031 h 447675"/>
                <a:gd name="connsiteX53" fmla="*/ 244793 w 485775"/>
                <a:gd name="connsiteY53" fmla="*/ 445103 h 447675"/>
                <a:gd name="connsiteX54" fmla="*/ 36005 w 485775"/>
                <a:gd name="connsiteY54" fmla="*/ 324993 h 447675"/>
                <a:gd name="connsiteX55" fmla="*/ 207359 w 485775"/>
                <a:gd name="connsiteY55" fmla="*/ 246031 h 447675"/>
                <a:gd name="connsiteX56" fmla="*/ 429387 w 485775"/>
                <a:gd name="connsiteY56" fmla="*/ 400622 h 447675"/>
                <a:gd name="connsiteX57" fmla="*/ 255080 w 485775"/>
                <a:gd name="connsiteY57" fmla="*/ 445961 h 447675"/>
                <a:gd name="connsiteX58" fmla="*/ 335280 w 485775"/>
                <a:gd name="connsiteY58" fmla="*/ 331470 h 447675"/>
                <a:gd name="connsiteX59" fmla="*/ 429387 w 485775"/>
                <a:gd name="connsiteY59" fmla="*/ 400622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85775" h="447675">
                  <a:moveTo>
                    <a:pt x="484822" y="118300"/>
                  </a:moveTo>
                  <a:lnTo>
                    <a:pt x="494157" y="114014"/>
                  </a:lnTo>
                  <a:lnTo>
                    <a:pt x="184690" y="95917"/>
                  </a:lnTo>
                  <a:lnTo>
                    <a:pt x="167069" y="1905"/>
                  </a:lnTo>
                  <a:lnTo>
                    <a:pt x="164306" y="2381"/>
                  </a:lnTo>
                  <a:lnTo>
                    <a:pt x="162973" y="0"/>
                  </a:lnTo>
                  <a:lnTo>
                    <a:pt x="8573" y="85630"/>
                  </a:lnTo>
                  <a:lnTo>
                    <a:pt x="0" y="85153"/>
                  </a:lnTo>
                  <a:lnTo>
                    <a:pt x="97060" y="156496"/>
                  </a:lnTo>
                  <a:lnTo>
                    <a:pt x="27908" y="322612"/>
                  </a:lnTo>
                  <a:lnTo>
                    <a:pt x="24003" y="324422"/>
                  </a:lnTo>
                  <a:lnTo>
                    <a:pt x="247174" y="453009"/>
                  </a:lnTo>
                  <a:lnTo>
                    <a:pt x="248126" y="453581"/>
                  </a:lnTo>
                  <a:lnTo>
                    <a:pt x="442055" y="403098"/>
                  </a:lnTo>
                  <a:lnTo>
                    <a:pt x="338519" y="326993"/>
                  </a:lnTo>
                  <a:lnTo>
                    <a:pt x="484822" y="118300"/>
                  </a:lnTo>
                  <a:close/>
                  <a:moveTo>
                    <a:pt x="334137" y="323660"/>
                  </a:moveTo>
                  <a:lnTo>
                    <a:pt x="220313" y="240125"/>
                  </a:lnTo>
                  <a:lnTo>
                    <a:pt x="474821" y="122968"/>
                  </a:lnTo>
                  <a:lnTo>
                    <a:pt x="334137" y="323660"/>
                  </a:lnTo>
                  <a:close/>
                  <a:moveTo>
                    <a:pt x="330899" y="328232"/>
                  </a:moveTo>
                  <a:lnTo>
                    <a:pt x="250031" y="443579"/>
                  </a:lnTo>
                  <a:lnTo>
                    <a:pt x="212503" y="243649"/>
                  </a:lnTo>
                  <a:lnTo>
                    <a:pt x="214598" y="242697"/>
                  </a:lnTo>
                  <a:lnTo>
                    <a:pt x="330899" y="328232"/>
                  </a:lnTo>
                  <a:close/>
                  <a:moveTo>
                    <a:pt x="471773" y="118205"/>
                  </a:moveTo>
                  <a:lnTo>
                    <a:pt x="215265" y="236315"/>
                  </a:lnTo>
                  <a:lnTo>
                    <a:pt x="210503" y="232791"/>
                  </a:lnTo>
                  <a:lnTo>
                    <a:pt x="185833" y="101441"/>
                  </a:lnTo>
                  <a:lnTo>
                    <a:pt x="471773" y="118205"/>
                  </a:lnTo>
                  <a:close/>
                  <a:moveTo>
                    <a:pt x="203930" y="228029"/>
                  </a:moveTo>
                  <a:lnTo>
                    <a:pt x="103918" y="154496"/>
                  </a:lnTo>
                  <a:lnTo>
                    <a:pt x="127445" y="98012"/>
                  </a:lnTo>
                  <a:lnTo>
                    <a:pt x="180118" y="101060"/>
                  </a:lnTo>
                  <a:lnTo>
                    <a:pt x="203930" y="228029"/>
                  </a:lnTo>
                  <a:close/>
                  <a:moveTo>
                    <a:pt x="179070" y="95536"/>
                  </a:moveTo>
                  <a:lnTo>
                    <a:pt x="129731" y="92678"/>
                  </a:lnTo>
                  <a:lnTo>
                    <a:pt x="163354" y="12002"/>
                  </a:lnTo>
                  <a:lnTo>
                    <a:pt x="179070" y="95536"/>
                  </a:lnTo>
                  <a:close/>
                  <a:moveTo>
                    <a:pt x="158782" y="8668"/>
                  </a:moveTo>
                  <a:lnTo>
                    <a:pt x="123920" y="92297"/>
                  </a:lnTo>
                  <a:lnTo>
                    <a:pt x="19050" y="86201"/>
                  </a:lnTo>
                  <a:lnTo>
                    <a:pt x="158782" y="8668"/>
                  </a:lnTo>
                  <a:close/>
                  <a:moveTo>
                    <a:pt x="18479" y="91726"/>
                  </a:moveTo>
                  <a:lnTo>
                    <a:pt x="121634" y="97726"/>
                  </a:lnTo>
                  <a:lnTo>
                    <a:pt x="99346" y="151162"/>
                  </a:lnTo>
                  <a:lnTo>
                    <a:pt x="18479" y="91726"/>
                  </a:lnTo>
                  <a:close/>
                  <a:moveTo>
                    <a:pt x="101727" y="159830"/>
                  </a:moveTo>
                  <a:lnTo>
                    <a:pt x="205454" y="236030"/>
                  </a:lnTo>
                  <a:lnTo>
                    <a:pt x="206312" y="240506"/>
                  </a:lnTo>
                  <a:lnTo>
                    <a:pt x="35338" y="319278"/>
                  </a:lnTo>
                  <a:lnTo>
                    <a:pt x="101727" y="159830"/>
                  </a:lnTo>
                  <a:close/>
                  <a:moveTo>
                    <a:pt x="207359" y="246031"/>
                  </a:moveTo>
                  <a:lnTo>
                    <a:pt x="244793" y="445103"/>
                  </a:lnTo>
                  <a:lnTo>
                    <a:pt x="36005" y="324993"/>
                  </a:lnTo>
                  <a:lnTo>
                    <a:pt x="207359" y="246031"/>
                  </a:lnTo>
                  <a:close/>
                  <a:moveTo>
                    <a:pt x="429387" y="400622"/>
                  </a:moveTo>
                  <a:lnTo>
                    <a:pt x="255080" y="445961"/>
                  </a:lnTo>
                  <a:lnTo>
                    <a:pt x="335280" y="331470"/>
                  </a:lnTo>
                  <a:lnTo>
                    <a:pt x="429387" y="400622"/>
                  </a:lnTo>
                  <a:close/>
                </a:path>
              </a:pathLst>
            </a:custGeom>
            <a:solidFill>
              <a:srgbClr val="D2D2D2"/>
            </a:solidFill>
            <a:ln w="9525" cap="flat">
              <a:noFill/>
              <a:prstDash val="solid"/>
              <a:miter/>
            </a:ln>
          </p:spPr>
          <p:txBody>
            <a:bodyPr rtlCol="0" anchor="ctr"/>
            <a:lstStyle/>
            <a:p>
              <a:endParaRPr lang="en-IN"/>
            </a:p>
          </p:txBody>
        </p:sp>
        <p:sp>
          <p:nvSpPr>
            <p:cNvPr id="17" name="Freeform: Shape 16">
              <a:extLst>
                <a:ext uri="{FF2B5EF4-FFF2-40B4-BE49-F238E27FC236}">
                  <a16:creationId xmlns:a16="http://schemas.microsoft.com/office/drawing/2014/main" id="{35E28878-C8AD-461F-B54B-118050E71C54}"/>
                </a:ext>
              </a:extLst>
            </p:cNvPr>
            <p:cNvSpPr/>
            <p:nvPr/>
          </p:nvSpPr>
          <p:spPr>
            <a:xfrm>
              <a:off x="2942555" y="3126809"/>
              <a:ext cx="224197" cy="224197"/>
            </a:xfrm>
            <a:custGeom>
              <a:avLst/>
              <a:gdLst>
                <a:gd name="connsiteX0" fmla="*/ 77915 w 76200"/>
                <a:gd name="connsiteY0" fmla="*/ 38957 h 76200"/>
                <a:gd name="connsiteX1" fmla="*/ 38957 w 76200"/>
                <a:gd name="connsiteY1" fmla="*/ 77915 h 76200"/>
                <a:gd name="connsiteX2" fmla="*/ 0 w 76200"/>
                <a:gd name="connsiteY2" fmla="*/ 38957 h 76200"/>
                <a:gd name="connsiteX3" fmla="*/ 38957 w 76200"/>
                <a:gd name="connsiteY3" fmla="*/ 0 h 76200"/>
                <a:gd name="connsiteX4" fmla="*/ 77915 w 76200"/>
                <a:gd name="connsiteY4" fmla="*/ 38957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7915" y="38957"/>
                  </a:moveTo>
                  <a:cubicBezTo>
                    <a:pt x="77915" y="60484"/>
                    <a:pt x="60484" y="77915"/>
                    <a:pt x="38957" y="77915"/>
                  </a:cubicBezTo>
                  <a:cubicBezTo>
                    <a:pt x="17431" y="77915"/>
                    <a:pt x="0" y="60484"/>
                    <a:pt x="0" y="38957"/>
                  </a:cubicBezTo>
                  <a:cubicBezTo>
                    <a:pt x="0" y="17431"/>
                    <a:pt x="17431" y="0"/>
                    <a:pt x="38957" y="0"/>
                  </a:cubicBezTo>
                  <a:cubicBezTo>
                    <a:pt x="60484" y="0"/>
                    <a:pt x="77915" y="17431"/>
                    <a:pt x="77915" y="38957"/>
                  </a:cubicBezTo>
                </a:path>
              </a:pathLst>
            </a:custGeom>
            <a:solidFill>
              <a:srgbClr val="0D7364"/>
            </a:solidFill>
            <a:ln w="9525" cap="flat">
              <a:noFill/>
              <a:prstDash val="solid"/>
              <a:miter/>
            </a:ln>
          </p:spPr>
          <p:txBody>
            <a:bodyPr rtlCol="0" anchor="ctr"/>
            <a:lstStyle/>
            <a:p>
              <a:endParaRPr lang="en-IN"/>
            </a:p>
          </p:txBody>
        </p:sp>
        <p:sp>
          <p:nvSpPr>
            <p:cNvPr id="21" name="Freeform: Shape 20">
              <a:extLst>
                <a:ext uri="{FF2B5EF4-FFF2-40B4-BE49-F238E27FC236}">
                  <a16:creationId xmlns:a16="http://schemas.microsoft.com/office/drawing/2014/main" id="{F7DED254-AEE7-401C-8AAE-76546E427FEC}"/>
                </a:ext>
              </a:extLst>
            </p:cNvPr>
            <p:cNvSpPr/>
            <p:nvPr/>
          </p:nvSpPr>
          <p:spPr>
            <a:xfrm>
              <a:off x="2268842" y="4127291"/>
              <a:ext cx="196173" cy="196173"/>
            </a:xfrm>
            <a:custGeom>
              <a:avLst/>
              <a:gdLst>
                <a:gd name="connsiteX0" fmla="*/ 66866 w 66675"/>
                <a:gd name="connsiteY0" fmla="*/ 33433 h 66675"/>
                <a:gd name="connsiteX1" fmla="*/ 33433 w 66675"/>
                <a:gd name="connsiteY1" fmla="*/ 66866 h 66675"/>
                <a:gd name="connsiteX2" fmla="*/ 0 w 66675"/>
                <a:gd name="connsiteY2" fmla="*/ 33433 h 66675"/>
                <a:gd name="connsiteX3" fmla="*/ 33433 w 66675"/>
                <a:gd name="connsiteY3" fmla="*/ 0 h 66675"/>
                <a:gd name="connsiteX4" fmla="*/ 66866 w 66675"/>
                <a:gd name="connsiteY4" fmla="*/ 33433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66866" y="33433"/>
                  </a:moveTo>
                  <a:cubicBezTo>
                    <a:pt x="66866" y="51911"/>
                    <a:pt x="51911" y="66866"/>
                    <a:pt x="33433" y="66866"/>
                  </a:cubicBezTo>
                  <a:cubicBezTo>
                    <a:pt x="14954" y="66866"/>
                    <a:pt x="0" y="51911"/>
                    <a:pt x="0" y="33433"/>
                  </a:cubicBezTo>
                  <a:cubicBezTo>
                    <a:pt x="0" y="14954"/>
                    <a:pt x="14954" y="0"/>
                    <a:pt x="33433" y="0"/>
                  </a:cubicBezTo>
                  <a:cubicBezTo>
                    <a:pt x="51911" y="0"/>
                    <a:pt x="66866" y="14954"/>
                    <a:pt x="66866" y="33433"/>
                  </a:cubicBezTo>
                </a:path>
              </a:pathLst>
            </a:custGeom>
            <a:solidFill>
              <a:schemeClr val="accent5"/>
            </a:solidFill>
            <a:ln w="9525" cap="flat">
              <a:noFill/>
              <a:prstDash val="solid"/>
              <a:miter/>
            </a:ln>
          </p:spPr>
          <p:txBody>
            <a:bodyPr rtlCol="0" anchor="ctr"/>
            <a:lstStyle/>
            <a:p>
              <a:endParaRPr lang="en-IN"/>
            </a:p>
          </p:txBody>
        </p:sp>
        <p:sp>
          <p:nvSpPr>
            <p:cNvPr id="22" name="Freeform: Shape 21">
              <a:extLst>
                <a:ext uri="{FF2B5EF4-FFF2-40B4-BE49-F238E27FC236}">
                  <a16:creationId xmlns:a16="http://schemas.microsoft.com/office/drawing/2014/main" id="{E62B0C09-8D10-46DA-B634-2ECF1075B115}"/>
                </a:ext>
              </a:extLst>
            </p:cNvPr>
            <p:cNvSpPr/>
            <p:nvPr/>
          </p:nvSpPr>
          <p:spPr>
            <a:xfrm>
              <a:off x="1593449" y="3724295"/>
              <a:ext cx="252222" cy="252222"/>
            </a:xfrm>
            <a:custGeom>
              <a:avLst/>
              <a:gdLst>
                <a:gd name="connsiteX0" fmla="*/ 89345 w 85725"/>
                <a:gd name="connsiteY0" fmla="*/ 44672 h 85725"/>
                <a:gd name="connsiteX1" fmla="*/ 44672 w 85725"/>
                <a:gd name="connsiteY1" fmla="*/ 89345 h 85725"/>
                <a:gd name="connsiteX2" fmla="*/ 0 w 85725"/>
                <a:gd name="connsiteY2" fmla="*/ 44672 h 85725"/>
                <a:gd name="connsiteX3" fmla="*/ 44672 w 85725"/>
                <a:gd name="connsiteY3" fmla="*/ 0 h 85725"/>
                <a:gd name="connsiteX4" fmla="*/ 89345 w 85725"/>
                <a:gd name="connsiteY4" fmla="*/ 44672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9345" y="44672"/>
                  </a:moveTo>
                  <a:cubicBezTo>
                    <a:pt x="89345" y="69342"/>
                    <a:pt x="69342" y="89345"/>
                    <a:pt x="44672" y="89345"/>
                  </a:cubicBezTo>
                  <a:cubicBezTo>
                    <a:pt x="20003" y="89345"/>
                    <a:pt x="0" y="69342"/>
                    <a:pt x="0" y="44672"/>
                  </a:cubicBezTo>
                  <a:cubicBezTo>
                    <a:pt x="0" y="20003"/>
                    <a:pt x="20003" y="0"/>
                    <a:pt x="44672" y="0"/>
                  </a:cubicBezTo>
                  <a:cubicBezTo>
                    <a:pt x="69342" y="0"/>
                    <a:pt x="89345" y="20003"/>
                    <a:pt x="89345" y="44672"/>
                  </a:cubicBezTo>
                </a:path>
              </a:pathLst>
            </a:custGeom>
            <a:solidFill>
              <a:srgbClr val="0D7364"/>
            </a:solidFill>
            <a:ln w="9525" cap="flat">
              <a:noFill/>
              <a:prstDash val="solid"/>
              <a:miter/>
            </a:ln>
          </p:spPr>
          <p:txBody>
            <a:bodyPr rtlCol="0" anchor="ctr"/>
            <a:lstStyle/>
            <a:p>
              <a:endParaRPr lang="en-IN"/>
            </a:p>
          </p:txBody>
        </p:sp>
        <p:sp>
          <p:nvSpPr>
            <p:cNvPr id="28" name="Freeform: Shape 27">
              <a:extLst>
                <a:ext uri="{FF2B5EF4-FFF2-40B4-BE49-F238E27FC236}">
                  <a16:creationId xmlns:a16="http://schemas.microsoft.com/office/drawing/2014/main" id="{F5F1A61F-3A4B-4581-A84A-568C57564725}"/>
                </a:ext>
              </a:extLst>
            </p:cNvPr>
            <p:cNvSpPr/>
            <p:nvPr/>
          </p:nvSpPr>
          <p:spPr>
            <a:xfrm>
              <a:off x="2016061" y="2803126"/>
              <a:ext cx="196173" cy="196173"/>
            </a:xfrm>
            <a:custGeom>
              <a:avLst/>
              <a:gdLst>
                <a:gd name="connsiteX0" fmla="*/ 70866 w 66675"/>
                <a:gd name="connsiteY0" fmla="*/ 35433 h 66675"/>
                <a:gd name="connsiteX1" fmla="*/ 35433 w 66675"/>
                <a:gd name="connsiteY1" fmla="*/ 70866 h 66675"/>
                <a:gd name="connsiteX2" fmla="*/ 0 w 66675"/>
                <a:gd name="connsiteY2" fmla="*/ 35433 h 66675"/>
                <a:gd name="connsiteX3" fmla="*/ 35433 w 66675"/>
                <a:gd name="connsiteY3" fmla="*/ 0 h 66675"/>
                <a:gd name="connsiteX4" fmla="*/ 70866 w 66675"/>
                <a:gd name="connsiteY4" fmla="*/ 35433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70866" y="35433"/>
                  </a:moveTo>
                  <a:cubicBezTo>
                    <a:pt x="70866" y="55054"/>
                    <a:pt x="54959" y="70866"/>
                    <a:pt x="35433" y="70866"/>
                  </a:cubicBezTo>
                  <a:cubicBezTo>
                    <a:pt x="15811" y="70866"/>
                    <a:pt x="0" y="54959"/>
                    <a:pt x="0" y="35433"/>
                  </a:cubicBezTo>
                  <a:cubicBezTo>
                    <a:pt x="0" y="15811"/>
                    <a:pt x="15907" y="0"/>
                    <a:pt x="35433" y="0"/>
                  </a:cubicBezTo>
                  <a:cubicBezTo>
                    <a:pt x="54959" y="0"/>
                    <a:pt x="70866" y="15811"/>
                    <a:pt x="70866" y="35433"/>
                  </a:cubicBezTo>
                </a:path>
              </a:pathLst>
            </a:custGeom>
            <a:solidFill>
              <a:srgbClr val="FDA84C"/>
            </a:solidFill>
            <a:ln w="9525" cap="flat">
              <a:no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0367D4A4-9920-4A9D-85C6-ADB26E429AF2}"/>
                </a:ext>
              </a:extLst>
            </p:cNvPr>
            <p:cNvSpPr/>
            <p:nvPr/>
          </p:nvSpPr>
          <p:spPr>
            <a:xfrm>
              <a:off x="2788980" y="3987167"/>
              <a:ext cx="252222" cy="224197"/>
            </a:xfrm>
            <a:custGeom>
              <a:avLst/>
              <a:gdLst>
                <a:gd name="connsiteX0" fmla="*/ 67151 w 85725"/>
                <a:gd name="connsiteY0" fmla="*/ 0 h 76200"/>
                <a:gd name="connsiteX1" fmla="*/ 24003 w 85725"/>
                <a:gd name="connsiteY1" fmla="*/ 0 h 76200"/>
                <a:gd name="connsiteX2" fmla="*/ 0 w 85725"/>
                <a:gd name="connsiteY2" fmla="*/ 24003 h 76200"/>
                <a:gd name="connsiteX3" fmla="*/ 0 w 85725"/>
                <a:gd name="connsiteY3" fmla="*/ 36767 h 76200"/>
                <a:gd name="connsiteX4" fmla="*/ 24003 w 85725"/>
                <a:gd name="connsiteY4" fmla="*/ 60770 h 76200"/>
                <a:gd name="connsiteX5" fmla="*/ 34480 w 85725"/>
                <a:gd name="connsiteY5" fmla="*/ 60770 h 76200"/>
                <a:gd name="connsiteX6" fmla="*/ 34480 w 85725"/>
                <a:gd name="connsiteY6" fmla="*/ 77343 h 76200"/>
                <a:gd name="connsiteX7" fmla="*/ 51054 w 85725"/>
                <a:gd name="connsiteY7" fmla="*/ 60770 h 76200"/>
                <a:gd name="connsiteX8" fmla="*/ 67151 w 85725"/>
                <a:gd name="connsiteY8" fmla="*/ 60770 h 76200"/>
                <a:gd name="connsiteX9" fmla="*/ 91154 w 85725"/>
                <a:gd name="connsiteY9" fmla="*/ 36767 h 76200"/>
                <a:gd name="connsiteX10" fmla="*/ 91154 w 85725"/>
                <a:gd name="connsiteY10" fmla="*/ 24003 h 76200"/>
                <a:gd name="connsiteX11" fmla="*/ 67151 w 85725"/>
                <a:gd name="connsiteY11"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76200">
                  <a:moveTo>
                    <a:pt x="67151" y="0"/>
                  </a:moveTo>
                  <a:lnTo>
                    <a:pt x="24003" y="0"/>
                  </a:lnTo>
                  <a:cubicBezTo>
                    <a:pt x="10763" y="0"/>
                    <a:pt x="0" y="10763"/>
                    <a:pt x="0" y="24003"/>
                  </a:cubicBezTo>
                  <a:lnTo>
                    <a:pt x="0" y="36767"/>
                  </a:lnTo>
                  <a:cubicBezTo>
                    <a:pt x="0" y="50006"/>
                    <a:pt x="10763" y="60770"/>
                    <a:pt x="24003" y="60770"/>
                  </a:cubicBezTo>
                  <a:lnTo>
                    <a:pt x="34480" y="60770"/>
                  </a:lnTo>
                  <a:lnTo>
                    <a:pt x="34480" y="77343"/>
                  </a:lnTo>
                  <a:lnTo>
                    <a:pt x="51054" y="60770"/>
                  </a:lnTo>
                  <a:lnTo>
                    <a:pt x="67151" y="60770"/>
                  </a:lnTo>
                  <a:cubicBezTo>
                    <a:pt x="80391" y="60770"/>
                    <a:pt x="91154" y="50006"/>
                    <a:pt x="91154" y="36767"/>
                  </a:cubicBezTo>
                  <a:lnTo>
                    <a:pt x="91154" y="24003"/>
                  </a:lnTo>
                  <a:cubicBezTo>
                    <a:pt x="91154" y="10763"/>
                    <a:pt x="80391" y="0"/>
                    <a:pt x="67151" y="0"/>
                  </a:cubicBezTo>
                </a:path>
              </a:pathLst>
            </a:custGeom>
            <a:solidFill>
              <a:srgbClr val="DF6C47"/>
            </a:solidFill>
            <a:ln w="9525" cap="flat">
              <a:noFill/>
              <a:prstDash val="solid"/>
              <a:miter/>
            </a:ln>
          </p:spPr>
          <p:txBody>
            <a:bodyPr rtlCol="0" anchor="ctr"/>
            <a:lstStyle/>
            <a:p>
              <a:endParaRPr lang="en-IN"/>
            </a:p>
          </p:txBody>
        </p:sp>
        <p:sp>
          <p:nvSpPr>
            <p:cNvPr id="31" name="Freeform: Shape 30">
              <a:extLst>
                <a:ext uri="{FF2B5EF4-FFF2-40B4-BE49-F238E27FC236}">
                  <a16:creationId xmlns:a16="http://schemas.microsoft.com/office/drawing/2014/main" id="{1EF34A09-3993-4A15-87D5-4EF723E3161F}"/>
                </a:ext>
              </a:extLst>
            </p:cNvPr>
            <p:cNvSpPr/>
            <p:nvPr/>
          </p:nvSpPr>
          <p:spPr>
            <a:xfrm>
              <a:off x="2903321" y="4056948"/>
              <a:ext cx="28025" cy="28025"/>
            </a:xfrm>
            <a:custGeom>
              <a:avLst/>
              <a:gdLst>
                <a:gd name="connsiteX0" fmla="*/ 13335 w 9525"/>
                <a:gd name="connsiteY0" fmla="*/ 6668 h 9525"/>
                <a:gd name="connsiteX1" fmla="*/ 6668 w 9525"/>
                <a:gd name="connsiteY1" fmla="*/ 13335 h 9525"/>
                <a:gd name="connsiteX2" fmla="*/ 0 w 9525"/>
                <a:gd name="connsiteY2" fmla="*/ 6668 h 9525"/>
                <a:gd name="connsiteX3" fmla="*/ 6668 w 9525"/>
                <a:gd name="connsiteY3" fmla="*/ 0 h 9525"/>
                <a:gd name="connsiteX4" fmla="*/ 13335 w 9525"/>
                <a:gd name="connsiteY4" fmla="*/ 6668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3335" y="6668"/>
                  </a:moveTo>
                  <a:cubicBezTo>
                    <a:pt x="13335" y="10382"/>
                    <a:pt x="10382" y="13335"/>
                    <a:pt x="6668" y="13335"/>
                  </a:cubicBezTo>
                  <a:cubicBezTo>
                    <a:pt x="2953" y="13335"/>
                    <a:pt x="0" y="10382"/>
                    <a:pt x="0" y="6668"/>
                  </a:cubicBezTo>
                  <a:cubicBezTo>
                    <a:pt x="0" y="2953"/>
                    <a:pt x="2953" y="0"/>
                    <a:pt x="6668" y="0"/>
                  </a:cubicBezTo>
                  <a:cubicBezTo>
                    <a:pt x="10382" y="0"/>
                    <a:pt x="13335" y="2953"/>
                    <a:pt x="13335" y="6668"/>
                  </a:cubicBezTo>
                </a:path>
              </a:pathLst>
            </a:custGeom>
            <a:solidFill>
              <a:srgbClr val="FFFFFF"/>
            </a:solidFill>
            <a:ln w="9525" cap="flat">
              <a:noFill/>
              <a:prstDash val="solid"/>
              <a:miter/>
            </a:ln>
          </p:spPr>
          <p:txBody>
            <a:bodyPr rtlCol="0" anchor="ctr"/>
            <a:lstStyle/>
            <a:p>
              <a:endParaRPr lang="en-IN"/>
            </a:p>
          </p:txBody>
        </p:sp>
        <p:sp>
          <p:nvSpPr>
            <p:cNvPr id="32" name="Freeform: Shape 31">
              <a:extLst>
                <a:ext uri="{FF2B5EF4-FFF2-40B4-BE49-F238E27FC236}">
                  <a16:creationId xmlns:a16="http://schemas.microsoft.com/office/drawing/2014/main" id="{F417CFF3-1BAE-4175-806D-786F887AB65D}"/>
                </a:ext>
              </a:extLst>
            </p:cNvPr>
            <p:cNvSpPr/>
            <p:nvPr/>
          </p:nvSpPr>
          <p:spPr>
            <a:xfrm>
              <a:off x="2838024" y="4056948"/>
              <a:ext cx="28025" cy="28025"/>
            </a:xfrm>
            <a:custGeom>
              <a:avLst/>
              <a:gdLst>
                <a:gd name="connsiteX0" fmla="*/ 13335 w 9525"/>
                <a:gd name="connsiteY0" fmla="*/ 6668 h 9525"/>
                <a:gd name="connsiteX1" fmla="*/ 6667 w 9525"/>
                <a:gd name="connsiteY1" fmla="*/ 13335 h 9525"/>
                <a:gd name="connsiteX2" fmla="*/ 0 w 9525"/>
                <a:gd name="connsiteY2" fmla="*/ 6668 h 9525"/>
                <a:gd name="connsiteX3" fmla="*/ 6667 w 9525"/>
                <a:gd name="connsiteY3" fmla="*/ 0 h 9525"/>
                <a:gd name="connsiteX4" fmla="*/ 13335 w 9525"/>
                <a:gd name="connsiteY4" fmla="*/ 6668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3335" y="6668"/>
                  </a:moveTo>
                  <a:cubicBezTo>
                    <a:pt x="13335" y="10382"/>
                    <a:pt x="10382" y="13335"/>
                    <a:pt x="6667" y="13335"/>
                  </a:cubicBezTo>
                  <a:cubicBezTo>
                    <a:pt x="2953" y="13335"/>
                    <a:pt x="0" y="10382"/>
                    <a:pt x="0" y="6668"/>
                  </a:cubicBezTo>
                  <a:cubicBezTo>
                    <a:pt x="0" y="2953"/>
                    <a:pt x="2953" y="0"/>
                    <a:pt x="6667" y="0"/>
                  </a:cubicBezTo>
                  <a:cubicBezTo>
                    <a:pt x="10382" y="0"/>
                    <a:pt x="13335" y="2953"/>
                    <a:pt x="13335" y="6668"/>
                  </a:cubicBezTo>
                </a:path>
              </a:pathLst>
            </a:custGeom>
            <a:solidFill>
              <a:srgbClr val="ED8422"/>
            </a:solidFill>
            <a:ln w="9525" cap="flat">
              <a:noFill/>
              <a:prstDash val="solid"/>
              <a:miter/>
            </a:ln>
          </p:spPr>
          <p:txBody>
            <a:bodyPr rtlCol="0" anchor="ctr"/>
            <a:lstStyle/>
            <a:p>
              <a:endParaRPr lang="en-IN"/>
            </a:p>
          </p:txBody>
        </p:sp>
        <p:sp>
          <p:nvSpPr>
            <p:cNvPr id="33" name="Freeform: Shape 32">
              <a:extLst>
                <a:ext uri="{FF2B5EF4-FFF2-40B4-BE49-F238E27FC236}">
                  <a16:creationId xmlns:a16="http://schemas.microsoft.com/office/drawing/2014/main" id="{1EDCE220-6CD5-4BBE-B4F6-0D33BBDA1782}"/>
                </a:ext>
              </a:extLst>
            </p:cNvPr>
            <p:cNvSpPr/>
            <p:nvPr/>
          </p:nvSpPr>
          <p:spPr>
            <a:xfrm>
              <a:off x="2968618" y="4056948"/>
              <a:ext cx="28025" cy="28025"/>
            </a:xfrm>
            <a:custGeom>
              <a:avLst/>
              <a:gdLst>
                <a:gd name="connsiteX0" fmla="*/ 13335 w 9525"/>
                <a:gd name="connsiteY0" fmla="*/ 6668 h 9525"/>
                <a:gd name="connsiteX1" fmla="*/ 6668 w 9525"/>
                <a:gd name="connsiteY1" fmla="*/ 13335 h 9525"/>
                <a:gd name="connsiteX2" fmla="*/ 0 w 9525"/>
                <a:gd name="connsiteY2" fmla="*/ 6668 h 9525"/>
                <a:gd name="connsiteX3" fmla="*/ 6668 w 9525"/>
                <a:gd name="connsiteY3" fmla="*/ 0 h 9525"/>
                <a:gd name="connsiteX4" fmla="*/ 13335 w 9525"/>
                <a:gd name="connsiteY4" fmla="*/ 6668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3335" y="6668"/>
                  </a:moveTo>
                  <a:cubicBezTo>
                    <a:pt x="13335" y="10382"/>
                    <a:pt x="10382" y="13335"/>
                    <a:pt x="6668" y="13335"/>
                  </a:cubicBezTo>
                  <a:cubicBezTo>
                    <a:pt x="2953" y="13335"/>
                    <a:pt x="0" y="10382"/>
                    <a:pt x="0" y="6668"/>
                  </a:cubicBezTo>
                  <a:cubicBezTo>
                    <a:pt x="0" y="2953"/>
                    <a:pt x="2953" y="0"/>
                    <a:pt x="6668" y="0"/>
                  </a:cubicBezTo>
                  <a:cubicBezTo>
                    <a:pt x="10382" y="0"/>
                    <a:pt x="13335" y="2953"/>
                    <a:pt x="13335" y="6668"/>
                  </a:cubicBezTo>
                </a:path>
              </a:pathLst>
            </a:custGeom>
            <a:solidFill>
              <a:srgbClr val="ED8422"/>
            </a:solidFill>
            <a:ln w="9525" cap="flat">
              <a:noFill/>
              <a:prstDash val="solid"/>
              <a:miter/>
            </a:ln>
          </p:spPr>
          <p:txBody>
            <a:bodyPr rtlCol="0" anchor="ctr"/>
            <a:lstStyle/>
            <a:p>
              <a:endParaRPr lang="en-IN"/>
            </a:p>
          </p:txBody>
        </p:sp>
        <p:sp>
          <p:nvSpPr>
            <p:cNvPr id="34" name="Freeform: Shape 33">
              <a:extLst>
                <a:ext uri="{FF2B5EF4-FFF2-40B4-BE49-F238E27FC236}">
                  <a16:creationId xmlns:a16="http://schemas.microsoft.com/office/drawing/2014/main" id="{B45927DB-615F-47F8-A530-4D3F729965FE}"/>
                </a:ext>
              </a:extLst>
            </p:cNvPr>
            <p:cNvSpPr/>
            <p:nvPr/>
          </p:nvSpPr>
          <p:spPr>
            <a:xfrm>
              <a:off x="1468458" y="2972395"/>
              <a:ext cx="364321" cy="364321"/>
            </a:xfrm>
            <a:custGeom>
              <a:avLst/>
              <a:gdLst>
                <a:gd name="connsiteX0" fmla="*/ 63722 w 123825"/>
                <a:gd name="connsiteY0" fmla="*/ 0 h 123825"/>
                <a:gd name="connsiteX1" fmla="*/ 0 w 123825"/>
                <a:gd name="connsiteY1" fmla="*/ 63722 h 123825"/>
                <a:gd name="connsiteX2" fmla="*/ 63722 w 123825"/>
                <a:gd name="connsiteY2" fmla="*/ 127445 h 123825"/>
                <a:gd name="connsiteX3" fmla="*/ 127445 w 123825"/>
                <a:gd name="connsiteY3" fmla="*/ 127445 h 123825"/>
                <a:gd name="connsiteX4" fmla="*/ 127445 w 123825"/>
                <a:gd name="connsiteY4" fmla="*/ 63722 h 123825"/>
                <a:gd name="connsiteX5" fmla="*/ 63722 w 123825"/>
                <a:gd name="connsiteY5" fmla="*/ 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825" h="123825">
                  <a:moveTo>
                    <a:pt x="63722" y="0"/>
                  </a:moveTo>
                  <a:cubicBezTo>
                    <a:pt x="28575" y="0"/>
                    <a:pt x="0" y="28480"/>
                    <a:pt x="0" y="63722"/>
                  </a:cubicBezTo>
                  <a:cubicBezTo>
                    <a:pt x="0" y="98965"/>
                    <a:pt x="28480" y="127445"/>
                    <a:pt x="63722" y="127445"/>
                  </a:cubicBezTo>
                  <a:lnTo>
                    <a:pt x="127445" y="127445"/>
                  </a:lnTo>
                  <a:lnTo>
                    <a:pt x="127445" y="63722"/>
                  </a:lnTo>
                  <a:cubicBezTo>
                    <a:pt x="127349" y="28575"/>
                    <a:pt x="98870" y="0"/>
                    <a:pt x="63722" y="0"/>
                  </a:cubicBezTo>
                </a:path>
              </a:pathLst>
            </a:custGeom>
            <a:solidFill>
              <a:schemeClr val="accent1"/>
            </a:solidFill>
            <a:ln w="9525" cap="flat">
              <a:noFill/>
              <a:prstDash val="solid"/>
              <a:miter/>
            </a:ln>
          </p:spPr>
          <p:txBody>
            <a:bodyPr rtlCol="0" anchor="ctr"/>
            <a:lstStyle/>
            <a:p>
              <a:endParaRPr lang="en-IN"/>
            </a:p>
          </p:txBody>
        </p:sp>
        <p:sp>
          <p:nvSpPr>
            <p:cNvPr id="35" name="Freeform: Shape 34">
              <a:extLst>
                <a:ext uri="{FF2B5EF4-FFF2-40B4-BE49-F238E27FC236}">
                  <a16:creationId xmlns:a16="http://schemas.microsoft.com/office/drawing/2014/main" id="{A0DD1994-7C0C-4573-92AB-3BFD7DE91658}"/>
                </a:ext>
              </a:extLst>
            </p:cNvPr>
            <p:cNvSpPr/>
            <p:nvPr/>
          </p:nvSpPr>
          <p:spPr>
            <a:xfrm>
              <a:off x="1906764" y="3015760"/>
              <a:ext cx="896789" cy="1008888"/>
            </a:xfrm>
            <a:custGeom>
              <a:avLst/>
              <a:gdLst>
                <a:gd name="connsiteX0" fmla="*/ 0 w 304800"/>
                <a:gd name="connsiteY0" fmla="*/ 103561 h 342900"/>
                <a:gd name="connsiteX1" fmla="*/ 0 w 304800"/>
                <a:gd name="connsiteY1" fmla="*/ 243959 h 342900"/>
                <a:gd name="connsiteX2" fmla="*/ 16669 w 304800"/>
                <a:gd name="connsiteY2" fmla="*/ 272820 h 342900"/>
                <a:gd name="connsiteX3" fmla="*/ 138303 w 304800"/>
                <a:gd name="connsiteY3" fmla="*/ 343019 h 342900"/>
                <a:gd name="connsiteX4" fmla="*/ 171641 w 304800"/>
                <a:gd name="connsiteY4" fmla="*/ 343019 h 342900"/>
                <a:gd name="connsiteX5" fmla="*/ 293275 w 304800"/>
                <a:gd name="connsiteY5" fmla="*/ 272820 h 342900"/>
                <a:gd name="connsiteX6" fmla="*/ 309944 w 304800"/>
                <a:gd name="connsiteY6" fmla="*/ 243959 h 342900"/>
                <a:gd name="connsiteX7" fmla="*/ 309944 w 304800"/>
                <a:gd name="connsiteY7" fmla="*/ 103561 h 342900"/>
                <a:gd name="connsiteX8" fmla="*/ 293275 w 304800"/>
                <a:gd name="connsiteY8" fmla="*/ 74700 h 342900"/>
                <a:gd name="connsiteX9" fmla="*/ 171641 w 304800"/>
                <a:gd name="connsiteY9" fmla="*/ 4501 h 342900"/>
                <a:gd name="connsiteX10" fmla="*/ 138303 w 304800"/>
                <a:gd name="connsiteY10" fmla="*/ 4501 h 342900"/>
                <a:gd name="connsiteX11" fmla="*/ 16669 w 304800"/>
                <a:gd name="connsiteY11" fmla="*/ 74700 h 342900"/>
                <a:gd name="connsiteX12" fmla="*/ 0 w 304800"/>
                <a:gd name="connsiteY12" fmla="*/ 103561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4800" h="342900">
                  <a:moveTo>
                    <a:pt x="0" y="103561"/>
                  </a:moveTo>
                  <a:lnTo>
                    <a:pt x="0" y="243959"/>
                  </a:lnTo>
                  <a:cubicBezTo>
                    <a:pt x="0" y="255865"/>
                    <a:pt x="6382" y="266914"/>
                    <a:pt x="16669" y="272820"/>
                  </a:cubicBezTo>
                  <a:lnTo>
                    <a:pt x="138303" y="343019"/>
                  </a:lnTo>
                  <a:cubicBezTo>
                    <a:pt x="148590" y="349020"/>
                    <a:pt x="161354" y="349020"/>
                    <a:pt x="171641" y="343019"/>
                  </a:cubicBezTo>
                  <a:lnTo>
                    <a:pt x="293275" y="272820"/>
                  </a:lnTo>
                  <a:cubicBezTo>
                    <a:pt x="303562" y="266819"/>
                    <a:pt x="309944" y="255865"/>
                    <a:pt x="309944" y="243959"/>
                  </a:cubicBezTo>
                  <a:lnTo>
                    <a:pt x="309944" y="103561"/>
                  </a:lnTo>
                  <a:cubicBezTo>
                    <a:pt x="309944" y="91654"/>
                    <a:pt x="303562" y="80605"/>
                    <a:pt x="293275" y="74700"/>
                  </a:cubicBezTo>
                  <a:lnTo>
                    <a:pt x="171641" y="4501"/>
                  </a:lnTo>
                  <a:cubicBezTo>
                    <a:pt x="161354" y="-1500"/>
                    <a:pt x="148590" y="-1500"/>
                    <a:pt x="138303" y="4501"/>
                  </a:cubicBezTo>
                  <a:lnTo>
                    <a:pt x="16669" y="74700"/>
                  </a:lnTo>
                  <a:cubicBezTo>
                    <a:pt x="6382" y="80701"/>
                    <a:pt x="0" y="91654"/>
                    <a:pt x="0" y="103561"/>
                  </a:cubicBezTo>
                </a:path>
              </a:pathLst>
            </a:custGeom>
            <a:solidFill>
              <a:schemeClr val="accent2"/>
            </a:solidFill>
            <a:ln w="9525" cap="flat">
              <a:noFill/>
              <a:prstDash val="solid"/>
              <a:miter/>
            </a:ln>
          </p:spPr>
          <p:txBody>
            <a:bodyPr rtlCol="0" anchor="ctr"/>
            <a:lstStyle/>
            <a:p>
              <a:endParaRPr lang="en-IN"/>
            </a:p>
          </p:txBody>
        </p:sp>
        <p:sp>
          <p:nvSpPr>
            <p:cNvPr id="36" name="Freeform: Shape 35">
              <a:extLst>
                <a:ext uri="{FF2B5EF4-FFF2-40B4-BE49-F238E27FC236}">
                  <a16:creationId xmlns:a16="http://schemas.microsoft.com/office/drawing/2014/main" id="{87FD29F5-9E92-471E-8FC6-957411B7A1A2}"/>
                </a:ext>
              </a:extLst>
            </p:cNvPr>
            <p:cNvSpPr/>
            <p:nvPr/>
          </p:nvSpPr>
          <p:spPr>
            <a:xfrm>
              <a:off x="1993642" y="3091987"/>
              <a:ext cx="812715" cy="924814"/>
            </a:xfrm>
            <a:custGeom>
              <a:avLst/>
              <a:gdLst>
                <a:gd name="connsiteX0" fmla="*/ 138303 w 276225"/>
                <a:gd name="connsiteY0" fmla="*/ 4501 h 314325"/>
                <a:gd name="connsiteX1" fmla="*/ 16669 w 276225"/>
                <a:gd name="connsiteY1" fmla="*/ 74700 h 314325"/>
                <a:gd name="connsiteX2" fmla="*/ 0 w 276225"/>
                <a:gd name="connsiteY2" fmla="*/ 103561 h 314325"/>
                <a:gd name="connsiteX3" fmla="*/ 0 w 276225"/>
                <a:gd name="connsiteY3" fmla="*/ 243959 h 314325"/>
                <a:gd name="connsiteX4" fmla="*/ 2095 w 276225"/>
                <a:gd name="connsiteY4" fmla="*/ 255580 h 314325"/>
                <a:gd name="connsiteX5" fmla="*/ 108680 w 276225"/>
                <a:gd name="connsiteY5" fmla="*/ 317111 h 314325"/>
                <a:gd name="connsiteX6" fmla="*/ 142018 w 276225"/>
                <a:gd name="connsiteY6" fmla="*/ 317111 h 314325"/>
                <a:gd name="connsiteX7" fmla="*/ 263652 w 276225"/>
                <a:gd name="connsiteY7" fmla="*/ 246912 h 314325"/>
                <a:gd name="connsiteX8" fmla="*/ 280321 w 276225"/>
                <a:gd name="connsiteY8" fmla="*/ 218051 h 314325"/>
                <a:gd name="connsiteX9" fmla="*/ 280321 w 276225"/>
                <a:gd name="connsiteY9" fmla="*/ 77653 h 314325"/>
                <a:gd name="connsiteX10" fmla="*/ 278225 w 276225"/>
                <a:gd name="connsiteY10" fmla="*/ 66032 h 314325"/>
                <a:gd name="connsiteX11" fmla="*/ 171641 w 276225"/>
                <a:gd name="connsiteY11" fmla="*/ 4501 h 314325"/>
                <a:gd name="connsiteX12" fmla="*/ 138303 w 276225"/>
                <a:gd name="connsiteY12" fmla="*/ 4501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225" h="314325">
                  <a:moveTo>
                    <a:pt x="138303" y="4501"/>
                  </a:moveTo>
                  <a:lnTo>
                    <a:pt x="16669" y="74700"/>
                  </a:lnTo>
                  <a:cubicBezTo>
                    <a:pt x="6382" y="80701"/>
                    <a:pt x="0" y="91654"/>
                    <a:pt x="0" y="103561"/>
                  </a:cubicBezTo>
                  <a:lnTo>
                    <a:pt x="0" y="243959"/>
                  </a:lnTo>
                  <a:cubicBezTo>
                    <a:pt x="0" y="247960"/>
                    <a:pt x="762" y="251960"/>
                    <a:pt x="2095" y="255580"/>
                  </a:cubicBezTo>
                  <a:lnTo>
                    <a:pt x="108680" y="317111"/>
                  </a:lnTo>
                  <a:cubicBezTo>
                    <a:pt x="118967" y="323112"/>
                    <a:pt x="131731" y="323112"/>
                    <a:pt x="142018" y="317111"/>
                  </a:cubicBezTo>
                  <a:lnTo>
                    <a:pt x="263652" y="246912"/>
                  </a:lnTo>
                  <a:cubicBezTo>
                    <a:pt x="273939" y="240911"/>
                    <a:pt x="280321" y="229957"/>
                    <a:pt x="280321" y="218051"/>
                  </a:cubicBezTo>
                  <a:lnTo>
                    <a:pt x="280321" y="77653"/>
                  </a:lnTo>
                  <a:cubicBezTo>
                    <a:pt x="280321" y="73557"/>
                    <a:pt x="279559" y="69652"/>
                    <a:pt x="278225" y="66032"/>
                  </a:cubicBezTo>
                  <a:lnTo>
                    <a:pt x="171641" y="4501"/>
                  </a:lnTo>
                  <a:cubicBezTo>
                    <a:pt x="161353" y="-1500"/>
                    <a:pt x="148685" y="-1500"/>
                    <a:pt x="138303" y="4501"/>
                  </a:cubicBezTo>
                </a:path>
              </a:pathLst>
            </a:custGeom>
            <a:solidFill>
              <a:srgbClr val="4CB1FF"/>
            </a:solidFill>
            <a:ln w="9525" cap="flat">
              <a:noFill/>
              <a:prstDash val="solid"/>
              <a:miter/>
            </a:ln>
          </p:spPr>
          <p:txBody>
            <a:bodyPr rtlCol="0" anchor="ctr"/>
            <a:lstStyle/>
            <a:p>
              <a:endParaRPr lang="en-IN"/>
            </a:p>
          </p:txBody>
        </p:sp>
        <p:sp>
          <p:nvSpPr>
            <p:cNvPr id="37" name="Freeform: Shape 36">
              <a:extLst>
                <a:ext uri="{FF2B5EF4-FFF2-40B4-BE49-F238E27FC236}">
                  <a16:creationId xmlns:a16="http://schemas.microsoft.com/office/drawing/2014/main" id="{28B1A818-2D83-4649-AF8F-8A6F906EC6A0}"/>
                </a:ext>
              </a:extLst>
            </p:cNvPr>
            <p:cNvSpPr/>
            <p:nvPr/>
          </p:nvSpPr>
          <p:spPr>
            <a:xfrm>
              <a:off x="2114988" y="3260206"/>
              <a:ext cx="392345" cy="224197"/>
            </a:xfrm>
            <a:custGeom>
              <a:avLst/>
              <a:gdLst>
                <a:gd name="connsiteX0" fmla="*/ 22955 w 133350"/>
                <a:gd name="connsiteY0" fmla="*/ 0 h 76200"/>
                <a:gd name="connsiteX1" fmla="*/ 17812 w 133350"/>
                <a:gd name="connsiteY1" fmla="*/ 57531 h 76200"/>
                <a:gd name="connsiteX2" fmla="*/ 0 w 133350"/>
                <a:gd name="connsiteY2" fmla="*/ 44006 h 76200"/>
                <a:gd name="connsiteX3" fmla="*/ 34576 w 133350"/>
                <a:gd name="connsiteY3" fmla="*/ 75533 h 76200"/>
                <a:gd name="connsiteX4" fmla="*/ 35052 w 133350"/>
                <a:gd name="connsiteY4" fmla="*/ 70580 h 76200"/>
                <a:gd name="connsiteX5" fmla="*/ 35243 w 133350"/>
                <a:gd name="connsiteY5" fmla="*/ 70771 h 76200"/>
                <a:gd name="connsiteX6" fmla="*/ 134874 w 133350"/>
                <a:gd name="connsiteY6" fmla="*/ 83249 h 76200"/>
                <a:gd name="connsiteX7" fmla="*/ 136208 w 133350"/>
                <a:gd name="connsiteY7" fmla="*/ 3239 h 76200"/>
                <a:gd name="connsiteX8" fmla="*/ 22955 w 133350"/>
                <a:gd name="connsiteY8"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76200">
                  <a:moveTo>
                    <a:pt x="22955" y="0"/>
                  </a:moveTo>
                  <a:cubicBezTo>
                    <a:pt x="5906" y="14669"/>
                    <a:pt x="3143" y="41910"/>
                    <a:pt x="17812" y="57531"/>
                  </a:cubicBezTo>
                  <a:cubicBezTo>
                    <a:pt x="6191" y="54959"/>
                    <a:pt x="0" y="44006"/>
                    <a:pt x="0" y="44006"/>
                  </a:cubicBezTo>
                  <a:cubicBezTo>
                    <a:pt x="2953" y="81629"/>
                    <a:pt x="34576" y="75533"/>
                    <a:pt x="34576" y="75533"/>
                  </a:cubicBezTo>
                  <a:cubicBezTo>
                    <a:pt x="34576" y="75533"/>
                    <a:pt x="34862" y="73819"/>
                    <a:pt x="35052" y="70580"/>
                  </a:cubicBezTo>
                  <a:lnTo>
                    <a:pt x="35243" y="70771"/>
                  </a:lnTo>
                  <a:lnTo>
                    <a:pt x="134874" y="83249"/>
                  </a:lnTo>
                  <a:lnTo>
                    <a:pt x="136208" y="3239"/>
                  </a:lnTo>
                  <a:lnTo>
                    <a:pt x="22955" y="0"/>
                  </a:lnTo>
                  <a:close/>
                </a:path>
              </a:pathLst>
            </a:custGeom>
            <a:solidFill>
              <a:srgbClr val="000000"/>
            </a:solidFill>
            <a:ln w="9525" cap="flat">
              <a:noFill/>
              <a:prstDash val="solid"/>
              <a:miter/>
            </a:ln>
          </p:spPr>
          <p:txBody>
            <a:bodyPr rtlCol="0" anchor="ctr"/>
            <a:lstStyle/>
            <a:p>
              <a:endParaRPr lang="en-IN"/>
            </a:p>
          </p:txBody>
        </p:sp>
        <p:sp>
          <p:nvSpPr>
            <p:cNvPr id="38" name="Freeform: Shape 37">
              <a:extLst>
                <a:ext uri="{FF2B5EF4-FFF2-40B4-BE49-F238E27FC236}">
                  <a16:creationId xmlns:a16="http://schemas.microsoft.com/office/drawing/2014/main" id="{F3157045-FFC2-40EA-B411-3A75D10E316B}"/>
                </a:ext>
              </a:extLst>
            </p:cNvPr>
            <p:cNvSpPr/>
            <p:nvPr/>
          </p:nvSpPr>
          <p:spPr>
            <a:xfrm>
              <a:off x="2047449" y="3429916"/>
              <a:ext cx="644567" cy="588518"/>
            </a:xfrm>
            <a:custGeom>
              <a:avLst/>
              <a:gdLst>
                <a:gd name="connsiteX0" fmla="*/ 219075 w 219075"/>
                <a:gd name="connsiteY0" fmla="*/ 147297 h 200025"/>
                <a:gd name="connsiteX1" fmla="*/ 208121 w 219075"/>
                <a:gd name="connsiteY1" fmla="*/ 53857 h 200025"/>
                <a:gd name="connsiteX2" fmla="*/ 143732 w 219075"/>
                <a:gd name="connsiteY2" fmla="*/ 41 h 200025"/>
                <a:gd name="connsiteX3" fmla="*/ 51530 w 219075"/>
                <a:gd name="connsiteY3" fmla="*/ 12233 h 200025"/>
                <a:gd name="connsiteX4" fmla="*/ 14573 w 219075"/>
                <a:gd name="connsiteY4" fmla="*/ 55381 h 200025"/>
                <a:gd name="connsiteX5" fmla="*/ 0 w 219075"/>
                <a:gd name="connsiteY5" fmla="*/ 149964 h 200025"/>
                <a:gd name="connsiteX6" fmla="*/ 90488 w 219075"/>
                <a:gd name="connsiteY6" fmla="*/ 202256 h 200025"/>
                <a:gd name="connsiteX7" fmla="*/ 123825 w 219075"/>
                <a:gd name="connsiteY7" fmla="*/ 202256 h 200025"/>
                <a:gd name="connsiteX8" fmla="*/ 219075 w 219075"/>
                <a:gd name="connsiteY8" fmla="*/ 147297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200025">
                  <a:moveTo>
                    <a:pt x="219075" y="147297"/>
                  </a:moveTo>
                  <a:cubicBezTo>
                    <a:pt x="216884" y="121008"/>
                    <a:pt x="213170" y="81956"/>
                    <a:pt x="208121" y="53857"/>
                  </a:cubicBezTo>
                  <a:cubicBezTo>
                    <a:pt x="201454" y="16519"/>
                    <a:pt x="163449" y="612"/>
                    <a:pt x="143732" y="41"/>
                  </a:cubicBezTo>
                  <a:cubicBezTo>
                    <a:pt x="123920" y="-531"/>
                    <a:pt x="74486" y="4994"/>
                    <a:pt x="51530" y="12233"/>
                  </a:cubicBezTo>
                  <a:cubicBezTo>
                    <a:pt x="32099" y="18424"/>
                    <a:pt x="17812" y="35188"/>
                    <a:pt x="14573" y="55381"/>
                  </a:cubicBezTo>
                  <a:lnTo>
                    <a:pt x="0" y="149964"/>
                  </a:lnTo>
                  <a:lnTo>
                    <a:pt x="90488" y="202256"/>
                  </a:lnTo>
                  <a:cubicBezTo>
                    <a:pt x="100774" y="208257"/>
                    <a:pt x="113538" y="208257"/>
                    <a:pt x="123825" y="202256"/>
                  </a:cubicBezTo>
                  <a:lnTo>
                    <a:pt x="219075" y="147297"/>
                  </a:lnTo>
                  <a:close/>
                </a:path>
              </a:pathLst>
            </a:custGeom>
            <a:solidFill>
              <a:srgbClr val="522C80"/>
            </a:solidFill>
            <a:ln w="9525" cap="flat">
              <a:no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7E22B5CD-ABBE-41D6-9E53-47E2FBBFAACD}"/>
                </a:ext>
              </a:extLst>
            </p:cNvPr>
            <p:cNvSpPr/>
            <p:nvPr/>
          </p:nvSpPr>
          <p:spPr>
            <a:xfrm>
              <a:off x="2047170" y="3456661"/>
              <a:ext cx="168148" cy="476419"/>
            </a:xfrm>
            <a:custGeom>
              <a:avLst/>
              <a:gdLst>
                <a:gd name="connsiteX0" fmla="*/ 51530 w 57150"/>
                <a:gd name="connsiteY0" fmla="*/ 3239 h 161925"/>
                <a:gd name="connsiteX1" fmla="*/ 14573 w 57150"/>
                <a:gd name="connsiteY1" fmla="*/ 46387 h 161925"/>
                <a:gd name="connsiteX2" fmla="*/ 0 w 57150"/>
                <a:gd name="connsiteY2" fmla="*/ 140970 h 161925"/>
                <a:gd name="connsiteX3" fmla="*/ 39815 w 57150"/>
                <a:gd name="connsiteY3" fmla="*/ 163925 h 161925"/>
                <a:gd name="connsiteX4" fmla="*/ 40100 w 57150"/>
                <a:gd name="connsiteY4" fmla="*/ 156686 h 161925"/>
                <a:gd name="connsiteX5" fmla="*/ 36481 w 57150"/>
                <a:gd name="connsiteY5" fmla="*/ 141446 h 161925"/>
                <a:gd name="connsiteX6" fmla="*/ 31051 w 57150"/>
                <a:gd name="connsiteY6" fmla="*/ 131540 h 161925"/>
                <a:gd name="connsiteX7" fmla="*/ 30385 w 57150"/>
                <a:gd name="connsiteY7" fmla="*/ 81915 h 161925"/>
                <a:gd name="connsiteX8" fmla="*/ 34385 w 57150"/>
                <a:gd name="connsiteY8" fmla="*/ 74104 h 161925"/>
                <a:gd name="connsiteX9" fmla="*/ 40386 w 57150"/>
                <a:gd name="connsiteY9" fmla="*/ 49244 h 161925"/>
                <a:gd name="connsiteX10" fmla="*/ 64960 w 57150"/>
                <a:gd name="connsiteY10" fmla="*/ 9430 h 161925"/>
                <a:gd name="connsiteX11" fmla="*/ 63532 w 57150"/>
                <a:gd name="connsiteY11" fmla="*/ 0 h 161925"/>
                <a:gd name="connsiteX12" fmla="*/ 51530 w 57150"/>
                <a:gd name="connsiteY12" fmla="*/ 3239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161925">
                  <a:moveTo>
                    <a:pt x="51530" y="3239"/>
                  </a:moveTo>
                  <a:cubicBezTo>
                    <a:pt x="32099" y="9430"/>
                    <a:pt x="17812" y="26194"/>
                    <a:pt x="14573" y="46387"/>
                  </a:cubicBezTo>
                  <a:lnTo>
                    <a:pt x="0" y="140970"/>
                  </a:lnTo>
                  <a:lnTo>
                    <a:pt x="39815" y="163925"/>
                  </a:lnTo>
                  <a:lnTo>
                    <a:pt x="40100" y="156686"/>
                  </a:lnTo>
                  <a:cubicBezTo>
                    <a:pt x="40291" y="151352"/>
                    <a:pt x="39052" y="146114"/>
                    <a:pt x="36481" y="141446"/>
                  </a:cubicBezTo>
                  <a:lnTo>
                    <a:pt x="31051" y="131540"/>
                  </a:lnTo>
                  <a:cubicBezTo>
                    <a:pt x="22574" y="116110"/>
                    <a:pt x="22384" y="97536"/>
                    <a:pt x="30385" y="81915"/>
                  </a:cubicBezTo>
                  <a:lnTo>
                    <a:pt x="34385" y="74104"/>
                  </a:lnTo>
                  <a:cubicBezTo>
                    <a:pt x="38386" y="66389"/>
                    <a:pt x="40386" y="57912"/>
                    <a:pt x="40386" y="49244"/>
                  </a:cubicBezTo>
                  <a:cubicBezTo>
                    <a:pt x="40386" y="32385"/>
                    <a:pt x="49911" y="16954"/>
                    <a:pt x="64960" y="9430"/>
                  </a:cubicBezTo>
                  <a:lnTo>
                    <a:pt x="63532" y="0"/>
                  </a:lnTo>
                  <a:cubicBezTo>
                    <a:pt x="59150" y="1048"/>
                    <a:pt x="55054" y="2095"/>
                    <a:pt x="51530" y="3239"/>
                  </a:cubicBezTo>
                </a:path>
              </a:pathLst>
            </a:custGeom>
            <a:solidFill>
              <a:srgbClr val="401865"/>
            </a:solidFill>
            <a:ln w="9525" cap="flat">
              <a:noFill/>
              <a:prstDash val="solid"/>
              <a:miter/>
            </a:ln>
          </p:spPr>
          <p:txBody>
            <a:bodyPr rtlCol="0" anchor="ctr"/>
            <a:lstStyle/>
            <a:p>
              <a:endParaRPr lang="en-IN"/>
            </a:p>
          </p:txBody>
        </p:sp>
        <p:sp>
          <p:nvSpPr>
            <p:cNvPr id="40" name="Freeform: Shape 39">
              <a:extLst>
                <a:ext uri="{FF2B5EF4-FFF2-40B4-BE49-F238E27FC236}">
                  <a16:creationId xmlns:a16="http://schemas.microsoft.com/office/drawing/2014/main" id="{25FCB681-9743-4C42-8008-2CA5BE5123E1}"/>
                </a:ext>
              </a:extLst>
            </p:cNvPr>
            <p:cNvSpPr/>
            <p:nvPr/>
          </p:nvSpPr>
          <p:spPr>
            <a:xfrm>
              <a:off x="2175836" y="2991358"/>
              <a:ext cx="336296" cy="560493"/>
            </a:xfrm>
            <a:custGeom>
              <a:avLst/>
              <a:gdLst>
                <a:gd name="connsiteX0" fmla="*/ 69425 w 114300"/>
                <a:gd name="connsiteY0" fmla="*/ 508 h 190500"/>
                <a:gd name="connsiteX1" fmla="*/ 69425 w 114300"/>
                <a:gd name="connsiteY1" fmla="*/ 508 h 190500"/>
                <a:gd name="connsiteX2" fmla="*/ 4750 w 114300"/>
                <a:gd name="connsiteY2" fmla="*/ 50038 h 190500"/>
                <a:gd name="connsiteX3" fmla="*/ 464 w 114300"/>
                <a:gd name="connsiteY3" fmla="*/ 82328 h 190500"/>
                <a:gd name="connsiteX4" fmla="*/ 37040 w 114300"/>
                <a:gd name="connsiteY4" fmla="*/ 139097 h 190500"/>
                <a:gd name="connsiteX5" fmla="*/ 56471 w 114300"/>
                <a:gd name="connsiteY5" fmla="*/ 152146 h 190500"/>
                <a:gd name="connsiteX6" fmla="*/ 18371 w 114300"/>
                <a:gd name="connsiteY6" fmla="*/ 158528 h 190500"/>
                <a:gd name="connsiteX7" fmla="*/ 21419 w 114300"/>
                <a:gd name="connsiteY7" fmla="*/ 167481 h 190500"/>
                <a:gd name="connsiteX8" fmla="*/ 63424 w 114300"/>
                <a:gd name="connsiteY8" fmla="*/ 196914 h 190500"/>
                <a:gd name="connsiteX9" fmla="*/ 105620 w 114300"/>
                <a:gd name="connsiteY9" fmla="*/ 160719 h 190500"/>
                <a:gd name="connsiteX10" fmla="*/ 107525 w 114300"/>
                <a:gd name="connsiteY10" fmla="*/ 149574 h 190500"/>
                <a:gd name="connsiteX11" fmla="*/ 100000 w 114300"/>
                <a:gd name="connsiteY11" fmla="*/ 149098 h 190500"/>
                <a:gd name="connsiteX12" fmla="*/ 95047 w 114300"/>
                <a:gd name="connsiteY12" fmla="*/ 149098 h 190500"/>
                <a:gd name="connsiteX13" fmla="*/ 88094 w 114300"/>
                <a:gd name="connsiteY13" fmla="*/ 133763 h 190500"/>
                <a:gd name="connsiteX14" fmla="*/ 122956 w 114300"/>
                <a:gd name="connsiteY14" fmla="*/ 93758 h 190500"/>
                <a:gd name="connsiteX15" fmla="*/ 118955 w 114300"/>
                <a:gd name="connsiteY15" fmla="*/ 65183 h 190500"/>
                <a:gd name="connsiteX16" fmla="*/ 69425 w 114300"/>
                <a:gd name="connsiteY16" fmla="*/ 50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300" h="190500">
                  <a:moveTo>
                    <a:pt x="69425" y="508"/>
                  </a:moveTo>
                  <a:lnTo>
                    <a:pt x="69425" y="508"/>
                  </a:lnTo>
                  <a:cubicBezTo>
                    <a:pt x="37897" y="-3683"/>
                    <a:pt x="8941" y="18510"/>
                    <a:pt x="4750" y="50038"/>
                  </a:cubicBezTo>
                  <a:lnTo>
                    <a:pt x="464" y="82328"/>
                  </a:lnTo>
                  <a:cubicBezTo>
                    <a:pt x="-2965" y="108045"/>
                    <a:pt x="12942" y="131858"/>
                    <a:pt x="37040" y="139097"/>
                  </a:cubicBezTo>
                  <a:lnTo>
                    <a:pt x="56471" y="152146"/>
                  </a:lnTo>
                  <a:cubicBezTo>
                    <a:pt x="43041" y="153765"/>
                    <a:pt x="29325" y="155956"/>
                    <a:pt x="18371" y="158528"/>
                  </a:cubicBezTo>
                  <a:lnTo>
                    <a:pt x="21419" y="167481"/>
                  </a:lnTo>
                  <a:cubicBezTo>
                    <a:pt x="27515" y="185388"/>
                    <a:pt x="44470" y="197295"/>
                    <a:pt x="63424" y="196914"/>
                  </a:cubicBezTo>
                  <a:cubicBezTo>
                    <a:pt x="84379" y="196533"/>
                    <a:pt x="102096" y="181388"/>
                    <a:pt x="105620" y="160719"/>
                  </a:cubicBezTo>
                  <a:lnTo>
                    <a:pt x="107525" y="149574"/>
                  </a:lnTo>
                  <a:cubicBezTo>
                    <a:pt x="104763" y="149289"/>
                    <a:pt x="102191" y="149098"/>
                    <a:pt x="100000" y="149098"/>
                  </a:cubicBezTo>
                  <a:cubicBezTo>
                    <a:pt x="98476" y="149098"/>
                    <a:pt x="96857" y="149003"/>
                    <a:pt x="95047" y="149098"/>
                  </a:cubicBezTo>
                  <a:lnTo>
                    <a:pt x="88094" y="133763"/>
                  </a:lnTo>
                  <a:cubicBezTo>
                    <a:pt x="102477" y="125000"/>
                    <a:pt x="120574" y="111760"/>
                    <a:pt x="122956" y="93758"/>
                  </a:cubicBezTo>
                  <a:lnTo>
                    <a:pt x="118955" y="65183"/>
                  </a:lnTo>
                  <a:cubicBezTo>
                    <a:pt x="123146" y="33655"/>
                    <a:pt x="101048" y="4699"/>
                    <a:pt x="69425" y="508"/>
                  </a:cubicBezTo>
                </a:path>
              </a:pathLst>
            </a:custGeom>
            <a:solidFill>
              <a:srgbClr val="D8B094"/>
            </a:solidFill>
            <a:ln w="9525" cap="flat">
              <a:noFill/>
              <a:prstDash val="solid"/>
              <a:miter/>
            </a:ln>
          </p:spPr>
          <p:txBody>
            <a:bodyPr rtlCol="0" anchor="ctr"/>
            <a:lstStyle/>
            <a:p>
              <a:endParaRPr lang="en-IN"/>
            </a:p>
          </p:txBody>
        </p:sp>
        <p:sp>
          <p:nvSpPr>
            <p:cNvPr id="41" name="Freeform: Shape 40">
              <a:extLst>
                <a:ext uri="{FF2B5EF4-FFF2-40B4-BE49-F238E27FC236}">
                  <a16:creationId xmlns:a16="http://schemas.microsoft.com/office/drawing/2014/main" id="{4356CD18-8F7A-4D86-8DE9-CC84AB1622F7}"/>
                </a:ext>
              </a:extLst>
            </p:cNvPr>
            <p:cNvSpPr/>
            <p:nvPr/>
          </p:nvSpPr>
          <p:spPr>
            <a:xfrm>
              <a:off x="2175868" y="3144744"/>
              <a:ext cx="112099" cy="224197"/>
            </a:xfrm>
            <a:custGeom>
              <a:avLst/>
              <a:gdLst>
                <a:gd name="connsiteX0" fmla="*/ 24457 w 38100"/>
                <a:gd name="connsiteY0" fmla="*/ 27527 h 76200"/>
                <a:gd name="connsiteX1" fmla="*/ 31315 w 38100"/>
                <a:gd name="connsiteY1" fmla="*/ 19336 h 76200"/>
                <a:gd name="connsiteX2" fmla="*/ 24838 w 38100"/>
                <a:gd name="connsiteY2" fmla="*/ 2667 h 76200"/>
                <a:gd name="connsiteX3" fmla="*/ 4454 w 38100"/>
                <a:gd name="connsiteY3" fmla="*/ 0 h 76200"/>
                <a:gd name="connsiteX4" fmla="*/ 454 w 38100"/>
                <a:gd name="connsiteY4" fmla="*/ 30194 h 76200"/>
                <a:gd name="connsiteX5" fmla="*/ 28267 w 38100"/>
                <a:gd name="connsiteY5" fmla="*/ 83439 h 76200"/>
                <a:gd name="connsiteX6" fmla="*/ 43507 w 38100"/>
                <a:gd name="connsiteY6" fmla="*/ 38195 h 76200"/>
                <a:gd name="connsiteX7" fmla="*/ 27790 w 38100"/>
                <a:gd name="connsiteY7" fmla="*/ 36100 h 76200"/>
                <a:gd name="connsiteX8" fmla="*/ 24457 w 38100"/>
                <a:gd name="connsiteY8" fmla="*/ 2752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76200">
                  <a:moveTo>
                    <a:pt x="24457" y="27527"/>
                  </a:moveTo>
                  <a:lnTo>
                    <a:pt x="31315" y="19336"/>
                  </a:lnTo>
                  <a:cubicBezTo>
                    <a:pt x="36458" y="13144"/>
                    <a:pt x="32839" y="3715"/>
                    <a:pt x="24838" y="2667"/>
                  </a:cubicBezTo>
                  <a:lnTo>
                    <a:pt x="4454" y="0"/>
                  </a:lnTo>
                  <a:lnTo>
                    <a:pt x="454" y="30194"/>
                  </a:lnTo>
                  <a:cubicBezTo>
                    <a:pt x="-2499" y="52673"/>
                    <a:pt x="9217" y="73628"/>
                    <a:pt x="28267" y="83439"/>
                  </a:cubicBezTo>
                  <a:cubicBezTo>
                    <a:pt x="26266" y="77914"/>
                    <a:pt x="19885" y="55435"/>
                    <a:pt x="43507" y="38195"/>
                  </a:cubicBezTo>
                  <a:lnTo>
                    <a:pt x="27790" y="36100"/>
                  </a:lnTo>
                  <a:cubicBezTo>
                    <a:pt x="23599" y="35528"/>
                    <a:pt x="21790" y="30670"/>
                    <a:pt x="24457" y="27527"/>
                  </a:cubicBezTo>
                </a:path>
              </a:pathLst>
            </a:custGeom>
            <a:solidFill>
              <a:srgbClr val="B48F75"/>
            </a:solidFill>
            <a:ln w="9525" cap="flat">
              <a:noFill/>
              <a:prstDash val="solid"/>
              <a:miter/>
            </a:ln>
          </p:spPr>
          <p:txBody>
            <a:bodyPr rtlCol="0" anchor="ctr"/>
            <a:lstStyle/>
            <a:p>
              <a:endParaRPr lang="en-IN"/>
            </a:p>
          </p:txBody>
        </p:sp>
        <p:sp>
          <p:nvSpPr>
            <p:cNvPr id="42" name="Freeform: Shape 41">
              <a:extLst>
                <a:ext uri="{FF2B5EF4-FFF2-40B4-BE49-F238E27FC236}">
                  <a16:creationId xmlns:a16="http://schemas.microsoft.com/office/drawing/2014/main" id="{6D185EAE-C068-4A87-9A84-96B1F6CD6ECF}"/>
                </a:ext>
              </a:extLst>
            </p:cNvPr>
            <p:cNvSpPr/>
            <p:nvPr/>
          </p:nvSpPr>
          <p:spPr>
            <a:xfrm>
              <a:off x="2236613" y="3296078"/>
              <a:ext cx="84074" cy="28025"/>
            </a:xfrm>
            <a:custGeom>
              <a:avLst/>
              <a:gdLst>
                <a:gd name="connsiteX0" fmla="*/ 0 w 28575"/>
                <a:gd name="connsiteY0" fmla="*/ 0 h 9525"/>
                <a:gd name="connsiteX1" fmla="*/ 16574 w 28575"/>
                <a:gd name="connsiteY1" fmla="*/ 12478 h 9525"/>
                <a:gd name="connsiteX2" fmla="*/ 35814 w 28575"/>
                <a:gd name="connsiteY2" fmla="*/ 4763 h 9525"/>
                <a:gd name="connsiteX3" fmla="*/ 0 w 28575"/>
                <a:gd name="connsiteY3" fmla="*/ 0 h 9525"/>
              </a:gdLst>
              <a:ahLst/>
              <a:cxnLst>
                <a:cxn ang="0">
                  <a:pos x="connsiteX0" y="connsiteY0"/>
                </a:cxn>
                <a:cxn ang="0">
                  <a:pos x="connsiteX1" y="connsiteY1"/>
                </a:cxn>
                <a:cxn ang="0">
                  <a:pos x="connsiteX2" y="connsiteY2"/>
                </a:cxn>
                <a:cxn ang="0">
                  <a:pos x="connsiteX3" y="connsiteY3"/>
                </a:cxn>
              </a:cxnLst>
              <a:rect l="l" t="t" r="r" b="b"/>
              <a:pathLst>
                <a:path w="28575" h="9525">
                  <a:moveTo>
                    <a:pt x="0" y="0"/>
                  </a:moveTo>
                  <a:cubicBezTo>
                    <a:pt x="2857" y="6572"/>
                    <a:pt x="8954" y="11430"/>
                    <a:pt x="16574" y="12478"/>
                  </a:cubicBezTo>
                  <a:cubicBezTo>
                    <a:pt x="24194" y="13526"/>
                    <a:pt x="31337" y="10287"/>
                    <a:pt x="35814" y="4763"/>
                  </a:cubicBezTo>
                  <a:lnTo>
                    <a:pt x="0" y="0"/>
                  </a:lnTo>
                  <a:close/>
                </a:path>
              </a:pathLst>
            </a:custGeom>
            <a:solidFill>
              <a:srgbClr val="FFFFFF"/>
            </a:solidFill>
            <a:ln w="9525" cap="flat">
              <a:noFill/>
              <a:prstDash val="solid"/>
              <a:miter/>
            </a:ln>
          </p:spPr>
          <p:txBody>
            <a:bodyPr rtlCol="0" anchor="ctr"/>
            <a:lstStyle/>
            <a:p>
              <a:endParaRPr lang="en-IN"/>
            </a:p>
          </p:txBody>
        </p:sp>
        <p:sp>
          <p:nvSpPr>
            <p:cNvPr id="43" name="Freeform: Shape 42">
              <a:extLst>
                <a:ext uri="{FF2B5EF4-FFF2-40B4-BE49-F238E27FC236}">
                  <a16:creationId xmlns:a16="http://schemas.microsoft.com/office/drawing/2014/main" id="{FFC244AA-0624-4A48-9EF9-167B5B53FA56}"/>
                </a:ext>
              </a:extLst>
            </p:cNvPr>
            <p:cNvSpPr/>
            <p:nvPr/>
          </p:nvSpPr>
          <p:spPr>
            <a:xfrm>
              <a:off x="2335822" y="3286780"/>
              <a:ext cx="28025" cy="28025"/>
            </a:xfrm>
            <a:custGeom>
              <a:avLst/>
              <a:gdLst>
                <a:gd name="connsiteX0" fmla="*/ 8572 w 0"/>
                <a:gd name="connsiteY0" fmla="*/ 11257 h 9525"/>
                <a:gd name="connsiteX1" fmla="*/ 7715 w 0"/>
                <a:gd name="connsiteY1" fmla="*/ 3065 h 9525"/>
                <a:gd name="connsiteX2" fmla="*/ 0 w 0"/>
                <a:gd name="connsiteY2" fmla="*/ 112 h 9525"/>
                <a:gd name="connsiteX3" fmla="*/ 8572 w 0"/>
                <a:gd name="connsiteY3" fmla="*/ 11257 h 9525"/>
              </a:gdLst>
              <a:ahLst/>
              <a:cxnLst>
                <a:cxn ang="0">
                  <a:pos x="connsiteX0" y="connsiteY0"/>
                </a:cxn>
                <a:cxn ang="0">
                  <a:pos x="connsiteX1" y="connsiteY1"/>
                </a:cxn>
                <a:cxn ang="0">
                  <a:pos x="connsiteX2" y="connsiteY2"/>
                </a:cxn>
                <a:cxn ang="0">
                  <a:pos x="connsiteX3" y="connsiteY3"/>
                </a:cxn>
              </a:cxnLst>
              <a:rect l="l" t="t" r="r" b="b"/>
              <a:pathLst>
                <a:path h="9525">
                  <a:moveTo>
                    <a:pt x="8572" y="11257"/>
                  </a:moveTo>
                  <a:cubicBezTo>
                    <a:pt x="9716" y="8494"/>
                    <a:pt x="9525" y="5446"/>
                    <a:pt x="7715" y="3065"/>
                  </a:cubicBezTo>
                  <a:cubicBezTo>
                    <a:pt x="5905" y="684"/>
                    <a:pt x="2953" y="-364"/>
                    <a:pt x="0" y="112"/>
                  </a:cubicBezTo>
                  <a:lnTo>
                    <a:pt x="8572" y="11257"/>
                  </a:lnTo>
                  <a:close/>
                </a:path>
              </a:pathLst>
            </a:custGeom>
            <a:solidFill>
              <a:srgbClr val="B48F75"/>
            </a:solidFill>
            <a:ln w="9525" cap="flat">
              <a:noFill/>
              <a:prstDash val="solid"/>
              <a:miter/>
            </a:ln>
          </p:spPr>
          <p:txBody>
            <a:bodyPr rtlCol="0" anchor="ctr"/>
            <a:lstStyle/>
            <a:p>
              <a:endParaRPr lang="en-IN"/>
            </a:p>
          </p:txBody>
        </p:sp>
        <p:sp>
          <p:nvSpPr>
            <p:cNvPr id="44" name="Freeform: Shape 43">
              <a:extLst>
                <a:ext uri="{FF2B5EF4-FFF2-40B4-BE49-F238E27FC236}">
                  <a16:creationId xmlns:a16="http://schemas.microsoft.com/office/drawing/2014/main" id="{24F9B17A-CE4E-482D-B6D2-CBA51859AF14}"/>
                </a:ext>
              </a:extLst>
            </p:cNvPr>
            <p:cNvSpPr/>
            <p:nvPr/>
          </p:nvSpPr>
          <p:spPr>
            <a:xfrm>
              <a:off x="2207930" y="3178280"/>
              <a:ext cx="28025" cy="28025"/>
            </a:xfrm>
            <a:custGeom>
              <a:avLst/>
              <a:gdLst>
                <a:gd name="connsiteX0" fmla="*/ 4130 w 0"/>
                <a:gd name="connsiteY0" fmla="*/ 5081 h 0"/>
                <a:gd name="connsiteX1" fmla="*/ 7369 w 0"/>
                <a:gd name="connsiteY1" fmla="*/ 6891 h 0"/>
                <a:gd name="connsiteX2" fmla="*/ 8321 w 0"/>
                <a:gd name="connsiteY2" fmla="*/ 4700 h 0"/>
                <a:gd name="connsiteX3" fmla="*/ 4702 w 0"/>
                <a:gd name="connsiteY3" fmla="*/ 33 h 0"/>
                <a:gd name="connsiteX4" fmla="*/ 34 w 0"/>
                <a:gd name="connsiteY4" fmla="*/ 3652 h 0"/>
                <a:gd name="connsiteX5" fmla="*/ 415 w 0"/>
                <a:gd name="connsiteY5" fmla="*/ 6033 h 0"/>
                <a:gd name="connsiteX6" fmla="*/ 4130 w 0"/>
                <a:gd name="connsiteY6" fmla="*/ 508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4130" y="5081"/>
                  </a:moveTo>
                  <a:cubicBezTo>
                    <a:pt x="5464" y="5271"/>
                    <a:pt x="6607" y="5938"/>
                    <a:pt x="7369" y="6891"/>
                  </a:cubicBezTo>
                  <a:cubicBezTo>
                    <a:pt x="7845" y="6319"/>
                    <a:pt x="8226" y="5557"/>
                    <a:pt x="8321" y="4700"/>
                  </a:cubicBezTo>
                  <a:cubicBezTo>
                    <a:pt x="8607" y="2414"/>
                    <a:pt x="6988" y="318"/>
                    <a:pt x="4702" y="33"/>
                  </a:cubicBezTo>
                  <a:cubicBezTo>
                    <a:pt x="2416" y="-253"/>
                    <a:pt x="320" y="1366"/>
                    <a:pt x="34" y="3652"/>
                  </a:cubicBezTo>
                  <a:cubicBezTo>
                    <a:pt x="-61" y="4509"/>
                    <a:pt x="34" y="5367"/>
                    <a:pt x="415" y="6033"/>
                  </a:cubicBezTo>
                  <a:cubicBezTo>
                    <a:pt x="1463" y="5271"/>
                    <a:pt x="2797" y="4890"/>
                    <a:pt x="4130" y="5081"/>
                  </a:cubicBezTo>
                </a:path>
              </a:pathLst>
            </a:custGeom>
            <a:solidFill>
              <a:srgbClr val="000000"/>
            </a:solidFill>
            <a:ln w="9525" cap="flat">
              <a:noFill/>
              <a:prstDash val="solid"/>
              <a:miter/>
            </a:ln>
          </p:spPr>
          <p:txBody>
            <a:bodyPr rtlCol="0" anchor="ctr"/>
            <a:lstStyle/>
            <a:p>
              <a:endParaRPr lang="en-IN"/>
            </a:p>
          </p:txBody>
        </p:sp>
        <p:sp>
          <p:nvSpPr>
            <p:cNvPr id="45" name="Freeform: Shape 44">
              <a:extLst>
                <a:ext uri="{FF2B5EF4-FFF2-40B4-BE49-F238E27FC236}">
                  <a16:creationId xmlns:a16="http://schemas.microsoft.com/office/drawing/2014/main" id="{A55F7719-518E-4D69-BB60-4D0E34F55A80}"/>
                </a:ext>
              </a:extLst>
            </p:cNvPr>
            <p:cNvSpPr/>
            <p:nvPr/>
          </p:nvSpPr>
          <p:spPr>
            <a:xfrm>
              <a:off x="2379470" y="3201259"/>
              <a:ext cx="28025" cy="28025"/>
            </a:xfrm>
            <a:custGeom>
              <a:avLst/>
              <a:gdLst>
                <a:gd name="connsiteX0" fmla="*/ 3929 w 0"/>
                <a:gd name="connsiteY0" fmla="*/ 5557 h 0"/>
                <a:gd name="connsiteX1" fmla="*/ 6977 w 0"/>
                <a:gd name="connsiteY1" fmla="*/ 7176 h 0"/>
                <a:gd name="connsiteX2" fmla="*/ 8311 w 0"/>
                <a:gd name="connsiteY2" fmla="*/ 4700 h 0"/>
                <a:gd name="connsiteX3" fmla="*/ 4691 w 0"/>
                <a:gd name="connsiteY3" fmla="*/ 33 h 0"/>
                <a:gd name="connsiteX4" fmla="*/ 24 w 0"/>
                <a:gd name="connsiteY4" fmla="*/ 3652 h 0"/>
                <a:gd name="connsiteX5" fmla="*/ 595 w 0"/>
                <a:gd name="connsiteY5" fmla="*/ 6414 h 0"/>
                <a:gd name="connsiteX6" fmla="*/ 3929 w 0"/>
                <a:gd name="connsiteY6" fmla="*/ 555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3929" y="5557"/>
                  </a:moveTo>
                  <a:cubicBezTo>
                    <a:pt x="5167" y="5748"/>
                    <a:pt x="6215" y="6319"/>
                    <a:pt x="6977" y="7176"/>
                  </a:cubicBezTo>
                  <a:cubicBezTo>
                    <a:pt x="7644" y="6510"/>
                    <a:pt x="8120" y="5652"/>
                    <a:pt x="8311" y="4700"/>
                  </a:cubicBezTo>
                  <a:cubicBezTo>
                    <a:pt x="8596" y="2414"/>
                    <a:pt x="6977" y="318"/>
                    <a:pt x="4691" y="33"/>
                  </a:cubicBezTo>
                  <a:cubicBezTo>
                    <a:pt x="2405" y="-253"/>
                    <a:pt x="310" y="1366"/>
                    <a:pt x="24" y="3652"/>
                  </a:cubicBezTo>
                  <a:cubicBezTo>
                    <a:pt x="-71" y="4605"/>
                    <a:pt x="119" y="5557"/>
                    <a:pt x="595" y="6414"/>
                  </a:cubicBezTo>
                  <a:cubicBezTo>
                    <a:pt x="1548" y="5748"/>
                    <a:pt x="2691" y="5462"/>
                    <a:pt x="3929" y="5557"/>
                  </a:cubicBezTo>
                </a:path>
              </a:pathLst>
            </a:custGeom>
            <a:solidFill>
              <a:srgbClr val="000000"/>
            </a:solidFill>
            <a:ln w="9525" cap="flat">
              <a:noFill/>
              <a:prstDash val="solid"/>
              <a:miter/>
            </a:ln>
          </p:spPr>
          <p:txBody>
            <a:bodyPr rtlCol="0" anchor="ctr"/>
            <a:lstStyle/>
            <a:p>
              <a:endParaRPr lang="en-IN"/>
            </a:p>
          </p:txBody>
        </p:sp>
        <p:sp>
          <p:nvSpPr>
            <p:cNvPr id="46" name="Freeform: Shape 45">
              <a:extLst>
                <a:ext uri="{FF2B5EF4-FFF2-40B4-BE49-F238E27FC236}">
                  <a16:creationId xmlns:a16="http://schemas.microsoft.com/office/drawing/2014/main" id="{AA9810CC-EDE0-4026-AF28-783EF75828A7}"/>
                </a:ext>
              </a:extLst>
            </p:cNvPr>
            <p:cNvSpPr/>
            <p:nvPr/>
          </p:nvSpPr>
          <p:spPr>
            <a:xfrm>
              <a:off x="2270525" y="3400329"/>
              <a:ext cx="84074" cy="56049"/>
            </a:xfrm>
            <a:custGeom>
              <a:avLst/>
              <a:gdLst>
                <a:gd name="connsiteX0" fmla="*/ 18479 w 28575"/>
                <a:gd name="connsiteY0" fmla="*/ 2572 h 19050"/>
                <a:gd name="connsiteX1" fmla="*/ 13049 w 28575"/>
                <a:gd name="connsiteY1" fmla="*/ 1810 h 19050"/>
                <a:gd name="connsiteX2" fmla="*/ 4763 w 28575"/>
                <a:gd name="connsiteY2" fmla="*/ 0 h 19050"/>
                <a:gd name="connsiteX3" fmla="*/ 0 w 28575"/>
                <a:gd name="connsiteY3" fmla="*/ 21050 h 19050"/>
                <a:gd name="connsiteX4" fmla="*/ 37052 w 28575"/>
                <a:gd name="connsiteY4" fmla="*/ 1905 h 19050"/>
                <a:gd name="connsiteX5" fmla="*/ 18479 w 28575"/>
                <a:gd name="connsiteY5" fmla="*/ 257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19050">
                  <a:moveTo>
                    <a:pt x="18479" y="2572"/>
                  </a:moveTo>
                  <a:lnTo>
                    <a:pt x="13049" y="1810"/>
                  </a:lnTo>
                  <a:cubicBezTo>
                    <a:pt x="10192" y="1429"/>
                    <a:pt x="7430" y="857"/>
                    <a:pt x="4763" y="0"/>
                  </a:cubicBezTo>
                  <a:cubicBezTo>
                    <a:pt x="3429" y="11811"/>
                    <a:pt x="0" y="21050"/>
                    <a:pt x="0" y="21050"/>
                  </a:cubicBezTo>
                  <a:cubicBezTo>
                    <a:pt x="18955" y="19336"/>
                    <a:pt x="30766" y="9334"/>
                    <a:pt x="37052" y="1905"/>
                  </a:cubicBezTo>
                  <a:cubicBezTo>
                    <a:pt x="31147" y="3239"/>
                    <a:pt x="24860" y="3429"/>
                    <a:pt x="18479" y="2572"/>
                  </a:cubicBezTo>
                </a:path>
              </a:pathLst>
            </a:custGeom>
            <a:solidFill>
              <a:srgbClr val="B48F75"/>
            </a:solidFill>
            <a:ln w="9525" cap="flat">
              <a:no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F9F8B6B4-9280-4E61-95A6-AB45B5405EA8}"/>
                </a:ext>
              </a:extLst>
            </p:cNvPr>
            <p:cNvSpPr/>
            <p:nvPr/>
          </p:nvSpPr>
          <p:spPr>
            <a:xfrm>
              <a:off x="2978707" y="3184820"/>
              <a:ext cx="140123" cy="56049"/>
            </a:xfrm>
            <a:custGeom>
              <a:avLst/>
              <a:gdLst>
                <a:gd name="connsiteX0" fmla="*/ 46482 w 47625"/>
                <a:gd name="connsiteY0" fmla="*/ 13621 h 19050"/>
                <a:gd name="connsiteX1" fmla="*/ 43910 w 47625"/>
                <a:gd name="connsiteY1" fmla="*/ 14097 h 19050"/>
                <a:gd name="connsiteX2" fmla="*/ 43910 w 47625"/>
                <a:gd name="connsiteY2" fmla="*/ 13621 h 19050"/>
                <a:gd name="connsiteX3" fmla="*/ 30290 w 47625"/>
                <a:gd name="connsiteY3" fmla="*/ 0 h 19050"/>
                <a:gd name="connsiteX4" fmla="*/ 17050 w 47625"/>
                <a:gd name="connsiteY4" fmla="*/ 10478 h 19050"/>
                <a:gd name="connsiteX5" fmla="*/ 9906 w 47625"/>
                <a:gd name="connsiteY5" fmla="*/ 7430 h 19050"/>
                <a:gd name="connsiteX6" fmla="*/ 0 w 47625"/>
                <a:gd name="connsiteY6" fmla="*/ 17336 h 19050"/>
                <a:gd name="connsiteX7" fmla="*/ 9906 w 47625"/>
                <a:gd name="connsiteY7" fmla="*/ 27242 h 19050"/>
                <a:gd name="connsiteX8" fmla="*/ 46577 w 47625"/>
                <a:gd name="connsiteY8" fmla="*/ 27242 h 19050"/>
                <a:gd name="connsiteX9" fmla="*/ 53435 w 47625"/>
                <a:gd name="connsiteY9" fmla="*/ 20384 h 19050"/>
                <a:gd name="connsiteX10" fmla="*/ 46482 w 47625"/>
                <a:gd name="connsiteY10" fmla="*/ 13621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25" h="19050">
                  <a:moveTo>
                    <a:pt x="46482" y="13621"/>
                  </a:moveTo>
                  <a:cubicBezTo>
                    <a:pt x="45529" y="13621"/>
                    <a:pt x="44672" y="13811"/>
                    <a:pt x="43910" y="14097"/>
                  </a:cubicBezTo>
                  <a:cubicBezTo>
                    <a:pt x="43910" y="13907"/>
                    <a:pt x="43910" y="13716"/>
                    <a:pt x="43910" y="13621"/>
                  </a:cubicBezTo>
                  <a:cubicBezTo>
                    <a:pt x="43910" y="6096"/>
                    <a:pt x="37814" y="0"/>
                    <a:pt x="30290" y="0"/>
                  </a:cubicBezTo>
                  <a:cubicBezTo>
                    <a:pt x="23908" y="0"/>
                    <a:pt x="18479" y="4477"/>
                    <a:pt x="17050" y="10478"/>
                  </a:cubicBezTo>
                  <a:cubicBezTo>
                    <a:pt x="15240" y="8573"/>
                    <a:pt x="12668" y="7430"/>
                    <a:pt x="9906" y="7430"/>
                  </a:cubicBezTo>
                  <a:cubicBezTo>
                    <a:pt x="4381" y="7430"/>
                    <a:pt x="0" y="11906"/>
                    <a:pt x="0" y="17336"/>
                  </a:cubicBezTo>
                  <a:cubicBezTo>
                    <a:pt x="0" y="22860"/>
                    <a:pt x="4477" y="27242"/>
                    <a:pt x="9906" y="27242"/>
                  </a:cubicBezTo>
                  <a:lnTo>
                    <a:pt x="46577" y="27242"/>
                  </a:lnTo>
                  <a:cubicBezTo>
                    <a:pt x="50387" y="27242"/>
                    <a:pt x="53435" y="24194"/>
                    <a:pt x="53435" y="20384"/>
                  </a:cubicBezTo>
                  <a:cubicBezTo>
                    <a:pt x="53435" y="16574"/>
                    <a:pt x="50292" y="13621"/>
                    <a:pt x="46482" y="13621"/>
                  </a:cubicBezTo>
                </a:path>
              </a:pathLst>
            </a:custGeom>
            <a:solidFill>
              <a:srgbClr val="12856F"/>
            </a:solidFill>
            <a:ln w="9525" cap="flat">
              <a:noFill/>
              <a:prstDash val="solid"/>
              <a:miter/>
            </a:ln>
          </p:spPr>
          <p:txBody>
            <a:bodyPr rtlCol="0" anchor="ctr"/>
            <a:lstStyle/>
            <a:p>
              <a:endParaRPr lang="en-IN"/>
            </a:p>
          </p:txBody>
        </p:sp>
        <p:sp>
          <p:nvSpPr>
            <p:cNvPr id="48" name="Freeform: Shape 47">
              <a:extLst>
                <a:ext uri="{FF2B5EF4-FFF2-40B4-BE49-F238E27FC236}">
                  <a16:creationId xmlns:a16="http://schemas.microsoft.com/office/drawing/2014/main" id="{36D02AA3-2EB9-4947-9D2A-A71CCFC08431}"/>
                </a:ext>
              </a:extLst>
            </p:cNvPr>
            <p:cNvSpPr/>
            <p:nvPr/>
          </p:nvSpPr>
          <p:spPr>
            <a:xfrm>
              <a:off x="3018783" y="3229939"/>
              <a:ext cx="56049" cy="84074"/>
            </a:xfrm>
            <a:custGeom>
              <a:avLst/>
              <a:gdLst>
                <a:gd name="connsiteX0" fmla="*/ 18860 w 19050"/>
                <a:gd name="connsiteY0" fmla="*/ 16097 h 28575"/>
                <a:gd name="connsiteX1" fmla="*/ 18860 w 19050"/>
                <a:gd name="connsiteY1" fmla="*/ 0 h 28575"/>
                <a:gd name="connsiteX2" fmla="*/ 7048 w 19050"/>
                <a:gd name="connsiteY2" fmla="*/ 0 h 28575"/>
                <a:gd name="connsiteX3" fmla="*/ 7048 w 19050"/>
                <a:gd name="connsiteY3" fmla="*/ 16097 h 28575"/>
                <a:gd name="connsiteX4" fmla="*/ 0 w 19050"/>
                <a:gd name="connsiteY4" fmla="*/ 16097 h 28575"/>
                <a:gd name="connsiteX5" fmla="*/ 12954 w 19050"/>
                <a:gd name="connsiteY5" fmla="*/ 30766 h 28575"/>
                <a:gd name="connsiteX6" fmla="*/ 25908 w 19050"/>
                <a:gd name="connsiteY6" fmla="*/ 1609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28575">
                  <a:moveTo>
                    <a:pt x="18860" y="16097"/>
                  </a:moveTo>
                  <a:lnTo>
                    <a:pt x="18860" y="0"/>
                  </a:lnTo>
                  <a:lnTo>
                    <a:pt x="7048" y="0"/>
                  </a:lnTo>
                  <a:lnTo>
                    <a:pt x="7048" y="16097"/>
                  </a:lnTo>
                  <a:lnTo>
                    <a:pt x="0" y="16097"/>
                  </a:lnTo>
                  <a:lnTo>
                    <a:pt x="12954" y="30766"/>
                  </a:lnTo>
                  <a:lnTo>
                    <a:pt x="25908" y="16097"/>
                  </a:lnTo>
                  <a:close/>
                </a:path>
              </a:pathLst>
            </a:custGeom>
            <a:solidFill>
              <a:srgbClr val="EDAC28"/>
            </a:solidFill>
            <a:ln w="9525" cap="flat">
              <a:noFill/>
              <a:prstDash val="solid"/>
              <a:miter/>
            </a:ln>
          </p:spPr>
          <p:txBody>
            <a:bodyPr rtlCol="0" anchor="ctr"/>
            <a:lstStyle/>
            <a:p>
              <a:endParaRPr lang="en-IN"/>
            </a:p>
          </p:txBody>
        </p:sp>
        <p:sp>
          <p:nvSpPr>
            <p:cNvPr id="49" name="Freeform: Shape 48">
              <a:extLst>
                <a:ext uri="{FF2B5EF4-FFF2-40B4-BE49-F238E27FC236}">
                  <a16:creationId xmlns:a16="http://schemas.microsoft.com/office/drawing/2014/main" id="{479BE502-AF76-459E-99A6-7F0E58862E8B}"/>
                </a:ext>
              </a:extLst>
            </p:cNvPr>
            <p:cNvSpPr/>
            <p:nvPr/>
          </p:nvSpPr>
          <p:spPr>
            <a:xfrm>
              <a:off x="2066226" y="2867302"/>
              <a:ext cx="84074" cy="84074"/>
            </a:xfrm>
            <a:custGeom>
              <a:avLst/>
              <a:gdLst>
                <a:gd name="connsiteX0" fmla="*/ 33814 w 28575"/>
                <a:gd name="connsiteY0" fmla="*/ 17050 h 28575"/>
                <a:gd name="connsiteX1" fmla="*/ 33814 w 28575"/>
                <a:gd name="connsiteY1" fmla="*/ 17050 h 28575"/>
                <a:gd name="connsiteX2" fmla="*/ 33528 w 28575"/>
                <a:gd name="connsiteY2" fmla="*/ 17335 h 28575"/>
                <a:gd name="connsiteX3" fmla="*/ 33338 w 28575"/>
                <a:gd name="connsiteY3" fmla="*/ 17526 h 28575"/>
                <a:gd name="connsiteX4" fmla="*/ 18383 w 28575"/>
                <a:gd name="connsiteY4" fmla="*/ 30670 h 28575"/>
                <a:gd name="connsiteX5" fmla="*/ 3143 w 28575"/>
                <a:gd name="connsiteY5" fmla="*/ 17145 h 28575"/>
                <a:gd name="connsiteX6" fmla="*/ 3143 w 28575"/>
                <a:gd name="connsiteY6" fmla="*/ 17145 h 28575"/>
                <a:gd name="connsiteX7" fmla="*/ 0 w 28575"/>
                <a:gd name="connsiteY7" fmla="*/ 9906 h 28575"/>
                <a:gd name="connsiteX8" fmla="*/ 9906 w 28575"/>
                <a:gd name="connsiteY8" fmla="*/ 0 h 28575"/>
                <a:gd name="connsiteX9" fmla="*/ 18478 w 28575"/>
                <a:gd name="connsiteY9" fmla="*/ 4858 h 28575"/>
                <a:gd name="connsiteX10" fmla="*/ 27051 w 28575"/>
                <a:gd name="connsiteY10" fmla="*/ 0 h 28575"/>
                <a:gd name="connsiteX11" fmla="*/ 36957 w 28575"/>
                <a:gd name="connsiteY11" fmla="*/ 9906 h 28575"/>
                <a:gd name="connsiteX12" fmla="*/ 33814 w 28575"/>
                <a:gd name="connsiteY12" fmla="*/ 1705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75" h="28575">
                  <a:moveTo>
                    <a:pt x="33814" y="17050"/>
                  </a:moveTo>
                  <a:lnTo>
                    <a:pt x="33814" y="17050"/>
                  </a:lnTo>
                  <a:lnTo>
                    <a:pt x="33528" y="17335"/>
                  </a:lnTo>
                  <a:cubicBezTo>
                    <a:pt x="33433" y="17431"/>
                    <a:pt x="33433" y="17431"/>
                    <a:pt x="33338" y="17526"/>
                  </a:cubicBezTo>
                  <a:lnTo>
                    <a:pt x="18383" y="30670"/>
                  </a:lnTo>
                  <a:lnTo>
                    <a:pt x="3143" y="17145"/>
                  </a:lnTo>
                  <a:lnTo>
                    <a:pt x="3143" y="17145"/>
                  </a:lnTo>
                  <a:cubicBezTo>
                    <a:pt x="1238" y="15335"/>
                    <a:pt x="0" y="12764"/>
                    <a:pt x="0" y="9906"/>
                  </a:cubicBezTo>
                  <a:cubicBezTo>
                    <a:pt x="0" y="4382"/>
                    <a:pt x="4477" y="0"/>
                    <a:pt x="9906" y="0"/>
                  </a:cubicBezTo>
                  <a:cubicBezTo>
                    <a:pt x="13525" y="0"/>
                    <a:pt x="16669" y="1905"/>
                    <a:pt x="18478" y="4858"/>
                  </a:cubicBezTo>
                  <a:cubicBezTo>
                    <a:pt x="20193" y="1905"/>
                    <a:pt x="23431" y="0"/>
                    <a:pt x="27051" y="0"/>
                  </a:cubicBezTo>
                  <a:cubicBezTo>
                    <a:pt x="32575" y="0"/>
                    <a:pt x="36957" y="4477"/>
                    <a:pt x="36957" y="9906"/>
                  </a:cubicBezTo>
                  <a:cubicBezTo>
                    <a:pt x="36957" y="12668"/>
                    <a:pt x="35719" y="15240"/>
                    <a:pt x="33814" y="17050"/>
                  </a:cubicBezTo>
                </a:path>
              </a:pathLst>
            </a:custGeom>
            <a:solidFill>
              <a:srgbClr val="DF6C47"/>
            </a:solidFill>
            <a:ln w="9525" cap="flat">
              <a:noFill/>
              <a:prstDash val="solid"/>
              <a:miter/>
            </a:ln>
          </p:spPr>
          <p:txBody>
            <a:bodyPr rtlCol="0" anchor="ctr"/>
            <a:lstStyle/>
            <a:p>
              <a:endParaRPr lang="en-IN"/>
            </a:p>
          </p:txBody>
        </p:sp>
        <p:sp>
          <p:nvSpPr>
            <p:cNvPr id="50" name="Freeform: Shape 49">
              <a:extLst>
                <a:ext uri="{FF2B5EF4-FFF2-40B4-BE49-F238E27FC236}">
                  <a16:creationId xmlns:a16="http://schemas.microsoft.com/office/drawing/2014/main" id="{5B5EDB03-86E3-4C11-949C-3707B206F7F3}"/>
                </a:ext>
              </a:extLst>
            </p:cNvPr>
            <p:cNvSpPr/>
            <p:nvPr/>
          </p:nvSpPr>
          <p:spPr>
            <a:xfrm>
              <a:off x="2234654" y="3795199"/>
              <a:ext cx="280247" cy="224197"/>
            </a:xfrm>
            <a:custGeom>
              <a:avLst/>
              <a:gdLst>
                <a:gd name="connsiteX0" fmla="*/ 62008 w 95250"/>
                <a:gd name="connsiteY0" fmla="*/ 77152 h 76200"/>
                <a:gd name="connsiteX1" fmla="*/ 100489 w 95250"/>
                <a:gd name="connsiteY1" fmla="*/ 54959 h 76200"/>
                <a:gd name="connsiteX2" fmla="*/ 0 w 95250"/>
                <a:gd name="connsiteY2" fmla="*/ 0 h 76200"/>
              </a:gdLst>
              <a:ahLst/>
              <a:cxnLst>
                <a:cxn ang="0">
                  <a:pos x="connsiteX0" y="connsiteY0"/>
                </a:cxn>
                <a:cxn ang="0">
                  <a:pos x="connsiteX1" y="connsiteY1"/>
                </a:cxn>
                <a:cxn ang="0">
                  <a:pos x="connsiteX2" y="connsiteY2"/>
                </a:cxn>
              </a:cxnLst>
              <a:rect l="l" t="t" r="r" b="b"/>
              <a:pathLst>
                <a:path w="95250" h="76200">
                  <a:moveTo>
                    <a:pt x="62008" y="77152"/>
                  </a:moveTo>
                  <a:lnTo>
                    <a:pt x="100489" y="54959"/>
                  </a:lnTo>
                  <a:lnTo>
                    <a:pt x="0" y="0"/>
                  </a:lnTo>
                  <a:close/>
                </a:path>
              </a:pathLst>
            </a:custGeom>
            <a:solidFill>
              <a:srgbClr val="401865"/>
            </a:solidFill>
            <a:ln w="9525" cap="flat">
              <a:noFill/>
              <a:prstDash val="solid"/>
              <a:miter/>
            </a:ln>
          </p:spPr>
          <p:txBody>
            <a:bodyPr rtlCol="0" anchor="ctr"/>
            <a:lstStyle/>
            <a:p>
              <a:endParaRPr lang="en-IN"/>
            </a:p>
          </p:txBody>
        </p:sp>
        <p:sp>
          <p:nvSpPr>
            <p:cNvPr id="51" name="Freeform: Shape 50">
              <a:extLst>
                <a:ext uri="{FF2B5EF4-FFF2-40B4-BE49-F238E27FC236}">
                  <a16:creationId xmlns:a16="http://schemas.microsoft.com/office/drawing/2014/main" id="{E0D30292-8B27-4EB4-AD4F-8121076B5A52}"/>
                </a:ext>
              </a:extLst>
            </p:cNvPr>
            <p:cNvSpPr/>
            <p:nvPr/>
          </p:nvSpPr>
          <p:spPr>
            <a:xfrm>
              <a:off x="2477066" y="3747232"/>
              <a:ext cx="140123" cy="28025"/>
            </a:xfrm>
            <a:custGeom>
              <a:avLst/>
              <a:gdLst>
                <a:gd name="connsiteX0" fmla="*/ 0 w 47625"/>
                <a:gd name="connsiteY0" fmla="*/ 7921 h 9525"/>
                <a:gd name="connsiteX1" fmla="*/ 38005 w 47625"/>
                <a:gd name="connsiteY1" fmla="*/ 17065 h 9525"/>
                <a:gd name="connsiteX2" fmla="*/ 52292 w 47625"/>
                <a:gd name="connsiteY2" fmla="*/ 5635 h 9525"/>
                <a:gd name="connsiteX3" fmla="*/ 5810 w 47625"/>
                <a:gd name="connsiteY3" fmla="*/ 5158 h 9525"/>
                <a:gd name="connsiteX4" fmla="*/ 0 w 47625"/>
                <a:gd name="connsiteY4" fmla="*/ 7921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0" y="7921"/>
                  </a:moveTo>
                  <a:lnTo>
                    <a:pt x="38005" y="17065"/>
                  </a:lnTo>
                  <a:lnTo>
                    <a:pt x="52292" y="5635"/>
                  </a:lnTo>
                  <a:cubicBezTo>
                    <a:pt x="37719" y="-1700"/>
                    <a:pt x="20574" y="-1890"/>
                    <a:pt x="5810" y="5158"/>
                  </a:cubicBezTo>
                  <a:lnTo>
                    <a:pt x="0" y="7921"/>
                  </a:lnTo>
                  <a:close/>
                </a:path>
              </a:pathLst>
            </a:custGeom>
            <a:solidFill>
              <a:srgbClr val="401865"/>
            </a:solidFill>
            <a:ln w="9525" cap="flat">
              <a:noFill/>
              <a:prstDash val="solid"/>
              <a:miter/>
            </a:ln>
          </p:spPr>
          <p:txBody>
            <a:bodyPr rtlCol="0" anchor="ctr"/>
            <a:lstStyle/>
            <a:p>
              <a:endParaRPr lang="en-IN"/>
            </a:p>
          </p:txBody>
        </p:sp>
        <p:sp>
          <p:nvSpPr>
            <p:cNvPr id="52" name="Freeform: Shape 51">
              <a:extLst>
                <a:ext uri="{FF2B5EF4-FFF2-40B4-BE49-F238E27FC236}">
                  <a16:creationId xmlns:a16="http://schemas.microsoft.com/office/drawing/2014/main" id="{68714F5B-389C-4806-B2C2-F7300E3CF023}"/>
                </a:ext>
              </a:extLst>
            </p:cNvPr>
            <p:cNvSpPr/>
            <p:nvPr/>
          </p:nvSpPr>
          <p:spPr>
            <a:xfrm>
              <a:off x="1953845" y="3430102"/>
              <a:ext cx="196173" cy="308271"/>
            </a:xfrm>
            <a:custGeom>
              <a:avLst/>
              <a:gdLst>
                <a:gd name="connsiteX0" fmla="*/ 54959 w 66675"/>
                <a:gd name="connsiteY0" fmla="*/ 73 h 104775"/>
                <a:gd name="connsiteX1" fmla="*/ 6382 w 66675"/>
                <a:gd name="connsiteY1" fmla="*/ 7217 h 104775"/>
                <a:gd name="connsiteX2" fmla="*/ 3334 w 66675"/>
                <a:gd name="connsiteY2" fmla="*/ 8931 h 104775"/>
                <a:gd name="connsiteX3" fmla="*/ 3334 w 66675"/>
                <a:gd name="connsiteY3" fmla="*/ 8931 h 104775"/>
                <a:gd name="connsiteX4" fmla="*/ 3334 w 66675"/>
                <a:gd name="connsiteY4" fmla="*/ 9027 h 104775"/>
                <a:gd name="connsiteX5" fmla="*/ 3048 w 66675"/>
                <a:gd name="connsiteY5" fmla="*/ 9408 h 104775"/>
                <a:gd name="connsiteX6" fmla="*/ 0 w 66675"/>
                <a:gd name="connsiteY6" fmla="*/ 13503 h 104775"/>
                <a:gd name="connsiteX7" fmla="*/ 2286 w 66675"/>
                <a:gd name="connsiteY7" fmla="*/ 13122 h 104775"/>
                <a:gd name="connsiteX8" fmla="*/ 16097 w 66675"/>
                <a:gd name="connsiteY8" fmla="*/ 106182 h 104775"/>
                <a:gd name="connsiteX9" fmla="*/ 21717 w 66675"/>
                <a:gd name="connsiteY9" fmla="*/ 110373 h 104775"/>
                <a:gd name="connsiteX10" fmla="*/ 69342 w 66675"/>
                <a:gd name="connsiteY10" fmla="*/ 103324 h 104775"/>
                <a:gd name="connsiteX11" fmla="*/ 70199 w 66675"/>
                <a:gd name="connsiteY11" fmla="*/ 105705 h 104775"/>
                <a:gd name="connsiteX12" fmla="*/ 73533 w 66675"/>
                <a:gd name="connsiteY12" fmla="*/ 101324 h 104775"/>
                <a:gd name="connsiteX13" fmla="*/ 73533 w 66675"/>
                <a:gd name="connsiteY13" fmla="*/ 101324 h 104775"/>
                <a:gd name="connsiteX14" fmla="*/ 74486 w 66675"/>
                <a:gd name="connsiteY14" fmla="*/ 97609 h 104775"/>
                <a:gd name="connsiteX15" fmla="*/ 60674 w 66675"/>
                <a:gd name="connsiteY15" fmla="*/ 4264 h 104775"/>
                <a:gd name="connsiteX16" fmla="*/ 54959 w 66675"/>
                <a:gd name="connsiteY16" fmla="*/ 73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54959" y="73"/>
                  </a:moveTo>
                  <a:lnTo>
                    <a:pt x="6382" y="7217"/>
                  </a:lnTo>
                  <a:cubicBezTo>
                    <a:pt x="5144" y="7407"/>
                    <a:pt x="4096" y="8074"/>
                    <a:pt x="3334" y="8931"/>
                  </a:cubicBezTo>
                  <a:lnTo>
                    <a:pt x="3334" y="8931"/>
                  </a:lnTo>
                  <a:lnTo>
                    <a:pt x="3334" y="9027"/>
                  </a:lnTo>
                  <a:cubicBezTo>
                    <a:pt x="3239" y="9122"/>
                    <a:pt x="3143" y="9312"/>
                    <a:pt x="3048" y="9408"/>
                  </a:cubicBezTo>
                  <a:lnTo>
                    <a:pt x="0" y="13503"/>
                  </a:lnTo>
                  <a:lnTo>
                    <a:pt x="2286" y="13122"/>
                  </a:lnTo>
                  <a:lnTo>
                    <a:pt x="16097" y="106182"/>
                  </a:lnTo>
                  <a:cubicBezTo>
                    <a:pt x="16478" y="108849"/>
                    <a:pt x="19050" y="110754"/>
                    <a:pt x="21717" y="110373"/>
                  </a:cubicBezTo>
                  <a:lnTo>
                    <a:pt x="69342" y="103324"/>
                  </a:lnTo>
                  <a:lnTo>
                    <a:pt x="70199" y="105705"/>
                  </a:lnTo>
                  <a:lnTo>
                    <a:pt x="73533" y="101324"/>
                  </a:lnTo>
                  <a:lnTo>
                    <a:pt x="73533" y="101324"/>
                  </a:lnTo>
                  <a:cubicBezTo>
                    <a:pt x="74295" y="100276"/>
                    <a:pt x="74676" y="98943"/>
                    <a:pt x="74486" y="97609"/>
                  </a:cubicBezTo>
                  <a:lnTo>
                    <a:pt x="60674" y="4264"/>
                  </a:lnTo>
                  <a:cubicBezTo>
                    <a:pt x="60198" y="1502"/>
                    <a:pt x="57626" y="-403"/>
                    <a:pt x="54959" y="73"/>
                  </a:cubicBezTo>
                </a:path>
              </a:pathLst>
            </a:custGeom>
            <a:solidFill>
              <a:srgbClr val="F3F3F3"/>
            </a:solidFill>
            <a:ln w="9525" cap="flat">
              <a:noFill/>
              <a:prstDash val="solid"/>
              <a:miter/>
            </a:ln>
          </p:spPr>
          <p:txBody>
            <a:bodyPr rtlCol="0" anchor="ctr"/>
            <a:lstStyle/>
            <a:p>
              <a:endParaRPr lang="en-IN"/>
            </a:p>
          </p:txBody>
        </p:sp>
        <p:sp>
          <p:nvSpPr>
            <p:cNvPr id="53" name="Freeform: Shape 52">
              <a:extLst>
                <a:ext uri="{FF2B5EF4-FFF2-40B4-BE49-F238E27FC236}">
                  <a16:creationId xmlns:a16="http://schemas.microsoft.com/office/drawing/2014/main" id="{7A2428A7-1582-4001-BF24-4EBEBDC05052}"/>
                </a:ext>
              </a:extLst>
            </p:cNvPr>
            <p:cNvSpPr/>
            <p:nvPr/>
          </p:nvSpPr>
          <p:spPr>
            <a:xfrm>
              <a:off x="1951456" y="3441659"/>
              <a:ext cx="196173" cy="308271"/>
            </a:xfrm>
            <a:custGeom>
              <a:avLst/>
              <a:gdLst>
                <a:gd name="connsiteX0" fmla="*/ 68059 w 66675"/>
                <a:gd name="connsiteY0" fmla="*/ 103206 h 104775"/>
                <a:gd name="connsiteX1" fmla="*/ 19482 w 66675"/>
                <a:gd name="connsiteY1" fmla="*/ 110350 h 104775"/>
                <a:gd name="connsiteX2" fmla="*/ 13862 w 66675"/>
                <a:gd name="connsiteY2" fmla="*/ 106159 h 104775"/>
                <a:gd name="connsiteX3" fmla="*/ 51 w 66675"/>
                <a:gd name="connsiteY3" fmla="*/ 12814 h 104775"/>
                <a:gd name="connsiteX4" fmla="*/ 4242 w 66675"/>
                <a:gd name="connsiteY4" fmla="*/ 7194 h 104775"/>
                <a:gd name="connsiteX5" fmla="*/ 52819 w 66675"/>
                <a:gd name="connsiteY5" fmla="*/ 51 h 104775"/>
                <a:gd name="connsiteX6" fmla="*/ 58439 w 66675"/>
                <a:gd name="connsiteY6" fmla="*/ 4242 h 104775"/>
                <a:gd name="connsiteX7" fmla="*/ 72250 w 66675"/>
                <a:gd name="connsiteY7" fmla="*/ 97587 h 104775"/>
                <a:gd name="connsiteX8" fmla="*/ 68059 w 66675"/>
                <a:gd name="connsiteY8" fmla="*/ 10320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104775">
                  <a:moveTo>
                    <a:pt x="68059" y="103206"/>
                  </a:moveTo>
                  <a:lnTo>
                    <a:pt x="19482" y="110350"/>
                  </a:lnTo>
                  <a:cubicBezTo>
                    <a:pt x="16815" y="110731"/>
                    <a:pt x="14243" y="108921"/>
                    <a:pt x="13862" y="106159"/>
                  </a:cubicBezTo>
                  <a:lnTo>
                    <a:pt x="51" y="12814"/>
                  </a:lnTo>
                  <a:cubicBezTo>
                    <a:pt x="-330" y="10147"/>
                    <a:pt x="1479" y="7575"/>
                    <a:pt x="4242" y="7194"/>
                  </a:cubicBezTo>
                  <a:lnTo>
                    <a:pt x="52819" y="51"/>
                  </a:lnTo>
                  <a:cubicBezTo>
                    <a:pt x="55486" y="-330"/>
                    <a:pt x="58058" y="1479"/>
                    <a:pt x="58439" y="4242"/>
                  </a:cubicBezTo>
                  <a:lnTo>
                    <a:pt x="72250" y="97587"/>
                  </a:lnTo>
                  <a:cubicBezTo>
                    <a:pt x="72631" y="100349"/>
                    <a:pt x="70726" y="102825"/>
                    <a:pt x="68059" y="103206"/>
                  </a:cubicBezTo>
                </a:path>
              </a:pathLst>
            </a:custGeom>
            <a:solidFill>
              <a:srgbClr val="E6E6E6"/>
            </a:solidFill>
            <a:ln w="9525" cap="flat">
              <a:noFill/>
              <a:prstDash val="solid"/>
              <a:miter/>
            </a:ln>
          </p:spPr>
          <p:txBody>
            <a:bodyPr rtlCol="0" anchor="ctr"/>
            <a:lstStyle/>
            <a:p>
              <a:endParaRPr lang="en-IN"/>
            </a:p>
          </p:txBody>
        </p:sp>
        <p:sp>
          <p:nvSpPr>
            <p:cNvPr id="54" name="Freeform: Shape 53">
              <a:extLst>
                <a:ext uri="{FF2B5EF4-FFF2-40B4-BE49-F238E27FC236}">
                  <a16:creationId xmlns:a16="http://schemas.microsoft.com/office/drawing/2014/main" id="{37D42D3F-1D21-482F-BB48-EC15F9A507F5}"/>
                </a:ext>
              </a:extLst>
            </p:cNvPr>
            <p:cNvSpPr/>
            <p:nvPr/>
          </p:nvSpPr>
          <p:spPr>
            <a:xfrm>
              <a:off x="1974585" y="3472914"/>
              <a:ext cx="168148" cy="280247"/>
            </a:xfrm>
            <a:custGeom>
              <a:avLst/>
              <a:gdLst>
                <a:gd name="connsiteX0" fmla="*/ 0 w 57150"/>
                <a:gd name="connsiteY0" fmla="*/ 54769 h 95250"/>
                <a:gd name="connsiteX1" fmla="*/ 6096 w 57150"/>
                <a:gd name="connsiteY1" fmla="*/ 95631 h 95250"/>
                <a:gd name="connsiteX2" fmla="*/ 11716 w 57150"/>
                <a:gd name="connsiteY2" fmla="*/ 99822 h 95250"/>
                <a:gd name="connsiteX3" fmla="*/ 60293 w 57150"/>
                <a:gd name="connsiteY3" fmla="*/ 92678 h 95250"/>
                <a:gd name="connsiteX4" fmla="*/ 64484 w 57150"/>
                <a:gd name="connsiteY4" fmla="*/ 87058 h 95250"/>
                <a:gd name="connsiteX5" fmla="*/ 51625 w 57150"/>
                <a:gd name="connsiteY5" fmla="*/ 0 h 95250"/>
                <a:gd name="connsiteX6" fmla="*/ 0 w 57150"/>
                <a:gd name="connsiteY6" fmla="*/ 5476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95250">
                  <a:moveTo>
                    <a:pt x="0" y="54769"/>
                  </a:moveTo>
                  <a:lnTo>
                    <a:pt x="6096" y="95631"/>
                  </a:lnTo>
                  <a:cubicBezTo>
                    <a:pt x="6477" y="98298"/>
                    <a:pt x="9049" y="100203"/>
                    <a:pt x="11716" y="99822"/>
                  </a:cubicBezTo>
                  <a:lnTo>
                    <a:pt x="60293" y="92678"/>
                  </a:lnTo>
                  <a:cubicBezTo>
                    <a:pt x="62960" y="92297"/>
                    <a:pt x="64865" y="89725"/>
                    <a:pt x="64484" y="87058"/>
                  </a:cubicBezTo>
                  <a:lnTo>
                    <a:pt x="51625" y="0"/>
                  </a:lnTo>
                  <a:lnTo>
                    <a:pt x="0" y="54769"/>
                  </a:lnTo>
                  <a:close/>
                </a:path>
              </a:pathLst>
            </a:custGeom>
            <a:solidFill>
              <a:srgbClr val="D2D2D2"/>
            </a:solidFill>
            <a:ln w="9525" cap="flat">
              <a:noFill/>
              <a:prstDash val="solid"/>
              <a:miter/>
            </a:ln>
          </p:spPr>
          <p:txBody>
            <a:bodyPr rtlCol="0" anchor="ctr"/>
            <a:lstStyle/>
            <a:p>
              <a:endParaRPr lang="en-IN"/>
            </a:p>
          </p:txBody>
        </p:sp>
        <p:sp>
          <p:nvSpPr>
            <p:cNvPr id="55" name="Freeform: Shape 54">
              <a:extLst>
                <a:ext uri="{FF2B5EF4-FFF2-40B4-BE49-F238E27FC236}">
                  <a16:creationId xmlns:a16="http://schemas.microsoft.com/office/drawing/2014/main" id="{6EC957BA-7CD4-4BD4-9BB1-B8F5FCE276CC}"/>
                </a:ext>
              </a:extLst>
            </p:cNvPr>
            <p:cNvSpPr/>
            <p:nvPr/>
          </p:nvSpPr>
          <p:spPr>
            <a:xfrm>
              <a:off x="2029078" y="3477522"/>
              <a:ext cx="28025" cy="28025"/>
            </a:xfrm>
            <a:custGeom>
              <a:avLst/>
              <a:gdLst>
                <a:gd name="connsiteX0" fmla="*/ 9006 w 0"/>
                <a:gd name="connsiteY0" fmla="*/ 3863 h 0"/>
                <a:gd name="connsiteX1" fmla="*/ 5196 w 0"/>
                <a:gd name="connsiteY1" fmla="*/ 9006 h 0"/>
                <a:gd name="connsiteX2" fmla="*/ 53 w 0"/>
                <a:gd name="connsiteY2" fmla="*/ 5197 h 0"/>
                <a:gd name="connsiteX3" fmla="*/ 3863 w 0"/>
                <a:gd name="connsiteY3" fmla="*/ 53 h 0"/>
                <a:gd name="connsiteX4" fmla="*/ 9006 w 0"/>
                <a:gd name="connsiteY4" fmla="*/ 386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006" y="3863"/>
                  </a:moveTo>
                  <a:cubicBezTo>
                    <a:pt x="9388" y="6340"/>
                    <a:pt x="7673" y="8626"/>
                    <a:pt x="5196" y="9006"/>
                  </a:cubicBezTo>
                  <a:cubicBezTo>
                    <a:pt x="2720" y="9388"/>
                    <a:pt x="434" y="7673"/>
                    <a:pt x="53" y="5197"/>
                  </a:cubicBezTo>
                  <a:cubicBezTo>
                    <a:pt x="-328" y="2720"/>
                    <a:pt x="1386" y="434"/>
                    <a:pt x="3863" y="53"/>
                  </a:cubicBezTo>
                  <a:cubicBezTo>
                    <a:pt x="6340" y="-328"/>
                    <a:pt x="8625" y="1386"/>
                    <a:pt x="9006" y="3863"/>
                  </a:cubicBezTo>
                </a:path>
              </a:pathLst>
            </a:custGeom>
            <a:solidFill>
              <a:srgbClr val="737373"/>
            </a:solidFill>
            <a:ln w="9525" cap="flat">
              <a:noFill/>
              <a:prstDash val="solid"/>
              <a:miter/>
            </a:ln>
          </p:spPr>
          <p:txBody>
            <a:bodyPr rtlCol="0" anchor="ctr"/>
            <a:lstStyle/>
            <a:p>
              <a:endParaRPr lang="en-IN"/>
            </a:p>
          </p:txBody>
        </p:sp>
        <p:sp>
          <p:nvSpPr>
            <p:cNvPr id="56" name="Freeform: Shape 55">
              <a:extLst>
                <a:ext uri="{FF2B5EF4-FFF2-40B4-BE49-F238E27FC236}">
                  <a16:creationId xmlns:a16="http://schemas.microsoft.com/office/drawing/2014/main" id="{8BDACF1C-0310-4952-A0CF-1F6C1557EECE}"/>
                </a:ext>
              </a:extLst>
            </p:cNvPr>
            <p:cNvSpPr/>
            <p:nvPr/>
          </p:nvSpPr>
          <p:spPr>
            <a:xfrm>
              <a:off x="2109942" y="2866740"/>
              <a:ext cx="56049" cy="84074"/>
            </a:xfrm>
            <a:custGeom>
              <a:avLst/>
              <a:gdLst>
                <a:gd name="connsiteX0" fmla="*/ 12192 w 19050"/>
                <a:gd name="connsiteY0" fmla="*/ 0 h 28575"/>
                <a:gd name="connsiteX1" fmla="*/ 6096 w 19050"/>
                <a:gd name="connsiteY1" fmla="*/ 2096 h 28575"/>
                <a:gd name="connsiteX2" fmla="*/ 8287 w 19050"/>
                <a:gd name="connsiteY2" fmla="*/ 5715 h 28575"/>
                <a:gd name="connsiteX3" fmla="*/ 7049 w 19050"/>
                <a:gd name="connsiteY3" fmla="*/ 19812 h 28575"/>
                <a:gd name="connsiteX4" fmla="*/ 0 w 19050"/>
                <a:gd name="connsiteY4" fmla="*/ 27718 h 28575"/>
                <a:gd name="connsiteX5" fmla="*/ 3429 w 19050"/>
                <a:gd name="connsiteY5" fmla="*/ 30766 h 28575"/>
                <a:gd name="connsiteX6" fmla="*/ 18383 w 19050"/>
                <a:gd name="connsiteY6" fmla="*/ 17621 h 28575"/>
                <a:gd name="connsiteX7" fmla="*/ 18574 w 19050"/>
                <a:gd name="connsiteY7" fmla="*/ 17431 h 28575"/>
                <a:gd name="connsiteX8" fmla="*/ 18955 w 19050"/>
                <a:gd name="connsiteY8" fmla="*/ 17145 h 28575"/>
                <a:gd name="connsiteX9" fmla="*/ 18955 w 19050"/>
                <a:gd name="connsiteY9" fmla="*/ 17145 h 28575"/>
                <a:gd name="connsiteX10" fmla="*/ 22098 w 19050"/>
                <a:gd name="connsiteY10" fmla="*/ 9906 h 28575"/>
                <a:gd name="connsiteX11" fmla="*/ 12192 w 19050"/>
                <a:gd name="connsiteY11"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 h="28575">
                  <a:moveTo>
                    <a:pt x="12192" y="0"/>
                  </a:moveTo>
                  <a:cubicBezTo>
                    <a:pt x="9906" y="0"/>
                    <a:pt x="7810" y="762"/>
                    <a:pt x="6096" y="2096"/>
                  </a:cubicBezTo>
                  <a:lnTo>
                    <a:pt x="8287" y="5715"/>
                  </a:lnTo>
                  <a:cubicBezTo>
                    <a:pt x="11049" y="10192"/>
                    <a:pt x="10573" y="15907"/>
                    <a:pt x="7049" y="19812"/>
                  </a:cubicBezTo>
                  <a:lnTo>
                    <a:pt x="0" y="27718"/>
                  </a:lnTo>
                  <a:lnTo>
                    <a:pt x="3429" y="30766"/>
                  </a:lnTo>
                  <a:lnTo>
                    <a:pt x="18383" y="17621"/>
                  </a:lnTo>
                  <a:cubicBezTo>
                    <a:pt x="18479" y="17621"/>
                    <a:pt x="18479" y="17526"/>
                    <a:pt x="18574" y="17431"/>
                  </a:cubicBezTo>
                  <a:lnTo>
                    <a:pt x="18955" y="17145"/>
                  </a:lnTo>
                  <a:lnTo>
                    <a:pt x="18955" y="17145"/>
                  </a:lnTo>
                  <a:cubicBezTo>
                    <a:pt x="20860" y="15335"/>
                    <a:pt x="22098" y="12764"/>
                    <a:pt x="22098" y="9906"/>
                  </a:cubicBezTo>
                  <a:cubicBezTo>
                    <a:pt x="22098" y="4477"/>
                    <a:pt x="17717" y="0"/>
                    <a:pt x="12192" y="0"/>
                  </a:cubicBezTo>
                </a:path>
              </a:pathLst>
            </a:custGeom>
            <a:solidFill>
              <a:srgbClr val="D83B01"/>
            </a:solidFill>
            <a:ln w="9525" cap="flat">
              <a:noFill/>
              <a:prstDash val="solid"/>
              <a:miter/>
            </a:ln>
          </p:spPr>
          <p:txBody>
            <a:bodyPr rtlCol="0" anchor="ctr"/>
            <a:lstStyle/>
            <a:p>
              <a:endParaRPr lang="en-IN"/>
            </a:p>
          </p:txBody>
        </p:sp>
        <p:sp>
          <p:nvSpPr>
            <p:cNvPr id="57" name="Freeform: Shape 56">
              <a:extLst>
                <a:ext uri="{FF2B5EF4-FFF2-40B4-BE49-F238E27FC236}">
                  <a16:creationId xmlns:a16="http://schemas.microsoft.com/office/drawing/2014/main" id="{D9E4FA3B-5B5A-450A-8C3C-06C7F0235588}"/>
                </a:ext>
              </a:extLst>
            </p:cNvPr>
            <p:cNvSpPr/>
            <p:nvPr/>
          </p:nvSpPr>
          <p:spPr>
            <a:xfrm>
              <a:off x="1973743" y="3577166"/>
              <a:ext cx="392345" cy="224197"/>
            </a:xfrm>
            <a:custGeom>
              <a:avLst/>
              <a:gdLst>
                <a:gd name="connsiteX0" fmla="*/ 98489 w 133350"/>
                <a:gd name="connsiteY0" fmla="*/ 44577 h 76200"/>
                <a:gd name="connsiteX1" fmla="*/ 85916 w 133350"/>
                <a:gd name="connsiteY1" fmla="*/ 29432 h 76200"/>
                <a:gd name="connsiteX2" fmla="*/ 78200 w 133350"/>
                <a:gd name="connsiteY2" fmla="*/ 21907 h 76200"/>
                <a:gd name="connsiteX3" fmla="*/ 69342 w 133350"/>
                <a:gd name="connsiteY3" fmla="*/ 5144 h 76200"/>
                <a:gd name="connsiteX4" fmla="*/ 62960 w 133350"/>
                <a:gd name="connsiteY4" fmla="*/ 476 h 76200"/>
                <a:gd name="connsiteX5" fmla="*/ 60484 w 133350"/>
                <a:gd name="connsiteY5" fmla="*/ 0 h 76200"/>
                <a:gd name="connsiteX6" fmla="*/ 62484 w 133350"/>
                <a:gd name="connsiteY6" fmla="*/ 13335 h 76200"/>
                <a:gd name="connsiteX7" fmla="*/ 52864 w 133350"/>
                <a:gd name="connsiteY7" fmla="*/ 9620 h 76200"/>
                <a:gd name="connsiteX8" fmla="*/ 52864 w 133350"/>
                <a:gd name="connsiteY8" fmla="*/ 9525 h 76200"/>
                <a:gd name="connsiteX9" fmla="*/ 28004 w 133350"/>
                <a:gd name="connsiteY9" fmla="*/ 4001 h 76200"/>
                <a:gd name="connsiteX10" fmla="*/ 1905 w 133350"/>
                <a:gd name="connsiteY10" fmla="*/ 5810 h 76200"/>
                <a:gd name="connsiteX11" fmla="*/ 2286 w 133350"/>
                <a:gd name="connsiteY11" fmla="*/ 8858 h 76200"/>
                <a:gd name="connsiteX12" fmla="*/ 8954 w 133350"/>
                <a:gd name="connsiteY12" fmla="*/ 14669 h 76200"/>
                <a:gd name="connsiteX13" fmla="*/ 25813 w 133350"/>
                <a:gd name="connsiteY13" fmla="*/ 14669 h 76200"/>
                <a:gd name="connsiteX14" fmla="*/ 45911 w 133350"/>
                <a:gd name="connsiteY14" fmla="*/ 21527 h 76200"/>
                <a:gd name="connsiteX15" fmla="*/ 23051 w 133350"/>
                <a:gd name="connsiteY15" fmla="*/ 19622 h 76200"/>
                <a:gd name="connsiteX16" fmla="*/ 0 w 133350"/>
                <a:gd name="connsiteY16" fmla="*/ 28194 h 76200"/>
                <a:gd name="connsiteX17" fmla="*/ 572 w 133350"/>
                <a:gd name="connsiteY17" fmla="*/ 29908 h 76200"/>
                <a:gd name="connsiteX18" fmla="*/ 9906 w 133350"/>
                <a:gd name="connsiteY18" fmla="*/ 34385 h 76200"/>
                <a:gd name="connsiteX19" fmla="*/ 21431 w 133350"/>
                <a:gd name="connsiteY19" fmla="*/ 30385 h 76200"/>
                <a:gd name="connsiteX20" fmla="*/ 46577 w 133350"/>
                <a:gd name="connsiteY20" fmla="*/ 34480 h 76200"/>
                <a:gd name="connsiteX21" fmla="*/ 46482 w 133350"/>
                <a:gd name="connsiteY21" fmla="*/ 34766 h 76200"/>
                <a:gd name="connsiteX22" fmla="*/ 22384 w 133350"/>
                <a:gd name="connsiteY22" fmla="*/ 33052 h 76200"/>
                <a:gd name="connsiteX23" fmla="*/ 3620 w 133350"/>
                <a:gd name="connsiteY23" fmla="*/ 42291 h 76200"/>
                <a:gd name="connsiteX24" fmla="*/ 4382 w 133350"/>
                <a:gd name="connsiteY24" fmla="*/ 43815 h 76200"/>
                <a:gd name="connsiteX25" fmla="*/ 13907 w 133350"/>
                <a:gd name="connsiteY25" fmla="*/ 46958 h 76200"/>
                <a:gd name="connsiteX26" fmla="*/ 24479 w 133350"/>
                <a:gd name="connsiteY26" fmla="*/ 41720 h 76200"/>
                <a:gd name="connsiteX27" fmla="*/ 43244 w 133350"/>
                <a:gd name="connsiteY27" fmla="*/ 46292 h 76200"/>
                <a:gd name="connsiteX28" fmla="*/ 23908 w 133350"/>
                <a:gd name="connsiteY28" fmla="*/ 46577 h 76200"/>
                <a:gd name="connsiteX29" fmla="*/ 12859 w 133350"/>
                <a:gd name="connsiteY29" fmla="*/ 56674 h 76200"/>
                <a:gd name="connsiteX30" fmla="*/ 14097 w 133350"/>
                <a:gd name="connsiteY30" fmla="*/ 57912 h 76200"/>
                <a:gd name="connsiteX31" fmla="*/ 22479 w 133350"/>
                <a:gd name="connsiteY31" fmla="*/ 59055 h 76200"/>
                <a:gd name="connsiteX32" fmla="*/ 29528 w 133350"/>
                <a:gd name="connsiteY32" fmla="*/ 54769 h 76200"/>
                <a:gd name="connsiteX33" fmla="*/ 40291 w 133350"/>
                <a:gd name="connsiteY33" fmla="*/ 60579 h 76200"/>
                <a:gd name="connsiteX34" fmla="*/ 40291 w 133350"/>
                <a:gd name="connsiteY34" fmla="*/ 60579 h 76200"/>
                <a:gd name="connsiteX35" fmla="*/ 40291 w 133350"/>
                <a:gd name="connsiteY35" fmla="*/ 60674 h 76200"/>
                <a:gd name="connsiteX36" fmla="*/ 58579 w 133350"/>
                <a:gd name="connsiteY36" fmla="*/ 64199 h 76200"/>
                <a:gd name="connsiteX37" fmla="*/ 88678 w 133350"/>
                <a:gd name="connsiteY37" fmla="*/ 69818 h 76200"/>
                <a:gd name="connsiteX38" fmla="*/ 115824 w 133350"/>
                <a:gd name="connsiteY38" fmla="*/ 80296 h 76200"/>
                <a:gd name="connsiteX39" fmla="*/ 131921 w 133350"/>
                <a:gd name="connsiteY39" fmla="*/ 76962 h 76200"/>
                <a:gd name="connsiteX40" fmla="*/ 136684 w 133350"/>
                <a:gd name="connsiteY40" fmla="*/ 59436 h 76200"/>
                <a:gd name="connsiteX41" fmla="*/ 136684 w 133350"/>
                <a:gd name="connsiteY41" fmla="*/ 57150 h 76200"/>
                <a:gd name="connsiteX42" fmla="*/ 98489 w 133350"/>
                <a:gd name="connsiteY42" fmla="*/ 4457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3350" h="76200">
                  <a:moveTo>
                    <a:pt x="98489" y="44577"/>
                  </a:moveTo>
                  <a:lnTo>
                    <a:pt x="85916" y="29432"/>
                  </a:lnTo>
                  <a:cubicBezTo>
                    <a:pt x="83630" y="26670"/>
                    <a:pt x="80963" y="24098"/>
                    <a:pt x="78200" y="21907"/>
                  </a:cubicBezTo>
                  <a:lnTo>
                    <a:pt x="69342" y="5144"/>
                  </a:lnTo>
                  <a:cubicBezTo>
                    <a:pt x="68009" y="2667"/>
                    <a:pt x="65723" y="953"/>
                    <a:pt x="62960" y="476"/>
                  </a:cubicBezTo>
                  <a:lnTo>
                    <a:pt x="60484" y="0"/>
                  </a:lnTo>
                  <a:lnTo>
                    <a:pt x="62484" y="13335"/>
                  </a:lnTo>
                  <a:lnTo>
                    <a:pt x="52864" y="9620"/>
                  </a:lnTo>
                  <a:lnTo>
                    <a:pt x="52864" y="9525"/>
                  </a:lnTo>
                  <a:lnTo>
                    <a:pt x="28004" y="4001"/>
                  </a:lnTo>
                  <a:lnTo>
                    <a:pt x="1905" y="5810"/>
                  </a:lnTo>
                  <a:lnTo>
                    <a:pt x="2286" y="8858"/>
                  </a:lnTo>
                  <a:cubicBezTo>
                    <a:pt x="2762" y="12192"/>
                    <a:pt x="5620" y="14669"/>
                    <a:pt x="8954" y="14669"/>
                  </a:cubicBezTo>
                  <a:lnTo>
                    <a:pt x="25813" y="14669"/>
                  </a:lnTo>
                  <a:lnTo>
                    <a:pt x="45911" y="21527"/>
                  </a:lnTo>
                  <a:lnTo>
                    <a:pt x="23051" y="19622"/>
                  </a:lnTo>
                  <a:lnTo>
                    <a:pt x="0" y="28194"/>
                  </a:lnTo>
                  <a:lnTo>
                    <a:pt x="572" y="29908"/>
                  </a:lnTo>
                  <a:cubicBezTo>
                    <a:pt x="1905" y="33719"/>
                    <a:pt x="6096" y="35719"/>
                    <a:pt x="9906" y="34385"/>
                  </a:cubicBezTo>
                  <a:lnTo>
                    <a:pt x="21431" y="30385"/>
                  </a:lnTo>
                  <a:lnTo>
                    <a:pt x="46577" y="34480"/>
                  </a:lnTo>
                  <a:lnTo>
                    <a:pt x="46482" y="34766"/>
                  </a:lnTo>
                  <a:lnTo>
                    <a:pt x="22384" y="33052"/>
                  </a:lnTo>
                  <a:lnTo>
                    <a:pt x="3620" y="42291"/>
                  </a:lnTo>
                  <a:lnTo>
                    <a:pt x="4382" y="43815"/>
                  </a:lnTo>
                  <a:cubicBezTo>
                    <a:pt x="6191" y="47244"/>
                    <a:pt x="10382" y="48673"/>
                    <a:pt x="13907" y="46958"/>
                  </a:cubicBezTo>
                  <a:lnTo>
                    <a:pt x="24479" y="41720"/>
                  </a:lnTo>
                  <a:lnTo>
                    <a:pt x="43244" y="46292"/>
                  </a:lnTo>
                  <a:lnTo>
                    <a:pt x="23908" y="46577"/>
                  </a:lnTo>
                  <a:lnTo>
                    <a:pt x="12859" y="56674"/>
                  </a:lnTo>
                  <a:lnTo>
                    <a:pt x="14097" y="57912"/>
                  </a:lnTo>
                  <a:cubicBezTo>
                    <a:pt x="16288" y="60198"/>
                    <a:pt x="19717" y="60674"/>
                    <a:pt x="22479" y="59055"/>
                  </a:cubicBezTo>
                  <a:lnTo>
                    <a:pt x="29528" y="54769"/>
                  </a:lnTo>
                  <a:lnTo>
                    <a:pt x="40291" y="60579"/>
                  </a:lnTo>
                  <a:lnTo>
                    <a:pt x="40291" y="60579"/>
                  </a:lnTo>
                  <a:lnTo>
                    <a:pt x="40291" y="60674"/>
                  </a:lnTo>
                  <a:lnTo>
                    <a:pt x="58579" y="64199"/>
                  </a:lnTo>
                  <a:cubicBezTo>
                    <a:pt x="68199" y="68104"/>
                    <a:pt x="78296" y="69723"/>
                    <a:pt x="88678" y="69818"/>
                  </a:cubicBezTo>
                  <a:lnTo>
                    <a:pt x="115824" y="80296"/>
                  </a:lnTo>
                  <a:lnTo>
                    <a:pt x="131921" y="76962"/>
                  </a:lnTo>
                  <a:cubicBezTo>
                    <a:pt x="131921" y="76962"/>
                    <a:pt x="136684" y="72485"/>
                    <a:pt x="136684" y="59436"/>
                  </a:cubicBezTo>
                  <a:lnTo>
                    <a:pt x="136684" y="57150"/>
                  </a:lnTo>
                  <a:lnTo>
                    <a:pt x="98489" y="44577"/>
                  </a:lnTo>
                  <a:close/>
                </a:path>
              </a:pathLst>
            </a:custGeom>
            <a:solidFill>
              <a:srgbClr val="D8B094"/>
            </a:solidFill>
            <a:ln w="9525" cap="flat">
              <a:noFill/>
              <a:prstDash val="solid"/>
              <a:miter/>
            </a:ln>
          </p:spPr>
          <p:txBody>
            <a:bodyPr rtlCol="0" anchor="ctr"/>
            <a:lstStyle/>
            <a:p>
              <a:endParaRPr lang="en-IN"/>
            </a:p>
          </p:txBody>
        </p:sp>
        <p:sp>
          <p:nvSpPr>
            <p:cNvPr id="58" name="Freeform: Shape 57">
              <a:extLst>
                <a:ext uri="{FF2B5EF4-FFF2-40B4-BE49-F238E27FC236}">
                  <a16:creationId xmlns:a16="http://schemas.microsoft.com/office/drawing/2014/main" id="{E3112F5F-D47B-4CF5-922C-C0875563269C}"/>
                </a:ext>
              </a:extLst>
            </p:cNvPr>
            <p:cNvSpPr/>
            <p:nvPr/>
          </p:nvSpPr>
          <p:spPr>
            <a:xfrm>
              <a:off x="2061180" y="3738588"/>
              <a:ext cx="280247" cy="84074"/>
            </a:xfrm>
            <a:custGeom>
              <a:avLst/>
              <a:gdLst>
                <a:gd name="connsiteX0" fmla="*/ 10668 w 95250"/>
                <a:gd name="connsiteY0" fmla="*/ 5905 h 28575"/>
                <a:gd name="connsiteX1" fmla="*/ 10668 w 95250"/>
                <a:gd name="connsiteY1" fmla="*/ 6001 h 28575"/>
                <a:gd name="connsiteX2" fmla="*/ 28099 w 95250"/>
                <a:gd name="connsiteY2" fmla="*/ 13144 h 28575"/>
                <a:gd name="connsiteX3" fmla="*/ 58388 w 95250"/>
                <a:gd name="connsiteY3" fmla="*/ 19241 h 28575"/>
                <a:gd name="connsiteX4" fmla="*/ 88297 w 95250"/>
                <a:gd name="connsiteY4" fmla="*/ 35623 h 28575"/>
                <a:gd name="connsiteX5" fmla="*/ 102298 w 95250"/>
                <a:gd name="connsiteY5" fmla="*/ 22289 h 28575"/>
                <a:gd name="connsiteX6" fmla="*/ 69628 w 95250"/>
                <a:gd name="connsiteY6" fmla="*/ 10382 h 28575"/>
                <a:gd name="connsiteX7" fmla="*/ 52578 w 95250"/>
                <a:gd name="connsiteY7" fmla="*/ 7334 h 28575"/>
                <a:gd name="connsiteX8" fmla="*/ 39243 w 95250"/>
                <a:gd name="connsiteY8" fmla="*/ 7334 h 28575"/>
                <a:gd name="connsiteX9" fmla="*/ 22384 w 95250"/>
                <a:gd name="connsiteY9" fmla="*/ 5334 h 28575"/>
                <a:gd name="connsiteX10" fmla="*/ 0 w 95250"/>
                <a:gd name="connsiteY10" fmla="*/ 0 h 28575"/>
                <a:gd name="connsiteX11" fmla="*/ 10668 w 95250"/>
                <a:gd name="connsiteY11" fmla="*/ 5905 h 28575"/>
                <a:gd name="connsiteX12" fmla="*/ 10668 w 95250"/>
                <a:gd name="connsiteY12" fmla="*/ 590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28575">
                  <a:moveTo>
                    <a:pt x="10668" y="5905"/>
                  </a:moveTo>
                  <a:lnTo>
                    <a:pt x="10668" y="6001"/>
                  </a:lnTo>
                  <a:lnTo>
                    <a:pt x="28099" y="13144"/>
                  </a:lnTo>
                  <a:cubicBezTo>
                    <a:pt x="37719" y="17050"/>
                    <a:pt x="48006" y="19145"/>
                    <a:pt x="58388" y="19241"/>
                  </a:cubicBezTo>
                  <a:lnTo>
                    <a:pt x="88297" y="35623"/>
                  </a:lnTo>
                  <a:cubicBezTo>
                    <a:pt x="94202" y="32575"/>
                    <a:pt x="99060" y="27908"/>
                    <a:pt x="102298" y="22289"/>
                  </a:cubicBezTo>
                  <a:lnTo>
                    <a:pt x="69628" y="10382"/>
                  </a:lnTo>
                  <a:cubicBezTo>
                    <a:pt x="64103" y="8382"/>
                    <a:pt x="58388" y="7334"/>
                    <a:pt x="52578" y="7334"/>
                  </a:cubicBezTo>
                  <a:lnTo>
                    <a:pt x="39243" y="7334"/>
                  </a:lnTo>
                  <a:cubicBezTo>
                    <a:pt x="33528" y="7334"/>
                    <a:pt x="27908" y="6667"/>
                    <a:pt x="22384" y="5334"/>
                  </a:cubicBezTo>
                  <a:lnTo>
                    <a:pt x="0" y="0"/>
                  </a:lnTo>
                  <a:lnTo>
                    <a:pt x="10668" y="5905"/>
                  </a:lnTo>
                  <a:lnTo>
                    <a:pt x="10668" y="5905"/>
                  </a:lnTo>
                  <a:close/>
                </a:path>
              </a:pathLst>
            </a:custGeom>
            <a:solidFill>
              <a:srgbClr val="B48F75"/>
            </a:solidFill>
            <a:ln w="9525" cap="flat">
              <a:noFill/>
              <a:prstDash val="solid"/>
              <a:miter/>
            </a:ln>
          </p:spPr>
          <p:txBody>
            <a:bodyPr rtlCol="0" anchor="ctr"/>
            <a:lstStyle/>
            <a:p>
              <a:endParaRPr lang="en-IN"/>
            </a:p>
          </p:txBody>
        </p:sp>
        <p:sp>
          <p:nvSpPr>
            <p:cNvPr id="59" name="Freeform: Shape 58">
              <a:extLst>
                <a:ext uri="{FF2B5EF4-FFF2-40B4-BE49-F238E27FC236}">
                  <a16:creationId xmlns:a16="http://schemas.microsoft.com/office/drawing/2014/main" id="{99677624-5256-415C-AAD6-0B2A3CD0563F}"/>
                </a:ext>
              </a:extLst>
            </p:cNvPr>
            <p:cNvSpPr/>
            <p:nvPr/>
          </p:nvSpPr>
          <p:spPr>
            <a:xfrm>
              <a:off x="2089205" y="2960829"/>
              <a:ext cx="476419" cy="532469"/>
            </a:xfrm>
            <a:custGeom>
              <a:avLst/>
              <a:gdLst>
                <a:gd name="connsiteX0" fmla="*/ 148590 w 161925"/>
                <a:gd name="connsiteY0" fmla="*/ 157188 h 180975"/>
                <a:gd name="connsiteX1" fmla="*/ 155448 w 161925"/>
                <a:gd name="connsiteY1" fmla="*/ 85464 h 180975"/>
                <a:gd name="connsiteX2" fmla="*/ 106490 w 161925"/>
                <a:gd name="connsiteY2" fmla="*/ 2025 h 180975"/>
                <a:gd name="connsiteX3" fmla="*/ 25432 w 161925"/>
                <a:gd name="connsiteY3" fmla="*/ 51460 h 180975"/>
                <a:gd name="connsiteX4" fmla="*/ 0 w 161925"/>
                <a:gd name="connsiteY4" fmla="*/ 61461 h 180975"/>
                <a:gd name="connsiteX5" fmla="*/ 36671 w 161925"/>
                <a:gd name="connsiteY5" fmla="*/ 62509 h 180975"/>
                <a:gd name="connsiteX6" fmla="*/ 32766 w 161925"/>
                <a:gd name="connsiteY6" fmla="*/ 64605 h 180975"/>
                <a:gd name="connsiteX7" fmla="*/ 32194 w 161925"/>
                <a:gd name="connsiteY7" fmla="*/ 67748 h 180975"/>
                <a:gd name="connsiteX8" fmla="*/ 35338 w 161925"/>
                <a:gd name="connsiteY8" fmla="*/ 68319 h 180975"/>
                <a:gd name="connsiteX9" fmla="*/ 55245 w 161925"/>
                <a:gd name="connsiteY9" fmla="*/ 70986 h 180975"/>
                <a:gd name="connsiteX10" fmla="*/ 56959 w 161925"/>
                <a:gd name="connsiteY10" fmla="*/ 71844 h 180975"/>
                <a:gd name="connsiteX11" fmla="*/ 58388 w 161925"/>
                <a:gd name="connsiteY11" fmla="*/ 71367 h 180975"/>
                <a:gd name="connsiteX12" fmla="*/ 58674 w 161925"/>
                <a:gd name="connsiteY12" fmla="*/ 68224 h 180975"/>
                <a:gd name="connsiteX13" fmla="*/ 39243 w 161925"/>
                <a:gd name="connsiteY13" fmla="*/ 61747 h 180975"/>
                <a:gd name="connsiteX14" fmla="*/ 73438 w 161925"/>
                <a:gd name="connsiteY14" fmla="*/ 38125 h 180975"/>
                <a:gd name="connsiteX15" fmla="*/ 73438 w 161925"/>
                <a:gd name="connsiteY15" fmla="*/ 38125 h 180975"/>
                <a:gd name="connsiteX16" fmla="*/ 95917 w 161925"/>
                <a:gd name="connsiteY16" fmla="*/ 70605 h 180975"/>
                <a:gd name="connsiteX17" fmla="*/ 91345 w 161925"/>
                <a:gd name="connsiteY17" fmla="*/ 72987 h 180975"/>
                <a:gd name="connsiteX18" fmla="*/ 90773 w 161925"/>
                <a:gd name="connsiteY18" fmla="*/ 76130 h 180975"/>
                <a:gd name="connsiteX19" fmla="*/ 93917 w 161925"/>
                <a:gd name="connsiteY19" fmla="*/ 76701 h 180975"/>
                <a:gd name="connsiteX20" fmla="*/ 100203 w 161925"/>
                <a:gd name="connsiteY20" fmla="*/ 74130 h 180975"/>
                <a:gd name="connsiteX21" fmla="*/ 123730 w 161925"/>
                <a:gd name="connsiteY21" fmla="*/ 85941 h 180975"/>
                <a:gd name="connsiteX22" fmla="*/ 166783 w 161925"/>
                <a:gd name="connsiteY22" fmla="*/ 187953 h 180975"/>
                <a:gd name="connsiteX23" fmla="*/ 148590 w 161925"/>
                <a:gd name="connsiteY23" fmla="*/ 157188 h 180975"/>
                <a:gd name="connsiteX24" fmla="*/ 135827 w 161925"/>
                <a:gd name="connsiteY24" fmla="*/ 110420 h 180975"/>
                <a:gd name="connsiteX25" fmla="*/ 141542 w 161925"/>
                <a:gd name="connsiteY25" fmla="*/ 89560 h 180975"/>
                <a:gd name="connsiteX26" fmla="*/ 144018 w 161925"/>
                <a:gd name="connsiteY26" fmla="*/ 80321 h 180975"/>
                <a:gd name="connsiteX27" fmla="*/ 146018 w 161925"/>
                <a:gd name="connsiteY27" fmla="*/ 83940 h 180975"/>
                <a:gd name="connsiteX28" fmla="*/ 146875 w 161925"/>
                <a:gd name="connsiteY28" fmla="*/ 85655 h 180975"/>
                <a:gd name="connsiteX29" fmla="*/ 147161 w 161925"/>
                <a:gd name="connsiteY29" fmla="*/ 86417 h 180975"/>
                <a:gd name="connsiteX30" fmla="*/ 147542 w 161925"/>
                <a:gd name="connsiteY30" fmla="*/ 87369 h 180975"/>
                <a:gd name="connsiteX31" fmla="*/ 147828 w 161925"/>
                <a:gd name="connsiteY31" fmla="*/ 88322 h 180975"/>
                <a:gd name="connsiteX32" fmla="*/ 148019 w 161925"/>
                <a:gd name="connsiteY32" fmla="*/ 88989 h 180975"/>
                <a:gd name="connsiteX33" fmla="*/ 148209 w 161925"/>
                <a:gd name="connsiteY33" fmla="*/ 90132 h 180975"/>
                <a:gd name="connsiteX34" fmla="*/ 135827 w 161925"/>
                <a:gd name="connsiteY34" fmla="*/ 11042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1925" h="180975">
                  <a:moveTo>
                    <a:pt x="148590" y="157188"/>
                  </a:moveTo>
                  <a:cubicBezTo>
                    <a:pt x="163354" y="127851"/>
                    <a:pt x="161639" y="99276"/>
                    <a:pt x="155448" y="85464"/>
                  </a:cubicBezTo>
                  <a:cubicBezTo>
                    <a:pt x="161258" y="62414"/>
                    <a:pt x="163068" y="15456"/>
                    <a:pt x="106490" y="2025"/>
                  </a:cubicBezTo>
                  <a:cubicBezTo>
                    <a:pt x="58769" y="-9309"/>
                    <a:pt x="31051" y="29648"/>
                    <a:pt x="25432" y="51460"/>
                  </a:cubicBezTo>
                  <a:cubicBezTo>
                    <a:pt x="16478" y="56604"/>
                    <a:pt x="7525" y="60509"/>
                    <a:pt x="0" y="61461"/>
                  </a:cubicBezTo>
                  <a:cubicBezTo>
                    <a:pt x="0" y="61461"/>
                    <a:pt x="15049" y="69272"/>
                    <a:pt x="36671" y="62509"/>
                  </a:cubicBezTo>
                  <a:cubicBezTo>
                    <a:pt x="35147" y="63176"/>
                    <a:pt x="33814" y="63843"/>
                    <a:pt x="32766" y="64605"/>
                  </a:cubicBezTo>
                  <a:cubicBezTo>
                    <a:pt x="31718" y="65367"/>
                    <a:pt x="31528" y="66700"/>
                    <a:pt x="32194" y="67748"/>
                  </a:cubicBezTo>
                  <a:cubicBezTo>
                    <a:pt x="32861" y="68796"/>
                    <a:pt x="34290" y="68986"/>
                    <a:pt x="35338" y="68319"/>
                  </a:cubicBezTo>
                  <a:cubicBezTo>
                    <a:pt x="35814" y="68034"/>
                    <a:pt x="46768" y="60604"/>
                    <a:pt x="55245" y="70986"/>
                  </a:cubicBezTo>
                  <a:cubicBezTo>
                    <a:pt x="55721" y="71558"/>
                    <a:pt x="56388" y="71844"/>
                    <a:pt x="56959" y="71844"/>
                  </a:cubicBezTo>
                  <a:cubicBezTo>
                    <a:pt x="57436" y="71844"/>
                    <a:pt x="58007" y="71653"/>
                    <a:pt x="58388" y="71367"/>
                  </a:cubicBezTo>
                  <a:cubicBezTo>
                    <a:pt x="59341" y="70605"/>
                    <a:pt x="59531" y="69177"/>
                    <a:pt x="58674" y="68224"/>
                  </a:cubicBezTo>
                  <a:cubicBezTo>
                    <a:pt x="52578" y="60795"/>
                    <a:pt x="45053" y="60223"/>
                    <a:pt x="39243" y="61747"/>
                  </a:cubicBezTo>
                  <a:cubicBezTo>
                    <a:pt x="49530" y="58032"/>
                    <a:pt x="61246" y="50889"/>
                    <a:pt x="73438" y="38125"/>
                  </a:cubicBezTo>
                  <a:lnTo>
                    <a:pt x="73438" y="38125"/>
                  </a:lnTo>
                  <a:cubicBezTo>
                    <a:pt x="73438" y="38125"/>
                    <a:pt x="78486" y="55746"/>
                    <a:pt x="95917" y="70605"/>
                  </a:cubicBezTo>
                  <a:cubicBezTo>
                    <a:pt x="94107" y="71272"/>
                    <a:pt x="92583" y="72129"/>
                    <a:pt x="91345" y="72987"/>
                  </a:cubicBezTo>
                  <a:cubicBezTo>
                    <a:pt x="90297" y="73749"/>
                    <a:pt x="90106" y="75082"/>
                    <a:pt x="90773" y="76130"/>
                  </a:cubicBezTo>
                  <a:cubicBezTo>
                    <a:pt x="91440" y="77178"/>
                    <a:pt x="92869" y="77368"/>
                    <a:pt x="93917" y="76701"/>
                  </a:cubicBezTo>
                  <a:cubicBezTo>
                    <a:pt x="94107" y="76511"/>
                    <a:pt x="96679" y="74796"/>
                    <a:pt x="100203" y="74130"/>
                  </a:cubicBezTo>
                  <a:cubicBezTo>
                    <a:pt x="106585" y="78797"/>
                    <a:pt x="114300" y="82988"/>
                    <a:pt x="123730" y="85941"/>
                  </a:cubicBezTo>
                  <a:cubicBezTo>
                    <a:pt x="110871" y="110039"/>
                    <a:pt x="84201" y="175857"/>
                    <a:pt x="166783" y="187953"/>
                  </a:cubicBezTo>
                  <a:cubicBezTo>
                    <a:pt x="159544" y="178333"/>
                    <a:pt x="153448" y="167856"/>
                    <a:pt x="148590" y="157188"/>
                  </a:cubicBezTo>
                  <a:moveTo>
                    <a:pt x="135827" y="110420"/>
                  </a:moveTo>
                  <a:lnTo>
                    <a:pt x="141542" y="89560"/>
                  </a:lnTo>
                  <a:lnTo>
                    <a:pt x="144018" y="80321"/>
                  </a:lnTo>
                  <a:lnTo>
                    <a:pt x="146018" y="83940"/>
                  </a:lnTo>
                  <a:cubicBezTo>
                    <a:pt x="146304" y="84512"/>
                    <a:pt x="146590" y="85083"/>
                    <a:pt x="146875" y="85655"/>
                  </a:cubicBezTo>
                  <a:cubicBezTo>
                    <a:pt x="146971" y="85941"/>
                    <a:pt x="147066" y="86131"/>
                    <a:pt x="147161" y="86417"/>
                  </a:cubicBezTo>
                  <a:cubicBezTo>
                    <a:pt x="147256" y="86703"/>
                    <a:pt x="147352" y="87084"/>
                    <a:pt x="147542" y="87369"/>
                  </a:cubicBezTo>
                  <a:cubicBezTo>
                    <a:pt x="147638" y="87655"/>
                    <a:pt x="147733" y="88036"/>
                    <a:pt x="147828" y="88322"/>
                  </a:cubicBezTo>
                  <a:cubicBezTo>
                    <a:pt x="147923" y="88512"/>
                    <a:pt x="147923" y="88703"/>
                    <a:pt x="148019" y="88989"/>
                  </a:cubicBezTo>
                  <a:cubicBezTo>
                    <a:pt x="148114" y="89370"/>
                    <a:pt x="148209" y="89751"/>
                    <a:pt x="148209" y="90132"/>
                  </a:cubicBezTo>
                  <a:cubicBezTo>
                    <a:pt x="149447" y="98704"/>
                    <a:pt x="144590" y="107467"/>
                    <a:pt x="135827" y="110420"/>
                  </a:cubicBezTo>
                </a:path>
              </a:pathLst>
            </a:custGeom>
            <a:solidFill>
              <a:srgbClr val="000000"/>
            </a:solidFill>
            <a:ln w="9525" cap="flat">
              <a:noFill/>
              <a:prstDash val="solid"/>
              <a:miter/>
            </a:ln>
          </p:spPr>
          <p:txBody>
            <a:bodyPr rtlCol="0" anchor="ctr"/>
            <a:lstStyle/>
            <a:p>
              <a:endParaRPr lang="en-IN"/>
            </a:p>
          </p:txBody>
        </p:sp>
        <p:sp>
          <p:nvSpPr>
            <p:cNvPr id="60" name="Freeform: Shape 59">
              <a:extLst>
                <a:ext uri="{FF2B5EF4-FFF2-40B4-BE49-F238E27FC236}">
                  <a16:creationId xmlns:a16="http://schemas.microsoft.com/office/drawing/2014/main" id="{FF98FC27-0A49-4462-828A-389354A7C907}"/>
                </a:ext>
              </a:extLst>
            </p:cNvPr>
            <p:cNvSpPr/>
            <p:nvPr/>
          </p:nvSpPr>
          <p:spPr>
            <a:xfrm>
              <a:off x="1665472" y="3813974"/>
              <a:ext cx="112099" cy="28025"/>
            </a:xfrm>
            <a:custGeom>
              <a:avLst/>
              <a:gdLst>
                <a:gd name="connsiteX0" fmla="*/ 18764 w 38100"/>
                <a:gd name="connsiteY0" fmla="*/ 15430 h 9525"/>
                <a:gd name="connsiteX1" fmla="*/ 22860 w 38100"/>
                <a:gd name="connsiteY1" fmla="*/ 15430 h 9525"/>
                <a:gd name="connsiteX2" fmla="*/ 41624 w 38100"/>
                <a:gd name="connsiteY2" fmla="*/ 0 h 9525"/>
                <a:gd name="connsiteX3" fmla="*/ 0 w 38100"/>
                <a:gd name="connsiteY3" fmla="*/ 0 h 9525"/>
                <a:gd name="connsiteX4" fmla="*/ 18764 w 38100"/>
                <a:gd name="connsiteY4" fmla="*/ 1543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9525">
                  <a:moveTo>
                    <a:pt x="18764" y="15430"/>
                  </a:moveTo>
                  <a:cubicBezTo>
                    <a:pt x="20003" y="16383"/>
                    <a:pt x="21717" y="16383"/>
                    <a:pt x="22860" y="15430"/>
                  </a:cubicBezTo>
                  <a:lnTo>
                    <a:pt x="41624" y="0"/>
                  </a:lnTo>
                  <a:lnTo>
                    <a:pt x="0" y="0"/>
                  </a:lnTo>
                  <a:lnTo>
                    <a:pt x="18764" y="15430"/>
                  </a:lnTo>
                  <a:close/>
                </a:path>
              </a:pathLst>
            </a:custGeom>
            <a:solidFill>
              <a:srgbClr val="FFFFFF"/>
            </a:solidFill>
            <a:ln w="9525" cap="flat">
              <a:noFill/>
              <a:prstDash val="solid"/>
              <a:miter/>
            </a:ln>
          </p:spPr>
          <p:txBody>
            <a:bodyPr rtlCol="0" anchor="ctr"/>
            <a:lstStyle/>
            <a:p>
              <a:endParaRPr lang="en-IN"/>
            </a:p>
          </p:txBody>
        </p:sp>
        <p:sp>
          <p:nvSpPr>
            <p:cNvPr id="61" name="Freeform: Shape 60">
              <a:extLst>
                <a:ext uri="{FF2B5EF4-FFF2-40B4-BE49-F238E27FC236}">
                  <a16:creationId xmlns:a16="http://schemas.microsoft.com/office/drawing/2014/main" id="{7F8091B3-70F7-4889-A94E-7A3B01E10B6A}"/>
                </a:ext>
              </a:extLst>
            </p:cNvPr>
            <p:cNvSpPr/>
            <p:nvPr/>
          </p:nvSpPr>
          <p:spPr>
            <a:xfrm>
              <a:off x="1738898" y="3817619"/>
              <a:ext cx="28025" cy="56049"/>
            </a:xfrm>
            <a:custGeom>
              <a:avLst/>
              <a:gdLst>
                <a:gd name="connsiteX0" fmla="*/ 18097 w 9525"/>
                <a:gd name="connsiteY0" fmla="*/ 26003 h 19050"/>
                <a:gd name="connsiteX1" fmla="*/ 18097 w 9525"/>
                <a:gd name="connsiteY1" fmla="*/ 0 h 19050"/>
                <a:gd name="connsiteX2" fmla="*/ 0 w 9525"/>
                <a:gd name="connsiteY2" fmla="*/ 14859 h 19050"/>
              </a:gdLst>
              <a:ahLst/>
              <a:cxnLst>
                <a:cxn ang="0">
                  <a:pos x="connsiteX0" y="connsiteY0"/>
                </a:cxn>
                <a:cxn ang="0">
                  <a:pos x="connsiteX1" y="connsiteY1"/>
                </a:cxn>
                <a:cxn ang="0">
                  <a:pos x="connsiteX2" y="connsiteY2"/>
                </a:cxn>
              </a:cxnLst>
              <a:rect l="l" t="t" r="r" b="b"/>
              <a:pathLst>
                <a:path w="9525" h="19050">
                  <a:moveTo>
                    <a:pt x="18097" y="26003"/>
                  </a:moveTo>
                  <a:lnTo>
                    <a:pt x="18097" y="0"/>
                  </a:lnTo>
                  <a:lnTo>
                    <a:pt x="0" y="14859"/>
                  </a:lnTo>
                  <a:close/>
                </a:path>
              </a:pathLst>
            </a:custGeom>
            <a:solidFill>
              <a:srgbClr val="FFFFFF"/>
            </a:solidFill>
            <a:ln w="9525" cap="flat">
              <a:noFill/>
              <a:prstDash val="solid"/>
              <a:miter/>
            </a:ln>
          </p:spPr>
          <p:txBody>
            <a:bodyPr rtlCol="0" anchor="ctr"/>
            <a:lstStyle/>
            <a:p>
              <a:endParaRPr lang="en-IN"/>
            </a:p>
          </p:txBody>
        </p:sp>
        <p:sp>
          <p:nvSpPr>
            <p:cNvPr id="62" name="Freeform: Shape 61">
              <a:extLst>
                <a:ext uri="{FF2B5EF4-FFF2-40B4-BE49-F238E27FC236}">
                  <a16:creationId xmlns:a16="http://schemas.microsoft.com/office/drawing/2014/main" id="{6B5BCADC-4202-431B-9D49-ACF6C6C08DC4}"/>
                </a:ext>
              </a:extLst>
            </p:cNvPr>
            <p:cNvSpPr/>
            <p:nvPr/>
          </p:nvSpPr>
          <p:spPr>
            <a:xfrm>
              <a:off x="1661268" y="3817619"/>
              <a:ext cx="28025" cy="56049"/>
            </a:xfrm>
            <a:custGeom>
              <a:avLst/>
              <a:gdLst>
                <a:gd name="connsiteX0" fmla="*/ 18097 w 9525"/>
                <a:gd name="connsiteY0" fmla="*/ 14859 h 19050"/>
                <a:gd name="connsiteX1" fmla="*/ 0 w 9525"/>
                <a:gd name="connsiteY1" fmla="*/ 0 h 19050"/>
                <a:gd name="connsiteX2" fmla="*/ 0 w 9525"/>
                <a:gd name="connsiteY2" fmla="*/ 26003 h 19050"/>
              </a:gdLst>
              <a:ahLst/>
              <a:cxnLst>
                <a:cxn ang="0">
                  <a:pos x="connsiteX0" y="connsiteY0"/>
                </a:cxn>
                <a:cxn ang="0">
                  <a:pos x="connsiteX1" y="connsiteY1"/>
                </a:cxn>
                <a:cxn ang="0">
                  <a:pos x="connsiteX2" y="connsiteY2"/>
                </a:cxn>
              </a:cxnLst>
              <a:rect l="l" t="t" r="r" b="b"/>
              <a:pathLst>
                <a:path w="9525" h="19050">
                  <a:moveTo>
                    <a:pt x="18097" y="14859"/>
                  </a:moveTo>
                  <a:lnTo>
                    <a:pt x="0" y="0"/>
                  </a:lnTo>
                  <a:lnTo>
                    <a:pt x="0" y="26003"/>
                  </a:lnTo>
                  <a:close/>
                </a:path>
              </a:pathLst>
            </a:custGeom>
            <a:solidFill>
              <a:srgbClr val="FFFFFF"/>
            </a:solidFill>
            <a:ln w="9525" cap="flat">
              <a:noFill/>
              <a:prstDash val="solid"/>
              <a:miter/>
            </a:ln>
          </p:spPr>
          <p:txBody>
            <a:bodyPr rtlCol="0" anchor="ctr"/>
            <a:lstStyle/>
            <a:p>
              <a:endParaRPr lang="en-IN"/>
            </a:p>
          </p:txBody>
        </p:sp>
        <p:sp>
          <p:nvSpPr>
            <p:cNvPr id="63" name="Freeform: Shape 62">
              <a:extLst>
                <a:ext uri="{FF2B5EF4-FFF2-40B4-BE49-F238E27FC236}">
                  <a16:creationId xmlns:a16="http://schemas.microsoft.com/office/drawing/2014/main" id="{11E2BC3B-72BD-4E9B-AB80-5499ED9D9EC2}"/>
                </a:ext>
              </a:extLst>
            </p:cNvPr>
            <p:cNvSpPr/>
            <p:nvPr/>
          </p:nvSpPr>
          <p:spPr>
            <a:xfrm>
              <a:off x="1666314" y="3864700"/>
              <a:ext cx="112099" cy="28025"/>
            </a:xfrm>
            <a:custGeom>
              <a:avLst/>
              <a:gdLst>
                <a:gd name="connsiteX0" fmla="*/ 23241 w 38100"/>
                <a:gd name="connsiteY0" fmla="*/ 0 h 9525"/>
                <a:gd name="connsiteX1" fmla="*/ 20574 w 38100"/>
                <a:gd name="connsiteY1" fmla="*/ 762 h 9525"/>
                <a:gd name="connsiteX2" fmla="*/ 17907 w 38100"/>
                <a:gd name="connsiteY2" fmla="*/ 0 h 9525"/>
                <a:gd name="connsiteX3" fmla="*/ 0 w 38100"/>
                <a:gd name="connsiteY3" fmla="*/ 11049 h 9525"/>
                <a:gd name="connsiteX4" fmla="*/ 41053 w 38100"/>
                <a:gd name="connsiteY4" fmla="*/ 11049 h 9525"/>
                <a:gd name="connsiteX5" fmla="*/ 23241 w 38100"/>
                <a:gd name="connsiteY5"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00" h="9525">
                  <a:moveTo>
                    <a:pt x="23241" y="0"/>
                  </a:moveTo>
                  <a:cubicBezTo>
                    <a:pt x="22384" y="476"/>
                    <a:pt x="21526" y="762"/>
                    <a:pt x="20574" y="762"/>
                  </a:cubicBezTo>
                  <a:cubicBezTo>
                    <a:pt x="19621" y="762"/>
                    <a:pt x="18764" y="476"/>
                    <a:pt x="17907" y="0"/>
                  </a:cubicBezTo>
                  <a:lnTo>
                    <a:pt x="0" y="11049"/>
                  </a:lnTo>
                  <a:lnTo>
                    <a:pt x="41053" y="11049"/>
                  </a:lnTo>
                  <a:lnTo>
                    <a:pt x="23241" y="0"/>
                  </a:lnTo>
                  <a:close/>
                </a:path>
              </a:pathLst>
            </a:custGeom>
            <a:solidFill>
              <a:srgbClr val="FFFFFF"/>
            </a:solidFill>
            <a:ln w="9525" cap="flat">
              <a:noFill/>
              <a:prstDash val="solid"/>
              <a:miter/>
            </a:ln>
          </p:spPr>
          <p:txBody>
            <a:bodyPr rtlCol="0" anchor="ctr"/>
            <a:lstStyle/>
            <a:p>
              <a:endParaRPr lang="en-IN"/>
            </a:p>
          </p:txBody>
        </p:sp>
        <p:sp>
          <p:nvSpPr>
            <p:cNvPr id="512" name="Freeform: Shape 511">
              <a:extLst>
                <a:ext uri="{FF2B5EF4-FFF2-40B4-BE49-F238E27FC236}">
                  <a16:creationId xmlns:a16="http://schemas.microsoft.com/office/drawing/2014/main" id="{CF733A49-B605-4B7E-864D-54FD178CFD6C}"/>
                </a:ext>
              </a:extLst>
            </p:cNvPr>
            <p:cNvSpPr/>
            <p:nvPr/>
          </p:nvSpPr>
          <p:spPr>
            <a:xfrm>
              <a:off x="1565984" y="3201635"/>
              <a:ext cx="28025" cy="56049"/>
            </a:xfrm>
            <a:custGeom>
              <a:avLst/>
              <a:gdLst>
                <a:gd name="connsiteX0" fmla="*/ 0 w 9525"/>
                <a:gd name="connsiteY0" fmla="*/ 0 h 19050"/>
                <a:gd name="connsiteX1" fmla="*/ 15907 w 9525"/>
                <a:gd name="connsiteY1" fmla="*/ 0 h 19050"/>
                <a:gd name="connsiteX2" fmla="*/ 15907 w 9525"/>
                <a:gd name="connsiteY2" fmla="*/ 24003 h 19050"/>
                <a:gd name="connsiteX3" fmla="*/ 0 w 9525"/>
                <a:gd name="connsiteY3" fmla="*/ 24003 h 19050"/>
              </a:gdLst>
              <a:ahLst/>
              <a:cxnLst>
                <a:cxn ang="0">
                  <a:pos x="connsiteX0" y="connsiteY0"/>
                </a:cxn>
                <a:cxn ang="0">
                  <a:pos x="connsiteX1" y="connsiteY1"/>
                </a:cxn>
                <a:cxn ang="0">
                  <a:pos x="connsiteX2" y="connsiteY2"/>
                </a:cxn>
                <a:cxn ang="0">
                  <a:pos x="connsiteX3" y="connsiteY3"/>
                </a:cxn>
              </a:cxnLst>
              <a:rect l="l" t="t" r="r" b="b"/>
              <a:pathLst>
                <a:path w="9525" h="19050">
                  <a:moveTo>
                    <a:pt x="0" y="0"/>
                  </a:moveTo>
                  <a:lnTo>
                    <a:pt x="15907" y="0"/>
                  </a:lnTo>
                  <a:lnTo>
                    <a:pt x="15907" y="24003"/>
                  </a:lnTo>
                  <a:lnTo>
                    <a:pt x="0" y="24003"/>
                  </a:lnTo>
                  <a:close/>
                </a:path>
              </a:pathLst>
            </a:custGeom>
            <a:solidFill>
              <a:schemeClr val="accent1">
                <a:lumMod val="20000"/>
                <a:lumOff val="80000"/>
              </a:schemeClr>
            </a:solidFill>
            <a:ln w="9525" cap="flat">
              <a:noFill/>
              <a:prstDash val="solid"/>
              <a:miter/>
            </a:ln>
          </p:spPr>
          <p:txBody>
            <a:bodyPr rtlCol="0" anchor="ctr"/>
            <a:lstStyle/>
            <a:p>
              <a:endParaRPr lang="en-IN"/>
            </a:p>
          </p:txBody>
        </p:sp>
        <p:sp>
          <p:nvSpPr>
            <p:cNvPr id="513" name="Freeform: Shape 512">
              <a:extLst>
                <a:ext uri="{FF2B5EF4-FFF2-40B4-BE49-F238E27FC236}">
                  <a16:creationId xmlns:a16="http://schemas.microsoft.com/office/drawing/2014/main" id="{44C0C946-4092-4DD0-A6B6-D4A85E14A024}"/>
                </a:ext>
              </a:extLst>
            </p:cNvPr>
            <p:cNvSpPr/>
            <p:nvPr/>
          </p:nvSpPr>
          <p:spPr>
            <a:xfrm>
              <a:off x="1636886" y="3122887"/>
              <a:ext cx="28025" cy="140123"/>
            </a:xfrm>
            <a:custGeom>
              <a:avLst/>
              <a:gdLst>
                <a:gd name="connsiteX0" fmla="*/ 0 w 9525"/>
                <a:gd name="connsiteY0" fmla="*/ 0 h 47625"/>
                <a:gd name="connsiteX1" fmla="*/ 15907 w 9525"/>
                <a:gd name="connsiteY1" fmla="*/ 0 h 47625"/>
                <a:gd name="connsiteX2" fmla="*/ 15907 w 9525"/>
                <a:gd name="connsiteY2" fmla="*/ 50768 h 47625"/>
                <a:gd name="connsiteX3" fmla="*/ 0 w 9525"/>
                <a:gd name="connsiteY3" fmla="*/ 50768 h 47625"/>
              </a:gdLst>
              <a:ahLst/>
              <a:cxnLst>
                <a:cxn ang="0">
                  <a:pos x="connsiteX0" y="connsiteY0"/>
                </a:cxn>
                <a:cxn ang="0">
                  <a:pos x="connsiteX1" y="connsiteY1"/>
                </a:cxn>
                <a:cxn ang="0">
                  <a:pos x="connsiteX2" y="connsiteY2"/>
                </a:cxn>
                <a:cxn ang="0">
                  <a:pos x="connsiteX3" y="connsiteY3"/>
                </a:cxn>
              </a:cxnLst>
              <a:rect l="l" t="t" r="r" b="b"/>
              <a:pathLst>
                <a:path w="9525" h="47625">
                  <a:moveTo>
                    <a:pt x="0" y="0"/>
                  </a:moveTo>
                  <a:lnTo>
                    <a:pt x="15907" y="0"/>
                  </a:lnTo>
                  <a:lnTo>
                    <a:pt x="15907" y="50768"/>
                  </a:lnTo>
                  <a:lnTo>
                    <a:pt x="0" y="50768"/>
                  </a:lnTo>
                  <a:close/>
                </a:path>
              </a:pathLst>
            </a:custGeom>
            <a:solidFill>
              <a:srgbClr val="FDA84C"/>
            </a:solidFill>
            <a:ln w="9525" cap="flat">
              <a:noFill/>
              <a:prstDash val="solid"/>
              <a:miter/>
            </a:ln>
          </p:spPr>
          <p:txBody>
            <a:bodyPr rtlCol="0" anchor="ctr"/>
            <a:lstStyle/>
            <a:p>
              <a:endParaRPr lang="en-IN"/>
            </a:p>
          </p:txBody>
        </p:sp>
        <p:sp>
          <p:nvSpPr>
            <p:cNvPr id="514" name="Freeform: Shape 513">
              <a:extLst>
                <a:ext uri="{FF2B5EF4-FFF2-40B4-BE49-F238E27FC236}">
                  <a16:creationId xmlns:a16="http://schemas.microsoft.com/office/drawing/2014/main" id="{9FFFCF34-6938-48B3-8306-C466CDC42FDF}"/>
                </a:ext>
              </a:extLst>
            </p:cNvPr>
            <p:cNvSpPr/>
            <p:nvPr/>
          </p:nvSpPr>
          <p:spPr>
            <a:xfrm>
              <a:off x="1707790" y="3058149"/>
              <a:ext cx="28025" cy="196173"/>
            </a:xfrm>
            <a:custGeom>
              <a:avLst/>
              <a:gdLst>
                <a:gd name="connsiteX0" fmla="*/ 0 w 9525"/>
                <a:gd name="connsiteY0" fmla="*/ 0 h 66675"/>
                <a:gd name="connsiteX1" fmla="*/ 15907 w 9525"/>
                <a:gd name="connsiteY1" fmla="*/ 0 h 66675"/>
                <a:gd name="connsiteX2" fmla="*/ 15907 w 9525"/>
                <a:gd name="connsiteY2" fmla="*/ 72771 h 66675"/>
                <a:gd name="connsiteX3" fmla="*/ 0 w 9525"/>
                <a:gd name="connsiteY3" fmla="*/ 72771 h 66675"/>
              </a:gdLst>
              <a:ahLst/>
              <a:cxnLst>
                <a:cxn ang="0">
                  <a:pos x="connsiteX0" y="connsiteY0"/>
                </a:cxn>
                <a:cxn ang="0">
                  <a:pos x="connsiteX1" y="connsiteY1"/>
                </a:cxn>
                <a:cxn ang="0">
                  <a:pos x="connsiteX2" y="connsiteY2"/>
                </a:cxn>
                <a:cxn ang="0">
                  <a:pos x="connsiteX3" y="connsiteY3"/>
                </a:cxn>
              </a:cxnLst>
              <a:rect l="l" t="t" r="r" b="b"/>
              <a:pathLst>
                <a:path w="9525" h="66675">
                  <a:moveTo>
                    <a:pt x="0" y="0"/>
                  </a:moveTo>
                  <a:lnTo>
                    <a:pt x="15907" y="0"/>
                  </a:lnTo>
                  <a:lnTo>
                    <a:pt x="15907" y="72771"/>
                  </a:lnTo>
                  <a:lnTo>
                    <a:pt x="0" y="72771"/>
                  </a:lnTo>
                  <a:close/>
                </a:path>
              </a:pathLst>
            </a:custGeom>
            <a:solidFill>
              <a:srgbClr val="FFFFFF"/>
            </a:solidFill>
            <a:ln w="9525" cap="flat">
              <a:noFill/>
              <a:prstDash val="solid"/>
              <a:miter/>
            </a:ln>
          </p:spPr>
          <p:txBody>
            <a:bodyPr rtlCol="0" anchor="ctr"/>
            <a:lstStyle/>
            <a:p>
              <a:endParaRPr lang="en-IN"/>
            </a:p>
          </p:txBody>
        </p:sp>
        <p:sp>
          <p:nvSpPr>
            <p:cNvPr id="515" name="Freeform: Shape 514">
              <a:extLst>
                <a:ext uri="{FF2B5EF4-FFF2-40B4-BE49-F238E27FC236}">
                  <a16:creationId xmlns:a16="http://schemas.microsoft.com/office/drawing/2014/main" id="{523A2643-DD9A-4661-949B-3B0ED9F02222}"/>
                </a:ext>
              </a:extLst>
            </p:cNvPr>
            <p:cNvSpPr/>
            <p:nvPr/>
          </p:nvSpPr>
          <p:spPr>
            <a:xfrm>
              <a:off x="2324333" y="4172130"/>
              <a:ext cx="84074" cy="84074"/>
            </a:xfrm>
            <a:custGeom>
              <a:avLst/>
              <a:gdLst>
                <a:gd name="connsiteX0" fmla="*/ 29337 w 28575"/>
                <a:gd name="connsiteY0" fmla="*/ 14288 h 28575"/>
                <a:gd name="connsiteX1" fmla="*/ 23146 w 28575"/>
                <a:gd name="connsiteY1" fmla="*/ 14288 h 28575"/>
                <a:gd name="connsiteX2" fmla="*/ 23146 w 28575"/>
                <a:gd name="connsiteY2" fmla="*/ 8477 h 28575"/>
                <a:gd name="connsiteX3" fmla="*/ 14669 w 28575"/>
                <a:gd name="connsiteY3" fmla="*/ 0 h 28575"/>
                <a:gd name="connsiteX4" fmla="*/ 14669 w 28575"/>
                <a:gd name="connsiteY4" fmla="*/ 0 h 28575"/>
                <a:gd name="connsiteX5" fmla="*/ 6191 w 28575"/>
                <a:gd name="connsiteY5" fmla="*/ 8477 h 28575"/>
                <a:gd name="connsiteX6" fmla="*/ 6191 w 28575"/>
                <a:gd name="connsiteY6" fmla="*/ 14288 h 28575"/>
                <a:gd name="connsiteX7" fmla="*/ 0 w 28575"/>
                <a:gd name="connsiteY7" fmla="*/ 14288 h 28575"/>
                <a:gd name="connsiteX8" fmla="*/ 0 w 28575"/>
                <a:gd name="connsiteY8" fmla="*/ 32957 h 28575"/>
                <a:gd name="connsiteX9" fmla="*/ 29432 w 28575"/>
                <a:gd name="connsiteY9" fmla="*/ 32957 h 28575"/>
                <a:gd name="connsiteX10" fmla="*/ 29337 w 28575"/>
                <a:gd name="connsiteY10" fmla="*/ 14288 h 28575"/>
                <a:gd name="connsiteX11" fmla="*/ 9335 w 28575"/>
                <a:gd name="connsiteY11" fmla="*/ 8477 h 28575"/>
                <a:gd name="connsiteX12" fmla="*/ 14573 w 28575"/>
                <a:gd name="connsiteY12" fmla="*/ 3239 h 28575"/>
                <a:gd name="connsiteX13" fmla="*/ 14573 w 28575"/>
                <a:gd name="connsiteY13" fmla="*/ 3239 h 28575"/>
                <a:gd name="connsiteX14" fmla="*/ 19812 w 28575"/>
                <a:gd name="connsiteY14" fmla="*/ 8477 h 28575"/>
                <a:gd name="connsiteX15" fmla="*/ 19812 w 28575"/>
                <a:gd name="connsiteY15" fmla="*/ 14288 h 28575"/>
                <a:gd name="connsiteX16" fmla="*/ 9335 w 28575"/>
                <a:gd name="connsiteY16" fmla="*/ 14288 h 28575"/>
                <a:gd name="connsiteX17" fmla="*/ 9335 w 28575"/>
                <a:gd name="connsiteY17" fmla="*/ 847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575" h="28575">
                  <a:moveTo>
                    <a:pt x="29337" y="14288"/>
                  </a:moveTo>
                  <a:lnTo>
                    <a:pt x="23146" y="14288"/>
                  </a:lnTo>
                  <a:lnTo>
                    <a:pt x="23146" y="8477"/>
                  </a:lnTo>
                  <a:cubicBezTo>
                    <a:pt x="23146" y="3810"/>
                    <a:pt x="19336" y="0"/>
                    <a:pt x="14669" y="0"/>
                  </a:cubicBezTo>
                  <a:lnTo>
                    <a:pt x="14669" y="0"/>
                  </a:lnTo>
                  <a:cubicBezTo>
                    <a:pt x="10001" y="0"/>
                    <a:pt x="6191" y="3810"/>
                    <a:pt x="6191" y="8477"/>
                  </a:cubicBezTo>
                  <a:lnTo>
                    <a:pt x="6191" y="14288"/>
                  </a:lnTo>
                  <a:lnTo>
                    <a:pt x="0" y="14288"/>
                  </a:lnTo>
                  <a:lnTo>
                    <a:pt x="0" y="32957"/>
                  </a:lnTo>
                  <a:lnTo>
                    <a:pt x="29432" y="32957"/>
                  </a:lnTo>
                  <a:lnTo>
                    <a:pt x="29337" y="14288"/>
                  </a:lnTo>
                  <a:close/>
                  <a:moveTo>
                    <a:pt x="9335" y="8477"/>
                  </a:moveTo>
                  <a:cubicBezTo>
                    <a:pt x="9335" y="5620"/>
                    <a:pt x="11716" y="3239"/>
                    <a:pt x="14573" y="3239"/>
                  </a:cubicBezTo>
                  <a:lnTo>
                    <a:pt x="14573" y="3239"/>
                  </a:lnTo>
                  <a:cubicBezTo>
                    <a:pt x="17431" y="3239"/>
                    <a:pt x="19812" y="5620"/>
                    <a:pt x="19812" y="8477"/>
                  </a:cubicBezTo>
                  <a:lnTo>
                    <a:pt x="19812" y="14288"/>
                  </a:lnTo>
                  <a:lnTo>
                    <a:pt x="9335" y="14288"/>
                  </a:lnTo>
                  <a:lnTo>
                    <a:pt x="9335" y="8477"/>
                  </a:lnTo>
                  <a:close/>
                </a:path>
              </a:pathLst>
            </a:custGeom>
            <a:solidFill>
              <a:srgbClr val="FFFFFF"/>
            </a:solidFill>
            <a:ln w="9525" cap="flat">
              <a:noFill/>
              <a:prstDash val="solid"/>
              <a:miter/>
            </a:ln>
          </p:spPr>
          <p:txBody>
            <a:bodyPr rtlCol="0" anchor="ctr"/>
            <a:lstStyle/>
            <a:p>
              <a:endParaRPr lang="en-IN"/>
            </a:p>
          </p:txBody>
        </p:sp>
      </p:grpSp>
      <p:sp>
        <p:nvSpPr>
          <p:cNvPr id="316" name="TextBox 315">
            <a:extLst>
              <a:ext uri="{FF2B5EF4-FFF2-40B4-BE49-F238E27FC236}">
                <a16:creationId xmlns:a16="http://schemas.microsoft.com/office/drawing/2014/main" id="{72A0A14A-31A9-42BB-A942-0C4CC5DA931D}"/>
              </a:ext>
            </a:extLst>
          </p:cNvPr>
          <p:cNvSpPr txBox="1"/>
          <p:nvPr/>
        </p:nvSpPr>
        <p:spPr>
          <a:xfrm>
            <a:off x="586501" y="4687166"/>
            <a:ext cx="3474720" cy="1466208"/>
          </a:xfrm>
          <a:prstGeom prst="rect">
            <a:avLst/>
          </a:prstGeom>
          <a:solidFill>
            <a:schemeClr val="bg1">
              <a:lumMod val="95000"/>
            </a:schemeClr>
          </a:solidFill>
          <a:ln w="6350">
            <a:solidFill>
              <a:schemeClr val="bg1">
                <a:lumMod val="95000"/>
              </a:schemeClr>
            </a:solidFill>
          </a:ln>
        </p:spPr>
        <p:txBody>
          <a:bodyPr wrap="square" lIns="91440" tIns="91440" rIns="91440" bIns="45720" rtlCol="0" anchor="t">
            <a:noAutofit/>
          </a:bodyPr>
          <a:lstStyle/>
          <a:p>
            <a:pPr marL="171450" indent="-171450">
              <a:spcBef>
                <a:spcPts val="500"/>
              </a:spcBef>
              <a:buFont typeface="Arial" panose="020B0604020202020204" pitchFamily="34" charset="0"/>
              <a:buChar char="•"/>
            </a:pPr>
            <a:r>
              <a:rPr lang="en-US" sz="1300"/>
              <a:t>One service supports </a:t>
            </a:r>
            <a:r>
              <a:rPr lang="en-US" sz="1300" u="sng"/>
              <a:t>both</a:t>
            </a:r>
            <a:r>
              <a:rPr lang="en-US" sz="1300"/>
              <a:t> Desktop &amp; RemoteApp experience</a:t>
            </a:r>
          </a:p>
          <a:p>
            <a:pPr marL="171450" indent="-171450">
              <a:spcBef>
                <a:spcPts val="500"/>
              </a:spcBef>
              <a:buFont typeface="Arial" panose="020B0604020202020204" pitchFamily="34" charset="0"/>
              <a:buChar char="•"/>
            </a:pPr>
            <a:r>
              <a:rPr lang="en-US" sz="1300"/>
              <a:t>Flexible user experience through a </a:t>
            </a:r>
            <a:r>
              <a:rPr lang="en-US" sz="1300" u="sng"/>
              <a:t>single host pool,</a:t>
            </a:r>
            <a:r>
              <a:rPr lang="en-US" sz="1300"/>
              <a:t> with multiple app groups</a:t>
            </a:r>
          </a:p>
          <a:p>
            <a:pPr marL="171450" indent="-171450">
              <a:spcBef>
                <a:spcPts val="500"/>
              </a:spcBef>
              <a:buFont typeface="Arial" panose="020B0604020202020204" pitchFamily="34" charset="0"/>
              <a:buChar char="•"/>
            </a:pPr>
            <a:r>
              <a:rPr lang="en-US" sz="1300"/>
              <a:t>Familiar Azure AD credentials, to access WVD resources</a:t>
            </a:r>
          </a:p>
        </p:txBody>
      </p:sp>
      <p:sp>
        <p:nvSpPr>
          <p:cNvPr id="628" name="TextBox 627">
            <a:extLst>
              <a:ext uri="{FF2B5EF4-FFF2-40B4-BE49-F238E27FC236}">
                <a16:creationId xmlns:a16="http://schemas.microsoft.com/office/drawing/2014/main" id="{F47D09FE-DA34-4A52-B3DE-3E72AE25E49E}"/>
              </a:ext>
            </a:extLst>
          </p:cNvPr>
          <p:cNvSpPr txBox="1"/>
          <p:nvPr/>
        </p:nvSpPr>
        <p:spPr>
          <a:xfrm>
            <a:off x="4357763" y="4687166"/>
            <a:ext cx="3474720" cy="1466208"/>
          </a:xfrm>
          <a:prstGeom prst="rect">
            <a:avLst/>
          </a:prstGeom>
          <a:solidFill>
            <a:schemeClr val="bg1">
              <a:lumMod val="95000"/>
            </a:schemeClr>
          </a:solidFill>
          <a:ln w="6350">
            <a:solidFill>
              <a:schemeClr val="bg1">
                <a:lumMod val="95000"/>
              </a:schemeClr>
            </a:solidFill>
          </a:ln>
        </p:spPr>
        <p:txBody>
          <a:bodyPr wrap="square" lIns="91440" tIns="91440" rIns="91440" bIns="45720" rtlCol="0" anchor="t">
            <a:noAutofit/>
          </a:bodyPr>
          <a:lstStyle/>
          <a:p>
            <a:pPr marL="171450" indent="-171450">
              <a:spcBef>
                <a:spcPts val="500"/>
              </a:spcBef>
              <a:buFont typeface="Arial" panose="020B0604020202020204" pitchFamily="34" charset="0"/>
              <a:buChar char="•"/>
            </a:pPr>
            <a:r>
              <a:rPr lang="en-US" sz="1300"/>
              <a:t>Multiple tools for automated VM deployment </a:t>
            </a:r>
          </a:p>
          <a:p>
            <a:pPr marL="171450" indent="-171450">
              <a:spcBef>
                <a:spcPts val="500"/>
              </a:spcBef>
              <a:buFont typeface="Arial" panose="020B0604020202020204" pitchFamily="34" charset="0"/>
              <a:buChar char="•"/>
            </a:pPr>
            <a:r>
              <a:rPr lang="en-US" sz="1300"/>
              <a:t>Enhanced OS/App update tools</a:t>
            </a:r>
          </a:p>
          <a:p>
            <a:pPr marL="171450" indent="-171450">
              <a:spcBef>
                <a:spcPts val="500"/>
              </a:spcBef>
              <a:buFont typeface="Arial" panose="020B0604020202020204" pitchFamily="34" charset="0"/>
              <a:buChar char="•"/>
            </a:pPr>
            <a:r>
              <a:rPr lang="en-US" sz="1300"/>
              <a:t>Disaster Recovery with integrated Azure Site Recovery</a:t>
            </a:r>
          </a:p>
        </p:txBody>
      </p:sp>
      <p:sp>
        <p:nvSpPr>
          <p:cNvPr id="768" name="TextBox 767">
            <a:extLst>
              <a:ext uri="{FF2B5EF4-FFF2-40B4-BE49-F238E27FC236}">
                <a16:creationId xmlns:a16="http://schemas.microsoft.com/office/drawing/2014/main" id="{12E68555-92B5-492B-A572-19CA79AB4902}"/>
              </a:ext>
            </a:extLst>
          </p:cNvPr>
          <p:cNvSpPr txBox="1"/>
          <p:nvPr/>
        </p:nvSpPr>
        <p:spPr>
          <a:xfrm>
            <a:off x="8129024" y="4687166"/>
            <a:ext cx="3474720" cy="1466208"/>
          </a:xfrm>
          <a:prstGeom prst="rect">
            <a:avLst/>
          </a:prstGeom>
          <a:solidFill>
            <a:schemeClr val="bg1">
              <a:lumMod val="95000"/>
            </a:schemeClr>
          </a:solidFill>
          <a:ln w="6350">
            <a:solidFill>
              <a:schemeClr val="bg1">
                <a:lumMod val="95000"/>
              </a:schemeClr>
            </a:solidFill>
          </a:ln>
        </p:spPr>
        <p:txBody>
          <a:bodyPr wrap="square" lIns="91440" tIns="91440" rIns="91440" bIns="45720" rtlCol="0" anchor="t">
            <a:noAutofit/>
          </a:bodyPr>
          <a:lstStyle/>
          <a:p>
            <a:pPr marL="171450" indent="-171450">
              <a:spcBef>
                <a:spcPts val="500"/>
              </a:spcBef>
              <a:buFont typeface="Arial" panose="020B0604020202020204" pitchFamily="34" charset="0"/>
              <a:buChar char="•"/>
            </a:pPr>
            <a:r>
              <a:rPr lang="en-US" sz="1300"/>
              <a:t>Simplified and effective troubleshooting using a</a:t>
            </a:r>
            <a:r>
              <a:rPr lang="en-US" altLang="zh-CN" sz="1300"/>
              <a:t>dvanced d</a:t>
            </a:r>
            <a:r>
              <a:rPr lang="en-US" sz="1300"/>
              <a:t>iagnostic service</a:t>
            </a:r>
          </a:p>
          <a:p>
            <a:pPr marL="171450" indent="-171450">
              <a:spcBef>
                <a:spcPts val="500"/>
              </a:spcBef>
              <a:buFont typeface="Arial" panose="020B0604020202020204" pitchFamily="34" charset="0"/>
              <a:buChar char="•"/>
            </a:pPr>
            <a:r>
              <a:rPr lang="en-US" sz="1300"/>
              <a:t>3rd party value-added services enabled </a:t>
            </a:r>
            <a:br>
              <a:rPr lang="en-US" sz="1300"/>
            </a:br>
            <a:r>
              <a:rPr lang="en-US" sz="1300"/>
              <a:t>by APIs</a:t>
            </a:r>
          </a:p>
        </p:txBody>
      </p:sp>
      <p:grpSp>
        <p:nvGrpSpPr>
          <p:cNvPr id="203" name="Group 202">
            <a:extLst>
              <a:ext uri="{FF2B5EF4-FFF2-40B4-BE49-F238E27FC236}">
                <a16:creationId xmlns:a16="http://schemas.microsoft.com/office/drawing/2014/main" id="{D0813B9B-4588-4227-AD44-52470C0BFDF8}"/>
              </a:ext>
            </a:extLst>
          </p:cNvPr>
          <p:cNvGrpSpPr/>
          <p:nvPr/>
        </p:nvGrpSpPr>
        <p:grpSpPr>
          <a:xfrm>
            <a:off x="10052458" y="146014"/>
            <a:ext cx="2033626" cy="1015650"/>
            <a:chOff x="10052458" y="146014"/>
            <a:chExt cx="2033626" cy="1015650"/>
          </a:xfrm>
        </p:grpSpPr>
        <p:pic>
          <p:nvPicPr>
            <p:cNvPr id="204" name="Picture 203">
              <a:extLst>
                <a:ext uri="{FF2B5EF4-FFF2-40B4-BE49-F238E27FC236}">
                  <a16:creationId xmlns:a16="http://schemas.microsoft.com/office/drawing/2014/main" id="{611CF17D-5495-45A4-A407-A45C32888C91}"/>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208" name="Rectangle 207">
              <a:extLst>
                <a:ext uri="{FF2B5EF4-FFF2-40B4-BE49-F238E27FC236}">
                  <a16:creationId xmlns:a16="http://schemas.microsoft.com/office/drawing/2014/main" id="{34764FF3-DF09-46E3-899E-192EC086264E}"/>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a:solidFill>
                    <a:srgbClr val="000000"/>
                  </a:solidFill>
                  <a:latin typeface="Segoe UI Semibold"/>
                  <a:cs typeface="Segoe UI" pitchFamily="34" charset="0"/>
                </a:rPr>
                <a:t>Simplified Management</a:t>
              </a:r>
            </a:p>
          </p:txBody>
        </p:sp>
      </p:grpSp>
    </p:spTree>
    <p:extLst>
      <p:ext uri="{BB962C8B-B14F-4D97-AF65-F5344CB8AC3E}">
        <p14:creationId xmlns:p14="http://schemas.microsoft.com/office/powerpoint/2010/main" val="3042835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3" name="Rectangle 662">
            <a:extLst>
              <a:ext uri="{FF2B5EF4-FFF2-40B4-BE49-F238E27FC236}">
                <a16:creationId xmlns:a16="http://schemas.microsoft.com/office/drawing/2014/main" id="{F8E24E18-0250-4469-A2D4-A48E5CFADFDC}"/>
              </a:ext>
            </a:extLst>
          </p:cNvPr>
          <p:cNvSpPr/>
          <p:nvPr/>
        </p:nvSpPr>
        <p:spPr bwMode="auto">
          <a:xfrm>
            <a:off x="686321" y="4328742"/>
            <a:ext cx="4906759" cy="12514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62" name="Rectangle 661">
            <a:extLst>
              <a:ext uri="{FF2B5EF4-FFF2-40B4-BE49-F238E27FC236}">
                <a16:creationId xmlns:a16="http://schemas.microsoft.com/office/drawing/2014/main" id="{B0BA604C-1B84-43A3-91F3-49F3E31C65B7}"/>
              </a:ext>
            </a:extLst>
          </p:cNvPr>
          <p:cNvSpPr/>
          <p:nvPr/>
        </p:nvSpPr>
        <p:spPr bwMode="auto">
          <a:xfrm>
            <a:off x="4403640" y="2537429"/>
            <a:ext cx="1205170" cy="10941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226" name="Rectangle 7225">
            <a:extLst>
              <a:ext uri="{FF2B5EF4-FFF2-40B4-BE49-F238E27FC236}">
                <a16:creationId xmlns:a16="http://schemas.microsoft.com/office/drawing/2014/main" id="{3BDAD0AF-0394-4849-ABB2-091AA717DBB7}"/>
              </a:ext>
            </a:extLst>
          </p:cNvPr>
          <p:cNvSpPr/>
          <p:nvPr/>
        </p:nvSpPr>
        <p:spPr bwMode="auto">
          <a:xfrm>
            <a:off x="686321" y="2537429"/>
            <a:ext cx="3649949" cy="10941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8" name="Object 7" hidden="1">
            <a:extLst>
              <a:ext uri="{FF2B5EF4-FFF2-40B4-BE49-F238E27FC236}">
                <a16:creationId xmlns:a16="http://schemas.microsoft.com/office/drawing/2014/main" id="{462AB91D-7088-493E-B9A1-F1FA2C95F7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6" imgW="425" imgH="424" progId="TCLayout.ActiveDocument.1">
                  <p:embed/>
                </p:oleObj>
              </mc:Choice>
              <mc:Fallback>
                <p:oleObj name="think-cell Slide" r:id="rId6" imgW="425" imgH="424" progId="TCLayout.ActiveDocument.1">
                  <p:embed/>
                  <p:pic>
                    <p:nvPicPr>
                      <p:cNvPr id="8" name="Object 7" hidden="1">
                        <a:extLst>
                          <a:ext uri="{FF2B5EF4-FFF2-40B4-BE49-F238E27FC236}">
                            <a16:creationId xmlns:a16="http://schemas.microsoft.com/office/drawing/2014/main" id="{462AB91D-7088-493E-B9A1-F1FA2C95F7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27118D0-378C-4075-A487-9F1ACFC80E2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defRPr/>
            </a:pPr>
            <a:endParaRPr kumimoji="0" lang="en-US" sz="2800" u="none" strike="noStrike" kern="1200" cap="none" spc="0" normalizeH="0" noProof="0" dirty="0">
              <a:ln>
                <a:noFill/>
              </a:ln>
              <a:gradFill>
                <a:gsLst>
                  <a:gs pos="0">
                    <a:srgbClr val="FFFFFF"/>
                  </a:gs>
                  <a:gs pos="100000">
                    <a:srgbClr val="FFFFFF"/>
                  </a:gs>
                </a:gsLst>
                <a:lin ang="5400000" scaled="0"/>
              </a:gradFill>
              <a:effectLst/>
              <a:uLnTx/>
              <a:uFillTx/>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22" name="Rectangle 121">
            <a:extLst>
              <a:ext uri="{FF2B5EF4-FFF2-40B4-BE49-F238E27FC236}">
                <a16:creationId xmlns:a16="http://schemas.microsoft.com/office/drawing/2014/main" id="{E24158E2-FB6B-404E-A46F-FF0A1AF33BD3}"/>
              </a:ext>
            </a:extLst>
          </p:cNvPr>
          <p:cNvSpPr/>
          <p:nvPr/>
        </p:nvSpPr>
        <p:spPr bwMode="auto">
          <a:xfrm>
            <a:off x="8752444" y="1930400"/>
            <a:ext cx="2860817" cy="4339916"/>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lgn="ctr" defTabSz="914411">
              <a:spcBef>
                <a:spcPts val="400"/>
              </a:spcBef>
              <a:spcAft>
                <a:spcPts val="400"/>
              </a:spcAft>
              <a:defRPr/>
            </a:pPr>
            <a:r>
              <a:rPr lang="en-US" sz="1400" dirty="0">
                <a:solidFill>
                  <a:schemeClr val="tx1"/>
                </a:solidFill>
              </a:rPr>
              <a:t>Microsoft Cyber Defense Operations Center </a:t>
            </a:r>
          </a:p>
          <a:p>
            <a:pPr lvl="0" algn="ctr" defTabSz="914411">
              <a:spcBef>
                <a:spcPts val="400"/>
              </a:spcBef>
              <a:spcAft>
                <a:spcPts val="400"/>
              </a:spcAft>
              <a:defRPr/>
            </a:pPr>
            <a:r>
              <a:rPr lang="en-US" sz="1400" b="1" dirty="0">
                <a:solidFill>
                  <a:schemeClr val="accent1"/>
                </a:solidFill>
              </a:rPr>
              <a:t>&gt;3,500 </a:t>
            </a:r>
            <a:r>
              <a:rPr lang="en-US" sz="1400" dirty="0">
                <a:solidFill>
                  <a:schemeClr val="tx1"/>
                </a:solidFill>
              </a:rPr>
              <a:t>full-time security professionals</a:t>
            </a:r>
          </a:p>
          <a:p>
            <a:pPr lvl="0" algn="ctr" defTabSz="914411">
              <a:spcBef>
                <a:spcPts val="400"/>
              </a:spcBef>
              <a:spcAft>
                <a:spcPts val="400"/>
              </a:spcAft>
              <a:defRPr/>
            </a:pPr>
            <a:r>
              <a:rPr lang="en-US" sz="1400" b="1" dirty="0">
                <a:solidFill>
                  <a:schemeClr val="accent1"/>
                </a:solidFill>
              </a:rPr>
              <a:t>6.5 trillion</a:t>
            </a:r>
            <a:r>
              <a:rPr lang="en-US" sz="1400" b="1" dirty="0">
                <a:solidFill>
                  <a:schemeClr val="tx1"/>
                </a:solidFill>
              </a:rPr>
              <a:t> </a:t>
            </a:r>
            <a:r>
              <a:rPr lang="en-US" sz="1400" dirty="0">
                <a:solidFill>
                  <a:schemeClr val="tx1"/>
                </a:solidFill>
              </a:rPr>
              <a:t>global signals daily</a:t>
            </a:r>
          </a:p>
          <a:p>
            <a:pPr lvl="0" algn="ctr" defTabSz="914411">
              <a:spcBef>
                <a:spcPts val="400"/>
              </a:spcBef>
              <a:spcAft>
                <a:spcPts val="400"/>
              </a:spcAft>
              <a:defRPr/>
            </a:pPr>
            <a:r>
              <a:rPr lang="en-US" sz="1400" dirty="0">
                <a:solidFill>
                  <a:schemeClr val="tx1"/>
                </a:solidFill>
              </a:rPr>
              <a:t> </a:t>
            </a:r>
            <a:r>
              <a:rPr lang="en-US" sz="1400" b="1" dirty="0">
                <a:solidFill>
                  <a:schemeClr val="accent1"/>
                </a:solidFill>
              </a:rPr>
              <a:t>$1 billion </a:t>
            </a:r>
            <a:r>
              <a:rPr lang="en-US" sz="1400" dirty="0">
                <a:solidFill>
                  <a:schemeClr val="tx1"/>
                </a:solidFill>
              </a:rPr>
              <a:t>annual cybersecurity investment</a:t>
            </a:r>
          </a:p>
        </p:txBody>
      </p:sp>
      <p:sp>
        <p:nvSpPr>
          <p:cNvPr id="120" name="Rectangle 119">
            <a:extLst>
              <a:ext uri="{FF2B5EF4-FFF2-40B4-BE49-F238E27FC236}">
                <a16:creationId xmlns:a16="http://schemas.microsoft.com/office/drawing/2014/main" id="{D57BDF1D-69C1-4C12-8AC5-1B17AFA9A3F2}"/>
              </a:ext>
            </a:extLst>
          </p:cNvPr>
          <p:cNvSpPr/>
          <p:nvPr/>
        </p:nvSpPr>
        <p:spPr bwMode="auto">
          <a:xfrm>
            <a:off x="5792195" y="1930400"/>
            <a:ext cx="2860817" cy="4339916"/>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731520" numCol="1" spcCol="0" rtlCol="0" fromWordArt="0" anchor="b" anchorCtr="0" forceAA="0" compatLnSpc="1">
            <a:prstTxWarp prst="textNoShape">
              <a:avLst/>
            </a:prstTxWarp>
            <a:noAutofit/>
          </a:bodyPr>
          <a:lstStyle/>
          <a:p>
            <a:pPr lvl="0" algn="ctr" defTabSz="914411">
              <a:spcBef>
                <a:spcPts val="400"/>
              </a:spcBef>
              <a:spcAft>
                <a:spcPts val="400"/>
              </a:spcAft>
              <a:defRPr/>
            </a:pPr>
            <a:r>
              <a:rPr lang="en-US" sz="1400" dirty="0">
                <a:solidFill>
                  <a:schemeClr val="tx1"/>
                </a:solidFill>
              </a:rPr>
              <a:t>Largest geographical footprint of any cloud provider with more than </a:t>
            </a:r>
            <a:r>
              <a:rPr lang="en-US" sz="1400" b="1" dirty="0">
                <a:solidFill>
                  <a:schemeClr val="accent1"/>
                </a:solidFill>
              </a:rPr>
              <a:t>54</a:t>
            </a:r>
            <a:r>
              <a:rPr lang="en-US" sz="1400" dirty="0">
                <a:solidFill>
                  <a:schemeClr val="tx1"/>
                </a:solidFill>
              </a:rPr>
              <a:t> </a:t>
            </a:r>
            <a:r>
              <a:rPr lang="en-US" sz="1400" b="1" dirty="0">
                <a:solidFill>
                  <a:schemeClr val="tx1"/>
                </a:solidFill>
              </a:rPr>
              <a:t>Azure regions</a:t>
            </a:r>
          </a:p>
        </p:txBody>
      </p:sp>
      <p:sp>
        <p:nvSpPr>
          <p:cNvPr id="4" name="Title 3">
            <a:extLst>
              <a:ext uri="{FF2B5EF4-FFF2-40B4-BE49-F238E27FC236}">
                <a16:creationId xmlns:a16="http://schemas.microsoft.com/office/drawing/2014/main" id="{152DF824-C8A1-42BF-9B17-B79B58CAD1A2}"/>
              </a:ext>
            </a:extLst>
          </p:cNvPr>
          <p:cNvSpPr>
            <a:spLocks noGrp="1"/>
          </p:cNvSpPr>
          <p:nvPr>
            <p:ph type="title"/>
          </p:nvPr>
        </p:nvSpPr>
        <p:spPr/>
        <p:txBody>
          <a:bodyPr/>
          <a:lstStyle/>
          <a:p>
            <a:r>
              <a:rPr lang="en-US" dirty="0"/>
              <a:t>Built on Azure: Standardized, Global, and Secure Cloud</a:t>
            </a:r>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352079" y="2210654"/>
            <a:ext cx="0" cy="3486442"/>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2324D38-1FB9-41F2-991C-B9331971EC8E}"/>
              </a:ext>
            </a:extLst>
          </p:cNvPr>
          <p:cNvSpPr/>
          <p:nvPr/>
        </p:nvSpPr>
        <p:spPr bwMode="auto">
          <a:xfrm>
            <a:off x="588264" y="1930399"/>
            <a:ext cx="5104499" cy="433991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lgn="ctr">
              <a:spcBef>
                <a:spcPts val="400"/>
              </a:spcBef>
              <a:defRPr/>
            </a:pPr>
            <a:r>
              <a:rPr lang="en-US" sz="1400" dirty="0">
                <a:solidFill>
                  <a:schemeClr val="tx1"/>
                </a:solidFill>
              </a:rPr>
              <a:t>Purpose-built, </a:t>
            </a:r>
            <a:r>
              <a:rPr lang="en-US" sz="1400" b="1" dirty="0">
                <a:solidFill>
                  <a:schemeClr val="tx1"/>
                </a:solidFill>
              </a:rPr>
              <a:t>standardized infrastructure </a:t>
            </a:r>
            <a:r>
              <a:rPr lang="en-US" sz="1400" dirty="0">
                <a:solidFill>
                  <a:schemeClr val="tx1"/>
                </a:solidFill>
              </a:rPr>
              <a:t>across geos</a:t>
            </a:r>
          </a:p>
          <a:p>
            <a:pPr lvl="0" algn="ctr">
              <a:spcBef>
                <a:spcPts val="400"/>
              </a:spcBef>
              <a:defRPr/>
            </a:pPr>
            <a:r>
              <a:rPr lang="en-US" sz="1400" dirty="0">
                <a:solidFill>
                  <a:schemeClr val="tx1"/>
                </a:solidFill>
              </a:rPr>
              <a:t>Modernized workloads for </a:t>
            </a:r>
            <a:r>
              <a:rPr lang="en-US" sz="1400" b="1" dirty="0">
                <a:solidFill>
                  <a:schemeClr val="tx1"/>
                </a:solidFill>
              </a:rPr>
              <a:t>simplified deployment</a:t>
            </a:r>
          </a:p>
        </p:txBody>
      </p:sp>
      <p:sp>
        <p:nvSpPr>
          <p:cNvPr id="148" name="Rectangle 147">
            <a:extLst>
              <a:ext uri="{FF2B5EF4-FFF2-40B4-BE49-F238E27FC236}">
                <a16:creationId xmlns:a16="http://schemas.microsoft.com/office/drawing/2014/main" id="{BA3E91EF-8EC5-4421-ADD3-260A271DC097}"/>
              </a:ext>
            </a:extLst>
          </p:cNvPr>
          <p:cNvSpPr/>
          <p:nvPr/>
        </p:nvSpPr>
        <p:spPr bwMode="auto">
          <a:xfrm>
            <a:off x="5792195" y="1440779"/>
            <a:ext cx="2860817" cy="48962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11" rtl="0" eaLnBrk="1" fontAlgn="auto" latinLnBrk="0" hangingPunct="1">
              <a:spcBef>
                <a:spcPts val="0"/>
              </a:spcBef>
              <a:spcAft>
                <a:spcPts val="6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rPr>
              <a:t>Global</a:t>
            </a:r>
          </a:p>
        </p:txBody>
      </p:sp>
      <p:sp>
        <p:nvSpPr>
          <p:cNvPr id="154" name="Rectangle 153">
            <a:extLst>
              <a:ext uri="{FF2B5EF4-FFF2-40B4-BE49-F238E27FC236}">
                <a16:creationId xmlns:a16="http://schemas.microsoft.com/office/drawing/2014/main" id="{9610D136-44F6-475B-B686-279329AE6CBE}"/>
              </a:ext>
            </a:extLst>
          </p:cNvPr>
          <p:cNvSpPr/>
          <p:nvPr/>
        </p:nvSpPr>
        <p:spPr bwMode="auto">
          <a:xfrm>
            <a:off x="588264" y="1440779"/>
            <a:ext cx="5104499" cy="48962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11" rtl="0" eaLnBrk="1" fontAlgn="auto" latinLnBrk="0" hangingPunct="1">
              <a:spcBef>
                <a:spcPts val="0"/>
              </a:spcBef>
              <a:spcAft>
                <a:spcPts val="6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rPr>
              <a:t>Standardized</a:t>
            </a:r>
          </a:p>
        </p:txBody>
      </p:sp>
      <p:sp>
        <p:nvSpPr>
          <p:cNvPr id="11" name="TextBox 10">
            <a:extLst>
              <a:ext uri="{FF2B5EF4-FFF2-40B4-BE49-F238E27FC236}">
                <a16:creationId xmlns:a16="http://schemas.microsoft.com/office/drawing/2014/main" id="{220FCB06-C138-4B8D-8439-2736C9403B05}"/>
              </a:ext>
            </a:extLst>
          </p:cNvPr>
          <p:cNvSpPr txBox="1"/>
          <p:nvPr/>
        </p:nvSpPr>
        <p:spPr>
          <a:xfrm>
            <a:off x="1467331" y="2008435"/>
            <a:ext cx="3346365" cy="215444"/>
          </a:xfrm>
          <a:prstGeom prst="rect">
            <a:avLst/>
          </a:prstGeom>
          <a:noFill/>
        </p:spPr>
        <p:txBody>
          <a:bodyPr wrap="non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1" i="1" u="none" strike="noStrike" kern="1200" cap="none" spc="0" normalizeH="0" baseline="0" noProof="0" dirty="0">
                <a:ln>
                  <a:noFill/>
                </a:ln>
                <a:effectLst/>
                <a:uLnTx/>
                <a:uFillTx/>
                <a:ea typeface="+mn-ea"/>
                <a:cs typeface="+mn-cs"/>
              </a:rPr>
              <a:t>Consistent infrastructure across regions</a:t>
            </a:r>
          </a:p>
        </p:txBody>
      </p:sp>
      <p:sp>
        <p:nvSpPr>
          <p:cNvPr id="115" name="Rectangle 114">
            <a:extLst>
              <a:ext uri="{FF2B5EF4-FFF2-40B4-BE49-F238E27FC236}">
                <a16:creationId xmlns:a16="http://schemas.microsoft.com/office/drawing/2014/main" id="{35900B17-829D-4A32-91B2-A12F69EACD00}"/>
              </a:ext>
            </a:extLst>
          </p:cNvPr>
          <p:cNvSpPr/>
          <p:nvPr/>
        </p:nvSpPr>
        <p:spPr bwMode="auto">
          <a:xfrm>
            <a:off x="8752444" y="1440779"/>
            <a:ext cx="2860817" cy="48962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11" rtl="0" eaLnBrk="1" fontAlgn="auto" latinLnBrk="0" hangingPunct="1">
              <a:spcBef>
                <a:spcPts val="0"/>
              </a:spcBef>
              <a:spcAft>
                <a:spcPts val="6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rPr>
              <a:t>Secure</a:t>
            </a:r>
          </a:p>
        </p:txBody>
      </p:sp>
      <p:grpSp>
        <p:nvGrpSpPr>
          <p:cNvPr id="7183" name="Group 7182">
            <a:extLst>
              <a:ext uri="{FF2B5EF4-FFF2-40B4-BE49-F238E27FC236}">
                <a16:creationId xmlns:a16="http://schemas.microsoft.com/office/drawing/2014/main" id="{4FE693FC-BDAF-40CC-8526-29B2A0587D4B}"/>
              </a:ext>
            </a:extLst>
          </p:cNvPr>
          <p:cNvGrpSpPr/>
          <p:nvPr/>
        </p:nvGrpSpPr>
        <p:grpSpPr>
          <a:xfrm>
            <a:off x="9025246" y="2172007"/>
            <a:ext cx="2315212" cy="1274022"/>
            <a:chOff x="8974829" y="2092676"/>
            <a:chExt cx="2315212" cy="1274022"/>
          </a:xfrm>
        </p:grpSpPr>
        <p:sp>
          <p:nvSpPr>
            <p:cNvPr id="248" name="Freeform 5">
              <a:extLst>
                <a:ext uri="{FF2B5EF4-FFF2-40B4-BE49-F238E27FC236}">
                  <a16:creationId xmlns:a16="http://schemas.microsoft.com/office/drawing/2014/main" id="{2DEAA721-AC53-4DC3-B8C9-AA1AF7434451}"/>
                </a:ext>
              </a:extLst>
            </p:cNvPr>
            <p:cNvSpPr>
              <a:spLocks/>
            </p:cNvSpPr>
            <p:nvPr/>
          </p:nvSpPr>
          <p:spPr bwMode="auto">
            <a:xfrm>
              <a:off x="11047008" y="2761038"/>
              <a:ext cx="243033" cy="605659"/>
            </a:xfrm>
            <a:custGeom>
              <a:avLst/>
              <a:gdLst>
                <a:gd name="T0" fmla="*/ 526 w 526"/>
                <a:gd name="T1" fmla="*/ 0 h 425"/>
                <a:gd name="T2" fmla="*/ 40 w 526"/>
                <a:gd name="T3" fmla="*/ 0 h 425"/>
                <a:gd name="T4" fmla="*/ 0 w 526"/>
                <a:gd name="T5" fmla="*/ 0 h 425"/>
                <a:gd name="T6" fmla="*/ 0 w 526"/>
                <a:gd name="T7" fmla="*/ 425 h 425"/>
                <a:gd name="T8" fmla="*/ 526 w 526"/>
                <a:gd name="T9" fmla="*/ 425 h 425"/>
                <a:gd name="T10" fmla="*/ 526 w 526"/>
                <a:gd name="T11" fmla="*/ 0 h 425"/>
              </a:gdLst>
              <a:ahLst/>
              <a:cxnLst>
                <a:cxn ang="0">
                  <a:pos x="T0" y="T1"/>
                </a:cxn>
                <a:cxn ang="0">
                  <a:pos x="T2" y="T3"/>
                </a:cxn>
                <a:cxn ang="0">
                  <a:pos x="T4" y="T5"/>
                </a:cxn>
                <a:cxn ang="0">
                  <a:pos x="T6" y="T7"/>
                </a:cxn>
                <a:cxn ang="0">
                  <a:pos x="T8" y="T9"/>
                </a:cxn>
                <a:cxn ang="0">
                  <a:pos x="T10" y="T11"/>
                </a:cxn>
              </a:cxnLst>
              <a:rect l="0" t="0" r="r" b="b"/>
              <a:pathLst>
                <a:path w="526" h="425">
                  <a:moveTo>
                    <a:pt x="526" y="0"/>
                  </a:moveTo>
                  <a:lnTo>
                    <a:pt x="40" y="0"/>
                  </a:lnTo>
                  <a:lnTo>
                    <a:pt x="0" y="0"/>
                  </a:lnTo>
                  <a:lnTo>
                    <a:pt x="0" y="425"/>
                  </a:lnTo>
                  <a:lnTo>
                    <a:pt x="526" y="425"/>
                  </a:lnTo>
                  <a:lnTo>
                    <a:pt x="526" y="0"/>
                  </a:lnTo>
                  <a:close/>
                </a:path>
              </a:pathLst>
            </a:custGeom>
            <a:solidFill>
              <a:srgbClr val="FFB90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49" name="Rectangle 10">
              <a:extLst>
                <a:ext uri="{FF2B5EF4-FFF2-40B4-BE49-F238E27FC236}">
                  <a16:creationId xmlns:a16="http://schemas.microsoft.com/office/drawing/2014/main" id="{AD146121-4A80-4A31-9EBC-6A02D51EC202}"/>
                </a:ext>
              </a:extLst>
            </p:cNvPr>
            <p:cNvSpPr>
              <a:spLocks noChangeArrowheads="1"/>
            </p:cNvSpPr>
            <p:nvPr/>
          </p:nvSpPr>
          <p:spPr bwMode="auto">
            <a:xfrm>
              <a:off x="11047008" y="2862218"/>
              <a:ext cx="240096" cy="37843"/>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0" name="Freeform 11">
              <a:extLst>
                <a:ext uri="{FF2B5EF4-FFF2-40B4-BE49-F238E27FC236}">
                  <a16:creationId xmlns:a16="http://schemas.microsoft.com/office/drawing/2014/main" id="{2F95703D-01C8-4343-ABCF-4830640408DE}"/>
                </a:ext>
              </a:extLst>
            </p:cNvPr>
            <p:cNvSpPr>
              <a:spLocks/>
            </p:cNvSpPr>
            <p:nvPr/>
          </p:nvSpPr>
          <p:spPr bwMode="auto">
            <a:xfrm>
              <a:off x="8999862" y="2761038"/>
              <a:ext cx="731522" cy="605659"/>
            </a:xfrm>
            <a:custGeom>
              <a:avLst/>
              <a:gdLst>
                <a:gd name="T0" fmla="*/ 0 w 526"/>
                <a:gd name="T1" fmla="*/ 0 h 425"/>
                <a:gd name="T2" fmla="*/ 491 w 526"/>
                <a:gd name="T3" fmla="*/ 0 h 425"/>
                <a:gd name="T4" fmla="*/ 526 w 526"/>
                <a:gd name="T5" fmla="*/ 0 h 425"/>
                <a:gd name="T6" fmla="*/ 526 w 526"/>
                <a:gd name="T7" fmla="*/ 425 h 425"/>
                <a:gd name="T8" fmla="*/ 0 w 526"/>
                <a:gd name="T9" fmla="*/ 425 h 425"/>
                <a:gd name="T10" fmla="*/ 0 w 526"/>
                <a:gd name="T11" fmla="*/ 0 h 425"/>
              </a:gdLst>
              <a:ahLst/>
              <a:cxnLst>
                <a:cxn ang="0">
                  <a:pos x="T0" y="T1"/>
                </a:cxn>
                <a:cxn ang="0">
                  <a:pos x="T2" y="T3"/>
                </a:cxn>
                <a:cxn ang="0">
                  <a:pos x="T4" y="T5"/>
                </a:cxn>
                <a:cxn ang="0">
                  <a:pos x="T6" y="T7"/>
                </a:cxn>
                <a:cxn ang="0">
                  <a:pos x="T8" y="T9"/>
                </a:cxn>
                <a:cxn ang="0">
                  <a:pos x="T10" y="T11"/>
                </a:cxn>
              </a:cxnLst>
              <a:rect l="0" t="0" r="r" b="b"/>
              <a:pathLst>
                <a:path w="526" h="425">
                  <a:moveTo>
                    <a:pt x="0" y="0"/>
                  </a:moveTo>
                  <a:lnTo>
                    <a:pt x="491" y="0"/>
                  </a:lnTo>
                  <a:lnTo>
                    <a:pt x="526" y="0"/>
                  </a:lnTo>
                  <a:lnTo>
                    <a:pt x="526" y="425"/>
                  </a:lnTo>
                  <a:lnTo>
                    <a:pt x="0" y="425"/>
                  </a:lnTo>
                  <a:lnTo>
                    <a:pt x="0" y="0"/>
                  </a:lnTo>
                  <a:close/>
                </a:path>
              </a:pathLst>
            </a:custGeom>
            <a:solidFill>
              <a:srgbClr val="FFB90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1" name="Freeform 12">
              <a:extLst>
                <a:ext uri="{FF2B5EF4-FFF2-40B4-BE49-F238E27FC236}">
                  <a16:creationId xmlns:a16="http://schemas.microsoft.com/office/drawing/2014/main" id="{1405A438-CBCA-416D-81C8-514F06BFE05C}"/>
                </a:ext>
              </a:extLst>
            </p:cNvPr>
            <p:cNvSpPr>
              <a:spLocks/>
            </p:cNvSpPr>
            <p:nvPr/>
          </p:nvSpPr>
          <p:spPr bwMode="auto">
            <a:xfrm>
              <a:off x="9158404" y="2768164"/>
              <a:ext cx="572978" cy="598534"/>
            </a:xfrm>
            <a:custGeom>
              <a:avLst/>
              <a:gdLst>
                <a:gd name="T0" fmla="*/ 0 w 412"/>
                <a:gd name="T1" fmla="*/ 420 h 420"/>
                <a:gd name="T2" fmla="*/ 412 w 412"/>
                <a:gd name="T3" fmla="*/ 0 h 420"/>
                <a:gd name="T4" fmla="*/ 412 w 412"/>
                <a:gd name="T5" fmla="*/ 420 h 420"/>
                <a:gd name="T6" fmla="*/ 0 w 412"/>
                <a:gd name="T7" fmla="*/ 420 h 420"/>
              </a:gdLst>
              <a:ahLst/>
              <a:cxnLst>
                <a:cxn ang="0">
                  <a:pos x="T0" y="T1"/>
                </a:cxn>
                <a:cxn ang="0">
                  <a:pos x="T2" y="T3"/>
                </a:cxn>
                <a:cxn ang="0">
                  <a:pos x="T4" y="T5"/>
                </a:cxn>
                <a:cxn ang="0">
                  <a:pos x="T6" y="T7"/>
                </a:cxn>
              </a:cxnLst>
              <a:rect l="0" t="0" r="r" b="b"/>
              <a:pathLst>
                <a:path w="412" h="420">
                  <a:moveTo>
                    <a:pt x="0" y="420"/>
                  </a:moveTo>
                  <a:lnTo>
                    <a:pt x="412" y="0"/>
                  </a:lnTo>
                  <a:lnTo>
                    <a:pt x="412" y="420"/>
                  </a:lnTo>
                  <a:lnTo>
                    <a:pt x="0" y="420"/>
                  </a:lnTo>
                  <a:close/>
                </a:path>
              </a:pathLst>
            </a:custGeom>
            <a:solidFill>
              <a:srgbClr val="FFB900">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2" name="Rectangle 13">
              <a:extLst>
                <a:ext uri="{FF2B5EF4-FFF2-40B4-BE49-F238E27FC236}">
                  <a16:creationId xmlns:a16="http://schemas.microsoft.com/office/drawing/2014/main" id="{1A4E362E-D12E-472B-A6F4-A231799FC574}"/>
                </a:ext>
              </a:extLst>
            </p:cNvPr>
            <p:cNvSpPr>
              <a:spLocks noChangeArrowheads="1"/>
            </p:cNvSpPr>
            <p:nvPr/>
          </p:nvSpPr>
          <p:spPr bwMode="auto">
            <a:xfrm>
              <a:off x="11047008" y="3127284"/>
              <a:ext cx="73708" cy="239413"/>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3" name="Rectangle 14">
              <a:extLst>
                <a:ext uri="{FF2B5EF4-FFF2-40B4-BE49-F238E27FC236}">
                  <a16:creationId xmlns:a16="http://schemas.microsoft.com/office/drawing/2014/main" id="{501E8DCC-CCB3-4C6F-B7F9-4F7FCAF895EF}"/>
                </a:ext>
              </a:extLst>
            </p:cNvPr>
            <p:cNvSpPr>
              <a:spLocks noChangeArrowheads="1"/>
            </p:cNvSpPr>
            <p:nvPr/>
          </p:nvSpPr>
          <p:spPr bwMode="auto">
            <a:xfrm>
              <a:off x="11120717" y="3127284"/>
              <a:ext cx="91788" cy="239413"/>
            </a:xfrm>
            <a:prstGeom prst="rect">
              <a:avLst/>
            </a:prstGeom>
            <a:solidFill>
              <a:srgbClr val="FFB90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4" name="Rectangle 15">
              <a:extLst>
                <a:ext uri="{FF2B5EF4-FFF2-40B4-BE49-F238E27FC236}">
                  <a16:creationId xmlns:a16="http://schemas.microsoft.com/office/drawing/2014/main" id="{1D68E343-9ABD-4794-81CA-8074991B8C2A}"/>
                </a:ext>
              </a:extLst>
            </p:cNvPr>
            <p:cNvSpPr>
              <a:spLocks noChangeArrowheads="1"/>
            </p:cNvSpPr>
            <p:nvPr/>
          </p:nvSpPr>
          <p:spPr bwMode="auto">
            <a:xfrm>
              <a:off x="9657675" y="3127284"/>
              <a:ext cx="73708" cy="239413"/>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5" name="Rectangle 16">
              <a:extLst>
                <a:ext uri="{FF2B5EF4-FFF2-40B4-BE49-F238E27FC236}">
                  <a16:creationId xmlns:a16="http://schemas.microsoft.com/office/drawing/2014/main" id="{9A949E10-0CFD-47D3-90D0-42AE4A915514}"/>
                </a:ext>
              </a:extLst>
            </p:cNvPr>
            <p:cNvSpPr>
              <a:spLocks noChangeArrowheads="1"/>
            </p:cNvSpPr>
            <p:nvPr/>
          </p:nvSpPr>
          <p:spPr bwMode="auto">
            <a:xfrm>
              <a:off x="9731383" y="2339214"/>
              <a:ext cx="1315625" cy="887825"/>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6" name="Freeform 17">
              <a:extLst>
                <a:ext uri="{FF2B5EF4-FFF2-40B4-BE49-F238E27FC236}">
                  <a16:creationId xmlns:a16="http://schemas.microsoft.com/office/drawing/2014/main" id="{F219C952-F54A-4518-A94E-50095D3B9A3C}"/>
                </a:ext>
              </a:extLst>
            </p:cNvPr>
            <p:cNvSpPr>
              <a:spLocks/>
            </p:cNvSpPr>
            <p:nvPr/>
          </p:nvSpPr>
          <p:spPr bwMode="auto">
            <a:xfrm>
              <a:off x="10266812" y="2761038"/>
              <a:ext cx="244768" cy="466002"/>
            </a:xfrm>
            <a:custGeom>
              <a:avLst/>
              <a:gdLst>
                <a:gd name="T0" fmla="*/ 20 w 40"/>
                <a:gd name="T1" fmla="*/ 0 h 74"/>
                <a:gd name="T2" fmla="*/ 0 w 40"/>
                <a:gd name="T3" fmla="*/ 21 h 74"/>
                <a:gd name="T4" fmla="*/ 0 w 40"/>
                <a:gd name="T5" fmla="*/ 74 h 74"/>
                <a:gd name="T6" fmla="*/ 40 w 40"/>
                <a:gd name="T7" fmla="*/ 74 h 74"/>
                <a:gd name="T8" fmla="*/ 40 w 40"/>
                <a:gd name="T9" fmla="*/ 21 h 74"/>
                <a:gd name="T10" fmla="*/ 20 w 40"/>
                <a:gd name="T11" fmla="*/ 0 h 74"/>
              </a:gdLst>
              <a:ahLst/>
              <a:cxnLst>
                <a:cxn ang="0">
                  <a:pos x="T0" y="T1"/>
                </a:cxn>
                <a:cxn ang="0">
                  <a:pos x="T2" y="T3"/>
                </a:cxn>
                <a:cxn ang="0">
                  <a:pos x="T4" y="T5"/>
                </a:cxn>
                <a:cxn ang="0">
                  <a:pos x="T6" y="T7"/>
                </a:cxn>
                <a:cxn ang="0">
                  <a:pos x="T8" y="T9"/>
                </a:cxn>
                <a:cxn ang="0">
                  <a:pos x="T10" y="T11"/>
                </a:cxn>
              </a:cxnLst>
              <a:rect l="0" t="0" r="r" b="b"/>
              <a:pathLst>
                <a:path w="40" h="74">
                  <a:moveTo>
                    <a:pt x="20" y="0"/>
                  </a:moveTo>
                  <a:cubicBezTo>
                    <a:pt x="9" y="0"/>
                    <a:pt x="0" y="9"/>
                    <a:pt x="0" y="21"/>
                  </a:cubicBezTo>
                  <a:cubicBezTo>
                    <a:pt x="0" y="74"/>
                    <a:pt x="0" y="74"/>
                    <a:pt x="0" y="74"/>
                  </a:cubicBezTo>
                  <a:cubicBezTo>
                    <a:pt x="40" y="74"/>
                    <a:pt x="40" y="74"/>
                    <a:pt x="40" y="74"/>
                  </a:cubicBezTo>
                  <a:cubicBezTo>
                    <a:pt x="40" y="21"/>
                    <a:pt x="40" y="21"/>
                    <a:pt x="40" y="21"/>
                  </a:cubicBezTo>
                  <a:cubicBezTo>
                    <a:pt x="40" y="9"/>
                    <a:pt x="31" y="0"/>
                    <a:pt x="20" y="0"/>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7" name="Freeform 18">
              <a:extLst>
                <a:ext uri="{FF2B5EF4-FFF2-40B4-BE49-F238E27FC236}">
                  <a16:creationId xmlns:a16="http://schemas.microsoft.com/office/drawing/2014/main" id="{EA44C9B0-4101-40AD-B660-FF02E2E24B9D}"/>
                </a:ext>
              </a:extLst>
            </p:cNvPr>
            <p:cNvSpPr>
              <a:spLocks/>
            </p:cNvSpPr>
            <p:nvPr/>
          </p:nvSpPr>
          <p:spPr bwMode="auto">
            <a:xfrm>
              <a:off x="10652043" y="2761038"/>
              <a:ext cx="248940" cy="466002"/>
            </a:xfrm>
            <a:custGeom>
              <a:avLst/>
              <a:gdLst>
                <a:gd name="T0" fmla="*/ 21 w 41"/>
                <a:gd name="T1" fmla="*/ 0 h 74"/>
                <a:gd name="T2" fmla="*/ 0 w 41"/>
                <a:gd name="T3" fmla="*/ 21 h 74"/>
                <a:gd name="T4" fmla="*/ 0 w 41"/>
                <a:gd name="T5" fmla="*/ 74 h 74"/>
                <a:gd name="T6" fmla="*/ 41 w 41"/>
                <a:gd name="T7" fmla="*/ 74 h 74"/>
                <a:gd name="T8" fmla="*/ 41 w 41"/>
                <a:gd name="T9" fmla="*/ 21 h 74"/>
                <a:gd name="T10" fmla="*/ 21 w 41"/>
                <a:gd name="T11" fmla="*/ 0 h 74"/>
              </a:gdLst>
              <a:ahLst/>
              <a:cxnLst>
                <a:cxn ang="0">
                  <a:pos x="T0" y="T1"/>
                </a:cxn>
                <a:cxn ang="0">
                  <a:pos x="T2" y="T3"/>
                </a:cxn>
                <a:cxn ang="0">
                  <a:pos x="T4" y="T5"/>
                </a:cxn>
                <a:cxn ang="0">
                  <a:pos x="T6" y="T7"/>
                </a:cxn>
                <a:cxn ang="0">
                  <a:pos x="T8" y="T9"/>
                </a:cxn>
                <a:cxn ang="0">
                  <a:pos x="T10" y="T11"/>
                </a:cxn>
              </a:cxnLst>
              <a:rect l="0" t="0" r="r" b="b"/>
              <a:pathLst>
                <a:path w="41" h="74">
                  <a:moveTo>
                    <a:pt x="21" y="0"/>
                  </a:moveTo>
                  <a:cubicBezTo>
                    <a:pt x="9" y="0"/>
                    <a:pt x="0" y="9"/>
                    <a:pt x="0" y="21"/>
                  </a:cubicBezTo>
                  <a:cubicBezTo>
                    <a:pt x="0" y="74"/>
                    <a:pt x="0" y="74"/>
                    <a:pt x="0" y="74"/>
                  </a:cubicBezTo>
                  <a:cubicBezTo>
                    <a:pt x="41" y="74"/>
                    <a:pt x="41" y="74"/>
                    <a:pt x="41" y="74"/>
                  </a:cubicBezTo>
                  <a:cubicBezTo>
                    <a:pt x="41" y="21"/>
                    <a:pt x="41" y="21"/>
                    <a:pt x="41" y="21"/>
                  </a:cubicBezTo>
                  <a:cubicBezTo>
                    <a:pt x="41" y="9"/>
                    <a:pt x="32" y="0"/>
                    <a:pt x="21" y="0"/>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8" name="Freeform 19">
              <a:extLst>
                <a:ext uri="{FF2B5EF4-FFF2-40B4-BE49-F238E27FC236}">
                  <a16:creationId xmlns:a16="http://schemas.microsoft.com/office/drawing/2014/main" id="{94A4491E-7BAF-4B24-822F-22789BDF62DE}"/>
                </a:ext>
              </a:extLst>
            </p:cNvPr>
            <p:cNvSpPr>
              <a:spLocks/>
            </p:cNvSpPr>
            <p:nvPr/>
          </p:nvSpPr>
          <p:spPr bwMode="auto">
            <a:xfrm>
              <a:off x="9877409" y="2761038"/>
              <a:ext cx="250330" cy="466002"/>
            </a:xfrm>
            <a:custGeom>
              <a:avLst/>
              <a:gdLst>
                <a:gd name="T0" fmla="*/ 21 w 41"/>
                <a:gd name="T1" fmla="*/ 0 h 74"/>
                <a:gd name="T2" fmla="*/ 0 w 41"/>
                <a:gd name="T3" fmla="*/ 21 h 74"/>
                <a:gd name="T4" fmla="*/ 0 w 41"/>
                <a:gd name="T5" fmla="*/ 74 h 74"/>
                <a:gd name="T6" fmla="*/ 41 w 41"/>
                <a:gd name="T7" fmla="*/ 74 h 74"/>
                <a:gd name="T8" fmla="*/ 41 w 41"/>
                <a:gd name="T9" fmla="*/ 21 h 74"/>
                <a:gd name="T10" fmla="*/ 21 w 41"/>
                <a:gd name="T11" fmla="*/ 0 h 74"/>
              </a:gdLst>
              <a:ahLst/>
              <a:cxnLst>
                <a:cxn ang="0">
                  <a:pos x="T0" y="T1"/>
                </a:cxn>
                <a:cxn ang="0">
                  <a:pos x="T2" y="T3"/>
                </a:cxn>
                <a:cxn ang="0">
                  <a:pos x="T4" y="T5"/>
                </a:cxn>
                <a:cxn ang="0">
                  <a:pos x="T6" y="T7"/>
                </a:cxn>
                <a:cxn ang="0">
                  <a:pos x="T8" y="T9"/>
                </a:cxn>
                <a:cxn ang="0">
                  <a:pos x="T10" y="T11"/>
                </a:cxn>
              </a:cxnLst>
              <a:rect l="0" t="0" r="r" b="b"/>
              <a:pathLst>
                <a:path w="41" h="74">
                  <a:moveTo>
                    <a:pt x="21" y="0"/>
                  </a:moveTo>
                  <a:cubicBezTo>
                    <a:pt x="9" y="0"/>
                    <a:pt x="0" y="9"/>
                    <a:pt x="0" y="21"/>
                  </a:cubicBezTo>
                  <a:cubicBezTo>
                    <a:pt x="0" y="74"/>
                    <a:pt x="0" y="74"/>
                    <a:pt x="0" y="74"/>
                  </a:cubicBezTo>
                  <a:cubicBezTo>
                    <a:pt x="41" y="74"/>
                    <a:pt x="41" y="74"/>
                    <a:pt x="41" y="74"/>
                  </a:cubicBezTo>
                  <a:cubicBezTo>
                    <a:pt x="41" y="21"/>
                    <a:pt x="41" y="21"/>
                    <a:pt x="41" y="21"/>
                  </a:cubicBezTo>
                  <a:cubicBezTo>
                    <a:pt x="41" y="9"/>
                    <a:pt x="32" y="0"/>
                    <a:pt x="21" y="0"/>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9" name="Rectangle 20">
              <a:extLst>
                <a:ext uri="{FF2B5EF4-FFF2-40B4-BE49-F238E27FC236}">
                  <a16:creationId xmlns:a16="http://schemas.microsoft.com/office/drawing/2014/main" id="{15C02155-F39A-4B74-80EB-977DE349C52D}"/>
                </a:ext>
              </a:extLst>
            </p:cNvPr>
            <p:cNvSpPr>
              <a:spLocks noChangeArrowheads="1"/>
            </p:cNvSpPr>
            <p:nvPr/>
          </p:nvSpPr>
          <p:spPr bwMode="auto">
            <a:xfrm>
              <a:off x="9097212" y="2969100"/>
              <a:ext cx="61192" cy="10688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0" name="Rectangle 21">
              <a:extLst>
                <a:ext uri="{FF2B5EF4-FFF2-40B4-BE49-F238E27FC236}">
                  <a16:creationId xmlns:a16="http://schemas.microsoft.com/office/drawing/2014/main" id="{213B8258-AC6F-46C4-A520-885550A09AC3}"/>
                </a:ext>
              </a:extLst>
            </p:cNvPr>
            <p:cNvSpPr>
              <a:spLocks noChangeArrowheads="1"/>
            </p:cNvSpPr>
            <p:nvPr/>
          </p:nvSpPr>
          <p:spPr bwMode="auto">
            <a:xfrm>
              <a:off x="9225159" y="2969100"/>
              <a:ext cx="61192" cy="10688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1" name="Rectangle 22">
              <a:extLst>
                <a:ext uri="{FF2B5EF4-FFF2-40B4-BE49-F238E27FC236}">
                  <a16:creationId xmlns:a16="http://schemas.microsoft.com/office/drawing/2014/main" id="{DA7E223C-1502-4C0D-BC04-5BFFEFCA8AFD}"/>
                </a:ext>
              </a:extLst>
            </p:cNvPr>
            <p:cNvSpPr>
              <a:spLocks noChangeArrowheads="1"/>
            </p:cNvSpPr>
            <p:nvPr/>
          </p:nvSpPr>
          <p:spPr bwMode="auto">
            <a:xfrm>
              <a:off x="9353106" y="2969100"/>
              <a:ext cx="61192" cy="10688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2" name="Rectangle 23">
              <a:extLst>
                <a:ext uri="{FF2B5EF4-FFF2-40B4-BE49-F238E27FC236}">
                  <a16:creationId xmlns:a16="http://schemas.microsoft.com/office/drawing/2014/main" id="{1645853B-D9EA-4C47-8B47-613A42D504E6}"/>
                </a:ext>
              </a:extLst>
            </p:cNvPr>
            <p:cNvSpPr>
              <a:spLocks noChangeArrowheads="1"/>
            </p:cNvSpPr>
            <p:nvPr/>
          </p:nvSpPr>
          <p:spPr bwMode="auto">
            <a:xfrm>
              <a:off x="9481053" y="2969100"/>
              <a:ext cx="61192" cy="10688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3" name="Rectangle 24">
              <a:extLst>
                <a:ext uri="{FF2B5EF4-FFF2-40B4-BE49-F238E27FC236}">
                  <a16:creationId xmlns:a16="http://schemas.microsoft.com/office/drawing/2014/main" id="{B5037B8C-01E8-440C-A336-6B0881DBF622}"/>
                </a:ext>
              </a:extLst>
            </p:cNvPr>
            <p:cNvSpPr>
              <a:spLocks noChangeArrowheads="1"/>
            </p:cNvSpPr>
            <p:nvPr/>
          </p:nvSpPr>
          <p:spPr bwMode="auto">
            <a:xfrm>
              <a:off x="9731383" y="3227040"/>
              <a:ext cx="1315625" cy="38477"/>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4" name="Rectangle 25">
              <a:extLst>
                <a:ext uri="{FF2B5EF4-FFF2-40B4-BE49-F238E27FC236}">
                  <a16:creationId xmlns:a16="http://schemas.microsoft.com/office/drawing/2014/main" id="{6540C150-5552-4618-8A47-B19E33E6FA1A}"/>
                </a:ext>
              </a:extLst>
            </p:cNvPr>
            <p:cNvSpPr>
              <a:spLocks noChangeArrowheads="1"/>
            </p:cNvSpPr>
            <p:nvPr/>
          </p:nvSpPr>
          <p:spPr bwMode="auto">
            <a:xfrm>
              <a:off x="9700787" y="3265517"/>
              <a:ext cx="1376818" cy="31352"/>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5" name="Rectangle 26">
              <a:extLst>
                <a:ext uri="{FF2B5EF4-FFF2-40B4-BE49-F238E27FC236}">
                  <a16:creationId xmlns:a16="http://schemas.microsoft.com/office/drawing/2014/main" id="{0BFE81CE-E054-4644-8D61-8EC65D64033E}"/>
                </a:ext>
              </a:extLst>
            </p:cNvPr>
            <p:cNvSpPr>
              <a:spLocks noChangeArrowheads="1"/>
            </p:cNvSpPr>
            <p:nvPr/>
          </p:nvSpPr>
          <p:spPr bwMode="auto">
            <a:xfrm>
              <a:off x="9682708" y="3296869"/>
              <a:ext cx="1419930"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6" name="Rectangle 27">
              <a:extLst>
                <a:ext uri="{FF2B5EF4-FFF2-40B4-BE49-F238E27FC236}">
                  <a16:creationId xmlns:a16="http://schemas.microsoft.com/office/drawing/2014/main" id="{FF2194BB-B373-40D3-A4C1-AF4EC4E6D710}"/>
                </a:ext>
              </a:extLst>
            </p:cNvPr>
            <p:cNvSpPr>
              <a:spLocks noChangeArrowheads="1"/>
            </p:cNvSpPr>
            <p:nvPr/>
          </p:nvSpPr>
          <p:spPr bwMode="auto">
            <a:xfrm>
              <a:off x="9657675" y="3328220"/>
              <a:ext cx="1463042" cy="38477"/>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7" name="Rectangle 28">
              <a:extLst>
                <a:ext uri="{FF2B5EF4-FFF2-40B4-BE49-F238E27FC236}">
                  <a16:creationId xmlns:a16="http://schemas.microsoft.com/office/drawing/2014/main" id="{5C0557CB-7453-4F0F-B2AE-1BAFF0989ABE}"/>
                </a:ext>
              </a:extLst>
            </p:cNvPr>
            <p:cNvSpPr>
              <a:spLocks noChangeArrowheads="1"/>
            </p:cNvSpPr>
            <p:nvPr/>
          </p:nvSpPr>
          <p:spPr bwMode="auto">
            <a:xfrm>
              <a:off x="9567277" y="3127284"/>
              <a:ext cx="90397" cy="239413"/>
            </a:xfrm>
            <a:prstGeom prst="rect">
              <a:avLst/>
            </a:prstGeom>
            <a:solidFill>
              <a:srgbClr val="FFB90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8" name="Freeform 29">
              <a:extLst>
                <a:ext uri="{FF2B5EF4-FFF2-40B4-BE49-F238E27FC236}">
                  <a16:creationId xmlns:a16="http://schemas.microsoft.com/office/drawing/2014/main" id="{5983C719-B3FC-4120-8426-BF5F0719F6B0}"/>
                </a:ext>
              </a:extLst>
            </p:cNvPr>
            <p:cNvSpPr>
              <a:spLocks/>
            </p:cNvSpPr>
            <p:nvPr/>
          </p:nvSpPr>
          <p:spPr bwMode="auto">
            <a:xfrm>
              <a:off x="9962243" y="2092676"/>
              <a:ext cx="853905" cy="220888"/>
            </a:xfrm>
            <a:custGeom>
              <a:avLst/>
              <a:gdLst>
                <a:gd name="T0" fmla="*/ 311 w 614"/>
                <a:gd name="T1" fmla="*/ 0 h 155"/>
                <a:gd name="T2" fmla="*/ 0 w 614"/>
                <a:gd name="T3" fmla="*/ 155 h 155"/>
                <a:gd name="T4" fmla="*/ 614 w 614"/>
                <a:gd name="T5" fmla="*/ 155 h 155"/>
                <a:gd name="T6" fmla="*/ 311 w 614"/>
                <a:gd name="T7" fmla="*/ 0 h 155"/>
              </a:gdLst>
              <a:ahLst/>
              <a:cxnLst>
                <a:cxn ang="0">
                  <a:pos x="T0" y="T1"/>
                </a:cxn>
                <a:cxn ang="0">
                  <a:pos x="T2" y="T3"/>
                </a:cxn>
                <a:cxn ang="0">
                  <a:pos x="T4" y="T5"/>
                </a:cxn>
                <a:cxn ang="0">
                  <a:pos x="T6" y="T7"/>
                </a:cxn>
              </a:cxnLst>
              <a:rect l="0" t="0" r="r" b="b"/>
              <a:pathLst>
                <a:path w="614" h="155">
                  <a:moveTo>
                    <a:pt x="311" y="0"/>
                  </a:moveTo>
                  <a:lnTo>
                    <a:pt x="0" y="155"/>
                  </a:lnTo>
                  <a:lnTo>
                    <a:pt x="614" y="155"/>
                  </a:lnTo>
                  <a:lnTo>
                    <a:pt x="311" y="0"/>
                  </a:ln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9" name="Rectangle 30">
              <a:extLst>
                <a:ext uri="{FF2B5EF4-FFF2-40B4-BE49-F238E27FC236}">
                  <a16:creationId xmlns:a16="http://schemas.microsoft.com/office/drawing/2014/main" id="{F1BB4BEE-90C4-4347-82F5-0021376F89E7}"/>
                </a:ext>
              </a:extLst>
            </p:cNvPr>
            <p:cNvSpPr>
              <a:spLocks noChangeArrowheads="1"/>
            </p:cNvSpPr>
            <p:nvPr/>
          </p:nvSpPr>
          <p:spPr bwMode="auto">
            <a:xfrm>
              <a:off x="9700787" y="2597154"/>
              <a:ext cx="1376818"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0" name="Rectangle 31">
              <a:extLst>
                <a:ext uri="{FF2B5EF4-FFF2-40B4-BE49-F238E27FC236}">
                  <a16:creationId xmlns:a16="http://schemas.microsoft.com/office/drawing/2014/main" id="{345341DF-8C0C-4412-9130-A699CF1BC15D}"/>
                </a:ext>
              </a:extLst>
            </p:cNvPr>
            <p:cNvSpPr>
              <a:spLocks noChangeArrowheads="1"/>
            </p:cNvSpPr>
            <p:nvPr/>
          </p:nvSpPr>
          <p:spPr bwMode="auto">
            <a:xfrm>
              <a:off x="9700787" y="2339214"/>
              <a:ext cx="1376818"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1" name="Rectangle 32">
              <a:extLst>
                <a:ext uri="{FF2B5EF4-FFF2-40B4-BE49-F238E27FC236}">
                  <a16:creationId xmlns:a16="http://schemas.microsoft.com/office/drawing/2014/main" id="{C3AB04D2-E350-44F0-A76F-7721292FB2F2}"/>
                </a:ext>
              </a:extLst>
            </p:cNvPr>
            <p:cNvSpPr>
              <a:spLocks noChangeArrowheads="1"/>
            </p:cNvSpPr>
            <p:nvPr/>
          </p:nvSpPr>
          <p:spPr bwMode="auto">
            <a:xfrm>
              <a:off x="8974829" y="2862219"/>
              <a:ext cx="756555" cy="2565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grpSp>
          <p:nvGrpSpPr>
            <p:cNvPr id="272" name="Group 514">
              <a:extLst>
                <a:ext uri="{FF2B5EF4-FFF2-40B4-BE49-F238E27FC236}">
                  <a16:creationId xmlns:a16="http://schemas.microsoft.com/office/drawing/2014/main" id="{80C959AE-3CC8-494C-BDA9-945954B80721}"/>
                </a:ext>
              </a:extLst>
            </p:cNvPr>
            <p:cNvGrpSpPr/>
            <p:nvPr/>
          </p:nvGrpSpPr>
          <p:grpSpPr>
            <a:xfrm>
              <a:off x="10100324" y="2435450"/>
              <a:ext cx="568649" cy="931248"/>
              <a:chOff x="13636540" y="5656356"/>
              <a:chExt cx="703968" cy="1125060"/>
            </a:xfrm>
          </p:grpSpPr>
          <p:sp>
            <p:nvSpPr>
              <p:cNvPr id="273" name="Freeform 37">
                <a:extLst>
                  <a:ext uri="{FF2B5EF4-FFF2-40B4-BE49-F238E27FC236}">
                    <a16:creationId xmlns:a16="http://schemas.microsoft.com/office/drawing/2014/main" id="{D249B00D-CE24-4FFD-A433-009536858627}"/>
                  </a:ext>
                </a:extLst>
              </p:cNvPr>
              <p:cNvSpPr>
                <a:spLocks/>
              </p:cNvSpPr>
              <p:nvPr/>
            </p:nvSpPr>
            <p:spPr bwMode="auto">
              <a:xfrm>
                <a:off x="13771739" y="5656356"/>
                <a:ext cx="435124" cy="498839"/>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4" name="Rectangle 38">
                <a:extLst>
                  <a:ext uri="{FF2B5EF4-FFF2-40B4-BE49-F238E27FC236}">
                    <a16:creationId xmlns:a16="http://schemas.microsoft.com/office/drawing/2014/main" id="{6DD460FC-6AB3-4217-8209-C68195F1E74C}"/>
                  </a:ext>
                </a:extLst>
              </p:cNvPr>
              <p:cNvSpPr>
                <a:spLocks noChangeArrowheads="1"/>
              </p:cNvSpPr>
              <p:nvPr/>
            </p:nvSpPr>
            <p:spPr bwMode="auto">
              <a:xfrm>
                <a:off x="13636540" y="6125576"/>
                <a:ext cx="703968" cy="655840"/>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5" name="Rectangle 39">
                <a:extLst>
                  <a:ext uri="{FF2B5EF4-FFF2-40B4-BE49-F238E27FC236}">
                    <a16:creationId xmlns:a16="http://schemas.microsoft.com/office/drawing/2014/main" id="{5023E433-8020-4E49-9DB8-B34C65CD24C8}"/>
                  </a:ext>
                </a:extLst>
              </p:cNvPr>
              <p:cNvSpPr>
                <a:spLocks noChangeArrowheads="1"/>
              </p:cNvSpPr>
              <p:nvPr/>
            </p:nvSpPr>
            <p:spPr bwMode="auto">
              <a:xfrm>
                <a:off x="13636540" y="6125067"/>
                <a:ext cx="181820" cy="656349"/>
              </a:xfrm>
              <a:prstGeom prst="rect">
                <a:avLst/>
              </a:prstGeom>
              <a:solidFill>
                <a:srgbClr val="DC3C00">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6" name="Freeform 40">
                <a:extLst>
                  <a:ext uri="{FF2B5EF4-FFF2-40B4-BE49-F238E27FC236}">
                    <a16:creationId xmlns:a16="http://schemas.microsoft.com/office/drawing/2014/main" id="{15FC925D-84A9-4C2F-805E-4E6B4A117E34}"/>
                  </a:ext>
                </a:extLst>
              </p:cNvPr>
              <p:cNvSpPr>
                <a:spLocks/>
              </p:cNvSpPr>
              <p:nvPr/>
            </p:nvSpPr>
            <p:spPr bwMode="auto">
              <a:xfrm>
                <a:off x="13916262" y="6351001"/>
                <a:ext cx="144523" cy="251750"/>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grpSp>
      </p:grpSp>
      <p:grpSp>
        <p:nvGrpSpPr>
          <p:cNvPr id="14" name="Group 20">
            <a:extLst>
              <a:ext uri="{FF2B5EF4-FFF2-40B4-BE49-F238E27FC236}">
                <a16:creationId xmlns:a16="http://schemas.microsoft.com/office/drawing/2014/main" id="{1BFCBAB8-EE31-4693-9D6C-7E0071E271C2}"/>
              </a:ext>
            </a:extLst>
          </p:cNvPr>
          <p:cNvGrpSpPr>
            <a:grpSpLocks noChangeAspect="1"/>
          </p:cNvGrpSpPr>
          <p:nvPr/>
        </p:nvGrpSpPr>
        <p:grpSpPr bwMode="auto">
          <a:xfrm>
            <a:off x="6410420" y="2090874"/>
            <a:ext cx="1624366" cy="1806330"/>
            <a:chOff x="7198" y="2748"/>
            <a:chExt cx="732" cy="814"/>
          </a:xfrm>
        </p:grpSpPr>
        <p:sp>
          <p:nvSpPr>
            <p:cNvPr id="20" name="Freeform 22">
              <a:extLst>
                <a:ext uri="{FF2B5EF4-FFF2-40B4-BE49-F238E27FC236}">
                  <a16:creationId xmlns:a16="http://schemas.microsoft.com/office/drawing/2014/main" id="{3520F713-6AD2-4F55-9C6C-8B47113ED253}"/>
                </a:ext>
              </a:extLst>
            </p:cNvPr>
            <p:cNvSpPr>
              <a:spLocks/>
            </p:cNvSpPr>
            <p:nvPr/>
          </p:nvSpPr>
          <p:spPr bwMode="auto">
            <a:xfrm>
              <a:off x="7749" y="3213"/>
              <a:ext cx="123" cy="122"/>
            </a:xfrm>
            <a:custGeom>
              <a:avLst/>
              <a:gdLst>
                <a:gd name="T0" fmla="*/ 28 w 261"/>
                <a:gd name="T1" fmla="*/ 0 h 259"/>
                <a:gd name="T2" fmla="*/ 0 w 261"/>
                <a:gd name="T3" fmla="*/ 28 h 259"/>
                <a:gd name="T4" fmla="*/ 225 w 261"/>
                <a:gd name="T5" fmla="*/ 253 h 259"/>
                <a:gd name="T6" fmla="*/ 239 w 261"/>
                <a:gd name="T7" fmla="*/ 259 h 259"/>
                <a:gd name="T8" fmla="*/ 253 w 261"/>
                <a:gd name="T9" fmla="*/ 253 h 259"/>
                <a:gd name="T10" fmla="*/ 253 w 261"/>
                <a:gd name="T11" fmla="*/ 225 h 259"/>
                <a:gd name="T12" fmla="*/ 28 w 261"/>
                <a:gd name="T13" fmla="*/ 0 h 259"/>
              </a:gdLst>
              <a:ahLst/>
              <a:cxnLst>
                <a:cxn ang="0">
                  <a:pos x="T0" y="T1"/>
                </a:cxn>
                <a:cxn ang="0">
                  <a:pos x="T2" y="T3"/>
                </a:cxn>
                <a:cxn ang="0">
                  <a:pos x="T4" y="T5"/>
                </a:cxn>
                <a:cxn ang="0">
                  <a:pos x="T6" y="T7"/>
                </a:cxn>
                <a:cxn ang="0">
                  <a:pos x="T8" y="T9"/>
                </a:cxn>
                <a:cxn ang="0">
                  <a:pos x="T10" y="T11"/>
                </a:cxn>
                <a:cxn ang="0">
                  <a:pos x="T12" y="T13"/>
                </a:cxn>
              </a:cxnLst>
              <a:rect l="0" t="0" r="r" b="b"/>
              <a:pathLst>
                <a:path w="261" h="259">
                  <a:moveTo>
                    <a:pt x="28" y="0"/>
                  </a:moveTo>
                  <a:cubicBezTo>
                    <a:pt x="0" y="28"/>
                    <a:pt x="0" y="28"/>
                    <a:pt x="0" y="28"/>
                  </a:cubicBezTo>
                  <a:cubicBezTo>
                    <a:pt x="225" y="253"/>
                    <a:pt x="225" y="253"/>
                    <a:pt x="225" y="253"/>
                  </a:cubicBezTo>
                  <a:cubicBezTo>
                    <a:pt x="229" y="257"/>
                    <a:pt x="234" y="259"/>
                    <a:pt x="239" y="259"/>
                  </a:cubicBezTo>
                  <a:cubicBezTo>
                    <a:pt x="244" y="259"/>
                    <a:pt x="249" y="257"/>
                    <a:pt x="253" y="253"/>
                  </a:cubicBezTo>
                  <a:cubicBezTo>
                    <a:pt x="261" y="245"/>
                    <a:pt x="261" y="233"/>
                    <a:pt x="253" y="225"/>
                  </a:cubicBezTo>
                  <a:lnTo>
                    <a:pt x="28"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3">
              <a:extLst>
                <a:ext uri="{FF2B5EF4-FFF2-40B4-BE49-F238E27FC236}">
                  <a16:creationId xmlns:a16="http://schemas.microsoft.com/office/drawing/2014/main" id="{0DE07A9B-470B-44DD-9021-613453A77B94}"/>
                </a:ext>
              </a:extLst>
            </p:cNvPr>
            <p:cNvSpPr>
              <a:spLocks/>
            </p:cNvSpPr>
            <p:nvPr/>
          </p:nvSpPr>
          <p:spPr bwMode="auto">
            <a:xfrm>
              <a:off x="7308" y="2772"/>
              <a:ext cx="121" cy="120"/>
            </a:xfrm>
            <a:custGeom>
              <a:avLst/>
              <a:gdLst>
                <a:gd name="T0" fmla="*/ 36 w 256"/>
                <a:gd name="T1" fmla="*/ 8 h 256"/>
                <a:gd name="T2" fmla="*/ 8 w 256"/>
                <a:gd name="T3" fmla="*/ 8 h 256"/>
                <a:gd name="T4" fmla="*/ 8 w 256"/>
                <a:gd name="T5" fmla="*/ 37 h 256"/>
                <a:gd name="T6" fmla="*/ 228 w 256"/>
                <a:gd name="T7" fmla="*/ 256 h 256"/>
                <a:gd name="T8" fmla="*/ 256 w 256"/>
                <a:gd name="T9" fmla="*/ 228 h 256"/>
                <a:gd name="T10" fmla="*/ 36 w 256"/>
                <a:gd name="T11" fmla="*/ 8 h 256"/>
              </a:gdLst>
              <a:ahLst/>
              <a:cxnLst>
                <a:cxn ang="0">
                  <a:pos x="T0" y="T1"/>
                </a:cxn>
                <a:cxn ang="0">
                  <a:pos x="T2" y="T3"/>
                </a:cxn>
                <a:cxn ang="0">
                  <a:pos x="T4" y="T5"/>
                </a:cxn>
                <a:cxn ang="0">
                  <a:pos x="T6" y="T7"/>
                </a:cxn>
                <a:cxn ang="0">
                  <a:pos x="T8" y="T9"/>
                </a:cxn>
                <a:cxn ang="0">
                  <a:pos x="T10" y="T11"/>
                </a:cxn>
              </a:cxnLst>
              <a:rect l="0" t="0" r="r" b="b"/>
              <a:pathLst>
                <a:path w="256" h="256">
                  <a:moveTo>
                    <a:pt x="36" y="8"/>
                  </a:moveTo>
                  <a:cubicBezTo>
                    <a:pt x="29" y="0"/>
                    <a:pt x="16" y="0"/>
                    <a:pt x="8" y="8"/>
                  </a:cubicBezTo>
                  <a:cubicBezTo>
                    <a:pt x="0" y="16"/>
                    <a:pt x="0" y="29"/>
                    <a:pt x="8" y="37"/>
                  </a:cubicBezTo>
                  <a:cubicBezTo>
                    <a:pt x="228" y="256"/>
                    <a:pt x="228" y="256"/>
                    <a:pt x="228" y="256"/>
                  </a:cubicBezTo>
                  <a:cubicBezTo>
                    <a:pt x="256" y="228"/>
                    <a:pt x="256" y="228"/>
                    <a:pt x="256" y="228"/>
                  </a:cubicBezTo>
                  <a:lnTo>
                    <a:pt x="36" y="8"/>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4">
              <a:extLst>
                <a:ext uri="{FF2B5EF4-FFF2-40B4-BE49-F238E27FC236}">
                  <a16:creationId xmlns:a16="http://schemas.microsoft.com/office/drawing/2014/main" id="{1B923516-FF31-4BBA-80F8-8EF8AEA8EA1A}"/>
                </a:ext>
              </a:extLst>
            </p:cNvPr>
            <p:cNvSpPr>
              <a:spLocks/>
            </p:cNvSpPr>
            <p:nvPr/>
          </p:nvSpPr>
          <p:spPr bwMode="auto">
            <a:xfrm>
              <a:off x="7549" y="3416"/>
              <a:ext cx="42" cy="46"/>
            </a:xfrm>
            <a:custGeom>
              <a:avLst/>
              <a:gdLst>
                <a:gd name="T0" fmla="*/ 0 w 42"/>
                <a:gd name="T1" fmla="*/ 46 h 46"/>
                <a:gd name="T2" fmla="*/ 42 w 42"/>
                <a:gd name="T3" fmla="*/ 46 h 46"/>
                <a:gd name="T4" fmla="*/ 42 w 42"/>
                <a:gd name="T5" fmla="*/ 20 h 46"/>
                <a:gd name="T6" fmla="*/ 0 w 42"/>
                <a:gd name="T7" fmla="*/ 0 h 46"/>
                <a:gd name="T8" fmla="*/ 0 w 42"/>
                <a:gd name="T9" fmla="*/ 46 h 46"/>
              </a:gdLst>
              <a:ahLst/>
              <a:cxnLst>
                <a:cxn ang="0">
                  <a:pos x="T0" y="T1"/>
                </a:cxn>
                <a:cxn ang="0">
                  <a:pos x="T2" y="T3"/>
                </a:cxn>
                <a:cxn ang="0">
                  <a:pos x="T4" y="T5"/>
                </a:cxn>
                <a:cxn ang="0">
                  <a:pos x="T6" y="T7"/>
                </a:cxn>
                <a:cxn ang="0">
                  <a:pos x="T8" y="T9"/>
                </a:cxn>
              </a:cxnLst>
              <a:rect l="0" t="0" r="r" b="b"/>
              <a:pathLst>
                <a:path w="42" h="46">
                  <a:moveTo>
                    <a:pt x="0" y="46"/>
                  </a:moveTo>
                  <a:lnTo>
                    <a:pt x="42" y="46"/>
                  </a:lnTo>
                  <a:lnTo>
                    <a:pt x="42" y="20"/>
                  </a:lnTo>
                  <a:lnTo>
                    <a:pt x="0" y="0"/>
                  </a:lnTo>
                  <a:lnTo>
                    <a:pt x="0" y="4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5">
              <a:extLst>
                <a:ext uri="{FF2B5EF4-FFF2-40B4-BE49-F238E27FC236}">
                  <a16:creationId xmlns:a16="http://schemas.microsoft.com/office/drawing/2014/main" id="{C932AE1C-5EDE-47A3-9CF8-96D9AA3B6911}"/>
                </a:ext>
              </a:extLst>
            </p:cNvPr>
            <p:cNvSpPr>
              <a:spLocks/>
            </p:cNvSpPr>
            <p:nvPr/>
          </p:nvSpPr>
          <p:spPr bwMode="auto">
            <a:xfrm>
              <a:off x="7549" y="3400"/>
              <a:ext cx="42" cy="36"/>
            </a:xfrm>
            <a:custGeom>
              <a:avLst/>
              <a:gdLst>
                <a:gd name="T0" fmla="*/ 0 w 42"/>
                <a:gd name="T1" fmla="*/ 0 h 36"/>
                <a:gd name="T2" fmla="*/ 0 w 42"/>
                <a:gd name="T3" fmla="*/ 16 h 36"/>
                <a:gd name="T4" fmla="*/ 42 w 42"/>
                <a:gd name="T5" fmla="*/ 36 h 36"/>
                <a:gd name="T6" fmla="*/ 42 w 42"/>
                <a:gd name="T7" fmla="*/ 0 h 36"/>
                <a:gd name="T8" fmla="*/ 0 w 42"/>
                <a:gd name="T9" fmla="*/ 0 h 36"/>
              </a:gdLst>
              <a:ahLst/>
              <a:cxnLst>
                <a:cxn ang="0">
                  <a:pos x="T0" y="T1"/>
                </a:cxn>
                <a:cxn ang="0">
                  <a:pos x="T2" y="T3"/>
                </a:cxn>
                <a:cxn ang="0">
                  <a:pos x="T4" y="T5"/>
                </a:cxn>
                <a:cxn ang="0">
                  <a:pos x="T6" y="T7"/>
                </a:cxn>
                <a:cxn ang="0">
                  <a:pos x="T8" y="T9"/>
                </a:cxn>
              </a:cxnLst>
              <a:rect l="0" t="0" r="r" b="b"/>
              <a:pathLst>
                <a:path w="42" h="36">
                  <a:moveTo>
                    <a:pt x="0" y="0"/>
                  </a:moveTo>
                  <a:lnTo>
                    <a:pt x="0" y="16"/>
                  </a:lnTo>
                  <a:lnTo>
                    <a:pt x="42" y="36"/>
                  </a:lnTo>
                  <a:lnTo>
                    <a:pt x="42" y="0"/>
                  </a:lnTo>
                  <a:lnTo>
                    <a:pt x="0"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6">
              <a:extLst>
                <a:ext uri="{FF2B5EF4-FFF2-40B4-BE49-F238E27FC236}">
                  <a16:creationId xmlns:a16="http://schemas.microsoft.com/office/drawing/2014/main" id="{F6576C5B-E71B-450C-B2BD-CE0AEC98CF94}"/>
                </a:ext>
              </a:extLst>
            </p:cNvPr>
            <p:cNvSpPr>
              <a:spLocks/>
            </p:cNvSpPr>
            <p:nvPr/>
          </p:nvSpPr>
          <p:spPr bwMode="auto">
            <a:xfrm>
              <a:off x="7218" y="3514"/>
              <a:ext cx="712" cy="48"/>
            </a:xfrm>
            <a:custGeom>
              <a:avLst/>
              <a:gdLst>
                <a:gd name="T0" fmla="*/ 1462 w 1513"/>
                <a:gd name="T1" fmla="*/ 0 h 101"/>
                <a:gd name="T2" fmla="*/ 50 w 1513"/>
                <a:gd name="T3" fmla="*/ 0 h 101"/>
                <a:gd name="T4" fmla="*/ 0 w 1513"/>
                <a:gd name="T5" fmla="*/ 51 h 101"/>
                <a:gd name="T6" fmla="*/ 50 w 1513"/>
                <a:gd name="T7" fmla="*/ 101 h 101"/>
                <a:gd name="T8" fmla="*/ 1462 w 1513"/>
                <a:gd name="T9" fmla="*/ 101 h 101"/>
                <a:gd name="T10" fmla="*/ 1513 w 1513"/>
                <a:gd name="T11" fmla="*/ 51 h 101"/>
                <a:gd name="T12" fmla="*/ 1462 w 1513"/>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513" h="101">
                  <a:moveTo>
                    <a:pt x="1462" y="0"/>
                  </a:moveTo>
                  <a:cubicBezTo>
                    <a:pt x="50" y="0"/>
                    <a:pt x="50" y="0"/>
                    <a:pt x="50" y="0"/>
                  </a:cubicBezTo>
                  <a:cubicBezTo>
                    <a:pt x="23" y="0"/>
                    <a:pt x="0" y="23"/>
                    <a:pt x="0" y="51"/>
                  </a:cubicBezTo>
                  <a:cubicBezTo>
                    <a:pt x="0" y="78"/>
                    <a:pt x="23" y="101"/>
                    <a:pt x="50" y="101"/>
                  </a:cubicBezTo>
                  <a:cubicBezTo>
                    <a:pt x="1462" y="101"/>
                    <a:pt x="1462" y="101"/>
                    <a:pt x="1462" y="101"/>
                  </a:cubicBezTo>
                  <a:cubicBezTo>
                    <a:pt x="1490" y="101"/>
                    <a:pt x="1513" y="78"/>
                    <a:pt x="1513" y="51"/>
                  </a:cubicBezTo>
                  <a:cubicBezTo>
                    <a:pt x="1513" y="23"/>
                    <a:pt x="1490" y="0"/>
                    <a:pt x="1462"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7">
              <a:extLst>
                <a:ext uri="{FF2B5EF4-FFF2-40B4-BE49-F238E27FC236}">
                  <a16:creationId xmlns:a16="http://schemas.microsoft.com/office/drawing/2014/main" id="{AAFCED7D-17E7-494A-AD9D-2E7BE23DC52E}"/>
                </a:ext>
              </a:extLst>
            </p:cNvPr>
            <p:cNvSpPr>
              <a:spLocks/>
            </p:cNvSpPr>
            <p:nvPr/>
          </p:nvSpPr>
          <p:spPr bwMode="auto">
            <a:xfrm>
              <a:off x="7440" y="3441"/>
              <a:ext cx="245" cy="87"/>
            </a:xfrm>
            <a:custGeom>
              <a:avLst/>
              <a:gdLst>
                <a:gd name="T0" fmla="*/ 0 w 245"/>
                <a:gd name="T1" fmla="*/ 0 h 87"/>
                <a:gd name="T2" fmla="*/ 0 w 245"/>
                <a:gd name="T3" fmla="*/ 87 h 87"/>
                <a:gd name="T4" fmla="*/ 245 w 245"/>
                <a:gd name="T5" fmla="*/ 87 h 87"/>
                <a:gd name="T6" fmla="*/ 54 w 245"/>
                <a:gd name="T7" fmla="*/ 0 h 87"/>
                <a:gd name="T8" fmla="*/ 0 w 245"/>
                <a:gd name="T9" fmla="*/ 0 h 87"/>
              </a:gdLst>
              <a:ahLst/>
              <a:cxnLst>
                <a:cxn ang="0">
                  <a:pos x="T0" y="T1"/>
                </a:cxn>
                <a:cxn ang="0">
                  <a:pos x="T2" y="T3"/>
                </a:cxn>
                <a:cxn ang="0">
                  <a:pos x="T4" y="T5"/>
                </a:cxn>
                <a:cxn ang="0">
                  <a:pos x="T6" y="T7"/>
                </a:cxn>
                <a:cxn ang="0">
                  <a:pos x="T8" y="T9"/>
                </a:cxn>
              </a:cxnLst>
              <a:rect l="0" t="0" r="r" b="b"/>
              <a:pathLst>
                <a:path w="245" h="87">
                  <a:moveTo>
                    <a:pt x="0" y="0"/>
                  </a:moveTo>
                  <a:lnTo>
                    <a:pt x="0" y="87"/>
                  </a:lnTo>
                  <a:lnTo>
                    <a:pt x="245" y="87"/>
                  </a:lnTo>
                  <a:lnTo>
                    <a:pt x="5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8">
              <a:extLst>
                <a:ext uri="{FF2B5EF4-FFF2-40B4-BE49-F238E27FC236}">
                  <a16:creationId xmlns:a16="http://schemas.microsoft.com/office/drawing/2014/main" id="{05C710AA-6775-4F2A-AC22-78B9ACAF52AF}"/>
                </a:ext>
              </a:extLst>
            </p:cNvPr>
            <p:cNvSpPr>
              <a:spLocks/>
            </p:cNvSpPr>
            <p:nvPr/>
          </p:nvSpPr>
          <p:spPr bwMode="auto">
            <a:xfrm>
              <a:off x="7494" y="3441"/>
              <a:ext cx="206" cy="87"/>
            </a:xfrm>
            <a:custGeom>
              <a:avLst/>
              <a:gdLst>
                <a:gd name="T0" fmla="*/ 206 w 206"/>
                <a:gd name="T1" fmla="*/ 0 h 87"/>
                <a:gd name="T2" fmla="*/ 0 w 206"/>
                <a:gd name="T3" fmla="*/ 0 h 87"/>
                <a:gd name="T4" fmla="*/ 191 w 206"/>
                <a:gd name="T5" fmla="*/ 87 h 87"/>
                <a:gd name="T6" fmla="*/ 206 w 206"/>
                <a:gd name="T7" fmla="*/ 87 h 87"/>
                <a:gd name="T8" fmla="*/ 206 w 206"/>
                <a:gd name="T9" fmla="*/ 0 h 87"/>
              </a:gdLst>
              <a:ahLst/>
              <a:cxnLst>
                <a:cxn ang="0">
                  <a:pos x="T0" y="T1"/>
                </a:cxn>
                <a:cxn ang="0">
                  <a:pos x="T2" y="T3"/>
                </a:cxn>
                <a:cxn ang="0">
                  <a:pos x="T4" y="T5"/>
                </a:cxn>
                <a:cxn ang="0">
                  <a:pos x="T6" y="T7"/>
                </a:cxn>
                <a:cxn ang="0">
                  <a:pos x="T8" y="T9"/>
                </a:cxn>
              </a:cxnLst>
              <a:rect l="0" t="0" r="r" b="b"/>
              <a:pathLst>
                <a:path w="206" h="87">
                  <a:moveTo>
                    <a:pt x="206" y="0"/>
                  </a:moveTo>
                  <a:lnTo>
                    <a:pt x="0" y="0"/>
                  </a:lnTo>
                  <a:lnTo>
                    <a:pt x="191" y="87"/>
                  </a:lnTo>
                  <a:lnTo>
                    <a:pt x="206" y="87"/>
                  </a:lnTo>
                  <a:lnTo>
                    <a:pt x="206"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9">
              <a:extLst>
                <a:ext uri="{FF2B5EF4-FFF2-40B4-BE49-F238E27FC236}">
                  <a16:creationId xmlns:a16="http://schemas.microsoft.com/office/drawing/2014/main" id="{19F714BA-2D2C-4D0E-A165-72183030CE33}"/>
                </a:ext>
              </a:extLst>
            </p:cNvPr>
            <p:cNvSpPr>
              <a:spLocks/>
            </p:cNvSpPr>
            <p:nvPr/>
          </p:nvSpPr>
          <p:spPr bwMode="auto">
            <a:xfrm>
              <a:off x="7495" y="3484"/>
              <a:ext cx="304" cy="54"/>
            </a:xfrm>
            <a:custGeom>
              <a:avLst/>
              <a:gdLst>
                <a:gd name="T0" fmla="*/ 0 w 304"/>
                <a:gd name="T1" fmla="*/ 0 h 54"/>
                <a:gd name="T2" fmla="*/ 120 w 304"/>
                <a:gd name="T3" fmla="*/ 54 h 54"/>
                <a:gd name="T4" fmla="*/ 304 w 304"/>
                <a:gd name="T5" fmla="*/ 54 h 54"/>
                <a:gd name="T6" fmla="*/ 304 w 304"/>
                <a:gd name="T7" fmla="*/ 0 h 54"/>
                <a:gd name="T8" fmla="*/ 0 w 304"/>
                <a:gd name="T9" fmla="*/ 0 h 54"/>
              </a:gdLst>
              <a:ahLst/>
              <a:cxnLst>
                <a:cxn ang="0">
                  <a:pos x="T0" y="T1"/>
                </a:cxn>
                <a:cxn ang="0">
                  <a:pos x="T2" y="T3"/>
                </a:cxn>
                <a:cxn ang="0">
                  <a:pos x="T4" y="T5"/>
                </a:cxn>
                <a:cxn ang="0">
                  <a:pos x="T6" y="T7"/>
                </a:cxn>
                <a:cxn ang="0">
                  <a:pos x="T8" y="T9"/>
                </a:cxn>
              </a:cxnLst>
              <a:rect l="0" t="0" r="r" b="b"/>
              <a:pathLst>
                <a:path w="304" h="54">
                  <a:moveTo>
                    <a:pt x="0" y="0"/>
                  </a:moveTo>
                  <a:lnTo>
                    <a:pt x="120" y="54"/>
                  </a:lnTo>
                  <a:lnTo>
                    <a:pt x="304" y="54"/>
                  </a:lnTo>
                  <a:lnTo>
                    <a:pt x="304" y="0"/>
                  </a:lnTo>
                  <a:lnTo>
                    <a:pt x="0"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68" name="Freeform 30">
              <a:extLst>
                <a:ext uri="{FF2B5EF4-FFF2-40B4-BE49-F238E27FC236}">
                  <a16:creationId xmlns:a16="http://schemas.microsoft.com/office/drawing/2014/main" id="{6171763C-7370-412E-8175-9E2CD3F35C6D}"/>
                </a:ext>
              </a:extLst>
            </p:cNvPr>
            <p:cNvSpPr>
              <a:spLocks/>
            </p:cNvSpPr>
            <p:nvPr/>
          </p:nvSpPr>
          <p:spPr bwMode="auto">
            <a:xfrm>
              <a:off x="7341" y="3484"/>
              <a:ext cx="274" cy="54"/>
            </a:xfrm>
            <a:custGeom>
              <a:avLst/>
              <a:gdLst>
                <a:gd name="T0" fmla="*/ 0 w 274"/>
                <a:gd name="T1" fmla="*/ 0 h 54"/>
                <a:gd name="T2" fmla="*/ 0 w 274"/>
                <a:gd name="T3" fmla="*/ 54 h 54"/>
                <a:gd name="T4" fmla="*/ 274 w 274"/>
                <a:gd name="T5" fmla="*/ 54 h 54"/>
                <a:gd name="T6" fmla="*/ 154 w 274"/>
                <a:gd name="T7" fmla="*/ 0 h 54"/>
                <a:gd name="T8" fmla="*/ 0 w 274"/>
                <a:gd name="T9" fmla="*/ 0 h 54"/>
              </a:gdLst>
              <a:ahLst/>
              <a:cxnLst>
                <a:cxn ang="0">
                  <a:pos x="T0" y="T1"/>
                </a:cxn>
                <a:cxn ang="0">
                  <a:pos x="T2" y="T3"/>
                </a:cxn>
                <a:cxn ang="0">
                  <a:pos x="T4" y="T5"/>
                </a:cxn>
                <a:cxn ang="0">
                  <a:pos x="T6" y="T7"/>
                </a:cxn>
                <a:cxn ang="0">
                  <a:pos x="T8" y="T9"/>
                </a:cxn>
              </a:cxnLst>
              <a:rect l="0" t="0" r="r" b="b"/>
              <a:pathLst>
                <a:path w="274" h="54">
                  <a:moveTo>
                    <a:pt x="0" y="0"/>
                  </a:moveTo>
                  <a:lnTo>
                    <a:pt x="0" y="54"/>
                  </a:lnTo>
                  <a:lnTo>
                    <a:pt x="274" y="54"/>
                  </a:lnTo>
                  <a:lnTo>
                    <a:pt x="15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69" name="Freeform 31">
              <a:extLst>
                <a:ext uri="{FF2B5EF4-FFF2-40B4-BE49-F238E27FC236}">
                  <a16:creationId xmlns:a16="http://schemas.microsoft.com/office/drawing/2014/main" id="{00E56205-23D0-468E-877B-4005BE437F53}"/>
                </a:ext>
              </a:extLst>
            </p:cNvPr>
            <p:cNvSpPr>
              <a:spLocks/>
            </p:cNvSpPr>
            <p:nvPr/>
          </p:nvSpPr>
          <p:spPr bwMode="auto">
            <a:xfrm>
              <a:off x="7484" y="2925"/>
              <a:ext cx="410" cy="429"/>
            </a:xfrm>
            <a:custGeom>
              <a:avLst/>
              <a:gdLst>
                <a:gd name="T0" fmla="*/ 754 w 871"/>
                <a:gd name="T1" fmla="*/ 0 h 912"/>
                <a:gd name="T2" fmla="*/ 469 w 871"/>
                <a:gd name="T3" fmla="*/ 557 h 912"/>
                <a:gd name="T4" fmla="*/ 0 w 871"/>
                <a:gd name="T5" fmla="*/ 823 h 912"/>
                <a:gd name="T6" fmla="*/ 647 w 871"/>
                <a:gd name="T7" fmla="*/ 694 h 912"/>
                <a:gd name="T8" fmla="*/ 754 w 871"/>
                <a:gd name="T9" fmla="*/ 0 h 912"/>
              </a:gdLst>
              <a:ahLst/>
              <a:cxnLst>
                <a:cxn ang="0">
                  <a:pos x="T0" y="T1"/>
                </a:cxn>
                <a:cxn ang="0">
                  <a:pos x="T2" y="T3"/>
                </a:cxn>
                <a:cxn ang="0">
                  <a:pos x="T4" y="T5"/>
                </a:cxn>
                <a:cxn ang="0">
                  <a:pos x="T6" y="T7"/>
                </a:cxn>
                <a:cxn ang="0">
                  <a:pos x="T8" y="T9"/>
                </a:cxn>
              </a:cxnLst>
              <a:rect l="0" t="0" r="r" b="b"/>
              <a:pathLst>
                <a:path w="871" h="912">
                  <a:moveTo>
                    <a:pt x="754" y="0"/>
                  </a:moveTo>
                  <a:cubicBezTo>
                    <a:pt x="721" y="204"/>
                    <a:pt x="627" y="399"/>
                    <a:pt x="469" y="557"/>
                  </a:cubicBezTo>
                  <a:cubicBezTo>
                    <a:pt x="335" y="691"/>
                    <a:pt x="172" y="780"/>
                    <a:pt x="0" y="823"/>
                  </a:cubicBezTo>
                  <a:cubicBezTo>
                    <a:pt x="215" y="912"/>
                    <a:pt x="472" y="869"/>
                    <a:pt x="647" y="694"/>
                  </a:cubicBezTo>
                  <a:cubicBezTo>
                    <a:pt x="835" y="506"/>
                    <a:pt x="871" y="224"/>
                    <a:pt x="754"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0" name="Freeform 32">
              <a:extLst>
                <a:ext uri="{FF2B5EF4-FFF2-40B4-BE49-F238E27FC236}">
                  <a16:creationId xmlns:a16="http://schemas.microsoft.com/office/drawing/2014/main" id="{A24FCF53-C998-44B6-B7E9-2E64B4B594AB}"/>
                </a:ext>
              </a:extLst>
            </p:cNvPr>
            <p:cNvSpPr>
              <a:spLocks/>
            </p:cNvSpPr>
            <p:nvPr/>
          </p:nvSpPr>
          <p:spPr bwMode="auto">
            <a:xfrm>
              <a:off x="7284" y="2748"/>
              <a:ext cx="555" cy="564"/>
            </a:xfrm>
            <a:custGeom>
              <a:avLst/>
              <a:gdLst>
                <a:gd name="T0" fmla="*/ 1179 w 1179"/>
                <a:gd name="T1" fmla="*/ 377 h 1200"/>
                <a:gd name="T2" fmla="*/ 1072 w 1179"/>
                <a:gd name="T3" fmla="*/ 231 h 1200"/>
                <a:gd name="T4" fmla="*/ 232 w 1179"/>
                <a:gd name="T5" fmla="*/ 231 h 1200"/>
                <a:gd name="T6" fmla="*/ 232 w 1179"/>
                <a:gd name="T7" fmla="*/ 1071 h 1200"/>
                <a:gd name="T8" fmla="*/ 425 w 1179"/>
                <a:gd name="T9" fmla="*/ 1200 h 1200"/>
                <a:gd name="T10" fmla="*/ 894 w 1179"/>
                <a:gd name="T11" fmla="*/ 934 h 1200"/>
                <a:gd name="T12" fmla="*/ 1179 w 1179"/>
                <a:gd name="T13" fmla="*/ 377 h 1200"/>
              </a:gdLst>
              <a:ahLst/>
              <a:cxnLst>
                <a:cxn ang="0">
                  <a:pos x="T0" y="T1"/>
                </a:cxn>
                <a:cxn ang="0">
                  <a:pos x="T2" y="T3"/>
                </a:cxn>
                <a:cxn ang="0">
                  <a:pos x="T4" y="T5"/>
                </a:cxn>
                <a:cxn ang="0">
                  <a:pos x="T6" y="T7"/>
                </a:cxn>
                <a:cxn ang="0">
                  <a:pos x="T8" y="T9"/>
                </a:cxn>
                <a:cxn ang="0">
                  <a:pos x="T10" y="T11"/>
                </a:cxn>
                <a:cxn ang="0">
                  <a:pos x="T12" y="T13"/>
                </a:cxn>
              </a:cxnLst>
              <a:rect l="0" t="0" r="r" b="b"/>
              <a:pathLst>
                <a:path w="1179" h="1200">
                  <a:moveTo>
                    <a:pt x="1179" y="377"/>
                  </a:moveTo>
                  <a:cubicBezTo>
                    <a:pt x="1152" y="324"/>
                    <a:pt x="1116" y="275"/>
                    <a:pt x="1072" y="231"/>
                  </a:cubicBezTo>
                  <a:cubicBezTo>
                    <a:pt x="840" y="0"/>
                    <a:pt x="464" y="0"/>
                    <a:pt x="232" y="231"/>
                  </a:cubicBezTo>
                  <a:cubicBezTo>
                    <a:pt x="0" y="463"/>
                    <a:pt x="0" y="839"/>
                    <a:pt x="232" y="1071"/>
                  </a:cubicBezTo>
                  <a:cubicBezTo>
                    <a:pt x="289" y="1128"/>
                    <a:pt x="355" y="1171"/>
                    <a:pt x="425" y="1200"/>
                  </a:cubicBezTo>
                  <a:cubicBezTo>
                    <a:pt x="597" y="1157"/>
                    <a:pt x="760" y="1068"/>
                    <a:pt x="894" y="934"/>
                  </a:cubicBezTo>
                  <a:cubicBezTo>
                    <a:pt x="1052" y="776"/>
                    <a:pt x="1146" y="581"/>
                    <a:pt x="1179" y="3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1" name="Freeform 33">
              <a:extLst>
                <a:ext uri="{FF2B5EF4-FFF2-40B4-BE49-F238E27FC236}">
                  <a16:creationId xmlns:a16="http://schemas.microsoft.com/office/drawing/2014/main" id="{B21BD2A1-5A59-4829-A1C2-8501871FA645}"/>
                </a:ext>
              </a:extLst>
            </p:cNvPr>
            <p:cNvSpPr>
              <a:spLocks/>
            </p:cNvSpPr>
            <p:nvPr/>
          </p:nvSpPr>
          <p:spPr bwMode="auto">
            <a:xfrm>
              <a:off x="7198" y="2802"/>
              <a:ext cx="465" cy="610"/>
            </a:xfrm>
            <a:custGeom>
              <a:avLst/>
              <a:gdLst>
                <a:gd name="T0" fmla="*/ 792 w 987"/>
                <a:gd name="T1" fmla="*/ 1208 h 1298"/>
                <a:gd name="T2" fmla="*/ 359 w 987"/>
                <a:gd name="T3" fmla="*/ 1013 h 1298"/>
                <a:gd name="T4" fmla="*/ 359 w 987"/>
                <a:gd name="T5" fmla="*/ 62 h 1298"/>
                <a:gd name="T6" fmla="*/ 297 w 987"/>
                <a:gd name="T7" fmla="*/ 0 h 1298"/>
                <a:gd name="T8" fmla="*/ 297 w 987"/>
                <a:gd name="T9" fmla="*/ 1075 h 1298"/>
                <a:gd name="T10" fmla="*/ 787 w 987"/>
                <a:gd name="T11" fmla="*/ 1296 h 1298"/>
                <a:gd name="T12" fmla="*/ 834 w 987"/>
                <a:gd name="T13" fmla="*/ 1298 h 1298"/>
                <a:gd name="T14" fmla="*/ 987 w 987"/>
                <a:gd name="T15" fmla="*/ 1282 h 1298"/>
                <a:gd name="T16" fmla="*/ 828 w 987"/>
                <a:gd name="T17" fmla="*/ 1210 h 1298"/>
                <a:gd name="T18" fmla="*/ 792 w 987"/>
                <a:gd name="T19" fmla="*/ 1208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7" h="1298">
                  <a:moveTo>
                    <a:pt x="792" y="1208"/>
                  </a:moveTo>
                  <a:cubicBezTo>
                    <a:pt x="629" y="1198"/>
                    <a:pt x="475" y="1129"/>
                    <a:pt x="359" y="1013"/>
                  </a:cubicBezTo>
                  <a:cubicBezTo>
                    <a:pt x="97" y="751"/>
                    <a:pt x="97" y="324"/>
                    <a:pt x="359" y="62"/>
                  </a:cubicBezTo>
                  <a:cubicBezTo>
                    <a:pt x="297" y="0"/>
                    <a:pt x="297" y="0"/>
                    <a:pt x="297" y="0"/>
                  </a:cubicBezTo>
                  <a:cubicBezTo>
                    <a:pt x="0" y="296"/>
                    <a:pt x="0" y="779"/>
                    <a:pt x="297" y="1075"/>
                  </a:cubicBezTo>
                  <a:cubicBezTo>
                    <a:pt x="428" y="1206"/>
                    <a:pt x="602" y="1285"/>
                    <a:pt x="787" y="1296"/>
                  </a:cubicBezTo>
                  <a:cubicBezTo>
                    <a:pt x="803" y="1297"/>
                    <a:pt x="818" y="1298"/>
                    <a:pt x="834" y="1298"/>
                  </a:cubicBezTo>
                  <a:cubicBezTo>
                    <a:pt x="886" y="1298"/>
                    <a:pt x="937" y="1292"/>
                    <a:pt x="987" y="1282"/>
                  </a:cubicBezTo>
                  <a:cubicBezTo>
                    <a:pt x="828" y="1210"/>
                    <a:pt x="828" y="1210"/>
                    <a:pt x="828" y="1210"/>
                  </a:cubicBezTo>
                  <a:cubicBezTo>
                    <a:pt x="816" y="1210"/>
                    <a:pt x="804" y="1209"/>
                    <a:pt x="792" y="1208"/>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2" name="Freeform 34">
              <a:extLst>
                <a:ext uri="{FF2B5EF4-FFF2-40B4-BE49-F238E27FC236}">
                  <a16:creationId xmlns:a16="http://schemas.microsoft.com/office/drawing/2014/main" id="{2611A38D-D715-4638-8AC9-A430020EAC82}"/>
                </a:ext>
              </a:extLst>
            </p:cNvPr>
            <p:cNvSpPr>
              <a:spLocks/>
            </p:cNvSpPr>
            <p:nvPr/>
          </p:nvSpPr>
          <p:spPr bwMode="auto">
            <a:xfrm>
              <a:off x="7588" y="3278"/>
              <a:ext cx="256" cy="127"/>
            </a:xfrm>
            <a:custGeom>
              <a:avLst/>
              <a:gdLst>
                <a:gd name="T0" fmla="*/ 482 w 544"/>
                <a:gd name="T1" fmla="*/ 0 h 269"/>
                <a:gd name="T2" fmla="*/ 0 w 544"/>
                <a:gd name="T3" fmla="*/ 197 h 269"/>
                <a:gd name="T4" fmla="*/ 159 w 544"/>
                <a:gd name="T5" fmla="*/ 269 h 269"/>
                <a:gd name="T6" fmla="*/ 544 w 544"/>
                <a:gd name="T7" fmla="*/ 62 h 269"/>
                <a:gd name="T8" fmla="*/ 482 w 544"/>
                <a:gd name="T9" fmla="*/ 0 h 269"/>
              </a:gdLst>
              <a:ahLst/>
              <a:cxnLst>
                <a:cxn ang="0">
                  <a:pos x="T0" y="T1"/>
                </a:cxn>
                <a:cxn ang="0">
                  <a:pos x="T2" y="T3"/>
                </a:cxn>
                <a:cxn ang="0">
                  <a:pos x="T4" y="T5"/>
                </a:cxn>
                <a:cxn ang="0">
                  <a:pos x="T6" y="T7"/>
                </a:cxn>
                <a:cxn ang="0">
                  <a:pos x="T8" y="T9"/>
                </a:cxn>
              </a:cxnLst>
              <a:rect l="0" t="0" r="r" b="b"/>
              <a:pathLst>
                <a:path w="544" h="269">
                  <a:moveTo>
                    <a:pt x="482" y="0"/>
                  </a:moveTo>
                  <a:cubicBezTo>
                    <a:pt x="354" y="128"/>
                    <a:pt x="180" y="198"/>
                    <a:pt x="0" y="197"/>
                  </a:cubicBezTo>
                  <a:cubicBezTo>
                    <a:pt x="159" y="269"/>
                    <a:pt x="159" y="269"/>
                    <a:pt x="159" y="269"/>
                  </a:cubicBezTo>
                  <a:cubicBezTo>
                    <a:pt x="303" y="239"/>
                    <a:pt x="438" y="168"/>
                    <a:pt x="544" y="62"/>
                  </a:cubicBezTo>
                  <a:lnTo>
                    <a:pt x="482"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3" name="Freeform 35">
              <a:extLst>
                <a:ext uri="{FF2B5EF4-FFF2-40B4-BE49-F238E27FC236}">
                  <a16:creationId xmlns:a16="http://schemas.microsoft.com/office/drawing/2014/main" id="{E6097FDE-8581-42AD-AAD1-D17ECF56B577}"/>
                </a:ext>
              </a:extLst>
            </p:cNvPr>
            <p:cNvSpPr>
              <a:spLocks/>
            </p:cNvSpPr>
            <p:nvPr/>
          </p:nvSpPr>
          <p:spPr bwMode="auto">
            <a:xfrm>
              <a:off x="7314" y="2794"/>
              <a:ext cx="176" cy="221"/>
            </a:xfrm>
            <a:custGeom>
              <a:avLst/>
              <a:gdLst>
                <a:gd name="T0" fmla="*/ 19 w 374"/>
                <a:gd name="T1" fmla="*/ 441 h 471"/>
                <a:gd name="T2" fmla="*/ 96 w 374"/>
                <a:gd name="T3" fmla="*/ 381 h 471"/>
                <a:gd name="T4" fmla="*/ 152 w 374"/>
                <a:gd name="T5" fmla="*/ 333 h 471"/>
                <a:gd name="T6" fmla="*/ 150 w 374"/>
                <a:gd name="T7" fmla="*/ 332 h 471"/>
                <a:gd name="T8" fmla="*/ 143 w 374"/>
                <a:gd name="T9" fmla="*/ 327 h 471"/>
                <a:gd name="T10" fmla="*/ 143 w 374"/>
                <a:gd name="T11" fmla="*/ 318 h 471"/>
                <a:gd name="T12" fmla="*/ 169 w 374"/>
                <a:gd name="T13" fmla="*/ 267 h 471"/>
                <a:gd name="T14" fmla="*/ 218 w 374"/>
                <a:gd name="T15" fmla="*/ 218 h 471"/>
                <a:gd name="T16" fmla="*/ 245 w 374"/>
                <a:gd name="T17" fmla="*/ 199 h 471"/>
                <a:gd name="T18" fmla="*/ 255 w 374"/>
                <a:gd name="T19" fmla="*/ 199 h 471"/>
                <a:gd name="T20" fmla="*/ 270 w 374"/>
                <a:gd name="T21" fmla="*/ 205 h 471"/>
                <a:gd name="T22" fmla="*/ 273 w 374"/>
                <a:gd name="T23" fmla="*/ 197 h 471"/>
                <a:gd name="T24" fmla="*/ 273 w 374"/>
                <a:gd name="T25" fmla="*/ 157 h 471"/>
                <a:gd name="T26" fmla="*/ 273 w 374"/>
                <a:gd name="T27" fmla="*/ 152 h 471"/>
                <a:gd name="T28" fmla="*/ 285 w 374"/>
                <a:gd name="T29" fmla="*/ 125 h 471"/>
                <a:gd name="T30" fmla="*/ 278 w 374"/>
                <a:gd name="T31" fmla="*/ 127 h 471"/>
                <a:gd name="T32" fmla="*/ 267 w 374"/>
                <a:gd name="T33" fmla="*/ 122 h 471"/>
                <a:gd name="T34" fmla="*/ 267 w 374"/>
                <a:gd name="T35" fmla="*/ 110 h 471"/>
                <a:gd name="T36" fmla="*/ 301 w 374"/>
                <a:gd name="T37" fmla="*/ 63 h 471"/>
                <a:gd name="T38" fmla="*/ 302 w 374"/>
                <a:gd name="T39" fmla="*/ 62 h 471"/>
                <a:gd name="T40" fmla="*/ 353 w 374"/>
                <a:gd name="T41" fmla="*/ 11 h 471"/>
                <a:gd name="T42" fmla="*/ 366 w 374"/>
                <a:gd name="T43" fmla="*/ 9 h 471"/>
                <a:gd name="T44" fmla="*/ 367 w 374"/>
                <a:gd name="T45" fmla="*/ 9 h 471"/>
                <a:gd name="T46" fmla="*/ 374 w 374"/>
                <a:gd name="T47" fmla="*/ 0 h 471"/>
                <a:gd name="T48" fmla="*/ 168 w 374"/>
                <a:gd name="T49" fmla="*/ 134 h 471"/>
                <a:gd name="T50" fmla="*/ 0 w 374"/>
                <a:gd name="T51" fmla="*/ 471 h 471"/>
                <a:gd name="T52" fmla="*/ 16 w 374"/>
                <a:gd name="T53" fmla="*/ 444 h 471"/>
                <a:gd name="T54" fmla="*/ 19 w 374"/>
                <a:gd name="T55" fmla="*/ 44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4" h="471">
                  <a:moveTo>
                    <a:pt x="19" y="441"/>
                  </a:moveTo>
                  <a:cubicBezTo>
                    <a:pt x="96" y="381"/>
                    <a:pt x="96" y="381"/>
                    <a:pt x="96" y="381"/>
                  </a:cubicBezTo>
                  <a:cubicBezTo>
                    <a:pt x="152" y="333"/>
                    <a:pt x="152" y="333"/>
                    <a:pt x="152" y="333"/>
                  </a:cubicBezTo>
                  <a:cubicBezTo>
                    <a:pt x="150" y="332"/>
                    <a:pt x="150" y="332"/>
                    <a:pt x="150" y="332"/>
                  </a:cubicBezTo>
                  <a:cubicBezTo>
                    <a:pt x="147" y="332"/>
                    <a:pt x="144" y="330"/>
                    <a:pt x="143" y="327"/>
                  </a:cubicBezTo>
                  <a:cubicBezTo>
                    <a:pt x="142" y="324"/>
                    <a:pt x="141" y="321"/>
                    <a:pt x="143" y="318"/>
                  </a:cubicBezTo>
                  <a:cubicBezTo>
                    <a:pt x="146" y="309"/>
                    <a:pt x="159" y="276"/>
                    <a:pt x="169" y="267"/>
                  </a:cubicBezTo>
                  <a:cubicBezTo>
                    <a:pt x="218" y="218"/>
                    <a:pt x="218" y="218"/>
                    <a:pt x="218" y="218"/>
                  </a:cubicBezTo>
                  <a:cubicBezTo>
                    <a:pt x="224" y="211"/>
                    <a:pt x="242" y="201"/>
                    <a:pt x="245" y="199"/>
                  </a:cubicBezTo>
                  <a:cubicBezTo>
                    <a:pt x="248" y="198"/>
                    <a:pt x="252" y="198"/>
                    <a:pt x="255" y="199"/>
                  </a:cubicBezTo>
                  <a:cubicBezTo>
                    <a:pt x="256" y="199"/>
                    <a:pt x="263" y="202"/>
                    <a:pt x="270" y="205"/>
                  </a:cubicBezTo>
                  <a:cubicBezTo>
                    <a:pt x="271" y="203"/>
                    <a:pt x="272" y="200"/>
                    <a:pt x="273" y="197"/>
                  </a:cubicBezTo>
                  <a:cubicBezTo>
                    <a:pt x="273" y="157"/>
                    <a:pt x="273" y="157"/>
                    <a:pt x="273" y="157"/>
                  </a:cubicBezTo>
                  <a:cubicBezTo>
                    <a:pt x="273" y="155"/>
                    <a:pt x="273" y="154"/>
                    <a:pt x="273" y="152"/>
                  </a:cubicBezTo>
                  <a:cubicBezTo>
                    <a:pt x="285" y="125"/>
                    <a:pt x="285" y="125"/>
                    <a:pt x="285" y="125"/>
                  </a:cubicBezTo>
                  <a:cubicBezTo>
                    <a:pt x="278" y="127"/>
                    <a:pt x="278" y="127"/>
                    <a:pt x="278" y="127"/>
                  </a:cubicBezTo>
                  <a:cubicBezTo>
                    <a:pt x="274" y="128"/>
                    <a:pt x="269" y="126"/>
                    <a:pt x="267" y="122"/>
                  </a:cubicBezTo>
                  <a:cubicBezTo>
                    <a:pt x="264" y="118"/>
                    <a:pt x="264" y="113"/>
                    <a:pt x="267" y="110"/>
                  </a:cubicBezTo>
                  <a:cubicBezTo>
                    <a:pt x="301" y="63"/>
                    <a:pt x="301" y="63"/>
                    <a:pt x="301" y="63"/>
                  </a:cubicBezTo>
                  <a:cubicBezTo>
                    <a:pt x="301" y="63"/>
                    <a:pt x="301" y="62"/>
                    <a:pt x="302" y="62"/>
                  </a:cubicBezTo>
                  <a:cubicBezTo>
                    <a:pt x="353" y="11"/>
                    <a:pt x="353" y="11"/>
                    <a:pt x="353" y="11"/>
                  </a:cubicBezTo>
                  <a:cubicBezTo>
                    <a:pt x="356" y="7"/>
                    <a:pt x="362" y="6"/>
                    <a:pt x="366" y="9"/>
                  </a:cubicBezTo>
                  <a:cubicBezTo>
                    <a:pt x="366" y="9"/>
                    <a:pt x="367" y="9"/>
                    <a:pt x="367" y="9"/>
                  </a:cubicBezTo>
                  <a:cubicBezTo>
                    <a:pt x="374" y="0"/>
                    <a:pt x="374" y="0"/>
                    <a:pt x="374" y="0"/>
                  </a:cubicBezTo>
                  <a:cubicBezTo>
                    <a:pt x="299" y="29"/>
                    <a:pt x="229" y="74"/>
                    <a:pt x="168" y="134"/>
                  </a:cubicBezTo>
                  <a:cubicBezTo>
                    <a:pt x="74" y="229"/>
                    <a:pt x="18" y="348"/>
                    <a:pt x="0" y="471"/>
                  </a:cubicBezTo>
                  <a:cubicBezTo>
                    <a:pt x="16" y="444"/>
                    <a:pt x="16" y="444"/>
                    <a:pt x="16" y="444"/>
                  </a:cubicBezTo>
                  <a:cubicBezTo>
                    <a:pt x="17" y="443"/>
                    <a:pt x="17" y="442"/>
                    <a:pt x="19" y="441"/>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4" name="Freeform 36">
              <a:extLst>
                <a:ext uri="{FF2B5EF4-FFF2-40B4-BE49-F238E27FC236}">
                  <a16:creationId xmlns:a16="http://schemas.microsoft.com/office/drawing/2014/main" id="{37FA9B4E-E602-42B1-AF11-BBB124F66DBD}"/>
                </a:ext>
              </a:extLst>
            </p:cNvPr>
            <p:cNvSpPr>
              <a:spLocks/>
            </p:cNvSpPr>
            <p:nvPr/>
          </p:nvSpPr>
          <p:spPr bwMode="auto">
            <a:xfrm>
              <a:off x="7310" y="2776"/>
              <a:ext cx="256" cy="344"/>
            </a:xfrm>
            <a:custGeom>
              <a:avLst/>
              <a:gdLst>
                <a:gd name="T0" fmla="*/ 438 w 544"/>
                <a:gd name="T1" fmla="*/ 373 h 730"/>
                <a:gd name="T2" fmla="*/ 463 w 544"/>
                <a:gd name="T3" fmla="*/ 337 h 730"/>
                <a:gd name="T4" fmla="*/ 444 w 544"/>
                <a:gd name="T5" fmla="*/ 315 h 730"/>
                <a:gd name="T6" fmla="*/ 430 w 544"/>
                <a:gd name="T7" fmla="*/ 310 h 730"/>
                <a:gd name="T8" fmla="*/ 458 w 544"/>
                <a:gd name="T9" fmla="*/ 279 h 730"/>
                <a:gd name="T10" fmla="*/ 459 w 544"/>
                <a:gd name="T11" fmla="*/ 250 h 730"/>
                <a:gd name="T12" fmla="*/ 391 w 544"/>
                <a:gd name="T13" fmla="*/ 247 h 730"/>
                <a:gd name="T14" fmla="*/ 363 w 544"/>
                <a:gd name="T15" fmla="*/ 248 h 730"/>
                <a:gd name="T16" fmla="*/ 329 w 544"/>
                <a:gd name="T17" fmla="*/ 293 h 730"/>
                <a:gd name="T18" fmla="*/ 335 w 544"/>
                <a:gd name="T19" fmla="*/ 342 h 730"/>
                <a:gd name="T20" fmla="*/ 324 w 544"/>
                <a:gd name="T21" fmla="*/ 341 h 730"/>
                <a:gd name="T22" fmla="*/ 292 w 544"/>
                <a:gd name="T23" fmla="*/ 321 h 730"/>
                <a:gd name="T24" fmla="*/ 323 w 544"/>
                <a:gd name="T25" fmla="*/ 272 h 730"/>
                <a:gd name="T26" fmla="*/ 334 w 544"/>
                <a:gd name="T27" fmla="*/ 233 h 730"/>
                <a:gd name="T28" fmla="*/ 358 w 544"/>
                <a:gd name="T29" fmla="*/ 236 h 730"/>
                <a:gd name="T30" fmla="*/ 367 w 544"/>
                <a:gd name="T31" fmla="*/ 233 h 730"/>
                <a:gd name="T32" fmla="*/ 389 w 544"/>
                <a:gd name="T33" fmla="*/ 210 h 730"/>
                <a:gd name="T34" fmla="*/ 401 w 544"/>
                <a:gd name="T35" fmla="*/ 188 h 730"/>
                <a:gd name="T36" fmla="*/ 377 w 544"/>
                <a:gd name="T37" fmla="*/ 155 h 730"/>
                <a:gd name="T38" fmla="*/ 336 w 544"/>
                <a:gd name="T39" fmla="*/ 161 h 730"/>
                <a:gd name="T40" fmla="*/ 360 w 544"/>
                <a:gd name="T41" fmla="*/ 120 h 730"/>
                <a:gd name="T42" fmla="*/ 419 w 544"/>
                <a:gd name="T43" fmla="*/ 109 h 730"/>
                <a:gd name="T44" fmla="*/ 418 w 544"/>
                <a:gd name="T45" fmla="*/ 128 h 730"/>
                <a:gd name="T46" fmla="*/ 480 w 544"/>
                <a:gd name="T47" fmla="*/ 160 h 730"/>
                <a:gd name="T48" fmla="*/ 496 w 544"/>
                <a:gd name="T49" fmla="*/ 115 h 730"/>
                <a:gd name="T50" fmla="*/ 540 w 544"/>
                <a:gd name="T51" fmla="*/ 23 h 730"/>
                <a:gd name="T52" fmla="*/ 544 w 544"/>
                <a:gd name="T53" fmla="*/ 0 h 730"/>
                <a:gd name="T54" fmla="*/ 375 w 544"/>
                <a:gd name="T55" fmla="*/ 46 h 730"/>
                <a:gd name="T56" fmla="*/ 361 w 544"/>
                <a:gd name="T57" fmla="*/ 48 h 730"/>
                <a:gd name="T58" fmla="*/ 309 w 544"/>
                <a:gd name="T59" fmla="*/ 100 h 730"/>
                <a:gd name="T60" fmla="*/ 275 w 544"/>
                <a:gd name="T61" fmla="*/ 159 h 730"/>
                <a:gd name="T62" fmla="*/ 293 w 544"/>
                <a:gd name="T63" fmla="*/ 162 h 730"/>
                <a:gd name="T64" fmla="*/ 281 w 544"/>
                <a:gd name="T65" fmla="*/ 194 h 730"/>
                <a:gd name="T66" fmla="*/ 278 w 544"/>
                <a:gd name="T67" fmla="*/ 242 h 730"/>
                <a:gd name="T68" fmla="*/ 253 w 544"/>
                <a:gd name="T69" fmla="*/ 236 h 730"/>
                <a:gd name="T70" fmla="*/ 177 w 544"/>
                <a:gd name="T71" fmla="*/ 304 h 730"/>
                <a:gd name="T72" fmla="*/ 151 w 544"/>
                <a:gd name="T73" fmla="*/ 364 h 730"/>
                <a:gd name="T74" fmla="*/ 160 w 544"/>
                <a:gd name="T75" fmla="*/ 370 h 730"/>
                <a:gd name="T76" fmla="*/ 27 w 544"/>
                <a:gd name="T77" fmla="*/ 478 h 730"/>
                <a:gd name="T78" fmla="*/ 8 w 544"/>
                <a:gd name="T79" fmla="*/ 508 h 730"/>
                <a:gd name="T80" fmla="*/ 16 w 544"/>
                <a:gd name="T81" fmla="*/ 685 h 730"/>
                <a:gd name="T82" fmla="*/ 33 w 544"/>
                <a:gd name="T83" fmla="*/ 649 h 730"/>
                <a:gd name="T84" fmla="*/ 50 w 544"/>
                <a:gd name="T85" fmla="*/ 602 h 730"/>
                <a:gd name="T86" fmla="*/ 104 w 544"/>
                <a:gd name="T87" fmla="*/ 561 h 730"/>
                <a:gd name="T88" fmla="*/ 143 w 544"/>
                <a:gd name="T89" fmla="*/ 617 h 730"/>
                <a:gd name="T90" fmla="*/ 162 w 544"/>
                <a:gd name="T91" fmla="*/ 680 h 730"/>
                <a:gd name="T92" fmla="*/ 210 w 544"/>
                <a:gd name="T93" fmla="*/ 716 h 730"/>
                <a:gd name="T94" fmla="*/ 248 w 544"/>
                <a:gd name="T95" fmla="*/ 658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4" h="730">
                  <a:moveTo>
                    <a:pt x="429" y="414"/>
                  </a:moveTo>
                  <a:cubicBezTo>
                    <a:pt x="438" y="373"/>
                    <a:pt x="438" y="373"/>
                    <a:pt x="438" y="373"/>
                  </a:cubicBezTo>
                  <a:cubicBezTo>
                    <a:pt x="461" y="350"/>
                    <a:pt x="461" y="350"/>
                    <a:pt x="461" y="350"/>
                  </a:cubicBezTo>
                  <a:cubicBezTo>
                    <a:pt x="465" y="347"/>
                    <a:pt x="466" y="341"/>
                    <a:pt x="463" y="337"/>
                  </a:cubicBezTo>
                  <a:cubicBezTo>
                    <a:pt x="452" y="320"/>
                    <a:pt x="452" y="320"/>
                    <a:pt x="452" y="320"/>
                  </a:cubicBezTo>
                  <a:cubicBezTo>
                    <a:pt x="450" y="317"/>
                    <a:pt x="447" y="315"/>
                    <a:pt x="444" y="315"/>
                  </a:cubicBezTo>
                  <a:cubicBezTo>
                    <a:pt x="430" y="314"/>
                    <a:pt x="430" y="314"/>
                    <a:pt x="430" y="314"/>
                  </a:cubicBezTo>
                  <a:cubicBezTo>
                    <a:pt x="430" y="310"/>
                    <a:pt x="430" y="310"/>
                    <a:pt x="430" y="310"/>
                  </a:cubicBezTo>
                  <a:cubicBezTo>
                    <a:pt x="455" y="285"/>
                    <a:pt x="455" y="285"/>
                    <a:pt x="455" y="285"/>
                  </a:cubicBezTo>
                  <a:cubicBezTo>
                    <a:pt x="456" y="283"/>
                    <a:pt x="457" y="281"/>
                    <a:pt x="458" y="279"/>
                  </a:cubicBezTo>
                  <a:cubicBezTo>
                    <a:pt x="461" y="258"/>
                    <a:pt x="461" y="258"/>
                    <a:pt x="461" y="258"/>
                  </a:cubicBezTo>
                  <a:cubicBezTo>
                    <a:pt x="462" y="255"/>
                    <a:pt x="461" y="252"/>
                    <a:pt x="459" y="250"/>
                  </a:cubicBezTo>
                  <a:cubicBezTo>
                    <a:pt x="456" y="247"/>
                    <a:pt x="453" y="246"/>
                    <a:pt x="450" y="246"/>
                  </a:cubicBezTo>
                  <a:cubicBezTo>
                    <a:pt x="391" y="247"/>
                    <a:pt x="391" y="247"/>
                    <a:pt x="391" y="247"/>
                  </a:cubicBezTo>
                  <a:cubicBezTo>
                    <a:pt x="372" y="245"/>
                    <a:pt x="372" y="245"/>
                    <a:pt x="372" y="245"/>
                  </a:cubicBezTo>
                  <a:cubicBezTo>
                    <a:pt x="369" y="245"/>
                    <a:pt x="366" y="246"/>
                    <a:pt x="363" y="248"/>
                  </a:cubicBezTo>
                  <a:cubicBezTo>
                    <a:pt x="331" y="281"/>
                    <a:pt x="331" y="281"/>
                    <a:pt x="331" y="281"/>
                  </a:cubicBezTo>
                  <a:cubicBezTo>
                    <a:pt x="327" y="284"/>
                    <a:pt x="327" y="289"/>
                    <a:pt x="329" y="293"/>
                  </a:cubicBezTo>
                  <a:cubicBezTo>
                    <a:pt x="345" y="327"/>
                    <a:pt x="345" y="327"/>
                    <a:pt x="345" y="327"/>
                  </a:cubicBezTo>
                  <a:cubicBezTo>
                    <a:pt x="335" y="342"/>
                    <a:pt x="335" y="342"/>
                    <a:pt x="335" y="342"/>
                  </a:cubicBezTo>
                  <a:cubicBezTo>
                    <a:pt x="334" y="341"/>
                    <a:pt x="333" y="341"/>
                    <a:pt x="332" y="340"/>
                  </a:cubicBezTo>
                  <a:cubicBezTo>
                    <a:pt x="330" y="339"/>
                    <a:pt x="326" y="339"/>
                    <a:pt x="324" y="341"/>
                  </a:cubicBezTo>
                  <a:cubicBezTo>
                    <a:pt x="292" y="356"/>
                    <a:pt x="292" y="356"/>
                    <a:pt x="292" y="356"/>
                  </a:cubicBezTo>
                  <a:cubicBezTo>
                    <a:pt x="292" y="321"/>
                    <a:pt x="292" y="321"/>
                    <a:pt x="292" y="321"/>
                  </a:cubicBezTo>
                  <a:cubicBezTo>
                    <a:pt x="322" y="286"/>
                    <a:pt x="322" y="286"/>
                    <a:pt x="322" y="286"/>
                  </a:cubicBezTo>
                  <a:cubicBezTo>
                    <a:pt x="325" y="282"/>
                    <a:pt x="326" y="276"/>
                    <a:pt x="323" y="272"/>
                  </a:cubicBezTo>
                  <a:cubicBezTo>
                    <a:pt x="311" y="257"/>
                    <a:pt x="311" y="257"/>
                    <a:pt x="311" y="257"/>
                  </a:cubicBezTo>
                  <a:cubicBezTo>
                    <a:pt x="334" y="233"/>
                    <a:pt x="334" y="233"/>
                    <a:pt x="334" y="233"/>
                  </a:cubicBezTo>
                  <a:cubicBezTo>
                    <a:pt x="353" y="237"/>
                    <a:pt x="353" y="237"/>
                    <a:pt x="353" y="237"/>
                  </a:cubicBezTo>
                  <a:cubicBezTo>
                    <a:pt x="354" y="237"/>
                    <a:pt x="356" y="237"/>
                    <a:pt x="358" y="236"/>
                  </a:cubicBezTo>
                  <a:cubicBezTo>
                    <a:pt x="364" y="235"/>
                    <a:pt x="364" y="235"/>
                    <a:pt x="364" y="235"/>
                  </a:cubicBezTo>
                  <a:cubicBezTo>
                    <a:pt x="365" y="234"/>
                    <a:pt x="366" y="234"/>
                    <a:pt x="367" y="233"/>
                  </a:cubicBezTo>
                  <a:cubicBezTo>
                    <a:pt x="385" y="220"/>
                    <a:pt x="385" y="220"/>
                    <a:pt x="385" y="220"/>
                  </a:cubicBezTo>
                  <a:cubicBezTo>
                    <a:pt x="388" y="218"/>
                    <a:pt x="389" y="214"/>
                    <a:pt x="389" y="210"/>
                  </a:cubicBezTo>
                  <a:cubicBezTo>
                    <a:pt x="389" y="204"/>
                    <a:pt x="389" y="204"/>
                    <a:pt x="389" y="204"/>
                  </a:cubicBezTo>
                  <a:cubicBezTo>
                    <a:pt x="401" y="188"/>
                    <a:pt x="401" y="188"/>
                    <a:pt x="401" y="188"/>
                  </a:cubicBezTo>
                  <a:cubicBezTo>
                    <a:pt x="405" y="184"/>
                    <a:pt x="404" y="177"/>
                    <a:pt x="400" y="173"/>
                  </a:cubicBezTo>
                  <a:cubicBezTo>
                    <a:pt x="377" y="155"/>
                    <a:pt x="377" y="155"/>
                    <a:pt x="377" y="155"/>
                  </a:cubicBezTo>
                  <a:cubicBezTo>
                    <a:pt x="374" y="152"/>
                    <a:pt x="370" y="152"/>
                    <a:pt x="367" y="153"/>
                  </a:cubicBezTo>
                  <a:cubicBezTo>
                    <a:pt x="336" y="161"/>
                    <a:pt x="336" y="161"/>
                    <a:pt x="336" y="161"/>
                  </a:cubicBezTo>
                  <a:cubicBezTo>
                    <a:pt x="333" y="160"/>
                    <a:pt x="333" y="160"/>
                    <a:pt x="333" y="160"/>
                  </a:cubicBezTo>
                  <a:cubicBezTo>
                    <a:pt x="360" y="120"/>
                    <a:pt x="360" y="120"/>
                    <a:pt x="360" y="120"/>
                  </a:cubicBezTo>
                  <a:cubicBezTo>
                    <a:pt x="393" y="106"/>
                    <a:pt x="393" y="106"/>
                    <a:pt x="393" y="106"/>
                  </a:cubicBezTo>
                  <a:cubicBezTo>
                    <a:pt x="419" y="109"/>
                    <a:pt x="419" y="109"/>
                    <a:pt x="419" y="109"/>
                  </a:cubicBezTo>
                  <a:cubicBezTo>
                    <a:pt x="417" y="121"/>
                    <a:pt x="417" y="121"/>
                    <a:pt x="417" y="121"/>
                  </a:cubicBezTo>
                  <a:cubicBezTo>
                    <a:pt x="417" y="123"/>
                    <a:pt x="417" y="126"/>
                    <a:pt x="418" y="128"/>
                  </a:cubicBezTo>
                  <a:cubicBezTo>
                    <a:pt x="430" y="153"/>
                    <a:pt x="436" y="155"/>
                    <a:pt x="438" y="156"/>
                  </a:cubicBezTo>
                  <a:cubicBezTo>
                    <a:pt x="440" y="157"/>
                    <a:pt x="445" y="160"/>
                    <a:pt x="480" y="160"/>
                  </a:cubicBezTo>
                  <a:cubicBezTo>
                    <a:pt x="485" y="160"/>
                    <a:pt x="490" y="156"/>
                    <a:pt x="491" y="150"/>
                  </a:cubicBezTo>
                  <a:cubicBezTo>
                    <a:pt x="496" y="115"/>
                    <a:pt x="496" y="115"/>
                    <a:pt x="496" y="115"/>
                  </a:cubicBezTo>
                  <a:cubicBezTo>
                    <a:pt x="500" y="91"/>
                    <a:pt x="500" y="91"/>
                    <a:pt x="500" y="91"/>
                  </a:cubicBezTo>
                  <a:cubicBezTo>
                    <a:pt x="540" y="23"/>
                    <a:pt x="540" y="23"/>
                    <a:pt x="540" y="23"/>
                  </a:cubicBezTo>
                  <a:cubicBezTo>
                    <a:pt x="541" y="21"/>
                    <a:pt x="542" y="20"/>
                    <a:pt x="542" y="18"/>
                  </a:cubicBezTo>
                  <a:cubicBezTo>
                    <a:pt x="544" y="0"/>
                    <a:pt x="544" y="0"/>
                    <a:pt x="544" y="0"/>
                  </a:cubicBezTo>
                  <a:cubicBezTo>
                    <a:pt x="489" y="5"/>
                    <a:pt x="434" y="17"/>
                    <a:pt x="382" y="37"/>
                  </a:cubicBezTo>
                  <a:cubicBezTo>
                    <a:pt x="375" y="46"/>
                    <a:pt x="375" y="46"/>
                    <a:pt x="375" y="46"/>
                  </a:cubicBezTo>
                  <a:cubicBezTo>
                    <a:pt x="375" y="46"/>
                    <a:pt x="374" y="46"/>
                    <a:pt x="374" y="46"/>
                  </a:cubicBezTo>
                  <a:cubicBezTo>
                    <a:pt x="370" y="43"/>
                    <a:pt x="364" y="44"/>
                    <a:pt x="361" y="48"/>
                  </a:cubicBezTo>
                  <a:cubicBezTo>
                    <a:pt x="310" y="99"/>
                    <a:pt x="310" y="99"/>
                    <a:pt x="310" y="99"/>
                  </a:cubicBezTo>
                  <a:cubicBezTo>
                    <a:pt x="309" y="99"/>
                    <a:pt x="309" y="100"/>
                    <a:pt x="309" y="100"/>
                  </a:cubicBezTo>
                  <a:cubicBezTo>
                    <a:pt x="275" y="147"/>
                    <a:pt x="275" y="147"/>
                    <a:pt x="275" y="147"/>
                  </a:cubicBezTo>
                  <a:cubicBezTo>
                    <a:pt x="272" y="150"/>
                    <a:pt x="272" y="155"/>
                    <a:pt x="275" y="159"/>
                  </a:cubicBezTo>
                  <a:cubicBezTo>
                    <a:pt x="277" y="163"/>
                    <a:pt x="282" y="165"/>
                    <a:pt x="286" y="164"/>
                  </a:cubicBezTo>
                  <a:cubicBezTo>
                    <a:pt x="293" y="162"/>
                    <a:pt x="293" y="162"/>
                    <a:pt x="293" y="162"/>
                  </a:cubicBezTo>
                  <a:cubicBezTo>
                    <a:pt x="281" y="189"/>
                    <a:pt x="281" y="189"/>
                    <a:pt x="281" y="189"/>
                  </a:cubicBezTo>
                  <a:cubicBezTo>
                    <a:pt x="281" y="191"/>
                    <a:pt x="281" y="192"/>
                    <a:pt x="281" y="194"/>
                  </a:cubicBezTo>
                  <a:cubicBezTo>
                    <a:pt x="281" y="234"/>
                    <a:pt x="281" y="234"/>
                    <a:pt x="281" y="234"/>
                  </a:cubicBezTo>
                  <a:cubicBezTo>
                    <a:pt x="280" y="237"/>
                    <a:pt x="279" y="240"/>
                    <a:pt x="278" y="242"/>
                  </a:cubicBezTo>
                  <a:cubicBezTo>
                    <a:pt x="271" y="239"/>
                    <a:pt x="264" y="236"/>
                    <a:pt x="263" y="236"/>
                  </a:cubicBezTo>
                  <a:cubicBezTo>
                    <a:pt x="260" y="235"/>
                    <a:pt x="256" y="235"/>
                    <a:pt x="253" y="236"/>
                  </a:cubicBezTo>
                  <a:cubicBezTo>
                    <a:pt x="250" y="238"/>
                    <a:pt x="232" y="248"/>
                    <a:pt x="226" y="255"/>
                  </a:cubicBezTo>
                  <a:cubicBezTo>
                    <a:pt x="177" y="304"/>
                    <a:pt x="177" y="304"/>
                    <a:pt x="177" y="304"/>
                  </a:cubicBezTo>
                  <a:cubicBezTo>
                    <a:pt x="167" y="313"/>
                    <a:pt x="154" y="346"/>
                    <a:pt x="151" y="355"/>
                  </a:cubicBezTo>
                  <a:cubicBezTo>
                    <a:pt x="149" y="358"/>
                    <a:pt x="150" y="361"/>
                    <a:pt x="151" y="364"/>
                  </a:cubicBezTo>
                  <a:cubicBezTo>
                    <a:pt x="152" y="367"/>
                    <a:pt x="155" y="369"/>
                    <a:pt x="158" y="369"/>
                  </a:cubicBezTo>
                  <a:cubicBezTo>
                    <a:pt x="160" y="370"/>
                    <a:pt x="160" y="370"/>
                    <a:pt x="160" y="370"/>
                  </a:cubicBezTo>
                  <a:cubicBezTo>
                    <a:pt x="104" y="418"/>
                    <a:pt x="104" y="418"/>
                    <a:pt x="104" y="418"/>
                  </a:cubicBezTo>
                  <a:cubicBezTo>
                    <a:pt x="27" y="478"/>
                    <a:pt x="27" y="478"/>
                    <a:pt x="27" y="478"/>
                  </a:cubicBezTo>
                  <a:cubicBezTo>
                    <a:pt x="25" y="479"/>
                    <a:pt x="25" y="480"/>
                    <a:pt x="24" y="481"/>
                  </a:cubicBezTo>
                  <a:cubicBezTo>
                    <a:pt x="8" y="508"/>
                    <a:pt x="8" y="508"/>
                    <a:pt x="8" y="508"/>
                  </a:cubicBezTo>
                  <a:cubicBezTo>
                    <a:pt x="0" y="568"/>
                    <a:pt x="0" y="630"/>
                    <a:pt x="11" y="690"/>
                  </a:cubicBezTo>
                  <a:cubicBezTo>
                    <a:pt x="16" y="685"/>
                    <a:pt x="16" y="685"/>
                    <a:pt x="16" y="685"/>
                  </a:cubicBezTo>
                  <a:cubicBezTo>
                    <a:pt x="17" y="684"/>
                    <a:pt x="17" y="683"/>
                    <a:pt x="18" y="682"/>
                  </a:cubicBezTo>
                  <a:cubicBezTo>
                    <a:pt x="33" y="649"/>
                    <a:pt x="33" y="649"/>
                    <a:pt x="33" y="649"/>
                  </a:cubicBezTo>
                  <a:cubicBezTo>
                    <a:pt x="33" y="649"/>
                    <a:pt x="33" y="649"/>
                    <a:pt x="34" y="648"/>
                  </a:cubicBezTo>
                  <a:cubicBezTo>
                    <a:pt x="50" y="602"/>
                    <a:pt x="50" y="602"/>
                    <a:pt x="50" y="602"/>
                  </a:cubicBezTo>
                  <a:cubicBezTo>
                    <a:pt x="68" y="577"/>
                    <a:pt x="68" y="577"/>
                    <a:pt x="68" y="577"/>
                  </a:cubicBezTo>
                  <a:cubicBezTo>
                    <a:pt x="104" y="561"/>
                    <a:pt x="104" y="561"/>
                    <a:pt x="104" y="561"/>
                  </a:cubicBezTo>
                  <a:cubicBezTo>
                    <a:pt x="122" y="575"/>
                    <a:pt x="122" y="575"/>
                    <a:pt x="122" y="575"/>
                  </a:cubicBezTo>
                  <a:cubicBezTo>
                    <a:pt x="143" y="617"/>
                    <a:pt x="143" y="617"/>
                    <a:pt x="143" y="617"/>
                  </a:cubicBezTo>
                  <a:cubicBezTo>
                    <a:pt x="158" y="675"/>
                    <a:pt x="158" y="675"/>
                    <a:pt x="158" y="675"/>
                  </a:cubicBezTo>
                  <a:cubicBezTo>
                    <a:pt x="158" y="677"/>
                    <a:pt x="160" y="679"/>
                    <a:pt x="162" y="680"/>
                  </a:cubicBezTo>
                  <a:cubicBezTo>
                    <a:pt x="206" y="714"/>
                    <a:pt x="206" y="714"/>
                    <a:pt x="206" y="714"/>
                  </a:cubicBezTo>
                  <a:cubicBezTo>
                    <a:pt x="207" y="715"/>
                    <a:pt x="209" y="716"/>
                    <a:pt x="210" y="716"/>
                  </a:cubicBezTo>
                  <a:cubicBezTo>
                    <a:pt x="258" y="730"/>
                    <a:pt x="258" y="730"/>
                    <a:pt x="258" y="730"/>
                  </a:cubicBezTo>
                  <a:cubicBezTo>
                    <a:pt x="252" y="707"/>
                    <a:pt x="248" y="683"/>
                    <a:pt x="248" y="658"/>
                  </a:cubicBezTo>
                  <a:cubicBezTo>
                    <a:pt x="248" y="543"/>
                    <a:pt x="324" y="445"/>
                    <a:pt x="429" y="414"/>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5" name="Freeform 37">
              <a:extLst>
                <a:ext uri="{FF2B5EF4-FFF2-40B4-BE49-F238E27FC236}">
                  <a16:creationId xmlns:a16="http://schemas.microsoft.com/office/drawing/2014/main" id="{6A27DCB1-C682-4FEC-8551-F59B44A2EBE0}"/>
                </a:ext>
              </a:extLst>
            </p:cNvPr>
            <p:cNvSpPr>
              <a:spLocks/>
            </p:cNvSpPr>
            <p:nvPr/>
          </p:nvSpPr>
          <p:spPr bwMode="auto">
            <a:xfrm>
              <a:off x="7651" y="3017"/>
              <a:ext cx="147" cy="196"/>
            </a:xfrm>
            <a:custGeom>
              <a:avLst/>
              <a:gdLst>
                <a:gd name="T0" fmla="*/ 312 w 313"/>
                <a:gd name="T1" fmla="*/ 378 h 416"/>
                <a:gd name="T2" fmla="*/ 302 w 313"/>
                <a:gd name="T3" fmla="*/ 370 h 416"/>
                <a:gd name="T4" fmla="*/ 258 w 313"/>
                <a:gd name="T5" fmla="*/ 370 h 416"/>
                <a:gd name="T6" fmla="*/ 211 w 313"/>
                <a:gd name="T7" fmla="*/ 323 h 416"/>
                <a:gd name="T8" fmla="*/ 188 w 313"/>
                <a:gd name="T9" fmla="*/ 125 h 416"/>
                <a:gd name="T10" fmla="*/ 187 w 313"/>
                <a:gd name="T11" fmla="*/ 122 h 416"/>
                <a:gd name="T12" fmla="*/ 143 w 313"/>
                <a:gd name="T13" fmla="*/ 22 h 416"/>
                <a:gd name="T14" fmla="*/ 137 w 313"/>
                <a:gd name="T15" fmla="*/ 17 h 416"/>
                <a:gd name="T16" fmla="*/ 100 w 313"/>
                <a:gd name="T17" fmla="*/ 2 h 416"/>
                <a:gd name="T18" fmla="*/ 90 w 313"/>
                <a:gd name="T19" fmla="*/ 3 h 416"/>
                <a:gd name="T20" fmla="*/ 15 w 313"/>
                <a:gd name="T21" fmla="*/ 48 h 416"/>
                <a:gd name="T22" fmla="*/ 34 w 313"/>
                <a:gd name="T23" fmla="*/ 146 h 416"/>
                <a:gd name="T24" fmla="*/ 0 w 313"/>
                <a:gd name="T25" fmla="*/ 274 h 416"/>
                <a:gd name="T26" fmla="*/ 22 w 313"/>
                <a:gd name="T27" fmla="*/ 270 h 416"/>
                <a:gd name="T28" fmla="*/ 152 w 313"/>
                <a:gd name="T29" fmla="*/ 386 h 416"/>
                <a:gd name="T30" fmla="*/ 154 w 313"/>
                <a:gd name="T31" fmla="*/ 387 h 416"/>
                <a:gd name="T32" fmla="*/ 208 w 313"/>
                <a:gd name="T33" fmla="*/ 413 h 416"/>
                <a:gd name="T34" fmla="*/ 212 w 313"/>
                <a:gd name="T35" fmla="*/ 414 h 416"/>
                <a:gd name="T36" fmla="*/ 255 w 313"/>
                <a:gd name="T37" fmla="*/ 416 h 416"/>
                <a:gd name="T38" fmla="*/ 261 w 313"/>
                <a:gd name="T39" fmla="*/ 415 h 416"/>
                <a:gd name="T40" fmla="*/ 307 w 313"/>
                <a:gd name="T41" fmla="*/ 391 h 416"/>
                <a:gd name="T42" fmla="*/ 309 w 313"/>
                <a:gd name="T43" fmla="*/ 389 h 416"/>
                <a:gd name="T44" fmla="*/ 312 w 313"/>
                <a:gd name="T45" fmla="*/ 37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3" h="416">
                  <a:moveTo>
                    <a:pt x="312" y="378"/>
                  </a:moveTo>
                  <a:cubicBezTo>
                    <a:pt x="311" y="374"/>
                    <a:pt x="307" y="370"/>
                    <a:pt x="302" y="370"/>
                  </a:cubicBezTo>
                  <a:cubicBezTo>
                    <a:pt x="258" y="370"/>
                    <a:pt x="258" y="370"/>
                    <a:pt x="258" y="370"/>
                  </a:cubicBezTo>
                  <a:cubicBezTo>
                    <a:pt x="211" y="323"/>
                    <a:pt x="211" y="323"/>
                    <a:pt x="211" y="323"/>
                  </a:cubicBezTo>
                  <a:cubicBezTo>
                    <a:pt x="188" y="125"/>
                    <a:pt x="188" y="125"/>
                    <a:pt x="188" y="125"/>
                  </a:cubicBezTo>
                  <a:cubicBezTo>
                    <a:pt x="188" y="124"/>
                    <a:pt x="188" y="123"/>
                    <a:pt x="187" y="122"/>
                  </a:cubicBezTo>
                  <a:cubicBezTo>
                    <a:pt x="143" y="22"/>
                    <a:pt x="143" y="22"/>
                    <a:pt x="143" y="22"/>
                  </a:cubicBezTo>
                  <a:cubicBezTo>
                    <a:pt x="142" y="20"/>
                    <a:pt x="140" y="18"/>
                    <a:pt x="137" y="17"/>
                  </a:cubicBezTo>
                  <a:cubicBezTo>
                    <a:pt x="100" y="2"/>
                    <a:pt x="100" y="2"/>
                    <a:pt x="100" y="2"/>
                  </a:cubicBezTo>
                  <a:cubicBezTo>
                    <a:pt x="97" y="0"/>
                    <a:pt x="93" y="1"/>
                    <a:pt x="90" y="3"/>
                  </a:cubicBezTo>
                  <a:cubicBezTo>
                    <a:pt x="63" y="20"/>
                    <a:pt x="32" y="39"/>
                    <a:pt x="15" y="48"/>
                  </a:cubicBezTo>
                  <a:cubicBezTo>
                    <a:pt x="27" y="78"/>
                    <a:pt x="34" y="111"/>
                    <a:pt x="34" y="146"/>
                  </a:cubicBezTo>
                  <a:cubicBezTo>
                    <a:pt x="34" y="193"/>
                    <a:pt x="22" y="236"/>
                    <a:pt x="0" y="274"/>
                  </a:cubicBezTo>
                  <a:cubicBezTo>
                    <a:pt x="22" y="270"/>
                    <a:pt x="22" y="270"/>
                    <a:pt x="22" y="270"/>
                  </a:cubicBezTo>
                  <a:cubicBezTo>
                    <a:pt x="152" y="386"/>
                    <a:pt x="152" y="386"/>
                    <a:pt x="152" y="386"/>
                  </a:cubicBezTo>
                  <a:cubicBezTo>
                    <a:pt x="153" y="386"/>
                    <a:pt x="153" y="387"/>
                    <a:pt x="154" y="387"/>
                  </a:cubicBezTo>
                  <a:cubicBezTo>
                    <a:pt x="208" y="413"/>
                    <a:pt x="208" y="413"/>
                    <a:pt x="208" y="413"/>
                  </a:cubicBezTo>
                  <a:cubicBezTo>
                    <a:pt x="209" y="413"/>
                    <a:pt x="210" y="413"/>
                    <a:pt x="212" y="414"/>
                  </a:cubicBezTo>
                  <a:cubicBezTo>
                    <a:pt x="255" y="416"/>
                    <a:pt x="255" y="416"/>
                    <a:pt x="255" y="416"/>
                  </a:cubicBezTo>
                  <a:cubicBezTo>
                    <a:pt x="257" y="416"/>
                    <a:pt x="259" y="415"/>
                    <a:pt x="261" y="415"/>
                  </a:cubicBezTo>
                  <a:cubicBezTo>
                    <a:pt x="307" y="391"/>
                    <a:pt x="307" y="391"/>
                    <a:pt x="307" y="391"/>
                  </a:cubicBezTo>
                  <a:cubicBezTo>
                    <a:pt x="308" y="390"/>
                    <a:pt x="309" y="389"/>
                    <a:pt x="309" y="389"/>
                  </a:cubicBezTo>
                  <a:cubicBezTo>
                    <a:pt x="312" y="386"/>
                    <a:pt x="313" y="382"/>
                    <a:pt x="312" y="378"/>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6" name="Freeform 38">
              <a:extLst>
                <a:ext uri="{FF2B5EF4-FFF2-40B4-BE49-F238E27FC236}">
                  <a16:creationId xmlns:a16="http://schemas.microsoft.com/office/drawing/2014/main" id="{9484C03B-778A-451E-B529-AEB4EB97803C}"/>
                </a:ext>
              </a:extLst>
            </p:cNvPr>
            <p:cNvSpPr>
              <a:spLocks/>
            </p:cNvSpPr>
            <p:nvPr/>
          </p:nvSpPr>
          <p:spPr bwMode="auto">
            <a:xfrm>
              <a:off x="7530" y="2894"/>
              <a:ext cx="19" cy="26"/>
            </a:xfrm>
            <a:custGeom>
              <a:avLst/>
              <a:gdLst>
                <a:gd name="T0" fmla="*/ 24 w 41"/>
                <a:gd name="T1" fmla="*/ 7 h 55"/>
                <a:gd name="T2" fmla="*/ 13 w 41"/>
                <a:gd name="T3" fmla="*/ 1 h 55"/>
                <a:gd name="T4" fmla="*/ 4 w 41"/>
                <a:gd name="T5" fmla="*/ 10 h 55"/>
                <a:gd name="T6" fmla="*/ 0 w 41"/>
                <a:gd name="T7" fmla="*/ 43 h 55"/>
                <a:gd name="T8" fmla="*/ 5 w 41"/>
                <a:gd name="T9" fmla="*/ 53 h 55"/>
                <a:gd name="T10" fmla="*/ 9 w 41"/>
                <a:gd name="T11" fmla="*/ 55 h 55"/>
                <a:gd name="T12" fmla="*/ 41 w 41"/>
                <a:gd name="T13" fmla="*/ 23 h 55"/>
                <a:gd name="T14" fmla="*/ 36 w 41"/>
                <a:gd name="T15" fmla="*/ 19 h 55"/>
                <a:gd name="T16" fmla="*/ 28 w 41"/>
                <a:gd name="T17" fmla="*/ 16 h 55"/>
                <a:gd name="T18" fmla="*/ 24 w 41"/>
                <a:gd name="T19" fmla="*/ 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55">
                  <a:moveTo>
                    <a:pt x="24" y="7"/>
                  </a:moveTo>
                  <a:cubicBezTo>
                    <a:pt x="22" y="3"/>
                    <a:pt x="18" y="0"/>
                    <a:pt x="13" y="1"/>
                  </a:cubicBezTo>
                  <a:cubicBezTo>
                    <a:pt x="8" y="1"/>
                    <a:pt x="4" y="5"/>
                    <a:pt x="4" y="10"/>
                  </a:cubicBezTo>
                  <a:cubicBezTo>
                    <a:pt x="0" y="43"/>
                    <a:pt x="0" y="43"/>
                    <a:pt x="0" y="43"/>
                  </a:cubicBezTo>
                  <a:cubicBezTo>
                    <a:pt x="0" y="47"/>
                    <a:pt x="2" y="51"/>
                    <a:pt x="5" y="53"/>
                  </a:cubicBezTo>
                  <a:cubicBezTo>
                    <a:pt x="6" y="54"/>
                    <a:pt x="8" y="54"/>
                    <a:pt x="9" y="55"/>
                  </a:cubicBezTo>
                  <a:cubicBezTo>
                    <a:pt x="41" y="23"/>
                    <a:pt x="41" y="23"/>
                    <a:pt x="41" y="23"/>
                  </a:cubicBezTo>
                  <a:cubicBezTo>
                    <a:pt x="39" y="21"/>
                    <a:pt x="38" y="20"/>
                    <a:pt x="36" y="19"/>
                  </a:cubicBezTo>
                  <a:cubicBezTo>
                    <a:pt x="28" y="16"/>
                    <a:pt x="28" y="16"/>
                    <a:pt x="28" y="16"/>
                  </a:cubicBezTo>
                  <a:lnTo>
                    <a:pt x="24" y="7"/>
                  </a:ln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8" name="Freeform 39">
              <a:extLst>
                <a:ext uri="{FF2B5EF4-FFF2-40B4-BE49-F238E27FC236}">
                  <a16:creationId xmlns:a16="http://schemas.microsoft.com/office/drawing/2014/main" id="{A969C960-6AA2-482F-B076-4B9BB1A59A3F}"/>
                </a:ext>
              </a:extLst>
            </p:cNvPr>
            <p:cNvSpPr>
              <a:spLocks/>
            </p:cNvSpPr>
            <p:nvPr/>
          </p:nvSpPr>
          <p:spPr bwMode="auto">
            <a:xfrm>
              <a:off x="7427" y="2971"/>
              <a:ext cx="240" cy="178"/>
            </a:xfrm>
            <a:custGeom>
              <a:avLst/>
              <a:gdLst>
                <a:gd name="T0" fmla="*/ 491 w 510"/>
                <a:gd name="T1" fmla="*/ 146 h 378"/>
                <a:gd name="T2" fmla="*/ 483 w 510"/>
                <a:gd name="T3" fmla="*/ 150 h 378"/>
                <a:gd name="T4" fmla="*/ 464 w 510"/>
                <a:gd name="T5" fmla="*/ 128 h 378"/>
                <a:gd name="T6" fmla="*/ 455 w 510"/>
                <a:gd name="T7" fmla="*/ 125 h 378"/>
                <a:gd name="T8" fmla="*/ 358 w 510"/>
                <a:gd name="T9" fmla="*/ 135 h 378"/>
                <a:gd name="T10" fmla="*/ 352 w 510"/>
                <a:gd name="T11" fmla="*/ 138 h 378"/>
                <a:gd name="T12" fmla="*/ 287 w 510"/>
                <a:gd name="T13" fmla="*/ 202 h 378"/>
                <a:gd name="T14" fmla="*/ 285 w 510"/>
                <a:gd name="T15" fmla="*/ 207 h 378"/>
                <a:gd name="T16" fmla="*/ 277 w 510"/>
                <a:gd name="T17" fmla="*/ 237 h 378"/>
                <a:gd name="T18" fmla="*/ 260 w 510"/>
                <a:gd name="T19" fmla="*/ 246 h 378"/>
                <a:gd name="T20" fmla="*/ 244 w 510"/>
                <a:gd name="T21" fmla="*/ 230 h 378"/>
                <a:gd name="T22" fmla="*/ 231 w 510"/>
                <a:gd name="T23" fmla="*/ 228 h 378"/>
                <a:gd name="T24" fmla="*/ 208 w 510"/>
                <a:gd name="T25" fmla="*/ 241 h 378"/>
                <a:gd name="T26" fmla="*/ 196 w 510"/>
                <a:gd name="T27" fmla="*/ 214 h 378"/>
                <a:gd name="T28" fmla="*/ 188 w 510"/>
                <a:gd name="T29" fmla="*/ 208 h 378"/>
                <a:gd name="T30" fmla="*/ 178 w 510"/>
                <a:gd name="T31" fmla="*/ 211 h 378"/>
                <a:gd name="T32" fmla="*/ 162 w 510"/>
                <a:gd name="T33" fmla="*/ 227 h 378"/>
                <a:gd name="T34" fmla="*/ 159 w 510"/>
                <a:gd name="T35" fmla="*/ 236 h 378"/>
                <a:gd name="T36" fmla="*/ 159 w 510"/>
                <a:gd name="T37" fmla="*/ 245 h 378"/>
                <a:gd name="T38" fmla="*/ 139 w 510"/>
                <a:gd name="T39" fmla="*/ 256 h 378"/>
                <a:gd name="T40" fmla="*/ 117 w 510"/>
                <a:gd name="T41" fmla="*/ 215 h 378"/>
                <a:gd name="T42" fmla="*/ 148 w 510"/>
                <a:gd name="T43" fmla="*/ 158 h 378"/>
                <a:gd name="T44" fmla="*/ 180 w 510"/>
                <a:gd name="T45" fmla="*/ 170 h 378"/>
                <a:gd name="T46" fmla="*/ 192 w 510"/>
                <a:gd name="T47" fmla="*/ 167 h 378"/>
                <a:gd name="T48" fmla="*/ 202 w 510"/>
                <a:gd name="T49" fmla="*/ 155 h 378"/>
                <a:gd name="T50" fmla="*/ 202 w 510"/>
                <a:gd name="T51" fmla="*/ 141 h 378"/>
                <a:gd name="T52" fmla="*/ 181 w 510"/>
                <a:gd name="T53" fmla="*/ 114 h 378"/>
                <a:gd name="T54" fmla="*/ 186 w 510"/>
                <a:gd name="T55" fmla="*/ 65 h 378"/>
                <a:gd name="T56" fmla="*/ 184 w 510"/>
                <a:gd name="T57" fmla="*/ 57 h 378"/>
                <a:gd name="T58" fmla="*/ 172 w 510"/>
                <a:gd name="T59" fmla="*/ 42 h 378"/>
                <a:gd name="T60" fmla="*/ 181 w 510"/>
                <a:gd name="T61" fmla="*/ 0 h 378"/>
                <a:gd name="T62" fmla="*/ 0 w 510"/>
                <a:gd name="T63" fmla="*/ 244 h 378"/>
                <a:gd name="T64" fmla="*/ 10 w 510"/>
                <a:gd name="T65" fmla="*/ 316 h 378"/>
                <a:gd name="T66" fmla="*/ 11 w 510"/>
                <a:gd name="T67" fmla="*/ 316 h 378"/>
                <a:gd name="T68" fmla="*/ 56 w 510"/>
                <a:gd name="T69" fmla="*/ 333 h 378"/>
                <a:gd name="T70" fmla="*/ 68 w 510"/>
                <a:gd name="T71" fmla="*/ 331 h 378"/>
                <a:gd name="T72" fmla="*/ 67 w 510"/>
                <a:gd name="T73" fmla="*/ 316 h 378"/>
                <a:gd name="T74" fmla="*/ 64 w 510"/>
                <a:gd name="T75" fmla="*/ 313 h 378"/>
                <a:gd name="T76" fmla="*/ 9 w 510"/>
                <a:gd name="T77" fmla="*/ 285 h 378"/>
                <a:gd name="T78" fmla="*/ 12 w 510"/>
                <a:gd name="T79" fmla="*/ 278 h 378"/>
                <a:gd name="T80" fmla="*/ 57 w 510"/>
                <a:gd name="T81" fmla="*/ 299 h 378"/>
                <a:gd name="T82" fmla="*/ 89 w 510"/>
                <a:gd name="T83" fmla="*/ 329 h 378"/>
                <a:gd name="T84" fmla="*/ 100 w 510"/>
                <a:gd name="T85" fmla="*/ 331 h 378"/>
                <a:gd name="T86" fmla="*/ 157 w 510"/>
                <a:gd name="T87" fmla="*/ 314 h 378"/>
                <a:gd name="T88" fmla="*/ 163 w 510"/>
                <a:gd name="T89" fmla="*/ 309 h 378"/>
                <a:gd name="T90" fmla="*/ 169 w 510"/>
                <a:gd name="T91" fmla="*/ 298 h 378"/>
                <a:gd name="T92" fmla="*/ 195 w 510"/>
                <a:gd name="T93" fmla="*/ 292 h 378"/>
                <a:gd name="T94" fmla="*/ 199 w 510"/>
                <a:gd name="T95" fmla="*/ 291 h 378"/>
                <a:gd name="T96" fmla="*/ 218 w 510"/>
                <a:gd name="T97" fmla="*/ 276 h 378"/>
                <a:gd name="T98" fmla="*/ 250 w 510"/>
                <a:gd name="T99" fmla="*/ 288 h 378"/>
                <a:gd name="T100" fmla="*/ 257 w 510"/>
                <a:gd name="T101" fmla="*/ 288 h 378"/>
                <a:gd name="T102" fmla="*/ 293 w 510"/>
                <a:gd name="T103" fmla="*/ 276 h 378"/>
                <a:gd name="T104" fmla="*/ 299 w 510"/>
                <a:gd name="T105" fmla="*/ 270 h 378"/>
                <a:gd name="T106" fmla="*/ 300 w 510"/>
                <a:gd name="T107" fmla="*/ 269 h 378"/>
                <a:gd name="T108" fmla="*/ 305 w 510"/>
                <a:gd name="T109" fmla="*/ 273 h 378"/>
                <a:gd name="T110" fmla="*/ 324 w 510"/>
                <a:gd name="T111" fmla="*/ 339 h 378"/>
                <a:gd name="T112" fmla="*/ 332 w 510"/>
                <a:gd name="T113" fmla="*/ 346 h 378"/>
                <a:gd name="T114" fmla="*/ 434 w 510"/>
                <a:gd name="T115" fmla="*/ 377 h 378"/>
                <a:gd name="T116" fmla="*/ 438 w 510"/>
                <a:gd name="T117" fmla="*/ 377 h 378"/>
                <a:gd name="T118" fmla="*/ 476 w 510"/>
                <a:gd name="T119" fmla="*/ 372 h 378"/>
                <a:gd name="T120" fmla="*/ 510 w 510"/>
                <a:gd name="T121" fmla="*/ 244 h 378"/>
                <a:gd name="T122" fmla="*/ 491 w 510"/>
                <a:gd name="T123" fmla="*/ 146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0" h="378">
                  <a:moveTo>
                    <a:pt x="491" y="146"/>
                  </a:moveTo>
                  <a:cubicBezTo>
                    <a:pt x="488" y="147"/>
                    <a:pt x="485" y="149"/>
                    <a:pt x="483" y="150"/>
                  </a:cubicBezTo>
                  <a:cubicBezTo>
                    <a:pt x="478" y="143"/>
                    <a:pt x="471" y="135"/>
                    <a:pt x="464" y="128"/>
                  </a:cubicBezTo>
                  <a:cubicBezTo>
                    <a:pt x="462" y="126"/>
                    <a:pt x="458" y="125"/>
                    <a:pt x="455" y="125"/>
                  </a:cubicBezTo>
                  <a:cubicBezTo>
                    <a:pt x="358" y="135"/>
                    <a:pt x="358" y="135"/>
                    <a:pt x="358" y="135"/>
                  </a:cubicBezTo>
                  <a:cubicBezTo>
                    <a:pt x="356" y="135"/>
                    <a:pt x="353" y="136"/>
                    <a:pt x="352" y="138"/>
                  </a:cubicBezTo>
                  <a:cubicBezTo>
                    <a:pt x="287" y="202"/>
                    <a:pt x="287" y="202"/>
                    <a:pt x="287" y="202"/>
                  </a:cubicBezTo>
                  <a:cubicBezTo>
                    <a:pt x="286" y="204"/>
                    <a:pt x="285" y="205"/>
                    <a:pt x="285" y="207"/>
                  </a:cubicBezTo>
                  <a:cubicBezTo>
                    <a:pt x="277" y="237"/>
                    <a:pt x="277" y="237"/>
                    <a:pt x="277" y="237"/>
                  </a:cubicBezTo>
                  <a:cubicBezTo>
                    <a:pt x="260" y="246"/>
                    <a:pt x="260" y="246"/>
                    <a:pt x="260" y="246"/>
                  </a:cubicBezTo>
                  <a:cubicBezTo>
                    <a:pt x="244" y="230"/>
                    <a:pt x="244" y="230"/>
                    <a:pt x="244" y="230"/>
                  </a:cubicBezTo>
                  <a:cubicBezTo>
                    <a:pt x="241" y="227"/>
                    <a:pt x="236" y="226"/>
                    <a:pt x="231" y="228"/>
                  </a:cubicBezTo>
                  <a:cubicBezTo>
                    <a:pt x="208" y="241"/>
                    <a:pt x="208" y="241"/>
                    <a:pt x="208" y="241"/>
                  </a:cubicBezTo>
                  <a:cubicBezTo>
                    <a:pt x="196" y="214"/>
                    <a:pt x="196" y="214"/>
                    <a:pt x="196" y="214"/>
                  </a:cubicBezTo>
                  <a:cubicBezTo>
                    <a:pt x="194" y="211"/>
                    <a:pt x="191" y="209"/>
                    <a:pt x="188" y="208"/>
                  </a:cubicBezTo>
                  <a:cubicBezTo>
                    <a:pt x="184" y="207"/>
                    <a:pt x="181" y="208"/>
                    <a:pt x="178" y="211"/>
                  </a:cubicBezTo>
                  <a:cubicBezTo>
                    <a:pt x="162" y="227"/>
                    <a:pt x="162" y="227"/>
                    <a:pt x="162" y="227"/>
                  </a:cubicBezTo>
                  <a:cubicBezTo>
                    <a:pt x="160" y="230"/>
                    <a:pt x="159" y="233"/>
                    <a:pt x="159" y="236"/>
                  </a:cubicBezTo>
                  <a:cubicBezTo>
                    <a:pt x="159" y="239"/>
                    <a:pt x="159" y="243"/>
                    <a:pt x="159" y="245"/>
                  </a:cubicBezTo>
                  <a:cubicBezTo>
                    <a:pt x="156" y="248"/>
                    <a:pt x="148" y="252"/>
                    <a:pt x="139" y="256"/>
                  </a:cubicBezTo>
                  <a:cubicBezTo>
                    <a:pt x="117" y="215"/>
                    <a:pt x="117" y="215"/>
                    <a:pt x="117" y="215"/>
                  </a:cubicBezTo>
                  <a:cubicBezTo>
                    <a:pt x="148" y="158"/>
                    <a:pt x="148" y="158"/>
                    <a:pt x="148" y="158"/>
                  </a:cubicBezTo>
                  <a:cubicBezTo>
                    <a:pt x="180" y="170"/>
                    <a:pt x="180" y="170"/>
                    <a:pt x="180" y="170"/>
                  </a:cubicBezTo>
                  <a:cubicBezTo>
                    <a:pt x="184" y="171"/>
                    <a:pt x="189" y="170"/>
                    <a:pt x="192" y="167"/>
                  </a:cubicBezTo>
                  <a:cubicBezTo>
                    <a:pt x="202" y="155"/>
                    <a:pt x="202" y="155"/>
                    <a:pt x="202" y="155"/>
                  </a:cubicBezTo>
                  <a:cubicBezTo>
                    <a:pt x="205" y="151"/>
                    <a:pt x="205" y="145"/>
                    <a:pt x="202" y="141"/>
                  </a:cubicBezTo>
                  <a:cubicBezTo>
                    <a:pt x="181" y="114"/>
                    <a:pt x="181" y="114"/>
                    <a:pt x="181" y="114"/>
                  </a:cubicBezTo>
                  <a:cubicBezTo>
                    <a:pt x="186" y="65"/>
                    <a:pt x="186" y="65"/>
                    <a:pt x="186" y="65"/>
                  </a:cubicBezTo>
                  <a:cubicBezTo>
                    <a:pt x="186" y="62"/>
                    <a:pt x="185" y="59"/>
                    <a:pt x="184" y="57"/>
                  </a:cubicBezTo>
                  <a:cubicBezTo>
                    <a:pt x="172" y="42"/>
                    <a:pt x="172" y="42"/>
                    <a:pt x="172" y="42"/>
                  </a:cubicBezTo>
                  <a:cubicBezTo>
                    <a:pt x="181" y="0"/>
                    <a:pt x="181" y="0"/>
                    <a:pt x="181" y="0"/>
                  </a:cubicBezTo>
                  <a:cubicBezTo>
                    <a:pt x="76" y="31"/>
                    <a:pt x="0" y="129"/>
                    <a:pt x="0" y="244"/>
                  </a:cubicBezTo>
                  <a:cubicBezTo>
                    <a:pt x="0" y="269"/>
                    <a:pt x="4" y="293"/>
                    <a:pt x="10" y="316"/>
                  </a:cubicBezTo>
                  <a:cubicBezTo>
                    <a:pt x="11" y="316"/>
                    <a:pt x="11" y="316"/>
                    <a:pt x="11" y="316"/>
                  </a:cubicBezTo>
                  <a:cubicBezTo>
                    <a:pt x="56" y="333"/>
                    <a:pt x="56" y="333"/>
                    <a:pt x="56" y="333"/>
                  </a:cubicBezTo>
                  <a:cubicBezTo>
                    <a:pt x="60" y="335"/>
                    <a:pt x="65" y="334"/>
                    <a:pt x="68" y="331"/>
                  </a:cubicBezTo>
                  <a:cubicBezTo>
                    <a:pt x="72" y="326"/>
                    <a:pt x="72" y="320"/>
                    <a:pt x="67" y="316"/>
                  </a:cubicBezTo>
                  <a:cubicBezTo>
                    <a:pt x="66" y="314"/>
                    <a:pt x="65" y="314"/>
                    <a:pt x="64" y="313"/>
                  </a:cubicBezTo>
                  <a:cubicBezTo>
                    <a:pt x="9" y="285"/>
                    <a:pt x="9" y="285"/>
                    <a:pt x="9" y="285"/>
                  </a:cubicBezTo>
                  <a:cubicBezTo>
                    <a:pt x="12" y="278"/>
                    <a:pt x="12" y="278"/>
                    <a:pt x="12" y="278"/>
                  </a:cubicBezTo>
                  <a:cubicBezTo>
                    <a:pt x="57" y="299"/>
                    <a:pt x="57" y="299"/>
                    <a:pt x="57" y="299"/>
                  </a:cubicBezTo>
                  <a:cubicBezTo>
                    <a:pt x="89" y="329"/>
                    <a:pt x="89" y="329"/>
                    <a:pt x="89" y="329"/>
                  </a:cubicBezTo>
                  <a:cubicBezTo>
                    <a:pt x="92" y="332"/>
                    <a:pt x="96" y="332"/>
                    <a:pt x="100" y="331"/>
                  </a:cubicBezTo>
                  <a:cubicBezTo>
                    <a:pt x="157" y="314"/>
                    <a:pt x="157" y="314"/>
                    <a:pt x="157" y="314"/>
                  </a:cubicBezTo>
                  <a:cubicBezTo>
                    <a:pt x="159" y="313"/>
                    <a:pt x="161" y="311"/>
                    <a:pt x="163" y="309"/>
                  </a:cubicBezTo>
                  <a:cubicBezTo>
                    <a:pt x="169" y="298"/>
                    <a:pt x="169" y="298"/>
                    <a:pt x="169" y="298"/>
                  </a:cubicBezTo>
                  <a:cubicBezTo>
                    <a:pt x="195" y="292"/>
                    <a:pt x="195" y="292"/>
                    <a:pt x="195" y="292"/>
                  </a:cubicBezTo>
                  <a:cubicBezTo>
                    <a:pt x="196" y="292"/>
                    <a:pt x="198" y="291"/>
                    <a:pt x="199" y="291"/>
                  </a:cubicBezTo>
                  <a:cubicBezTo>
                    <a:pt x="218" y="276"/>
                    <a:pt x="218" y="276"/>
                    <a:pt x="218" y="276"/>
                  </a:cubicBezTo>
                  <a:cubicBezTo>
                    <a:pt x="250" y="288"/>
                    <a:pt x="250" y="288"/>
                    <a:pt x="250" y="288"/>
                  </a:cubicBezTo>
                  <a:cubicBezTo>
                    <a:pt x="252" y="288"/>
                    <a:pt x="255" y="288"/>
                    <a:pt x="257" y="288"/>
                  </a:cubicBezTo>
                  <a:cubicBezTo>
                    <a:pt x="293" y="276"/>
                    <a:pt x="293" y="276"/>
                    <a:pt x="293" y="276"/>
                  </a:cubicBezTo>
                  <a:cubicBezTo>
                    <a:pt x="296" y="275"/>
                    <a:pt x="298" y="273"/>
                    <a:pt x="299" y="270"/>
                  </a:cubicBezTo>
                  <a:cubicBezTo>
                    <a:pt x="300" y="269"/>
                    <a:pt x="300" y="269"/>
                    <a:pt x="300" y="269"/>
                  </a:cubicBezTo>
                  <a:cubicBezTo>
                    <a:pt x="305" y="273"/>
                    <a:pt x="305" y="273"/>
                    <a:pt x="305" y="273"/>
                  </a:cubicBezTo>
                  <a:cubicBezTo>
                    <a:pt x="324" y="339"/>
                    <a:pt x="324" y="339"/>
                    <a:pt x="324" y="339"/>
                  </a:cubicBezTo>
                  <a:cubicBezTo>
                    <a:pt x="325" y="342"/>
                    <a:pt x="328" y="345"/>
                    <a:pt x="332" y="346"/>
                  </a:cubicBezTo>
                  <a:cubicBezTo>
                    <a:pt x="434" y="377"/>
                    <a:pt x="434" y="377"/>
                    <a:pt x="434" y="377"/>
                  </a:cubicBezTo>
                  <a:cubicBezTo>
                    <a:pt x="435" y="378"/>
                    <a:pt x="437" y="378"/>
                    <a:pt x="438" y="377"/>
                  </a:cubicBezTo>
                  <a:cubicBezTo>
                    <a:pt x="476" y="372"/>
                    <a:pt x="476" y="372"/>
                    <a:pt x="476" y="372"/>
                  </a:cubicBezTo>
                  <a:cubicBezTo>
                    <a:pt x="498" y="334"/>
                    <a:pt x="510" y="291"/>
                    <a:pt x="510" y="244"/>
                  </a:cubicBezTo>
                  <a:cubicBezTo>
                    <a:pt x="510" y="209"/>
                    <a:pt x="503" y="176"/>
                    <a:pt x="491" y="14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9" name="Freeform 40">
              <a:extLst>
                <a:ext uri="{FF2B5EF4-FFF2-40B4-BE49-F238E27FC236}">
                  <a16:creationId xmlns:a16="http://schemas.microsoft.com/office/drawing/2014/main" id="{231A57B6-882E-4556-B5E6-1EB5395980E8}"/>
                </a:ext>
              </a:extLst>
            </p:cNvPr>
            <p:cNvSpPr>
              <a:spLocks/>
            </p:cNvSpPr>
            <p:nvPr/>
          </p:nvSpPr>
          <p:spPr bwMode="auto">
            <a:xfrm>
              <a:off x="7517" y="3039"/>
              <a:ext cx="40" cy="28"/>
            </a:xfrm>
            <a:custGeom>
              <a:avLst/>
              <a:gdLst>
                <a:gd name="T0" fmla="*/ 4 w 85"/>
                <a:gd name="T1" fmla="*/ 56 h 60"/>
                <a:gd name="T2" fmla="*/ 19 w 85"/>
                <a:gd name="T3" fmla="*/ 56 h 60"/>
                <a:gd name="T4" fmla="*/ 40 w 85"/>
                <a:gd name="T5" fmla="*/ 35 h 60"/>
                <a:gd name="T6" fmla="*/ 41 w 85"/>
                <a:gd name="T7" fmla="*/ 35 h 60"/>
                <a:gd name="T8" fmla="*/ 40 w 85"/>
                <a:gd name="T9" fmla="*/ 37 h 60"/>
                <a:gd name="T10" fmla="*/ 41 w 85"/>
                <a:gd name="T11" fmla="*/ 52 h 60"/>
                <a:gd name="T12" fmla="*/ 56 w 85"/>
                <a:gd name="T13" fmla="*/ 51 h 60"/>
                <a:gd name="T14" fmla="*/ 56 w 85"/>
                <a:gd name="T15" fmla="*/ 50 h 60"/>
                <a:gd name="T16" fmla="*/ 82 w 85"/>
                <a:gd name="T17" fmla="*/ 18 h 60"/>
                <a:gd name="T18" fmla="*/ 82 w 85"/>
                <a:gd name="T19" fmla="*/ 5 h 60"/>
                <a:gd name="T20" fmla="*/ 70 w 85"/>
                <a:gd name="T21" fmla="*/ 1 h 60"/>
                <a:gd name="T22" fmla="*/ 48 w 85"/>
                <a:gd name="T23" fmla="*/ 10 h 60"/>
                <a:gd name="T24" fmla="*/ 31 w 85"/>
                <a:gd name="T25" fmla="*/ 15 h 60"/>
                <a:gd name="T26" fmla="*/ 27 w 85"/>
                <a:gd name="T27" fmla="*/ 18 h 60"/>
                <a:gd name="T28" fmla="*/ 4 w 85"/>
                <a:gd name="T29" fmla="*/ 41 h 60"/>
                <a:gd name="T30" fmla="*/ 4 w 85"/>
                <a:gd name="T31"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60">
                  <a:moveTo>
                    <a:pt x="4" y="56"/>
                  </a:moveTo>
                  <a:cubicBezTo>
                    <a:pt x="8" y="60"/>
                    <a:pt x="15" y="60"/>
                    <a:pt x="19" y="56"/>
                  </a:cubicBezTo>
                  <a:cubicBezTo>
                    <a:pt x="40" y="35"/>
                    <a:pt x="40" y="35"/>
                    <a:pt x="40" y="35"/>
                  </a:cubicBezTo>
                  <a:cubicBezTo>
                    <a:pt x="41" y="35"/>
                    <a:pt x="41" y="35"/>
                    <a:pt x="41" y="35"/>
                  </a:cubicBezTo>
                  <a:cubicBezTo>
                    <a:pt x="40" y="37"/>
                    <a:pt x="40" y="37"/>
                    <a:pt x="40" y="37"/>
                  </a:cubicBezTo>
                  <a:cubicBezTo>
                    <a:pt x="36" y="41"/>
                    <a:pt x="37" y="48"/>
                    <a:pt x="41" y="52"/>
                  </a:cubicBezTo>
                  <a:cubicBezTo>
                    <a:pt x="46" y="55"/>
                    <a:pt x="52" y="55"/>
                    <a:pt x="56" y="51"/>
                  </a:cubicBezTo>
                  <a:cubicBezTo>
                    <a:pt x="56" y="51"/>
                    <a:pt x="56" y="51"/>
                    <a:pt x="56" y="50"/>
                  </a:cubicBezTo>
                  <a:cubicBezTo>
                    <a:pt x="82" y="18"/>
                    <a:pt x="82" y="18"/>
                    <a:pt x="82" y="18"/>
                  </a:cubicBezTo>
                  <a:cubicBezTo>
                    <a:pt x="85" y="14"/>
                    <a:pt x="85" y="9"/>
                    <a:pt x="82" y="5"/>
                  </a:cubicBezTo>
                  <a:cubicBezTo>
                    <a:pt x="79" y="1"/>
                    <a:pt x="74" y="0"/>
                    <a:pt x="70" y="1"/>
                  </a:cubicBezTo>
                  <a:cubicBezTo>
                    <a:pt x="48" y="10"/>
                    <a:pt x="48" y="10"/>
                    <a:pt x="48" y="10"/>
                  </a:cubicBezTo>
                  <a:cubicBezTo>
                    <a:pt x="31" y="15"/>
                    <a:pt x="31" y="15"/>
                    <a:pt x="31" y="15"/>
                  </a:cubicBezTo>
                  <a:cubicBezTo>
                    <a:pt x="30" y="16"/>
                    <a:pt x="28" y="17"/>
                    <a:pt x="27" y="18"/>
                  </a:cubicBezTo>
                  <a:cubicBezTo>
                    <a:pt x="4" y="41"/>
                    <a:pt x="4" y="41"/>
                    <a:pt x="4" y="41"/>
                  </a:cubicBezTo>
                  <a:cubicBezTo>
                    <a:pt x="0" y="45"/>
                    <a:pt x="0" y="52"/>
                    <a:pt x="4" y="5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81" name="Freeform 41">
              <a:extLst>
                <a:ext uri="{FF2B5EF4-FFF2-40B4-BE49-F238E27FC236}">
                  <a16:creationId xmlns:a16="http://schemas.microsoft.com/office/drawing/2014/main" id="{096E988B-40CD-41EC-AA35-F775E7EE9E1B}"/>
                </a:ext>
              </a:extLst>
            </p:cNvPr>
            <p:cNvSpPr>
              <a:spLocks/>
            </p:cNvSpPr>
            <p:nvPr/>
          </p:nvSpPr>
          <p:spPr bwMode="auto">
            <a:xfrm>
              <a:off x="7562" y="3015"/>
              <a:ext cx="25" cy="22"/>
            </a:xfrm>
            <a:custGeom>
              <a:avLst/>
              <a:gdLst>
                <a:gd name="T0" fmla="*/ 19 w 55"/>
                <a:gd name="T1" fmla="*/ 44 h 47"/>
                <a:gd name="T2" fmla="*/ 49 w 55"/>
                <a:gd name="T3" fmla="*/ 21 h 47"/>
                <a:gd name="T4" fmla="*/ 50 w 55"/>
                <a:gd name="T5" fmla="*/ 20 h 47"/>
                <a:gd name="T6" fmla="*/ 51 w 55"/>
                <a:gd name="T7" fmla="*/ 6 h 47"/>
                <a:gd name="T8" fmla="*/ 36 w 55"/>
                <a:gd name="T9" fmla="*/ 4 h 47"/>
                <a:gd name="T10" fmla="*/ 6 w 55"/>
                <a:gd name="T11" fmla="*/ 27 h 47"/>
                <a:gd name="T12" fmla="*/ 4 w 55"/>
                <a:gd name="T13" fmla="*/ 42 h 47"/>
                <a:gd name="T14" fmla="*/ 19 w 55"/>
                <a:gd name="T15" fmla="*/ 44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47">
                  <a:moveTo>
                    <a:pt x="19" y="44"/>
                  </a:moveTo>
                  <a:cubicBezTo>
                    <a:pt x="49" y="21"/>
                    <a:pt x="49" y="21"/>
                    <a:pt x="49" y="21"/>
                  </a:cubicBezTo>
                  <a:cubicBezTo>
                    <a:pt x="50" y="21"/>
                    <a:pt x="50" y="20"/>
                    <a:pt x="50" y="20"/>
                  </a:cubicBezTo>
                  <a:cubicBezTo>
                    <a:pt x="54" y="16"/>
                    <a:pt x="55" y="10"/>
                    <a:pt x="51" y="6"/>
                  </a:cubicBezTo>
                  <a:cubicBezTo>
                    <a:pt x="48" y="1"/>
                    <a:pt x="41" y="0"/>
                    <a:pt x="36" y="4"/>
                  </a:cubicBezTo>
                  <a:cubicBezTo>
                    <a:pt x="6" y="27"/>
                    <a:pt x="6" y="27"/>
                    <a:pt x="6" y="27"/>
                  </a:cubicBezTo>
                  <a:cubicBezTo>
                    <a:pt x="1" y="30"/>
                    <a:pt x="0" y="37"/>
                    <a:pt x="4" y="42"/>
                  </a:cubicBezTo>
                  <a:cubicBezTo>
                    <a:pt x="7" y="46"/>
                    <a:pt x="14" y="47"/>
                    <a:pt x="19" y="4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82" name="Freeform 42">
              <a:extLst>
                <a:ext uri="{FF2B5EF4-FFF2-40B4-BE49-F238E27FC236}">
                  <a16:creationId xmlns:a16="http://schemas.microsoft.com/office/drawing/2014/main" id="{F80C1DBD-861C-4C56-B630-B027716C4E20}"/>
                </a:ext>
              </a:extLst>
            </p:cNvPr>
            <p:cNvSpPr>
              <a:spLocks/>
            </p:cNvSpPr>
            <p:nvPr/>
          </p:nvSpPr>
          <p:spPr bwMode="auto">
            <a:xfrm>
              <a:off x="7589" y="3017"/>
              <a:ext cx="17" cy="14"/>
            </a:xfrm>
            <a:custGeom>
              <a:avLst/>
              <a:gdLst>
                <a:gd name="T0" fmla="*/ 7 w 37"/>
                <a:gd name="T1" fmla="*/ 22 h 31"/>
                <a:gd name="T2" fmla="*/ 20 w 37"/>
                <a:gd name="T3" fmla="*/ 29 h 31"/>
                <a:gd name="T4" fmla="*/ 33 w 37"/>
                <a:gd name="T5" fmla="*/ 27 h 31"/>
                <a:gd name="T6" fmla="*/ 35 w 37"/>
                <a:gd name="T7" fmla="*/ 24 h 31"/>
                <a:gd name="T8" fmla="*/ 30 w 37"/>
                <a:gd name="T9" fmla="*/ 10 h 31"/>
                <a:gd name="T10" fmla="*/ 17 w 37"/>
                <a:gd name="T11" fmla="*/ 3 h 31"/>
                <a:gd name="T12" fmla="*/ 2 w 37"/>
                <a:gd name="T13" fmla="*/ 8 h 31"/>
                <a:gd name="T14" fmla="*/ 7 w 37"/>
                <a:gd name="T15" fmla="*/ 22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1">
                  <a:moveTo>
                    <a:pt x="7" y="22"/>
                  </a:moveTo>
                  <a:cubicBezTo>
                    <a:pt x="20" y="29"/>
                    <a:pt x="20" y="29"/>
                    <a:pt x="20" y="29"/>
                  </a:cubicBezTo>
                  <a:cubicBezTo>
                    <a:pt x="25" y="31"/>
                    <a:pt x="30" y="30"/>
                    <a:pt x="33" y="27"/>
                  </a:cubicBezTo>
                  <a:cubicBezTo>
                    <a:pt x="34" y="26"/>
                    <a:pt x="34" y="25"/>
                    <a:pt x="35" y="24"/>
                  </a:cubicBezTo>
                  <a:cubicBezTo>
                    <a:pt x="37" y="19"/>
                    <a:pt x="35" y="12"/>
                    <a:pt x="30" y="10"/>
                  </a:cubicBezTo>
                  <a:cubicBezTo>
                    <a:pt x="17" y="3"/>
                    <a:pt x="17" y="3"/>
                    <a:pt x="17" y="3"/>
                  </a:cubicBezTo>
                  <a:cubicBezTo>
                    <a:pt x="12" y="0"/>
                    <a:pt x="5" y="2"/>
                    <a:pt x="2" y="8"/>
                  </a:cubicBezTo>
                  <a:cubicBezTo>
                    <a:pt x="0" y="13"/>
                    <a:pt x="2" y="20"/>
                    <a:pt x="7" y="22"/>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Right Bracket 2">
            <a:extLst>
              <a:ext uri="{FF2B5EF4-FFF2-40B4-BE49-F238E27FC236}">
                <a16:creationId xmlns:a16="http://schemas.microsoft.com/office/drawing/2014/main" id="{69CBEC29-6D30-4E79-A5B1-69481A830E23}"/>
              </a:ext>
            </a:extLst>
          </p:cNvPr>
          <p:cNvSpPr/>
          <p:nvPr/>
        </p:nvSpPr>
        <p:spPr>
          <a:xfrm rot="16200000">
            <a:off x="2453004" y="587488"/>
            <a:ext cx="124234" cy="3657600"/>
          </a:xfrm>
          <a:prstGeom prst="rightBracket">
            <a:avLst>
              <a:gd name="adj" fmla="val 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0" name="Right Bracket 129">
            <a:extLst>
              <a:ext uri="{FF2B5EF4-FFF2-40B4-BE49-F238E27FC236}">
                <a16:creationId xmlns:a16="http://schemas.microsoft.com/office/drawing/2014/main" id="{8C73633B-5BB0-47EB-9893-B7E77E17DEA2}"/>
              </a:ext>
            </a:extLst>
          </p:cNvPr>
          <p:cNvSpPr/>
          <p:nvPr/>
        </p:nvSpPr>
        <p:spPr>
          <a:xfrm rot="16200000">
            <a:off x="4936127" y="1819824"/>
            <a:ext cx="124232" cy="1192927"/>
          </a:xfrm>
          <a:prstGeom prst="rightBracket">
            <a:avLst>
              <a:gd name="adj" fmla="val 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7529114-BACA-45C1-90F3-1A1017DFD677}"/>
              </a:ext>
            </a:extLst>
          </p:cNvPr>
          <p:cNvSpPr/>
          <p:nvPr/>
        </p:nvSpPr>
        <p:spPr>
          <a:xfrm>
            <a:off x="2250626" y="2195424"/>
            <a:ext cx="528991" cy="292388"/>
          </a:xfrm>
          <a:prstGeom prst="rect">
            <a:avLst/>
          </a:prstGeom>
          <a:solidFill>
            <a:schemeClr val="bg1"/>
          </a:solidFill>
        </p:spPr>
        <p:txBody>
          <a:bodyPr wrap="none" lIns="88900" tIns="38100" rIns="88900" bIns="38100">
            <a:spAutoFit/>
          </a:bodyPr>
          <a:lstStyle/>
          <a:p>
            <a:pPr lvl="0" algn="ctr" defTabSz="932472" fontAlgn="base">
              <a:spcBef>
                <a:spcPct val="0"/>
              </a:spcBef>
              <a:spcAft>
                <a:spcPct val="0"/>
              </a:spcAft>
              <a:defRPr/>
            </a:pPr>
            <a:r>
              <a:rPr lang="en-US" sz="1400" b="1" dirty="0">
                <a:solidFill>
                  <a:srgbClr val="243A5E"/>
                </a:solidFill>
                <a:ea typeface="Segoe UI" pitchFamily="34" charset="0"/>
                <a:cs typeface="Segoe UI" pitchFamily="34" charset="0"/>
              </a:rPr>
              <a:t>IaaS</a:t>
            </a:r>
          </a:p>
        </p:txBody>
      </p:sp>
      <p:sp>
        <p:nvSpPr>
          <p:cNvPr id="131" name="Rectangle 130">
            <a:extLst>
              <a:ext uri="{FF2B5EF4-FFF2-40B4-BE49-F238E27FC236}">
                <a16:creationId xmlns:a16="http://schemas.microsoft.com/office/drawing/2014/main" id="{51193878-8BD8-4135-A6E7-177C130F8D2F}"/>
              </a:ext>
            </a:extLst>
          </p:cNvPr>
          <p:cNvSpPr/>
          <p:nvPr/>
        </p:nvSpPr>
        <p:spPr>
          <a:xfrm>
            <a:off x="4708741" y="2195424"/>
            <a:ext cx="579005" cy="292388"/>
          </a:xfrm>
          <a:prstGeom prst="rect">
            <a:avLst/>
          </a:prstGeom>
          <a:solidFill>
            <a:schemeClr val="bg1"/>
          </a:solidFill>
        </p:spPr>
        <p:txBody>
          <a:bodyPr wrap="none" lIns="88900" tIns="38100" rIns="88900" bIns="38100">
            <a:spAutoFit/>
          </a:bodyPr>
          <a:lstStyle/>
          <a:p>
            <a:pPr lvl="0" algn="ctr" defTabSz="932472" fontAlgn="base">
              <a:spcBef>
                <a:spcPct val="0"/>
              </a:spcBef>
              <a:spcAft>
                <a:spcPct val="0"/>
              </a:spcAft>
              <a:defRPr/>
            </a:pPr>
            <a:r>
              <a:rPr lang="en-US" sz="1400" b="1" dirty="0">
                <a:solidFill>
                  <a:srgbClr val="243A5E"/>
                </a:solidFill>
                <a:ea typeface="Segoe UI" pitchFamily="34" charset="0"/>
                <a:cs typeface="Segoe UI" pitchFamily="34" charset="0"/>
              </a:rPr>
              <a:t>PaaS</a:t>
            </a:r>
          </a:p>
        </p:txBody>
      </p:sp>
      <p:sp>
        <p:nvSpPr>
          <p:cNvPr id="135" name="TextBox 134">
            <a:extLst>
              <a:ext uri="{FF2B5EF4-FFF2-40B4-BE49-F238E27FC236}">
                <a16:creationId xmlns:a16="http://schemas.microsoft.com/office/drawing/2014/main" id="{0E0B52C0-DFB5-48C0-9FBE-5FD213855502}"/>
              </a:ext>
            </a:extLst>
          </p:cNvPr>
          <p:cNvSpPr txBox="1"/>
          <p:nvPr/>
        </p:nvSpPr>
        <p:spPr>
          <a:xfrm>
            <a:off x="935090" y="3302608"/>
            <a:ext cx="609141" cy="169277"/>
          </a:xfrm>
          <a:prstGeom prst="rect">
            <a:avLst/>
          </a:prstGeom>
          <a:noFill/>
        </p:spPr>
        <p:txBody>
          <a:bodyPr wrap="none" lIns="0" tIns="0" rIns="0" bIns="0" rtlCol="0">
            <a:spAutoFit/>
          </a:bodyPr>
          <a:lstStyle/>
          <a:p>
            <a:pPr marL="0" marR="0" lvl="0" indent="0" algn="ctr" defTabSz="932504" rtl="0" eaLnBrk="1" fontAlgn="auto" latinLnBrk="0" hangingPunct="1">
              <a:spcBef>
                <a:spcPts val="0"/>
              </a:spcBef>
              <a:spcAft>
                <a:spcPts val="612"/>
              </a:spcAft>
              <a:buClrTx/>
              <a:buSzTx/>
              <a:buFontTx/>
              <a:buNone/>
              <a:tabLst/>
              <a:defRPr/>
            </a:pPr>
            <a:r>
              <a:rPr kumimoji="0" lang="en-US" sz="1100" b="1" i="0" u="none" strike="noStrike" kern="1200" cap="none" spc="0" normalizeH="0" baseline="0" noProof="0" dirty="0">
                <a:ln>
                  <a:noFill/>
                </a:ln>
                <a:effectLst/>
                <a:uLnTx/>
                <a:uFillTx/>
                <a:ea typeface="+mn-ea"/>
                <a:cs typeface="Segoe UI Semibold" panose="020B0702040204020203" pitchFamily="34" charset="0"/>
              </a:rPr>
              <a:t>Compute</a:t>
            </a:r>
          </a:p>
        </p:txBody>
      </p:sp>
      <p:sp>
        <p:nvSpPr>
          <p:cNvPr id="136" name="TextBox 135">
            <a:extLst>
              <a:ext uri="{FF2B5EF4-FFF2-40B4-BE49-F238E27FC236}">
                <a16:creationId xmlns:a16="http://schemas.microsoft.com/office/drawing/2014/main" id="{92842115-E476-42B4-96AA-DA5D0B10ECD3}"/>
              </a:ext>
            </a:extLst>
          </p:cNvPr>
          <p:cNvSpPr txBox="1"/>
          <p:nvPr/>
        </p:nvSpPr>
        <p:spPr>
          <a:xfrm>
            <a:off x="3300527" y="3302608"/>
            <a:ext cx="788677" cy="169277"/>
          </a:xfrm>
          <a:prstGeom prst="rect">
            <a:avLst/>
          </a:prstGeom>
          <a:noFill/>
        </p:spPr>
        <p:txBody>
          <a:bodyPr wrap="none" lIns="0" tIns="0" rIns="0" bIns="0" rtlCol="0">
            <a:spAutoFit/>
          </a:bodyPr>
          <a:lstStyle/>
          <a:p>
            <a:pPr marL="0" marR="0" lvl="0" indent="0" algn="ctr" defTabSz="932504" rtl="0" eaLnBrk="1" fontAlgn="auto" latinLnBrk="0" hangingPunct="1">
              <a:spcBef>
                <a:spcPts val="0"/>
              </a:spcBef>
              <a:spcAft>
                <a:spcPts val="612"/>
              </a:spcAft>
              <a:buClrTx/>
              <a:buSzTx/>
              <a:buFontTx/>
              <a:buNone/>
              <a:tabLst/>
              <a:defRPr/>
            </a:pPr>
            <a:r>
              <a:rPr kumimoji="0" lang="en-US" sz="1100" b="1" i="0" u="none" strike="noStrike" kern="1200" cap="none" spc="0" normalizeH="0" baseline="0" noProof="0" dirty="0">
                <a:ln>
                  <a:noFill/>
                </a:ln>
                <a:effectLst/>
                <a:uLnTx/>
                <a:uFillTx/>
                <a:ea typeface="+mn-ea"/>
                <a:cs typeface="Segoe UI Semibold" panose="020B0702040204020203" pitchFamily="34" charset="0"/>
              </a:rPr>
              <a:t>Networking</a:t>
            </a:r>
          </a:p>
        </p:txBody>
      </p:sp>
      <p:sp>
        <p:nvSpPr>
          <p:cNvPr id="137" name="TextBox 136">
            <a:extLst>
              <a:ext uri="{FF2B5EF4-FFF2-40B4-BE49-F238E27FC236}">
                <a16:creationId xmlns:a16="http://schemas.microsoft.com/office/drawing/2014/main" id="{FE34791F-75C5-44FB-BD62-0BFFE4F9E122}"/>
              </a:ext>
            </a:extLst>
          </p:cNvPr>
          <p:cNvSpPr txBox="1"/>
          <p:nvPr/>
        </p:nvSpPr>
        <p:spPr>
          <a:xfrm>
            <a:off x="2168946" y="3302608"/>
            <a:ext cx="514563" cy="169277"/>
          </a:xfrm>
          <a:prstGeom prst="rect">
            <a:avLst/>
          </a:prstGeom>
          <a:noFill/>
        </p:spPr>
        <p:txBody>
          <a:bodyPr wrap="none" lIns="0" tIns="0" rIns="0" bIns="0" rtlCol="0">
            <a:spAutoFit/>
          </a:bodyPr>
          <a:lstStyle/>
          <a:p>
            <a:pPr marL="0" marR="0" lvl="0" indent="0" algn="ctr" defTabSz="932504" rtl="0" eaLnBrk="1" fontAlgn="auto" latinLnBrk="0" hangingPunct="1">
              <a:spcBef>
                <a:spcPts val="0"/>
              </a:spcBef>
              <a:spcAft>
                <a:spcPts val="612"/>
              </a:spcAft>
              <a:buClrTx/>
              <a:buSzTx/>
              <a:buFontTx/>
              <a:buNone/>
              <a:tabLst/>
              <a:defRPr/>
            </a:pPr>
            <a:r>
              <a:rPr kumimoji="0" lang="en-US" sz="1100" b="1" i="0" u="none" strike="noStrike" kern="1200" cap="none" spc="0" normalizeH="0" baseline="0" noProof="0" dirty="0">
                <a:ln>
                  <a:noFill/>
                </a:ln>
                <a:effectLst/>
                <a:uLnTx/>
                <a:uFillTx/>
                <a:ea typeface="+mn-ea"/>
                <a:cs typeface="Segoe UI Semibold" panose="020B0702040204020203" pitchFamily="34" charset="0"/>
              </a:rPr>
              <a:t>Storage</a:t>
            </a:r>
          </a:p>
        </p:txBody>
      </p:sp>
      <p:sp>
        <p:nvSpPr>
          <p:cNvPr id="180" name="TextBox 179">
            <a:extLst>
              <a:ext uri="{FF2B5EF4-FFF2-40B4-BE49-F238E27FC236}">
                <a16:creationId xmlns:a16="http://schemas.microsoft.com/office/drawing/2014/main" id="{67959C0D-DCC3-4CEB-A7E1-DB9CB25EDCA0}"/>
              </a:ext>
            </a:extLst>
          </p:cNvPr>
          <p:cNvSpPr txBox="1"/>
          <p:nvPr/>
        </p:nvSpPr>
        <p:spPr>
          <a:xfrm>
            <a:off x="1154617" y="3782235"/>
            <a:ext cx="3971793" cy="215444"/>
          </a:xfrm>
          <a:prstGeom prst="rect">
            <a:avLst/>
          </a:prstGeom>
          <a:noFill/>
        </p:spPr>
        <p:txBody>
          <a:bodyPr wrap="none" lIns="0" tIns="0" rIns="0" bIns="0" rtlCol="0">
            <a:spAutoFit/>
          </a:bodyPr>
          <a:lstStyle/>
          <a:p>
            <a:pPr lvl="0" algn="ctr">
              <a:defRPr/>
            </a:pPr>
            <a:r>
              <a:rPr lang="en-US" sz="1400" b="1" i="1" dirty="0"/>
              <a:t>Uniform deployment via serverless architecture</a:t>
            </a:r>
          </a:p>
        </p:txBody>
      </p:sp>
      <p:sp>
        <p:nvSpPr>
          <p:cNvPr id="184" name="Right Bracket 183">
            <a:extLst>
              <a:ext uri="{FF2B5EF4-FFF2-40B4-BE49-F238E27FC236}">
                <a16:creationId xmlns:a16="http://schemas.microsoft.com/office/drawing/2014/main" id="{7171EB2D-D45C-421E-80EE-6FD53CBFCC06}"/>
              </a:ext>
            </a:extLst>
          </p:cNvPr>
          <p:cNvSpPr/>
          <p:nvPr/>
        </p:nvSpPr>
        <p:spPr>
          <a:xfrm rot="16200000">
            <a:off x="3078397" y="1752793"/>
            <a:ext cx="124234" cy="4908386"/>
          </a:xfrm>
          <a:prstGeom prst="rightBracket">
            <a:avLst>
              <a:gd name="adj" fmla="val 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5" name="Rectangle 184">
            <a:extLst>
              <a:ext uri="{FF2B5EF4-FFF2-40B4-BE49-F238E27FC236}">
                <a16:creationId xmlns:a16="http://schemas.microsoft.com/office/drawing/2014/main" id="{1AA95E8E-1E56-4465-B276-A9C575E4306E}"/>
              </a:ext>
            </a:extLst>
          </p:cNvPr>
          <p:cNvSpPr/>
          <p:nvPr/>
        </p:nvSpPr>
        <p:spPr>
          <a:xfrm>
            <a:off x="2228630" y="3986122"/>
            <a:ext cx="1823769" cy="292388"/>
          </a:xfrm>
          <a:prstGeom prst="rect">
            <a:avLst/>
          </a:prstGeom>
          <a:solidFill>
            <a:schemeClr val="bg1"/>
          </a:solidFill>
        </p:spPr>
        <p:txBody>
          <a:bodyPr wrap="none" lIns="88900" tIns="38100" rIns="88900" bIns="38100">
            <a:spAutoFit/>
          </a:bodyPr>
          <a:lstStyle/>
          <a:p>
            <a:pPr lvl="0" algn="ctr" defTabSz="932472" fontAlgn="base">
              <a:spcBef>
                <a:spcPct val="0"/>
              </a:spcBef>
              <a:spcAft>
                <a:spcPct val="0"/>
              </a:spcAft>
              <a:defRPr/>
            </a:pPr>
            <a:r>
              <a:rPr lang="en-US" sz="1400" b="1" dirty="0">
                <a:solidFill>
                  <a:srgbClr val="243A5E"/>
                </a:solidFill>
                <a:ea typeface="Segoe UI" pitchFamily="34" charset="0"/>
                <a:cs typeface="Segoe UI" pitchFamily="34" charset="0"/>
              </a:rPr>
              <a:t>Serverless Platform</a:t>
            </a:r>
          </a:p>
        </p:txBody>
      </p:sp>
      <p:sp>
        <p:nvSpPr>
          <p:cNvPr id="217" name="TextBox 216">
            <a:extLst>
              <a:ext uri="{FF2B5EF4-FFF2-40B4-BE49-F238E27FC236}">
                <a16:creationId xmlns:a16="http://schemas.microsoft.com/office/drawing/2014/main" id="{8208BAAF-E5F2-426D-92EE-713B304764A6}"/>
              </a:ext>
            </a:extLst>
          </p:cNvPr>
          <p:cNvSpPr txBox="1"/>
          <p:nvPr/>
        </p:nvSpPr>
        <p:spPr>
          <a:xfrm>
            <a:off x="884595" y="5164265"/>
            <a:ext cx="710131" cy="169277"/>
          </a:xfrm>
          <a:prstGeom prst="rect">
            <a:avLst/>
          </a:prstGeom>
          <a:noFill/>
        </p:spPr>
        <p:txBody>
          <a:bodyPr wrap="none" lIns="0" tIns="0" rIns="0" bIns="0" rtlCol="0">
            <a:spAutoFit/>
          </a:bodyPr>
          <a:lstStyle/>
          <a:p>
            <a:pPr lvl="0" algn="ctr" defTabSz="932504">
              <a:spcAft>
                <a:spcPts val="612"/>
              </a:spcAft>
              <a:defRPr/>
            </a:pPr>
            <a:r>
              <a:rPr lang="en-US" sz="1100" b="1" dirty="0">
                <a:cs typeface="Segoe UI Semibold" panose="020B0702040204020203" pitchFamily="34" charset="0"/>
              </a:rPr>
              <a:t>Containers</a:t>
            </a:r>
          </a:p>
        </p:txBody>
      </p:sp>
      <p:sp>
        <p:nvSpPr>
          <p:cNvPr id="38" name="Graphic 285">
            <a:extLst>
              <a:ext uri="{FF2B5EF4-FFF2-40B4-BE49-F238E27FC236}">
                <a16:creationId xmlns:a16="http://schemas.microsoft.com/office/drawing/2014/main" id="{AD497B1F-F27E-4758-AEFB-B367E0940598}"/>
              </a:ext>
            </a:extLst>
          </p:cNvPr>
          <p:cNvSpPr/>
          <p:nvPr/>
        </p:nvSpPr>
        <p:spPr>
          <a:xfrm>
            <a:off x="869596" y="4479254"/>
            <a:ext cx="740130" cy="579214"/>
          </a:xfrm>
          <a:custGeom>
            <a:avLst/>
            <a:gdLst>
              <a:gd name="connsiteX0" fmla="*/ 631018 w 736187"/>
              <a:gd name="connsiteY0" fmla="*/ 183296 h 540873"/>
              <a:gd name="connsiteX1" fmla="*/ 631018 w 736187"/>
              <a:gd name="connsiteY1" fmla="*/ 366592 h 540873"/>
              <a:gd name="connsiteX2" fmla="*/ 743700 w 736187"/>
              <a:gd name="connsiteY2" fmla="*/ 323022 h 540873"/>
              <a:gd name="connsiteX3" fmla="*/ 743700 w 736187"/>
              <a:gd name="connsiteY3" fmla="*/ 223861 h 540873"/>
              <a:gd name="connsiteX4" fmla="*/ 631018 w 736187"/>
              <a:gd name="connsiteY4" fmla="*/ 183296 h 540873"/>
              <a:gd name="connsiteX5" fmla="*/ 585945 w 736187"/>
              <a:gd name="connsiteY5" fmla="*/ 341051 h 540873"/>
              <a:gd name="connsiteX6" fmla="*/ 578433 w 736187"/>
              <a:gd name="connsiteY6" fmla="*/ 338046 h 540873"/>
              <a:gd name="connsiteX7" fmla="*/ 578433 w 736187"/>
              <a:gd name="connsiteY7" fmla="*/ 211842 h 540873"/>
              <a:gd name="connsiteX8" fmla="*/ 585945 w 736187"/>
              <a:gd name="connsiteY8" fmla="*/ 210340 h 540873"/>
              <a:gd name="connsiteX9" fmla="*/ 593458 w 736187"/>
              <a:gd name="connsiteY9" fmla="*/ 207335 h 540873"/>
              <a:gd name="connsiteX10" fmla="*/ 602472 w 736187"/>
              <a:gd name="connsiteY10" fmla="*/ 204330 h 540873"/>
              <a:gd name="connsiteX11" fmla="*/ 602472 w 736187"/>
              <a:gd name="connsiteY11" fmla="*/ 345558 h 540873"/>
              <a:gd name="connsiteX12" fmla="*/ 593458 w 736187"/>
              <a:gd name="connsiteY12" fmla="*/ 342553 h 540873"/>
              <a:gd name="connsiteX13" fmla="*/ 585945 w 736187"/>
              <a:gd name="connsiteY13" fmla="*/ 341051 h 540873"/>
              <a:gd name="connsiteX14" fmla="*/ 558902 w 736187"/>
              <a:gd name="connsiteY14" fmla="*/ 332036 h 540873"/>
              <a:gd name="connsiteX15" fmla="*/ 552892 w 736187"/>
              <a:gd name="connsiteY15" fmla="*/ 330534 h 540873"/>
              <a:gd name="connsiteX16" fmla="*/ 552892 w 736187"/>
              <a:gd name="connsiteY16" fmla="*/ 219354 h 540873"/>
              <a:gd name="connsiteX17" fmla="*/ 570921 w 736187"/>
              <a:gd name="connsiteY17" fmla="*/ 214847 h 540873"/>
              <a:gd name="connsiteX18" fmla="*/ 570921 w 736187"/>
              <a:gd name="connsiteY18" fmla="*/ 336543 h 540873"/>
              <a:gd name="connsiteX19" fmla="*/ 564911 w 736187"/>
              <a:gd name="connsiteY19" fmla="*/ 335041 h 540873"/>
              <a:gd name="connsiteX20" fmla="*/ 558902 w 736187"/>
              <a:gd name="connsiteY20" fmla="*/ 332036 h 540873"/>
              <a:gd name="connsiteX21" fmla="*/ 536365 w 736187"/>
              <a:gd name="connsiteY21" fmla="*/ 324524 h 540873"/>
              <a:gd name="connsiteX22" fmla="*/ 531858 w 736187"/>
              <a:gd name="connsiteY22" fmla="*/ 323022 h 540873"/>
              <a:gd name="connsiteX23" fmla="*/ 531858 w 736187"/>
              <a:gd name="connsiteY23" fmla="*/ 223861 h 540873"/>
              <a:gd name="connsiteX24" fmla="*/ 545380 w 736187"/>
              <a:gd name="connsiteY24" fmla="*/ 219354 h 540873"/>
              <a:gd name="connsiteX25" fmla="*/ 545380 w 736187"/>
              <a:gd name="connsiteY25" fmla="*/ 327529 h 540873"/>
              <a:gd name="connsiteX26" fmla="*/ 536365 w 736187"/>
              <a:gd name="connsiteY26" fmla="*/ 324524 h 540873"/>
              <a:gd name="connsiteX27" fmla="*/ 527351 w 736187"/>
              <a:gd name="connsiteY27" fmla="*/ 211842 h 540873"/>
              <a:gd name="connsiteX28" fmla="*/ 527351 w 736187"/>
              <a:gd name="connsiteY28" fmla="*/ 332036 h 540873"/>
              <a:gd name="connsiteX29" fmla="*/ 611487 w 736187"/>
              <a:gd name="connsiteY29" fmla="*/ 365090 h 540873"/>
              <a:gd name="connsiteX30" fmla="*/ 611487 w 736187"/>
              <a:gd name="connsiteY30" fmla="*/ 183296 h 540873"/>
              <a:gd name="connsiteX31" fmla="*/ 527351 w 736187"/>
              <a:gd name="connsiteY31" fmla="*/ 211842 h 540873"/>
              <a:gd name="connsiteX32" fmla="*/ 492795 w 736187"/>
              <a:gd name="connsiteY32" fmla="*/ 0 h 540873"/>
              <a:gd name="connsiteX33" fmla="*/ 492795 w 736187"/>
              <a:gd name="connsiteY33" fmla="*/ 184798 h 540873"/>
              <a:gd name="connsiteX34" fmla="*/ 606979 w 736187"/>
              <a:gd name="connsiteY34" fmla="*/ 139726 h 540873"/>
              <a:gd name="connsiteX35" fmla="*/ 606979 w 736187"/>
              <a:gd name="connsiteY35" fmla="*/ 40566 h 540873"/>
              <a:gd name="connsiteX36" fmla="*/ 492795 w 736187"/>
              <a:gd name="connsiteY36" fmla="*/ 0 h 540873"/>
              <a:gd name="connsiteX37" fmla="*/ 492795 w 736187"/>
              <a:gd name="connsiteY37" fmla="*/ 366592 h 540873"/>
              <a:gd name="connsiteX38" fmla="*/ 492795 w 736187"/>
              <a:gd name="connsiteY38" fmla="*/ 549888 h 540873"/>
              <a:gd name="connsiteX39" fmla="*/ 606979 w 736187"/>
              <a:gd name="connsiteY39" fmla="*/ 504815 h 540873"/>
              <a:gd name="connsiteX40" fmla="*/ 606979 w 736187"/>
              <a:gd name="connsiteY40" fmla="*/ 405655 h 540873"/>
              <a:gd name="connsiteX41" fmla="*/ 492795 w 736187"/>
              <a:gd name="connsiteY41" fmla="*/ 366592 h 540873"/>
              <a:gd name="connsiteX42" fmla="*/ 447722 w 736187"/>
              <a:gd name="connsiteY42" fmla="*/ 157755 h 540873"/>
              <a:gd name="connsiteX43" fmla="*/ 440210 w 736187"/>
              <a:gd name="connsiteY43" fmla="*/ 154750 h 540873"/>
              <a:gd name="connsiteX44" fmla="*/ 440210 w 736187"/>
              <a:gd name="connsiteY44" fmla="*/ 28546 h 540873"/>
              <a:gd name="connsiteX45" fmla="*/ 447722 w 736187"/>
              <a:gd name="connsiteY45" fmla="*/ 27044 h 540873"/>
              <a:gd name="connsiteX46" fmla="*/ 455234 w 736187"/>
              <a:gd name="connsiteY46" fmla="*/ 24039 h 540873"/>
              <a:gd name="connsiteX47" fmla="*/ 464249 w 736187"/>
              <a:gd name="connsiteY47" fmla="*/ 21034 h 540873"/>
              <a:gd name="connsiteX48" fmla="*/ 464249 w 736187"/>
              <a:gd name="connsiteY48" fmla="*/ 162262 h 540873"/>
              <a:gd name="connsiteX49" fmla="*/ 455234 w 736187"/>
              <a:gd name="connsiteY49" fmla="*/ 159257 h 540873"/>
              <a:gd name="connsiteX50" fmla="*/ 447722 w 736187"/>
              <a:gd name="connsiteY50" fmla="*/ 157755 h 540873"/>
              <a:gd name="connsiteX51" fmla="*/ 422181 w 736187"/>
              <a:gd name="connsiteY51" fmla="*/ 148740 h 540873"/>
              <a:gd name="connsiteX52" fmla="*/ 416171 w 736187"/>
              <a:gd name="connsiteY52" fmla="*/ 147238 h 540873"/>
              <a:gd name="connsiteX53" fmla="*/ 416171 w 736187"/>
              <a:gd name="connsiteY53" fmla="*/ 36058 h 540873"/>
              <a:gd name="connsiteX54" fmla="*/ 434201 w 736187"/>
              <a:gd name="connsiteY54" fmla="*/ 31551 h 540873"/>
              <a:gd name="connsiteX55" fmla="*/ 434201 w 736187"/>
              <a:gd name="connsiteY55" fmla="*/ 153247 h 540873"/>
              <a:gd name="connsiteX56" fmla="*/ 428191 w 736187"/>
              <a:gd name="connsiteY56" fmla="*/ 151745 h 540873"/>
              <a:gd name="connsiteX57" fmla="*/ 422181 w 736187"/>
              <a:gd name="connsiteY57" fmla="*/ 148740 h 540873"/>
              <a:gd name="connsiteX58" fmla="*/ 399645 w 736187"/>
              <a:gd name="connsiteY58" fmla="*/ 142730 h 540873"/>
              <a:gd name="connsiteX59" fmla="*/ 395138 w 736187"/>
              <a:gd name="connsiteY59" fmla="*/ 141228 h 540873"/>
              <a:gd name="connsiteX60" fmla="*/ 395138 w 736187"/>
              <a:gd name="connsiteY60" fmla="*/ 42068 h 540873"/>
              <a:gd name="connsiteX61" fmla="*/ 408659 w 736187"/>
              <a:gd name="connsiteY61" fmla="*/ 37561 h 540873"/>
              <a:gd name="connsiteX62" fmla="*/ 408659 w 736187"/>
              <a:gd name="connsiteY62" fmla="*/ 145735 h 540873"/>
              <a:gd name="connsiteX63" fmla="*/ 399645 w 736187"/>
              <a:gd name="connsiteY63" fmla="*/ 142730 h 540873"/>
              <a:gd name="connsiteX64" fmla="*/ 390630 w 736187"/>
              <a:gd name="connsiteY64" fmla="*/ 31551 h 540873"/>
              <a:gd name="connsiteX65" fmla="*/ 390630 w 736187"/>
              <a:gd name="connsiteY65" fmla="*/ 151745 h 540873"/>
              <a:gd name="connsiteX66" fmla="*/ 474766 w 736187"/>
              <a:gd name="connsiteY66" fmla="*/ 184798 h 540873"/>
              <a:gd name="connsiteX67" fmla="*/ 474766 w 736187"/>
              <a:gd name="connsiteY67" fmla="*/ 1502 h 540873"/>
              <a:gd name="connsiteX68" fmla="*/ 390630 w 736187"/>
              <a:gd name="connsiteY68" fmla="*/ 31551 h 540873"/>
              <a:gd name="connsiteX69" fmla="*/ 447722 w 736187"/>
              <a:gd name="connsiteY69" fmla="*/ 522844 h 540873"/>
              <a:gd name="connsiteX70" fmla="*/ 440210 w 736187"/>
              <a:gd name="connsiteY70" fmla="*/ 519839 h 540873"/>
              <a:gd name="connsiteX71" fmla="*/ 440210 w 736187"/>
              <a:gd name="connsiteY71" fmla="*/ 393636 h 540873"/>
              <a:gd name="connsiteX72" fmla="*/ 447722 w 736187"/>
              <a:gd name="connsiteY72" fmla="*/ 392133 h 540873"/>
              <a:gd name="connsiteX73" fmla="*/ 455234 w 736187"/>
              <a:gd name="connsiteY73" fmla="*/ 389128 h 540873"/>
              <a:gd name="connsiteX74" fmla="*/ 464249 w 736187"/>
              <a:gd name="connsiteY74" fmla="*/ 386123 h 540873"/>
              <a:gd name="connsiteX75" fmla="*/ 464249 w 736187"/>
              <a:gd name="connsiteY75" fmla="*/ 527352 h 540873"/>
              <a:gd name="connsiteX76" fmla="*/ 455234 w 736187"/>
              <a:gd name="connsiteY76" fmla="*/ 524347 h 540873"/>
              <a:gd name="connsiteX77" fmla="*/ 447722 w 736187"/>
              <a:gd name="connsiteY77" fmla="*/ 522844 h 540873"/>
              <a:gd name="connsiteX78" fmla="*/ 422181 w 736187"/>
              <a:gd name="connsiteY78" fmla="*/ 513830 h 540873"/>
              <a:gd name="connsiteX79" fmla="*/ 416171 w 736187"/>
              <a:gd name="connsiteY79" fmla="*/ 512327 h 540873"/>
              <a:gd name="connsiteX80" fmla="*/ 416171 w 736187"/>
              <a:gd name="connsiteY80" fmla="*/ 401148 h 540873"/>
              <a:gd name="connsiteX81" fmla="*/ 434201 w 736187"/>
              <a:gd name="connsiteY81" fmla="*/ 396640 h 540873"/>
              <a:gd name="connsiteX82" fmla="*/ 434201 w 736187"/>
              <a:gd name="connsiteY82" fmla="*/ 518337 h 540873"/>
              <a:gd name="connsiteX83" fmla="*/ 428191 w 736187"/>
              <a:gd name="connsiteY83" fmla="*/ 516835 h 540873"/>
              <a:gd name="connsiteX84" fmla="*/ 422181 w 736187"/>
              <a:gd name="connsiteY84" fmla="*/ 513830 h 540873"/>
              <a:gd name="connsiteX85" fmla="*/ 399645 w 736187"/>
              <a:gd name="connsiteY85" fmla="*/ 509322 h 540873"/>
              <a:gd name="connsiteX86" fmla="*/ 395138 w 736187"/>
              <a:gd name="connsiteY86" fmla="*/ 507820 h 540873"/>
              <a:gd name="connsiteX87" fmla="*/ 395138 w 736187"/>
              <a:gd name="connsiteY87" fmla="*/ 408660 h 540873"/>
              <a:gd name="connsiteX88" fmla="*/ 408659 w 736187"/>
              <a:gd name="connsiteY88" fmla="*/ 404153 h 540873"/>
              <a:gd name="connsiteX89" fmla="*/ 408659 w 736187"/>
              <a:gd name="connsiteY89" fmla="*/ 512327 h 540873"/>
              <a:gd name="connsiteX90" fmla="*/ 399645 w 736187"/>
              <a:gd name="connsiteY90" fmla="*/ 509322 h 540873"/>
              <a:gd name="connsiteX91" fmla="*/ 390630 w 736187"/>
              <a:gd name="connsiteY91" fmla="*/ 396640 h 540873"/>
              <a:gd name="connsiteX92" fmla="*/ 390630 w 736187"/>
              <a:gd name="connsiteY92" fmla="*/ 516835 h 540873"/>
              <a:gd name="connsiteX93" fmla="*/ 474766 w 736187"/>
              <a:gd name="connsiteY93" fmla="*/ 549888 h 540873"/>
              <a:gd name="connsiteX94" fmla="*/ 474766 w 736187"/>
              <a:gd name="connsiteY94" fmla="*/ 366592 h 540873"/>
              <a:gd name="connsiteX95" fmla="*/ 390630 w 736187"/>
              <a:gd name="connsiteY95" fmla="*/ 396640 h 540873"/>
              <a:gd name="connsiteX96" fmla="*/ 369596 w 736187"/>
              <a:gd name="connsiteY96" fmla="*/ 183296 h 540873"/>
              <a:gd name="connsiteX97" fmla="*/ 369596 w 736187"/>
              <a:gd name="connsiteY97" fmla="*/ 366592 h 540873"/>
              <a:gd name="connsiteX98" fmla="*/ 482278 w 736187"/>
              <a:gd name="connsiteY98" fmla="*/ 323022 h 540873"/>
              <a:gd name="connsiteX99" fmla="*/ 482278 w 736187"/>
              <a:gd name="connsiteY99" fmla="*/ 223861 h 540873"/>
              <a:gd name="connsiteX100" fmla="*/ 369596 w 736187"/>
              <a:gd name="connsiteY100" fmla="*/ 183296 h 540873"/>
              <a:gd name="connsiteX101" fmla="*/ 323021 w 736187"/>
              <a:gd name="connsiteY101" fmla="*/ 341051 h 540873"/>
              <a:gd name="connsiteX102" fmla="*/ 315509 w 736187"/>
              <a:gd name="connsiteY102" fmla="*/ 338046 h 540873"/>
              <a:gd name="connsiteX103" fmla="*/ 315509 w 736187"/>
              <a:gd name="connsiteY103" fmla="*/ 211842 h 540873"/>
              <a:gd name="connsiteX104" fmla="*/ 323021 w 736187"/>
              <a:gd name="connsiteY104" fmla="*/ 210340 h 540873"/>
              <a:gd name="connsiteX105" fmla="*/ 330533 w 736187"/>
              <a:gd name="connsiteY105" fmla="*/ 207335 h 540873"/>
              <a:gd name="connsiteX106" fmla="*/ 339548 w 736187"/>
              <a:gd name="connsiteY106" fmla="*/ 204330 h 540873"/>
              <a:gd name="connsiteX107" fmla="*/ 339548 w 736187"/>
              <a:gd name="connsiteY107" fmla="*/ 345558 h 540873"/>
              <a:gd name="connsiteX108" fmla="*/ 330533 w 736187"/>
              <a:gd name="connsiteY108" fmla="*/ 342553 h 540873"/>
              <a:gd name="connsiteX109" fmla="*/ 323021 w 736187"/>
              <a:gd name="connsiteY109" fmla="*/ 341051 h 540873"/>
              <a:gd name="connsiteX110" fmla="*/ 295978 w 736187"/>
              <a:gd name="connsiteY110" fmla="*/ 332036 h 540873"/>
              <a:gd name="connsiteX111" fmla="*/ 289968 w 736187"/>
              <a:gd name="connsiteY111" fmla="*/ 330534 h 540873"/>
              <a:gd name="connsiteX112" fmla="*/ 289968 w 736187"/>
              <a:gd name="connsiteY112" fmla="*/ 219354 h 540873"/>
              <a:gd name="connsiteX113" fmla="*/ 307997 w 736187"/>
              <a:gd name="connsiteY113" fmla="*/ 214847 h 540873"/>
              <a:gd name="connsiteX114" fmla="*/ 307997 w 736187"/>
              <a:gd name="connsiteY114" fmla="*/ 336543 h 540873"/>
              <a:gd name="connsiteX115" fmla="*/ 301987 w 736187"/>
              <a:gd name="connsiteY115" fmla="*/ 335041 h 540873"/>
              <a:gd name="connsiteX116" fmla="*/ 295978 w 736187"/>
              <a:gd name="connsiteY116" fmla="*/ 332036 h 540873"/>
              <a:gd name="connsiteX117" fmla="*/ 274944 w 736187"/>
              <a:gd name="connsiteY117" fmla="*/ 324524 h 540873"/>
              <a:gd name="connsiteX118" fmla="*/ 270436 w 736187"/>
              <a:gd name="connsiteY118" fmla="*/ 323022 h 540873"/>
              <a:gd name="connsiteX119" fmla="*/ 270436 w 736187"/>
              <a:gd name="connsiteY119" fmla="*/ 223861 h 540873"/>
              <a:gd name="connsiteX120" fmla="*/ 283958 w 736187"/>
              <a:gd name="connsiteY120" fmla="*/ 219354 h 540873"/>
              <a:gd name="connsiteX121" fmla="*/ 283958 w 736187"/>
              <a:gd name="connsiteY121" fmla="*/ 327529 h 540873"/>
              <a:gd name="connsiteX122" fmla="*/ 274944 w 736187"/>
              <a:gd name="connsiteY122" fmla="*/ 324524 h 540873"/>
              <a:gd name="connsiteX123" fmla="*/ 265929 w 736187"/>
              <a:gd name="connsiteY123" fmla="*/ 211842 h 540873"/>
              <a:gd name="connsiteX124" fmla="*/ 265929 w 736187"/>
              <a:gd name="connsiteY124" fmla="*/ 332036 h 540873"/>
              <a:gd name="connsiteX125" fmla="*/ 350065 w 736187"/>
              <a:gd name="connsiteY125" fmla="*/ 365090 h 540873"/>
              <a:gd name="connsiteX126" fmla="*/ 350065 w 736187"/>
              <a:gd name="connsiteY126" fmla="*/ 183296 h 540873"/>
              <a:gd name="connsiteX127" fmla="*/ 265929 w 736187"/>
              <a:gd name="connsiteY127" fmla="*/ 211842 h 540873"/>
              <a:gd name="connsiteX128" fmla="*/ 226866 w 736187"/>
              <a:gd name="connsiteY128" fmla="*/ 0 h 540873"/>
              <a:gd name="connsiteX129" fmla="*/ 226866 w 736187"/>
              <a:gd name="connsiteY129" fmla="*/ 184798 h 540873"/>
              <a:gd name="connsiteX130" fmla="*/ 341050 w 736187"/>
              <a:gd name="connsiteY130" fmla="*/ 139726 h 540873"/>
              <a:gd name="connsiteX131" fmla="*/ 341050 w 736187"/>
              <a:gd name="connsiteY131" fmla="*/ 40566 h 540873"/>
              <a:gd name="connsiteX132" fmla="*/ 226866 w 736187"/>
              <a:gd name="connsiteY132" fmla="*/ 0 h 540873"/>
              <a:gd name="connsiteX133" fmla="*/ 226866 w 736187"/>
              <a:gd name="connsiteY133" fmla="*/ 366592 h 540873"/>
              <a:gd name="connsiteX134" fmla="*/ 226866 w 736187"/>
              <a:gd name="connsiteY134" fmla="*/ 549888 h 540873"/>
              <a:gd name="connsiteX135" fmla="*/ 341050 w 736187"/>
              <a:gd name="connsiteY135" fmla="*/ 504815 h 540873"/>
              <a:gd name="connsiteX136" fmla="*/ 341050 w 736187"/>
              <a:gd name="connsiteY136" fmla="*/ 405655 h 540873"/>
              <a:gd name="connsiteX137" fmla="*/ 226866 w 736187"/>
              <a:gd name="connsiteY137" fmla="*/ 366592 h 540873"/>
              <a:gd name="connsiteX138" fmla="*/ 181793 w 736187"/>
              <a:gd name="connsiteY138" fmla="*/ 157755 h 540873"/>
              <a:gd name="connsiteX139" fmla="*/ 174281 w 736187"/>
              <a:gd name="connsiteY139" fmla="*/ 154750 h 540873"/>
              <a:gd name="connsiteX140" fmla="*/ 174281 w 736187"/>
              <a:gd name="connsiteY140" fmla="*/ 28546 h 540873"/>
              <a:gd name="connsiteX141" fmla="*/ 181793 w 736187"/>
              <a:gd name="connsiteY141" fmla="*/ 27044 h 540873"/>
              <a:gd name="connsiteX142" fmla="*/ 189305 w 736187"/>
              <a:gd name="connsiteY142" fmla="*/ 24039 h 540873"/>
              <a:gd name="connsiteX143" fmla="*/ 198320 w 736187"/>
              <a:gd name="connsiteY143" fmla="*/ 21034 h 540873"/>
              <a:gd name="connsiteX144" fmla="*/ 198320 w 736187"/>
              <a:gd name="connsiteY144" fmla="*/ 162262 h 540873"/>
              <a:gd name="connsiteX145" fmla="*/ 189305 w 736187"/>
              <a:gd name="connsiteY145" fmla="*/ 159257 h 540873"/>
              <a:gd name="connsiteX146" fmla="*/ 181793 w 736187"/>
              <a:gd name="connsiteY146" fmla="*/ 157755 h 540873"/>
              <a:gd name="connsiteX147" fmla="*/ 154750 w 736187"/>
              <a:gd name="connsiteY147" fmla="*/ 148740 h 540873"/>
              <a:gd name="connsiteX148" fmla="*/ 148740 w 736187"/>
              <a:gd name="connsiteY148" fmla="*/ 147238 h 540873"/>
              <a:gd name="connsiteX149" fmla="*/ 148740 w 736187"/>
              <a:gd name="connsiteY149" fmla="*/ 36058 h 540873"/>
              <a:gd name="connsiteX150" fmla="*/ 166769 w 736187"/>
              <a:gd name="connsiteY150" fmla="*/ 31551 h 540873"/>
              <a:gd name="connsiteX151" fmla="*/ 166769 w 736187"/>
              <a:gd name="connsiteY151" fmla="*/ 153247 h 540873"/>
              <a:gd name="connsiteX152" fmla="*/ 160759 w 736187"/>
              <a:gd name="connsiteY152" fmla="*/ 151745 h 540873"/>
              <a:gd name="connsiteX153" fmla="*/ 154750 w 736187"/>
              <a:gd name="connsiteY153" fmla="*/ 148740 h 540873"/>
              <a:gd name="connsiteX154" fmla="*/ 132213 w 736187"/>
              <a:gd name="connsiteY154" fmla="*/ 142730 h 540873"/>
              <a:gd name="connsiteX155" fmla="*/ 127706 w 736187"/>
              <a:gd name="connsiteY155" fmla="*/ 141228 h 540873"/>
              <a:gd name="connsiteX156" fmla="*/ 127706 w 736187"/>
              <a:gd name="connsiteY156" fmla="*/ 42068 h 540873"/>
              <a:gd name="connsiteX157" fmla="*/ 141228 w 736187"/>
              <a:gd name="connsiteY157" fmla="*/ 37561 h 540873"/>
              <a:gd name="connsiteX158" fmla="*/ 141228 w 736187"/>
              <a:gd name="connsiteY158" fmla="*/ 145735 h 540873"/>
              <a:gd name="connsiteX159" fmla="*/ 132213 w 736187"/>
              <a:gd name="connsiteY159" fmla="*/ 142730 h 540873"/>
              <a:gd name="connsiteX160" fmla="*/ 123199 w 736187"/>
              <a:gd name="connsiteY160" fmla="*/ 31551 h 540873"/>
              <a:gd name="connsiteX161" fmla="*/ 123199 w 736187"/>
              <a:gd name="connsiteY161" fmla="*/ 151745 h 540873"/>
              <a:gd name="connsiteX162" fmla="*/ 207335 w 736187"/>
              <a:gd name="connsiteY162" fmla="*/ 184798 h 540873"/>
              <a:gd name="connsiteX163" fmla="*/ 207335 w 736187"/>
              <a:gd name="connsiteY163" fmla="*/ 1502 h 540873"/>
              <a:gd name="connsiteX164" fmla="*/ 123199 w 736187"/>
              <a:gd name="connsiteY164" fmla="*/ 31551 h 540873"/>
              <a:gd name="connsiteX165" fmla="*/ 181793 w 736187"/>
              <a:gd name="connsiteY165" fmla="*/ 522844 h 540873"/>
              <a:gd name="connsiteX166" fmla="*/ 174281 w 736187"/>
              <a:gd name="connsiteY166" fmla="*/ 519839 h 540873"/>
              <a:gd name="connsiteX167" fmla="*/ 174281 w 736187"/>
              <a:gd name="connsiteY167" fmla="*/ 393636 h 540873"/>
              <a:gd name="connsiteX168" fmla="*/ 181793 w 736187"/>
              <a:gd name="connsiteY168" fmla="*/ 392133 h 540873"/>
              <a:gd name="connsiteX169" fmla="*/ 189305 w 736187"/>
              <a:gd name="connsiteY169" fmla="*/ 389128 h 540873"/>
              <a:gd name="connsiteX170" fmla="*/ 198320 w 736187"/>
              <a:gd name="connsiteY170" fmla="*/ 386123 h 540873"/>
              <a:gd name="connsiteX171" fmla="*/ 198320 w 736187"/>
              <a:gd name="connsiteY171" fmla="*/ 527352 h 540873"/>
              <a:gd name="connsiteX172" fmla="*/ 189305 w 736187"/>
              <a:gd name="connsiteY172" fmla="*/ 524347 h 540873"/>
              <a:gd name="connsiteX173" fmla="*/ 181793 w 736187"/>
              <a:gd name="connsiteY173" fmla="*/ 522844 h 540873"/>
              <a:gd name="connsiteX174" fmla="*/ 154750 w 736187"/>
              <a:gd name="connsiteY174" fmla="*/ 513830 h 540873"/>
              <a:gd name="connsiteX175" fmla="*/ 148740 w 736187"/>
              <a:gd name="connsiteY175" fmla="*/ 512327 h 540873"/>
              <a:gd name="connsiteX176" fmla="*/ 148740 w 736187"/>
              <a:gd name="connsiteY176" fmla="*/ 401148 h 540873"/>
              <a:gd name="connsiteX177" fmla="*/ 166769 w 736187"/>
              <a:gd name="connsiteY177" fmla="*/ 396640 h 540873"/>
              <a:gd name="connsiteX178" fmla="*/ 166769 w 736187"/>
              <a:gd name="connsiteY178" fmla="*/ 518337 h 540873"/>
              <a:gd name="connsiteX179" fmla="*/ 160759 w 736187"/>
              <a:gd name="connsiteY179" fmla="*/ 516835 h 540873"/>
              <a:gd name="connsiteX180" fmla="*/ 154750 w 736187"/>
              <a:gd name="connsiteY180" fmla="*/ 513830 h 540873"/>
              <a:gd name="connsiteX181" fmla="*/ 132213 w 736187"/>
              <a:gd name="connsiteY181" fmla="*/ 509322 h 540873"/>
              <a:gd name="connsiteX182" fmla="*/ 127706 w 736187"/>
              <a:gd name="connsiteY182" fmla="*/ 507820 h 540873"/>
              <a:gd name="connsiteX183" fmla="*/ 127706 w 736187"/>
              <a:gd name="connsiteY183" fmla="*/ 408660 h 540873"/>
              <a:gd name="connsiteX184" fmla="*/ 141228 w 736187"/>
              <a:gd name="connsiteY184" fmla="*/ 404153 h 540873"/>
              <a:gd name="connsiteX185" fmla="*/ 141228 w 736187"/>
              <a:gd name="connsiteY185" fmla="*/ 512327 h 540873"/>
              <a:gd name="connsiteX186" fmla="*/ 132213 w 736187"/>
              <a:gd name="connsiteY186" fmla="*/ 509322 h 540873"/>
              <a:gd name="connsiteX187" fmla="*/ 123199 w 736187"/>
              <a:gd name="connsiteY187" fmla="*/ 396640 h 540873"/>
              <a:gd name="connsiteX188" fmla="*/ 123199 w 736187"/>
              <a:gd name="connsiteY188" fmla="*/ 516835 h 540873"/>
              <a:gd name="connsiteX189" fmla="*/ 207335 w 736187"/>
              <a:gd name="connsiteY189" fmla="*/ 549888 h 540873"/>
              <a:gd name="connsiteX190" fmla="*/ 207335 w 736187"/>
              <a:gd name="connsiteY190" fmla="*/ 366592 h 540873"/>
              <a:gd name="connsiteX191" fmla="*/ 123199 w 736187"/>
              <a:gd name="connsiteY191" fmla="*/ 396640 h 540873"/>
              <a:gd name="connsiteX192" fmla="*/ 105170 w 736187"/>
              <a:gd name="connsiteY192" fmla="*/ 183296 h 540873"/>
              <a:gd name="connsiteX193" fmla="*/ 105170 w 736187"/>
              <a:gd name="connsiteY193" fmla="*/ 366592 h 540873"/>
              <a:gd name="connsiteX194" fmla="*/ 217851 w 736187"/>
              <a:gd name="connsiteY194" fmla="*/ 323022 h 540873"/>
              <a:gd name="connsiteX195" fmla="*/ 217851 w 736187"/>
              <a:gd name="connsiteY195" fmla="*/ 223861 h 540873"/>
              <a:gd name="connsiteX196" fmla="*/ 105170 w 736187"/>
              <a:gd name="connsiteY196" fmla="*/ 183296 h 540873"/>
              <a:gd name="connsiteX197" fmla="*/ 58595 w 736187"/>
              <a:gd name="connsiteY197" fmla="*/ 341051 h 540873"/>
              <a:gd name="connsiteX198" fmla="*/ 51082 w 736187"/>
              <a:gd name="connsiteY198" fmla="*/ 338046 h 540873"/>
              <a:gd name="connsiteX199" fmla="*/ 51082 w 736187"/>
              <a:gd name="connsiteY199" fmla="*/ 211842 h 540873"/>
              <a:gd name="connsiteX200" fmla="*/ 58595 w 736187"/>
              <a:gd name="connsiteY200" fmla="*/ 210340 h 540873"/>
              <a:gd name="connsiteX201" fmla="*/ 66107 w 736187"/>
              <a:gd name="connsiteY201" fmla="*/ 207335 h 540873"/>
              <a:gd name="connsiteX202" fmla="*/ 75121 w 736187"/>
              <a:gd name="connsiteY202" fmla="*/ 204330 h 540873"/>
              <a:gd name="connsiteX203" fmla="*/ 75121 w 736187"/>
              <a:gd name="connsiteY203" fmla="*/ 345558 h 540873"/>
              <a:gd name="connsiteX204" fmla="*/ 66107 w 736187"/>
              <a:gd name="connsiteY204" fmla="*/ 342553 h 540873"/>
              <a:gd name="connsiteX205" fmla="*/ 58595 w 736187"/>
              <a:gd name="connsiteY205" fmla="*/ 341051 h 540873"/>
              <a:gd name="connsiteX206" fmla="*/ 31551 w 736187"/>
              <a:gd name="connsiteY206" fmla="*/ 332036 h 540873"/>
              <a:gd name="connsiteX207" fmla="*/ 25541 w 736187"/>
              <a:gd name="connsiteY207" fmla="*/ 330534 h 540873"/>
              <a:gd name="connsiteX208" fmla="*/ 25541 w 736187"/>
              <a:gd name="connsiteY208" fmla="*/ 219354 h 540873"/>
              <a:gd name="connsiteX209" fmla="*/ 43570 w 736187"/>
              <a:gd name="connsiteY209" fmla="*/ 214847 h 540873"/>
              <a:gd name="connsiteX210" fmla="*/ 43570 w 736187"/>
              <a:gd name="connsiteY210" fmla="*/ 336543 h 540873"/>
              <a:gd name="connsiteX211" fmla="*/ 37561 w 736187"/>
              <a:gd name="connsiteY211" fmla="*/ 335041 h 540873"/>
              <a:gd name="connsiteX212" fmla="*/ 31551 w 736187"/>
              <a:gd name="connsiteY212" fmla="*/ 332036 h 540873"/>
              <a:gd name="connsiteX213" fmla="*/ 9015 w 736187"/>
              <a:gd name="connsiteY213" fmla="*/ 324524 h 540873"/>
              <a:gd name="connsiteX214" fmla="*/ 4507 w 736187"/>
              <a:gd name="connsiteY214" fmla="*/ 323022 h 540873"/>
              <a:gd name="connsiteX215" fmla="*/ 4507 w 736187"/>
              <a:gd name="connsiteY215" fmla="*/ 223861 h 540873"/>
              <a:gd name="connsiteX216" fmla="*/ 18029 w 736187"/>
              <a:gd name="connsiteY216" fmla="*/ 219354 h 540873"/>
              <a:gd name="connsiteX217" fmla="*/ 18029 w 736187"/>
              <a:gd name="connsiteY217" fmla="*/ 327529 h 540873"/>
              <a:gd name="connsiteX218" fmla="*/ 9015 w 736187"/>
              <a:gd name="connsiteY218" fmla="*/ 324524 h 540873"/>
              <a:gd name="connsiteX219" fmla="*/ 0 w 736187"/>
              <a:gd name="connsiteY219" fmla="*/ 211842 h 540873"/>
              <a:gd name="connsiteX220" fmla="*/ 0 w 736187"/>
              <a:gd name="connsiteY220" fmla="*/ 332036 h 540873"/>
              <a:gd name="connsiteX221" fmla="*/ 84136 w 736187"/>
              <a:gd name="connsiteY221" fmla="*/ 365090 h 540873"/>
              <a:gd name="connsiteX222" fmla="*/ 84136 w 736187"/>
              <a:gd name="connsiteY222" fmla="*/ 183296 h 540873"/>
              <a:gd name="connsiteX223" fmla="*/ 0 w 736187"/>
              <a:gd name="connsiteY223" fmla="*/ 211842 h 54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736187" h="540873">
                <a:moveTo>
                  <a:pt x="631018" y="183296"/>
                </a:moveTo>
                <a:lnTo>
                  <a:pt x="631018" y="366592"/>
                </a:lnTo>
                <a:lnTo>
                  <a:pt x="743700" y="323022"/>
                </a:lnTo>
                <a:lnTo>
                  <a:pt x="743700" y="223861"/>
                </a:lnTo>
                <a:lnTo>
                  <a:pt x="631018" y="183296"/>
                </a:lnTo>
                <a:close/>
                <a:moveTo>
                  <a:pt x="585945" y="341051"/>
                </a:moveTo>
                <a:lnTo>
                  <a:pt x="578433" y="338046"/>
                </a:lnTo>
                <a:lnTo>
                  <a:pt x="578433" y="211842"/>
                </a:lnTo>
                <a:lnTo>
                  <a:pt x="585945" y="210340"/>
                </a:lnTo>
                <a:lnTo>
                  <a:pt x="593458" y="207335"/>
                </a:lnTo>
                <a:lnTo>
                  <a:pt x="602472" y="204330"/>
                </a:lnTo>
                <a:lnTo>
                  <a:pt x="602472" y="345558"/>
                </a:lnTo>
                <a:lnTo>
                  <a:pt x="593458" y="342553"/>
                </a:lnTo>
                <a:lnTo>
                  <a:pt x="585945" y="341051"/>
                </a:lnTo>
                <a:close/>
                <a:moveTo>
                  <a:pt x="558902" y="332036"/>
                </a:moveTo>
                <a:lnTo>
                  <a:pt x="552892" y="330534"/>
                </a:lnTo>
                <a:lnTo>
                  <a:pt x="552892" y="219354"/>
                </a:lnTo>
                <a:lnTo>
                  <a:pt x="570921" y="214847"/>
                </a:lnTo>
                <a:lnTo>
                  <a:pt x="570921" y="336543"/>
                </a:lnTo>
                <a:lnTo>
                  <a:pt x="564911" y="335041"/>
                </a:lnTo>
                <a:lnTo>
                  <a:pt x="558902" y="332036"/>
                </a:lnTo>
                <a:close/>
                <a:moveTo>
                  <a:pt x="536365" y="324524"/>
                </a:moveTo>
                <a:lnTo>
                  <a:pt x="531858" y="323022"/>
                </a:lnTo>
                <a:lnTo>
                  <a:pt x="531858" y="223861"/>
                </a:lnTo>
                <a:lnTo>
                  <a:pt x="545380" y="219354"/>
                </a:lnTo>
                <a:lnTo>
                  <a:pt x="545380" y="327529"/>
                </a:lnTo>
                <a:lnTo>
                  <a:pt x="536365" y="324524"/>
                </a:lnTo>
                <a:close/>
                <a:moveTo>
                  <a:pt x="527351" y="211842"/>
                </a:moveTo>
                <a:lnTo>
                  <a:pt x="527351" y="332036"/>
                </a:lnTo>
                <a:lnTo>
                  <a:pt x="611487" y="365090"/>
                </a:lnTo>
                <a:lnTo>
                  <a:pt x="611487" y="183296"/>
                </a:lnTo>
                <a:lnTo>
                  <a:pt x="527351" y="211842"/>
                </a:lnTo>
                <a:close/>
                <a:moveTo>
                  <a:pt x="492795" y="0"/>
                </a:moveTo>
                <a:lnTo>
                  <a:pt x="492795" y="184798"/>
                </a:lnTo>
                <a:lnTo>
                  <a:pt x="606979" y="139726"/>
                </a:lnTo>
                <a:lnTo>
                  <a:pt x="606979" y="40566"/>
                </a:lnTo>
                <a:lnTo>
                  <a:pt x="492795" y="0"/>
                </a:lnTo>
                <a:close/>
                <a:moveTo>
                  <a:pt x="492795" y="366592"/>
                </a:moveTo>
                <a:lnTo>
                  <a:pt x="492795" y="549888"/>
                </a:lnTo>
                <a:lnTo>
                  <a:pt x="606979" y="504815"/>
                </a:lnTo>
                <a:lnTo>
                  <a:pt x="606979" y="405655"/>
                </a:lnTo>
                <a:lnTo>
                  <a:pt x="492795" y="366592"/>
                </a:lnTo>
                <a:close/>
                <a:moveTo>
                  <a:pt x="447722" y="157755"/>
                </a:moveTo>
                <a:lnTo>
                  <a:pt x="440210" y="154750"/>
                </a:lnTo>
                <a:lnTo>
                  <a:pt x="440210" y="28546"/>
                </a:lnTo>
                <a:lnTo>
                  <a:pt x="447722" y="27044"/>
                </a:lnTo>
                <a:lnTo>
                  <a:pt x="455234" y="24039"/>
                </a:lnTo>
                <a:lnTo>
                  <a:pt x="464249" y="21034"/>
                </a:lnTo>
                <a:lnTo>
                  <a:pt x="464249" y="162262"/>
                </a:lnTo>
                <a:lnTo>
                  <a:pt x="455234" y="159257"/>
                </a:lnTo>
                <a:lnTo>
                  <a:pt x="447722" y="157755"/>
                </a:lnTo>
                <a:close/>
                <a:moveTo>
                  <a:pt x="422181" y="148740"/>
                </a:moveTo>
                <a:lnTo>
                  <a:pt x="416171" y="147238"/>
                </a:lnTo>
                <a:lnTo>
                  <a:pt x="416171" y="36058"/>
                </a:lnTo>
                <a:lnTo>
                  <a:pt x="434201" y="31551"/>
                </a:lnTo>
                <a:lnTo>
                  <a:pt x="434201" y="153247"/>
                </a:lnTo>
                <a:lnTo>
                  <a:pt x="428191" y="151745"/>
                </a:lnTo>
                <a:lnTo>
                  <a:pt x="422181" y="148740"/>
                </a:lnTo>
                <a:close/>
                <a:moveTo>
                  <a:pt x="399645" y="142730"/>
                </a:moveTo>
                <a:lnTo>
                  <a:pt x="395138" y="141228"/>
                </a:lnTo>
                <a:lnTo>
                  <a:pt x="395138" y="42068"/>
                </a:lnTo>
                <a:lnTo>
                  <a:pt x="408659" y="37561"/>
                </a:lnTo>
                <a:lnTo>
                  <a:pt x="408659" y="145735"/>
                </a:lnTo>
                <a:lnTo>
                  <a:pt x="399645" y="142730"/>
                </a:lnTo>
                <a:close/>
                <a:moveTo>
                  <a:pt x="390630" y="31551"/>
                </a:moveTo>
                <a:lnTo>
                  <a:pt x="390630" y="151745"/>
                </a:lnTo>
                <a:lnTo>
                  <a:pt x="474766" y="184798"/>
                </a:lnTo>
                <a:lnTo>
                  <a:pt x="474766" y="1502"/>
                </a:lnTo>
                <a:lnTo>
                  <a:pt x="390630" y="31551"/>
                </a:lnTo>
                <a:close/>
                <a:moveTo>
                  <a:pt x="447722" y="522844"/>
                </a:moveTo>
                <a:lnTo>
                  <a:pt x="440210" y="519839"/>
                </a:lnTo>
                <a:lnTo>
                  <a:pt x="440210" y="393636"/>
                </a:lnTo>
                <a:lnTo>
                  <a:pt x="447722" y="392133"/>
                </a:lnTo>
                <a:lnTo>
                  <a:pt x="455234" y="389128"/>
                </a:lnTo>
                <a:lnTo>
                  <a:pt x="464249" y="386123"/>
                </a:lnTo>
                <a:lnTo>
                  <a:pt x="464249" y="527352"/>
                </a:lnTo>
                <a:lnTo>
                  <a:pt x="455234" y="524347"/>
                </a:lnTo>
                <a:lnTo>
                  <a:pt x="447722" y="522844"/>
                </a:lnTo>
                <a:close/>
                <a:moveTo>
                  <a:pt x="422181" y="513830"/>
                </a:moveTo>
                <a:lnTo>
                  <a:pt x="416171" y="512327"/>
                </a:lnTo>
                <a:lnTo>
                  <a:pt x="416171" y="401148"/>
                </a:lnTo>
                <a:lnTo>
                  <a:pt x="434201" y="396640"/>
                </a:lnTo>
                <a:lnTo>
                  <a:pt x="434201" y="518337"/>
                </a:lnTo>
                <a:lnTo>
                  <a:pt x="428191" y="516835"/>
                </a:lnTo>
                <a:lnTo>
                  <a:pt x="422181" y="513830"/>
                </a:lnTo>
                <a:close/>
                <a:moveTo>
                  <a:pt x="399645" y="509322"/>
                </a:moveTo>
                <a:lnTo>
                  <a:pt x="395138" y="507820"/>
                </a:lnTo>
                <a:lnTo>
                  <a:pt x="395138" y="408660"/>
                </a:lnTo>
                <a:lnTo>
                  <a:pt x="408659" y="404153"/>
                </a:lnTo>
                <a:lnTo>
                  <a:pt x="408659" y="512327"/>
                </a:lnTo>
                <a:lnTo>
                  <a:pt x="399645" y="509322"/>
                </a:lnTo>
                <a:close/>
                <a:moveTo>
                  <a:pt x="390630" y="396640"/>
                </a:moveTo>
                <a:lnTo>
                  <a:pt x="390630" y="516835"/>
                </a:lnTo>
                <a:lnTo>
                  <a:pt x="474766" y="549888"/>
                </a:lnTo>
                <a:lnTo>
                  <a:pt x="474766" y="366592"/>
                </a:lnTo>
                <a:lnTo>
                  <a:pt x="390630" y="396640"/>
                </a:lnTo>
                <a:close/>
                <a:moveTo>
                  <a:pt x="369596" y="183296"/>
                </a:moveTo>
                <a:lnTo>
                  <a:pt x="369596" y="366592"/>
                </a:lnTo>
                <a:lnTo>
                  <a:pt x="482278" y="323022"/>
                </a:lnTo>
                <a:lnTo>
                  <a:pt x="482278" y="223861"/>
                </a:lnTo>
                <a:lnTo>
                  <a:pt x="369596" y="183296"/>
                </a:lnTo>
                <a:close/>
                <a:moveTo>
                  <a:pt x="323021" y="341051"/>
                </a:moveTo>
                <a:lnTo>
                  <a:pt x="315509" y="338046"/>
                </a:lnTo>
                <a:lnTo>
                  <a:pt x="315509" y="211842"/>
                </a:lnTo>
                <a:lnTo>
                  <a:pt x="323021" y="210340"/>
                </a:lnTo>
                <a:lnTo>
                  <a:pt x="330533" y="207335"/>
                </a:lnTo>
                <a:lnTo>
                  <a:pt x="339548" y="204330"/>
                </a:lnTo>
                <a:lnTo>
                  <a:pt x="339548" y="345558"/>
                </a:lnTo>
                <a:lnTo>
                  <a:pt x="330533" y="342553"/>
                </a:lnTo>
                <a:lnTo>
                  <a:pt x="323021" y="341051"/>
                </a:lnTo>
                <a:close/>
                <a:moveTo>
                  <a:pt x="295978" y="332036"/>
                </a:moveTo>
                <a:lnTo>
                  <a:pt x="289968" y="330534"/>
                </a:lnTo>
                <a:lnTo>
                  <a:pt x="289968" y="219354"/>
                </a:lnTo>
                <a:lnTo>
                  <a:pt x="307997" y="214847"/>
                </a:lnTo>
                <a:lnTo>
                  <a:pt x="307997" y="336543"/>
                </a:lnTo>
                <a:lnTo>
                  <a:pt x="301987" y="335041"/>
                </a:lnTo>
                <a:lnTo>
                  <a:pt x="295978" y="332036"/>
                </a:lnTo>
                <a:close/>
                <a:moveTo>
                  <a:pt x="274944" y="324524"/>
                </a:moveTo>
                <a:lnTo>
                  <a:pt x="270436" y="323022"/>
                </a:lnTo>
                <a:lnTo>
                  <a:pt x="270436" y="223861"/>
                </a:lnTo>
                <a:lnTo>
                  <a:pt x="283958" y="219354"/>
                </a:lnTo>
                <a:lnTo>
                  <a:pt x="283958" y="327529"/>
                </a:lnTo>
                <a:lnTo>
                  <a:pt x="274944" y="324524"/>
                </a:lnTo>
                <a:close/>
                <a:moveTo>
                  <a:pt x="265929" y="211842"/>
                </a:moveTo>
                <a:lnTo>
                  <a:pt x="265929" y="332036"/>
                </a:lnTo>
                <a:lnTo>
                  <a:pt x="350065" y="365090"/>
                </a:lnTo>
                <a:lnTo>
                  <a:pt x="350065" y="183296"/>
                </a:lnTo>
                <a:lnTo>
                  <a:pt x="265929" y="211842"/>
                </a:lnTo>
                <a:close/>
                <a:moveTo>
                  <a:pt x="226866" y="0"/>
                </a:moveTo>
                <a:lnTo>
                  <a:pt x="226866" y="184798"/>
                </a:lnTo>
                <a:lnTo>
                  <a:pt x="341050" y="139726"/>
                </a:lnTo>
                <a:lnTo>
                  <a:pt x="341050" y="40566"/>
                </a:lnTo>
                <a:lnTo>
                  <a:pt x="226866" y="0"/>
                </a:lnTo>
                <a:close/>
                <a:moveTo>
                  <a:pt x="226866" y="366592"/>
                </a:moveTo>
                <a:lnTo>
                  <a:pt x="226866" y="549888"/>
                </a:lnTo>
                <a:lnTo>
                  <a:pt x="341050" y="504815"/>
                </a:lnTo>
                <a:lnTo>
                  <a:pt x="341050" y="405655"/>
                </a:lnTo>
                <a:lnTo>
                  <a:pt x="226866" y="366592"/>
                </a:lnTo>
                <a:close/>
                <a:moveTo>
                  <a:pt x="181793" y="157755"/>
                </a:moveTo>
                <a:lnTo>
                  <a:pt x="174281" y="154750"/>
                </a:lnTo>
                <a:lnTo>
                  <a:pt x="174281" y="28546"/>
                </a:lnTo>
                <a:lnTo>
                  <a:pt x="181793" y="27044"/>
                </a:lnTo>
                <a:lnTo>
                  <a:pt x="189305" y="24039"/>
                </a:lnTo>
                <a:lnTo>
                  <a:pt x="198320" y="21034"/>
                </a:lnTo>
                <a:lnTo>
                  <a:pt x="198320" y="162262"/>
                </a:lnTo>
                <a:lnTo>
                  <a:pt x="189305" y="159257"/>
                </a:lnTo>
                <a:lnTo>
                  <a:pt x="181793" y="157755"/>
                </a:lnTo>
                <a:close/>
                <a:moveTo>
                  <a:pt x="154750" y="148740"/>
                </a:moveTo>
                <a:lnTo>
                  <a:pt x="148740" y="147238"/>
                </a:lnTo>
                <a:lnTo>
                  <a:pt x="148740" y="36058"/>
                </a:lnTo>
                <a:lnTo>
                  <a:pt x="166769" y="31551"/>
                </a:lnTo>
                <a:lnTo>
                  <a:pt x="166769" y="153247"/>
                </a:lnTo>
                <a:lnTo>
                  <a:pt x="160759" y="151745"/>
                </a:lnTo>
                <a:lnTo>
                  <a:pt x="154750" y="148740"/>
                </a:lnTo>
                <a:close/>
                <a:moveTo>
                  <a:pt x="132213" y="142730"/>
                </a:moveTo>
                <a:lnTo>
                  <a:pt x="127706" y="141228"/>
                </a:lnTo>
                <a:lnTo>
                  <a:pt x="127706" y="42068"/>
                </a:lnTo>
                <a:lnTo>
                  <a:pt x="141228" y="37561"/>
                </a:lnTo>
                <a:lnTo>
                  <a:pt x="141228" y="145735"/>
                </a:lnTo>
                <a:lnTo>
                  <a:pt x="132213" y="142730"/>
                </a:lnTo>
                <a:close/>
                <a:moveTo>
                  <a:pt x="123199" y="31551"/>
                </a:moveTo>
                <a:lnTo>
                  <a:pt x="123199" y="151745"/>
                </a:lnTo>
                <a:lnTo>
                  <a:pt x="207335" y="184798"/>
                </a:lnTo>
                <a:lnTo>
                  <a:pt x="207335" y="1502"/>
                </a:lnTo>
                <a:lnTo>
                  <a:pt x="123199" y="31551"/>
                </a:lnTo>
                <a:close/>
                <a:moveTo>
                  <a:pt x="181793" y="522844"/>
                </a:moveTo>
                <a:lnTo>
                  <a:pt x="174281" y="519839"/>
                </a:lnTo>
                <a:lnTo>
                  <a:pt x="174281" y="393636"/>
                </a:lnTo>
                <a:lnTo>
                  <a:pt x="181793" y="392133"/>
                </a:lnTo>
                <a:lnTo>
                  <a:pt x="189305" y="389128"/>
                </a:lnTo>
                <a:lnTo>
                  <a:pt x="198320" y="386123"/>
                </a:lnTo>
                <a:lnTo>
                  <a:pt x="198320" y="527352"/>
                </a:lnTo>
                <a:lnTo>
                  <a:pt x="189305" y="524347"/>
                </a:lnTo>
                <a:lnTo>
                  <a:pt x="181793" y="522844"/>
                </a:lnTo>
                <a:close/>
                <a:moveTo>
                  <a:pt x="154750" y="513830"/>
                </a:moveTo>
                <a:lnTo>
                  <a:pt x="148740" y="512327"/>
                </a:lnTo>
                <a:lnTo>
                  <a:pt x="148740" y="401148"/>
                </a:lnTo>
                <a:lnTo>
                  <a:pt x="166769" y="396640"/>
                </a:lnTo>
                <a:lnTo>
                  <a:pt x="166769" y="518337"/>
                </a:lnTo>
                <a:lnTo>
                  <a:pt x="160759" y="516835"/>
                </a:lnTo>
                <a:lnTo>
                  <a:pt x="154750" y="513830"/>
                </a:lnTo>
                <a:close/>
                <a:moveTo>
                  <a:pt x="132213" y="509322"/>
                </a:moveTo>
                <a:lnTo>
                  <a:pt x="127706" y="507820"/>
                </a:lnTo>
                <a:lnTo>
                  <a:pt x="127706" y="408660"/>
                </a:lnTo>
                <a:lnTo>
                  <a:pt x="141228" y="404153"/>
                </a:lnTo>
                <a:lnTo>
                  <a:pt x="141228" y="512327"/>
                </a:lnTo>
                <a:lnTo>
                  <a:pt x="132213" y="509322"/>
                </a:lnTo>
                <a:close/>
                <a:moveTo>
                  <a:pt x="123199" y="396640"/>
                </a:moveTo>
                <a:lnTo>
                  <a:pt x="123199" y="516835"/>
                </a:lnTo>
                <a:lnTo>
                  <a:pt x="207335" y="549888"/>
                </a:lnTo>
                <a:lnTo>
                  <a:pt x="207335" y="366592"/>
                </a:lnTo>
                <a:lnTo>
                  <a:pt x="123199" y="396640"/>
                </a:lnTo>
                <a:close/>
                <a:moveTo>
                  <a:pt x="105170" y="183296"/>
                </a:moveTo>
                <a:lnTo>
                  <a:pt x="105170" y="366592"/>
                </a:lnTo>
                <a:lnTo>
                  <a:pt x="217851" y="323022"/>
                </a:lnTo>
                <a:lnTo>
                  <a:pt x="217851" y="223861"/>
                </a:lnTo>
                <a:lnTo>
                  <a:pt x="105170" y="183296"/>
                </a:lnTo>
                <a:close/>
                <a:moveTo>
                  <a:pt x="58595" y="341051"/>
                </a:moveTo>
                <a:lnTo>
                  <a:pt x="51082" y="338046"/>
                </a:lnTo>
                <a:lnTo>
                  <a:pt x="51082" y="211842"/>
                </a:lnTo>
                <a:lnTo>
                  <a:pt x="58595" y="210340"/>
                </a:lnTo>
                <a:lnTo>
                  <a:pt x="66107" y="207335"/>
                </a:lnTo>
                <a:lnTo>
                  <a:pt x="75121" y="204330"/>
                </a:lnTo>
                <a:lnTo>
                  <a:pt x="75121" y="345558"/>
                </a:lnTo>
                <a:lnTo>
                  <a:pt x="66107" y="342553"/>
                </a:lnTo>
                <a:lnTo>
                  <a:pt x="58595" y="341051"/>
                </a:lnTo>
                <a:close/>
                <a:moveTo>
                  <a:pt x="31551" y="332036"/>
                </a:moveTo>
                <a:lnTo>
                  <a:pt x="25541" y="330534"/>
                </a:lnTo>
                <a:lnTo>
                  <a:pt x="25541" y="219354"/>
                </a:lnTo>
                <a:lnTo>
                  <a:pt x="43570" y="214847"/>
                </a:lnTo>
                <a:lnTo>
                  <a:pt x="43570" y="336543"/>
                </a:lnTo>
                <a:lnTo>
                  <a:pt x="37561" y="335041"/>
                </a:lnTo>
                <a:lnTo>
                  <a:pt x="31551" y="332036"/>
                </a:lnTo>
                <a:close/>
                <a:moveTo>
                  <a:pt x="9015" y="324524"/>
                </a:moveTo>
                <a:lnTo>
                  <a:pt x="4507" y="323022"/>
                </a:lnTo>
                <a:lnTo>
                  <a:pt x="4507" y="223861"/>
                </a:lnTo>
                <a:lnTo>
                  <a:pt x="18029" y="219354"/>
                </a:lnTo>
                <a:lnTo>
                  <a:pt x="18029" y="327529"/>
                </a:lnTo>
                <a:lnTo>
                  <a:pt x="9015" y="324524"/>
                </a:lnTo>
                <a:close/>
                <a:moveTo>
                  <a:pt x="0" y="211842"/>
                </a:moveTo>
                <a:lnTo>
                  <a:pt x="0" y="332036"/>
                </a:lnTo>
                <a:lnTo>
                  <a:pt x="84136" y="365090"/>
                </a:lnTo>
                <a:lnTo>
                  <a:pt x="84136" y="183296"/>
                </a:lnTo>
                <a:lnTo>
                  <a:pt x="0" y="211842"/>
                </a:lnTo>
                <a:close/>
              </a:path>
            </a:pathLst>
          </a:custGeom>
          <a:solidFill>
            <a:schemeClr val="accent2"/>
          </a:solidFill>
          <a:ln w="14859" cap="flat">
            <a:noFill/>
            <a:prstDash val="solid"/>
            <a:miter/>
          </a:ln>
        </p:spPr>
        <p:txBody>
          <a:bodyPr rtlCol="0" anchor="ctr"/>
          <a:lstStyle/>
          <a:p>
            <a:endParaRPr lang="en-US" dirty="0"/>
          </a:p>
        </p:txBody>
      </p:sp>
      <p:sp>
        <p:nvSpPr>
          <p:cNvPr id="242" name="TextBox 241">
            <a:extLst>
              <a:ext uri="{FF2B5EF4-FFF2-40B4-BE49-F238E27FC236}">
                <a16:creationId xmlns:a16="http://schemas.microsoft.com/office/drawing/2014/main" id="{1F7D3BCE-DE8A-4DCE-97EC-962D3CFE948A}"/>
              </a:ext>
            </a:extLst>
          </p:cNvPr>
          <p:cNvSpPr txBox="1"/>
          <p:nvPr/>
        </p:nvSpPr>
        <p:spPr>
          <a:xfrm>
            <a:off x="2466303" y="5164265"/>
            <a:ext cx="904094" cy="169277"/>
          </a:xfrm>
          <a:prstGeom prst="rect">
            <a:avLst/>
          </a:prstGeom>
          <a:noFill/>
        </p:spPr>
        <p:txBody>
          <a:bodyPr wrap="none" lIns="0" tIns="0" rIns="0" bIns="0" rtlCol="0">
            <a:spAutoFit/>
          </a:bodyPr>
          <a:lstStyle/>
          <a:p>
            <a:pPr lvl="0" algn="ctr" defTabSz="932504">
              <a:spcAft>
                <a:spcPts val="612"/>
              </a:spcAft>
              <a:defRPr/>
            </a:pPr>
            <a:r>
              <a:rPr lang="en-US" sz="1100" b="1" dirty="0">
                <a:cs typeface="Segoe UI Semibold" panose="020B0702040204020203" pitchFamily="34" charset="0"/>
              </a:rPr>
              <a:t>Microservices</a:t>
            </a:r>
          </a:p>
        </p:txBody>
      </p:sp>
      <p:sp>
        <p:nvSpPr>
          <p:cNvPr id="230" name="TextBox 229">
            <a:extLst>
              <a:ext uri="{FF2B5EF4-FFF2-40B4-BE49-F238E27FC236}">
                <a16:creationId xmlns:a16="http://schemas.microsoft.com/office/drawing/2014/main" id="{67BA33EB-463F-4482-A03B-B0DE01455A82}"/>
              </a:ext>
            </a:extLst>
          </p:cNvPr>
          <p:cNvSpPr txBox="1"/>
          <p:nvPr/>
        </p:nvSpPr>
        <p:spPr>
          <a:xfrm>
            <a:off x="4421761" y="5164265"/>
            <a:ext cx="783869" cy="338554"/>
          </a:xfrm>
          <a:prstGeom prst="rect">
            <a:avLst/>
          </a:prstGeom>
          <a:noFill/>
        </p:spPr>
        <p:txBody>
          <a:bodyPr wrap="none" lIns="0" tIns="0" rIns="0" bIns="0" rtlCol="0">
            <a:spAutoFit/>
          </a:bodyPr>
          <a:lstStyle/>
          <a:p>
            <a:pPr lvl="0" algn="ctr" defTabSz="932504">
              <a:spcAft>
                <a:spcPts val="612"/>
              </a:spcAft>
              <a:defRPr/>
            </a:pPr>
            <a:r>
              <a:rPr lang="en-US" sz="1100" b="1" dirty="0">
                <a:cs typeface="Segoe UI Semibold" panose="020B0702040204020203" pitchFamily="34" charset="0"/>
              </a:rPr>
              <a:t>Integration </a:t>
            </a:r>
            <a:br>
              <a:rPr lang="en-US" sz="1100" b="1" dirty="0">
                <a:cs typeface="Segoe UI Semibold" panose="020B0702040204020203" pitchFamily="34" charset="0"/>
              </a:rPr>
            </a:br>
            <a:r>
              <a:rPr lang="en-US" sz="1100" b="1" dirty="0">
                <a:cs typeface="Segoe UI Semibold" panose="020B0702040204020203" pitchFamily="34" charset="0"/>
              </a:rPr>
              <a:t>services</a:t>
            </a:r>
          </a:p>
        </p:txBody>
      </p:sp>
      <p:grpSp>
        <p:nvGrpSpPr>
          <p:cNvPr id="7207" name="Group 7206">
            <a:extLst>
              <a:ext uri="{FF2B5EF4-FFF2-40B4-BE49-F238E27FC236}">
                <a16:creationId xmlns:a16="http://schemas.microsoft.com/office/drawing/2014/main" id="{0C053379-535F-404D-BBC9-42C0A3DFC156}"/>
              </a:ext>
            </a:extLst>
          </p:cNvPr>
          <p:cNvGrpSpPr/>
          <p:nvPr/>
        </p:nvGrpSpPr>
        <p:grpSpPr>
          <a:xfrm>
            <a:off x="3371212" y="2678429"/>
            <a:ext cx="766459" cy="519695"/>
            <a:chOff x="3936625" y="1131716"/>
            <a:chExt cx="340616" cy="230954"/>
          </a:xfrm>
        </p:grpSpPr>
        <p:sp>
          <p:nvSpPr>
            <p:cNvPr id="374" name="Freeform 198">
              <a:extLst>
                <a:ext uri="{FF2B5EF4-FFF2-40B4-BE49-F238E27FC236}">
                  <a16:creationId xmlns:a16="http://schemas.microsoft.com/office/drawing/2014/main" id="{7F9C4D3B-EC01-48C6-B1F5-484A1A5D7C86}"/>
                </a:ext>
              </a:extLst>
            </p:cNvPr>
            <p:cNvSpPr>
              <a:spLocks/>
            </p:cNvSpPr>
            <p:nvPr/>
          </p:nvSpPr>
          <p:spPr bwMode="auto">
            <a:xfrm>
              <a:off x="4211546" y="1160065"/>
              <a:ext cx="18843" cy="87085"/>
            </a:xfrm>
            <a:custGeom>
              <a:avLst/>
              <a:gdLst>
                <a:gd name="T0" fmla="*/ 0 w 222"/>
                <a:gd name="T1" fmla="*/ 1026 h 1026"/>
                <a:gd name="T2" fmla="*/ 222 w 222"/>
                <a:gd name="T3" fmla="*/ 1026 h 1026"/>
                <a:gd name="T4" fmla="*/ 222 w 222"/>
                <a:gd name="T5" fmla="*/ 118 h 1026"/>
                <a:gd name="T6" fmla="*/ 0 w 222"/>
                <a:gd name="T7" fmla="*/ 0 h 1026"/>
                <a:gd name="T8" fmla="*/ 0 w 222"/>
                <a:gd name="T9" fmla="*/ 1026 h 1026"/>
              </a:gdLst>
              <a:ahLst/>
              <a:cxnLst>
                <a:cxn ang="0">
                  <a:pos x="T0" y="T1"/>
                </a:cxn>
                <a:cxn ang="0">
                  <a:pos x="T2" y="T3"/>
                </a:cxn>
                <a:cxn ang="0">
                  <a:pos x="T4" y="T5"/>
                </a:cxn>
                <a:cxn ang="0">
                  <a:pos x="T6" y="T7"/>
                </a:cxn>
                <a:cxn ang="0">
                  <a:pos x="T8" y="T9"/>
                </a:cxn>
              </a:cxnLst>
              <a:rect l="0" t="0" r="r" b="b"/>
              <a:pathLst>
                <a:path w="222" h="1026">
                  <a:moveTo>
                    <a:pt x="0" y="1026"/>
                  </a:moveTo>
                  <a:lnTo>
                    <a:pt x="222" y="1026"/>
                  </a:lnTo>
                  <a:lnTo>
                    <a:pt x="222" y="118"/>
                  </a:lnTo>
                  <a:lnTo>
                    <a:pt x="0" y="0"/>
                  </a:lnTo>
                  <a:lnTo>
                    <a:pt x="0" y="1026"/>
                  </a:lnTo>
                  <a:close/>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375" name="Freeform 199">
              <a:extLst>
                <a:ext uri="{FF2B5EF4-FFF2-40B4-BE49-F238E27FC236}">
                  <a16:creationId xmlns:a16="http://schemas.microsoft.com/office/drawing/2014/main" id="{D83E339E-9146-44C1-8201-ED3D651D2E55}"/>
                </a:ext>
              </a:extLst>
            </p:cNvPr>
            <p:cNvSpPr>
              <a:spLocks/>
            </p:cNvSpPr>
            <p:nvPr/>
          </p:nvSpPr>
          <p:spPr bwMode="auto">
            <a:xfrm>
              <a:off x="4015137" y="1157604"/>
              <a:ext cx="24784" cy="89547"/>
            </a:xfrm>
            <a:custGeom>
              <a:avLst/>
              <a:gdLst>
                <a:gd name="T0" fmla="*/ 0 w 292"/>
                <a:gd name="T1" fmla="*/ 1055 h 1055"/>
                <a:gd name="T2" fmla="*/ 292 w 292"/>
                <a:gd name="T3" fmla="*/ 1055 h 1055"/>
                <a:gd name="T4" fmla="*/ 292 w 292"/>
                <a:gd name="T5" fmla="*/ 0 h 1055"/>
                <a:gd name="T6" fmla="*/ 0 w 292"/>
                <a:gd name="T7" fmla="*/ 147 h 1055"/>
                <a:gd name="T8" fmla="*/ 0 w 292"/>
                <a:gd name="T9" fmla="*/ 1055 h 1055"/>
              </a:gdLst>
              <a:ahLst/>
              <a:cxnLst>
                <a:cxn ang="0">
                  <a:pos x="T0" y="T1"/>
                </a:cxn>
                <a:cxn ang="0">
                  <a:pos x="T2" y="T3"/>
                </a:cxn>
                <a:cxn ang="0">
                  <a:pos x="T4" y="T5"/>
                </a:cxn>
                <a:cxn ang="0">
                  <a:pos x="T6" y="T7"/>
                </a:cxn>
                <a:cxn ang="0">
                  <a:pos x="T8" y="T9"/>
                </a:cxn>
              </a:cxnLst>
              <a:rect l="0" t="0" r="r" b="b"/>
              <a:pathLst>
                <a:path w="292" h="1055">
                  <a:moveTo>
                    <a:pt x="0" y="1055"/>
                  </a:moveTo>
                  <a:lnTo>
                    <a:pt x="292" y="1055"/>
                  </a:lnTo>
                  <a:lnTo>
                    <a:pt x="292" y="0"/>
                  </a:lnTo>
                  <a:lnTo>
                    <a:pt x="0" y="147"/>
                  </a:lnTo>
                  <a:lnTo>
                    <a:pt x="0" y="1055"/>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376" name="Rectangle 200">
              <a:extLst>
                <a:ext uri="{FF2B5EF4-FFF2-40B4-BE49-F238E27FC236}">
                  <a16:creationId xmlns:a16="http://schemas.microsoft.com/office/drawing/2014/main" id="{C828FBF8-96B0-466F-B109-4EEA1F686D50}"/>
                </a:ext>
              </a:extLst>
            </p:cNvPr>
            <p:cNvSpPr>
              <a:spLocks noChangeArrowheads="1"/>
            </p:cNvSpPr>
            <p:nvPr/>
          </p:nvSpPr>
          <p:spPr bwMode="auto">
            <a:xfrm>
              <a:off x="4026171" y="1131716"/>
              <a:ext cx="193353" cy="115435"/>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377" name="Rectangle 201">
              <a:extLst>
                <a:ext uri="{FF2B5EF4-FFF2-40B4-BE49-F238E27FC236}">
                  <a16:creationId xmlns:a16="http://schemas.microsoft.com/office/drawing/2014/main" id="{E8FC54D4-5A84-49C1-BD20-25CAA0CC6ACE}"/>
                </a:ext>
              </a:extLst>
            </p:cNvPr>
            <p:cNvSpPr>
              <a:spLocks noChangeArrowheads="1"/>
            </p:cNvSpPr>
            <p:nvPr/>
          </p:nvSpPr>
          <p:spPr bwMode="auto">
            <a:xfrm>
              <a:off x="4219524" y="1131716"/>
              <a:ext cx="10864" cy="38365"/>
            </a:xfrm>
            <a:prstGeom prst="rect">
              <a:avLst/>
            </a:prstGeom>
            <a:solidFill>
              <a:srgbClr val="28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378" name="Rectangle 202">
              <a:extLst>
                <a:ext uri="{FF2B5EF4-FFF2-40B4-BE49-F238E27FC236}">
                  <a16:creationId xmlns:a16="http://schemas.microsoft.com/office/drawing/2014/main" id="{8ABF0700-9F48-4297-8EBF-756AA7D181A1}"/>
                </a:ext>
              </a:extLst>
            </p:cNvPr>
            <p:cNvSpPr>
              <a:spLocks noChangeArrowheads="1"/>
            </p:cNvSpPr>
            <p:nvPr/>
          </p:nvSpPr>
          <p:spPr bwMode="auto">
            <a:xfrm>
              <a:off x="4015137" y="1131716"/>
              <a:ext cx="11034" cy="38365"/>
            </a:xfrm>
            <a:prstGeom prst="rect">
              <a:avLst/>
            </a:prstGeom>
            <a:solidFill>
              <a:srgbClr val="28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379" name="Rectangle 203">
              <a:extLst>
                <a:ext uri="{FF2B5EF4-FFF2-40B4-BE49-F238E27FC236}">
                  <a16:creationId xmlns:a16="http://schemas.microsoft.com/office/drawing/2014/main" id="{207AA2D5-5E28-4696-B7B4-AD964D3E22B2}"/>
                </a:ext>
              </a:extLst>
            </p:cNvPr>
            <p:cNvSpPr>
              <a:spLocks noChangeArrowheads="1"/>
            </p:cNvSpPr>
            <p:nvPr/>
          </p:nvSpPr>
          <p:spPr bwMode="auto">
            <a:xfrm>
              <a:off x="4032198" y="1138167"/>
              <a:ext cx="181470" cy="102873"/>
            </a:xfrm>
            <a:prstGeom prst="rect">
              <a:avLst/>
            </a:prstGeom>
            <a:solidFill>
              <a:srgbClr val="0C74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380" name="Rectangle 204">
              <a:extLst>
                <a:ext uri="{FF2B5EF4-FFF2-40B4-BE49-F238E27FC236}">
                  <a16:creationId xmlns:a16="http://schemas.microsoft.com/office/drawing/2014/main" id="{C4B76026-0C43-47CE-80DA-AB3E14EBA70F}"/>
                </a:ext>
              </a:extLst>
            </p:cNvPr>
            <p:cNvSpPr>
              <a:spLocks noChangeArrowheads="1"/>
            </p:cNvSpPr>
            <p:nvPr/>
          </p:nvSpPr>
          <p:spPr bwMode="auto">
            <a:xfrm>
              <a:off x="4032368" y="1149201"/>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381" name="Rectangle 205">
              <a:extLst>
                <a:ext uri="{FF2B5EF4-FFF2-40B4-BE49-F238E27FC236}">
                  <a16:creationId xmlns:a16="http://schemas.microsoft.com/office/drawing/2014/main" id="{3DC2CEFC-5476-4795-BFA4-89593BBCAEE1}"/>
                </a:ext>
              </a:extLst>
            </p:cNvPr>
            <p:cNvSpPr>
              <a:spLocks noChangeArrowheads="1"/>
            </p:cNvSpPr>
            <p:nvPr/>
          </p:nvSpPr>
          <p:spPr bwMode="auto">
            <a:xfrm>
              <a:off x="4032368" y="1165158"/>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382" name="Rectangle 206">
              <a:extLst>
                <a:ext uri="{FF2B5EF4-FFF2-40B4-BE49-F238E27FC236}">
                  <a16:creationId xmlns:a16="http://schemas.microsoft.com/office/drawing/2014/main" id="{5BF9DE9A-74B9-40E0-9FE5-6CAFE0158065}"/>
                </a:ext>
              </a:extLst>
            </p:cNvPr>
            <p:cNvSpPr>
              <a:spLocks noChangeArrowheads="1"/>
            </p:cNvSpPr>
            <p:nvPr/>
          </p:nvSpPr>
          <p:spPr bwMode="auto">
            <a:xfrm>
              <a:off x="4032368" y="1181115"/>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383" name="Rectangle 207">
              <a:extLst>
                <a:ext uri="{FF2B5EF4-FFF2-40B4-BE49-F238E27FC236}">
                  <a16:creationId xmlns:a16="http://schemas.microsoft.com/office/drawing/2014/main" id="{5A77B92C-8308-4E6D-8686-F1C8078C91D2}"/>
                </a:ext>
              </a:extLst>
            </p:cNvPr>
            <p:cNvSpPr>
              <a:spLocks noChangeArrowheads="1"/>
            </p:cNvSpPr>
            <p:nvPr/>
          </p:nvSpPr>
          <p:spPr bwMode="auto">
            <a:xfrm>
              <a:off x="4032368" y="1197072"/>
              <a:ext cx="181639" cy="1528"/>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384" name="Rectangle 208">
              <a:extLst>
                <a:ext uri="{FF2B5EF4-FFF2-40B4-BE49-F238E27FC236}">
                  <a16:creationId xmlns:a16="http://schemas.microsoft.com/office/drawing/2014/main" id="{946ECF6C-1B0C-41A7-8669-A9EFA5E9A65E}"/>
                </a:ext>
              </a:extLst>
            </p:cNvPr>
            <p:cNvSpPr>
              <a:spLocks noChangeArrowheads="1"/>
            </p:cNvSpPr>
            <p:nvPr/>
          </p:nvSpPr>
          <p:spPr bwMode="auto">
            <a:xfrm>
              <a:off x="4032368" y="1212945"/>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385" name="Rectangle 209">
              <a:extLst>
                <a:ext uri="{FF2B5EF4-FFF2-40B4-BE49-F238E27FC236}">
                  <a16:creationId xmlns:a16="http://schemas.microsoft.com/office/drawing/2014/main" id="{7833503F-129E-41A3-9D96-8264CC683453}"/>
                </a:ext>
              </a:extLst>
            </p:cNvPr>
            <p:cNvSpPr>
              <a:spLocks noChangeArrowheads="1"/>
            </p:cNvSpPr>
            <p:nvPr/>
          </p:nvSpPr>
          <p:spPr bwMode="auto">
            <a:xfrm>
              <a:off x="4032368" y="1228902"/>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386" name="Freeform 210">
              <a:extLst>
                <a:ext uri="{FF2B5EF4-FFF2-40B4-BE49-F238E27FC236}">
                  <a16:creationId xmlns:a16="http://schemas.microsoft.com/office/drawing/2014/main" id="{BDD610C9-F9F9-4A38-9CBC-DC754D2F0938}"/>
                </a:ext>
              </a:extLst>
            </p:cNvPr>
            <p:cNvSpPr>
              <a:spLocks/>
            </p:cNvSpPr>
            <p:nvPr/>
          </p:nvSpPr>
          <p:spPr bwMode="auto">
            <a:xfrm>
              <a:off x="4038564" y="1151323"/>
              <a:ext cx="103551" cy="89716"/>
            </a:xfrm>
            <a:custGeom>
              <a:avLst/>
              <a:gdLst>
                <a:gd name="T0" fmla="*/ 78 w 1220"/>
                <a:gd name="T1" fmla="*/ 1057 h 1057"/>
                <a:gd name="T2" fmla="*/ 0 w 1220"/>
                <a:gd name="T3" fmla="*/ 1057 h 1057"/>
                <a:gd name="T4" fmla="*/ 82 w 1220"/>
                <a:gd name="T5" fmla="*/ 689 h 1057"/>
                <a:gd name="T6" fmla="*/ 288 w 1220"/>
                <a:gd name="T7" fmla="*/ 759 h 1057"/>
                <a:gd name="T8" fmla="*/ 431 w 1220"/>
                <a:gd name="T9" fmla="*/ 495 h 1057"/>
                <a:gd name="T10" fmla="*/ 695 w 1220"/>
                <a:gd name="T11" fmla="*/ 594 h 1057"/>
                <a:gd name="T12" fmla="*/ 915 w 1220"/>
                <a:gd name="T13" fmla="*/ 0 h 1057"/>
                <a:gd name="T14" fmla="*/ 1220 w 1220"/>
                <a:gd name="T15" fmla="*/ 278 h 1057"/>
                <a:gd name="T16" fmla="*/ 1169 w 1220"/>
                <a:gd name="T17" fmla="*/ 336 h 1057"/>
                <a:gd name="T18" fmla="*/ 948 w 1220"/>
                <a:gd name="T19" fmla="*/ 134 h 1057"/>
                <a:gd name="T20" fmla="*/ 740 w 1220"/>
                <a:gd name="T21" fmla="*/ 691 h 1057"/>
                <a:gd name="T22" fmla="*/ 466 w 1220"/>
                <a:gd name="T23" fmla="*/ 590 h 1057"/>
                <a:gd name="T24" fmla="*/ 324 w 1220"/>
                <a:gd name="T25" fmla="*/ 853 h 1057"/>
                <a:gd name="T26" fmla="*/ 138 w 1220"/>
                <a:gd name="T27" fmla="*/ 789 h 1057"/>
                <a:gd name="T28" fmla="*/ 78 w 1220"/>
                <a:gd name="T29" fmla="*/ 1057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0" h="1057">
                  <a:moveTo>
                    <a:pt x="78" y="1057"/>
                  </a:moveTo>
                  <a:lnTo>
                    <a:pt x="0" y="1057"/>
                  </a:lnTo>
                  <a:lnTo>
                    <a:pt x="82" y="689"/>
                  </a:lnTo>
                  <a:lnTo>
                    <a:pt x="288" y="759"/>
                  </a:lnTo>
                  <a:lnTo>
                    <a:pt x="431" y="495"/>
                  </a:lnTo>
                  <a:lnTo>
                    <a:pt x="695" y="594"/>
                  </a:lnTo>
                  <a:lnTo>
                    <a:pt x="915" y="0"/>
                  </a:lnTo>
                  <a:lnTo>
                    <a:pt x="1220" y="278"/>
                  </a:lnTo>
                  <a:lnTo>
                    <a:pt x="1169" y="336"/>
                  </a:lnTo>
                  <a:lnTo>
                    <a:pt x="948" y="134"/>
                  </a:lnTo>
                  <a:lnTo>
                    <a:pt x="740" y="691"/>
                  </a:lnTo>
                  <a:lnTo>
                    <a:pt x="466" y="590"/>
                  </a:lnTo>
                  <a:lnTo>
                    <a:pt x="324" y="853"/>
                  </a:lnTo>
                  <a:lnTo>
                    <a:pt x="138" y="789"/>
                  </a:lnTo>
                  <a:lnTo>
                    <a:pt x="78" y="1057"/>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30" name="Freeform 254">
              <a:extLst>
                <a:ext uri="{FF2B5EF4-FFF2-40B4-BE49-F238E27FC236}">
                  <a16:creationId xmlns:a16="http://schemas.microsoft.com/office/drawing/2014/main" id="{7CB67A3E-DBEE-42AD-9CF3-CC65BF2CF649}"/>
                </a:ext>
              </a:extLst>
            </p:cNvPr>
            <p:cNvSpPr>
              <a:spLocks/>
            </p:cNvSpPr>
            <p:nvPr/>
          </p:nvSpPr>
          <p:spPr bwMode="auto">
            <a:xfrm>
              <a:off x="3936625" y="1356474"/>
              <a:ext cx="92942" cy="6111"/>
            </a:xfrm>
            <a:custGeom>
              <a:avLst/>
              <a:gdLst>
                <a:gd name="T0" fmla="*/ 848 w 877"/>
                <a:gd name="T1" fmla="*/ 57 h 57"/>
                <a:gd name="T2" fmla="*/ 28 w 877"/>
                <a:gd name="T3" fmla="*/ 57 h 57"/>
                <a:gd name="T4" fmla="*/ 0 w 877"/>
                <a:gd name="T5" fmla="*/ 29 h 57"/>
                <a:gd name="T6" fmla="*/ 28 w 877"/>
                <a:gd name="T7" fmla="*/ 0 h 57"/>
                <a:gd name="T8" fmla="*/ 848 w 877"/>
                <a:gd name="T9" fmla="*/ 0 h 57"/>
                <a:gd name="T10" fmla="*/ 877 w 877"/>
                <a:gd name="T11" fmla="*/ 29 h 57"/>
                <a:gd name="T12" fmla="*/ 848 w 877"/>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877" h="57">
                  <a:moveTo>
                    <a:pt x="848" y="57"/>
                  </a:moveTo>
                  <a:cubicBezTo>
                    <a:pt x="28" y="57"/>
                    <a:pt x="28" y="57"/>
                    <a:pt x="28" y="57"/>
                  </a:cubicBezTo>
                  <a:cubicBezTo>
                    <a:pt x="13" y="57"/>
                    <a:pt x="0" y="44"/>
                    <a:pt x="0" y="29"/>
                  </a:cubicBezTo>
                  <a:cubicBezTo>
                    <a:pt x="0" y="13"/>
                    <a:pt x="13" y="0"/>
                    <a:pt x="28" y="0"/>
                  </a:cubicBezTo>
                  <a:cubicBezTo>
                    <a:pt x="848" y="0"/>
                    <a:pt x="848" y="0"/>
                    <a:pt x="848" y="0"/>
                  </a:cubicBezTo>
                  <a:cubicBezTo>
                    <a:pt x="864" y="0"/>
                    <a:pt x="877" y="13"/>
                    <a:pt x="877" y="29"/>
                  </a:cubicBezTo>
                  <a:cubicBezTo>
                    <a:pt x="877" y="44"/>
                    <a:pt x="864" y="57"/>
                    <a:pt x="848" y="57"/>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31" name="Freeform 255">
              <a:extLst>
                <a:ext uri="{FF2B5EF4-FFF2-40B4-BE49-F238E27FC236}">
                  <a16:creationId xmlns:a16="http://schemas.microsoft.com/office/drawing/2014/main" id="{42F181D1-DF7A-44A0-A422-469BC34385A2}"/>
                </a:ext>
              </a:extLst>
            </p:cNvPr>
            <p:cNvSpPr>
              <a:spLocks/>
            </p:cNvSpPr>
            <p:nvPr/>
          </p:nvSpPr>
          <p:spPr bwMode="auto">
            <a:xfrm>
              <a:off x="3951733" y="1299520"/>
              <a:ext cx="28010" cy="61028"/>
            </a:xfrm>
            <a:custGeom>
              <a:avLst/>
              <a:gdLst>
                <a:gd name="T0" fmla="*/ 134 w 265"/>
                <a:gd name="T1" fmla="*/ 0 h 574"/>
                <a:gd name="T2" fmla="*/ 72 w 265"/>
                <a:gd name="T3" fmla="*/ 430 h 574"/>
                <a:gd name="T4" fmla="*/ 64 w 265"/>
                <a:gd name="T5" fmla="*/ 473 h 574"/>
                <a:gd name="T6" fmla="*/ 0 w 265"/>
                <a:gd name="T7" fmla="*/ 572 h 574"/>
                <a:gd name="T8" fmla="*/ 7 w 265"/>
                <a:gd name="T9" fmla="*/ 574 h 574"/>
                <a:gd name="T10" fmla="*/ 101 w 265"/>
                <a:gd name="T11" fmla="*/ 557 h 574"/>
                <a:gd name="T12" fmla="*/ 148 w 265"/>
                <a:gd name="T13" fmla="*/ 467 h 574"/>
                <a:gd name="T14" fmla="*/ 146 w 265"/>
                <a:gd name="T15" fmla="*/ 451 h 574"/>
                <a:gd name="T16" fmla="*/ 147 w 265"/>
                <a:gd name="T17" fmla="*/ 425 h 574"/>
                <a:gd name="T18" fmla="*/ 265 w 265"/>
                <a:gd name="T19" fmla="*/ 8 h 574"/>
                <a:gd name="T20" fmla="*/ 134 w 265"/>
                <a:gd name="T21"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5" h="574">
                  <a:moveTo>
                    <a:pt x="134" y="0"/>
                  </a:moveTo>
                  <a:cubicBezTo>
                    <a:pt x="72" y="430"/>
                    <a:pt x="72" y="430"/>
                    <a:pt x="72" y="430"/>
                  </a:cubicBezTo>
                  <a:cubicBezTo>
                    <a:pt x="68" y="444"/>
                    <a:pt x="67" y="450"/>
                    <a:pt x="64" y="473"/>
                  </a:cubicBezTo>
                  <a:cubicBezTo>
                    <a:pt x="56" y="527"/>
                    <a:pt x="14" y="556"/>
                    <a:pt x="0" y="572"/>
                  </a:cubicBezTo>
                  <a:cubicBezTo>
                    <a:pt x="7" y="574"/>
                    <a:pt x="7" y="574"/>
                    <a:pt x="7" y="574"/>
                  </a:cubicBezTo>
                  <a:cubicBezTo>
                    <a:pt x="101" y="557"/>
                    <a:pt x="101" y="557"/>
                    <a:pt x="101" y="557"/>
                  </a:cubicBezTo>
                  <a:cubicBezTo>
                    <a:pt x="148" y="467"/>
                    <a:pt x="148" y="467"/>
                    <a:pt x="148" y="467"/>
                  </a:cubicBezTo>
                  <a:cubicBezTo>
                    <a:pt x="146" y="451"/>
                    <a:pt x="146" y="451"/>
                    <a:pt x="146" y="451"/>
                  </a:cubicBezTo>
                  <a:cubicBezTo>
                    <a:pt x="142" y="443"/>
                    <a:pt x="143" y="434"/>
                    <a:pt x="147" y="425"/>
                  </a:cubicBezTo>
                  <a:cubicBezTo>
                    <a:pt x="265" y="8"/>
                    <a:pt x="265" y="8"/>
                    <a:pt x="265" y="8"/>
                  </a:cubicBezTo>
                  <a:lnTo>
                    <a:pt x="134" y="0"/>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32" name="Freeform 256">
              <a:extLst>
                <a:ext uri="{FF2B5EF4-FFF2-40B4-BE49-F238E27FC236}">
                  <a16:creationId xmlns:a16="http://schemas.microsoft.com/office/drawing/2014/main" id="{16B5ACE2-3111-437A-981A-DC72A72E190D}"/>
                </a:ext>
              </a:extLst>
            </p:cNvPr>
            <p:cNvSpPr>
              <a:spLocks/>
            </p:cNvSpPr>
            <p:nvPr/>
          </p:nvSpPr>
          <p:spPr bwMode="auto">
            <a:xfrm>
              <a:off x="3994936" y="1320825"/>
              <a:ext cx="18928" cy="39299"/>
            </a:xfrm>
            <a:custGeom>
              <a:avLst/>
              <a:gdLst>
                <a:gd name="T0" fmla="*/ 150 w 179"/>
                <a:gd name="T1" fmla="*/ 343 h 370"/>
                <a:gd name="T2" fmla="*/ 108 w 179"/>
                <a:gd name="T3" fmla="*/ 273 h 370"/>
                <a:gd name="T4" fmla="*/ 102 w 179"/>
                <a:gd name="T5" fmla="*/ 251 h 370"/>
                <a:gd name="T6" fmla="*/ 89 w 179"/>
                <a:gd name="T7" fmla="*/ 0 h 370"/>
                <a:gd name="T8" fmla="*/ 0 w 179"/>
                <a:gd name="T9" fmla="*/ 4 h 370"/>
                <a:gd name="T10" fmla="*/ 34 w 179"/>
                <a:gd name="T11" fmla="*/ 251 h 370"/>
                <a:gd name="T12" fmla="*/ 34 w 179"/>
                <a:gd name="T13" fmla="*/ 251 h 370"/>
                <a:gd name="T14" fmla="*/ 31 w 179"/>
                <a:gd name="T15" fmla="*/ 275 h 370"/>
                <a:gd name="T16" fmla="*/ 115 w 179"/>
                <a:gd name="T17" fmla="*/ 370 h 370"/>
                <a:gd name="T18" fmla="*/ 179 w 179"/>
                <a:gd name="T19" fmla="*/ 370 h 370"/>
                <a:gd name="T20" fmla="*/ 150 w 179"/>
                <a:gd name="T21" fmla="*/ 343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370">
                  <a:moveTo>
                    <a:pt x="150" y="343"/>
                  </a:moveTo>
                  <a:cubicBezTo>
                    <a:pt x="129" y="324"/>
                    <a:pt x="115" y="299"/>
                    <a:pt x="108" y="273"/>
                  </a:cubicBezTo>
                  <a:cubicBezTo>
                    <a:pt x="102" y="251"/>
                    <a:pt x="102" y="251"/>
                    <a:pt x="102" y="251"/>
                  </a:cubicBezTo>
                  <a:cubicBezTo>
                    <a:pt x="89" y="0"/>
                    <a:pt x="89" y="0"/>
                    <a:pt x="89" y="0"/>
                  </a:cubicBezTo>
                  <a:cubicBezTo>
                    <a:pt x="0" y="4"/>
                    <a:pt x="0" y="4"/>
                    <a:pt x="0" y="4"/>
                  </a:cubicBezTo>
                  <a:cubicBezTo>
                    <a:pt x="34" y="251"/>
                    <a:pt x="34" y="251"/>
                    <a:pt x="34" y="251"/>
                  </a:cubicBezTo>
                  <a:cubicBezTo>
                    <a:pt x="34" y="251"/>
                    <a:pt x="34" y="251"/>
                    <a:pt x="34" y="251"/>
                  </a:cubicBezTo>
                  <a:cubicBezTo>
                    <a:pt x="31" y="275"/>
                    <a:pt x="31" y="275"/>
                    <a:pt x="31" y="275"/>
                  </a:cubicBezTo>
                  <a:cubicBezTo>
                    <a:pt x="115" y="370"/>
                    <a:pt x="115" y="370"/>
                    <a:pt x="115" y="370"/>
                  </a:cubicBezTo>
                  <a:cubicBezTo>
                    <a:pt x="179" y="370"/>
                    <a:pt x="179" y="370"/>
                    <a:pt x="179" y="370"/>
                  </a:cubicBezTo>
                  <a:lnTo>
                    <a:pt x="150" y="343"/>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33" name="Freeform 257">
              <a:extLst>
                <a:ext uri="{FF2B5EF4-FFF2-40B4-BE49-F238E27FC236}">
                  <a16:creationId xmlns:a16="http://schemas.microsoft.com/office/drawing/2014/main" id="{D5C22634-CBBA-4787-B87B-868B44303D9C}"/>
                </a:ext>
              </a:extLst>
            </p:cNvPr>
            <p:cNvSpPr>
              <a:spLocks/>
            </p:cNvSpPr>
            <p:nvPr/>
          </p:nvSpPr>
          <p:spPr bwMode="auto">
            <a:xfrm>
              <a:off x="3995191" y="1346204"/>
              <a:ext cx="22238" cy="16466"/>
            </a:xfrm>
            <a:custGeom>
              <a:avLst/>
              <a:gdLst>
                <a:gd name="T0" fmla="*/ 18 w 210"/>
                <a:gd name="T1" fmla="*/ 150 h 155"/>
                <a:gd name="T2" fmla="*/ 8 w 210"/>
                <a:gd name="T3" fmla="*/ 150 h 155"/>
                <a:gd name="T4" fmla="*/ 10 w 210"/>
                <a:gd name="T5" fmla="*/ 96 h 155"/>
                <a:gd name="T6" fmla="*/ 4 w 210"/>
                <a:gd name="T7" fmla="*/ 60 h 155"/>
                <a:gd name="T8" fmla="*/ 23 w 210"/>
                <a:gd name="T9" fmla="*/ 2 h 155"/>
                <a:gd name="T10" fmla="*/ 31 w 210"/>
                <a:gd name="T11" fmla="*/ 2 h 155"/>
                <a:gd name="T12" fmla="*/ 101 w 210"/>
                <a:gd name="T13" fmla="*/ 88 h 155"/>
                <a:gd name="T14" fmla="*/ 181 w 210"/>
                <a:gd name="T15" fmla="*/ 128 h 155"/>
                <a:gd name="T16" fmla="*/ 208 w 210"/>
                <a:gd name="T17" fmla="*/ 148 h 155"/>
                <a:gd name="T18" fmla="*/ 208 w 210"/>
                <a:gd name="T19" fmla="*/ 154 h 155"/>
                <a:gd name="T20" fmla="*/ 124 w 210"/>
                <a:gd name="T21" fmla="*/ 154 h 155"/>
                <a:gd name="T22" fmla="*/ 88 w 210"/>
                <a:gd name="T23" fmla="*/ 135 h 155"/>
                <a:gd name="T24" fmla="*/ 69 w 210"/>
                <a:gd name="T25" fmla="*/ 103 h 155"/>
                <a:gd name="T26" fmla="*/ 41 w 210"/>
                <a:gd name="T27" fmla="*/ 81 h 155"/>
                <a:gd name="T28" fmla="*/ 26 w 210"/>
                <a:gd name="T29" fmla="*/ 75 h 155"/>
                <a:gd name="T30" fmla="*/ 19 w 210"/>
                <a:gd name="T31" fmla="*/ 146 h 155"/>
                <a:gd name="T32" fmla="*/ 18 w 210"/>
                <a:gd name="T33" fmla="*/ 15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155">
                  <a:moveTo>
                    <a:pt x="18" y="150"/>
                  </a:moveTo>
                  <a:cubicBezTo>
                    <a:pt x="8" y="150"/>
                    <a:pt x="8" y="150"/>
                    <a:pt x="8" y="150"/>
                  </a:cubicBezTo>
                  <a:cubicBezTo>
                    <a:pt x="8" y="150"/>
                    <a:pt x="11" y="112"/>
                    <a:pt x="10" y="96"/>
                  </a:cubicBezTo>
                  <a:cubicBezTo>
                    <a:pt x="10" y="81"/>
                    <a:pt x="4" y="60"/>
                    <a:pt x="4" y="60"/>
                  </a:cubicBezTo>
                  <a:cubicBezTo>
                    <a:pt x="0" y="38"/>
                    <a:pt x="8" y="17"/>
                    <a:pt x="23" y="2"/>
                  </a:cubicBezTo>
                  <a:cubicBezTo>
                    <a:pt x="25" y="0"/>
                    <a:pt x="29" y="0"/>
                    <a:pt x="31" y="2"/>
                  </a:cubicBezTo>
                  <a:cubicBezTo>
                    <a:pt x="101" y="88"/>
                    <a:pt x="101" y="88"/>
                    <a:pt x="101" y="88"/>
                  </a:cubicBezTo>
                  <a:cubicBezTo>
                    <a:pt x="126" y="119"/>
                    <a:pt x="161" y="126"/>
                    <a:pt x="181" y="128"/>
                  </a:cubicBezTo>
                  <a:cubicBezTo>
                    <a:pt x="194" y="128"/>
                    <a:pt x="205" y="136"/>
                    <a:pt x="208" y="148"/>
                  </a:cubicBezTo>
                  <a:cubicBezTo>
                    <a:pt x="210" y="151"/>
                    <a:pt x="210" y="154"/>
                    <a:pt x="208" y="154"/>
                  </a:cubicBezTo>
                  <a:cubicBezTo>
                    <a:pt x="124" y="154"/>
                    <a:pt x="124" y="154"/>
                    <a:pt x="124" y="154"/>
                  </a:cubicBezTo>
                  <a:cubicBezTo>
                    <a:pt x="110" y="155"/>
                    <a:pt x="96" y="148"/>
                    <a:pt x="88" y="135"/>
                  </a:cubicBezTo>
                  <a:cubicBezTo>
                    <a:pt x="69" y="103"/>
                    <a:pt x="69" y="103"/>
                    <a:pt x="69" y="103"/>
                  </a:cubicBezTo>
                  <a:cubicBezTo>
                    <a:pt x="63" y="93"/>
                    <a:pt x="53" y="85"/>
                    <a:pt x="41" y="81"/>
                  </a:cubicBezTo>
                  <a:cubicBezTo>
                    <a:pt x="26" y="75"/>
                    <a:pt x="26" y="75"/>
                    <a:pt x="26" y="75"/>
                  </a:cubicBezTo>
                  <a:cubicBezTo>
                    <a:pt x="26" y="99"/>
                    <a:pt x="24" y="123"/>
                    <a:pt x="19" y="146"/>
                  </a:cubicBezTo>
                  <a:lnTo>
                    <a:pt x="18" y="15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34" name="Freeform 258">
              <a:extLst>
                <a:ext uri="{FF2B5EF4-FFF2-40B4-BE49-F238E27FC236}">
                  <a16:creationId xmlns:a16="http://schemas.microsoft.com/office/drawing/2014/main" id="{6C2039B5-6D59-4A74-9FEF-68C0E8C10070}"/>
                </a:ext>
              </a:extLst>
            </p:cNvPr>
            <p:cNvSpPr>
              <a:spLocks/>
            </p:cNvSpPr>
            <p:nvPr/>
          </p:nvSpPr>
          <p:spPr bwMode="auto">
            <a:xfrm>
              <a:off x="3948508" y="1346204"/>
              <a:ext cx="20795" cy="16382"/>
            </a:xfrm>
            <a:custGeom>
              <a:avLst/>
              <a:gdLst>
                <a:gd name="T0" fmla="*/ 170 w 196"/>
                <a:gd name="T1" fmla="*/ 3 h 154"/>
                <a:gd name="T2" fmla="*/ 176 w 196"/>
                <a:gd name="T3" fmla="*/ 3 h 154"/>
                <a:gd name="T4" fmla="*/ 190 w 196"/>
                <a:gd name="T5" fmla="*/ 36 h 154"/>
                <a:gd name="T6" fmla="*/ 190 w 196"/>
                <a:gd name="T7" fmla="*/ 78 h 154"/>
                <a:gd name="T8" fmla="*/ 175 w 196"/>
                <a:gd name="T9" fmla="*/ 131 h 154"/>
                <a:gd name="T10" fmla="*/ 172 w 196"/>
                <a:gd name="T11" fmla="*/ 154 h 154"/>
                <a:gd name="T12" fmla="*/ 159 w 196"/>
                <a:gd name="T13" fmla="*/ 154 h 154"/>
                <a:gd name="T14" fmla="*/ 164 w 196"/>
                <a:gd name="T15" fmla="*/ 98 h 154"/>
                <a:gd name="T16" fmla="*/ 141 w 196"/>
                <a:gd name="T17" fmla="*/ 132 h 154"/>
                <a:gd name="T18" fmla="*/ 106 w 196"/>
                <a:gd name="T19" fmla="*/ 154 h 154"/>
                <a:gd name="T20" fmla="*/ 0 w 196"/>
                <a:gd name="T21" fmla="*/ 154 h 154"/>
                <a:gd name="T22" fmla="*/ 32 w 196"/>
                <a:gd name="T23" fmla="*/ 127 h 154"/>
                <a:gd name="T24" fmla="*/ 38 w 196"/>
                <a:gd name="T25" fmla="*/ 126 h 154"/>
                <a:gd name="T26" fmla="*/ 139 w 196"/>
                <a:gd name="T27" fmla="*/ 74 h 154"/>
                <a:gd name="T28" fmla="*/ 170 w 196"/>
                <a:gd name="T29" fmla="*/ 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6" h="154">
                  <a:moveTo>
                    <a:pt x="170" y="3"/>
                  </a:moveTo>
                  <a:cubicBezTo>
                    <a:pt x="171" y="0"/>
                    <a:pt x="175" y="0"/>
                    <a:pt x="176" y="3"/>
                  </a:cubicBezTo>
                  <a:cubicBezTo>
                    <a:pt x="190" y="36"/>
                    <a:pt x="190" y="36"/>
                    <a:pt x="190" y="36"/>
                  </a:cubicBezTo>
                  <a:cubicBezTo>
                    <a:pt x="196" y="49"/>
                    <a:pt x="196" y="64"/>
                    <a:pt x="190" y="78"/>
                  </a:cubicBezTo>
                  <a:cubicBezTo>
                    <a:pt x="182" y="94"/>
                    <a:pt x="177" y="112"/>
                    <a:pt x="175" y="131"/>
                  </a:cubicBezTo>
                  <a:cubicBezTo>
                    <a:pt x="172" y="154"/>
                    <a:pt x="172" y="154"/>
                    <a:pt x="172" y="154"/>
                  </a:cubicBezTo>
                  <a:cubicBezTo>
                    <a:pt x="159" y="154"/>
                    <a:pt x="159" y="154"/>
                    <a:pt x="159" y="154"/>
                  </a:cubicBezTo>
                  <a:cubicBezTo>
                    <a:pt x="164" y="98"/>
                    <a:pt x="164" y="98"/>
                    <a:pt x="164" y="98"/>
                  </a:cubicBezTo>
                  <a:cubicBezTo>
                    <a:pt x="141" y="132"/>
                    <a:pt x="141" y="132"/>
                    <a:pt x="141" y="132"/>
                  </a:cubicBezTo>
                  <a:cubicBezTo>
                    <a:pt x="134" y="146"/>
                    <a:pt x="121" y="154"/>
                    <a:pt x="106" y="154"/>
                  </a:cubicBezTo>
                  <a:cubicBezTo>
                    <a:pt x="0" y="154"/>
                    <a:pt x="0" y="154"/>
                    <a:pt x="0" y="154"/>
                  </a:cubicBezTo>
                  <a:cubicBezTo>
                    <a:pt x="4" y="140"/>
                    <a:pt x="17" y="129"/>
                    <a:pt x="32" y="127"/>
                  </a:cubicBezTo>
                  <a:cubicBezTo>
                    <a:pt x="38" y="126"/>
                    <a:pt x="38" y="126"/>
                    <a:pt x="38" y="126"/>
                  </a:cubicBezTo>
                  <a:cubicBezTo>
                    <a:pt x="69" y="121"/>
                    <a:pt x="124" y="102"/>
                    <a:pt x="139" y="74"/>
                  </a:cubicBezTo>
                  <a:lnTo>
                    <a:pt x="170" y="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35" name="Freeform 259">
              <a:extLst>
                <a:ext uri="{FF2B5EF4-FFF2-40B4-BE49-F238E27FC236}">
                  <a16:creationId xmlns:a16="http://schemas.microsoft.com/office/drawing/2014/main" id="{E99A39F1-C187-4E0D-9AA9-51A05DE09759}"/>
                </a:ext>
              </a:extLst>
            </p:cNvPr>
            <p:cNvSpPr>
              <a:spLocks/>
            </p:cNvSpPr>
            <p:nvPr/>
          </p:nvSpPr>
          <p:spPr bwMode="auto">
            <a:xfrm>
              <a:off x="3959542" y="1242058"/>
              <a:ext cx="49145" cy="99902"/>
            </a:xfrm>
            <a:custGeom>
              <a:avLst/>
              <a:gdLst>
                <a:gd name="T0" fmla="*/ 555 w 579"/>
                <a:gd name="T1" fmla="*/ 1177 h 1177"/>
                <a:gd name="T2" fmla="*/ 409 w 579"/>
                <a:gd name="T3" fmla="*/ 1177 h 1177"/>
                <a:gd name="T4" fmla="*/ 388 w 579"/>
                <a:gd name="T5" fmla="*/ 730 h 1177"/>
                <a:gd name="T6" fmla="*/ 341 w 579"/>
                <a:gd name="T7" fmla="*/ 381 h 1177"/>
                <a:gd name="T8" fmla="*/ 266 w 579"/>
                <a:gd name="T9" fmla="*/ 727 h 1177"/>
                <a:gd name="T10" fmla="*/ 128 w 579"/>
                <a:gd name="T11" fmla="*/ 1177 h 1177"/>
                <a:gd name="T12" fmla="*/ 0 w 579"/>
                <a:gd name="T13" fmla="*/ 1177 h 1177"/>
                <a:gd name="T14" fmla="*/ 52 w 579"/>
                <a:gd name="T15" fmla="*/ 655 h 1177"/>
                <a:gd name="T16" fmla="*/ 106 w 579"/>
                <a:gd name="T17" fmla="*/ 113 h 1177"/>
                <a:gd name="T18" fmla="*/ 360 w 579"/>
                <a:gd name="T19" fmla="*/ 0 h 1177"/>
                <a:gd name="T20" fmla="*/ 579 w 579"/>
                <a:gd name="T21" fmla="*/ 79 h 1177"/>
                <a:gd name="T22" fmla="*/ 555 w 579"/>
                <a:gd name="T23" fmla="*/ 1177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9" h="1177">
                  <a:moveTo>
                    <a:pt x="555" y="1177"/>
                  </a:moveTo>
                  <a:lnTo>
                    <a:pt x="409" y="1177"/>
                  </a:lnTo>
                  <a:lnTo>
                    <a:pt x="388" y="730"/>
                  </a:lnTo>
                  <a:lnTo>
                    <a:pt x="341" y="381"/>
                  </a:lnTo>
                  <a:lnTo>
                    <a:pt x="266" y="727"/>
                  </a:lnTo>
                  <a:lnTo>
                    <a:pt x="128" y="1177"/>
                  </a:lnTo>
                  <a:lnTo>
                    <a:pt x="0" y="1177"/>
                  </a:lnTo>
                  <a:lnTo>
                    <a:pt x="52" y="655"/>
                  </a:lnTo>
                  <a:lnTo>
                    <a:pt x="106" y="113"/>
                  </a:lnTo>
                  <a:lnTo>
                    <a:pt x="360" y="0"/>
                  </a:lnTo>
                  <a:lnTo>
                    <a:pt x="579" y="79"/>
                  </a:lnTo>
                  <a:lnTo>
                    <a:pt x="555" y="1177"/>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36" name="Freeform 260">
              <a:extLst>
                <a:ext uri="{FF2B5EF4-FFF2-40B4-BE49-F238E27FC236}">
                  <a16:creationId xmlns:a16="http://schemas.microsoft.com/office/drawing/2014/main" id="{475E7CC7-DFD5-4A6A-857A-411D3A62ADA3}"/>
                </a:ext>
              </a:extLst>
            </p:cNvPr>
            <p:cNvSpPr>
              <a:spLocks/>
            </p:cNvSpPr>
            <p:nvPr/>
          </p:nvSpPr>
          <p:spPr bwMode="auto">
            <a:xfrm>
              <a:off x="4041280" y="1176532"/>
              <a:ext cx="25633" cy="9591"/>
            </a:xfrm>
            <a:custGeom>
              <a:avLst/>
              <a:gdLst>
                <a:gd name="T0" fmla="*/ 0 w 242"/>
                <a:gd name="T1" fmla="*/ 59 h 90"/>
                <a:gd name="T2" fmla="*/ 53 w 242"/>
                <a:gd name="T3" fmla="*/ 14 h 90"/>
                <a:gd name="T4" fmla="*/ 80 w 242"/>
                <a:gd name="T5" fmla="*/ 1 h 90"/>
                <a:gd name="T6" fmla="*/ 242 w 242"/>
                <a:gd name="T7" fmla="*/ 10 h 90"/>
                <a:gd name="T8" fmla="*/ 240 w 242"/>
                <a:gd name="T9" fmla="*/ 17 h 90"/>
                <a:gd name="T10" fmla="*/ 220 w 242"/>
                <a:gd name="T11" fmla="*/ 31 h 90"/>
                <a:gd name="T12" fmla="*/ 171 w 242"/>
                <a:gd name="T13" fmla="*/ 31 h 90"/>
                <a:gd name="T14" fmla="*/ 180 w 242"/>
                <a:gd name="T15" fmla="*/ 57 h 90"/>
                <a:gd name="T16" fmla="*/ 174 w 242"/>
                <a:gd name="T17" fmla="*/ 77 h 90"/>
                <a:gd name="T18" fmla="*/ 158 w 242"/>
                <a:gd name="T19" fmla="*/ 87 h 90"/>
                <a:gd name="T20" fmla="*/ 147 w 242"/>
                <a:gd name="T21" fmla="*/ 90 h 90"/>
                <a:gd name="T22" fmla="*/ 98 w 242"/>
                <a:gd name="T23" fmla="*/ 84 h 90"/>
                <a:gd name="T24" fmla="*/ 105 w 242"/>
                <a:gd name="T25" fmla="*/ 65 h 90"/>
                <a:gd name="T26" fmla="*/ 46 w 242"/>
                <a:gd name="T27" fmla="*/ 90 h 90"/>
                <a:gd name="T28" fmla="*/ 0 w 242"/>
                <a:gd name="T29" fmla="*/ 5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90">
                  <a:moveTo>
                    <a:pt x="0" y="59"/>
                  </a:moveTo>
                  <a:cubicBezTo>
                    <a:pt x="53" y="14"/>
                    <a:pt x="53" y="14"/>
                    <a:pt x="53" y="14"/>
                  </a:cubicBezTo>
                  <a:cubicBezTo>
                    <a:pt x="60" y="7"/>
                    <a:pt x="69" y="0"/>
                    <a:pt x="80" y="1"/>
                  </a:cubicBezTo>
                  <a:cubicBezTo>
                    <a:pt x="242" y="10"/>
                    <a:pt x="242" y="10"/>
                    <a:pt x="242" y="10"/>
                  </a:cubicBezTo>
                  <a:cubicBezTo>
                    <a:pt x="240" y="17"/>
                    <a:pt x="240" y="17"/>
                    <a:pt x="240" y="17"/>
                  </a:cubicBezTo>
                  <a:cubicBezTo>
                    <a:pt x="237" y="25"/>
                    <a:pt x="229" y="31"/>
                    <a:pt x="220" y="31"/>
                  </a:cubicBezTo>
                  <a:cubicBezTo>
                    <a:pt x="171" y="31"/>
                    <a:pt x="171" y="31"/>
                    <a:pt x="171" y="31"/>
                  </a:cubicBezTo>
                  <a:cubicBezTo>
                    <a:pt x="180" y="57"/>
                    <a:pt x="180" y="57"/>
                    <a:pt x="180" y="57"/>
                  </a:cubicBezTo>
                  <a:cubicBezTo>
                    <a:pt x="183" y="64"/>
                    <a:pt x="180" y="72"/>
                    <a:pt x="174" y="77"/>
                  </a:cubicBezTo>
                  <a:cubicBezTo>
                    <a:pt x="158" y="87"/>
                    <a:pt x="158" y="87"/>
                    <a:pt x="158" y="87"/>
                  </a:cubicBezTo>
                  <a:cubicBezTo>
                    <a:pt x="155" y="89"/>
                    <a:pt x="151" y="90"/>
                    <a:pt x="147" y="90"/>
                  </a:cubicBezTo>
                  <a:cubicBezTo>
                    <a:pt x="98" y="84"/>
                    <a:pt x="98" y="84"/>
                    <a:pt x="98" y="84"/>
                  </a:cubicBezTo>
                  <a:cubicBezTo>
                    <a:pt x="105" y="65"/>
                    <a:pt x="105" y="65"/>
                    <a:pt x="105" y="65"/>
                  </a:cubicBezTo>
                  <a:cubicBezTo>
                    <a:pt x="46" y="90"/>
                    <a:pt x="46" y="90"/>
                    <a:pt x="46" y="90"/>
                  </a:cubicBezTo>
                  <a:lnTo>
                    <a:pt x="0" y="59"/>
                  </a:lnTo>
                  <a:close/>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37" name="Freeform 261">
              <a:extLst>
                <a:ext uri="{FF2B5EF4-FFF2-40B4-BE49-F238E27FC236}">
                  <a16:creationId xmlns:a16="http://schemas.microsoft.com/office/drawing/2014/main" id="{2065486D-BFE6-421C-94F0-2888323567CE}"/>
                </a:ext>
              </a:extLst>
            </p:cNvPr>
            <p:cNvSpPr>
              <a:spLocks/>
            </p:cNvSpPr>
            <p:nvPr/>
          </p:nvSpPr>
          <p:spPr bwMode="auto">
            <a:xfrm>
              <a:off x="4041365" y="1176107"/>
              <a:ext cx="25548" cy="7639"/>
            </a:xfrm>
            <a:custGeom>
              <a:avLst/>
              <a:gdLst>
                <a:gd name="T0" fmla="*/ 50 w 241"/>
                <a:gd name="T1" fmla="*/ 11 h 72"/>
                <a:gd name="T2" fmla="*/ 0 w 241"/>
                <a:gd name="T3" fmla="*/ 62 h 72"/>
                <a:gd name="T4" fmla="*/ 35 w 241"/>
                <a:gd name="T5" fmla="*/ 72 h 72"/>
                <a:gd name="T6" fmla="*/ 93 w 241"/>
                <a:gd name="T7" fmla="*/ 34 h 72"/>
                <a:gd name="T8" fmla="*/ 149 w 241"/>
                <a:gd name="T9" fmla="*/ 19 h 72"/>
                <a:gd name="T10" fmla="*/ 237 w 241"/>
                <a:gd name="T11" fmla="*/ 24 h 72"/>
                <a:gd name="T12" fmla="*/ 239 w 241"/>
                <a:gd name="T13" fmla="*/ 21 h 72"/>
                <a:gd name="T14" fmla="*/ 241 w 241"/>
                <a:gd name="T15" fmla="*/ 14 h 72"/>
                <a:gd name="T16" fmla="*/ 77 w 241"/>
                <a:gd name="T17" fmla="*/ 1 h 72"/>
                <a:gd name="T18" fmla="*/ 50 w 241"/>
                <a:gd name="T19"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1" h="72">
                  <a:moveTo>
                    <a:pt x="50" y="11"/>
                  </a:moveTo>
                  <a:cubicBezTo>
                    <a:pt x="0" y="62"/>
                    <a:pt x="0" y="62"/>
                    <a:pt x="0" y="62"/>
                  </a:cubicBezTo>
                  <a:cubicBezTo>
                    <a:pt x="35" y="72"/>
                    <a:pt x="35" y="72"/>
                    <a:pt x="35" y="72"/>
                  </a:cubicBezTo>
                  <a:cubicBezTo>
                    <a:pt x="93" y="34"/>
                    <a:pt x="93" y="34"/>
                    <a:pt x="93" y="34"/>
                  </a:cubicBezTo>
                  <a:cubicBezTo>
                    <a:pt x="110" y="23"/>
                    <a:pt x="130" y="18"/>
                    <a:pt x="149" y="19"/>
                  </a:cubicBezTo>
                  <a:cubicBezTo>
                    <a:pt x="237" y="24"/>
                    <a:pt x="237" y="24"/>
                    <a:pt x="237" y="24"/>
                  </a:cubicBezTo>
                  <a:cubicBezTo>
                    <a:pt x="238" y="23"/>
                    <a:pt x="238" y="22"/>
                    <a:pt x="239" y="21"/>
                  </a:cubicBezTo>
                  <a:cubicBezTo>
                    <a:pt x="241" y="14"/>
                    <a:pt x="241" y="14"/>
                    <a:pt x="241" y="14"/>
                  </a:cubicBezTo>
                  <a:cubicBezTo>
                    <a:pt x="77" y="1"/>
                    <a:pt x="77" y="1"/>
                    <a:pt x="77" y="1"/>
                  </a:cubicBezTo>
                  <a:cubicBezTo>
                    <a:pt x="67" y="0"/>
                    <a:pt x="57" y="4"/>
                    <a:pt x="50" y="11"/>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38" name="Freeform 262">
              <a:extLst>
                <a:ext uri="{FF2B5EF4-FFF2-40B4-BE49-F238E27FC236}">
                  <a16:creationId xmlns:a16="http://schemas.microsoft.com/office/drawing/2014/main" id="{E357D4F4-8A78-4194-8FE1-E2574D45FD0B}"/>
                </a:ext>
              </a:extLst>
            </p:cNvPr>
            <p:cNvSpPr>
              <a:spLocks/>
            </p:cNvSpPr>
            <p:nvPr/>
          </p:nvSpPr>
          <p:spPr bwMode="auto">
            <a:xfrm>
              <a:off x="3942736" y="1179927"/>
              <a:ext cx="105673" cy="83181"/>
            </a:xfrm>
            <a:custGeom>
              <a:avLst/>
              <a:gdLst>
                <a:gd name="T0" fmla="*/ 944 w 998"/>
                <a:gd name="T1" fmla="*/ 0 h 783"/>
                <a:gd name="T2" fmla="*/ 799 w 998"/>
                <a:gd name="T3" fmla="*/ 103 h 783"/>
                <a:gd name="T4" fmla="*/ 569 w 998"/>
                <a:gd name="T5" fmla="*/ 89 h 783"/>
                <a:gd name="T6" fmla="*/ 569 w 998"/>
                <a:gd name="T7" fmla="*/ 89 h 783"/>
                <a:gd name="T8" fmla="*/ 530 w 998"/>
                <a:gd name="T9" fmla="*/ 68 h 783"/>
                <a:gd name="T10" fmla="*/ 210 w 998"/>
                <a:gd name="T11" fmla="*/ 122 h 783"/>
                <a:gd name="T12" fmla="*/ 144 w 998"/>
                <a:gd name="T13" fmla="*/ 170 h 783"/>
                <a:gd name="T14" fmla="*/ 17 w 998"/>
                <a:gd name="T15" fmla="*/ 394 h 783"/>
                <a:gd name="T16" fmla="*/ 30 w 998"/>
                <a:gd name="T17" fmla="*/ 482 h 783"/>
                <a:gd name="T18" fmla="*/ 179 w 998"/>
                <a:gd name="T19" fmla="*/ 621 h 783"/>
                <a:gd name="T20" fmla="*/ 234 w 998"/>
                <a:gd name="T21" fmla="*/ 562 h 783"/>
                <a:gd name="T22" fmla="*/ 129 w 998"/>
                <a:gd name="T23" fmla="*/ 427 h 783"/>
                <a:gd name="T24" fmla="*/ 219 w 998"/>
                <a:gd name="T25" fmla="*/ 357 h 783"/>
                <a:gd name="T26" fmla="*/ 276 w 998"/>
                <a:gd name="T27" fmla="*/ 499 h 783"/>
                <a:gd name="T28" fmla="*/ 225 w 998"/>
                <a:gd name="T29" fmla="*/ 739 h 783"/>
                <a:gd name="T30" fmla="*/ 459 w 998"/>
                <a:gd name="T31" fmla="*/ 659 h 783"/>
                <a:gd name="T32" fmla="*/ 658 w 998"/>
                <a:gd name="T33" fmla="*/ 673 h 783"/>
                <a:gd name="T34" fmla="*/ 609 w 998"/>
                <a:gd name="T35" fmla="*/ 467 h 783"/>
                <a:gd name="T36" fmla="*/ 634 w 998"/>
                <a:gd name="T37" fmla="*/ 313 h 783"/>
                <a:gd name="T38" fmla="*/ 629 w 998"/>
                <a:gd name="T39" fmla="*/ 227 h 783"/>
                <a:gd name="T40" fmla="*/ 800 w 998"/>
                <a:gd name="T41" fmla="*/ 220 h 783"/>
                <a:gd name="T42" fmla="*/ 818 w 998"/>
                <a:gd name="T43" fmla="*/ 212 h 783"/>
                <a:gd name="T44" fmla="*/ 998 w 998"/>
                <a:gd name="T45" fmla="*/ 57 h 783"/>
                <a:gd name="T46" fmla="*/ 944 w 998"/>
                <a:gd name="T47" fmla="*/ 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8" h="783">
                  <a:moveTo>
                    <a:pt x="944" y="0"/>
                  </a:moveTo>
                  <a:cubicBezTo>
                    <a:pt x="799" y="103"/>
                    <a:pt x="799" y="103"/>
                    <a:pt x="799" y="103"/>
                  </a:cubicBezTo>
                  <a:cubicBezTo>
                    <a:pt x="569" y="89"/>
                    <a:pt x="569" y="89"/>
                    <a:pt x="569" y="89"/>
                  </a:cubicBezTo>
                  <a:cubicBezTo>
                    <a:pt x="569" y="89"/>
                    <a:pt x="569" y="89"/>
                    <a:pt x="569" y="89"/>
                  </a:cubicBezTo>
                  <a:cubicBezTo>
                    <a:pt x="563" y="74"/>
                    <a:pt x="547" y="65"/>
                    <a:pt x="530" y="68"/>
                  </a:cubicBezTo>
                  <a:cubicBezTo>
                    <a:pt x="210" y="122"/>
                    <a:pt x="210" y="122"/>
                    <a:pt x="210" y="122"/>
                  </a:cubicBezTo>
                  <a:cubicBezTo>
                    <a:pt x="182" y="128"/>
                    <a:pt x="158" y="145"/>
                    <a:pt x="144" y="170"/>
                  </a:cubicBezTo>
                  <a:cubicBezTo>
                    <a:pt x="17" y="394"/>
                    <a:pt x="17" y="394"/>
                    <a:pt x="17" y="394"/>
                  </a:cubicBezTo>
                  <a:cubicBezTo>
                    <a:pt x="0" y="423"/>
                    <a:pt x="6" y="460"/>
                    <a:pt x="30" y="482"/>
                  </a:cubicBezTo>
                  <a:cubicBezTo>
                    <a:pt x="179" y="621"/>
                    <a:pt x="179" y="621"/>
                    <a:pt x="179" y="621"/>
                  </a:cubicBezTo>
                  <a:cubicBezTo>
                    <a:pt x="179" y="621"/>
                    <a:pt x="213" y="618"/>
                    <a:pt x="234" y="562"/>
                  </a:cubicBezTo>
                  <a:cubicBezTo>
                    <a:pt x="234" y="561"/>
                    <a:pt x="129" y="427"/>
                    <a:pt x="129" y="427"/>
                  </a:cubicBezTo>
                  <a:cubicBezTo>
                    <a:pt x="219" y="357"/>
                    <a:pt x="219" y="357"/>
                    <a:pt x="219" y="357"/>
                  </a:cubicBezTo>
                  <a:cubicBezTo>
                    <a:pt x="232" y="393"/>
                    <a:pt x="254" y="453"/>
                    <a:pt x="276" y="499"/>
                  </a:cubicBezTo>
                  <a:cubicBezTo>
                    <a:pt x="244" y="561"/>
                    <a:pt x="225" y="739"/>
                    <a:pt x="225" y="739"/>
                  </a:cubicBezTo>
                  <a:cubicBezTo>
                    <a:pt x="225" y="739"/>
                    <a:pt x="374" y="783"/>
                    <a:pt x="459" y="659"/>
                  </a:cubicBezTo>
                  <a:cubicBezTo>
                    <a:pt x="522" y="698"/>
                    <a:pt x="658" y="673"/>
                    <a:pt x="658" y="673"/>
                  </a:cubicBezTo>
                  <a:cubicBezTo>
                    <a:pt x="658" y="673"/>
                    <a:pt x="607" y="532"/>
                    <a:pt x="609" y="467"/>
                  </a:cubicBezTo>
                  <a:cubicBezTo>
                    <a:pt x="611" y="427"/>
                    <a:pt x="624" y="359"/>
                    <a:pt x="634" y="313"/>
                  </a:cubicBezTo>
                  <a:cubicBezTo>
                    <a:pt x="641" y="284"/>
                    <a:pt x="639" y="254"/>
                    <a:pt x="629" y="227"/>
                  </a:cubicBezTo>
                  <a:cubicBezTo>
                    <a:pt x="800" y="220"/>
                    <a:pt x="800" y="220"/>
                    <a:pt x="800" y="220"/>
                  </a:cubicBezTo>
                  <a:cubicBezTo>
                    <a:pt x="807" y="220"/>
                    <a:pt x="813" y="217"/>
                    <a:pt x="818" y="212"/>
                  </a:cubicBezTo>
                  <a:cubicBezTo>
                    <a:pt x="998" y="57"/>
                    <a:pt x="998" y="57"/>
                    <a:pt x="998" y="57"/>
                  </a:cubicBezTo>
                  <a:cubicBezTo>
                    <a:pt x="998" y="19"/>
                    <a:pt x="944" y="0"/>
                    <a:pt x="944" y="0"/>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39" name="Freeform 263">
              <a:extLst>
                <a:ext uri="{FF2B5EF4-FFF2-40B4-BE49-F238E27FC236}">
                  <a16:creationId xmlns:a16="http://schemas.microsoft.com/office/drawing/2014/main" id="{9DE5F452-4C2D-40C6-BDE2-E78570FEC251}"/>
                </a:ext>
              </a:extLst>
            </p:cNvPr>
            <p:cNvSpPr>
              <a:spLocks/>
            </p:cNvSpPr>
            <p:nvPr/>
          </p:nvSpPr>
          <p:spPr bwMode="auto">
            <a:xfrm>
              <a:off x="3994342" y="1193423"/>
              <a:ext cx="6790" cy="9676"/>
            </a:xfrm>
            <a:custGeom>
              <a:avLst/>
              <a:gdLst>
                <a:gd name="T0" fmla="*/ 0 w 64"/>
                <a:gd name="T1" fmla="*/ 38 h 91"/>
                <a:gd name="T2" fmla="*/ 13 w 64"/>
                <a:gd name="T3" fmla="*/ 91 h 91"/>
                <a:gd name="T4" fmla="*/ 29 w 64"/>
                <a:gd name="T5" fmla="*/ 55 h 91"/>
                <a:gd name="T6" fmla="*/ 64 w 64"/>
                <a:gd name="T7" fmla="*/ 51 h 91"/>
                <a:gd name="T8" fmla="*/ 17 w 64"/>
                <a:gd name="T9" fmla="*/ 0 h 91"/>
                <a:gd name="T10" fmla="*/ 0 w 64"/>
                <a:gd name="T11" fmla="*/ 38 h 91"/>
              </a:gdLst>
              <a:ahLst/>
              <a:cxnLst>
                <a:cxn ang="0">
                  <a:pos x="T0" y="T1"/>
                </a:cxn>
                <a:cxn ang="0">
                  <a:pos x="T2" y="T3"/>
                </a:cxn>
                <a:cxn ang="0">
                  <a:pos x="T4" y="T5"/>
                </a:cxn>
                <a:cxn ang="0">
                  <a:pos x="T6" y="T7"/>
                </a:cxn>
                <a:cxn ang="0">
                  <a:pos x="T8" y="T9"/>
                </a:cxn>
                <a:cxn ang="0">
                  <a:pos x="T10" y="T11"/>
                </a:cxn>
              </a:cxnLst>
              <a:rect l="0" t="0" r="r" b="b"/>
              <a:pathLst>
                <a:path w="64" h="91">
                  <a:moveTo>
                    <a:pt x="0" y="38"/>
                  </a:moveTo>
                  <a:cubicBezTo>
                    <a:pt x="0" y="38"/>
                    <a:pt x="10" y="75"/>
                    <a:pt x="13" y="91"/>
                  </a:cubicBezTo>
                  <a:cubicBezTo>
                    <a:pt x="21" y="69"/>
                    <a:pt x="29" y="55"/>
                    <a:pt x="29" y="55"/>
                  </a:cubicBezTo>
                  <a:cubicBezTo>
                    <a:pt x="64" y="51"/>
                    <a:pt x="64" y="51"/>
                    <a:pt x="64" y="51"/>
                  </a:cubicBezTo>
                  <a:cubicBezTo>
                    <a:pt x="17" y="0"/>
                    <a:pt x="17" y="0"/>
                    <a:pt x="17" y="0"/>
                  </a:cubicBezTo>
                  <a:lnTo>
                    <a:pt x="0" y="38"/>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40" name="Freeform 264">
              <a:extLst>
                <a:ext uri="{FF2B5EF4-FFF2-40B4-BE49-F238E27FC236}">
                  <a16:creationId xmlns:a16="http://schemas.microsoft.com/office/drawing/2014/main" id="{EFE3C27A-71BE-4186-8B0A-2ED3D4FAF013}"/>
                </a:ext>
              </a:extLst>
            </p:cNvPr>
            <p:cNvSpPr>
              <a:spLocks/>
            </p:cNvSpPr>
            <p:nvPr/>
          </p:nvSpPr>
          <p:spPr bwMode="auto">
            <a:xfrm>
              <a:off x="3976348" y="1186547"/>
              <a:ext cx="20965" cy="45325"/>
            </a:xfrm>
            <a:custGeom>
              <a:avLst/>
              <a:gdLst>
                <a:gd name="T0" fmla="*/ 0 w 198"/>
                <a:gd name="T1" fmla="*/ 53 h 427"/>
                <a:gd name="T2" fmla="*/ 115 w 198"/>
                <a:gd name="T3" fmla="*/ 250 h 427"/>
                <a:gd name="T4" fmla="*/ 133 w 198"/>
                <a:gd name="T5" fmla="*/ 427 h 427"/>
                <a:gd name="T6" fmla="*/ 197 w 198"/>
                <a:gd name="T7" fmla="*/ 277 h 427"/>
                <a:gd name="T8" fmla="*/ 170 w 198"/>
                <a:gd name="T9" fmla="*/ 103 h 427"/>
                <a:gd name="T10" fmla="*/ 197 w 198"/>
                <a:gd name="T11" fmla="*/ 45 h 427"/>
                <a:gd name="T12" fmla="*/ 156 w 198"/>
                <a:gd name="T13" fmla="*/ 13 h 427"/>
                <a:gd name="T14" fmla="*/ 10 w 198"/>
                <a:gd name="T15" fmla="*/ 0 h 427"/>
                <a:gd name="T16" fmla="*/ 0 w 198"/>
                <a:gd name="T17" fmla="*/ 5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427">
                  <a:moveTo>
                    <a:pt x="0" y="53"/>
                  </a:moveTo>
                  <a:cubicBezTo>
                    <a:pt x="0" y="53"/>
                    <a:pt x="92" y="173"/>
                    <a:pt x="115" y="250"/>
                  </a:cubicBezTo>
                  <a:cubicBezTo>
                    <a:pt x="138" y="328"/>
                    <a:pt x="133" y="427"/>
                    <a:pt x="133" y="427"/>
                  </a:cubicBezTo>
                  <a:cubicBezTo>
                    <a:pt x="133" y="427"/>
                    <a:pt x="196" y="358"/>
                    <a:pt x="197" y="277"/>
                  </a:cubicBezTo>
                  <a:cubicBezTo>
                    <a:pt x="198" y="197"/>
                    <a:pt x="170" y="103"/>
                    <a:pt x="170" y="103"/>
                  </a:cubicBezTo>
                  <a:cubicBezTo>
                    <a:pt x="197" y="45"/>
                    <a:pt x="197" y="45"/>
                    <a:pt x="197" y="45"/>
                  </a:cubicBezTo>
                  <a:cubicBezTo>
                    <a:pt x="156" y="13"/>
                    <a:pt x="156" y="13"/>
                    <a:pt x="156" y="13"/>
                  </a:cubicBezTo>
                  <a:cubicBezTo>
                    <a:pt x="10" y="0"/>
                    <a:pt x="10" y="0"/>
                    <a:pt x="10" y="0"/>
                  </a:cubicBezTo>
                  <a:lnTo>
                    <a:pt x="0" y="53"/>
                  </a:lnTo>
                  <a:close/>
                </a:path>
              </a:pathLst>
            </a:custGeom>
            <a:solidFill>
              <a:srgbClr val="F5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41" name="Freeform 265">
              <a:extLst>
                <a:ext uri="{FF2B5EF4-FFF2-40B4-BE49-F238E27FC236}">
                  <a16:creationId xmlns:a16="http://schemas.microsoft.com/office/drawing/2014/main" id="{CC8AA3EB-6F95-4955-87C0-D2EC61646E60}"/>
                </a:ext>
              </a:extLst>
            </p:cNvPr>
            <p:cNvSpPr>
              <a:spLocks/>
            </p:cNvSpPr>
            <p:nvPr/>
          </p:nvSpPr>
          <p:spPr bwMode="auto">
            <a:xfrm>
              <a:off x="3992560" y="1189179"/>
              <a:ext cx="2122" cy="3480"/>
            </a:xfrm>
            <a:custGeom>
              <a:avLst/>
              <a:gdLst>
                <a:gd name="T0" fmla="*/ 14 w 25"/>
                <a:gd name="T1" fmla="*/ 41 h 41"/>
                <a:gd name="T2" fmla="*/ 25 w 25"/>
                <a:gd name="T3" fmla="*/ 16 h 41"/>
                <a:gd name="T4" fmla="*/ 0 w 25"/>
                <a:gd name="T5" fmla="*/ 0 h 41"/>
                <a:gd name="T6" fmla="*/ 5 w 25"/>
                <a:gd name="T7" fmla="*/ 38 h 41"/>
                <a:gd name="T8" fmla="*/ 14 w 25"/>
                <a:gd name="T9" fmla="*/ 41 h 41"/>
              </a:gdLst>
              <a:ahLst/>
              <a:cxnLst>
                <a:cxn ang="0">
                  <a:pos x="T0" y="T1"/>
                </a:cxn>
                <a:cxn ang="0">
                  <a:pos x="T2" y="T3"/>
                </a:cxn>
                <a:cxn ang="0">
                  <a:pos x="T4" y="T5"/>
                </a:cxn>
                <a:cxn ang="0">
                  <a:pos x="T6" y="T7"/>
                </a:cxn>
                <a:cxn ang="0">
                  <a:pos x="T8" y="T9"/>
                </a:cxn>
              </a:cxnLst>
              <a:rect l="0" t="0" r="r" b="b"/>
              <a:pathLst>
                <a:path w="25" h="41">
                  <a:moveTo>
                    <a:pt x="14" y="41"/>
                  </a:moveTo>
                  <a:lnTo>
                    <a:pt x="25" y="16"/>
                  </a:lnTo>
                  <a:lnTo>
                    <a:pt x="0" y="0"/>
                  </a:lnTo>
                  <a:lnTo>
                    <a:pt x="5" y="38"/>
                  </a:lnTo>
                  <a:lnTo>
                    <a:pt x="14" y="41"/>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42" name="Freeform 266">
              <a:extLst>
                <a:ext uri="{FF2B5EF4-FFF2-40B4-BE49-F238E27FC236}">
                  <a16:creationId xmlns:a16="http://schemas.microsoft.com/office/drawing/2014/main" id="{72AFEBE7-D6D5-4D8D-A761-EDD713A0EB41}"/>
                </a:ext>
              </a:extLst>
            </p:cNvPr>
            <p:cNvSpPr>
              <a:spLocks/>
            </p:cNvSpPr>
            <p:nvPr/>
          </p:nvSpPr>
          <p:spPr bwMode="auto">
            <a:xfrm>
              <a:off x="3971170" y="1151662"/>
              <a:ext cx="30302" cy="52964"/>
            </a:xfrm>
            <a:custGeom>
              <a:avLst/>
              <a:gdLst>
                <a:gd name="T0" fmla="*/ 279 w 286"/>
                <a:gd name="T1" fmla="*/ 188 h 498"/>
                <a:gd name="T2" fmla="*/ 270 w 286"/>
                <a:gd name="T3" fmla="*/ 120 h 498"/>
                <a:gd name="T4" fmla="*/ 127 w 286"/>
                <a:gd name="T5" fmla="*/ 9 h 498"/>
                <a:gd name="T6" fmla="*/ 119 w 286"/>
                <a:gd name="T7" fmla="*/ 10 h 498"/>
                <a:gd name="T8" fmla="*/ 8 w 286"/>
                <a:gd name="T9" fmla="*/ 153 h 498"/>
                <a:gd name="T10" fmla="*/ 17 w 286"/>
                <a:gd name="T11" fmla="*/ 222 h 498"/>
                <a:gd name="T12" fmla="*/ 83 w 286"/>
                <a:gd name="T13" fmla="*/ 318 h 498"/>
                <a:gd name="T14" fmla="*/ 80 w 286"/>
                <a:gd name="T15" fmla="*/ 363 h 498"/>
                <a:gd name="T16" fmla="*/ 130 w 286"/>
                <a:gd name="T17" fmla="*/ 400 h 498"/>
                <a:gd name="T18" fmla="*/ 179 w 286"/>
                <a:gd name="T19" fmla="*/ 498 h 498"/>
                <a:gd name="T20" fmla="*/ 213 w 286"/>
                <a:gd name="T21" fmla="*/ 386 h 498"/>
                <a:gd name="T22" fmla="*/ 207 w 286"/>
                <a:gd name="T23" fmla="*/ 366 h 498"/>
                <a:gd name="T24" fmla="*/ 205 w 286"/>
                <a:gd name="T25" fmla="*/ 341 h 498"/>
                <a:gd name="T26" fmla="*/ 219 w 286"/>
                <a:gd name="T27" fmla="*/ 313 h 498"/>
                <a:gd name="T28" fmla="*/ 279 w 286"/>
                <a:gd name="T29" fmla="*/ 18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6" h="498">
                  <a:moveTo>
                    <a:pt x="279" y="188"/>
                  </a:moveTo>
                  <a:cubicBezTo>
                    <a:pt x="270" y="120"/>
                    <a:pt x="270" y="120"/>
                    <a:pt x="270" y="120"/>
                  </a:cubicBezTo>
                  <a:cubicBezTo>
                    <a:pt x="261" y="50"/>
                    <a:pt x="197" y="0"/>
                    <a:pt x="127" y="9"/>
                  </a:cubicBezTo>
                  <a:cubicBezTo>
                    <a:pt x="119" y="10"/>
                    <a:pt x="119" y="10"/>
                    <a:pt x="119" y="10"/>
                  </a:cubicBezTo>
                  <a:cubicBezTo>
                    <a:pt x="49" y="19"/>
                    <a:pt x="0" y="83"/>
                    <a:pt x="8" y="153"/>
                  </a:cubicBezTo>
                  <a:cubicBezTo>
                    <a:pt x="17" y="222"/>
                    <a:pt x="17" y="222"/>
                    <a:pt x="17" y="222"/>
                  </a:cubicBezTo>
                  <a:cubicBezTo>
                    <a:pt x="23" y="264"/>
                    <a:pt x="48" y="299"/>
                    <a:pt x="83" y="318"/>
                  </a:cubicBezTo>
                  <a:cubicBezTo>
                    <a:pt x="80" y="363"/>
                    <a:pt x="80" y="363"/>
                    <a:pt x="80" y="363"/>
                  </a:cubicBezTo>
                  <a:cubicBezTo>
                    <a:pt x="130" y="400"/>
                    <a:pt x="130" y="400"/>
                    <a:pt x="130" y="400"/>
                  </a:cubicBezTo>
                  <a:cubicBezTo>
                    <a:pt x="179" y="498"/>
                    <a:pt x="179" y="498"/>
                    <a:pt x="179" y="498"/>
                  </a:cubicBezTo>
                  <a:cubicBezTo>
                    <a:pt x="213" y="386"/>
                    <a:pt x="213" y="386"/>
                    <a:pt x="213" y="386"/>
                  </a:cubicBezTo>
                  <a:cubicBezTo>
                    <a:pt x="207" y="366"/>
                    <a:pt x="207" y="366"/>
                    <a:pt x="207" y="366"/>
                  </a:cubicBezTo>
                  <a:cubicBezTo>
                    <a:pt x="205" y="341"/>
                    <a:pt x="205" y="341"/>
                    <a:pt x="205" y="341"/>
                  </a:cubicBezTo>
                  <a:cubicBezTo>
                    <a:pt x="204" y="330"/>
                    <a:pt x="210" y="319"/>
                    <a:pt x="219" y="313"/>
                  </a:cubicBezTo>
                  <a:cubicBezTo>
                    <a:pt x="261" y="288"/>
                    <a:pt x="286" y="240"/>
                    <a:pt x="279" y="188"/>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43" name="Freeform 267">
              <a:extLst>
                <a:ext uri="{FF2B5EF4-FFF2-40B4-BE49-F238E27FC236}">
                  <a16:creationId xmlns:a16="http://schemas.microsoft.com/office/drawing/2014/main" id="{C97C47A0-E982-4ADD-B047-38F24D58CC9E}"/>
                </a:ext>
              </a:extLst>
            </p:cNvPr>
            <p:cNvSpPr>
              <a:spLocks/>
            </p:cNvSpPr>
            <p:nvPr/>
          </p:nvSpPr>
          <p:spPr bwMode="auto">
            <a:xfrm>
              <a:off x="3986873" y="1152766"/>
              <a:ext cx="14175" cy="26652"/>
            </a:xfrm>
            <a:custGeom>
              <a:avLst/>
              <a:gdLst>
                <a:gd name="T0" fmla="*/ 131 w 134"/>
                <a:gd name="T1" fmla="*/ 178 h 251"/>
                <a:gd name="T2" fmla="*/ 122 w 134"/>
                <a:gd name="T3" fmla="*/ 110 h 251"/>
                <a:gd name="T4" fmla="*/ 20 w 134"/>
                <a:gd name="T5" fmla="*/ 0 h 251"/>
                <a:gd name="T6" fmla="*/ 0 w 134"/>
                <a:gd name="T7" fmla="*/ 26 h 251"/>
                <a:gd name="T8" fmla="*/ 25 w 134"/>
                <a:gd name="T9" fmla="*/ 47 h 251"/>
                <a:gd name="T10" fmla="*/ 50 w 134"/>
                <a:gd name="T11" fmla="*/ 103 h 251"/>
                <a:gd name="T12" fmla="*/ 50 w 134"/>
                <a:gd name="T13" fmla="*/ 111 h 251"/>
                <a:gd name="T14" fmla="*/ 67 w 134"/>
                <a:gd name="T15" fmla="*/ 137 h 251"/>
                <a:gd name="T16" fmla="*/ 94 w 134"/>
                <a:gd name="T17" fmla="*/ 150 h 251"/>
                <a:gd name="T18" fmla="*/ 96 w 134"/>
                <a:gd name="T19" fmla="*/ 171 h 251"/>
                <a:gd name="T20" fmla="*/ 83 w 134"/>
                <a:gd name="T21" fmla="*/ 183 h 251"/>
                <a:gd name="T22" fmla="*/ 88 w 134"/>
                <a:gd name="T23" fmla="*/ 196 h 251"/>
                <a:gd name="T24" fmla="*/ 95 w 134"/>
                <a:gd name="T25" fmla="*/ 219 h 251"/>
                <a:gd name="T26" fmla="*/ 71 w 134"/>
                <a:gd name="T27" fmla="*/ 224 h 251"/>
                <a:gd name="T28" fmla="*/ 71 w 134"/>
                <a:gd name="T29" fmla="*/ 232 h 251"/>
                <a:gd name="T30" fmla="*/ 94 w 134"/>
                <a:gd name="T31" fmla="*/ 247 h 251"/>
                <a:gd name="T32" fmla="*/ 103 w 134"/>
                <a:gd name="T33" fmla="*/ 243 h 251"/>
                <a:gd name="T34" fmla="*/ 105 w 134"/>
                <a:gd name="T35" fmla="*/ 243 h 251"/>
                <a:gd name="T36" fmla="*/ 126 w 134"/>
                <a:gd name="T37" fmla="*/ 234 h 251"/>
                <a:gd name="T38" fmla="*/ 131 w 134"/>
                <a:gd name="T39" fmla="*/ 178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251">
                  <a:moveTo>
                    <a:pt x="131" y="178"/>
                  </a:moveTo>
                  <a:cubicBezTo>
                    <a:pt x="122" y="110"/>
                    <a:pt x="122" y="110"/>
                    <a:pt x="122" y="110"/>
                  </a:cubicBezTo>
                  <a:cubicBezTo>
                    <a:pt x="115" y="54"/>
                    <a:pt x="73" y="11"/>
                    <a:pt x="20" y="0"/>
                  </a:cubicBezTo>
                  <a:cubicBezTo>
                    <a:pt x="0" y="26"/>
                    <a:pt x="0" y="26"/>
                    <a:pt x="0" y="26"/>
                  </a:cubicBezTo>
                  <a:cubicBezTo>
                    <a:pt x="25" y="47"/>
                    <a:pt x="25" y="47"/>
                    <a:pt x="25" y="47"/>
                  </a:cubicBezTo>
                  <a:cubicBezTo>
                    <a:pt x="41" y="61"/>
                    <a:pt x="50" y="82"/>
                    <a:pt x="50" y="103"/>
                  </a:cubicBezTo>
                  <a:cubicBezTo>
                    <a:pt x="50" y="111"/>
                    <a:pt x="50" y="111"/>
                    <a:pt x="50" y="111"/>
                  </a:cubicBezTo>
                  <a:cubicBezTo>
                    <a:pt x="50" y="122"/>
                    <a:pt x="57" y="132"/>
                    <a:pt x="67" y="137"/>
                  </a:cubicBezTo>
                  <a:cubicBezTo>
                    <a:pt x="94" y="150"/>
                    <a:pt x="94" y="150"/>
                    <a:pt x="94" y="150"/>
                  </a:cubicBezTo>
                  <a:cubicBezTo>
                    <a:pt x="103" y="154"/>
                    <a:pt x="104" y="166"/>
                    <a:pt x="96" y="171"/>
                  </a:cubicBezTo>
                  <a:cubicBezTo>
                    <a:pt x="96" y="171"/>
                    <a:pt x="83" y="179"/>
                    <a:pt x="83" y="183"/>
                  </a:cubicBezTo>
                  <a:cubicBezTo>
                    <a:pt x="82" y="186"/>
                    <a:pt x="88" y="196"/>
                    <a:pt x="88" y="196"/>
                  </a:cubicBezTo>
                  <a:cubicBezTo>
                    <a:pt x="93" y="202"/>
                    <a:pt x="95" y="210"/>
                    <a:pt x="95" y="219"/>
                  </a:cubicBezTo>
                  <a:cubicBezTo>
                    <a:pt x="71" y="224"/>
                    <a:pt x="71" y="224"/>
                    <a:pt x="71" y="224"/>
                  </a:cubicBezTo>
                  <a:cubicBezTo>
                    <a:pt x="71" y="232"/>
                    <a:pt x="71" y="232"/>
                    <a:pt x="71" y="232"/>
                  </a:cubicBezTo>
                  <a:cubicBezTo>
                    <a:pt x="72" y="243"/>
                    <a:pt x="83" y="251"/>
                    <a:pt x="94" y="247"/>
                  </a:cubicBezTo>
                  <a:cubicBezTo>
                    <a:pt x="103" y="243"/>
                    <a:pt x="103" y="243"/>
                    <a:pt x="103" y="243"/>
                  </a:cubicBezTo>
                  <a:cubicBezTo>
                    <a:pt x="104" y="243"/>
                    <a:pt x="105" y="243"/>
                    <a:pt x="105" y="243"/>
                  </a:cubicBezTo>
                  <a:cubicBezTo>
                    <a:pt x="126" y="234"/>
                    <a:pt x="126" y="234"/>
                    <a:pt x="126" y="234"/>
                  </a:cubicBezTo>
                  <a:cubicBezTo>
                    <a:pt x="132" y="217"/>
                    <a:pt x="134" y="198"/>
                    <a:pt x="131" y="178"/>
                  </a:cubicBezTo>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44" name="Freeform 268">
              <a:extLst>
                <a:ext uri="{FF2B5EF4-FFF2-40B4-BE49-F238E27FC236}">
                  <a16:creationId xmlns:a16="http://schemas.microsoft.com/office/drawing/2014/main" id="{B3CCFE23-2DBC-476D-9A4F-6511AE9B783B}"/>
                </a:ext>
              </a:extLst>
            </p:cNvPr>
            <p:cNvSpPr>
              <a:spLocks/>
            </p:cNvSpPr>
            <p:nvPr/>
          </p:nvSpPr>
          <p:spPr bwMode="auto">
            <a:xfrm>
              <a:off x="3983987" y="1179163"/>
              <a:ext cx="15448" cy="25463"/>
            </a:xfrm>
            <a:custGeom>
              <a:avLst/>
              <a:gdLst>
                <a:gd name="T0" fmla="*/ 146 w 146"/>
                <a:gd name="T1" fmla="*/ 0 h 239"/>
                <a:gd name="T2" fmla="*/ 127 w 146"/>
                <a:gd name="T3" fmla="*/ 16 h 239"/>
                <a:gd name="T4" fmla="*/ 63 w 146"/>
                <a:gd name="T5" fmla="*/ 28 h 239"/>
                <a:gd name="T6" fmla="*/ 7 w 146"/>
                <a:gd name="T7" fmla="*/ 12 h 239"/>
                <a:gd name="T8" fmla="*/ 2 w 146"/>
                <a:gd name="T9" fmla="*/ 19 h 239"/>
                <a:gd name="T10" fmla="*/ 21 w 146"/>
                <a:gd name="T11" fmla="*/ 42 h 239"/>
                <a:gd name="T12" fmla="*/ 41 w 146"/>
                <a:gd name="T13" fmla="*/ 94 h 239"/>
                <a:gd name="T14" fmla="*/ 47 w 146"/>
                <a:gd name="T15" fmla="*/ 218 h 239"/>
                <a:gd name="T16" fmla="*/ 58 w 146"/>
                <a:gd name="T17" fmla="*/ 239 h 239"/>
                <a:gd name="T18" fmla="*/ 92 w 146"/>
                <a:gd name="T19" fmla="*/ 127 h 239"/>
                <a:gd name="T20" fmla="*/ 86 w 146"/>
                <a:gd name="T21" fmla="*/ 107 h 239"/>
                <a:gd name="T22" fmla="*/ 84 w 146"/>
                <a:gd name="T23" fmla="*/ 82 h 239"/>
                <a:gd name="T24" fmla="*/ 98 w 146"/>
                <a:gd name="T25" fmla="*/ 54 h 239"/>
                <a:gd name="T26" fmla="*/ 146 w 146"/>
                <a:gd name="T27" fmla="*/ 1 h 239"/>
                <a:gd name="T28" fmla="*/ 146 w 146"/>
                <a:gd name="T29"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9">
                  <a:moveTo>
                    <a:pt x="146" y="0"/>
                  </a:moveTo>
                  <a:cubicBezTo>
                    <a:pt x="127" y="16"/>
                    <a:pt x="127" y="16"/>
                    <a:pt x="127" y="16"/>
                  </a:cubicBezTo>
                  <a:cubicBezTo>
                    <a:pt x="108" y="29"/>
                    <a:pt x="85" y="34"/>
                    <a:pt x="63" y="28"/>
                  </a:cubicBezTo>
                  <a:cubicBezTo>
                    <a:pt x="7" y="12"/>
                    <a:pt x="7" y="12"/>
                    <a:pt x="7" y="12"/>
                  </a:cubicBezTo>
                  <a:cubicBezTo>
                    <a:pt x="3" y="11"/>
                    <a:pt x="0" y="16"/>
                    <a:pt x="2" y="19"/>
                  </a:cubicBezTo>
                  <a:cubicBezTo>
                    <a:pt x="21" y="42"/>
                    <a:pt x="21" y="42"/>
                    <a:pt x="21" y="42"/>
                  </a:cubicBezTo>
                  <a:cubicBezTo>
                    <a:pt x="33" y="56"/>
                    <a:pt x="40" y="75"/>
                    <a:pt x="41" y="94"/>
                  </a:cubicBezTo>
                  <a:cubicBezTo>
                    <a:pt x="47" y="218"/>
                    <a:pt x="47" y="218"/>
                    <a:pt x="47" y="218"/>
                  </a:cubicBezTo>
                  <a:cubicBezTo>
                    <a:pt x="58" y="239"/>
                    <a:pt x="58" y="239"/>
                    <a:pt x="58" y="239"/>
                  </a:cubicBezTo>
                  <a:cubicBezTo>
                    <a:pt x="92" y="127"/>
                    <a:pt x="92" y="127"/>
                    <a:pt x="92" y="127"/>
                  </a:cubicBezTo>
                  <a:cubicBezTo>
                    <a:pt x="86" y="107"/>
                    <a:pt x="86" y="107"/>
                    <a:pt x="86" y="107"/>
                  </a:cubicBezTo>
                  <a:cubicBezTo>
                    <a:pt x="84" y="82"/>
                    <a:pt x="84" y="82"/>
                    <a:pt x="84" y="82"/>
                  </a:cubicBezTo>
                  <a:cubicBezTo>
                    <a:pt x="83" y="71"/>
                    <a:pt x="89" y="60"/>
                    <a:pt x="98" y="54"/>
                  </a:cubicBezTo>
                  <a:cubicBezTo>
                    <a:pt x="119" y="42"/>
                    <a:pt x="136" y="23"/>
                    <a:pt x="146" y="1"/>
                  </a:cubicBezTo>
                  <a:lnTo>
                    <a:pt x="146" y="0"/>
                  </a:lnTo>
                  <a:close/>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45" name="Oval 269">
              <a:extLst>
                <a:ext uri="{FF2B5EF4-FFF2-40B4-BE49-F238E27FC236}">
                  <a16:creationId xmlns:a16="http://schemas.microsoft.com/office/drawing/2014/main" id="{19D87CC4-1148-4548-A130-2C298E8F6E5C}"/>
                </a:ext>
              </a:extLst>
            </p:cNvPr>
            <p:cNvSpPr>
              <a:spLocks noChangeArrowheads="1"/>
            </p:cNvSpPr>
            <p:nvPr/>
          </p:nvSpPr>
          <p:spPr bwMode="auto">
            <a:xfrm>
              <a:off x="3984242" y="1166346"/>
              <a:ext cx="2546" cy="2546"/>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46" name="Oval 270">
              <a:extLst>
                <a:ext uri="{FF2B5EF4-FFF2-40B4-BE49-F238E27FC236}">
                  <a16:creationId xmlns:a16="http://schemas.microsoft.com/office/drawing/2014/main" id="{296C8E2F-6142-49DE-B67C-682D911AEBD8}"/>
                </a:ext>
              </a:extLst>
            </p:cNvPr>
            <p:cNvSpPr>
              <a:spLocks noChangeArrowheads="1"/>
            </p:cNvSpPr>
            <p:nvPr/>
          </p:nvSpPr>
          <p:spPr bwMode="auto">
            <a:xfrm>
              <a:off x="3995955" y="1164309"/>
              <a:ext cx="2546" cy="2546"/>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47" name="Freeform 271">
              <a:extLst>
                <a:ext uri="{FF2B5EF4-FFF2-40B4-BE49-F238E27FC236}">
                  <a16:creationId xmlns:a16="http://schemas.microsoft.com/office/drawing/2014/main" id="{AD744F73-087C-497D-B7B2-C3FF82DFE439}"/>
                </a:ext>
              </a:extLst>
            </p:cNvPr>
            <p:cNvSpPr>
              <a:spLocks/>
            </p:cNvSpPr>
            <p:nvPr/>
          </p:nvSpPr>
          <p:spPr bwMode="auto">
            <a:xfrm>
              <a:off x="3988061" y="1173985"/>
              <a:ext cx="1783" cy="2546"/>
            </a:xfrm>
            <a:custGeom>
              <a:avLst/>
              <a:gdLst>
                <a:gd name="T0" fmla="*/ 17 w 17"/>
                <a:gd name="T1" fmla="*/ 0 h 24"/>
                <a:gd name="T2" fmla="*/ 12 w 17"/>
                <a:gd name="T3" fmla="*/ 24 h 24"/>
                <a:gd name="T4" fmla="*/ 17 w 17"/>
                <a:gd name="T5" fmla="*/ 0 h 24"/>
              </a:gdLst>
              <a:ahLst/>
              <a:cxnLst>
                <a:cxn ang="0">
                  <a:pos x="T0" y="T1"/>
                </a:cxn>
                <a:cxn ang="0">
                  <a:pos x="T2" y="T3"/>
                </a:cxn>
                <a:cxn ang="0">
                  <a:pos x="T4" y="T5"/>
                </a:cxn>
              </a:cxnLst>
              <a:rect l="0" t="0" r="r" b="b"/>
              <a:pathLst>
                <a:path w="17" h="24">
                  <a:moveTo>
                    <a:pt x="17" y="0"/>
                  </a:moveTo>
                  <a:cubicBezTo>
                    <a:pt x="12" y="24"/>
                    <a:pt x="12" y="24"/>
                    <a:pt x="12" y="24"/>
                  </a:cubicBezTo>
                  <a:cubicBezTo>
                    <a:pt x="12" y="24"/>
                    <a:pt x="0" y="6"/>
                    <a:pt x="17" y="0"/>
                  </a:cubicBezTo>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48" name="Freeform 272">
              <a:extLst>
                <a:ext uri="{FF2B5EF4-FFF2-40B4-BE49-F238E27FC236}">
                  <a16:creationId xmlns:a16="http://schemas.microsoft.com/office/drawing/2014/main" id="{4C58E659-6F5E-44FE-A79E-978C530511B9}"/>
                </a:ext>
              </a:extLst>
            </p:cNvPr>
            <p:cNvSpPr>
              <a:spLocks/>
            </p:cNvSpPr>
            <p:nvPr/>
          </p:nvSpPr>
          <p:spPr bwMode="auto">
            <a:xfrm>
              <a:off x="3981695" y="1194186"/>
              <a:ext cx="6790" cy="6960"/>
            </a:xfrm>
            <a:custGeom>
              <a:avLst/>
              <a:gdLst>
                <a:gd name="T0" fmla="*/ 38 w 80"/>
                <a:gd name="T1" fmla="*/ 0 h 82"/>
                <a:gd name="T2" fmla="*/ 0 w 80"/>
                <a:gd name="T3" fmla="*/ 61 h 82"/>
                <a:gd name="T4" fmla="*/ 80 w 80"/>
                <a:gd name="T5" fmla="*/ 82 h 82"/>
                <a:gd name="T6" fmla="*/ 38 w 80"/>
                <a:gd name="T7" fmla="*/ 0 h 82"/>
              </a:gdLst>
              <a:ahLst/>
              <a:cxnLst>
                <a:cxn ang="0">
                  <a:pos x="T0" y="T1"/>
                </a:cxn>
                <a:cxn ang="0">
                  <a:pos x="T2" y="T3"/>
                </a:cxn>
                <a:cxn ang="0">
                  <a:pos x="T4" y="T5"/>
                </a:cxn>
                <a:cxn ang="0">
                  <a:pos x="T6" y="T7"/>
                </a:cxn>
              </a:cxnLst>
              <a:rect l="0" t="0" r="r" b="b"/>
              <a:pathLst>
                <a:path w="80" h="82">
                  <a:moveTo>
                    <a:pt x="38" y="0"/>
                  </a:moveTo>
                  <a:lnTo>
                    <a:pt x="0" y="61"/>
                  </a:lnTo>
                  <a:lnTo>
                    <a:pt x="80" y="82"/>
                  </a:lnTo>
                  <a:lnTo>
                    <a:pt x="38" y="0"/>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49" name="Freeform 273">
              <a:extLst>
                <a:ext uri="{FF2B5EF4-FFF2-40B4-BE49-F238E27FC236}">
                  <a16:creationId xmlns:a16="http://schemas.microsoft.com/office/drawing/2014/main" id="{3C86CAF2-DD4C-4E0A-8506-6CEA7D0CFFDF}"/>
                </a:ext>
              </a:extLst>
            </p:cNvPr>
            <p:cNvSpPr>
              <a:spLocks/>
            </p:cNvSpPr>
            <p:nvPr/>
          </p:nvSpPr>
          <p:spPr bwMode="auto">
            <a:xfrm>
              <a:off x="3990268" y="1197497"/>
              <a:ext cx="7045" cy="34376"/>
            </a:xfrm>
            <a:custGeom>
              <a:avLst/>
              <a:gdLst>
                <a:gd name="T0" fmla="*/ 2 w 67"/>
                <a:gd name="T1" fmla="*/ 324 h 324"/>
                <a:gd name="T2" fmla="*/ 66 w 67"/>
                <a:gd name="T3" fmla="*/ 174 h 324"/>
                <a:gd name="T4" fmla="*/ 39 w 67"/>
                <a:gd name="T5" fmla="*/ 0 h 324"/>
                <a:gd name="T6" fmla="*/ 32 w 67"/>
                <a:gd name="T7" fmla="*/ 16 h 324"/>
                <a:gd name="T8" fmla="*/ 51 w 67"/>
                <a:gd name="T9" fmla="*/ 94 h 324"/>
                <a:gd name="T10" fmla="*/ 50 w 67"/>
                <a:gd name="T11" fmla="*/ 158 h 324"/>
                <a:gd name="T12" fmla="*/ 49 w 67"/>
                <a:gd name="T13" fmla="*/ 163 h 324"/>
                <a:gd name="T14" fmla="*/ 0 w 67"/>
                <a:gd name="T15" fmla="*/ 236 h 324"/>
                <a:gd name="T16" fmla="*/ 2 w 67"/>
                <a:gd name="T17"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324">
                  <a:moveTo>
                    <a:pt x="2" y="324"/>
                  </a:moveTo>
                  <a:cubicBezTo>
                    <a:pt x="2" y="324"/>
                    <a:pt x="65" y="255"/>
                    <a:pt x="66" y="174"/>
                  </a:cubicBezTo>
                  <a:cubicBezTo>
                    <a:pt x="67" y="94"/>
                    <a:pt x="39" y="0"/>
                    <a:pt x="39" y="0"/>
                  </a:cubicBezTo>
                  <a:cubicBezTo>
                    <a:pt x="32" y="16"/>
                    <a:pt x="32" y="16"/>
                    <a:pt x="32" y="16"/>
                  </a:cubicBezTo>
                  <a:cubicBezTo>
                    <a:pt x="51" y="94"/>
                    <a:pt x="51" y="94"/>
                    <a:pt x="51" y="94"/>
                  </a:cubicBezTo>
                  <a:cubicBezTo>
                    <a:pt x="56" y="115"/>
                    <a:pt x="55" y="137"/>
                    <a:pt x="50" y="158"/>
                  </a:cubicBezTo>
                  <a:cubicBezTo>
                    <a:pt x="49" y="163"/>
                    <a:pt x="49" y="163"/>
                    <a:pt x="49" y="163"/>
                  </a:cubicBezTo>
                  <a:cubicBezTo>
                    <a:pt x="41" y="192"/>
                    <a:pt x="24" y="218"/>
                    <a:pt x="0" y="236"/>
                  </a:cubicBezTo>
                  <a:cubicBezTo>
                    <a:pt x="4" y="284"/>
                    <a:pt x="2" y="324"/>
                    <a:pt x="2" y="324"/>
                  </a:cubicBez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50" name="Freeform 274">
              <a:extLst>
                <a:ext uri="{FF2B5EF4-FFF2-40B4-BE49-F238E27FC236}">
                  <a16:creationId xmlns:a16="http://schemas.microsoft.com/office/drawing/2014/main" id="{BD5798C2-91DA-4396-8636-D9AAB139672C}"/>
                </a:ext>
              </a:extLst>
            </p:cNvPr>
            <p:cNvSpPr>
              <a:spLocks/>
            </p:cNvSpPr>
            <p:nvPr/>
          </p:nvSpPr>
          <p:spPr bwMode="auto">
            <a:xfrm>
              <a:off x="3994767" y="1191301"/>
              <a:ext cx="2716" cy="6621"/>
            </a:xfrm>
            <a:custGeom>
              <a:avLst/>
              <a:gdLst>
                <a:gd name="T0" fmla="*/ 29 w 32"/>
                <a:gd name="T1" fmla="*/ 0 h 78"/>
                <a:gd name="T2" fmla="*/ 32 w 32"/>
                <a:gd name="T3" fmla="*/ 78 h 78"/>
                <a:gd name="T4" fmla="*/ 0 w 32"/>
                <a:gd name="T5" fmla="*/ 59 h 78"/>
                <a:gd name="T6" fmla="*/ 29 w 32"/>
                <a:gd name="T7" fmla="*/ 0 h 78"/>
              </a:gdLst>
              <a:ahLst/>
              <a:cxnLst>
                <a:cxn ang="0">
                  <a:pos x="T0" y="T1"/>
                </a:cxn>
                <a:cxn ang="0">
                  <a:pos x="T2" y="T3"/>
                </a:cxn>
                <a:cxn ang="0">
                  <a:pos x="T4" y="T5"/>
                </a:cxn>
                <a:cxn ang="0">
                  <a:pos x="T6" y="T7"/>
                </a:cxn>
              </a:cxnLst>
              <a:rect l="0" t="0" r="r" b="b"/>
              <a:pathLst>
                <a:path w="32" h="78">
                  <a:moveTo>
                    <a:pt x="29" y="0"/>
                  </a:moveTo>
                  <a:lnTo>
                    <a:pt x="32" y="78"/>
                  </a:lnTo>
                  <a:lnTo>
                    <a:pt x="0" y="59"/>
                  </a:lnTo>
                  <a:lnTo>
                    <a:pt x="29" y="0"/>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51" name="Freeform 275">
              <a:extLst>
                <a:ext uri="{FF2B5EF4-FFF2-40B4-BE49-F238E27FC236}">
                  <a16:creationId xmlns:a16="http://schemas.microsoft.com/office/drawing/2014/main" id="{38159130-9045-49BB-A11D-DF2B41BDEA21}"/>
                </a:ext>
              </a:extLst>
            </p:cNvPr>
            <p:cNvSpPr>
              <a:spLocks/>
            </p:cNvSpPr>
            <p:nvPr/>
          </p:nvSpPr>
          <p:spPr bwMode="auto">
            <a:xfrm>
              <a:off x="3962513" y="1240615"/>
              <a:ext cx="22408" cy="10101"/>
            </a:xfrm>
            <a:custGeom>
              <a:avLst/>
              <a:gdLst>
                <a:gd name="T0" fmla="*/ 188 w 212"/>
                <a:gd name="T1" fmla="*/ 18 h 95"/>
                <a:gd name="T2" fmla="*/ 129 w 212"/>
                <a:gd name="T3" fmla="*/ 1 h 95"/>
                <a:gd name="T4" fmla="*/ 122 w 212"/>
                <a:gd name="T5" fmla="*/ 0 h 95"/>
                <a:gd name="T6" fmla="*/ 44 w 212"/>
                <a:gd name="T7" fmla="*/ 8 h 95"/>
                <a:gd name="T8" fmla="*/ 41 w 212"/>
                <a:gd name="T9" fmla="*/ 4 h 95"/>
                <a:gd name="T10" fmla="*/ 40 w 212"/>
                <a:gd name="T11" fmla="*/ 8 h 95"/>
                <a:gd name="T12" fmla="*/ 0 w 212"/>
                <a:gd name="T13" fmla="*/ 48 h 95"/>
                <a:gd name="T14" fmla="*/ 14 w 212"/>
                <a:gd name="T15" fmla="*/ 63 h 95"/>
                <a:gd name="T16" fmla="*/ 83 w 212"/>
                <a:gd name="T17" fmla="*/ 69 h 95"/>
                <a:gd name="T18" fmla="*/ 100 w 212"/>
                <a:gd name="T19" fmla="*/ 56 h 95"/>
                <a:gd name="T20" fmla="*/ 123 w 212"/>
                <a:gd name="T21" fmla="*/ 65 h 95"/>
                <a:gd name="T22" fmla="*/ 131 w 212"/>
                <a:gd name="T23" fmla="*/ 85 h 95"/>
                <a:gd name="T24" fmla="*/ 147 w 212"/>
                <a:gd name="T25" fmla="*/ 95 h 95"/>
                <a:gd name="T26" fmla="*/ 153 w 212"/>
                <a:gd name="T27" fmla="*/ 94 h 95"/>
                <a:gd name="T28" fmla="*/ 144 w 212"/>
                <a:gd name="T29" fmla="*/ 55 h 95"/>
                <a:gd name="T30" fmla="*/ 123 w 212"/>
                <a:gd name="T31" fmla="*/ 44 h 95"/>
                <a:gd name="T32" fmla="*/ 151 w 212"/>
                <a:gd name="T33" fmla="*/ 50 h 95"/>
                <a:gd name="T34" fmla="*/ 165 w 212"/>
                <a:gd name="T35" fmla="*/ 70 h 95"/>
                <a:gd name="T36" fmla="*/ 186 w 212"/>
                <a:gd name="T37" fmla="*/ 77 h 95"/>
                <a:gd name="T38" fmla="*/ 192 w 212"/>
                <a:gd name="T39" fmla="*/ 75 h 95"/>
                <a:gd name="T40" fmla="*/ 180 w 212"/>
                <a:gd name="T41" fmla="*/ 50 h 95"/>
                <a:gd name="T42" fmla="*/ 185 w 212"/>
                <a:gd name="T43" fmla="*/ 55 h 95"/>
                <a:gd name="T44" fmla="*/ 207 w 212"/>
                <a:gd name="T45" fmla="*/ 60 h 95"/>
                <a:gd name="T46" fmla="*/ 212 w 212"/>
                <a:gd name="T47" fmla="*/ 58 h 95"/>
                <a:gd name="T48" fmla="*/ 188 w 212"/>
                <a:gd name="T49"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2" h="95">
                  <a:moveTo>
                    <a:pt x="188" y="18"/>
                  </a:moveTo>
                  <a:cubicBezTo>
                    <a:pt x="129" y="1"/>
                    <a:pt x="129" y="1"/>
                    <a:pt x="129" y="1"/>
                  </a:cubicBezTo>
                  <a:cubicBezTo>
                    <a:pt x="127" y="0"/>
                    <a:pt x="124" y="0"/>
                    <a:pt x="122" y="0"/>
                  </a:cubicBezTo>
                  <a:cubicBezTo>
                    <a:pt x="122" y="0"/>
                    <a:pt x="57" y="9"/>
                    <a:pt x="44" y="8"/>
                  </a:cubicBezTo>
                  <a:cubicBezTo>
                    <a:pt x="41" y="4"/>
                    <a:pt x="41" y="4"/>
                    <a:pt x="41" y="4"/>
                  </a:cubicBezTo>
                  <a:cubicBezTo>
                    <a:pt x="40" y="8"/>
                    <a:pt x="40" y="8"/>
                    <a:pt x="40" y="8"/>
                  </a:cubicBezTo>
                  <a:cubicBezTo>
                    <a:pt x="32" y="22"/>
                    <a:pt x="18" y="40"/>
                    <a:pt x="0" y="48"/>
                  </a:cubicBezTo>
                  <a:cubicBezTo>
                    <a:pt x="14" y="63"/>
                    <a:pt x="14" y="63"/>
                    <a:pt x="14" y="63"/>
                  </a:cubicBezTo>
                  <a:cubicBezTo>
                    <a:pt x="32" y="82"/>
                    <a:pt x="62" y="84"/>
                    <a:pt x="83" y="69"/>
                  </a:cubicBezTo>
                  <a:cubicBezTo>
                    <a:pt x="100" y="56"/>
                    <a:pt x="100" y="56"/>
                    <a:pt x="100" y="56"/>
                  </a:cubicBezTo>
                  <a:cubicBezTo>
                    <a:pt x="123" y="65"/>
                    <a:pt x="123" y="65"/>
                    <a:pt x="123" y="65"/>
                  </a:cubicBezTo>
                  <a:cubicBezTo>
                    <a:pt x="131" y="85"/>
                    <a:pt x="131" y="85"/>
                    <a:pt x="131" y="85"/>
                  </a:cubicBezTo>
                  <a:cubicBezTo>
                    <a:pt x="133" y="91"/>
                    <a:pt x="140" y="95"/>
                    <a:pt x="147" y="95"/>
                  </a:cubicBezTo>
                  <a:cubicBezTo>
                    <a:pt x="153" y="94"/>
                    <a:pt x="153" y="94"/>
                    <a:pt x="153" y="94"/>
                  </a:cubicBezTo>
                  <a:cubicBezTo>
                    <a:pt x="144" y="55"/>
                    <a:pt x="144" y="55"/>
                    <a:pt x="144" y="55"/>
                  </a:cubicBezTo>
                  <a:cubicBezTo>
                    <a:pt x="123" y="44"/>
                    <a:pt x="123" y="44"/>
                    <a:pt x="123" y="44"/>
                  </a:cubicBezTo>
                  <a:cubicBezTo>
                    <a:pt x="151" y="50"/>
                    <a:pt x="151" y="50"/>
                    <a:pt x="151" y="50"/>
                  </a:cubicBezTo>
                  <a:cubicBezTo>
                    <a:pt x="165" y="70"/>
                    <a:pt x="165" y="70"/>
                    <a:pt x="165" y="70"/>
                  </a:cubicBezTo>
                  <a:cubicBezTo>
                    <a:pt x="169" y="77"/>
                    <a:pt x="178" y="80"/>
                    <a:pt x="186" y="77"/>
                  </a:cubicBezTo>
                  <a:cubicBezTo>
                    <a:pt x="192" y="75"/>
                    <a:pt x="192" y="75"/>
                    <a:pt x="192" y="75"/>
                  </a:cubicBezTo>
                  <a:cubicBezTo>
                    <a:pt x="180" y="50"/>
                    <a:pt x="180" y="50"/>
                    <a:pt x="180" y="50"/>
                  </a:cubicBezTo>
                  <a:cubicBezTo>
                    <a:pt x="185" y="55"/>
                    <a:pt x="185" y="55"/>
                    <a:pt x="185" y="55"/>
                  </a:cubicBezTo>
                  <a:cubicBezTo>
                    <a:pt x="190" y="61"/>
                    <a:pt x="199" y="63"/>
                    <a:pt x="207" y="60"/>
                  </a:cubicBezTo>
                  <a:cubicBezTo>
                    <a:pt x="212" y="58"/>
                    <a:pt x="212" y="58"/>
                    <a:pt x="212" y="58"/>
                  </a:cubicBezTo>
                  <a:lnTo>
                    <a:pt x="188" y="18"/>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52" name="Freeform 276">
              <a:extLst>
                <a:ext uri="{FF2B5EF4-FFF2-40B4-BE49-F238E27FC236}">
                  <a16:creationId xmlns:a16="http://schemas.microsoft.com/office/drawing/2014/main" id="{5023E1B4-DFCB-4F81-B61E-212F4C34CB05}"/>
                </a:ext>
              </a:extLst>
            </p:cNvPr>
            <p:cNvSpPr>
              <a:spLocks noEditPoints="1"/>
            </p:cNvSpPr>
            <p:nvPr/>
          </p:nvSpPr>
          <p:spPr bwMode="auto">
            <a:xfrm>
              <a:off x="3966502" y="1151323"/>
              <a:ext cx="33357" cy="34121"/>
            </a:xfrm>
            <a:custGeom>
              <a:avLst/>
              <a:gdLst>
                <a:gd name="T0" fmla="*/ 166 w 315"/>
                <a:gd name="T1" fmla="*/ 7 h 321"/>
                <a:gd name="T2" fmla="*/ 98 w 315"/>
                <a:gd name="T3" fmla="*/ 30 h 321"/>
                <a:gd name="T4" fmla="*/ 55 w 315"/>
                <a:gd name="T5" fmla="*/ 11 h 321"/>
                <a:gd name="T6" fmla="*/ 0 w 315"/>
                <a:gd name="T7" fmla="*/ 66 h 321"/>
                <a:gd name="T8" fmla="*/ 45 w 315"/>
                <a:gd name="T9" fmla="*/ 120 h 321"/>
                <a:gd name="T10" fmla="*/ 41 w 315"/>
                <a:gd name="T11" fmla="*/ 148 h 321"/>
                <a:gd name="T12" fmla="*/ 127 w 315"/>
                <a:gd name="T13" fmla="*/ 321 h 321"/>
                <a:gd name="T14" fmla="*/ 103 w 315"/>
                <a:gd name="T15" fmla="*/ 225 h 321"/>
                <a:gd name="T16" fmla="*/ 108 w 315"/>
                <a:gd name="T17" fmla="*/ 216 h 321"/>
                <a:gd name="T18" fmla="*/ 116 w 315"/>
                <a:gd name="T19" fmla="*/ 290 h 321"/>
                <a:gd name="T20" fmla="*/ 124 w 315"/>
                <a:gd name="T21" fmla="*/ 130 h 321"/>
                <a:gd name="T22" fmla="*/ 128 w 315"/>
                <a:gd name="T23" fmla="*/ 82 h 321"/>
                <a:gd name="T24" fmla="*/ 254 w 315"/>
                <a:gd name="T25" fmla="*/ 66 h 321"/>
                <a:gd name="T26" fmla="*/ 315 w 315"/>
                <a:gd name="T27" fmla="*/ 104 h 321"/>
                <a:gd name="T28" fmla="*/ 166 w 315"/>
                <a:gd name="T29" fmla="*/ 7 h 321"/>
                <a:gd name="T30" fmla="*/ 85 w 315"/>
                <a:gd name="T31" fmla="*/ 225 h 321"/>
                <a:gd name="T32" fmla="*/ 89 w 315"/>
                <a:gd name="T33" fmla="*/ 157 h 321"/>
                <a:gd name="T34" fmla="*/ 85 w 315"/>
                <a:gd name="T35" fmla="*/ 22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321">
                  <a:moveTo>
                    <a:pt x="166" y="7"/>
                  </a:moveTo>
                  <a:cubicBezTo>
                    <a:pt x="138" y="9"/>
                    <a:pt x="116" y="17"/>
                    <a:pt x="98" y="30"/>
                  </a:cubicBezTo>
                  <a:cubicBezTo>
                    <a:pt x="87" y="19"/>
                    <a:pt x="72" y="11"/>
                    <a:pt x="55" y="11"/>
                  </a:cubicBezTo>
                  <a:cubicBezTo>
                    <a:pt x="25" y="11"/>
                    <a:pt x="0" y="36"/>
                    <a:pt x="0" y="66"/>
                  </a:cubicBezTo>
                  <a:cubicBezTo>
                    <a:pt x="0" y="93"/>
                    <a:pt x="19" y="115"/>
                    <a:pt x="45" y="120"/>
                  </a:cubicBezTo>
                  <a:cubicBezTo>
                    <a:pt x="43" y="129"/>
                    <a:pt x="42" y="139"/>
                    <a:pt x="41" y="148"/>
                  </a:cubicBezTo>
                  <a:cubicBezTo>
                    <a:pt x="31" y="271"/>
                    <a:pt x="127" y="321"/>
                    <a:pt x="127" y="321"/>
                  </a:cubicBezTo>
                  <a:cubicBezTo>
                    <a:pt x="127" y="321"/>
                    <a:pt x="76" y="278"/>
                    <a:pt x="103" y="225"/>
                  </a:cubicBezTo>
                  <a:cubicBezTo>
                    <a:pt x="105" y="222"/>
                    <a:pt x="106" y="219"/>
                    <a:pt x="108" y="216"/>
                  </a:cubicBezTo>
                  <a:cubicBezTo>
                    <a:pt x="111" y="247"/>
                    <a:pt x="114" y="277"/>
                    <a:pt x="116" y="290"/>
                  </a:cubicBezTo>
                  <a:cubicBezTo>
                    <a:pt x="146" y="230"/>
                    <a:pt x="132" y="161"/>
                    <a:pt x="124" y="130"/>
                  </a:cubicBezTo>
                  <a:cubicBezTo>
                    <a:pt x="124" y="115"/>
                    <a:pt x="123" y="100"/>
                    <a:pt x="128" y="82"/>
                  </a:cubicBezTo>
                  <a:cubicBezTo>
                    <a:pt x="140" y="31"/>
                    <a:pt x="226" y="34"/>
                    <a:pt x="254" y="66"/>
                  </a:cubicBezTo>
                  <a:cubicBezTo>
                    <a:pt x="276" y="91"/>
                    <a:pt x="284" y="96"/>
                    <a:pt x="315" y="104"/>
                  </a:cubicBezTo>
                  <a:cubicBezTo>
                    <a:pt x="296" y="28"/>
                    <a:pt x="248" y="0"/>
                    <a:pt x="166" y="7"/>
                  </a:cubicBezTo>
                  <a:moveTo>
                    <a:pt x="85" y="225"/>
                  </a:moveTo>
                  <a:cubicBezTo>
                    <a:pt x="48" y="210"/>
                    <a:pt x="59" y="155"/>
                    <a:pt x="89" y="157"/>
                  </a:cubicBezTo>
                  <a:cubicBezTo>
                    <a:pt x="95" y="187"/>
                    <a:pt x="85" y="225"/>
                    <a:pt x="85" y="225"/>
                  </a:cubicBezTo>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53" name="Freeform 277">
              <a:extLst>
                <a:ext uri="{FF2B5EF4-FFF2-40B4-BE49-F238E27FC236}">
                  <a16:creationId xmlns:a16="http://schemas.microsoft.com/office/drawing/2014/main" id="{923FCD27-80A7-49A1-A3D2-D22B8C342D4F}"/>
                </a:ext>
              </a:extLst>
            </p:cNvPr>
            <p:cNvSpPr>
              <a:spLocks noEditPoints="1"/>
            </p:cNvSpPr>
            <p:nvPr/>
          </p:nvSpPr>
          <p:spPr bwMode="auto">
            <a:xfrm>
              <a:off x="3972528" y="1174749"/>
              <a:ext cx="5772" cy="5687"/>
            </a:xfrm>
            <a:custGeom>
              <a:avLst/>
              <a:gdLst>
                <a:gd name="T0" fmla="*/ 34 w 68"/>
                <a:gd name="T1" fmla="*/ 0 h 67"/>
                <a:gd name="T2" fmla="*/ 0 w 68"/>
                <a:gd name="T3" fmla="*/ 34 h 67"/>
                <a:gd name="T4" fmla="*/ 34 w 68"/>
                <a:gd name="T5" fmla="*/ 67 h 67"/>
                <a:gd name="T6" fmla="*/ 68 w 68"/>
                <a:gd name="T7" fmla="*/ 34 h 67"/>
                <a:gd name="T8" fmla="*/ 34 w 68"/>
                <a:gd name="T9" fmla="*/ 0 h 67"/>
                <a:gd name="T10" fmla="*/ 18 w 68"/>
                <a:gd name="T11" fmla="*/ 34 h 67"/>
                <a:gd name="T12" fmla="*/ 34 w 68"/>
                <a:gd name="T13" fmla="*/ 19 h 67"/>
                <a:gd name="T14" fmla="*/ 50 w 68"/>
                <a:gd name="T15" fmla="*/ 34 h 67"/>
                <a:gd name="T16" fmla="*/ 34 w 68"/>
                <a:gd name="T17" fmla="*/ 50 h 67"/>
                <a:gd name="T18" fmla="*/ 18 w 68"/>
                <a:gd name="T19" fmla="*/ 3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34" y="0"/>
                  </a:moveTo>
                  <a:lnTo>
                    <a:pt x="0" y="34"/>
                  </a:lnTo>
                  <a:lnTo>
                    <a:pt x="34" y="67"/>
                  </a:lnTo>
                  <a:lnTo>
                    <a:pt x="68" y="34"/>
                  </a:lnTo>
                  <a:lnTo>
                    <a:pt x="34" y="0"/>
                  </a:lnTo>
                  <a:close/>
                  <a:moveTo>
                    <a:pt x="18" y="34"/>
                  </a:moveTo>
                  <a:lnTo>
                    <a:pt x="34" y="19"/>
                  </a:lnTo>
                  <a:lnTo>
                    <a:pt x="50" y="34"/>
                  </a:lnTo>
                  <a:lnTo>
                    <a:pt x="34" y="50"/>
                  </a:lnTo>
                  <a:lnTo>
                    <a:pt x="18" y="34"/>
                  </a:lnTo>
                  <a:close/>
                </a:path>
              </a:pathLst>
            </a:custGeom>
            <a:solidFill>
              <a:srgbClr val="F5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54" name="Freeform 278">
              <a:extLst>
                <a:ext uri="{FF2B5EF4-FFF2-40B4-BE49-F238E27FC236}">
                  <a16:creationId xmlns:a16="http://schemas.microsoft.com/office/drawing/2014/main" id="{3FF6CD0A-D1A4-440B-B060-949AD8DD7738}"/>
                </a:ext>
              </a:extLst>
            </p:cNvPr>
            <p:cNvSpPr>
              <a:spLocks/>
            </p:cNvSpPr>
            <p:nvPr/>
          </p:nvSpPr>
          <p:spPr bwMode="auto">
            <a:xfrm>
              <a:off x="3990777" y="1173561"/>
              <a:ext cx="8148" cy="3904"/>
            </a:xfrm>
            <a:custGeom>
              <a:avLst/>
              <a:gdLst>
                <a:gd name="T0" fmla="*/ 0 w 77"/>
                <a:gd name="T1" fmla="*/ 13 h 37"/>
                <a:gd name="T2" fmla="*/ 77 w 77"/>
                <a:gd name="T3" fmla="*/ 0 h 37"/>
                <a:gd name="T4" fmla="*/ 75 w 77"/>
                <a:gd name="T5" fmla="*/ 4 h 37"/>
                <a:gd name="T6" fmla="*/ 17 w 77"/>
                <a:gd name="T7" fmla="*/ 24 h 37"/>
                <a:gd name="T8" fmla="*/ 0 w 77"/>
                <a:gd name="T9" fmla="*/ 13 h 37"/>
              </a:gdLst>
              <a:ahLst/>
              <a:cxnLst>
                <a:cxn ang="0">
                  <a:pos x="T0" y="T1"/>
                </a:cxn>
                <a:cxn ang="0">
                  <a:pos x="T2" y="T3"/>
                </a:cxn>
                <a:cxn ang="0">
                  <a:pos x="T4" y="T5"/>
                </a:cxn>
                <a:cxn ang="0">
                  <a:pos x="T6" y="T7"/>
                </a:cxn>
                <a:cxn ang="0">
                  <a:pos x="T8" y="T9"/>
                </a:cxn>
              </a:cxnLst>
              <a:rect l="0" t="0" r="r" b="b"/>
              <a:pathLst>
                <a:path w="77" h="37">
                  <a:moveTo>
                    <a:pt x="0" y="13"/>
                  </a:moveTo>
                  <a:cubicBezTo>
                    <a:pt x="77" y="0"/>
                    <a:pt x="77" y="0"/>
                    <a:pt x="77" y="0"/>
                  </a:cubicBezTo>
                  <a:cubicBezTo>
                    <a:pt x="75" y="4"/>
                    <a:pt x="75" y="4"/>
                    <a:pt x="75" y="4"/>
                  </a:cubicBezTo>
                  <a:cubicBezTo>
                    <a:pt x="63" y="28"/>
                    <a:pt x="37" y="37"/>
                    <a:pt x="17" y="24"/>
                  </a:cubicBezTo>
                  <a:lnTo>
                    <a:pt x="0" y="13"/>
                  </a:lnTo>
                  <a:close/>
                </a:path>
              </a:pathLst>
            </a:custGeom>
            <a:solidFill>
              <a:srgbClr val="F5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55" name="Freeform 279">
              <a:extLst>
                <a:ext uri="{FF2B5EF4-FFF2-40B4-BE49-F238E27FC236}">
                  <a16:creationId xmlns:a16="http://schemas.microsoft.com/office/drawing/2014/main" id="{E32F67C2-77F1-4271-87D4-FEC01633898C}"/>
                </a:ext>
              </a:extLst>
            </p:cNvPr>
            <p:cNvSpPr>
              <a:spLocks noEditPoints="1"/>
            </p:cNvSpPr>
            <p:nvPr/>
          </p:nvSpPr>
          <p:spPr bwMode="auto">
            <a:xfrm>
              <a:off x="3974990" y="1162272"/>
              <a:ext cx="26482" cy="8573"/>
            </a:xfrm>
            <a:custGeom>
              <a:avLst/>
              <a:gdLst>
                <a:gd name="T0" fmla="*/ 249 w 250"/>
                <a:gd name="T1" fmla="*/ 30 h 80"/>
                <a:gd name="T2" fmla="*/ 246 w 250"/>
                <a:gd name="T3" fmla="*/ 14 h 80"/>
                <a:gd name="T4" fmla="*/ 240 w 250"/>
                <a:gd name="T5" fmla="*/ 3 h 80"/>
                <a:gd name="T6" fmla="*/ 227 w 250"/>
                <a:gd name="T7" fmla="*/ 0 h 80"/>
                <a:gd name="T8" fmla="*/ 180 w 250"/>
                <a:gd name="T9" fmla="*/ 8 h 80"/>
                <a:gd name="T10" fmla="*/ 175 w 250"/>
                <a:gd name="T11" fmla="*/ 11 h 80"/>
                <a:gd name="T12" fmla="*/ 169 w 250"/>
                <a:gd name="T13" fmla="*/ 9 h 80"/>
                <a:gd name="T14" fmla="*/ 141 w 250"/>
                <a:gd name="T15" fmla="*/ 12 h 80"/>
                <a:gd name="T16" fmla="*/ 135 w 250"/>
                <a:gd name="T17" fmla="*/ 17 h 80"/>
                <a:gd name="T18" fmla="*/ 130 w 250"/>
                <a:gd name="T19" fmla="*/ 17 h 80"/>
                <a:gd name="T20" fmla="*/ 70 w 250"/>
                <a:gd name="T21" fmla="*/ 26 h 80"/>
                <a:gd name="T22" fmla="*/ 3 w 250"/>
                <a:gd name="T23" fmla="*/ 54 h 80"/>
                <a:gd name="T24" fmla="*/ 0 w 250"/>
                <a:gd name="T25" fmla="*/ 59 h 80"/>
                <a:gd name="T26" fmla="*/ 4 w 250"/>
                <a:gd name="T27" fmla="*/ 61 h 80"/>
                <a:gd name="T28" fmla="*/ 5 w 250"/>
                <a:gd name="T29" fmla="*/ 61 h 80"/>
                <a:gd name="T30" fmla="*/ 56 w 250"/>
                <a:gd name="T31" fmla="*/ 41 h 80"/>
                <a:gd name="T32" fmla="*/ 56 w 250"/>
                <a:gd name="T33" fmla="*/ 45 h 80"/>
                <a:gd name="T34" fmla="*/ 59 w 250"/>
                <a:gd name="T35" fmla="*/ 62 h 80"/>
                <a:gd name="T36" fmla="*/ 81 w 250"/>
                <a:gd name="T37" fmla="*/ 80 h 80"/>
                <a:gd name="T38" fmla="*/ 84 w 250"/>
                <a:gd name="T39" fmla="*/ 80 h 80"/>
                <a:gd name="T40" fmla="*/ 127 w 250"/>
                <a:gd name="T41" fmla="*/ 73 h 80"/>
                <a:gd name="T42" fmla="*/ 141 w 250"/>
                <a:gd name="T43" fmla="*/ 64 h 80"/>
                <a:gd name="T44" fmla="*/ 145 w 250"/>
                <a:gd name="T45" fmla="*/ 48 h 80"/>
                <a:gd name="T46" fmla="*/ 142 w 250"/>
                <a:gd name="T47" fmla="*/ 25 h 80"/>
                <a:gd name="T48" fmla="*/ 141 w 250"/>
                <a:gd name="T49" fmla="*/ 22 h 80"/>
                <a:gd name="T50" fmla="*/ 146 w 250"/>
                <a:gd name="T51" fmla="*/ 18 h 80"/>
                <a:gd name="T52" fmla="*/ 167 w 250"/>
                <a:gd name="T53" fmla="*/ 16 h 80"/>
                <a:gd name="T54" fmla="*/ 171 w 250"/>
                <a:gd name="T55" fmla="*/ 17 h 80"/>
                <a:gd name="T56" fmla="*/ 171 w 250"/>
                <a:gd name="T57" fmla="*/ 19 h 80"/>
                <a:gd name="T58" fmla="*/ 175 w 250"/>
                <a:gd name="T59" fmla="*/ 43 h 80"/>
                <a:gd name="T60" fmla="*/ 175 w 250"/>
                <a:gd name="T61" fmla="*/ 43 h 80"/>
                <a:gd name="T62" fmla="*/ 186 w 250"/>
                <a:gd name="T63" fmla="*/ 49 h 80"/>
                <a:gd name="T64" fmla="*/ 183 w 250"/>
                <a:gd name="T65" fmla="*/ 41 h 80"/>
                <a:gd name="T66" fmla="*/ 179 w 250"/>
                <a:gd name="T67" fmla="*/ 18 h 80"/>
                <a:gd name="T68" fmla="*/ 179 w 250"/>
                <a:gd name="T69" fmla="*/ 17 h 80"/>
                <a:gd name="T70" fmla="*/ 181 w 250"/>
                <a:gd name="T71" fmla="*/ 16 h 80"/>
                <a:gd name="T72" fmla="*/ 229 w 250"/>
                <a:gd name="T73" fmla="*/ 8 h 80"/>
                <a:gd name="T74" fmla="*/ 230 w 250"/>
                <a:gd name="T75" fmla="*/ 8 h 80"/>
                <a:gd name="T76" fmla="*/ 235 w 250"/>
                <a:gd name="T77" fmla="*/ 9 h 80"/>
                <a:gd name="T78" fmla="*/ 239 w 250"/>
                <a:gd name="T79" fmla="*/ 15 h 80"/>
                <a:gd name="T80" fmla="*/ 241 w 250"/>
                <a:gd name="T81" fmla="*/ 32 h 80"/>
                <a:gd name="T82" fmla="*/ 239 w 250"/>
                <a:gd name="T83" fmla="*/ 42 h 80"/>
                <a:gd name="T84" fmla="*/ 229 w 250"/>
                <a:gd name="T85" fmla="*/ 48 h 80"/>
                <a:gd name="T86" fmla="*/ 199 w 250"/>
                <a:gd name="T87" fmla="*/ 53 h 80"/>
                <a:gd name="T88" fmla="*/ 195 w 250"/>
                <a:gd name="T89" fmla="*/ 53 h 80"/>
                <a:gd name="T90" fmla="*/ 207 w 250"/>
                <a:gd name="T91" fmla="*/ 60 h 80"/>
                <a:gd name="T92" fmla="*/ 231 w 250"/>
                <a:gd name="T93" fmla="*/ 56 h 80"/>
                <a:gd name="T94" fmla="*/ 245 w 250"/>
                <a:gd name="T95" fmla="*/ 47 h 80"/>
                <a:gd name="T96" fmla="*/ 249 w 250"/>
                <a:gd name="T97" fmla="*/ 30 h 80"/>
                <a:gd name="T98" fmla="*/ 135 w 250"/>
                <a:gd name="T99" fmla="*/ 60 h 80"/>
                <a:gd name="T100" fmla="*/ 126 w 250"/>
                <a:gd name="T101" fmla="*/ 66 h 80"/>
                <a:gd name="T102" fmla="*/ 83 w 250"/>
                <a:gd name="T103" fmla="*/ 72 h 80"/>
                <a:gd name="T104" fmla="*/ 66 w 250"/>
                <a:gd name="T105" fmla="*/ 60 h 80"/>
                <a:gd name="T106" fmla="*/ 64 w 250"/>
                <a:gd name="T107" fmla="*/ 44 h 80"/>
                <a:gd name="T108" fmla="*/ 71 w 250"/>
                <a:gd name="T109" fmla="*/ 34 h 80"/>
                <a:gd name="T110" fmla="*/ 132 w 250"/>
                <a:gd name="T111" fmla="*/ 24 h 80"/>
                <a:gd name="T112" fmla="*/ 132 w 250"/>
                <a:gd name="T113" fmla="*/ 24 h 80"/>
                <a:gd name="T114" fmla="*/ 134 w 250"/>
                <a:gd name="T115" fmla="*/ 26 h 80"/>
                <a:gd name="T116" fmla="*/ 138 w 250"/>
                <a:gd name="T117" fmla="*/ 49 h 80"/>
                <a:gd name="T118" fmla="*/ 135 w 250"/>
                <a:gd name="T119" fmla="*/ 6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0" h="80">
                  <a:moveTo>
                    <a:pt x="249" y="30"/>
                  </a:moveTo>
                  <a:cubicBezTo>
                    <a:pt x="246" y="14"/>
                    <a:pt x="246" y="14"/>
                    <a:pt x="246" y="14"/>
                  </a:cubicBezTo>
                  <a:cubicBezTo>
                    <a:pt x="246" y="10"/>
                    <a:pt x="243" y="6"/>
                    <a:pt x="240" y="3"/>
                  </a:cubicBezTo>
                  <a:cubicBezTo>
                    <a:pt x="236" y="1"/>
                    <a:pt x="232" y="0"/>
                    <a:pt x="227" y="0"/>
                  </a:cubicBezTo>
                  <a:cubicBezTo>
                    <a:pt x="180" y="8"/>
                    <a:pt x="180" y="8"/>
                    <a:pt x="180" y="8"/>
                  </a:cubicBezTo>
                  <a:cubicBezTo>
                    <a:pt x="178" y="8"/>
                    <a:pt x="176" y="9"/>
                    <a:pt x="175" y="11"/>
                  </a:cubicBezTo>
                  <a:cubicBezTo>
                    <a:pt x="169" y="9"/>
                    <a:pt x="169" y="9"/>
                    <a:pt x="169" y="9"/>
                  </a:cubicBezTo>
                  <a:cubicBezTo>
                    <a:pt x="160" y="5"/>
                    <a:pt x="149" y="7"/>
                    <a:pt x="141" y="12"/>
                  </a:cubicBezTo>
                  <a:cubicBezTo>
                    <a:pt x="135" y="17"/>
                    <a:pt x="135" y="17"/>
                    <a:pt x="135" y="17"/>
                  </a:cubicBezTo>
                  <a:cubicBezTo>
                    <a:pt x="133" y="16"/>
                    <a:pt x="132" y="16"/>
                    <a:pt x="130" y="17"/>
                  </a:cubicBezTo>
                  <a:cubicBezTo>
                    <a:pt x="70" y="26"/>
                    <a:pt x="70" y="26"/>
                    <a:pt x="70" y="26"/>
                  </a:cubicBezTo>
                  <a:cubicBezTo>
                    <a:pt x="66" y="27"/>
                    <a:pt x="3" y="54"/>
                    <a:pt x="3" y="54"/>
                  </a:cubicBezTo>
                  <a:cubicBezTo>
                    <a:pt x="1" y="55"/>
                    <a:pt x="0" y="57"/>
                    <a:pt x="0" y="59"/>
                  </a:cubicBezTo>
                  <a:cubicBezTo>
                    <a:pt x="1" y="60"/>
                    <a:pt x="2" y="61"/>
                    <a:pt x="4" y="61"/>
                  </a:cubicBezTo>
                  <a:cubicBezTo>
                    <a:pt x="4" y="61"/>
                    <a:pt x="5" y="61"/>
                    <a:pt x="5" y="61"/>
                  </a:cubicBezTo>
                  <a:cubicBezTo>
                    <a:pt x="56" y="41"/>
                    <a:pt x="56" y="41"/>
                    <a:pt x="56" y="41"/>
                  </a:cubicBezTo>
                  <a:cubicBezTo>
                    <a:pt x="56" y="42"/>
                    <a:pt x="56" y="44"/>
                    <a:pt x="56" y="45"/>
                  </a:cubicBezTo>
                  <a:cubicBezTo>
                    <a:pt x="59" y="62"/>
                    <a:pt x="59" y="62"/>
                    <a:pt x="59" y="62"/>
                  </a:cubicBezTo>
                  <a:cubicBezTo>
                    <a:pt x="60" y="72"/>
                    <a:pt x="70" y="80"/>
                    <a:pt x="81" y="80"/>
                  </a:cubicBezTo>
                  <a:cubicBezTo>
                    <a:pt x="82" y="80"/>
                    <a:pt x="83" y="80"/>
                    <a:pt x="84" y="80"/>
                  </a:cubicBezTo>
                  <a:cubicBezTo>
                    <a:pt x="127" y="73"/>
                    <a:pt x="127" y="73"/>
                    <a:pt x="127" y="73"/>
                  </a:cubicBezTo>
                  <a:cubicBezTo>
                    <a:pt x="133" y="72"/>
                    <a:pt x="138" y="69"/>
                    <a:pt x="141" y="64"/>
                  </a:cubicBezTo>
                  <a:cubicBezTo>
                    <a:pt x="145" y="59"/>
                    <a:pt x="146" y="54"/>
                    <a:pt x="145" y="48"/>
                  </a:cubicBezTo>
                  <a:cubicBezTo>
                    <a:pt x="142" y="25"/>
                    <a:pt x="142" y="25"/>
                    <a:pt x="142" y="25"/>
                  </a:cubicBezTo>
                  <a:cubicBezTo>
                    <a:pt x="141" y="24"/>
                    <a:pt x="141" y="23"/>
                    <a:pt x="141" y="22"/>
                  </a:cubicBezTo>
                  <a:cubicBezTo>
                    <a:pt x="146" y="18"/>
                    <a:pt x="146" y="18"/>
                    <a:pt x="146" y="18"/>
                  </a:cubicBezTo>
                  <a:cubicBezTo>
                    <a:pt x="152" y="14"/>
                    <a:pt x="160" y="13"/>
                    <a:pt x="167" y="16"/>
                  </a:cubicBezTo>
                  <a:cubicBezTo>
                    <a:pt x="171" y="17"/>
                    <a:pt x="171" y="17"/>
                    <a:pt x="171" y="17"/>
                  </a:cubicBezTo>
                  <a:cubicBezTo>
                    <a:pt x="171" y="18"/>
                    <a:pt x="171" y="19"/>
                    <a:pt x="171" y="19"/>
                  </a:cubicBezTo>
                  <a:cubicBezTo>
                    <a:pt x="175" y="43"/>
                    <a:pt x="175" y="43"/>
                    <a:pt x="175" y="43"/>
                  </a:cubicBezTo>
                  <a:cubicBezTo>
                    <a:pt x="175" y="43"/>
                    <a:pt x="175" y="43"/>
                    <a:pt x="175" y="43"/>
                  </a:cubicBezTo>
                  <a:cubicBezTo>
                    <a:pt x="186" y="49"/>
                    <a:pt x="186" y="49"/>
                    <a:pt x="186" y="49"/>
                  </a:cubicBezTo>
                  <a:cubicBezTo>
                    <a:pt x="184" y="47"/>
                    <a:pt x="183" y="44"/>
                    <a:pt x="183" y="41"/>
                  </a:cubicBezTo>
                  <a:cubicBezTo>
                    <a:pt x="179" y="18"/>
                    <a:pt x="179" y="18"/>
                    <a:pt x="179" y="18"/>
                  </a:cubicBezTo>
                  <a:cubicBezTo>
                    <a:pt x="179" y="18"/>
                    <a:pt x="179" y="17"/>
                    <a:pt x="179" y="17"/>
                  </a:cubicBezTo>
                  <a:cubicBezTo>
                    <a:pt x="180" y="16"/>
                    <a:pt x="180" y="16"/>
                    <a:pt x="181" y="16"/>
                  </a:cubicBezTo>
                  <a:cubicBezTo>
                    <a:pt x="229" y="8"/>
                    <a:pt x="229" y="8"/>
                    <a:pt x="229" y="8"/>
                  </a:cubicBezTo>
                  <a:cubicBezTo>
                    <a:pt x="229" y="8"/>
                    <a:pt x="230" y="8"/>
                    <a:pt x="230" y="8"/>
                  </a:cubicBezTo>
                  <a:cubicBezTo>
                    <a:pt x="232" y="8"/>
                    <a:pt x="234" y="8"/>
                    <a:pt x="235" y="9"/>
                  </a:cubicBezTo>
                  <a:cubicBezTo>
                    <a:pt x="237" y="11"/>
                    <a:pt x="238" y="13"/>
                    <a:pt x="239" y="15"/>
                  </a:cubicBezTo>
                  <a:cubicBezTo>
                    <a:pt x="241" y="32"/>
                    <a:pt x="241" y="32"/>
                    <a:pt x="241" y="32"/>
                  </a:cubicBezTo>
                  <a:cubicBezTo>
                    <a:pt x="242" y="35"/>
                    <a:pt x="241" y="39"/>
                    <a:pt x="239" y="42"/>
                  </a:cubicBezTo>
                  <a:cubicBezTo>
                    <a:pt x="237" y="46"/>
                    <a:pt x="233" y="48"/>
                    <a:pt x="229" y="48"/>
                  </a:cubicBezTo>
                  <a:cubicBezTo>
                    <a:pt x="199" y="53"/>
                    <a:pt x="199" y="53"/>
                    <a:pt x="199" y="53"/>
                  </a:cubicBezTo>
                  <a:cubicBezTo>
                    <a:pt x="198" y="54"/>
                    <a:pt x="196" y="54"/>
                    <a:pt x="195" y="53"/>
                  </a:cubicBezTo>
                  <a:cubicBezTo>
                    <a:pt x="207" y="60"/>
                    <a:pt x="207" y="60"/>
                    <a:pt x="207" y="60"/>
                  </a:cubicBezTo>
                  <a:cubicBezTo>
                    <a:pt x="231" y="56"/>
                    <a:pt x="231" y="56"/>
                    <a:pt x="231" y="56"/>
                  </a:cubicBezTo>
                  <a:cubicBezTo>
                    <a:pt x="236" y="55"/>
                    <a:pt x="241" y="52"/>
                    <a:pt x="245" y="47"/>
                  </a:cubicBezTo>
                  <a:cubicBezTo>
                    <a:pt x="248" y="42"/>
                    <a:pt x="250" y="36"/>
                    <a:pt x="249" y="30"/>
                  </a:cubicBezTo>
                  <a:moveTo>
                    <a:pt x="135" y="60"/>
                  </a:moveTo>
                  <a:cubicBezTo>
                    <a:pt x="133" y="63"/>
                    <a:pt x="130" y="65"/>
                    <a:pt x="126" y="66"/>
                  </a:cubicBezTo>
                  <a:cubicBezTo>
                    <a:pt x="83" y="72"/>
                    <a:pt x="83" y="72"/>
                    <a:pt x="83" y="72"/>
                  </a:cubicBezTo>
                  <a:cubicBezTo>
                    <a:pt x="75" y="74"/>
                    <a:pt x="67" y="68"/>
                    <a:pt x="66" y="60"/>
                  </a:cubicBezTo>
                  <a:cubicBezTo>
                    <a:pt x="64" y="44"/>
                    <a:pt x="64" y="44"/>
                    <a:pt x="64" y="44"/>
                  </a:cubicBezTo>
                  <a:cubicBezTo>
                    <a:pt x="63" y="39"/>
                    <a:pt x="66" y="35"/>
                    <a:pt x="71" y="34"/>
                  </a:cubicBezTo>
                  <a:cubicBezTo>
                    <a:pt x="132" y="24"/>
                    <a:pt x="132" y="24"/>
                    <a:pt x="132" y="24"/>
                  </a:cubicBezTo>
                  <a:cubicBezTo>
                    <a:pt x="132" y="24"/>
                    <a:pt x="132" y="24"/>
                    <a:pt x="132" y="24"/>
                  </a:cubicBezTo>
                  <a:cubicBezTo>
                    <a:pt x="133" y="24"/>
                    <a:pt x="134" y="25"/>
                    <a:pt x="134" y="26"/>
                  </a:cubicBezTo>
                  <a:cubicBezTo>
                    <a:pt x="138" y="49"/>
                    <a:pt x="138" y="49"/>
                    <a:pt x="138" y="49"/>
                  </a:cubicBezTo>
                  <a:cubicBezTo>
                    <a:pt x="138" y="53"/>
                    <a:pt x="138" y="57"/>
                    <a:pt x="135" y="60"/>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56" name="Freeform 280">
              <a:extLst>
                <a:ext uri="{FF2B5EF4-FFF2-40B4-BE49-F238E27FC236}">
                  <a16:creationId xmlns:a16="http://schemas.microsoft.com/office/drawing/2014/main" id="{50AB801A-6848-4B46-81BA-D2402CBE0AFB}"/>
                </a:ext>
              </a:extLst>
            </p:cNvPr>
            <p:cNvSpPr>
              <a:spLocks/>
            </p:cNvSpPr>
            <p:nvPr/>
          </p:nvSpPr>
          <p:spPr bwMode="auto">
            <a:xfrm>
              <a:off x="4005886" y="1183746"/>
              <a:ext cx="42524" cy="20286"/>
            </a:xfrm>
            <a:custGeom>
              <a:avLst/>
              <a:gdLst>
                <a:gd name="T0" fmla="*/ 396 w 401"/>
                <a:gd name="T1" fmla="*/ 2 h 191"/>
                <a:gd name="T2" fmla="*/ 395 w 401"/>
                <a:gd name="T3" fmla="*/ 1 h 191"/>
                <a:gd name="T4" fmla="*/ 395 w 401"/>
                <a:gd name="T5" fmla="*/ 0 h 191"/>
                <a:gd name="T6" fmla="*/ 247 w 401"/>
                <a:gd name="T7" fmla="*/ 119 h 191"/>
                <a:gd name="T8" fmla="*/ 217 w 401"/>
                <a:gd name="T9" fmla="*/ 121 h 191"/>
                <a:gd name="T10" fmla="*/ 205 w 401"/>
                <a:gd name="T11" fmla="*/ 126 h 191"/>
                <a:gd name="T12" fmla="*/ 204 w 401"/>
                <a:gd name="T13" fmla="*/ 136 h 191"/>
                <a:gd name="T14" fmla="*/ 172 w 401"/>
                <a:gd name="T15" fmla="*/ 159 h 191"/>
                <a:gd name="T16" fmla="*/ 0 w 401"/>
                <a:gd name="T17" fmla="*/ 126 h 191"/>
                <a:gd name="T18" fmla="*/ 32 w 401"/>
                <a:gd name="T19" fmla="*/ 191 h 191"/>
                <a:gd name="T20" fmla="*/ 203 w 401"/>
                <a:gd name="T21" fmla="*/ 184 h 191"/>
                <a:gd name="T22" fmla="*/ 221 w 401"/>
                <a:gd name="T23" fmla="*/ 176 h 191"/>
                <a:gd name="T24" fmla="*/ 401 w 401"/>
                <a:gd name="T25" fmla="*/ 21 h 191"/>
                <a:gd name="T26" fmla="*/ 396 w 401"/>
                <a:gd name="T27" fmla="*/ 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1" h="191">
                  <a:moveTo>
                    <a:pt x="396" y="2"/>
                  </a:moveTo>
                  <a:cubicBezTo>
                    <a:pt x="395" y="1"/>
                    <a:pt x="395" y="1"/>
                    <a:pt x="395" y="1"/>
                  </a:cubicBezTo>
                  <a:cubicBezTo>
                    <a:pt x="395" y="1"/>
                    <a:pt x="395" y="1"/>
                    <a:pt x="395" y="0"/>
                  </a:cubicBezTo>
                  <a:cubicBezTo>
                    <a:pt x="247" y="119"/>
                    <a:pt x="247" y="119"/>
                    <a:pt x="247" y="119"/>
                  </a:cubicBezTo>
                  <a:cubicBezTo>
                    <a:pt x="239" y="126"/>
                    <a:pt x="227" y="127"/>
                    <a:pt x="217" y="121"/>
                  </a:cubicBezTo>
                  <a:cubicBezTo>
                    <a:pt x="212" y="118"/>
                    <a:pt x="206" y="121"/>
                    <a:pt x="205" y="126"/>
                  </a:cubicBezTo>
                  <a:cubicBezTo>
                    <a:pt x="204" y="136"/>
                    <a:pt x="204" y="136"/>
                    <a:pt x="204" y="136"/>
                  </a:cubicBezTo>
                  <a:cubicBezTo>
                    <a:pt x="202" y="152"/>
                    <a:pt x="187" y="162"/>
                    <a:pt x="172" y="159"/>
                  </a:cubicBezTo>
                  <a:cubicBezTo>
                    <a:pt x="0" y="126"/>
                    <a:pt x="0" y="126"/>
                    <a:pt x="0" y="126"/>
                  </a:cubicBezTo>
                  <a:cubicBezTo>
                    <a:pt x="32" y="191"/>
                    <a:pt x="32" y="191"/>
                    <a:pt x="32" y="191"/>
                  </a:cubicBezTo>
                  <a:cubicBezTo>
                    <a:pt x="203" y="184"/>
                    <a:pt x="203" y="184"/>
                    <a:pt x="203" y="184"/>
                  </a:cubicBezTo>
                  <a:cubicBezTo>
                    <a:pt x="210" y="184"/>
                    <a:pt x="216" y="181"/>
                    <a:pt x="221" y="176"/>
                  </a:cubicBezTo>
                  <a:cubicBezTo>
                    <a:pt x="401" y="21"/>
                    <a:pt x="401" y="21"/>
                    <a:pt x="401" y="21"/>
                  </a:cubicBezTo>
                  <a:cubicBezTo>
                    <a:pt x="401" y="14"/>
                    <a:pt x="399" y="8"/>
                    <a:pt x="396" y="2"/>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57" name="Freeform 281">
              <a:extLst>
                <a:ext uri="{FF2B5EF4-FFF2-40B4-BE49-F238E27FC236}">
                  <a16:creationId xmlns:a16="http://schemas.microsoft.com/office/drawing/2014/main" id="{1B1516C4-6B6E-4161-84C2-AD1885BA2C60}"/>
                </a:ext>
              </a:extLst>
            </p:cNvPr>
            <p:cNvSpPr>
              <a:spLocks/>
            </p:cNvSpPr>
            <p:nvPr/>
          </p:nvSpPr>
          <p:spPr bwMode="auto">
            <a:xfrm>
              <a:off x="3965908" y="1213199"/>
              <a:ext cx="6451" cy="9761"/>
            </a:xfrm>
            <a:custGeom>
              <a:avLst/>
              <a:gdLst>
                <a:gd name="T0" fmla="*/ 0 w 61"/>
                <a:gd name="T1" fmla="*/ 44 h 92"/>
                <a:gd name="T2" fmla="*/ 61 w 61"/>
                <a:gd name="T3" fmla="*/ 0 h 92"/>
                <a:gd name="T4" fmla="*/ 18 w 61"/>
                <a:gd name="T5" fmla="*/ 92 h 92"/>
                <a:gd name="T6" fmla="*/ 0 w 61"/>
                <a:gd name="T7" fmla="*/ 44 h 92"/>
              </a:gdLst>
              <a:ahLst/>
              <a:cxnLst>
                <a:cxn ang="0">
                  <a:pos x="T0" y="T1"/>
                </a:cxn>
                <a:cxn ang="0">
                  <a:pos x="T2" y="T3"/>
                </a:cxn>
                <a:cxn ang="0">
                  <a:pos x="T4" y="T5"/>
                </a:cxn>
                <a:cxn ang="0">
                  <a:pos x="T6" y="T7"/>
                </a:cxn>
              </a:cxnLst>
              <a:rect l="0" t="0" r="r" b="b"/>
              <a:pathLst>
                <a:path w="61" h="92">
                  <a:moveTo>
                    <a:pt x="0" y="44"/>
                  </a:moveTo>
                  <a:cubicBezTo>
                    <a:pt x="61" y="0"/>
                    <a:pt x="61" y="0"/>
                    <a:pt x="61" y="0"/>
                  </a:cubicBezTo>
                  <a:cubicBezTo>
                    <a:pt x="61" y="0"/>
                    <a:pt x="50" y="72"/>
                    <a:pt x="18" y="92"/>
                  </a:cubicBezTo>
                  <a:cubicBezTo>
                    <a:pt x="3" y="59"/>
                    <a:pt x="0" y="44"/>
                    <a:pt x="0" y="4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58" name="Freeform 282">
              <a:extLst>
                <a:ext uri="{FF2B5EF4-FFF2-40B4-BE49-F238E27FC236}">
                  <a16:creationId xmlns:a16="http://schemas.microsoft.com/office/drawing/2014/main" id="{A4BE2153-83DF-4CE7-B8D5-FDD815B56375}"/>
                </a:ext>
              </a:extLst>
            </p:cNvPr>
            <p:cNvSpPr>
              <a:spLocks/>
            </p:cNvSpPr>
            <p:nvPr/>
          </p:nvSpPr>
          <p:spPr bwMode="auto">
            <a:xfrm>
              <a:off x="4165542" y="1173137"/>
              <a:ext cx="107201" cy="94300"/>
            </a:xfrm>
            <a:custGeom>
              <a:avLst/>
              <a:gdLst>
                <a:gd name="T0" fmla="*/ 1013 w 1013"/>
                <a:gd name="T1" fmla="*/ 247 h 888"/>
                <a:gd name="T2" fmla="*/ 766 w 1013"/>
                <a:gd name="T3" fmla="*/ 0 h 888"/>
                <a:gd name="T4" fmla="*/ 639 w 1013"/>
                <a:gd name="T5" fmla="*/ 36 h 888"/>
                <a:gd name="T6" fmla="*/ 549 w 1013"/>
                <a:gd name="T7" fmla="*/ 26 h 888"/>
                <a:gd name="T8" fmla="*/ 118 w 1013"/>
                <a:gd name="T9" fmla="*/ 457 h 888"/>
                <a:gd name="T10" fmla="*/ 118 w 1013"/>
                <a:gd name="T11" fmla="*/ 474 h 888"/>
                <a:gd name="T12" fmla="*/ 0 w 1013"/>
                <a:gd name="T13" fmla="*/ 640 h 888"/>
                <a:gd name="T14" fmla="*/ 175 w 1013"/>
                <a:gd name="T15" fmla="*/ 815 h 888"/>
                <a:gd name="T16" fmla="*/ 271 w 1013"/>
                <a:gd name="T17" fmla="*/ 786 h 888"/>
                <a:gd name="T18" fmla="*/ 549 w 1013"/>
                <a:gd name="T19" fmla="*/ 888 h 888"/>
                <a:gd name="T20" fmla="*/ 980 w 1013"/>
                <a:gd name="T21" fmla="*/ 457 h 888"/>
                <a:gd name="T22" fmla="*/ 973 w 1013"/>
                <a:gd name="T23" fmla="*/ 382 h 888"/>
                <a:gd name="T24" fmla="*/ 1013 w 1013"/>
                <a:gd name="T25" fmla="*/ 247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3" h="888">
                  <a:moveTo>
                    <a:pt x="1013" y="247"/>
                  </a:moveTo>
                  <a:cubicBezTo>
                    <a:pt x="1013" y="111"/>
                    <a:pt x="903" y="0"/>
                    <a:pt x="766" y="0"/>
                  </a:cubicBezTo>
                  <a:cubicBezTo>
                    <a:pt x="720" y="0"/>
                    <a:pt x="676" y="13"/>
                    <a:pt x="639" y="36"/>
                  </a:cubicBezTo>
                  <a:cubicBezTo>
                    <a:pt x="610" y="30"/>
                    <a:pt x="580" y="26"/>
                    <a:pt x="549" y="26"/>
                  </a:cubicBezTo>
                  <a:cubicBezTo>
                    <a:pt x="311" y="26"/>
                    <a:pt x="118" y="219"/>
                    <a:pt x="118" y="457"/>
                  </a:cubicBezTo>
                  <a:cubicBezTo>
                    <a:pt x="118" y="463"/>
                    <a:pt x="118" y="469"/>
                    <a:pt x="118" y="474"/>
                  </a:cubicBezTo>
                  <a:cubicBezTo>
                    <a:pt x="49" y="498"/>
                    <a:pt x="0" y="563"/>
                    <a:pt x="0" y="640"/>
                  </a:cubicBezTo>
                  <a:cubicBezTo>
                    <a:pt x="0" y="737"/>
                    <a:pt x="78" y="815"/>
                    <a:pt x="175" y="815"/>
                  </a:cubicBezTo>
                  <a:cubicBezTo>
                    <a:pt x="210" y="815"/>
                    <a:pt x="243" y="805"/>
                    <a:pt x="271" y="786"/>
                  </a:cubicBezTo>
                  <a:cubicBezTo>
                    <a:pt x="346" y="850"/>
                    <a:pt x="443" y="888"/>
                    <a:pt x="549" y="888"/>
                  </a:cubicBezTo>
                  <a:cubicBezTo>
                    <a:pt x="787" y="888"/>
                    <a:pt x="980" y="695"/>
                    <a:pt x="980" y="457"/>
                  </a:cubicBezTo>
                  <a:cubicBezTo>
                    <a:pt x="980" y="432"/>
                    <a:pt x="977" y="407"/>
                    <a:pt x="973" y="382"/>
                  </a:cubicBezTo>
                  <a:cubicBezTo>
                    <a:pt x="998" y="343"/>
                    <a:pt x="1013" y="297"/>
                    <a:pt x="1013" y="247"/>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59" name="Freeform 283">
              <a:extLst>
                <a:ext uri="{FF2B5EF4-FFF2-40B4-BE49-F238E27FC236}">
                  <a16:creationId xmlns:a16="http://schemas.microsoft.com/office/drawing/2014/main" id="{4FF7E171-2421-402C-897A-2CAA06632493}"/>
                </a:ext>
              </a:extLst>
            </p:cNvPr>
            <p:cNvSpPr>
              <a:spLocks/>
            </p:cNvSpPr>
            <p:nvPr/>
          </p:nvSpPr>
          <p:spPr bwMode="auto">
            <a:xfrm>
              <a:off x="4204246" y="1240275"/>
              <a:ext cx="41336" cy="27161"/>
            </a:xfrm>
            <a:custGeom>
              <a:avLst/>
              <a:gdLst>
                <a:gd name="T0" fmla="*/ 390 w 390"/>
                <a:gd name="T1" fmla="*/ 203 h 256"/>
                <a:gd name="T2" fmla="*/ 389 w 390"/>
                <a:gd name="T3" fmla="*/ 177 h 256"/>
                <a:gd name="T4" fmla="*/ 374 w 390"/>
                <a:gd name="T5" fmla="*/ 79 h 256"/>
                <a:gd name="T6" fmla="*/ 365 w 390"/>
                <a:gd name="T7" fmla="*/ 45 h 256"/>
                <a:gd name="T8" fmla="*/ 192 w 390"/>
                <a:gd name="T9" fmla="*/ 23 h 256"/>
                <a:gd name="T10" fmla="*/ 191 w 390"/>
                <a:gd name="T11" fmla="*/ 0 h 256"/>
                <a:gd name="T12" fmla="*/ 0 w 390"/>
                <a:gd name="T13" fmla="*/ 0 h 256"/>
                <a:gd name="T14" fmla="*/ 0 w 390"/>
                <a:gd name="T15" fmla="*/ 113 h 256"/>
                <a:gd name="T16" fmla="*/ 3 w 390"/>
                <a:gd name="T17" fmla="*/ 217 h 256"/>
                <a:gd name="T18" fmla="*/ 183 w 390"/>
                <a:gd name="T19" fmla="*/ 256 h 256"/>
                <a:gd name="T20" fmla="*/ 390 w 390"/>
                <a:gd name="T21" fmla="*/ 20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256">
                  <a:moveTo>
                    <a:pt x="390" y="203"/>
                  </a:moveTo>
                  <a:cubicBezTo>
                    <a:pt x="389" y="177"/>
                    <a:pt x="389" y="177"/>
                    <a:pt x="389" y="177"/>
                  </a:cubicBezTo>
                  <a:cubicBezTo>
                    <a:pt x="388" y="144"/>
                    <a:pt x="383" y="111"/>
                    <a:pt x="374" y="79"/>
                  </a:cubicBezTo>
                  <a:cubicBezTo>
                    <a:pt x="365" y="45"/>
                    <a:pt x="365" y="45"/>
                    <a:pt x="365" y="45"/>
                  </a:cubicBezTo>
                  <a:cubicBezTo>
                    <a:pt x="192" y="23"/>
                    <a:pt x="192" y="23"/>
                    <a:pt x="192" y="23"/>
                  </a:cubicBezTo>
                  <a:cubicBezTo>
                    <a:pt x="191" y="0"/>
                    <a:pt x="191" y="0"/>
                    <a:pt x="191" y="0"/>
                  </a:cubicBezTo>
                  <a:cubicBezTo>
                    <a:pt x="0" y="0"/>
                    <a:pt x="0" y="0"/>
                    <a:pt x="0" y="0"/>
                  </a:cubicBezTo>
                  <a:cubicBezTo>
                    <a:pt x="0" y="113"/>
                    <a:pt x="0" y="113"/>
                    <a:pt x="0" y="113"/>
                  </a:cubicBezTo>
                  <a:cubicBezTo>
                    <a:pt x="0" y="147"/>
                    <a:pt x="1" y="182"/>
                    <a:pt x="3" y="217"/>
                  </a:cubicBezTo>
                  <a:cubicBezTo>
                    <a:pt x="58" y="242"/>
                    <a:pt x="119" y="256"/>
                    <a:pt x="183" y="256"/>
                  </a:cubicBezTo>
                  <a:cubicBezTo>
                    <a:pt x="258" y="256"/>
                    <a:pt x="329" y="237"/>
                    <a:pt x="390" y="203"/>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60" name="Freeform 284">
              <a:extLst>
                <a:ext uri="{FF2B5EF4-FFF2-40B4-BE49-F238E27FC236}">
                  <a16:creationId xmlns:a16="http://schemas.microsoft.com/office/drawing/2014/main" id="{D7391EFF-2041-47F3-ADF2-A6D2CBEC7E5D}"/>
                </a:ext>
              </a:extLst>
            </p:cNvPr>
            <p:cNvSpPr>
              <a:spLocks/>
            </p:cNvSpPr>
            <p:nvPr/>
          </p:nvSpPr>
          <p:spPr bwMode="auto">
            <a:xfrm>
              <a:off x="4212564" y="1175089"/>
              <a:ext cx="3650" cy="9422"/>
            </a:xfrm>
            <a:custGeom>
              <a:avLst/>
              <a:gdLst>
                <a:gd name="T0" fmla="*/ 21 w 35"/>
                <a:gd name="T1" fmla="*/ 0 h 89"/>
                <a:gd name="T2" fmla="*/ 0 w 35"/>
                <a:gd name="T3" fmla="*/ 89 h 89"/>
                <a:gd name="T4" fmla="*/ 30 w 35"/>
                <a:gd name="T5" fmla="*/ 52 h 89"/>
                <a:gd name="T6" fmla="*/ 35 w 35"/>
                <a:gd name="T7" fmla="*/ 22 h 89"/>
                <a:gd name="T8" fmla="*/ 29 w 35"/>
                <a:gd name="T9" fmla="*/ 7 h 89"/>
                <a:gd name="T10" fmla="*/ 21 w 35"/>
                <a:gd name="T11" fmla="*/ 0 h 89"/>
              </a:gdLst>
              <a:ahLst/>
              <a:cxnLst>
                <a:cxn ang="0">
                  <a:pos x="T0" y="T1"/>
                </a:cxn>
                <a:cxn ang="0">
                  <a:pos x="T2" y="T3"/>
                </a:cxn>
                <a:cxn ang="0">
                  <a:pos x="T4" y="T5"/>
                </a:cxn>
                <a:cxn ang="0">
                  <a:pos x="T6" y="T7"/>
                </a:cxn>
                <a:cxn ang="0">
                  <a:pos x="T8" y="T9"/>
                </a:cxn>
                <a:cxn ang="0">
                  <a:pos x="T10" y="T11"/>
                </a:cxn>
              </a:cxnLst>
              <a:rect l="0" t="0" r="r" b="b"/>
              <a:pathLst>
                <a:path w="35" h="89">
                  <a:moveTo>
                    <a:pt x="21" y="0"/>
                  </a:moveTo>
                  <a:cubicBezTo>
                    <a:pt x="0" y="89"/>
                    <a:pt x="0" y="89"/>
                    <a:pt x="0" y="89"/>
                  </a:cubicBezTo>
                  <a:cubicBezTo>
                    <a:pt x="16" y="83"/>
                    <a:pt x="27" y="69"/>
                    <a:pt x="30" y="52"/>
                  </a:cubicBezTo>
                  <a:cubicBezTo>
                    <a:pt x="35" y="22"/>
                    <a:pt x="35" y="22"/>
                    <a:pt x="35" y="22"/>
                  </a:cubicBezTo>
                  <a:cubicBezTo>
                    <a:pt x="35" y="16"/>
                    <a:pt x="33" y="10"/>
                    <a:pt x="29" y="7"/>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61" name="Freeform 285">
              <a:extLst>
                <a:ext uri="{FF2B5EF4-FFF2-40B4-BE49-F238E27FC236}">
                  <a16:creationId xmlns:a16="http://schemas.microsoft.com/office/drawing/2014/main" id="{388E0DC2-0766-418A-BB12-BE1D479F8AA6}"/>
                </a:ext>
              </a:extLst>
            </p:cNvPr>
            <p:cNvSpPr>
              <a:spLocks/>
            </p:cNvSpPr>
            <p:nvPr/>
          </p:nvSpPr>
          <p:spPr bwMode="auto">
            <a:xfrm>
              <a:off x="4209339" y="1154633"/>
              <a:ext cx="3904" cy="7384"/>
            </a:xfrm>
            <a:custGeom>
              <a:avLst/>
              <a:gdLst>
                <a:gd name="T0" fmla="*/ 14 w 37"/>
                <a:gd name="T1" fmla="*/ 0 h 69"/>
                <a:gd name="T2" fmla="*/ 2 w 37"/>
                <a:gd name="T3" fmla="*/ 69 h 69"/>
                <a:gd name="T4" fmla="*/ 37 w 37"/>
                <a:gd name="T5" fmla="*/ 9 h 69"/>
                <a:gd name="T6" fmla="*/ 14 w 37"/>
                <a:gd name="T7" fmla="*/ 0 h 69"/>
              </a:gdLst>
              <a:ahLst/>
              <a:cxnLst>
                <a:cxn ang="0">
                  <a:pos x="T0" y="T1"/>
                </a:cxn>
                <a:cxn ang="0">
                  <a:pos x="T2" y="T3"/>
                </a:cxn>
                <a:cxn ang="0">
                  <a:pos x="T4" y="T5"/>
                </a:cxn>
                <a:cxn ang="0">
                  <a:pos x="T6" y="T7"/>
                </a:cxn>
              </a:cxnLst>
              <a:rect l="0" t="0" r="r" b="b"/>
              <a:pathLst>
                <a:path w="37" h="69">
                  <a:moveTo>
                    <a:pt x="14" y="0"/>
                  </a:moveTo>
                  <a:cubicBezTo>
                    <a:pt x="14" y="0"/>
                    <a:pt x="0" y="23"/>
                    <a:pt x="2" y="69"/>
                  </a:cubicBezTo>
                  <a:cubicBezTo>
                    <a:pt x="18" y="46"/>
                    <a:pt x="37" y="9"/>
                    <a:pt x="37" y="9"/>
                  </a:cubicBezTo>
                  <a:lnTo>
                    <a:pt x="14" y="0"/>
                  </a:lnTo>
                  <a:close/>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62" name="Freeform 286">
              <a:extLst>
                <a:ext uri="{FF2B5EF4-FFF2-40B4-BE49-F238E27FC236}">
                  <a16:creationId xmlns:a16="http://schemas.microsoft.com/office/drawing/2014/main" id="{4B9DC18B-5EE3-4163-820B-787D558F7682}"/>
                </a:ext>
              </a:extLst>
            </p:cNvPr>
            <p:cNvSpPr>
              <a:spLocks/>
            </p:cNvSpPr>
            <p:nvPr/>
          </p:nvSpPr>
          <p:spPr bwMode="auto">
            <a:xfrm>
              <a:off x="4169361" y="1186717"/>
              <a:ext cx="92602" cy="73759"/>
            </a:xfrm>
            <a:custGeom>
              <a:avLst/>
              <a:gdLst>
                <a:gd name="T0" fmla="*/ 863 w 875"/>
                <a:gd name="T1" fmla="*/ 277 h 694"/>
                <a:gd name="T2" fmla="*/ 683 w 875"/>
                <a:gd name="T3" fmla="*/ 58 h 694"/>
                <a:gd name="T4" fmla="*/ 683 w 875"/>
                <a:gd name="T5" fmla="*/ 58 h 694"/>
                <a:gd name="T6" fmla="*/ 645 w 875"/>
                <a:gd name="T7" fmla="*/ 33 h 694"/>
                <a:gd name="T8" fmla="*/ 600 w 875"/>
                <a:gd name="T9" fmla="*/ 21 h 694"/>
                <a:gd name="T10" fmla="*/ 419 w 875"/>
                <a:gd name="T11" fmla="*/ 8 h 694"/>
                <a:gd name="T12" fmla="*/ 368 w 875"/>
                <a:gd name="T13" fmla="*/ 14 h 694"/>
                <a:gd name="T14" fmla="*/ 330 w 875"/>
                <a:gd name="T15" fmla="*/ 32 h 694"/>
                <a:gd name="T16" fmla="*/ 330 w 875"/>
                <a:gd name="T17" fmla="*/ 32 h 694"/>
                <a:gd name="T18" fmla="*/ 330 w 875"/>
                <a:gd name="T19" fmla="*/ 32 h 694"/>
                <a:gd name="T20" fmla="*/ 318 w 875"/>
                <a:gd name="T21" fmla="*/ 45 h 694"/>
                <a:gd name="T22" fmla="*/ 195 w 875"/>
                <a:gd name="T23" fmla="*/ 184 h 694"/>
                <a:gd name="T24" fmla="*/ 69 w 875"/>
                <a:gd name="T25" fmla="*/ 6 h 694"/>
                <a:gd name="T26" fmla="*/ 0 w 875"/>
                <a:gd name="T27" fmla="*/ 46 h 694"/>
                <a:gd name="T28" fmla="*/ 141 w 875"/>
                <a:gd name="T29" fmla="*/ 300 h 694"/>
                <a:gd name="T30" fmla="*/ 220 w 875"/>
                <a:gd name="T31" fmla="*/ 314 h 694"/>
                <a:gd name="T32" fmla="*/ 325 w 875"/>
                <a:gd name="T33" fmla="*/ 216 h 694"/>
                <a:gd name="T34" fmla="*/ 350 w 875"/>
                <a:gd name="T35" fmla="*/ 374 h 694"/>
                <a:gd name="T36" fmla="*/ 308 w 875"/>
                <a:gd name="T37" fmla="*/ 605 h 694"/>
                <a:gd name="T38" fmla="*/ 731 w 875"/>
                <a:gd name="T39" fmla="*/ 629 h 694"/>
                <a:gd name="T40" fmla="*/ 677 w 875"/>
                <a:gd name="T41" fmla="*/ 422 h 694"/>
                <a:gd name="T42" fmla="*/ 669 w 875"/>
                <a:gd name="T43" fmla="*/ 356 h 694"/>
                <a:gd name="T44" fmla="*/ 685 w 875"/>
                <a:gd name="T45" fmla="*/ 219 h 694"/>
                <a:gd name="T46" fmla="*/ 772 w 875"/>
                <a:gd name="T47" fmla="*/ 300 h 694"/>
                <a:gd name="T48" fmla="*/ 691 w 875"/>
                <a:gd name="T49" fmla="*/ 457 h 694"/>
                <a:gd name="T50" fmla="*/ 706 w 875"/>
                <a:gd name="T51" fmla="*/ 470 h 694"/>
                <a:gd name="T52" fmla="*/ 761 w 875"/>
                <a:gd name="T53" fmla="*/ 463 h 694"/>
                <a:gd name="T54" fmla="*/ 864 w 875"/>
                <a:gd name="T55" fmla="*/ 324 h 694"/>
                <a:gd name="T56" fmla="*/ 863 w 875"/>
                <a:gd name="T57" fmla="*/ 277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5" h="694">
                  <a:moveTo>
                    <a:pt x="863" y="277"/>
                  </a:moveTo>
                  <a:cubicBezTo>
                    <a:pt x="683" y="58"/>
                    <a:pt x="683" y="58"/>
                    <a:pt x="683" y="58"/>
                  </a:cubicBezTo>
                  <a:cubicBezTo>
                    <a:pt x="683" y="58"/>
                    <a:pt x="683" y="58"/>
                    <a:pt x="683" y="58"/>
                  </a:cubicBezTo>
                  <a:cubicBezTo>
                    <a:pt x="674" y="47"/>
                    <a:pt x="661" y="38"/>
                    <a:pt x="645" y="33"/>
                  </a:cubicBezTo>
                  <a:cubicBezTo>
                    <a:pt x="600" y="21"/>
                    <a:pt x="600" y="21"/>
                    <a:pt x="600" y="21"/>
                  </a:cubicBezTo>
                  <a:cubicBezTo>
                    <a:pt x="541" y="4"/>
                    <a:pt x="480" y="0"/>
                    <a:pt x="419" y="8"/>
                  </a:cubicBezTo>
                  <a:cubicBezTo>
                    <a:pt x="368" y="14"/>
                    <a:pt x="368" y="14"/>
                    <a:pt x="368" y="14"/>
                  </a:cubicBezTo>
                  <a:cubicBezTo>
                    <a:pt x="353" y="16"/>
                    <a:pt x="340" y="23"/>
                    <a:pt x="330" y="32"/>
                  </a:cubicBezTo>
                  <a:cubicBezTo>
                    <a:pt x="330" y="32"/>
                    <a:pt x="330" y="32"/>
                    <a:pt x="330" y="32"/>
                  </a:cubicBezTo>
                  <a:cubicBezTo>
                    <a:pt x="330" y="32"/>
                    <a:pt x="330" y="32"/>
                    <a:pt x="330" y="32"/>
                  </a:cubicBezTo>
                  <a:cubicBezTo>
                    <a:pt x="325" y="36"/>
                    <a:pt x="322" y="40"/>
                    <a:pt x="318" y="45"/>
                  </a:cubicBezTo>
                  <a:cubicBezTo>
                    <a:pt x="195" y="184"/>
                    <a:pt x="195" y="184"/>
                    <a:pt x="195" y="184"/>
                  </a:cubicBezTo>
                  <a:cubicBezTo>
                    <a:pt x="69" y="6"/>
                    <a:pt x="69" y="6"/>
                    <a:pt x="69" y="6"/>
                  </a:cubicBezTo>
                  <a:cubicBezTo>
                    <a:pt x="0" y="46"/>
                    <a:pt x="0" y="46"/>
                    <a:pt x="0" y="46"/>
                  </a:cubicBezTo>
                  <a:cubicBezTo>
                    <a:pt x="141" y="300"/>
                    <a:pt x="141" y="300"/>
                    <a:pt x="141" y="300"/>
                  </a:cubicBezTo>
                  <a:cubicBezTo>
                    <a:pt x="156" y="330"/>
                    <a:pt x="195" y="336"/>
                    <a:pt x="220" y="314"/>
                  </a:cubicBezTo>
                  <a:cubicBezTo>
                    <a:pt x="325" y="216"/>
                    <a:pt x="325" y="216"/>
                    <a:pt x="325" y="216"/>
                  </a:cubicBezTo>
                  <a:cubicBezTo>
                    <a:pt x="350" y="374"/>
                    <a:pt x="350" y="374"/>
                    <a:pt x="350" y="374"/>
                  </a:cubicBezTo>
                  <a:cubicBezTo>
                    <a:pt x="308" y="605"/>
                    <a:pt x="308" y="605"/>
                    <a:pt x="308" y="605"/>
                  </a:cubicBezTo>
                  <a:cubicBezTo>
                    <a:pt x="308" y="605"/>
                    <a:pt x="418" y="694"/>
                    <a:pt x="731" y="629"/>
                  </a:cubicBezTo>
                  <a:cubicBezTo>
                    <a:pt x="709" y="529"/>
                    <a:pt x="698" y="475"/>
                    <a:pt x="677" y="422"/>
                  </a:cubicBezTo>
                  <a:cubicBezTo>
                    <a:pt x="669" y="401"/>
                    <a:pt x="666" y="378"/>
                    <a:pt x="669" y="356"/>
                  </a:cubicBezTo>
                  <a:cubicBezTo>
                    <a:pt x="685" y="219"/>
                    <a:pt x="685" y="219"/>
                    <a:pt x="685" y="219"/>
                  </a:cubicBezTo>
                  <a:cubicBezTo>
                    <a:pt x="772" y="300"/>
                    <a:pt x="772" y="300"/>
                    <a:pt x="772" y="300"/>
                  </a:cubicBezTo>
                  <a:cubicBezTo>
                    <a:pt x="691" y="457"/>
                    <a:pt x="691" y="457"/>
                    <a:pt x="691" y="457"/>
                  </a:cubicBezTo>
                  <a:cubicBezTo>
                    <a:pt x="706" y="470"/>
                    <a:pt x="706" y="470"/>
                    <a:pt x="706" y="470"/>
                  </a:cubicBezTo>
                  <a:cubicBezTo>
                    <a:pt x="723" y="484"/>
                    <a:pt x="748" y="481"/>
                    <a:pt x="761" y="463"/>
                  </a:cubicBezTo>
                  <a:cubicBezTo>
                    <a:pt x="864" y="324"/>
                    <a:pt x="864" y="324"/>
                    <a:pt x="864" y="324"/>
                  </a:cubicBezTo>
                  <a:cubicBezTo>
                    <a:pt x="875" y="310"/>
                    <a:pt x="874" y="290"/>
                    <a:pt x="863" y="277"/>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63" name="Freeform 287">
              <a:extLst>
                <a:ext uri="{FF2B5EF4-FFF2-40B4-BE49-F238E27FC236}">
                  <a16:creationId xmlns:a16="http://schemas.microsoft.com/office/drawing/2014/main" id="{25F6C593-E7B7-46A8-8360-57BF5FA41981}"/>
                </a:ext>
              </a:extLst>
            </p:cNvPr>
            <p:cNvSpPr>
              <a:spLocks/>
            </p:cNvSpPr>
            <p:nvPr/>
          </p:nvSpPr>
          <p:spPr bwMode="auto">
            <a:xfrm>
              <a:off x="4208320" y="1151323"/>
              <a:ext cx="29283" cy="48890"/>
            </a:xfrm>
            <a:custGeom>
              <a:avLst/>
              <a:gdLst>
                <a:gd name="T0" fmla="*/ 217 w 277"/>
                <a:gd name="T1" fmla="*/ 346 h 460"/>
                <a:gd name="T2" fmla="*/ 217 w 277"/>
                <a:gd name="T3" fmla="*/ 346 h 460"/>
                <a:gd name="T4" fmla="*/ 214 w 277"/>
                <a:gd name="T5" fmla="*/ 344 h 460"/>
                <a:gd name="T6" fmla="*/ 191 w 277"/>
                <a:gd name="T7" fmla="*/ 311 h 460"/>
                <a:gd name="T8" fmla="*/ 191 w 277"/>
                <a:gd name="T9" fmla="*/ 307 h 460"/>
                <a:gd name="T10" fmla="*/ 266 w 277"/>
                <a:gd name="T11" fmla="*/ 190 h 460"/>
                <a:gd name="T12" fmla="*/ 266 w 277"/>
                <a:gd name="T13" fmla="*/ 129 h 460"/>
                <a:gd name="T14" fmla="*/ 137 w 277"/>
                <a:gd name="T15" fmla="*/ 0 h 460"/>
                <a:gd name="T16" fmla="*/ 9 w 277"/>
                <a:gd name="T17" fmla="*/ 129 h 460"/>
                <a:gd name="T18" fmla="*/ 9 w 277"/>
                <a:gd name="T19" fmla="*/ 190 h 460"/>
                <a:gd name="T20" fmla="*/ 86 w 277"/>
                <a:gd name="T21" fmla="*/ 308 h 460"/>
                <a:gd name="T22" fmla="*/ 71 w 277"/>
                <a:gd name="T23" fmla="*/ 336 h 460"/>
                <a:gd name="T24" fmla="*/ 0 w 277"/>
                <a:gd name="T25" fmla="*/ 347 h 460"/>
                <a:gd name="T26" fmla="*/ 65 w 277"/>
                <a:gd name="T27" fmla="*/ 415 h 460"/>
                <a:gd name="T28" fmla="*/ 218 w 277"/>
                <a:gd name="T29" fmla="*/ 421 h 460"/>
                <a:gd name="T30" fmla="*/ 277 w 277"/>
                <a:gd name="T31" fmla="*/ 366 h 460"/>
                <a:gd name="T32" fmla="*/ 217 w 277"/>
                <a:gd name="T33" fmla="*/ 34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460">
                  <a:moveTo>
                    <a:pt x="217" y="346"/>
                  </a:moveTo>
                  <a:cubicBezTo>
                    <a:pt x="217" y="346"/>
                    <a:pt x="217" y="346"/>
                    <a:pt x="217" y="346"/>
                  </a:cubicBezTo>
                  <a:cubicBezTo>
                    <a:pt x="214" y="344"/>
                    <a:pt x="214" y="344"/>
                    <a:pt x="214" y="344"/>
                  </a:cubicBezTo>
                  <a:cubicBezTo>
                    <a:pt x="201" y="337"/>
                    <a:pt x="192" y="325"/>
                    <a:pt x="191" y="311"/>
                  </a:cubicBezTo>
                  <a:cubicBezTo>
                    <a:pt x="191" y="307"/>
                    <a:pt x="191" y="307"/>
                    <a:pt x="191" y="307"/>
                  </a:cubicBezTo>
                  <a:cubicBezTo>
                    <a:pt x="235" y="287"/>
                    <a:pt x="266" y="242"/>
                    <a:pt x="266" y="190"/>
                  </a:cubicBezTo>
                  <a:cubicBezTo>
                    <a:pt x="266" y="129"/>
                    <a:pt x="266" y="129"/>
                    <a:pt x="266" y="129"/>
                  </a:cubicBezTo>
                  <a:cubicBezTo>
                    <a:pt x="266" y="58"/>
                    <a:pt x="209" y="0"/>
                    <a:pt x="137" y="0"/>
                  </a:cubicBezTo>
                  <a:cubicBezTo>
                    <a:pt x="66" y="0"/>
                    <a:pt x="9" y="58"/>
                    <a:pt x="9" y="129"/>
                  </a:cubicBezTo>
                  <a:cubicBezTo>
                    <a:pt x="9" y="190"/>
                    <a:pt x="9" y="190"/>
                    <a:pt x="9" y="190"/>
                  </a:cubicBezTo>
                  <a:cubicBezTo>
                    <a:pt x="9" y="243"/>
                    <a:pt x="41" y="288"/>
                    <a:pt x="86" y="308"/>
                  </a:cubicBezTo>
                  <a:cubicBezTo>
                    <a:pt x="85" y="319"/>
                    <a:pt x="79" y="329"/>
                    <a:pt x="71" y="336"/>
                  </a:cubicBezTo>
                  <a:cubicBezTo>
                    <a:pt x="49" y="338"/>
                    <a:pt x="25" y="341"/>
                    <a:pt x="0" y="347"/>
                  </a:cubicBezTo>
                  <a:cubicBezTo>
                    <a:pt x="65" y="415"/>
                    <a:pt x="65" y="415"/>
                    <a:pt x="65" y="415"/>
                  </a:cubicBezTo>
                  <a:cubicBezTo>
                    <a:pt x="106" y="458"/>
                    <a:pt x="174" y="460"/>
                    <a:pt x="218" y="421"/>
                  </a:cubicBezTo>
                  <a:cubicBezTo>
                    <a:pt x="277" y="366"/>
                    <a:pt x="277" y="366"/>
                    <a:pt x="277" y="366"/>
                  </a:cubicBezTo>
                  <a:cubicBezTo>
                    <a:pt x="277" y="366"/>
                    <a:pt x="256" y="355"/>
                    <a:pt x="217" y="346"/>
                  </a:cubicBezTo>
                </a:path>
              </a:pathLst>
            </a:custGeom>
            <a:solidFill>
              <a:srgbClr val="BA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64" name="Freeform 288">
              <a:extLst>
                <a:ext uri="{FF2B5EF4-FFF2-40B4-BE49-F238E27FC236}">
                  <a16:creationId xmlns:a16="http://schemas.microsoft.com/office/drawing/2014/main" id="{CAEC8468-D19F-4FD7-BFDD-EF89DA466B24}"/>
                </a:ext>
              </a:extLst>
            </p:cNvPr>
            <p:cNvSpPr>
              <a:spLocks/>
            </p:cNvSpPr>
            <p:nvPr/>
          </p:nvSpPr>
          <p:spPr bwMode="auto">
            <a:xfrm>
              <a:off x="4208320" y="1153360"/>
              <a:ext cx="16212" cy="37771"/>
            </a:xfrm>
            <a:custGeom>
              <a:avLst/>
              <a:gdLst>
                <a:gd name="T0" fmla="*/ 153 w 153"/>
                <a:gd name="T1" fmla="*/ 310 h 355"/>
                <a:gd name="T2" fmla="*/ 118 w 153"/>
                <a:gd name="T3" fmla="*/ 292 h 355"/>
                <a:gd name="T4" fmla="*/ 75 w 153"/>
                <a:gd name="T5" fmla="*/ 236 h 355"/>
                <a:gd name="T6" fmla="*/ 69 w 153"/>
                <a:gd name="T7" fmla="*/ 205 h 355"/>
                <a:gd name="T8" fmla="*/ 44 w 153"/>
                <a:gd name="T9" fmla="*/ 203 h 355"/>
                <a:gd name="T10" fmla="*/ 32 w 153"/>
                <a:gd name="T11" fmla="*/ 180 h 355"/>
                <a:gd name="T12" fmla="*/ 58 w 153"/>
                <a:gd name="T13" fmla="*/ 138 h 355"/>
                <a:gd name="T14" fmla="*/ 102 w 153"/>
                <a:gd name="T15" fmla="*/ 31 h 355"/>
                <a:gd name="T16" fmla="*/ 94 w 153"/>
                <a:gd name="T17" fmla="*/ 23 h 355"/>
                <a:gd name="T18" fmla="*/ 70 w 153"/>
                <a:gd name="T19" fmla="*/ 0 h 355"/>
                <a:gd name="T20" fmla="*/ 9 w 153"/>
                <a:gd name="T21" fmla="*/ 110 h 355"/>
                <a:gd name="T22" fmla="*/ 9 w 153"/>
                <a:gd name="T23" fmla="*/ 171 h 355"/>
                <a:gd name="T24" fmla="*/ 86 w 153"/>
                <a:gd name="T25" fmla="*/ 289 h 355"/>
                <a:gd name="T26" fmla="*/ 86 w 153"/>
                <a:gd name="T27" fmla="*/ 290 h 355"/>
                <a:gd name="T28" fmla="*/ 70 w 153"/>
                <a:gd name="T29" fmla="*/ 317 h 355"/>
                <a:gd name="T30" fmla="*/ 0 w 153"/>
                <a:gd name="T31" fmla="*/ 328 h 355"/>
                <a:gd name="T32" fmla="*/ 25 w 153"/>
                <a:gd name="T33" fmla="*/ 355 h 355"/>
                <a:gd name="T34" fmla="*/ 86 w 153"/>
                <a:gd name="T35" fmla="*/ 350 h 355"/>
                <a:gd name="T36" fmla="*/ 115 w 153"/>
                <a:gd name="T37" fmla="*/ 320 h 355"/>
                <a:gd name="T38" fmla="*/ 116 w 153"/>
                <a:gd name="T39" fmla="*/ 315 h 355"/>
                <a:gd name="T40" fmla="*/ 153 w 153"/>
                <a:gd name="T41" fmla="*/ 31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355">
                  <a:moveTo>
                    <a:pt x="153" y="310"/>
                  </a:moveTo>
                  <a:cubicBezTo>
                    <a:pt x="118" y="292"/>
                    <a:pt x="118" y="292"/>
                    <a:pt x="118" y="292"/>
                  </a:cubicBezTo>
                  <a:cubicBezTo>
                    <a:pt x="96" y="280"/>
                    <a:pt x="80" y="260"/>
                    <a:pt x="75" y="236"/>
                  </a:cubicBezTo>
                  <a:cubicBezTo>
                    <a:pt x="73" y="227"/>
                    <a:pt x="71" y="216"/>
                    <a:pt x="69" y="205"/>
                  </a:cubicBezTo>
                  <a:cubicBezTo>
                    <a:pt x="44" y="203"/>
                    <a:pt x="44" y="203"/>
                    <a:pt x="44" y="203"/>
                  </a:cubicBezTo>
                  <a:cubicBezTo>
                    <a:pt x="33" y="202"/>
                    <a:pt x="26" y="190"/>
                    <a:pt x="32" y="180"/>
                  </a:cubicBezTo>
                  <a:cubicBezTo>
                    <a:pt x="58" y="138"/>
                    <a:pt x="58" y="138"/>
                    <a:pt x="58" y="138"/>
                  </a:cubicBezTo>
                  <a:cubicBezTo>
                    <a:pt x="48" y="69"/>
                    <a:pt x="102" y="31"/>
                    <a:pt x="102" y="31"/>
                  </a:cubicBezTo>
                  <a:cubicBezTo>
                    <a:pt x="102" y="31"/>
                    <a:pt x="106" y="19"/>
                    <a:pt x="94" y="23"/>
                  </a:cubicBezTo>
                  <a:cubicBezTo>
                    <a:pt x="104" y="5"/>
                    <a:pt x="90" y="0"/>
                    <a:pt x="70" y="0"/>
                  </a:cubicBezTo>
                  <a:cubicBezTo>
                    <a:pt x="33" y="23"/>
                    <a:pt x="9" y="63"/>
                    <a:pt x="9" y="110"/>
                  </a:cubicBezTo>
                  <a:cubicBezTo>
                    <a:pt x="9" y="171"/>
                    <a:pt x="9" y="171"/>
                    <a:pt x="9" y="171"/>
                  </a:cubicBezTo>
                  <a:cubicBezTo>
                    <a:pt x="9" y="224"/>
                    <a:pt x="41" y="269"/>
                    <a:pt x="86" y="289"/>
                  </a:cubicBezTo>
                  <a:cubicBezTo>
                    <a:pt x="86" y="289"/>
                    <a:pt x="86" y="290"/>
                    <a:pt x="86" y="290"/>
                  </a:cubicBezTo>
                  <a:cubicBezTo>
                    <a:pt x="85" y="294"/>
                    <a:pt x="78" y="313"/>
                    <a:pt x="70" y="317"/>
                  </a:cubicBezTo>
                  <a:cubicBezTo>
                    <a:pt x="35" y="318"/>
                    <a:pt x="0" y="328"/>
                    <a:pt x="0" y="328"/>
                  </a:cubicBezTo>
                  <a:cubicBezTo>
                    <a:pt x="0" y="328"/>
                    <a:pt x="12" y="341"/>
                    <a:pt x="25" y="355"/>
                  </a:cubicBezTo>
                  <a:cubicBezTo>
                    <a:pt x="50" y="348"/>
                    <a:pt x="63" y="350"/>
                    <a:pt x="86" y="350"/>
                  </a:cubicBezTo>
                  <a:cubicBezTo>
                    <a:pt x="103" y="350"/>
                    <a:pt x="110" y="336"/>
                    <a:pt x="115" y="320"/>
                  </a:cubicBezTo>
                  <a:cubicBezTo>
                    <a:pt x="116" y="315"/>
                    <a:pt x="116" y="315"/>
                    <a:pt x="116" y="315"/>
                  </a:cubicBezTo>
                  <a:lnTo>
                    <a:pt x="153" y="31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65" name="Oval 289">
              <a:extLst>
                <a:ext uri="{FF2B5EF4-FFF2-40B4-BE49-F238E27FC236}">
                  <a16:creationId xmlns:a16="http://schemas.microsoft.com/office/drawing/2014/main" id="{E5FBF799-AF84-45CB-87FD-741F2BF016C3}"/>
                </a:ext>
              </a:extLst>
            </p:cNvPr>
            <p:cNvSpPr>
              <a:spLocks noChangeArrowheads="1"/>
            </p:cNvSpPr>
            <p:nvPr/>
          </p:nvSpPr>
          <p:spPr bwMode="auto">
            <a:xfrm>
              <a:off x="4220797" y="1167535"/>
              <a:ext cx="2462" cy="2377"/>
            </a:xfrm>
            <a:prstGeom prst="ellipse">
              <a:avLst/>
            </a:pr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66" name="Oval 290">
              <a:extLst>
                <a:ext uri="{FF2B5EF4-FFF2-40B4-BE49-F238E27FC236}">
                  <a16:creationId xmlns:a16="http://schemas.microsoft.com/office/drawing/2014/main" id="{38D2D3FA-6B16-458B-9612-B0BD06D4E05A}"/>
                </a:ext>
              </a:extLst>
            </p:cNvPr>
            <p:cNvSpPr>
              <a:spLocks noChangeArrowheads="1"/>
            </p:cNvSpPr>
            <p:nvPr/>
          </p:nvSpPr>
          <p:spPr bwMode="auto">
            <a:xfrm>
              <a:off x="4209593" y="1167535"/>
              <a:ext cx="2377" cy="2377"/>
            </a:xfrm>
            <a:prstGeom prst="ellipse">
              <a:avLst/>
            </a:pr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67" name="Freeform 291">
              <a:extLst>
                <a:ext uri="{FF2B5EF4-FFF2-40B4-BE49-F238E27FC236}">
                  <a16:creationId xmlns:a16="http://schemas.microsoft.com/office/drawing/2014/main" id="{6DF9F2AD-AB66-4C2F-A682-6CA8E5324545}"/>
                </a:ext>
              </a:extLst>
            </p:cNvPr>
            <p:cNvSpPr>
              <a:spLocks/>
            </p:cNvSpPr>
            <p:nvPr/>
          </p:nvSpPr>
          <p:spPr bwMode="auto">
            <a:xfrm>
              <a:off x="4212989" y="1176956"/>
              <a:ext cx="7979" cy="2377"/>
            </a:xfrm>
            <a:custGeom>
              <a:avLst/>
              <a:gdLst>
                <a:gd name="T0" fmla="*/ 0 w 76"/>
                <a:gd name="T1" fmla="*/ 3 h 22"/>
                <a:gd name="T2" fmla="*/ 5 w 76"/>
                <a:gd name="T3" fmla="*/ 14 h 22"/>
                <a:gd name="T4" fmla="*/ 15 w 76"/>
                <a:gd name="T5" fmla="*/ 21 h 22"/>
                <a:gd name="T6" fmla="*/ 29 w 76"/>
                <a:gd name="T7" fmla="*/ 21 h 22"/>
                <a:gd name="T8" fmla="*/ 49 w 76"/>
                <a:gd name="T9" fmla="*/ 17 h 22"/>
                <a:gd name="T10" fmla="*/ 76 w 76"/>
                <a:gd name="T11" fmla="*/ 0 h 22"/>
                <a:gd name="T12" fmla="*/ 19 w 76"/>
                <a:gd name="T13" fmla="*/ 4 h 22"/>
                <a:gd name="T14" fmla="*/ 0 w 76"/>
                <a:gd name="T15" fmla="*/ 3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0" y="3"/>
                  </a:moveTo>
                  <a:cubicBezTo>
                    <a:pt x="5" y="14"/>
                    <a:pt x="5" y="14"/>
                    <a:pt x="5" y="14"/>
                  </a:cubicBezTo>
                  <a:cubicBezTo>
                    <a:pt x="7" y="18"/>
                    <a:pt x="10" y="20"/>
                    <a:pt x="15" y="21"/>
                  </a:cubicBezTo>
                  <a:cubicBezTo>
                    <a:pt x="29" y="21"/>
                    <a:pt x="29" y="21"/>
                    <a:pt x="29" y="21"/>
                  </a:cubicBezTo>
                  <a:cubicBezTo>
                    <a:pt x="36" y="22"/>
                    <a:pt x="43" y="20"/>
                    <a:pt x="49" y="17"/>
                  </a:cubicBezTo>
                  <a:cubicBezTo>
                    <a:pt x="76" y="0"/>
                    <a:pt x="76" y="0"/>
                    <a:pt x="76" y="0"/>
                  </a:cubicBezTo>
                  <a:cubicBezTo>
                    <a:pt x="19" y="4"/>
                    <a:pt x="19" y="4"/>
                    <a:pt x="19" y="4"/>
                  </a:cubicBezTo>
                  <a:lnTo>
                    <a:pt x="0" y="3"/>
                  </a:lnTo>
                  <a:close/>
                </a:path>
              </a:pathLst>
            </a:custGeom>
            <a:solidFill>
              <a:srgbClr val="B451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68" name="Freeform 292">
              <a:extLst>
                <a:ext uri="{FF2B5EF4-FFF2-40B4-BE49-F238E27FC236}">
                  <a16:creationId xmlns:a16="http://schemas.microsoft.com/office/drawing/2014/main" id="{A131A8CF-6C48-4998-94B4-201AB8CC894A}"/>
                </a:ext>
              </a:extLst>
            </p:cNvPr>
            <p:cNvSpPr>
              <a:spLocks/>
            </p:cNvSpPr>
            <p:nvPr/>
          </p:nvSpPr>
          <p:spPr bwMode="auto">
            <a:xfrm>
              <a:off x="4212989" y="1176023"/>
              <a:ext cx="7979" cy="1867"/>
            </a:xfrm>
            <a:custGeom>
              <a:avLst/>
              <a:gdLst>
                <a:gd name="T0" fmla="*/ 0 w 76"/>
                <a:gd name="T1" fmla="*/ 12 h 18"/>
                <a:gd name="T2" fmla="*/ 6 w 76"/>
                <a:gd name="T3" fmla="*/ 5 h 18"/>
                <a:gd name="T4" fmla="*/ 17 w 76"/>
                <a:gd name="T5" fmla="*/ 4 h 18"/>
                <a:gd name="T6" fmla="*/ 22 w 76"/>
                <a:gd name="T7" fmla="*/ 8 h 18"/>
                <a:gd name="T8" fmla="*/ 27 w 76"/>
                <a:gd name="T9" fmla="*/ 3 h 18"/>
                <a:gd name="T10" fmla="*/ 39 w 76"/>
                <a:gd name="T11" fmla="*/ 1 h 18"/>
                <a:gd name="T12" fmla="*/ 47 w 76"/>
                <a:gd name="T13" fmla="*/ 5 h 18"/>
                <a:gd name="T14" fmla="*/ 67 w 76"/>
                <a:gd name="T15" fmla="*/ 9 h 18"/>
                <a:gd name="T16" fmla="*/ 76 w 76"/>
                <a:gd name="T17" fmla="*/ 9 h 18"/>
                <a:gd name="T18" fmla="*/ 28 w 76"/>
                <a:gd name="T19" fmla="*/ 18 h 18"/>
                <a:gd name="T20" fmla="*/ 19 w 76"/>
                <a:gd name="T21" fmla="*/ 17 h 18"/>
                <a:gd name="T22" fmla="*/ 0 w 76"/>
                <a:gd name="T23"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8">
                  <a:moveTo>
                    <a:pt x="0" y="12"/>
                  </a:moveTo>
                  <a:cubicBezTo>
                    <a:pt x="6" y="5"/>
                    <a:pt x="6" y="5"/>
                    <a:pt x="6" y="5"/>
                  </a:cubicBezTo>
                  <a:cubicBezTo>
                    <a:pt x="9" y="2"/>
                    <a:pt x="14" y="1"/>
                    <a:pt x="17" y="4"/>
                  </a:cubicBezTo>
                  <a:cubicBezTo>
                    <a:pt x="22" y="8"/>
                    <a:pt x="22" y="8"/>
                    <a:pt x="22" y="8"/>
                  </a:cubicBezTo>
                  <a:cubicBezTo>
                    <a:pt x="27" y="3"/>
                    <a:pt x="27" y="3"/>
                    <a:pt x="27" y="3"/>
                  </a:cubicBezTo>
                  <a:cubicBezTo>
                    <a:pt x="30" y="1"/>
                    <a:pt x="35" y="0"/>
                    <a:pt x="39" y="1"/>
                  </a:cubicBezTo>
                  <a:cubicBezTo>
                    <a:pt x="47" y="5"/>
                    <a:pt x="47" y="5"/>
                    <a:pt x="47" y="5"/>
                  </a:cubicBezTo>
                  <a:cubicBezTo>
                    <a:pt x="53" y="8"/>
                    <a:pt x="60" y="9"/>
                    <a:pt x="67" y="9"/>
                  </a:cubicBezTo>
                  <a:cubicBezTo>
                    <a:pt x="76" y="9"/>
                    <a:pt x="76" y="9"/>
                    <a:pt x="76" y="9"/>
                  </a:cubicBezTo>
                  <a:cubicBezTo>
                    <a:pt x="28" y="18"/>
                    <a:pt x="28" y="18"/>
                    <a:pt x="28" y="18"/>
                  </a:cubicBezTo>
                  <a:cubicBezTo>
                    <a:pt x="25" y="18"/>
                    <a:pt x="22" y="18"/>
                    <a:pt x="19" y="17"/>
                  </a:cubicBezTo>
                  <a:lnTo>
                    <a:pt x="0" y="12"/>
                  </a:lnTo>
                  <a:close/>
                </a:path>
              </a:pathLst>
            </a:custGeom>
            <a:solidFill>
              <a:srgbClr val="AC2A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69" name="Freeform 293">
              <a:extLst>
                <a:ext uri="{FF2B5EF4-FFF2-40B4-BE49-F238E27FC236}">
                  <a16:creationId xmlns:a16="http://schemas.microsoft.com/office/drawing/2014/main" id="{7CA802A7-AA32-4BE0-8EDE-16F015B48C48}"/>
                </a:ext>
              </a:extLst>
            </p:cNvPr>
            <p:cNvSpPr>
              <a:spLocks/>
            </p:cNvSpPr>
            <p:nvPr/>
          </p:nvSpPr>
          <p:spPr bwMode="auto">
            <a:xfrm>
              <a:off x="4224702" y="1188584"/>
              <a:ext cx="1613" cy="3225"/>
            </a:xfrm>
            <a:custGeom>
              <a:avLst/>
              <a:gdLst>
                <a:gd name="T0" fmla="*/ 0 w 15"/>
                <a:gd name="T1" fmla="*/ 0 h 31"/>
                <a:gd name="T2" fmla="*/ 0 w 15"/>
                <a:gd name="T3" fmla="*/ 23 h 31"/>
                <a:gd name="T4" fmla="*/ 8 w 15"/>
                <a:gd name="T5" fmla="*/ 30 h 31"/>
                <a:gd name="T6" fmla="*/ 14 w 15"/>
                <a:gd name="T7" fmla="*/ 19 h 31"/>
                <a:gd name="T8" fmla="*/ 12 w 15"/>
                <a:gd name="T9" fmla="*/ 7 h 31"/>
                <a:gd name="T10" fmla="*/ 7 w 15"/>
                <a:gd name="T11" fmla="*/ 1 h 31"/>
                <a:gd name="T12" fmla="*/ 0 w 15"/>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0"/>
                  </a:moveTo>
                  <a:cubicBezTo>
                    <a:pt x="0" y="23"/>
                    <a:pt x="0" y="23"/>
                    <a:pt x="0" y="23"/>
                  </a:cubicBezTo>
                  <a:cubicBezTo>
                    <a:pt x="0" y="28"/>
                    <a:pt x="4" y="31"/>
                    <a:pt x="8" y="30"/>
                  </a:cubicBezTo>
                  <a:cubicBezTo>
                    <a:pt x="12" y="29"/>
                    <a:pt x="15" y="24"/>
                    <a:pt x="14" y="19"/>
                  </a:cubicBezTo>
                  <a:cubicBezTo>
                    <a:pt x="12" y="7"/>
                    <a:pt x="12" y="7"/>
                    <a:pt x="12" y="7"/>
                  </a:cubicBezTo>
                  <a:cubicBezTo>
                    <a:pt x="11" y="4"/>
                    <a:pt x="9" y="2"/>
                    <a:pt x="7" y="1"/>
                  </a:cubicBezTo>
                  <a:lnTo>
                    <a:pt x="0" y="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70" name="Freeform 294">
              <a:extLst>
                <a:ext uri="{FF2B5EF4-FFF2-40B4-BE49-F238E27FC236}">
                  <a16:creationId xmlns:a16="http://schemas.microsoft.com/office/drawing/2014/main" id="{EAB98D80-EE8F-487A-9384-39568912B140}"/>
                </a:ext>
              </a:extLst>
            </p:cNvPr>
            <p:cNvSpPr>
              <a:spLocks/>
            </p:cNvSpPr>
            <p:nvPr/>
          </p:nvSpPr>
          <p:spPr bwMode="auto">
            <a:xfrm>
              <a:off x="4174963" y="1187396"/>
              <a:ext cx="35988" cy="25463"/>
            </a:xfrm>
            <a:custGeom>
              <a:avLst/>
              <a:gdLst>
                <a:gd name="T0" fmla="*/ 340 w 340"/>
                <a:gd name="T1" fmla="*/ 35 h 240"/>
                <a:gd name="T2" fmla="*/ 315 w 340"/>
                <a:gd name="T3" fmla="*/ 8 h 240"/>
                <a:gd name="T4" fmla="*/ 277 w 340"/>
                <a:gd name="T5" fmla="*/ 26 h 240"/>
                <a:gd name="T6" fmla="*/ 277 w 340"/>
                <a:gd name="T7" fmla="*/ 26 h 240"/>
                <a:gd name="T8" fmla="*/ 277 w 340"/>
                <a:gd name="T9" fmla="*/ 26 h 240"/>
                <a:gd name="T10" fmla="*/ 265 w 340"/>
                <a:gd name="T11" fmla="*/ 39 h 240"/>
                <a:gd name="T12" fmla="*/ 142 w 340"/>
                <a:gd name="T13" fmla="*/ 178 h 240"/>
                <a:gd name="T14" fmla="*/ 16 w 340"/>
                <a:gd name="T15" fmla="*/ 0 h 240"/>
                <a:gd name="T16" fmla="*/ 0 w 340"/>
                <a:gd name="T17" fmla="*/ 9 h 240"/>
                <a:gd name="T18" fmla="*/ 119 w 340"/>
                <a:gd name="T19" fmla="*/ 174 h 240"/>
                <a:gd name="T20" fmla="*/ 128 w 340"/>
                <a:gd name="T21" fmla="*/ 240 h 240"/>
                <a:gd name="T22" fmla="*/ 151 w 340"/>
                <a:gd name="T23" fmla="*/ 184 h 240"/>
                <a:gd name="T24" fmla="*/ 164 w 340"/>
                <a:gd name="T25" fmla="*/ 240 h 240"/>
                <a:gd name="T26" fmla="*/ 264 w 340"/>
                <a:gd name="T27" fmla="*/ 117 h 240"/>
                <a:gd name="T28" fmla="*/ 340 w 340"/>
                <a:gd name="T29" fmla="*/ 3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0" h="240">
                  <a:moveTo>
                    <a:pt x="340" y="35"/>
                  </a:moveTo>
                  <a:cubicBezTo>
                    <a:pt x="315" y="8"/>
                    <a:pt x="315" y="8"/>
                    <a:pt x="315" y="8"/>
                  </a:cubicBezTo>
                  <a:cubicBezTo>
                    <a:pt x="300" y="10"/>
                    <a:pt x="287" y="17"/>
                    <a:pt x="277" y="26"/>
                  </a:cubicBezTo>
                  <a:cubicBezTo>
                    <a:pt x="277" y="26"/>
                    <a:pt x="277" y="26"/>
                    <a:pt x="277" y="26"/>
                  </a:cubicBezTo>
                  <a:cubicBezTo>
                    <a:pt x="277" y="26"/>
                    <a:pt x="277" y="26"/>
                    <a:pt x="277" y="26"/>
                  </a:cubicBezTo>
                  <a:cubicBezTo>
                    <a:pt x="272" y="30"/>
                    <a:pt x="269" y="34"/>
                    <a:pt x="265" y="39"/>
                  </a:cubicBezTo>
                  <a:cubicBezTo>
                    <a:pt x="142" y="178"/>
                    <a:pt x="142" y="178"/>
                    <a:pt x="142" y="178"/>
                  </a:cubicBezTo>
                  <a:cubicBezTo>
                    <a:pt x="16" y="0"/>
                    <a:pt x="16" y="0"/>
                    <a:pt x="16" y="0"/>
                  </a:cubicBezTo>
                  <a:cubicBezTo>
                    <a:pt x="0" y="9"/>
                    <a:pt x="0" y="9"/>
                    <a:pt x="0" y="9"/>
                  </a:cubicBezTo>
                  <a:cubicBezTo>
                    <a:pt x="0" y="9"/>
                    <a:pt x="89" y="136"/>
                    <a:pt x="119" y="174"/>
                  </a:cubicBezTo>
                  <a:cubicBezTo>
                    <a:pt x="101" y="213"/>
                    <a:pt x="128" y="240"/>
                    <a:pt x="128" y="240"/>
                  </a:cubicBezTo>
                  <a:cubicBezTo>
                    <a:pt x="151" y="184"/>
                    <a:pt x="151" y="184"/>
                    <a:pt x="151" y="184"/>
                  </a:cubicBezTo>
                  <a:cubicBezTo>
                    <a:pt x="164" y="240"/>
                    <a:pt x="164" y="240"/>
                    <a:pt x="164" y="240"/>
                  </a:cubicBezTo>
                  <a:cubicBezTo>
                    <a:pt x="164" y="240"/>
                    <a:pt x="239" y="156"/>
                    <a:pt x="264" y="117"/>
                  </a:cubicBezTo>
                  <a:cubicBezTo>
                    <a:pt x="288" y="78"/>
                    <a:pt x="340" y="35"/>
                    <a:pt x="340"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71" name="Freeform 295">
              <a:extLst>
                <a:ext uri="{FF2B5EF4-FFF2-40B4-BE49-F238E27FC236}">
                  <a16:creationId xmlns:a16="http://schemas.microsoft.com/office/drawing/2014/main" id="{CD3AD3B1-F52E-4EE9-B95B-823DD1C1763D}"/>
                </a:ext>
              </a:extLst>
            </p:cNvPr>
            <p:cNvSpPr>
              <a:spLocks/>
            </p:cNvSpPr>
            <p:nvPr/>
          </p:nvSpPr>
          <p:spPr bwMode="auto">
            <a:xfrm>
              <a:off x="4201954" y="1200637"/>
              <a:ext cx="12307" cy="52879"/>
            </a:xfrm>
            <a:custGeom>
              <a:avLst/>
              <a:gdLst>
                <a:gd name="T0" fmla="*/ 49 w 116"/>
                <a:gd name="T1" fmla="*/ 498 h 498"/>
                <a:gd name="T2" fmla="*/ 102 w 116"/>
                <a:gd name="T3" fmla="*/ 340 h 498"/>
                <a:gd name="T4" fmla="*/ 92 w 116"/>
                <a:gd name="T5" fmla="*/ 213 h 498"/>
                <a:gd name="T6" fmla="*/ 70 w 116"/>
                <a:gd name="T7" fmla="*/ 182 h 498"/>
                <a:gd name="T8" fmla="*/ 53 w 116"/>
                <a:gd name="T9" fmla="*/ 70 h 498"/>
                <a:gd name="T10" fmla="*/ 75 w 116"/>
                <a:gd name="T11" fmla="*/ 0 h 498"/>
                <a:gd name="T12" fmla="*/ 17 w 116"/>
                <a:gd name="T13" fmla="*/ 85 h 498"/>
                <a:gd name="T14" fmla="*/ 42 w 116"/>
                <a:gd name="T15" fmla="*/ 243 h 498"/>
                <a:gd name="T16" fmla="*/ 0 w 116"/>
                <a:gd name="T17" fmla="*/ 474 h 498"/>
                <a:gd name="T18" fmla="*/ 49 w 116"/>
                <a:gd name="T19" fmla="*/ 49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498">
                  <a:moveTo>
                    <a:pt x="49" y="498"/>
                  </a:moveTo>
                  <a:cubicBezTo>
                    <a:pt x="102" y="340"/>
                    <a:pt x="102" y="340"/>
                    <a:pt x="102" y="340"/>
                  </a:cubicBezTo>
                  <a:cubicBezTo>
                    <a:pt x="116" y="298"/>
                    <a:pt x="112" y="252"/>
                    <a:pt x="92" y="213"/>
                  </a:cubicBezTo>
                  <a:cubicBezTo>
                    <a:pt x="70" y="182"/>
                    <a:pt x="70" y="182"/>
                    <a:pt x="70" y="182"/>
                  </a:cubicBezTo>
                  <a:cubicBezTo>
                    <a:pt x="48" y="150"/>
                    <a:pt x="41" y="108"/>
                    <a:pt x="53" y="70"/>
                  </a:cubicBezTo>
                  <a:cubicBezTo>
                    <a:pt x="75" y="0"/>
                    <a:pt x="75" y="0"/>
                    <a:pt x="75" y="0"/>
                  </a:cubicBezTo>
                  <a:cubicBezTo>
                    <a:pt x="17" y="85"/>
                    <a:pt x="17" y="85"/>
                    <a:pt x="17" y="85"/>
                  </a:cubicBezTo>
                  <a:cubicBezTo>
                    <a:pt x="42" y="243"/>
                    <a:pt x="42" y="243"/>
                    <a:pt x="42" y="243"/>
                  </a:cubicBezTo>
                  <a:cubicBezTo>
                    <a:pt x="0" y="474"/>
                    <a:pt x="0" y="474"/>
                    <a:pt x="0" y="474"/>
                  </a:cubicBezTo>
                  <a:cubicBezTo>
                    <a:pt x="0" y="474"/>
                    <a:pt x="19" y="486"/>
                    <a:pt x="49" y="4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72" name="Freeform 296">
              <a:extLst>
                <a:ext uri="{FF2B5EF4-FFF2-40B4-BE49-F238E27FC236}">
                  <a16:creationId xmlns:a16="http://schemas.microsoft.com/office/drawing/2014/main" id="{2EF28876-F6F3-4EB1-A91C-7473E7C0B835}"/>
                </a:ext>
              </a:extLst>
            </p:cNvPr>
            <p:cNvSpPr>
              <a:spLocks/>
            </p:cNvSpPr>
            <p:nvPr/>
          </p:nvSpPr>
          <p:spPr bwMode="auto">
            <a:xfrm>
              <a:off x="4219185" y="1163800"/>
              <a:ext cx="6366" cy="2971"/>
            </a:xfrm>
            <a:custGeom>
              <a:avLst/>
              <a:gdLst>
                <a:gd name="T0" fmla="*/ 56 w 60"/>
                <a:gd name="T1" fmla="*/ 28 h 28"/>
                <a:gd name="T2" fmla="*/ 53 w 60"/>
                <a:gd name="T3" fmla="*/ 27 h 28"/>
                <a:gd name="T4" fmla="*/ 7 w 60"/>
                <a:gd name="T5" fmla="*/ 21 h 28"/>
                <a:gd name="T6" fmla="*/ 1 w 60"/>
                <a:gd name="T7" fmla="*/ 20 h 28"/>
                <a:gd name="T8" fmla="*/ 3 w 60"/>
                <a:gd name="T9" fmla="*/ 14 h 28"/>
                <a:gd name="T10" fmla="*/ 58 w 60"/>
                <a:gd name="T11" fmla="*/ 21 h 28"/>
                <a:gd name="T12" fmla="*/ 59 w 60"/>
                <a:gd name="T13" fmla="*/ 27 h 28"/>
                <a:gd name="T14" fmla="*/ 56 w 60"/>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8">
                  <a:moveTo>
                    <a:pt x="56" y="28"/>
                  </a:moveTo>
                  <a:cubicBezTo>
                    <a:pt x="54" y="28"/>
                    <a:pt x="53" y="28"/>
                    <a:pt x="53" y="27"/>
                  </a:cubicBezTo>
                  <a:cubicBezTo>
                    <a:pt x="35" y="11"/>
                    <a:pt x="18" y="15"/>
                    <a:pt x="7" y="21"/>
                  </a:cubicBezTo>
                  <a:cubicBezTo>
                    <a:pt x="5" y="22"/>
                    <a:pt x="3" y="22"/>
                    <a:pt x="1" y="20"/>
                  </a:cubicBezTo>
                  <a:cubicBezTo>
                    <a:pt x="0" y="18"/>
                    <a:pt x="1" y="15"/>
                    <a:pt x="3" y="14"/>
                  </a:cubicBezTo>
                  <a:cubicBezTo>
                    <a:pt x="14" y="7"/>
                    <a:pt x="36" y="0"/>
                    <a:pt x="58" y="21"/>
                  </a:cubicBezTo>
                  <a:cubicBezTo>
                    <a:pt x="60" y="22"/>
                    <a:pt x="60" y="25"/>
                    <a:pt x="59" y="27"/>
                  </a:cubicBezTo>
                  <a:cubicBezTo>
                    <a:pt x="58" y="28"/>
                    <a:pt x="57" y="28"/>
                    <a:pt x="56" y="28"/>
                  </a:cubicBezTo>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73" name="Freeform 297">
              <a:extLst>
                <a:ext uri="{FF2B5EF4-FFF2-40B4-BE49-F238E27FC236}">
                  <a16:creationId xmlns:a16="http://schemas.microsoft.com/office/drawing/2014/main" id="{94F54EE3-DAB1-4FC2-A0DA-05945576869C}"/>
                </a:ext>
              </a:extLst>
            </p:cNvPr>
            <p:cNvSpPr>
              <a:spLocks/>
            </p:cNvSpPr>
            <p:nvPr/>
          </p:nvSpPr>
          <p:spPr bwMode="auto">
            <a:xfrm>
              <a:off x="4208914" y="1164224"/>
              <a:ext cx="4244" cy="1867"/>
            </a:xfrm>
            <a:custGeom>
              <a:avLst/>
              <a:gdLst>
                <a:gd name="T0" fmla="*/ 4 w 40"/>
                <a:gd name="T1" fmla="*/ 18 h 18"/>
                <a:gd name="T2" fmla="*/ 1 w 40"/>
                <a:gd name="T3" fmla="*/ 16 h 18"/>
                <a:gd name="T4" fmla="*/ 2 w 40"/>
                <a:gd name="T5" fmla="*/ 10 h 18"/>
                <a:gd name="T6" fmla="*/ 37 w 40"/>
                <a:gd name="T7" fmla="*/ 8 h 18"/>
                <a:gd name="T8" fmla="*/ 39 w 40"/>
                <a:gd name="T9" fmla="*/ 14 h 18"/>
                <a:gd name="T10" fmla="*/ 33 w 40"/>
                <a:gd name="T11" fmla="*/ 15 h 18"/>
                <a:gd name="T12" fmla="*/ 7 w 40"/>
                <a:gd name="T13" fmla="*/ 17 h 18"/>
                <a:gd name="T14" fmla="*/ 4 w 40"/>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8">
                  <a:moveTo>
                    <a:pt x="4" y="18"/>
                  </a:moveTo>
                  <a:cubicBezTo>
                    <a:pt x="3" y="18"/>
                    <a:pt x="2" y="17"/>
                    <a:pt x="1" y="16"/>
                  </a:cubicBezTo>
                  <a:cubicBezTo>
                    <a:pt x="0" y="15"/>
                    <a:pt x="0" y="12"/>
                    <a:pt x="2" y="10"/>
                  </a:cubicBezTo>
                  <a:cubicBezTo>
                    <a:pt x="9" y="3"/>
                    <a:pt x="24" y="0"/>
                    <a:pt x="37" y="8"/>
                  </a:cubicBezTo>
                  <a:cubicBezTo>
                    <a:pt x="39" y="9"/>
                    <a:pt x="40" y="12"/>
                    <a:pt x="39" y="14"/>
                  </a:cubicBezTo>
                  <a:cubicBezTo>
                    <a:pt x="37" y="16"/>
                    <a:pt x="35" y="16"/>
                    <a:pt x="33" y="15"/>
                  </a:cubicBezTo>
                  <a:cubicBezTo>
                    <a:pt x="22" y="9"/>
                    <a:pt x="12" y="13"/>
                    <a:pt x="7" y="17"/>
                  </a:cubicBezTo>
                  <a:cubicBezTo>
                    <a:pt x="6" y="18"/>
                    <a:pt x="5" y="18"/>
                    <a:pt x="4" y="18"/>
                  </a:cubicBezTo>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74" name="Freeform 298">
              <a:extLst>
                <a:ext uri="{FF2B5EF4-FFF2-40B4-BE49-F238E27FC236}">
                  <a16:creationId xmlns:a16="http://schemas.microsoft.com/office/drawing/2014/main" id="{4B9060C2-84E8-48FD-B28C-3DFA318CAA4D}"/>
                </a:ext>
              </a:extLst>
            </p:cNvPr>
            <p:cNvSpPr>
              <a:spLocks/>
            </p:cNvSpPr>
            <p:nvPr/>
          </p:nvSpPr>
          <p:spPr bwMode="auto">
            <a:xfrm>
              <a:off x="4208320" y="1149540"/>
              <a:ext cx="30132" cy="29792"/>
            </a:xfrm>
            <a:custGeom>
              <a:avLst/>
              <a:gdLst>
                <a:gd name="T0" fmla="*/ 224 w 285"/>
                <a:gd name="T1" fmla="*/ 29 h 280"/>
                <a:gd name="T2" fmla="*/ 130 w 285"/>
                <a:gd name="T3" fmla="*/ 10 h 280"/>
                <a:gd name="T4" fmla="*/ 0 w 285"/>
                <a:gd name="T5" fmla="*/ 23 h 280"/>
                <a:gd name="T6" fmla="*/ 84 w 285"/>
                <a:gd name="T7" fmla="*/ 68 h 280"/>
                <a:gd name="T8" fmla="*/ 207 w 285"/>
                <a:gd name="T9" fmla="*/ 155 h 280"/>
                <a:gd name="T10" fmla="*/ 212 w 285"/>
                <a:gd name="T11" fmla="*/ 200 h 280"/>
                <a:gd name="T12" fmla="*/ 216 w 285"/>
                <a:gd name="T13" fmla="*/ 168 h 280"/>
                <a:gd name="T14" fmla="*/ 236 w 285"/>
                <a:gd name="T15" fmla="*/ 150 h 280"/>
                <a:gd name="T16" fmla="*/ 256 w 285"/>
                <a:gd name="T17" fmla="*/ 172 h 280"/>
                <a:gd name="T18" fmla="*/ 253 w 285"/>
                <a:gd name="T19" fmla="*/ 194 h 280"/>
                <a:gd name="T20" fmla="*/ 225 w 285"/>
                <a:gd name="T21" fmla="*/ 221 h 280"/>
                <a:gd name="T22" fmla="*/ 217 w 285"/>
                <a:gd name="T23" fmla="*/ 222 h 280"/>
                <a:gd name="T24" fmla="*/ 248 w 285"/>
                <a:gd name="T25" fmla="*/ 280 h 280"/>
                <a:gd name="T26" fmla="*/ 281 w 285"/>
                <a:gd name="T27" fmla="*/ 142 h 280"/>
                <a:gd name="T28" fmla="*/ 224 w 285"/>
                <a:gd name="T29" fmla="*/ 2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5" h="280">
                  <a:moveTo>
                    <a:pt x="224" y="29"/>
                  </a:moveTo>
                  <a:cubicBezTo>
                    <a:pt x="196" y="13"/>
                    <a:pt x="162" y="0"/>
                    <a:pt x="130" y="10"/>
                  </a:cubicBezTo>
                  <a:cubicBezTo>
                    <a:pt x="72" y="26"/>
                    <a:pt x="0" y="23"/>
                    <a:pt x="0" y="23"/>
                  </a:cubicBezTo>
                  <a:cubicBezTo>
                    <a:pt x="0" y="23"/>
                    <a:pt x="20" y="87"/>
                    <a:pt x="84" y="68"/>
                  </a:cubicBezTo>
                  <a:cubicBezTo>
                    <a:pt x="205" y="75"/>
                    <a:pt x="207" y="155"/>
                    <a:pt x="207" y="155"/>
                  </a:cubicBezTo>
                  <a:cubicBezTo>
                    <a:pt x="207" y="155"/>
                    <a:pt x="208" y="175"/>
                    <a:pt x="212" y="200"/>
                  </a:cubicBezTo>
                  <a:cubicBezTo>
                    <a:pt x="216" y="168"/>
                    <a:pt x="216" y="168"/>
                    <a:pt x="216" y="168"/>
                  </a:cubicBezTo>
                  <a:cubicBezTo>
                    <a:pt x="217" y="158"/>
                    <a:pt x="226" y="150"/>
                    <a:pt x="236" y="150"/>
                  </a:cubicBezTo>
                  <a:cubicBezTo>
                    <a:pt x="248" y="150"/>
                    <a:pt x="257" y="160"/>
                    <a:pt x="256" y="172"/>
                  </a:cubicBezTo>
                  <a:cubicBezTo>
                    <a:pt x="253" y="194"/>
                    <a:pt x="253" y="194"/>
                    <a:pt x="253" y="194"/>
                  </a:cubicBezTo>
                  <a:cubicBezTo>
                    <a:pt x="251" y="209"/>
                    <a:pt x="240" y="220"/>
                    <a:pt x="225" y="221"/>
                  </a:cubicBezTo>
                  <a:cubicBezTo>
                    <a:pt x="217" y="222"/>
                    <a:pt x="217" y="222"/>
                    <a:pt x="217" y="222"/>
                  </a:cubicBezTo>
                  <a:cubicBezTo>
                    <a:pt x="223" y="246"/>
                    <a:pt x="233" y="270"/>
                    <a:pt x="248" y="280"/>
                  </a:cubicBezTo>
                  <a:cubicBezTo>
                    <a:pt x="266" y="258"/>
                    <a:pt x="276" y="189"/>
                    <a:pt x="281" y="142"/>
                  </a:cubicBezTo>
                  <a:cubicBezTo>
                    <a:pt x="285" y="97"/>
                    <a:pt x="263" y="53"/>
                    <a:pt x="224" y="29"/>
                  </a:cubicBezTo>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75" name="Freeform 299">
              <a:extLst>
                <a:ext uri="{FF2B5EF4-FFF2-40B4-BE49-F238E27FC236}">
                  <a16:creationId xmlns:a16="http://schemas.microsoft.com/office/drawing/2014/main" id="{1B4C452A-886B-4FC3-9420-ACACC9D4F2B7}"/>
                </a:ext>
              </a:extLst>
            </p:cNvPr>
            <p:cNvSpPr>
              <a:spLocks/>
            </p:cNvSpPr>
            <p:nvPr/>
          </p:nvSpPr>
          <p:spPr bwMode="auto">
            <a:xfrm>
              <a:off x="4230558" y="1173985"/>
              <a:ext cx="3141" cy="9676"/>
            </a:xfrm>
            <a:custGeom>
              <a:avLst/>
              <a:gdLst>
                <a:gd name="T0" fmla="*/ 0 w 30"/>
                <a:gd name="T1" fmla="*/ 0 h 91"/>
                <a:gd name="T2" fmla="*/ 13 w 30"/>
                <a:gd name="T3" fmla="*/ 91 h 91"/>
                <a:gd name="T4" fmla="*/ 27 w 30"/>
                <a:gd name="T5" fmla="*/ 46 h 91"/>
                <a:gd name="T6" fmla="*/ 21 w 30"/>
                <a:gd name="T7" fmla="*/ 16 h 91"/>
                <a:gd name="T8" fmla="*/ 10 w 30"/>
                <a:gd name="T9" fmla="*/ 4 h 91"/>
                <a:gd name="T10" fmla="*/ 0 w 30"/>
                <a:gd name="T11" fmla="*/ 0 h 91"/>
              </a:gdLst>
              <a:ahLst/>
              <a:cxnLst>
                <a:cxn ang="0">
                  <a:pos x="T0" y="T1"/>
                </a:cxn>
                <a:cxn ang="0">
                  <a:pos x="T2" y="T3"/>
                </a:cxn>
                <a:cxn ang="0">
                  <a:pos x="T4" y="T5"/>
                </a:cxn>
                <a:cxn ang="0">
                  <a:pos x="T6" y="T7"/>
                </a:cxn>
                <a:cxn ang="0">
                  <a:pos x="T8" y="T9"/>
                </a:cxn>
                <a:cxn ang="0">
                  <a:pos x="T10" y="T11"/>
                </a:cxn>
              </a:cxnLst>
              <a:rect l="0" t="0" r="r" b="b"/>
              <a:pathLst>
                <a:path w="30" h="91">
                  <a:moveTo>
                    <a:pt x="0" y="0"/>
                  </a:moveTo>
                  <a:cubicBezTo>
                    <a:pt x="13" y="91"/>
                    <a:pt x="13" y="91"/>
                    <a:pt x="13" y="91"/>
                  </a:cubicBezTo>
                  <a:cubicBezTo>
                    <a:pt x="25" y="80"/>
                    <a:pt x="30" y="62"/>
                    <a:pt x="27" y="46"/>
                  </a:cubicBezTo>
                  <a:cubicBezTo>
                    <a:pt x="21" y="16"/>
                    <a:pt x="21" y="16"/>
                    <a:pt x="21" y="16"/>
                  </a:cubicBezTo>
                  <a:cubicBezTo>
                    <a:pt x="20" y="10"/>
                    <a:pt x="16" y="6"/>
                    <a:pt x="10" y="4"/>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76" name="Freeform 300">
              <a:extLst>
                <a:ext uri="{FF2B5EF4-FFF2-40B4-BE49-F238E27FC236}">
                  <a16:creationId xmlns:a16="http://schemas.microsoft.com/office/drawing/2014/main" id="{0D5CE6D0-6A83-48B4-B07F-01D9375DF32A}"/>
                </a:ext>
              </a:extLst>
            </p:cNvPr>
            <p:cNvSpPr>
              <a:spLocks/>
            </p:cNvSpPr>
            <p:nvPr/>
          </p:nvSpPr>
          <p:spPr bwMode="auto">
            <a:xfrm>
              <a:off x="4152301" y="1140458"/>
              <a:ext cx="49993" cy="57293"/>
            </a:xfrm>
            <a:custGeom>
              <a:avLst/>
              <a:gdLst>
                <a:gd name="T0" fmla="*/ 589 w 589"/>
                <a:gd name="T1" fmla="*/ 225 h 675"/>
                <a:gd name="T2" fmla="*/ 579 w 589"/>
                <a:gd name="T3" fmla="*/ 0 h 675"/>
                <a:gd name="T4" fmla="*/ 354 w 589"/>
                <a:gd name="T5" fmla="*/ 27 h 675"/>
                <a:gd name="T6" fmla="*/ 292 w 589"/>
                <a:gd name="T7" fmla="*/ 101 h 675"/>
                <a:gd name="T8" fmla="*/ 460 w 589"/>
                <a:gd name="T9" fmla="*/ 81 h 675"/>
                <a:gd name="T10" fmla="*/ 0 w 589"/>
                <a:gd name="T11" fmla="*/ 627 h 675"/>
                <a:gd name="T12" fmla="*/ 58 w 589"/>
                <a:gd name="T13" fmla="*/ 675 h 675"/>
                <a:gd name="T14" fmla="*/ 519 w 589"/>
                <a:gd name="T15" fmla="*/ 130 h 675"/>
                <a:gd name="T16" fmla="*/ 526 w 589"/>
                <a:gd name="T17" fmla="*/ 299 h 675"/>
                <a:gd name="T18" fmla="*/ 589 w 589"/>
                <a:gd name="T19" fmla="*/ 225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9" h="675">
                  <a:moveTo>
                    <a:pt x="589" y="225"/>
                  </a:moveTo>
                  <a:lnTo>
                    <a:pt x="579" y="0"/>
                  </a:lnTo>
                  <a:lnTo>
                    <a:pt x="354" y="27"/>
                  </a:lnTo>
                  <a:lnTo>
                    <a:pt x="292" y="101"/>
                  </a:lnTo>
                  <a:lnTo>
                    <a:pt x="460" y="81"/>
                  </a:lnTo>
                  <a:lnTo>
                    <a:pt x="0" y="627"/>
                  </a:lnTo>
                  <a:lnTo>
                    <a:pt x="58" y="675"/>
                  </a:lnTo>
                  <a:lnTo>
                    <a:pt x="519" y="130"/>
                  </a:lnTo>
                  <a:lnTo>
                    <a:pt x="526" y="299"/>
                  </a:lnTo>
                  <a:lnTo>
                    <a:pt x="589" y="225"/>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77" name="Freeform 301">
              <a:extLst>
                <a:ext uri="{FF2B5EF4-FFF2-40B4-BE49-F238E27FC236}">
                  <a16:creationId xmlns:a16="http://schemas.microsoft.com/office/drawing/2014/main" id="{E0A58550-74BC-4623-B42C-F6AD277C9710}"/>
                </a:ext>
              </a:extLst>
            </p:cNvPr>
            <p:cNvSpPr>
              <a:spLocks/>
            </p:cNvSpPr>
            <p:nvPr/>
          </p:nvSpPr>
          <p:spPr bwMode="auto">
            <a:xfrm>
              <a:off x="4168682" y="1168553"/>
              <a:ext cx="4838" cy="7384"/>
            </a:xfrm>
            <a:custGeom>
              <a:avLst/>
              <a:gdLst>
                <a:gd name="T0" fmla="*/ 44 w 46"/>
                <a:gd name="T1" fmla="*/ 38 h 69"/>
                <a:gd name="T2" fmla="*/ 34 w 46"/>
                <a:gd name="T3" fmla="*/ 9 h 69"/>
                <a:gd name="T4" fmla="*/ 21 w 46"/>
                <a:gd name="T5" fmla="*/ 2 h 69"/>
                <a:gd name="T6" fmla="*/ 15 w 46"/>
                <a:gd name="T7" fmla="*/ 15 h 69"/>
                <a:gd name="T8" fmla="*/ 18 w 46"/>
                <a:gd name="T9" fmla="*/ 26 h 69"/>
                <a:gd name="T10" fmla="*/ 9 w 46"/>
                <a:gd name="T11" fmla="*/ 24 h 69"/>
                <a:gd name="T12" fmla="*/ 8 w 46"/>
                <a:gd name="T13" fmla="*/ 24 h 69"/>
                <a:gd name="T14" fmla="*/ 2 w 46"/>
                <a:gd name="T15" fmla="*/ 36 h 69"/>
                <a:gd name="T16" fmla="*/ 10 w 46"/>
                <a:gd name="T17" fmla="*/ 61 h 69"/>
                <a:gd name="T18" fmla="*/ 23 w 46"/>
                <a:gd name="T19" fmla="*/ 68 h 69"/>
                <a:gd name="T20" fmla="*/ 24 w 46"/>
                <a:gd name="T21" fmla="*/ 67 h 69"/>
                <a:gd name="T22" fmla="*/ 30 w 46"/>
                <a:gd name="T23" fmla="*/ 55 h 69"/>
                <a:gd name="T24" fmla="*/ 28 w 46"/>
                <a:gd name="T25" fmla="*/ 49 h 69"/>
                <a:gd name="T26" fmla="*/ 38 w 46"/>
                <a:gd name="T27" fmla="*/ 51 h 69"/>
                <a:gd name="T28" fmla="*/ 44 w 46"/>
                <a:gd name="T29" fmla="*/ 3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69">
                  <a:moveTo>
                    <a:pt x="44" y="38"/>
                  </a:moveTo>
                  <a:cubicBezTo>
                    <a:pt x="34" y="9"/>
                    <a:pt x="34" y="9"/>
                    <a:pt x="34" y="9"/>
                  </a:cubicBezTo>
                  <a:cubicBezTo>
                    <a:pt x="32" y="3"/>
                    <a:pt x="27" y="0"/>
                    <a:pt x="21" y="2"/>
                  </a:cubicBezTo>
                  <a:cubicBezTo>
                    <a:pt x="16" y="4"/>
                    <a:pt x="13" y="10"/>
                    <a:pt x="15" y="15"/>
                  </a:cubicBezTo>
                  <a:cubicBezTo>
                    <a:pt x="18" y="26"/>
                    <a:pt x="18" y="26"/>
                    <a:pt x="18" y="26"/>
                  </a:cubicBezTo>
                  <a:cubicBezTo>
                    <a:pt x="16" y="23"/>
                    <a:pt x="12" y="22"/>
                    <a:pt x="9" y="24"/>
                  </a:cubicBezTo>
                  <a:cubicBezTo>
                    <a:pt x="8" y="24"/>
                    <a:pt x="8" y="24"/>
                    <a:pt x="8" y="24"/>
                  </a:cubicBezTo>
                  <a:cubicBezTo>
                    <a:pt x="3" y="26"/>
                    <a:pt x="0" y="31"/>
                    <a:pt x="2" y="36"/>
                  </a:cubicBezTo>
                  <a:cubicBezTo>
                    <a:pt x="10" y="61"/>
                    <a:pt x="10" y="61"/>
                    <a:pt x="10" y="61"/>
                  </a:cubicBezTo>
                  <a:cubicBezTo>
                    <a:pt x="12" y="67"/>
                    <a:pt x="18" y="69"/>
                    <a:pt x="23" y="68"/>
                  </a:cubicBezTo>
                  <a:cubicBezTo>
                    <a:pt x="24" y="67"/>
                    <a:pt x="24" y="67"/>
                    <a:pt x="24" y="67"/>
                  </a:cubicBezTo>
                  <a:cubicBezTo>
                    <a:pt x="29" y="65"/>
                    <a:pt x="32" y="60"/>
                    <a:pt x="30" y="55"/>
                  </a:cubicBezTo>
                  <a:cubicBezTo>
                    <a:pt x="28" y="49"/>
                    <a:pt x="28" y="49"/>
                    <a:pt x="28" y="49"/>
                  </a:cubicBezTo>
                  <a:cubicBezTo>
                    <a:pt x="31" y="51"/>
                    <a:pt x="34" y="52"/>
                    <a:pt x="38" y="51"/>
                  </a:cubicBezTo>
                  <a:cubicBezTo>
                    <a:pt x="43" y="49"/>
                    <a:pt x="46" y="43"/>
                    <a:pt x="44" y="38"/>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78" name="Freeform 302">
              <a:extLst>
                <a:ext uri="{FF2B5EF4-FFF2-40B4-BE49-F238E27FC236}">
                  <a16:creationId xmlns:a16="http://schemas.microsoft.com/office/drawing/2014/main" id="{B7F48FEA-3496-4F46-B1D4-8B3B992DED02}"/>
                </a:ext>
              </a:extLst>
            </p:cNvPr>
            <p:cNvSpPr>
              <a:spLocks/>
            </p:cNvSpPr>
            <p:nvPr/>
          </p:nvSpPr>
          <p:spPr bwMode="auto">
            <a:xfrm>
              <a:off x="4166645" y="1173137"/>
              <a:ext cx="3820" cy="4923"/>
            </a:xfrm>
            <a:custGeom>
              <a:avLst/>
              <a:gdLst>
                <a:gd name="T0" fmla="*/ 21 w 36"/>
                <a:gd name="T1" fmla="*/ 6 h 46"/>
                <a:gd name="T2" fmla="*/ 7 w 36"/>
                <a:gd name="T3" fmla="*/ 2 h 46"/>
                <a:gd name="T4" fmla="*/ 7 w 36"/>
                <a:gd name="T5" fmla="*/ 3 h 46"/>
                <a:gd name="T6" fmla="*/ 3 w 36"/>
                <a:gd name="T7" fmla="*/ 16 h 46"/>
                <a:gd name="T8" fmla="*/ 16 w 36"/>
                <a:gd name="T9" fmla="*/ 39 h 46"/>
                <a:gd name="T10" fmla="*/ 29 w 36"/>
                <a:gd name="T11" fmla="*/ 43 h 46"/>
                <a:gd name="T12" fmla="*/ 30 w 36"/>
                <a:gd name="T13" fmla="*/ 43 h 46"/>
                <a:gd name="T14" fmla="*/ 34 w 36"/>
                <a:gd name="T15" fmla="*/ 29 h 46"/>
                <a:gd name="T16" fmla="*/ 21 w 36"/>
                <a:gd name="T17"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6">
                  <a:moveTo>
                    <a:pt x="21" y="6"/>
                  </a:moveTo>
                  <a:cubicBezTo>
                    <a:pt x="18" y="1"/>
                    <a:pt x="12" y="0"/>
                    <a:pt x="7" y="2"/>
                  </a:cubicBezTo>
                  <a:cubicBezTo>
                    <a:pt x="7" y="3"/>
                    <a:pt x="7" y="3"/>
                    <a:pt x="7" y="3"/>
                  </a:cubicBezTo>
                  <a:cubicBezTo>
                    <a:pt x="2" y="5"/>
                    <a:pt x="0" y="11"/>
                    <a:pt x="3" y="16"/>
                  </a:cubicBezTo>
                  <a:cubicBezTo>
                    <a:pt x="16" y="39"/>
                    <a:pt x="16" y="39"/>
                    <a:pt x="16" y="39"/>
                  </a:cubicBezTo>
                  <a:cubicBezTo>
                    <a:pt x="18" y="44"/>
                    <a:pt x="24" y="46"/>
                    <a:pt x="29" y="43"/>
                  </a:cubicBezTo>
                  <a:cubicBezTo>
                    <a:pt x="30" y="43"/>
                    <a:pt x="30" y="43"/>
                    <a:pt x="30" y="43"/>
                  </a:cubicBezTo>
                  <a:cubicBezTo>
                    <a:pt x="35" y="40"/>
                    <a:pt x="36" y="34"/>
                    <a:pt x="34" y="29"/>
                  </a:cubicBezTo>
                  <a:lnTo>
                    <a:pt x="21" y="6"/>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79" name="Freeform 303">
              <a:extLst>
                <a:ext uri="{FF2B5EF4-FFF2-40B4-BE49-F238E27FC236}">
                  <a16:creationId xmlns:a16="http://schemas.microsoft.com/office/drawing/2014/main" id="{50210797-E18A-4D55-ABBC-CB2D34BD5D52}"/>
                </a:ext>
              </a:extLst>
            </p:cNvPr>
            <p:cNvSpPr>
              <a:spLocks/>
            </p:cNvSpPr>
            <p:nvPr/>
          </p:nvSpPr>
          <p:spPr bwMode="auto">
            <a:xfrm>
              <a:off x="4165542" y="1175768"/>
              <a:ext cx="3141" cy="3735"/>
            </a:xfrm>
            <a:custGeom>
              <a:avLst/>
              <a:gdLst>
                <a:gd name="T0" fmla="*/ 17 w 30"/>
                <a:gd name="T1" fmla="*/ 5 h 35"/>
                <a:gd name="T2" fmla="*/ 6 w 30"/>
                <a:gd name="T3" fmla="*/ 3 h 35"/>
                <a:gd name="T4" fmla="*/ 5 w 30"/>
                <a:gd name="T5" fmla="*/ 4 h 35"/>
                <a:gd name="T6" fmla="*/ 2 w 30"/>
                <a:gd name="T7" fmla="*/ 15 h 35"/>
                <a:gd name="T8" fmla="*/ 12 w 30"/>
                <a:gd name="T9" fmla="*/ 30 h 35"/>
                <a:gd name="T10" fmla="*/ 23 w 30"/>
                <a:gd name="T11" fmla="*/ 32 h 35"/>
                <a:gd name="T12" fmla="*/ 25 w 30"/>
                <a:gd name="T13" fmla="*/ 31 h 35"/>
                <a:gd name="T14" fmla="*/ 27 w 30"/>
                <a:gd name="T15" fmla="*/ 20 h 35"/>
                <a:gd name="T16" fmla="*/ 17 w 30"/>
                <a:gd name="T17"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5">
                  <a:moveTo>
                    <a:pt x="17" y="5"/>
                  </a:moveTo>
                  <a:cubicBezTo>
                    <a:pt x="15" y="1"/>
                    <a:pt x="10" y="0"/>
                    <a:pt x="6" y="3"/>
                  </a:cubicBezTo>
                  <a:cubicBezTo>
                    <a:pt x="5" y="4"/>
                    <a:pt x="5" y="4"/>
                    <a:pt x="5" y="4"/>
                  </a:cubicBezTo>
                  <a:cubicBezTo>
                    <a:pt x="1" y="6"/>
                    <a:pt x="0" y="11"/>
                    <a:pt x="2" y="15"/>
                  </a:cubicBezTo>
                  <a:cubicBezTo>
                    <a:pt x="12" y="30"/>
                    <a:pt x="12" y="30"/>
                    <a:pt x="12" y="30"/>
                  </a:cubicBezTo>
                  <a:cubicBezTo>
                    <a:pt x="15" y="34"/>
                    <a:pt x="20" y="35"/>
                    <a:pt x="23" y="32"/>
                  </a:cubicBezTo>
                  <a:cubicBezTo>
                    <a:pt x="25" y="31"/>
                    <a:pt x="25" y="31"/>
                    <a:pt x="25" y="31"/>
                  </a:cubicBezTo>
                  <a:cubicBezTo>
                    <a:pt x="29" y="29"/>
                    <a:pt x="30" y="24"/>
                    <a:pt x="27" y="20"/>
                  </a:cubicBezTo>
                  <a:lnTo>
                    <a:pt x="17" y="5"/>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80" name="Freeform 304">
              <a:extLst>
                <a:ext uri="{FF2B5EF4-FFF2-40B4-BE49-F238E27FC236}">
                  <a16:creationId xmlns:a16="http://schemas.microsoft.com/office/drawing/2014/main" id="{D5550581-A01C-4F58-BDCC-0D555D7D1CC2}"/>
                </a:ext>
              </a:extLst>
            </p:cNvPr>
            <p:cNvSpPr>
              <a:spLocks/>
            </p:cNvSpPr>
            <p:nvPr/>
          </p:nvSpPr>
          <p:spPr bwMode="auto">
            <a:xfrm>
              <a:off x="4167069" y="1170845"/>
              <a:ext cx="11713" cy="20031"/>
            </a:xfrm>
            <a:custGeom>
              <a:avLst/>
              <a:gdLst>
                <a:gd name="T0" fmla="*/ 107 w 110"/>
                <a:gd name="T1" fmla="*/ 47 h 189"/>
                <a:gd name="T2" fmla="*/ 82 w 110"/>
                <a:gd name="T3" fmla="*/ 0 h 189"/>
                <a:gd name="T4" fmla="*/ 82 w 110"/>
                <a:gd name="T5" fmla="*/ 0 h 189"/>
                <a:gd name="T6" fmla="*/ 71 w 110"/>
                <a:gd name="T7" fmla="*/ 26 h 189"/>
                <a:gd name="T8" fmla="*/ 79 w 110"/>
                <a:gd name="T9" fmla="*/ 45 h 189"/>
                <a:gd name="T10" fmla="*/ 67 w 110"/>
                <a:gd name="T11" fmla="*/ 65 h 189"/>
                <a:gd name="T12" fmla="*/ 0 w 110"/>
                <a:gd name="T13" fmla="*/ 144 h 189"/>
                <a:gd name="T14" fmla="*/ 33 w 110"/>
                <a:gd name="T15" fmla="*/ 189 h 189"/>
                <a:gd name="T16" fmla="*/ 90 w 110"/>
                <a:gd name="T17" fmla="*/ 156 h 189"/>
                <a:gd name="T18" fmla="*/ 85 w 110"/>
                <a:gd name="T19" fmla="*/ 132 h 189"/>
                <a:gd name="T20" fmla="*/ 108 w 110"/>
                <a:gd name="T21" fmla="*/ 62 h 189"/>
                <a:gd name="T22" fmla="*/ 107 w 110"/>
                <a:gd name="T23" fmla="*/ 4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 h="189">
                  <a:moveTo>
                    <a:pt x="107" y="47"/>
                  </a:moveTo>
                  <a:cubicBezTo>
                    <a:pt x="82" y="0"/>
                    <a:pt x="82" y="0"/>
                    <a:pt x="82" y="0"/>
                  </a:cubicBezTo>
                  <a:cubicBezTo>
                    <a:pt x="82" y="0"/>
                    <a:pt x="82" y="0"/>
                    <a:pt x="82" y="0"/>
                  </a:cubicBezTo>
                  <a:cubicBezTo>
                    <a:pt x="71" y="4"/>
                    <a:pt x="66" y="16"/>
                    <a:pt x="71" y="26"/>
                  </a:cubicBezTo>
                  <a:cubicBezTo>
                    <a:pt x="79" y="45"/>
                    <a:pt x="79" y="45"/>
                    <a:pt x="79" y="45"/>
                  </a:cubicBezTo>
                  <a:cubicBezTo>
                    <a:pt x="67" y="65"/>
                    <a:pt x="67" y="65"/>
                    <a:pt x="67" y="65"/>
                  </a:cubicBezTo>
                  <a:cubicBezTo>
                    <a:pt x="0" y="144"/>
                    <a:pt x="0" y="144"/>
                    <a:pt x="0" y="144"/>
                  </a:cubicBezTo>
                  <a:cubicBezTo>
                    <a:pt x="9" y="164"/>
                    <a:pt x="17" y="175"/>
                    <a:pt x="33" y="189"/>
                  </a:cubicBezTo>
                  <a:cubicBezTo>
                    <a:pt x="90" y="156"/>
                    <a:pt x="90" y="156"/>
                    <a:pt x="90" y="156"/>
                  </a:cubicBezTo>
                  <a:cubicBezTo>
                    <a:pt x="85" y="132"/>
                    <a:pt x="85" y="132"/>
                    <a:pt x="85" y="132"/>
                  </a:cubicBezTo>
                  <a:cubicBezTo>
                    <a:pt x="108" y="62"/>
                    <a:pt x="108" y="62"/>
                    <a:pt x="108" y="62"/>
                  </a:cubicBezTo>
                  <a:cubicBezTo>
                    <a:pt x="110" y="57"/>
                    <a:pt x="109" y="51"/>
                    <a:pt x="107" y="47"/>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81" name="Freeform 305">
              <a:extLst>
                <a:ext uri="{FF2B5EF4-FFF2-40B4-BE49-F238E27FC236}">
                  <a16:creationId xmlns:a16="http://schemas.microsoft.com/office/drawing/2014/main" id="{B8C70615-B9CC-4AF5-A490-B83019E95C9F}"/>
                </a:ext>
              </a:extLst>
            </p:cNvPr>
            <p:cNvSpPr>
              <a:spLocks/>
            </p:cNvSpPr>
            <p:nvPr/>
          </p:nvSpPr>
          <p:spPr bwMode="auto">
            <a:xfrm>
              <a:off x="4220967" y="1174664"/>
              <a:ext cx="2292" cy="1952"/>
            </a:xfrm>
            <a:custGeom>
              <a:avLst/>
              <a:gdLst>
                <a:gd name="T0" fmla="*/ 0 w 21"/>
                <a:gd name="T1" fmla="*/ 8 h 19"/>
                <a:gd name="T2" fmla="*/ 21 w 21"/>
                <a:gd name="T3" fmla="*/ 19 h 19"/>
                <a:gd name="T4" fmla="*/ 0 w 21"/>
                <a:gd name="T5" fmla="*/ 8 h 19"/>
              </a:gdLst>
              <a:ahLst/>
              <a:cxnLst>
                <a:cxn ang="0">
                  <a:pos x="T0" y="T1"/>
                </a:cxn>
                <a:cxn ang="0">
                  <a:pos x="T2" y="T3"/>
                </a:cxn>
                <a:cxn ang="0">
                  <a:pos x="T4" y="T5"/>
                </a:cxn>
              </a:cxnLst>
              <a:rect l="0" t="0" r="r" b="b"/>
              <a:pathLst>
                <a:path w="21" h="19">
                  <a:moveTo>
                    <a:pt x="0" y="8"/>
                  </a:moveTo>
                  <a:cubicBezTo>
                    <a:pt x="21" y="19"/>
                    <a:pt x="21" y="19"/>
                    <a:pt x="21" y="19"/>
                  </a:cubicBezTo>
                  <a:cubicBezTo>
                    <a:pt x="21" y="19"/>
                    <a:pt x="18" y="0"/>
                    <a:pt x="0" y="8"/>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82" name="Freeform 306">
              <a:extLst>
                <a:ext uri="{FF2B5EF4-FFF2-40B4-BE49-F238E27FC236}">
                  <a16:creationId xmlns:a16="http://schemas.microsoft.com/office/drawing/2014/main" id="{5061C165-7E46-4C03-BAA9-833E65B01FD8}"/>
                </a:ext>
              </a:extLst>
            </p:cNvPr>
            <p:cNvSpPr>
              <a:spLocks/>
            </p:cNvSpPr>
            <p:nvPr/>
          </p:nvSpPr>
          <p:spPr bwMode="auto">
            <a:xfrm>
              <a:off x="4205434" y="1200722"/>
              <a:ext cx="45664" cy="26991"/>
            </a:xfrm>
            <a:custGeom>
              <a:avLst/>
              <a:gdLst>
                <a:gd name="T0" fmla="*/ 480 w 538"/>
                <a:gd name="T1" fmla="*/ 232 h 318"/>
                <a:gd name="T2" fmla="*/ 538 w 538"/>
                <a:gd name="T3" fmla="*/ 211 h 318"/>
                <a:gd name="T4" fmla="*/ 479 w 538"/>
                <a:gd name="T5" fmla="*/ 156 h 318"/>
                <a:gd name="T6" fmla="*/ 140 w 538"/>
                <a:gd name="T7" fmla="*/ 112 h 318"/>
                <a:gd name="T8" fmla="*/ 277 w 538"/>
                <a:gd name="T9" fmla="*/ 13 h 318"/>
                <a:gd name="T10" fmla="*/ 182 w 538"/>
                <a:gd name="T11" fmla="*/ 0 h 318"/>
                <a:gd name="T12" fmla="*/ 0 w 538"/>
                <a:gd name="T13" fmla="*/ 133 h 318"/>
                <a:gd name="T14" fmla="*/ 145 w 538"/>
                <a:gd name="T15" fmla="*/ 307 h 318"/>
                <a:gd name="T16" fmla="*/ 240 w 538"/>
                <a:gd name="T17" fmla="*/ 318 h 318"/>
                <a:gd name="T18" fmla="*/ 131 w 538"/>
                <a:gd name="T19" fmla="*/ 188 h 318"/>
                <a:gd name="T20" fmla="*/ 480 w 538"/>
                <a:gd name="T21" fmla="*/ 23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8" h="318">
                  <a:moveTo>
                    <a:pt x="480" y="232"/>
                  </a:moveTo>
                  <a:lnTo>
                    <a:pt x="538" y="211"/>
                  </a:lnTo>
                  <a:lnTo>
                    <a:pt x="479" y="156"/>
                  </a:lnTo>
                  <a:lnTo>
                    <a:pt x="140" y="112"/>
                  </a:lnTo>
                  <a:lnTo>
                    <a:pt x="277" y="13"/>
                  </a:lnTo>
                  <a:lnTo>
                    <a:pt x="182" y="0"/>
                  </a:lnTo>
                  <a:lnTo>
                    <a:pt x="0" y="133"/>
                  </a:lnTo>
                  <a:lnTo>
                    <a:pt x="145" y="307"/>
                  </a:lnTo>
                  <a:lnTo>
                    <a:pt x="240" y="318"/>
                  </a:lnTo>
                  <a:lnTo>
                    <a:pt x="131" y="188"/>
                  </a:lnTo>
                  <a:lnTo>
                    <a:pt x="480" y="232"/>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83" name="Freeform 307">
              <a:extLst>
                <a:ext uri="{FF2B5EF4-FFF2-40B4-BE49-F238E27FC236}">
                  <a16:creationId xmlns:a16="http://schemas.microsoft.com/office/drawing/2014/main" id="{479F6F27-1FD8-4FAD-A382-3C9128181937}"/>
                </a:ext>
              </a:extLst>
            </p:cNvPr>
            <p:cNvSpPr>
              <a:spLocks/>
            </p:cNvSpPr>
            <p:nvPr/>
          </p:nvSpPr>
          <p:spPr bwMode="auto">
            <a:xfrm>
              <a:off x="4255003" y="1200213"/>
              <a:ext cx="10864" cy="13580"/>
            </a:xfrm>
            <a:custGeom>
              <a:avLst/>
              <a:gdLst>
                <a:gd name="T0" fmla="*/ 44 w 128"/>
                <a:gd name="T1" fmla="*/ 160 h 160"/>
                <a:gd name="T2" fmla="*/ 128 w 128"/>
                <a:gd name="T3" fmla="*/ 39 h 160"/>
                <a:gd name="T4" fmla="*/ 73 w 128"/>
                <a:gd name="T5" fmla="*/ 0 h 160"/>
                <a:gd name="T6" fmla="*/ 0 w 128"/>
                <a:gd name="T7" fmla="*/ 105 h 160"/>
                <a:gd name="T8" fmla="*/ 44 w 128"/>
                <a:gd name="T9" fmla="*/ 160 h 160"/>
              </a:gdLst>
              <a:ahLst/>
              <a:cxnLst>
                <a:cxn ang="0">
                  <a:pos x="T0" y="T1"/>
                </a:cxn>
                <a:cxn ang="0">
                  <a:pos x="T2" y="T3"/>
                </a:cxn>
                <a:cxn ang="0">
                  <a:pos x="T4" y="T5"/>
                </a:cxn>
                <a:cxn ang="0">
                  <a:pos x="T6" y="T7"/>
                </a:cxn>
                <a:cxn ang="0">
                  <a:pos x="T8" y="T9"/>
                </a:cxn>
              </a:cxnLst>
              <a:rect l="0" t="0" r="r" b="b"/>
              <a:pathLst>
                <a:path w="128" h="160">
                  <a:moveTo>
                    <a:pt x="44" y="160"/>
                  </a:moveTo>
                  <a:lnTo>
                    <a:pt x="128" y="39"/>
                  </a:lnTo>
                  <a:lnTo>
                    <a:pt x="73" y="0"/>
                  </a:lnTo>
                  <a:lnTo>
                    <a:pt x="0" y="105"/>
                  </a:lnTo>
                  <a:lnTo>
                    <a:pt x="44" y="16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84" name="Freeform 308">
              <a:extLst>
                <a:ext uri="{FF2B5EF4-FFF2-40B4-BE49-F238E27FC236}">
                  <a16:creationId xmlns:a16="http://schemas.microsoft.com/office/drawing/2014/main" id="{8EB34C09-169C-4DB4-83ED-2A739EB6A95A}"/>
                </a:ext>
              </a:extLst>
            </p:cNvPr>
            <p:cNvSpPr>
              <a:spLocks/>
            </p:cNvSpPr>
            <p:nvPr/>
          </p:nvSpPr>
          <p:spPr bwMode="auto">
            <a:xfrm>
              <a:off x="4219949" y="1202250"/>
              <a:ext cx="31150" cy="27416"/>
            </a:xfrm>
            <a:custGeom>
              <a:avLst/>
              <a:gdLst>
                <a:gd name="T0" fmla="*/ 337 w 367"/>
                <a:gd name="T1" fmla="*/ 249 h 323"/>
                <a:gd name="T2" fmla="*/ 367 w 367"/>
                <a:gd name="T3" fmla="*/ 193 h 323"/>
                <a:gd name="T4" fmla="*/ 340 w 367"/>
                <a:gd name="T5" fmla="*/ 169 h 323"/>
                <a:gd name="T6" fmla="*/ 142 w 367"/>
                <a:gd name="T7" fmla="*/ 99 h 323"/>
                <a:gd name="T8" fmla="*/ 296 w 367"/>
                <a:gd name="T9" fmla="*/ 31 h 323"/>
                <a:gd name="T10" fmla="*/ 206 w 367"/>
                <a:gd name="T11" fmla="*/ 0 h 323"/>
                <a:gd name="T12" fmla="*/ 0 w 367"/>
                <a:gd name="T13" fmla="*/ 90 h 323"/>
                <a:gd name="T14" fmla="*/ 105 w 367"/>
                <a:gd name="T15" fmla="*/ 290 h 323"/>
                <a:gd name="T16" fmla="*/ 196 w 367"/>
                <a:gd name="T17" fmla="*/ 323 h 323"/>
                <a:gd name="T18" fmla="*/ 116 w 367"/>
                <a:gd name="T19" fmla="*/ 171 h 323"/>
                <a:gd name="T20" fmla="*/ 337 w 367"/>
                <a:gd name="T21" fmla="*/ 24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323">
                  <a:moveTo>
                    <a:pt x="337" y="249"/>
                  </a:moveTo>
                  <a:lnTo>
                    <a:pt x="367" y="193"/>
                  </a:lnTo>
                  <a:lnTo>
                    <a:pt x="340" y="169"/>
                  </a:lnTo>
                  <a:lnTo>
                    <a:pt x="142" y="99"/>
                  </a:lnTo>
                  <a:lnTo>
                    <a:pt x="296" y="31"/>
                  </a:lnTo>
                  <a:lnTo>
                    <a:pt x="206" y="0"/>
                  </a:lnTo>
                  <a:lnTo>
                    <a:pt x="0" y="90"/>
                  </a:lnTo>
                  <a:lnTo>
                    <a:pt x="105" y="290"/>
                  </a:lnTo>
                  <a:lnTo>
                    <a:pt x="196" y="323"/>
                  </a:lnTo>
                  <a:lnTo>
                    <a:pt x="116" y="171"/>
                  </a:lnTo>
                  <a:lnTo>
                    <a:pt x="337" y="249"/>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85" name="Freeform 309">
              <a:extLst>
                <a:ext uri="{FF2B5EF4-FFF2-40B4-BE49-F238E27FC236}">
                  <a16:creationId xmlns:a16="http://schemas.microsoft.com/office/drawing/2014/main" id="{71279372-1A91-4ED7-BD90-276FF0038BBB}"/>
                </a:ext>
              </a:extLst>
            </p:cNvPr>
            <p:cNvSpPr>
              <a:spLocks/>
            </p:cNvSpPr>
            <p:nvPr/>
          </p:nvSpPr>
          <p:spPr bwMode="auto">
            <a:xfrm>
              <a:off x="4260096" y="1215321"/>
              <a:ext cx="17145" cy="24530"/>
            </a:xfrm>
            <a:custGeom>
              <a:avLst/>
              <a:gdLst>
                <a:gd name="T0" fmla="*/ 162 w 162"/>
                <a:gd name="T1" fmla="*/ 207 h 231"/>
                <a:gd name="T2" fmla="*/ 68 w 162"/>
                <a:gd name="T3" fmla="*/ 9 h 231"/>
                <a:gd name="T4" fmla="*/ 0 w 162"/>
                <a:gd name="T5" fmla="*/ 0 h 231"/>
                <a:gd name="T6" fmla="*/ 3 w 162"/>
                <a:gd name="T7" fmla="*/ 62 h 231"/>
                <a:gd name="T8" fmla="*/ 2 w 162"/>
                <a:gd name="T9" fmla="*/ 62 h 231"/>
                <a:gd name="T10" fmla="*/ 33 w 162"/>
                <a:gd name="T11" fmla="*/ 66 h 231"/>
                <a:gd name="T12" fmla="*/ 112 w 162"/>
                <a:gd name="T13" fmla="*/ 231 h 231"/>
                <a:gd name="T14" fmla="*/ 162 w 162"/>
                <a:gd name="T15" fmla="*/ 207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231">
                  <a:moveTo>
                    <a:pt x="162" y="207"/>
                  </a:moveTo>
                  <a:cubicBezTo>
                    <a:pt x="68" y="9"/>
                    <a:pt x="68" y="9"/>
                    <a:pt x="68" y="9"/>
                  </a:cubicBezTo>
                  <a:cubicBezTo>
                    <a:pt x="0" y="0"/>
                    <a:pt x="0" y="0"/>
                    <a:pt x="0" y="0"/>
                  </a:cubicBezTo>
                  <a:cubicBezTo>
                    <a:pt x="16" y="17"/>
                    <a:pt x="17" y="43"/>
                    <a:pt x="3" y="62"/>
                  </a:cubicBezTo>
                  <a:cubicBezTo>
                    <a:pt x="2" y="62"/>
                    <a:pt x="2" y="62"/>
                    <a:pt x="2" y="62"/>
                  </a:cubicBezTo>
                  <a:cubicBezTo>
                    <a:pt x="33" y="66"/>
                    <a:pt x="33" y="66"/>
                    <a:pt x="33" y="66"/>
                  </a:cubicBezTo>
                  <a:cubicBezTo>
                    <a:pt x="112" y="231"/>
                    <a:pt x="112" y="231"/>
                    <a:pt x="112" y="231"/>
                  </a:cubicBezTo>
                  <a:lnTo>
                    <a:pt x="162" y="20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86" name="Freeform 310">
              <a:extLst>
                <a:ext uri="{FF2B5EF4-FFF2-40B4-BE49-F238E27FC236}">
                  <a16:creationId xmlns:a16="http://schemas.microsoft.com/office/drawing/2014/main" id="{55119F3D-F482-426E-9042-BBAB74230E87}"/>
                </a:ext>
              </a:extLst>
            </p:cNvPr>
            <p:cNvSpPr>
              <a:spLocks/>
            </p:cNvSpPr>
            <p:nvPr/>
          </p:nvSpPr>
          <p:spPr bwMode="auto">
            <a:xfrm>
              <a:off x="4221307" y="1231787"/>
              <a:ext cx="45580" cy="20201"/>
            </a:xfrm>
            <a:custGeom>
              <a:avLst/>
              <a:gdLst>
                <a:gd name="T0" fmla="*/ 509 w 537"/>
                <a:gd name="T1" fmla="*/ 238 h 238"/>
                <a:gd name="T2" fmla="*/ 537 w 537"/>
                <a:gd name="T3" fmla="*/ 168 h 238"/>
                <a:gd name="T4" fmla="*/ 24 w 537"/>
                <a:gd name="T5" fmla="*/ 0 h 238"/>
                <a:gd name="T6" fmla="*/ 0 w 537"/>
                <a:gd name="T7" fmla="*/ 73 h 238"/>
                <a:gd name="T8" fmla="*/ 509 w 537"/>
                <a:gd name="T9" fmla="*/ 238 h 238"/>
              </a:gdLst>
              <a:ahLst/>
              <a:cxnLst>
                <a:cxn ang="0">
                  <a:pos x="T0" y="T1"/>
                </a:cxn>
                <a:cxn ang="0">
                  <a:pos x="T2" y="T3"/>
                </a:cxn>
                <a:cxn ang="0">
                  <a:pos x="T4" y="T5"/>
                </a:cxn>
                <a:cxn ang="0">
                  <a:pos x="T6" y="T7"/>
                </a:cxn>
                <a:cxn ang="0">
                  <a:pos x="T8" y="T9"/>
                </a:cxn>
              </a:cxnLst>
              <a:rect l="0" t="0" r="r" b="b"/>
              <a:pathLst>
                <a:path w="537" h="238">
                  <a:moveTo>
                    <a:pt x="509" y="238"/>
                  </a:moveTo>
                  <a:lnTo>
                    <a:pt x="537" y="168"/>
                  </a:lnTo>
                  <a:lnTo>
                    <a:pt x="24" y="0"/>
                  </a:lnTo>
                  <a:lnTo>
                    <a:pt x="0" y="73"/>
                  </a:lnTo>
                  <a:lnTo>
                    <a:pt x="509" y="238"/>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sp>
          <p:nvSpPr>
            <p:cNvPr id="487" name="Freeform 311">
              <a:extLst>
                <a:ext uri="{FF2B5EF4-FFF2-40B4-BE49-F238E27FC236}">
                  <a16:creationId xmlns:a16="http://schemas.microsoft.com/office/drawing/2014/main" id="{1BE78A53-467E-46C5-B6AB-CE2D4FD7E661}"/>
                </a:ext>
              </a:extLst>
            </p:cNvPr>
            <p:cNvSpPr>
              <a:spLocks/>
            </p:cNvSpPr>
            <p:nvPr/>
          </p:nvSpPr>
          <p:spPr bwMode="auto">
            <a:xfrm>
              <a:off x="4232935" y="1235268"/>
              <a:ext cx="16212" cy="12138"/>
            </a:xfrm>
            <a:custGeom>
              <a:avLst/>
              <a:gdLst>
                <a:gd name="T0" fmla="*/ 90 w 153"/>
                <a:gd name="T1" fmla="*/ 0 h 114"/>
                <a:gd name="T2" fmla="*/ 78 w 153"/>
                <a:gd name="T3" fmla="*/ 8 h 114"/>
                <a:gd name="T4" fmla="*/ 62 w 153"/>
                <a:gd name="T5" fmla="*/ 12 h 114"/>
                <a:gd name="T6" fmla="*/ 45 w 153"/>
                <a:gd name="T7" fmla="*/ 12 h 114"/>
                <a:gd name="T8" fmla="*/ 20 w 153"/>
                <a:gd name="T9" fmla="*/ 24 h 114"/>
                <a:gd name="T10" fmla="*/ 4 w 153"/>
                <a:gd name="T11" fmla="*/ 47 h 114"/>
                <a:gd name="T12" fmla="*/ 0 w 153"/>
                <a:gd name="T13" fmla="*/ 76 h 114"/>
                <a:gd name="T14" fmla="*/ 21 w 153"/>
                <a:gd name="T15" fmla="*/ 58 h 114"/>
                <a:gd name="T16" fmla="*/ 22 w 153"/>
                <a:gd name="T17" fmla="*/ 53 h 114"/>
                <a:gd name="T18" fmla="*/ 33 w 153"/>
                <a:gd name="T19" fmla="*/ 46 h 114"/>
                <a:gd name="T20" fmla="*/ 23 w 153"/>
                <a:gd name="T21" fmla="*/ 75 h 114"/>
                <a:gd name="T22" fmla="*/ 37 w 153"/>
                <a:gd name="T23" fmla="*/ 94 h 114"/>
                <a:gd name="T24" fmla="*/ 46 w 153"/>
                <a:gd name="T25" fmla="*/ 94 h 114"/>
                <a:gd name="T26" fmla="*/ 50 w 153"/>
                <a:gd name="T27" fmla="*/ 100 h 114"/>
                <a:gd name="T28" fmla="*/ 70 w 153"/>
                <a:gd name="T29" fmla="*/ 105 h 114"/>
                <a:gd name="T30" fmla="*/ 73 w 153"/>
                <a:gd name="T31" fmla="*/ 103 h 114"/>
                <a:gd name="T32" fmla="*/ 80 w 153"/>
                <a:gd name="T33" fmla="*/ 108 h 114"/>
                <a:gd name="T34" fmla="*/ 104 w 153"/>
                <a:gd name="T35" fmla="*/ 109 h 114"/>
                <a:gd name="T36" fmla="*/ 110 w 153"/>
                <a:gd name="T37" fmla="*/ 105 h 114"/>
                <a:gd name="T38" fmla="*/ 114 w 153"/>
                <a:gd name="T39" fmla="*/ 104 h 114"/>
                <a:gd name="T40" fmla="*/ 135 w 153"/>
                <a:gd name="T41" fmla="*/ 90 h 114"/>
                <a:gd name="T42" fmla="*/ 142 w 153"/>
                <a:gd name="T43" fmla="*/ 71 h 114"/>
                <a:gd name="T44" fmla="*/ 147 w 153"/>
                <a:gd name="T45" fmla="*/ 52 h 114"/>
                <a:gd name="T46" fmla="*/ 153 w 153"/>
                <a:gd name="T47" fmla="*/ 13 h 114"/>
                <a:gd name="T48" fmla="*/ 92 w 153"/>
                <a:gd name="T49" fmla="*/ 3 h 114"/>
                <a:gd name="T50" fmla="*/ 90 w 153"/>
                <a:gd name="T5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114">
                  <a:moveTo>
                    <a:pt x="90" y="0"/>
                  </a:moveTo>
                  <a:cubicBezTo>
                    <a:pt x="78" y="8"/>
                    <a:pt x="78" y="8"/>
                    <a:pt x="78" y="8"/>
                  </a:cubicBezTo>
                  <a:cubicBezTo>
                    <a:pt x="73" y="11"/>
                    <a:pt x="68" y="12"/>
                    <a:pt x="62" y="12"/>
                  </a:cubicBezTo>
                  <a:cubicBezTo>
                    <a:pt x="45" y="12"/>
                    <a:pt x="45" y="12"/>
                    <a:pt x="45" y="12"/>
                  </a:cubicBezTo>
                  <a:cubicBezTo>
                    <a:pt x="35" y="12"/>
                    <a:pt x="26" y="17"/>
                    <a:pt x="20" y="24"/>
                  </a:cubicBezTo>
                  <a:cubicBezTo>
                    <a:pt x="4" y="47"/>
                    <a:pt x="4" y="47"/>
                    <a:pt x="4" y="47"/>
                  </a:cubicBezTo>
                  <a:cubicBezTo>
                    <a:pt x="0" y="76"/>
                    <a:pt x="0" y="76"/>
                    <a:pt x="0" y="76"/>
                  </a:cubicBezTo>
                  <a:cubicBezTo>
                    <a:pt x="0" y="76"/>
                    <a:pt x="18" y="80"/>
                    <a:pt x="21" y="58"/>
                  </a:cubicBezTo>
                  <a:cubicBezTo>
                    <a:pt x="22" y="53"/>
                    <a:pt x="22" y="53"/>
                    <a:pt x="22" y="53"/>
                  </a:cubicBezTo>
                  <a:cubicBezTo>
                    <a:pt x="33" y="46"/>
                    <a:pt x="33" y="46"/>
                    <a:pt x="33" y="46"/>
                  </a:cubicBezTo>
                  <a:cubicBezTo>
                    <a:pt x="23" y="75"/>
                    <a:pt x="23" y="75"/>
                    <a:pt x="23" y="75"/>
                  </a:cubicBezTo>
                  <a:cubicBezTo>
                    <a:pt x="19" y="85"/>
                    <a:pt x="27" y="95"/>
                    <a:pt x="37" y="94"/>
                  </a:cubicBezTo>
                  <a:cubicBezTo>
                    <a:pt x="46" y="94"/>
                    <a:pt x="46" y="94"/>
                    <a:pt x="46" y="94"/>
                  </a:cubicBezTo>
                  <a:cubicBezTo>
                    <a:pt x="50" y="100"/>
                    <a:pt x="50" y="100"/>
                    <a:pt x="50" y="100"/>
                  </a:cubicBezTo>
                  <a:cubicBezTo>
                    <a:pt x="54" y="107"/>
                    <a:pt x="63" y="110"/>
                    <a:pt x="70" y="105"/>
                  </a:cubicBezTo>
                  <a:cubicBezTo>
                    <a:pt x="73" y="103"/>
                    <a:pt x="73" y="103"/>
                    <a:pt x="73" y="103"/>
                  </a:cubicBezTo>
                  <a:cubicBezTo>
                    <a:pt x="80" y="108"/>
                    <a:pt x="80" y="108"/>
                    <a:pt x="80" y="108"/>
                  </a:cubicBezTo>
                  <a:cubicBezTo>
                    <a:pt x="87" y="114"/>
                    <a:pt x="96" y="114"/>
                    <a:pt x="104" y="109"/>
                  </a:cubicBezTo>
                  <a:cubicBezTo>
                    <a:pt x="110" y="105"/>
                    <a:pt x="110" y="105"/>
                    <a:pt x="110" y="105"/>
                  </a:cubicBezTo>
                  <a:cubicBezTo>
                    <a:pt x="114" y="104"/>
                    <a:pt x="114" y="104"/>
                    <a:pt x="114" y="104"/>
                  </a:cubicBezTo>
                  <a:cubicBezTo>
                    <a:pt x="123" y="104"/>
                    <a:pt x="131" y="98"/>
                    <a:pt x="135" y="90"/>
                  </a:cubicBezTo>
                  <a:cubicBezTo>
                    <a:pt x="142" y="71"/>
                    <a:pt x="142" y="71"/>
                    <a:pt x="142" y="71"/>
                  </a:cubicBezTo>
                  <a:cubicBezTo>
                    <a:pt x="145" y="65"/>
                    <a:pt x="146" y="59"/>
                    <a:pt x="147" y="52"/>
                  </a:cubicBezTo>
                  <a:cubicBezTo>
                    <a:pt x="153" y="13"/>
                    <a:pt x="153" y="13"/>
                    <a:pt x="153" y="13"/>
                  </a:cubicBezTo>
                  <a:cubicBezTo>
                    <a:pt x="131" y="26"/>
                    <a:pt x="109" y="20"/>
                    <a:pt x="92" y="3"/>
                  </a:cubicBezTo>
                  <a:lnTo>
                    <a:pt x="90" y="0"/>
                  </a:lnTo>
                  <a:close/>
                </a:path>
              </a:pathLst>
            </a:custGeom>
            <a:solidFill>
              <a:srgbClr val="BA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Segoe UI Semilight" panose="020B0402040204020203" pitchFamily="34" charset="0"/>
                <a:cs typeface="Segoe UI Semilight" panose="020B0402040204020203" pitchFamily="34" charset="0"/>
              </a:endParaRPr>
            </a:p>
          </p:txBody>
        </p:sp>
      </p:grpSp>
      <p:grpSp>
        <p:nvGrpSpPr>
          <p:cNvPr id="7205" name="Group 7204">
            <a:extLst>
              <a:ext uri="{FF2B5EF4-FFF2-40B4-BE49-F238E27FC236}">
                <a16:creationId xmlns:a16="http://schemas.microsoft.com/office/drawing/2014/main" id="{84D2279A-8A90-47B9-B205-193C8BCCD620}"/>
              </a:ext>
            </a:extLst>
          </p:cNvPr>
          <p:cNvGrpSpPr/>
          <p:nvPr/>
        </p:nvGrpSpPr>
        <p:grpSpPr>
          <a:xfrm>
            <a:off x="958876" y="2649913"/>
            <a:ext cx="627605" cy="593951"/>
            <a:chOff x="973450" y="2632614"/>
            <a:chExt cx="535135" cy="506439"/>
          </a:xfrm>
        </p:grpSpPr>
        <p:sp>
          <p:nvSpPr>
            <p:cNvPr id="338" name="Oval 201">
              <a:extLst>
                <a:ext uri="{FF2B5EF4-FFF2-40B4-BE49-F238E27FC236}">
                  <a16:creationId xmlns:a16="http://schemas.microsoft.com/office/drawing/2014/main" id="{79C098DC-3892-45C8-8B26-D483C5A13B93}"/>
                </a:ext>
              </a:extLst>
            </p:cNvPr>
            <p:cNvSpPr>
              <a:spLocks noChangeArrowheads="1"/>
            </p:cNvSpPr>
            <p:nvPr/>
          </p:nvSpPr>
          <p:spPr bwMode="auto">
            <a:xfrm>
              <a:off x="1101453" y="2632988"/>
              <a:ext cx="406945" cy="40769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339" name="Freeform 202">
              <a:extLst>
                <a:ext uri="{FF2B5EF4-FFF2-40B4-BE49-F238E27FC236}">
                  <a16:creationId xmlns:a16="http://schemas.microsoft.com/office/drawing/2014/main" id="{A44BCB05-982F-4E66-B4DE-FA24C86D9C13}"/>
                </a:ext>
              </a:extLst>
            </p:cNvPr>
            <p:cNvSpPr>
              <a:spLocks/>
            </p:cNvSpPr>
            <p:nvPr/>
          </p:nvSpPr>
          <p:spPr bwMode="auto">
            <a:xfrm>
              <a:off x="1427644" y="2681777"/>
              <a:ext cx="68042" cy="84118"/>
            </a:xfrm>
            <a:custGeom>
              <a:avLst/>
              <a:gdLst>
                <a:gd name="T0" fmla="*/ 6 w 269"/>
                <a:gd name="T1" fmla="*/ 88 h 331"/>
                <a:gd name="T2" fmla="*/ 10 w 269"/>
                <a:gd name="T3" fmla="*/ 88 h 331"/>
                <a:gd name="T4" fmla="*/ 17 w 269"/>
                <a:gd name="T5" fmla="*/ 120 h 331"/>
                <a:gd name="T6" fmla="*/ 56 w 269"/>
                <a:gd name="T7" fmla="*/ 102 h 331"/>
                <a:gd name="T8" fmla="*/ 56 w 269"/>
                <a:gd name="T9" fmla="*/ 139 h 331"/>
                <a:gd name="T10" fmla="*/ 10 w 269"/>
                <a:gd name="T11" fmla="*/ 139 h 331"/>
                <a:gd name="T12" fmla="*/ 12 w 269"/>
                <a:gd name="T13" fmla="*/ 201 h 331"/>
                <a:gd name="T14" fmla="*/ 11 w 269"/>
                <a:gd name="T15" fmla="*/ 255 h 331"/>
                <a:gd name="T16" fmla="*/ 28 w 269"/>
                <a:gd name="T17" fmla="*/ 240 h 331"/>
                <a:gd name="T18" fmla="*/ 28 w 269"/>
                <a:gd name="T19" fmla="*/ 257 h 331"/>
                <a:gd name="T20" fmla="*/ 92 w 269"/>
                <a:gd name="T21" fmla="*/ 298 h 331"/>
                <a:gd name="T22" fmla="*/ 92 w 269"/>
                <a:gd name="T23" fmla="*/ 311 h 331"/>
                <a:gd name="T24" fmla="*/ 62 w 269"/>
                <a:gd name="T25" fmla="*/ 311 h 331"/>
                <a:gd name="T26" fmla="*/ 62 w 269"/>
                <a:gd name="T27" fmla="*/ 329 h 331"/>
                <a:gd name="T28" fmla="*/ 108 w 269"/>
                <a:gd name="T29" fmla="*/ 329 h 331"/>
                <a:gd name="T30" fmla="*/ 108 w 269"/>
                <a:gd name="T31" fmla="*/ 297 h 331"/>
                <a:gd name="T32" fmla="*/ 119 w 269"/>
                <a:gd name="T33" fmla="*/ 293 h 331"/>
                <a:gd name="T34" fmla="*/ 67 w 269"/>
                <a:gd name="T35" fmla="*/ 259 h 331"/>
                <a:gd name="T36" fmla="*/ 59 w 269"/>
                <a:gd name="T37" fmla="*/ 227 h 331"/>
                <a:gd name="T38" fmla="*/ 89 w 269"/>
                <a:gd name="T39" fmla="*/ 227 h 331"/>
                <a:gd name="T40" fmla="*/ 136 w 269"/>
                <a:gd name="T41" fmla="*/ 265 h 331"/>
                <a:gd name="T42" fmla="*/ 136 w 269"/>
                <a:gd name="T43" fmla="*/ 301 h 331"/>
                <a:gd name="T44" fmla="*/ 165 w 269"/>
                <a:gd name="T45" fmla="*/ 331 h 331"/>
                <a:gd name="T46" fmla="*/ 179 w 269"/>
                <a:gd name="T47" fmla="*/ 287 h 331"/>
                <a:gd name="T48" fmla="*/ 206 w 269"/>
                <a:gd name="T49" fmla="*/ 271 h 331"/>
                <a:gd name="T50" fmla="*/ 206 w 269"/>
                <a:gd name="T51" fmla="*/ 307 h 331"/>
                <a:gd name="T52" fmla="*/ 228 w 269"/>
                <a:gd name="T53" fmla="*/ 329 h 331"/>
                <a:gd name="T54" fmla="*/ 269 w 269"/>
                <a:gd name="T55" fmla="*/ 329 h 331"/>
                <a:gd name="T56" fmla="*/ 258 w 269"/>
                <a:gd name="T57" fmla="*/ 301 h 331"/>
                <a:gd name="T58" fmla="*/ 226 w 269"/>
                <a:gd name="T59" fmla="*/ 301 h 331"/>
                <a:gd name="T60" fmla="*/ 226 w 269"/>
                <a:gd name="T61" fmla="*/ 233 h 331"/>
                <a:gd name="T62" fmla="*/ 149 w 269"/>
                <a:gd name="T63" fmla="*/ 115 h 331"/>
                <a:gd name="T64" fmla="*/ 127 w 269"/>
                <a:gd name="T65" fmla="*/ 137 h 331"/>
                <a:gd name="T66" fmla="*/ 67 w 269"/>
                <a:gd name="T67" fmla="*/ 137 h 331"/>
                <a:gd name="T68" fmla="*/ 67 w 269"/>
                <a:gd name="T69" fmla="*/ 127 h 331"/>
                <a:gd name="T70" fmla="*/ 101 w 269"/>
                <a:gd name="T71" fmla="*/ 105 h 331"/>
                <a:gd name="T72" fmla="*/ 101 w 269"/>
                <a:gd name="T73" fmla="*/ 60 h 331"/>
                <a:gd name="T74" fmla="*/ 39 w 269"/>
                <a:gd name="T75" fmla="*/ 0 h 331"/>
                <a:gd name="T76" fmla="*/ 39 w 269"/>
                <a:gd name="T77" fmla="*/ 33 h 331"/>
                <a:gd name="T78" fmla="*/ 13 w 269"/>
                <a:gd name="T79" fmla="*/ 41 h 331"/>
                <a:gd name="T80" fmla="*/ 0 w 269"/>
                <a:gd name="T81" fmla="*/ 50 h 331"/>
                <a:gd name="T82" fmla="*/ 6 w 269"/>
                <a:gd name="T83" fmla="*/ 88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9" h="331">
                  <a:moveTo>
                    <a:pt x="6" y="88"/>
                  </a:moveTo>
                  <a:cubicBezTo>
                    <a:pt x="10" y="88"/>
                    <a:pt x="10" y="88"/>
                    <a:pt x="10" y="88"/>
                  </a:cubicBezTo>
                  <a:cubicBezTo>
                    <a:pt x="17" y="120"/>
                    <a:pt x="17" y="120"/>
                    <a:pt x="17" y="120"/>
                  </a:cubicBezTo>
                  <a:cubicBezTo>
                    <a:pt x="56" y="102"/>
                    <a:pt x="56" y="102"/>
                    <a:pt x="56" y="102"/>
                  </a:cubicBezTo>
                  <a:cubicBezTo>
                    <a:pt x="56" y="139"/>
                    <a:pt x="56" y="139"/>
                    <a:pt x="56" y="139"/>
                  </a:cubicBezTo>
                  <a:cubicBezTo>
                    <a:pt x="10" y="139"/>
                    <a:pt x="10" y="139"/>
                    <a:pt x="10" y="139"/>
                  </a:cubicBezTo>
                  <a:cubicBezTo>
                    <a:pt x="12" y="159"/>
                    <a:pt x="12" y="180"/>
                    <a:pt x="12" y="201"/>
                  </a:cubicBezTo>
                  <a:cubicBezTo>
                    <a:pt x="12" y="219"/>
                    <a:pt x="12" y="237"/>
                    <a:pt x="11" y="255"/>
                  </a:cubicBezTo>
                  <a:cubicBezTo>
                    <a:pt x="28" y="240"/>
                    <a:pt x="28" y="240"/>
                    <a:pt x="28" y="240"/>
                  </a:cubicBezTo>
                  <a:cubicBezTo>
                    <a:pt x="28" y="257"/>
                    <a:pt x="28" y="257"/>
                    <a:pt x="28" y="257"/>
                  </a:cubicBezTo>
                  <a:cubicBezTo>
                    <a:pt x="92" y="298"/>
                    <a:pt x="92" y="298"/>
                    <a:pt x="92" y="298"/>
                  </a:cubicBezTo>
                  <a:cubicBezTo>
                    <a:pt x="92" y="311"/>
                    <a:pt x="92" y="311"/>
                    <a:pt x="92" y="311"/>
                  </a:cubicBezTo>
                  <a:cubicBezTo>
                    <a:pt x="62" y="311"/>
                    <a:pt x="62" y="311"/>
                    <a:pt x="62" y="311"/>
                  </a:cubicBezTo>
                  <a:cubicBezTo>
                    <a:pt x="62" y="329"/>
                    <a:pt x="62" y="329"/>
                    <a:pt x="62" y="329"/>
                  </a:cubicBezTo>
                  <a:cubicBezTo>
                    <a:pt x="108" y="329"/>
                    <a:pt x="108" y="329"/>
                    <a:pt x="108" y="329"/>
                  </a:cubicBezTo>
                  <a:cubicBezTo>
                    <a:pt x="108" y="297"/>
                    <a:pt x="108" y="297"/>
                    <a:pt x="108" y="297"/>
                  </a:cubicBezTo>
                  <a:cubicBezTo>
                    <a:pt x="119" y="293"/>
                    <a:pt x="119" y="293"/>
                    <a:pt x="119" y="293"/>
                  </a:cubicBezTo>
                  <a:cubicBezTo>
                    <a:pt x="67" y="259"/>
                    <a:pt x="67" y="259"/>
                    <a:pt x="67" y="259"/>
                  </a:cubicBezTo>
                  <a:cubicBezTo>
                    <a:pt x="59" y="227"/>
                    <a:pt x="59" y="227"/>
                    <a:pt x="59" y="227"/>
                  </a:cubicBezTo>
                  <a:cubicBezTo>
                    <a:pt x="89" y="227"/>
                    <a:pt x="89" y="227"/>
                    <a:pt x="89" y="227"/>
                  </a:cubicBezTo>
                  <a:cubicBezTo>
                    <a:pt x="136" y="265"/>
                    <a:pt x="136" y="265"/>
                    <a:pt x="136" y="265"/>
                  </a:cubicBezTo>
                  <a:cubicBezTo>
                    <a:pt x="136" y="301"/>
                    <a:pt x="136" y="301"/>
                    <a:pt x="136" y="301"/>
                  </a:cubicBezTo>
                  <a:cubicBezTo>
                    <a:pt x="165" y="331"/>
                    <a:pt x="165" y="331"/>
                    <a:pt x="165" y="331"/>
                  </a:cubicBezTo>
                  <a:cubicBezTo>
                    <a:pt x="179" y="287"/>
                    <a:pt x="179" y="287"/>
                    <a:pt x="179" y="287"/>
                  </a:cubicBezTo>
                  <a:cubicBezTo>
                    <a:pt x="206" y="271"/>
                    <a:pt x="206" y="271"/>
                    <a:pt x="206" y="271"/>
                  </a:cubicBezTo>
                  <a:cubicBezTo>
                    <a:pt x="206" y="307"/>
                    <a:pt x="206" y="307"/>
                    <a:pt x="206" y="307"/>
                  </a:cubicBezTo>
                  <a:cubicBezTo>
                    <a:pt x="228" y="329"/>
                    <a:pt x="228" y="329"/>
                    <a:pt x="228" y="329"/>
                  </a:cubicBezTo>
                  <a:cubicBezTo>
                    <a:pt x="269" y="329"/>
                    <a:pt x="269" y="329"/>
                    <a:pt x="269" y="329"/>
                  </a:cubicBezTo>
                  <a:cubicBezTo>
                    <a:pt x="265" y="320"/>
                    <a:pt x="262" y="310"/>
                    <a:pt x="258" y="301"/>
                  </a:cubicBezTo>
                  <a:cubicBezTo>
                    <a:pt x="226" y="301"/>
                    <a:pt x="226" y="301"/>
                    <a:pt x="226" y="301"/>
                  </a:cubicBezTo>
                  <a:cubicBezTo>
                    <a:pt x="226" y="233"/>
                    <a:pt x="226" y="233"/>
                    <a:pt x="226" y="233"/>
                  </a:cubicBezTo>
                  <a:cubicBezTo>
                    <a:pt x="204" y="192"/>
                    <a:pt x="178" y="152"/>
                    <a:pt x="149" y="115"/>
                  </a:cubicBezTo>
                  <a:cubicBezTo>
                    <a:pt x="127" y="137"/>
                    <a:pt x="127" y="137"/>
                    <a:pt x="127" y="137"/>
                  </a:cubicBezTo>
                  <a:cubicBezTo>
                    <a:pt x="67" y="137"/>
                    <a:pt x="67" y="137"/>
                    <a:pt x="67" y="137"/>
                  </a:cubicBezTo>
                  <a:cubicBezTo>
                    <a:pt x="67" y="127"/>
                    <a:pt x="67" y="127"/>
                    <a:pt x="67" y="127"/>
                  </a:cubicBezTo>
                  <a:cubicBezTo>
                    <a:pt x="101" y="105"/>
                    <a:pt x="101" y="105"/>
                    <a:pt x="101" y="105"/>
                  </a:cubicBezTo>
                  <a:cubicBezTo>
                    <a:pt x="101" y="60"/>
                    <a:pt x="101" y="60"/>
                    <a:pt x="101" y="60"/>
                  </a:cubicBezTo>
                  <a:cubicBezTo>
                    <a:pt x="81" y="39"/>
                    <a:pt x="61" y="19"/>
                    <a:pt x="39" y="0"/>
                  </a:cubicBezTo>
                  <a:cubicBezTo>
                    <a:pt x="39" y="33"/>
                    <a:pt x="39" y="33"/>
                    <a:pt x="39" y="33"/>
                  </a:cubicBezTo>
                  <a:cubicBezTo>
                    <a:pt x="13" y="41"/>
                    <a:pt x="13" y="41"/>
                    <a:pt x="13" y="41"/>
                  </a:cubicBezTo>
                  <a:cubicBezTo>
                    <a:pt x="0" y="50"/>
                    <a:pt x="0" y="50"/>
                    <a:pt x="0" y="50"/>
                  </a:cubicBezTo>
                  <a:cubicBezTo>
                    <a:pt x="2" y="62"/>
                    <a:pt x="4" y="75"/>
                    <a:pt x="6" y="8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340" name="Freeform 203">
              <a:extLst>
                <a:ext uri="{FF2B5EF4-FFF2-40B4-BE49-F238E27FC236}">
                  <a16:creationId xmlns:a16="http://schemas.microsoft.com/office/drawing/2014/main" id="{E1948288-E434-48DC-AFD8-6D5F0F28E8C1}"/>
                </a:ext>
              </a:extLst>
            </p:cNvPr>
            <p:cNvSpPr>
              <a:spLocks/>
            </p:cNvSpPr>
            <p:nvPr/>
          </p:nvSpPr>
          <p:spPr bwMode="auto">
            <a:xfrm>
              <a:off x="1242771" y="2944225"/>
              <a:ext cx="63369" cy="88978"/>
            </a:xfrm>
            <a:custGeom>
              <a:avLst/>
              <a:gdLst>
                <a:gd name="T0" fmla="*/ 243 w 250"/>
                <a:gd name="T1" fmla="*/ 0 h 350"/>
                <a:gd name="T2" fmla="*/ 11 w 250"/>
                <a:gd name="T3" fmla="*/ 87 h 350"/>
                <a:gd name="T4" fmla="*/ 0 w 250"/>
                <a:gd name="T5" fmla="*/ 139 h 350"/>
                <a:gd name="T6" fmla="*/ 27 w 250"/>
                <a:gd name="T7" fmla="*/ 169 h 350"/>
                <a:gd name="T8" fmla="*/ 27 w 250"/>
                <a:gd name="T9" fmla="*/ 240 h 350"/>
                <a:gd name="T10" fmla="*/ 62 w 250"/>
                <a:gd name="T11" fmla="*/ 310 h 350"/>
                <a:gd name="T12" fmla="*/ 110 w 250"/>
                <a:gd name="T13" fmla="*/ 350 h 350"/>
                <a:gd name="T14" fmla="*/ 158 w 250"/>
                <a:gd name="T15" fmla="*/ 350 h 350"/>
                <a:gd name="T16" fmla="*/ 166 w 250"/>
                <a:gd name="T17" fmla="*/ 331 h 350"/>
                <a:gd name="T18" fmla="*/ 130 w 250"/>
                <a:gd name="T19" fmla="*/ 301 h 350"/>
                <a:gd name="T20" fmla="*/ 138 w 250"/>
                <a:gd name="T21" fmla="*/ 267 h 350"/>
                <a:gd name="T22" fmla="*/ 138 w 250"/>
                <a:gd name="T23" fmla="*/ 249 h 350"/>
                <a:gd name="T24" fmla="*/ 116 w 250"/>
                <a:gd name="T25" fmla="*/ 249 h 350"/>
                <a:gd name="T26" fmla="*/ 102 w 250"/>
                <a:gd name="T27" fmla="*/ 236 h 350"/>
                <a:gd name="T28" fmla="*/ 127 w 250"/>
                <a:gd name="T29" fmla="*/ 214 h 350"/>
                <a:gd name="T30" fmla="*/ 127 w 250"/>
                <a:gd name="T31" fmla="*/ 201 h 350"/>
                <a:gd name="T32" fmla="*/ 105 w 250"/>
                <a:gd name="T33" fmla="*/ 197 h 350"/>
                <a:gd name="T34" fmla="*/ 105 w 250"/>
                <a:gd name="T35" fmla="*/ 182 h 350"/>
                <a:gd name="T36" fmla="*/ 137 w 250"/>
                <a:gd name="T37" fmla="*/ 182 h 350"/>
                <a:gd name="T38" fmla="*/ 186 w 250"/>
                <a:gd name="T39" fmla="*/ 157 h 350"/>
                <a:gd name="T40" fmla="*/ 250 w 250"/>
                <a:gd name="T41" fmla="*/ 60 h 350"/>
                <a:gd name="T42" fmla="*/ 250 w 250"/>
                <a:gd name="T43" fmla="*/ 44 h 350"/>
                <a:gd name="T44" fmla="*/ 240 w 250"/>
                <a:gd name="T45" fmla="*/ 3 h 350"/>
                <a:gd name="T46" fmla="*/ 243 w 250"/>
                <a:gd name="T4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0" h="350">
                  <a:moveTo>
                    <a:pt x="243" y="0"/>
                  </a:moveTo>
                  <a:cubicBezTo>
                    <a:pt x="171" y="39"/>
                    <a:pt x="93" y="68"/>
                    <a:pt x="11" y="87"/>
                  </a:cubicBezTo>
                  <a:cubicBezTo>
                    <a:pt x="0" y="139"/>
                    <a:pt x="0" y="139"/>
                    <a:pt x="0" y="139"/>
                  </a:cubicBezTo>
                  <a:cubicBezTo>
                    <a:pt x="27" y="169"/>
                    <a:pt x="27" y="169"/>
                    <a:pt x="27" y="169"/>
                  </a:cubicBezTo>
                  <a:cubicBezTo>
                    <a:pt x="27" y="240"/>
                    <a:pt x="27" y="240"/>
                    <a:pt x="27" y="240"/>
                  </a:cubicBezTo>
                  <a:cubicBezTo>
                    <a:pt x="62" y="310"/>
                    <a:pt x="62" y="310"/>
                    <a:pt x="62" y="310"/>
                  </a:cubicBezTo>
                  <a:cubicBezTo>
                    <a:pt x="110" y="350"/>
                    <a:pt x="110" y="350"/>
                    <a:pt x="110" y="350"/>
                  </a:cubicBezTo>
                  <a:cubicBezTo>
                    <a:pt x="158" y="350"/>
                    <a:pt x="158" y="350"/>
                    <a:pt x="158" y="350"/>
                  </a:cubicBezTo>
                  <a:cubicBezTo>
                    <a:pt x="166" y="331"/>
                    <a:pt x="166" y="331"/>
                    <a:pt x="166" y="331"/>
                  </a:cubicBezTo>
                  <a:cubicBezTo>
                    <a:pt x="130" y="301"/>
                    <a:pt x="130" y="301"/>
                    <a:pt x="130" y="301"/>
                  </a:cubicBezTo>
                  <a:cubicBezTo>
                    <a:pt x="138" y="267"/>
                    <a:pt x="138" y="267"/>
                    <a:pt x="138" y="267"/>
                  </a:cubicBezTo>
                  <a:cubicBezTo>
                    <a:pt x="138" y="249"/>
                    <a:pt x="138" y="249"/>
                    <a:pt x="138" y="249"/>
                  </a:cubicBezTo>
                  <a:cubicBezTo>
                    <a:pt x="116" y="249"/>
                    <a:pt x="116" y="249"/>
                    <a:pt x="116" y="249"/>
                  </a:cubicBezTo>
                  <a:cubicBezTo>
                    <a:pt x="102" y="236"/>
                    <a:pt x="102" y="236"/>
                    <a:pt x="102" y="236"/>
                  </a:cubicBezTo>
                  <a:cubicBezTo>
                    <a:pt x="127" y="214"/>
                    <a:pt x="127" y="214"/>
                    <a:pt x="127" y="214"/>
                  </a:cubicBezTo>
                  <a:cubicBezTo>
                    <a:pt x="127" y="201"/>
                    <a:pt x="127" y="201"/>
                    <a:pt x="127" y="201"/>
                  </a:cubicBezTo>
                  <a:cubicBezTo>
                    <a:pt x="105" y="197"/>
                    <a:pt x="105" y="197"/>
                    <a:pt x="105" y="197"/>
                  </a:cubicBezTo>
                  <a:cubicBezTo>
                    <a:pt x="105" y="182"/>
                    <a:pt x="105" y="182"/>
                    <a:pt x="105" y="182"/>
                  </a:cubicBezTo>
                  <a:cubicBezTo>
                    <a:pt x="137" y="182"/>
                    <a:pt x="137" y="182"/>
                    <a:pt x="137" y="182"/>
                  </a:cubicBezTo>
                  <a:cubicBezTo>
                    <a:pt x="186" y="157"/>
                    <a:pt x="186" y="157"/>
                    <a:pt x="186" y="157"/>
                  </a:cubicBezTo>
                  <a:cubicBezTo>
                    <a:pt x="250" y="60"/>
                    <a:pt x="250" y="60"/>
                    <a:pt x="250" y="60"/>
                  </a:cubicBezTo>
                  <a:cubicBezTo>
                    <a:pt x="250" y="44"/>
                    <a:pt x="250" y="44"/>
                    <a:pt x="250" y="44"/>
                  </a:cubicBezTo>
                  <a:cubicBezTo>
                    <a:pt x="240" y="3"/>
                    <a:pt x="240" y="3"/>
                    <a:pt x="240" y="3"/>
                  </a:cubicBezTo>
                  <a:lnTo>
                    <a:pt x="243"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341" name="Freeform 204">
              <a:extLst>
                <a:ext uri="{FF2B5EF4-FFF2-40B4-BE49-F238E27FC236}">
                  <a16:creationId xmlns:a16="http://schemas.microsoft.com/office/drawing/2014/main" id="{7A7B8BB0-5AA8-429A-B8F2-98DE01814BE1}"/>
                </a:ext>
              </a:extLst>
            </p:cNvPr>
            <p:cNvSpPr>
              <a:spLocks/>
            </p:cNvSpPr>
            <p:nvPr/>
          </p:nvSpPr>
          <p:spPr bwMode="auto">
            <a:xfrm>
              <a:off x="1395306" y="2765334"/>
              <a:ext cx="113279" cy="205996"/>
            </a:xfrm>
            <a:custGeom>
              <a:avLst/>
              <a:gdLst>
                <a:gd name="T0" fmla="*/ 401 w 447"/>
                <a:gd name="T1" fmla="*/ 13 h 811"/>
                <a:gd name="T2" fmla="*/ 417 w 447"/>
                <a:gd name="T3" fmla="*/ 71 h 811"/>
                <a:gd name="T4" fmla="*/ 345 w 447"/>
                <a:gd name="T5" fmla="*/ 71 h 811"/>
                <a:gd name="T6" fmla="*/ 311 w 447"/>
                <a:gd name="T7" fmla="*/ 38 h 811"/>
                <a:gd name="T8" fmla="*/ 267 w 447"/>
                <a:gd name="T9" fmla="*/ 38 h 811"/>
                <a:gd name="T10" fmla="*/ 267 w 447"/>
                <a:gd name="T11" fmla="*/ 72 h 811"/>
                <a:gd name="T12" fmla="*/ 251 w 447"/>
                <a:gd name="T13" fmla="*/ 72 h 811"/>
                <a:gd name="T14" fmla="*/ 237 w 447"/>
                <a:gd name="T15" fmla="*/ 60 h 811"/>
                <a:gd name="T16" fmla="*/ 168 w 447"/>
                <a:gd name="T17" fmla="*/ 42 h 811"/>
                <a:gd name="T18" fmla="*/ 168 w 447"/>
                <a:gd name="T19" fmla="*/ 0 h 811"/>
                <a:gd name="T20" fmla="*/ 131 w 447"/>
                <a:gd name="T21" fmla="*/ 0 h 811"/>
                <a:gd name="T22" fmla="*/ 0 w 447"/>
                <a:gd name="T23" fmla="*/ 366 h 811"/>
                <a:gd name="T24" fmla="*/ 44 w 447"/>
                <a:gd name="T25" fmla="*/ 366 h 811"/>
                <a:gd name="T26" fmla="*/ 63 w 447"/>
                <a:gd name="T27" fmla="*/ 347 h 811"/>
                <a:gd name="T28" fmla="*/ 95 w 447"/>
                <a:gd name="T29" fmla="*/ 347 h 811"/>
                <a:gd name="T30" fmla="*/ 112 w 447"/>
                <a:gd name="T31" fmla="*/ 372 h 811"/>
                <a:gd name="T32" fmla="*/ 155 w 447"/>
                <a:gd name="T33" fmla="*/ 372 h 811"/>
                <a:gd name="T34" fmla="*/ 155 w 447"/>
                <a:gd name="T35" fmla="*/ 442 h 811"/>
                <a:gd name="T36" fmla="*/ 215 w 447"/>
                <a:gd name="T37" fmla="*/ 540 h 811"/>
                <a:gd name="T38" fmla="*/ 184 w 447"/>
                <a:gd name="T39" fmla="*/ 595 h 811"/>
                <a:gd name="T40" fmla="*/ 184 w 447"/>
                <a:gd name="T41" fmla="*/ 631 h 811"/>
                <a:gd name="T42" fmla="*/ 208 w 447"/>
                <a:gd name="T43" fmla="*/ 645 h 811"/>
                <a:gd name="T44" fmla="*/ 208 w 447"/>
                <a:gd name="T45" fmla="*/ 716 h 811"/>
                <a:gd name="T46" fmla="*/ 240 w 447"/>
                <a:gd name="T47" fmla="*/ 761 h 811"/>
                <a:gd name="T48" fmla="*/ 240 w 447"/>
                <a:gd name="T49" fmla="*/ 811 h 811"/>
                <a:gd name="T50" fmla="*/ 248 w 447"/>
                <a:gd name="T51" fmla="*/ 811 h 811"/>
                <a:gd name="T52" fmla="*/ 447 w 447"/>
                <a:gd name="T53" fmla="*/ 282 h 811"/>
                <a:gd name="T54" fmla="*/ 401 w 447"/>
                <a:gd name="T55" fmla="*/ 13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7" h="811">
                  <a:moveTo>
                    <a:pt x="401" y="13"/>
                  </a:moveTo>
                  <a:cubicBezTo>
                    <a:pt x="417" y="71"/>
                    <a:pt x="417" y="71"/>
                    <a:pt x="417" y="71"/>
                  </a:cubicBezTo>
                  <a:cubicBezTo>
                    <a:pt x="345" y="71"/>
                    <a:pt x="345" y="71"/>
                    <a:pt x="345" y="71"/>
                  </a:cubicBezTo>
                  <a:cubicBezTo>
                    <a:pt x="311" y="38"/>
                    <a:pt x="311" y="38"/>
                    <a:pt x="311" y="38"/>
                  </a:cubicBezTo>
                  <a:cubicBezTo>
                    <a:pt x="267" y="38"/>
                    <a:pt x="267" y="38"/>
                    <a:pt x="267" y="38"/>
                  </a:cubicBezTo>
                  <a:cubicBezTo>
                    <a:pt x="267" y="72"/>
                    <a:pt x="267" y="72"/>
                    <a:pt x="267" y="72"/>
                  </a:cubicBezTo>
                  <a:cubicBezTo>
                    <a:pt x="251" y="72"/>
                    <a:pt x="251" y="72"/>
                    <a:pt x="251" y="72"/>
                  </a:cubicBezTo>
                  <a:cubicBezTo>
                    <a:pt x="237" y="60"/>
                    <a:pt x="237" y="60"/>
                    <a:pt x="237" y="60"/>
                  </a:cubicBezTo>
                  <a:cubicBezTo>
                    <a:pt x="168" y="42"/>
                    <a:pt x="168" y="42"/>
                    <a:pt x="168" y="42"/>
                  </a:cubicBezTo>
                  <a:cubicBezTo>
                    <a:pt x="168" y="0"/>
                    <a:pt x="168" y="0"/>
                    <a:pt x="168" y="0"/>
                  </a:cubicBezTo>
                  <a:cubicBezTo>
                    <a:pt x="131" y="0"/>
                    <a:pt x="131" y="0"/>
                    <a:pt x="131" y="0"/>
                  </a:cubicBezTo>
                  <a:cubicBezTo>
                    <a:pt x="113" y="133"/>
                    <a:pt x="67" y="257"/>
                    <a:pt x="0" y="366"/>
                  </a:cubicBezTo>
                  <a:cubicBezTo>
                    <a:pt x="44" y="366"/>
                    <a:pt x="44" y="366"/>
                    <a:pt x="44" y="366"/>
                  </a:cubicBezTo>
                  <a:cubicBezTo>
                    <a:pt x="63" y="347"/>
                    <a:pt x="63" y="347"/>
                    <a:pt x="63" y="347"/>
                  </a:cubicBezTo>
                  <a:cubicBezTo>
                    <a:pt x="95" y="347"/>
                    <a:pt x="95" y="347"/>
                    <a:pt x="95" y="347"/>
                  </a:cubicBezTo>
                  <a:cubicBezTo>
                    <a:pt x="112" y="372"/>
                    <a:pt x="112" y="372"/>
                    <a:pt x="112" y="372"/>
                  </a:cubicBezTo>
                  <a:cubicBezTo>
                    <a:pt x="155" y="372"/>
                    <a:pt x="155" y="372"/>
                    <a:pt x="155" y="372"/>
                  </a:cubicBezTo>
                  <a:cubicBezTo>
                    <a:pt x="155" y="442"/>
                    <a:pt x="155" y="442"/>
                    <a:pt x="155" y="442"/>
                  </a:cubicBezTo>
                  <a:cubicBezTo>
                    <a:pt x="215" y="540"/>
                    <a:pt x="215" y="540"/>
                    <a:pt x="215" y="540"/>
                  </a:cubicBezTo>
                  <a:cubicBezTo>
                    <a:pt x="184" y="595"/>
                    <a:pt x="184" y="595"/>
                    <a:pt x="184" y="595"/>
                  </a:cubicBezTo>
                  <a:cubicBezTo>
                    <a:pt x="184" y="631"/>
                    <a:pt x="184" y="631"/>
                    <a:pt x="184" y="631"/>
                  </a:cubicBezTo>
                  <a:cubicBezTo>
                    <a:pt x="208" y="645"/>
                    <a:pt x="208" y="645"/>
                    <a:pt x="208" y="645"/>
                  </a:cubicBezTo>
                  <a:cubicBezTo>
                    <a:pt x="208" y="716"/>
                    <a:pt x="208" y="716"/>
                    <a:pt x="208" y="716"/>
                  </a:cubicBezTo>
                  <a:cubicBezTo>
                    <a:pt x="240" y="761"/>
                    <a:pt x="240" y="761"/>
                    <a:pt x="240" y="761"/>
                  </a:cubicBezTo>
                  <a:cubicBezTo>
                    <a:pt x="240" y="811"/>
                    <a:pt x="240" y="811"/>
                    <a:pt x="240" y="811"/>
                  </a:cubicBezTo>
                  <a:cubicBezTo>
                    <a:pt x="248" y="811"/>
                    <a:pt x="248" y="811"/>
                    <a:pt x="248" y="811"/>
                  </a:cubicBezTo>
                  <a:cubicBezTo>
                    <a:pt x="372" y="669"/>
                    <a:pt x="447" y="484"/>
                    <a:pt x="447" y="282"/>
                  </a:cubicBezTo>
                  <a:cubicBezTo>
                    <a:pt x="447" y="187"/>
                    <a:pt x="430" y="97"/>
                    <a:pt x="401" y="1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342" name="Freeform 206">
              <a:extLst>
                <a:ext uri="{FF2B5EF4-FFF2-40B4-BE49-F238E27FC236}">
                  <a16:creationId xmlns:a16="http://schemas.microsoft.com/office/drawing/2014/main" id="{3E74C324-3ED2-41D5-9315-17B0F22F1BE3}"/>
                </a:ext>
              </a:extLst>
            </p:cNvPr>
            <p:cNvSpPr>
              <a:spLocks/>
            </p:cNvSpPr>
            <p:nvPr/>
          </p:nvSpPr>
          <p:spPr bwMode="auto">
            <a:xfrm>
              <a:off x="1101266" y="2632614"/>
              <a:ext cx="336847" cy="345819"/>
            </a:xfrm>
            <a:custGeom>
              <a:avLst/>
              <a:gdLst>
                <a:gd name="T0" fmla="*/ 1297 w 1330"/>
                <a:gd name="T1" fmla="*/ 410 h 1361"/>
                <a:gd name="T2" fmla="*/ 1327 w 1330"/>
                <a:gd name="T3" fmla="*/ 332 h 1361"/>
                <a:gd name="T4" fmla="*/ 1324 w 1330"/>
                <a:gd name="T5" fmla="*/ 304 h 1361"/>
                <a:gd name="T6" fmla="*/ 1306 w 1330"/>
                <a:gd name="T7" fmla="*/ 276 h 1361"/>
                <a:gd name="T8" fmla="*/ 1311 w 1330"/>
                <a:gd name="T9" fmla="*/ 245 h 1361"/>
                <a:gd name="T10" fmla="*/ 1214 w 1330"/>
                <a:gd name="T11" fmla="*/ 292 h 1361"/>
                <a:gd name="T12" fmla="*/ 1279 w 1330"/>
                <a:gd name="T13" fmla="*/ 155 h 1361"/>
                <a:gd name="T14" fmla="*/ 804 w 1330"/>
                <a:gd name="T15" fmla="*/ 0 h 1361"/>
                <a:gd name="T16" fmla="*/ 0 w 1330"/>
                <a:gd name="T17" fmla="*/ 804 h 1361"/>
                <a:gd name="T18" fmla="*/ 210 w 1330"/>
                <a:gd name="T19" fmla="*/ 1345 h 1361"/>
                <a:gd name="T20" fmla="*/ 272 w 1330"/>
                <a:gd name="T21" fmla="*/ 1333 h 1361"/>
                <a:gd name="T22" fmla="*/ 292 w 1330"/>
                <a:gd name="T23" fmla="*/ 1191 h 1361"/>
                <a:gd name="T24" fmla="*/ 292 w 1330"/>
                <a:gd name="T25" fmla="*/ 1191 h 1361"/>
                <a:gd name="T26" fmla="*/ 292 w 1330"/>
                <a:gd name="T27" fmla="*/ 1191 h 1361"/>
                <a:gd name="T28" fmla="*/ 292 w 1330"/>
                <a:gd name="T29" fmla="*/ 1191 h 1361"/>
                <a:gd name="T30" fmla="*/ 367 w 1330"/>
                <a:gd name="T31" fmla="*/ 1361 h 1361"/>
                <a:gd name="T32" fmla="*/ 387 w 1330"/>
                <a:gd name="T33" fmla="*/ 1361 h 1361"/>
                <a:gd name="T34" fmla="*/ 562 w 1330"/>
                <a:gd name="T35" fmla="*/ 1345 h 1361"/>
                <a:gd name="T36" fmla="*/ 676 w 1330"/>
                <a:gd name="T37" fmla="*/ 1290 h 1361"/>
                <a:gd name="T38" fmla="*/ 808 w 1330"/>
                <a:gd name="T39" fmla="*/ 1263 h 1361"/>
                <a:gd name="T40" fmla="*/ 1202 w 1330"/>
                <a:gd name="T41" fmla="*/ 894 h 1361"/>
                <a:gd name="T42" fmla="*/ 1256 w 1330"/>
                <a:gd name="T43" fmla="*/ 688 h 1361"/>
                <a:gd name="T44" fmla="*/ 1325 w 1330"/>
                <a:gd name="T45" fmla="*/ 522 h 1361"/>
                <a:gd name="T46" fmla="*/ 1330 w 1330"/>
                <a:gd name="T47" fmla="*/ 459 h 1361"/>
                <a:gd name="T48" fmla="*/ 1297 w 1330"/>
                <a:gd name="T49" fmla="*/ 41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30" h="1361">
                  <a:moveTo>
                    <a:pt x="1297" y="410"/>
                  </a:moveTo>
                  <a:cubicBezTo>
                    <a:pt x="1297" y="381"/>
                    <a:pt x="1329" y="360"/>
                    <a:pt x="1327" y="332"/>
                  </a:cubicBezTo>
                  <a:cubicBezTo>
                    <a:pt x="1326" y="323"/>
                    <a:pt x="1325" y="313"/>
                    <a:pt x="1324" y="304"/>
                  </a:cubicBezTo>
                  <a:cubicBezTo>
                    <a:pt x="1322" y="294"/>
                    <a:pt x="1308" y="286"/>
                    <a:pt x="1306" y="276"/>
                  </a:cubicBezTo>
                  <a:cubicBezTo>
                    <a:pt x="1305" y="266"/>
                    <a:pt x="1309" y="256"/>
                    <a:pt x="1311" y="245"/>
                  </a:cubicBezTo>
                  <a:cubicBezTo>
                    <a:pt x="1214" y="292"/>
                    <a:pt x="1214" y="292"/>
                    <a:pt x="1214" y="292"/>
                  </a:cubicBezTo>
                  <a:cubicBezTo>
                    <a:pt x="1279" y="155"/>
                    <a:pt x="1279" y="155"/>
                    <a:pt x="1279" y="155"/>
                  </a:cubicBezTo>
                  <a:cubicBezTo>
                    <a:pt x="1146" y="57"/>
                    <a:pt x="982" y="0"/>
                    <a:pt x="804" y="0"/>
                  </a:cubicBezTo>
                  <a:cubicBezTo>
                    <a:pt x="360" y="0"/>
                    <a:pt x="0" y="360"/>
                    <a:pt x="0" y="804"/>
                  </a:cubicBezTo>
                  <a:cubicBezTo>
                    <a:pt x="0" y="1012"/>
                    <a:pt x="79" y="1202"/>
                    <a:pt x="210" y="1345"/>
                  </a:cubicBezTo>
                  <a:cubicBezTo>
                    <a:pt x="237" y="1350"/>
                    <a:pt x="244" y="1330"/>
                    <a:pt x="272" y="1333"/>
                  </a:cubicBezTo>
                  <a:cubicBezTo>
                    <a:pt x="292" y="1191"/>
                    <a:pt x="292" y="1191"/>
                    <a:pt x="292" y="1191"/>
                  </a:cubicBezTo>
                  <a:cubicBezTo>
                    <a:pt x="292" y="1191"/>
                    <a:pt x="292" y="1191"/>
                    <a:pt x="292" y="1191"/>
                  </a:cubicBezTo>
                  <a:cubicBezTo>
                    <a:pt x="292" y="1191"/>
                    <a:pt x="292" y="1191"/>
                    <a:pt x="292" y="1191"/>
                  </a:cubicBezTo>
                  <a:cubicBezTo>
                    <a:pt x="292" y="1191"/>
                    <a:pt x="292" y="1191"/>
                    <a:pt x="292" y="1191"/>
                  </a:cubicBezTo>
                  <a:cubicBezTo>
                    <a:pt x="367" y="1361"/>
                    <a:pt x="367" y="1361"/>
                    <a:pt x="367" y="1361"/>
                  </a:cubicBezTo>
                  <a:cubicBezTo>
                    <a:pt x="373" y="1361"/>
                    <a:pt x="380" y="1361"/>
                    <a:pt x="387" y="1361"/>
                  </a:cubicBezTo>
                  <a:cubicBezTo>
                    <a:pt x="447" y="1361"/>
                    <a:pt x="505" y="1356"/>
                    <a:pt x="562" y="1345"/>
                  </a:cubicBezTo>
                  <a:cubicBezTo>
                    <a:pt x="573" y="1318"/>
                    <a:pt x="636" y="1303"/>
                    <a:pt x="676" y="1290"/>
                  </a:cubicBezTo>
                  <a:cubicBezTo>
                    <a:pt x="718" y="1276"/>
                    <a:pt x="768" y="1249"/>
                    <a:pt x="808" y="1263"/>
                  </a:cubicBezTo>
                  <a:cubicBezTo>
                    <a:pt x="972" y="1181"/>
                    <a:pt x="1109" y="1052"/>
                    <a:pt x="1202" y="894"/>
                  </a:cubicBezTo>
                  <a:cubicBezTo>
                    <a:pt x="1182" y="875"/>
                    <a:pt x="1235" y="758"/>
                    <a:pt x="1256" y="688"/>
                  </a:cubicBezTo>
                  <a:cubicBezTo>
                    <a:pt x="1273" y="632"/>
                    <a:pt x="1282" y="536"/>
                    <a:pt x="1325" y="522"/>
                  </a:cubicBezTo>
                  <a:cubicBezTo>
                    <a:pt x="1327" y="502"/>
                    <a:pt x="1329" y="480"/>
                    <a:pt x="1330" y="459"/>
                  </a:cubicBezTo>
                  <a:cubicBezTo>
                    <a:pt x="1330" y="445"/>
                    <a:pt x="1297" y="424"/>
                    <a:pt x="1297" y="410"/>
                  </a:cubicBezTo>
                </a:path>
              </a:pathLst>
            </a:custGeom>
            <a:solidFill>
              <a:srgbClr val="52C9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3" name="Freeform 207">
              <a:extLst>
                <a:ext uri="{FF2B5EF4-FFF2-40B4-BE49-F238E27FC236}">
                  <a16:creationId xmlns:a16="http://schemas.microsoft.com/office/drawing/2014/main" id="{266E5297-9AD2-473F-9F57-09E572214BC9}"/>
                </a:ext>
              </a:extLst>
            </p:cNvPr>
            <p:cNvSpPr>
              <a:spLocks/>
            </p:cNvSpPr>
            <p:nvPr/>
          </p:nvSpPr>
          <p:spPr bwMode="auto">
            <a:xfrm>
              <a:off x="1386707" y="2717106"/>
              <a:ext cx="51779" cy="47667"/>
            </a:xfrm>
            <a:custGeom>
              <a:avLst/>
              <a:gdLst>
                <a:gd name="T0" fmla="*/ 150 w 204"/>
                <a:gd name="T1" fmla="*/ 0 h 188"/>
                <a:gd name="T2" fmla="*/ 119 w 204"/>
                <a:gd name="T3" fmla="*/ 46 h 188"/>
                <a:gd name="T4" fmla="*/ 81 w 204"/>
                <a:gd name="T5" fmla="*/ 46 h 188"/>
                <a:gd name="T6" fmla="*/ 73 w 204"/>
                <a:gd name="T7" fmla="*/ 88 h 188"/>
                <a:gd name="T8" fmla="*/ 94 w 204"/>
                <a:gd name="T9" fmla="*/ 88 h 188"/>
                <a:gd name="T10" fmla="*/ 94 w 204"/>
                <a:gd name="T11" fmla="*/ 116 h 188"/>
                <a:gd name="T12" fmla="*/ 63 w 204"/>
                <a:gd name="T13" fmla="*/ 105 h 188"/>
                <a:gd name="T14" fmla="*/ 31 w 204"/>
                <a:gd name="T15" fmla="*/ 105 h 188"/>
                <a:gd name="T16" fmla="*/ 0 w 204"/>
                <a:gd name="T17" fmla="*/ 118 h 188"/>
                <a:gd name="T18" fmla="*/ 0 w 204"/>
                <a:gd name="T19" fmla="*/ 170 h 188"/>
                <a:gd name="T20" fmla="*/ 23 w 204"/>
                <a:gd name="T21" fmla="*/ 188 h 188"/>
                <a:gd name="T22" fmla="*/ 91 w 204"/>
                <a:gd name="T23" fmla="*/ 188 h 188"/>
                <a:gd name="T24" fmla="*/ 91 w 204"/>
                <a:gd name="T25" fmla="*/ 172 h 188"/>
                <a:gd name="T26" fmla="*/ 138 w 204"/>
                <a:gd name="T27" fmla="*/ 123 h 188"/>
                <a:gd name="T28" fmla="*/ 163 w 204"/>
                <a:gd name="T29" fmla="*/ 123 h 188"/>
                <a:gd name="T30" fmla="*/ 189 w 204"/>
                <a:gd name="T31" fmla="*/ 101 h 188"/>
                <a:gd name="T32" fmla="*/ 189 w 204"/>
                <a:gd name="T33" fmla="*/ 118 h 188"/>
                <a:gd name="T34" fmla="*/ 203 w 204"/>
                <a:gd name="T35" fmla="*/ 127 h 188"/>
                <a:gd name="T36" fmla="*/ 204 w 204"/>
                <a:gd name="T37" fmla="*/ 86 h 188"/>
                <a:gd name="T38" fmla="*/ 200 w 204"/>
                <a:gd name="T39" fmla="*/ 0 h 188"/>
                <a:gd name="T40" fmla="*/ 150 w 204"/>
                <a:gd name="T4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4" h="188">
                  <a:moveTo>
                    <a:pt x="150" y="0"/>
                  </a:moveTo>
                  <a:cubicBezTo>
                    <a:pt x="119" y="46"/>
                    <a:pt x="119" y="46"/>
                    <a:pt x="119" y="46"/>
                  </a:cubicBezTo>
                  <a:cubicBezTo>
                    <a:pt x="81" y="46"/>
                    <a:pt x="81" y="46"/>
                    <a:pt x="81" y="46"/>
                  </a:cubicBezTo>
                  <a:cubicBezTo>
                    <a:pt x="73" y="88"/>
                    <a:pt x="73" y="88"/>
                    <a:pt x="73" y="88"/>
                  </a:cubicBezTo>
                  <a:cubicBezTo>
                    <a:pt x="94" y="88"/>
                    <a:pt x="94" y="88"/>
                    <a:pt x="94" y="88"/>
                  </a:cubicBezTo>
                  <a:cubicBezTo>
                    <a:pt x="94" y="116"/>
                    <a:pt x="94" y="116"/>
                    <a:pt x="94" y="116"/>
                  </a:cubicBezTo>
                  <a:cubicBezTo>
                    <a:pt x="63" y="105"/>
                    <a:pt x="63" y="105"/>
                    <a:pt x="63" y="105"/>
                  </a:cubicBezTo>
                  <a:cubicBezTo>
                    <a:pt x="31" y="105"/>
                    <a:pt x="31" y="105"/>
                    <a:pt x="31" y="105"/>
                  </a:cubicBezTo>
                  <a:cubicBezTo>
                    <a:pt x="0" y="118"/>
                    <a:pt x="0" y="118"/>
                    <a:pt x="0" y="118"/>
                  </a:cubicBezTo>
                  <a:cubicBezTo>
                    <a:pt x="0" y="170"/>
                    <a:pt x="0" y="170"/>
                    <a:pt x="0" y="170"/>
                  </a:cubicBezTo>
                  <a:cubicBezTo>
                    <a:pt x="23" y="188"/>
                    <a:pt x="23" y="188"/>
                    <a:pt x="23" y="188"/>
                  </a:cubicBezTo>
                  <a:cubicBezTo>
                    <a:pt x="91" y="188"/>
                    <a:pt x="91" y="188"/>
                    <a:pt x="91" y="188"/>
                  </a:cubicBezTo>
                  <a:cubicBezTo>
                    <a:pt x="91" y="172"/>
                    <a:pt x="91" y="172"/>
                    <a:pt x="91" y="172"/>
                  </a:cubicBezTo>
                  <a:cubicBezTo>
                    <a:pt x="138" y="123"/>
                    <a:pt x="138" y="123"/>
                    <a:pt x="138" y="123"/>
                  </a:cubicBezTo>
                  <a:cubicBezTo>
                    <a:pt x="163" y="123"/>
                    <a:pt x="163" y="123"/>
                    <a:pt x="163" y="123"/>
                  </a:cubicBezTo>
                  <a:cubicBezTo>
                    <a:pt x="189" y="101"/>
                    <a:pt x="189" y="101"/>
                    <a:pt x="189" y="101"/>
                  </a:cubicBezTo>
                  <a:cubicBezTo>
                    <a:pt x="189" y="118"/>
                    <a:pt x="189" y="118"/>
                    <a:pt x="189" y="118"/>
                  </a:cubicBezTo>
                  <a:cubicBezTo>
                    <a:pt x="203" y="127"/>
                    <a:pt x="203" y="127"/>
                    <a:pt x="203" y="127"/>
                  </a:cubicBezTo>
                  <a:cubicBezTo>
                    <a:pt x="203" y="113"/>
                    <a:pt x="204" y="100"/>
                    <a:pt x="204" y="86"/>
                  </a:cubicBezTo>
                  <a:cubicBezTo>
                    <a:pt x="204" y="57"/>
                    <a:pt x="202" y="28"/>
                    <a:pt x="200" y="0"/>
                  </a:cubicBezTo>
                  <a:lnTo>
                    <a:pt x="150" y="0"/>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344" name="Freeform 208">
              <a:extLst>
                <a:ext uri="{FF2B5EF4-FFF2-40B4-BE49-F238E27FC236}">
                  <a16:creationId xmlns:a16="http://schemas.microsoft.com/office/drawing/2014/main" id="{D7398BD5-5F23-4714-A06C-54D90A0F44C3}"/>
                </a:ext>
              </a:extLst>
            </p:cNvPr>
            <p:cNvSpPr>
              <a:spLocks/>
            </p:cNvSpPr>
            <p:nvPr/>
          </p:nvSpPr>
          <p:spPr bwMode="auto">
            <a:xfrm>
              <a:off x="1360724" y="2765334"/>
              <a:ext cx="76267" cy="92904"/>
            </a:xfrm>
            <a:custGeom>
              <a:avLst/>
              <a:gdLst>
                <a:gd name="T0" fmla="*/ 0 w 301"/>
                <a:gd name="T1" fmla="*/ 208 h 366"/>
                <a:gd name="T2" fmla="*/ 0 w 301"/>
                <a:gd name="T3" fmla="*/ 286 h 366"/>
                <a:gd name="T4" fmla="*/ 80 w 301"/>
                <a:gd name="T5" fmla="*/ 366 h 366"/>
                <a:gd name="T6" fmla="*/ 181 w 301"/>
                <a:gd name="T7" fmla="*/ 366 h 366"/>
                <a:gd name="T8" fmla="*/ 182 w 301"/>
                <a:gd name="T9" fmla="*/ 365 h 366"/>
                <a:gd name="T10" fmla="*/ 301 w 301"/>
                <a:gd name="T11" fmla="*/ 0 h 366"/>
                <a:gd name="T12" fmla="*/ 215 w 301"/>
                <a:gd name="T13" fmla="*/ 0 h 366"/>
                <a:gd name="T14" fmla="*/ 191 w 301"/>
                <a:gd name="T15" fmla="*/ 20 h 366"/>
                <a:gd name="T16" fmla="*/ 129 w 301"/>
                <a:gd name="T17" fmla="*/ 20 h 366"/>
                <a:gd name="T18" fmla="*/ 91 w 301"/>
                <a:gd name="T19" fmla="*/ 44 h 366"/>
                <a:gd name="T20" fmla="*/ 91 w 301"/>
                <a:gd name="T21" fmla="*/ 89 h 366"/>
                <a:gd name="T22" fmla="*/ 0 w 301"/>
                <a:gd name="T23" fmla="*/ 153 h 366"/>
                <a:gd name="T24" fmla="*/ 0 w 301"/>
                <a:gd name="T25" fmla="*/ 178 h 366"/>
                <a:gd name="T26" fmla="*/ 26 w 301"/>
                <a:gd name="T27" fmla="*/ 178 h 366"/>
                <a:gd name="T28" fmla="*/ 26 w 301"/>
                <a:gd name="T29" fmla="*/ 208 h 366"/>
                <a:gd name="T30" fmla="*/ 0 w 301"/>
                <a:gd name="T31" fmla="*/ 20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1" h="366">
                  <a:moveTo>
                    <a:pt x="0" y="208"/>
                  </a:moveTo>
                  <a:cubicBezTo>
                    <a:pt x="0" y="286"/>
                    <a:pt x="0" y="286"/>
                    <a:pt x="0" y="286"/>
                  </a:cubicBezTo>
                  <a:cubicBezTo>
                    <a:pt x="80" y="366"/>
                    <a:pt x="80" y="366"/>
                    <a:pt x="80" y="366"/>
                  </a:cubicBezTo>
                  <a:cubicBezTo>
                    <a:pt x="181" y="366"/>
                    <a:pt x="181" y="366"/>
                    <a:pt x="181" y="366"/>
                  </a:cubicBezTo>
                  <a:cubicBezTo>
                    <a:pt x="182" y="365"/>
                    <a:pt x="182" y="365"/>
                    <a:pt x="182" y="365"/>
                  </a:cubicBezTo>
                  <a:cubicBezTo>
                    <a:pt x="245" y="256"/>
                    <a:pt x="286" y="132"/>
                    <a:pt x="301" y="0"/>
                  </a:cubicBezTo>
                  <a:cubicBezTo>
                    <a:pt x="215" y="0"/>
                    <a:pt x="215" y="0"/>
                    <a:pt x="215" y="0"/>
                  </a:cubicBezTo>
                  <a:cubicBezTo>
                    <a:pt x="191" y="20"/>
                    <a:pt x="191" y="20"/>
                    <a:pt x="191" y="20"/>
                  </a:cubicBezTo>
                  <a:cubicBezTo>
                    <a:pt x="129" y="20"/>
                    <a:pt x="129" y="20"/>
                    <a:pt x="129" y="20"/>
                  </a:cubicBezTo>
                  <a:cubicBezTo>
                    <a:pt x="91" y="44"/>
                    <a:pt x="91" y="44"/>
                    <a:pt x="91" y="44"/>
                  </a:cubicBezTo>
                  <a:cubicBezTo>
                    <a:pt x="91" y="89"/>
                    <a:pt x="91" y="89"/>
                    <a:pt x="91" y="89"/>
                  </a:cubicBezTo>
                  <a:cubicBezTo>
                    <a:pt x="0" y="153"/>
                    <a:pt x="0" y="153"/>
                    <a:pt x="0" y="153"/>
                  </a:cubicBezTo>
                  <a:cubicBezTo>
                    <a:pt x="0" y="178"/>
                    <a:pt x="0" y="178"/>
                    <a:pt x="0" y="178"/>
                  </a:cubicBezTo>
                  <a:cubicBezTo>
                    <a:pt x="26" y="178"/>
                    <a:pt x="26" y="178"/>
                    <a:pt x="26" y="178"/>
                  </a:cubicBezTo>
                  <a:cubicBezTo>
                    <a:pt x="26" y="208"/>
                    <a:pt x="26" y="208"/>
                    <a:pt x="26" y="208"/>
                  </a:cubicBezTo>
                  <a:lnTo>
                    <a:pt x="0" y="208"/>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345" name="Freeform 209">
              <a:extLst>
                <a:ext uri="{FF2B5EF4-FFF2-40B4-BE49-F238E27FC236}">
                  <a16:creationId xmlns:a16="http://schemas.microsoft.com/office/drawing/2014/main" id="{748C6694-71C5-48EA-A9D8-4731D2FC6BFC}"/>
                </a:ext>
              </a:extLst>
            </p:cNvPr>
            <p:cNvSpPr>
              <a:spLocks/>
            </p:cNvSpPr>
            <p:nvPr/>
          </p:nvSpPr>
          <p:spPr bwMode="auto">
            <a:xfrm>
              <a:off x="1423345" y="2693927"/>
              <a:ext cx="13272" cy="18319"/>
            </a:xfrm>
            <a:custGeom>
              <a:avLst/>
              <a:gdLst>
                <a:gd name="T0" fmla="*/ 34 w 53"/>
                <a:gd name="T1" fmla="*/ 72 h 72"/>
                <a:gd name="T2" fmla="*/ 53 w 53"/>
                <a:gd name="T3" fmla="*/ 64 h 72"/>
                <a:gd name="T4" fmla="*/ 44 w 53"/>
                <a:gd name="T5" fmla="*/ 0 h 72"/>
                <a:gd name="T6" fmla="*/ 0 w 53"/>
                <a:gd name="T7" fmla="*/ 24 h 72"/>
                <a:gd name="T8" fmla="*/ 0 w 53"/>
                <a:gd name="T9" fmla="*/ 40 h 72"/>
                <a:gd name="T10" fmla="*/ 27 w 53"/>
                <a:gd name="T11" fmla="*/ 40 h 72"/>
                <a:gd name="T12" fmla="*/ 34 w 53"/>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53" h="72">
                  <a:moveTo>
                    <a:pt x="34" y="72"/>
                  </a:moveTo>
                  <a:cubicBezTo>
                    <a:pt x="53" y="64"/>
                    <a:pt x="53" y="64"/>
                    <a:pt x="53" y="64"/>
                  </a:cubicBezTo>
                  <a:cubicBezTo>
                    <a:pt x="50" y="44"/>
                    <a:pt x="47" y="19"/>
                    <a:pt x="44" y="0"/>
                  </a:cubicBezTo>
                  <a:cubicBezTo>
                    <a:pt x="0" y="24"/>
                    <a:pt x="0" y="24"/>
                    <a:pt x="0" y="24"/>
                  </a:cubicBezTo>
                  <a:cubicBezTo>
                    <a:pt x="0" y="40"/>
                    <a:pt x="0" y="40"/>
                    <a:pt x="0" y="40"/>
                  </a:cubicBezTo>
                  <a:cubicBezTo>
                    <a:pt x="27" y="40"/>
                    <a:pt x="27" y="40"/>
                    <a:pt x="27" y="40"/>
                  </a:cubicBezTo>
                  <a:lnTo>
                    <a:pt x="34" y="7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346" name="Freeform 210">
              <a:extLst>
                <a:ext uri="{FF2B5EF4-FFF2-40B4-BE49-F238E27FC236}">
                  <a16:creationId xmlns:a16="http://schemas.microsoft.com/office/drawing/2014/main" id="{EB8965EC-3DC8-4F99-BC49-B6DC45815D86}"/>
                </a:ext>
              </a:extLst>
            </p:cNvPr>
            <p:cNvSpPr>
              <a:spLocks noEditPoints="1"/>
            </p:cNvSpPr>
            <p:nvPr/>
          </p:nvSpPr>
          <p:spPr bwMode="auto">
            <a:xfrm>
              <a:off x="1113416" y="2662336"/>
              <a:ext cx="226558" cy="312172"/>
            </a:xfrm>
            <a:custGeom>
              <a:avLst/>
              <a:gdLst>
                <a:gd name="T0" fmla="*/ 849 w 894"/>
                <a:gd name="T1" fmla="*/ 1056 h 1228"/>
                <a:gd name="T2" fmla="*/ 862 w 894"/>
                <a:gd name="T3" fmla="*/ 887 h 1228"/>
                <a:gd name="T4" fmla="*/ 707 w 894"/>
                <a:gd name="T5" fmla="*/ 777 h 1228"/>
                <a:gd name="T6" fmla="*/ 585 w 894"/>
                <a:gd name="T7" fmla="*/ 711 h 1228"/>
                <a:gd name="T8" fmla="*/ 361 w 894"/>
                <a:gd name="T9" fmla="*/ 714 h 1228"/>
                <a:gd name="T10" fmla="*/ 330 w 894"/>
                <a:gd name="T11" fmla="*/ 588 h 1228"/>
                <a:gd name="T12" fmla="*/ 220 w 894"/>
                <a:gd name="T13" fmla="*/ 552 h 1228"/>
                <a:gd name="T14" fmla="*/ 384 w 894"/>
                <a:gd name="T15" fmla="*/ 485 h 1228"/>
                <a:gd name="T16" fmla="*/ 418 w 894"/>
                <a:gd name="T17" fmla="*/ 478 h 1228"/>
                <a:gd name="T18" fmla="*/ 599 w 894"/>
                <a:gd name="T19" fmla="*/ 320 h 1228"/>
                <a:gd name="T20" fmla="*/ 657 w 894"/>
                <a:gd name="T21" fmla="*/ 272 h 1228"/>
                <a:gd name="T22" fmla="*/ 673 w 894"/>
                <a:gd name="T23" fmla="*/ 256 h 1228"/>
                <a:gd name="T24" fmla="*/ 732 w 894"/>
                <a:gd name="T25" fmla="*/ 262 h 1228"/>
                <a:gd name="T26" fmla="*/ 775 w 894"/>
                <a:gd name="T27" fmla="*/ 282 h 1228"/>
                <a:gd name="T28" fmla="*/ 757 w 894"/>
                <a:gd name="T29" fmla="*/ 208 h 1228"/>
                <a:gd name="T30" fmla="*/ 678 w 894"/>
                <a:gd name="T31" fmla="*/ 170 h 1228"/>
                <a:gd name="T32" fmla="*/ 555 w 894"/>
                <a:gd name="T33" fmla="*/ 208 h 1228"/>
                <a:gd name="T34" fmla="*/ 457 w 894"/>
                <a:gd name="T35" fmla="*/ 177 h 1228"/>
                <a:gd name="T36" fmla="*/ 560 w 894"/>
                <a:gd name="T37" fmla="*/ 111 h 1228"/>
                <a:gd name="T38" fmla="*/ 597 w 894"/>
                <a:gd name="T39" fmla="*/ 107 h 1228"/>
                <a:gd name="T40" fmla="*/ 685 w 894"/>
                <a:gd name="T41" fmla="*/ 56 h 1228"/>
                <a:gd name="T42" fmla="*/ 673 w 894"/>
                <a:gd name="T43" fmla="*/ 110 h 1228"/>
                <a:gd name="T44" fmla="*/ 779 w 894"/>
                <a:gd name="T45" fmla="*/ 100 h 1228"/>
                <a:gd name="T46" fmla="*/ 716 w 894"/>
                <a:gd name="T47" fmla="*/ 19 h 1228"/>
                <a:gd name="T48" fmla="*/ 583 w 894"/>
                <a:gd name="T49" fmla="*/ 63 h 1228"/>
                <a:gd name="T50" fmla="*/ 548 w 894"/>
                <a:gd name="T51" fmla="*/ 14 h 1228"/>
                <a:gd name="T52" fmla="*/ 545 w 894"/>
                <a:gd name="T53" fmla="*/ 51 h 1228"/>
                <a:gd name="T54" fmla="*/ 464 w 894"/>
                <a:gd name="T55" fmla="*/ 75 h 1228"/>
                <a:gd name="T56" fmla="*/ 509 w 894"/>
                <a:gd name="T57" fmla="*/ 12 h 1228"/>
                <a:gd name="T58" fmla="*/ 438 w 894"/>
                <a:gd name="T59" fmla="*/ 22 h 1228"/>
                <a:gd name="T60" fmla="*/ 347 w 894"/>
                <a:gd name="T61" fmla="*/ 34 h 1228"/>
                <a:gd name="T62" fmla="*/ 406 w 894"/>
                <a:gd name="T63" fmla="*/ 61 h 1228"/>
                <a:gd name="T64" fmla="*/ 359 w 894"/>
                <a:gd name="T65" fmla="*/ 59 h 1228"/>
                <a:gd name="T66" fmla="*/ 64 w 894"/>
                <a:gd name="T67" fmla="*/ 287 h 1228"/>
                <a:gd name="T68" fmla="*/ 33 w 894"/>
                <a:gd name="T69" fmla="*/ 492 h 1228"/>
                <a:gd name="T70" fmla="*/ 64 w 894"/>
                <a:gd name="T71" fmla="*/ 500 h 1228"/>
                <a:gd name="T72" fmla="*/ 114 w 894"/>
                <a:gd name="T73" fmla="*/ 573 h 1228"/>
                <a:gd name="T74" fmla="*/ 218 w 894"/>
                <a:gd name="T75" fmla="*/ 650 h 1228"/>
                <a:gd name="T76" fmla="*/ 245 w 894"/>
                <a:gd name="T77" fmla="*/ 660 h 1228"/>
                <a:gd name="T78" fmla="*/ 400 w 894"/>
                <a:gd name="T79" fmla="*/ 736 h 1228"/>
                <a:gd name="T80" fmla="*/ 437 w 894"/>
                <a:gd name="T81" fmla="*/ 971 h 1228"/>
                <a:gd name="T82" fmla="*/ 524 w 894"/>
                <a:gd name="T83" fmla="*/ 1182 h 1228"/>
                <a:gd name="T84" fmla="*/ 279 w 894"/>
                <a:gd name="T85" fmla="*/ 131 h 1228"/>
                <a:gd name="T86" fmla="*/ 477 w 894"/>
                <a:gd name="T87" fmla="*/ 352 h 1228"/>
                <a:gd name="T88" fmla="*/ 443 w 894"/>
                <a:gd name="T89" fmla="*/ 344 h 1228"/>
                <a:gd name="T90" fmla="*/ 479 w 894"/>
                <a:gd name="T91" fmla="*/ 319 h 1228"/>
                <a:gd name="T92" fmla="*/ 482 w 894"/>
                <a:gd name="T93" fmla="*/ 304 h 1228"/>
                <a:gd name="T94" fmla="*/ 511 w 894"/>
                <a:gd name="T95" fmla="*/ 315 h 1228"/>
                <a:gd name="T96" fmla="*/ 523 w 894"/>
                <a:gd name="T97" fmla="*/ 336 h 1228"/>
                <a:gd name="T98" fmla="*/ 487 w 894"/>
                <a:gd name="T99" fmla="*/ 320 h 1228"/>
                <a:gd name="T100" fmla="*/ 467 w 894"/>
                <a:gd name="T101" fmla="*/ 296 h 1228"/>
                <a:gd name="T102" fmla="*/ 390 w 894"/>
                <a:gd name="T103" fmla="*/ 296 h 1228"/>
                <a:gd name="T104" fmla="*/ 455 w 894"/>
                <a:gd name="T105" fmla="*/ 275 h 1228"/>
                <a:gd name="T106" fmla="*/ 400 w 894"/>
                <a:gd name="T107" fmla="*/ 350 h 1228"/>
                <a:gd name="T108" fmla="*/ 377 w 894"/>
                <a:gd name="T109" fmla="*/ 209 h 1228"/>
                <a:gd name="T110" fmla="*/ 345 w 894"/>
                <a:gd name="T111" fmla="*/ 221 h 1228"/>
                <a:gd name="T112" fmla="*/ 321 w 894"/>
                <a:gd name="T113" fmla="*/ 77 h 1228"/>
                <a:gd name="T114" fmla="*/ 265 w 894"/>
                <a:gd name="T115" fmla="*/ 93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4" h="1228">
                  <a:moveTo>
                    <a:pt x="760" y="1146"/>
                  </a:moveTo>
                  <a:cubicBezTo>
                    <a:pt x="751" y="1112"/>
                    <a:pt x="751" y="1112"/>
                    <a:pt x="751" y="1112"/>
                  </a:cubicBezTo>
                  <a:cubicBezTo>
                    <a:pt x="767" y="1091"/>
                    <a:pt x="767" y="1091"/>
                    <a:pt x="767" y="1091"/>
                  </a:cubicBezTo>
                  <a:cubicBezTo>
                    <a:pt x="814" y="1091"/>
                    <a:pt x="814" y="1091"/>
                    <a:pt x="814" y="1091"/>
                  </a:cubicBezTo>
                  <a:cubicBezTo>
                    <a:pt x="849" y="1056"/>
                    <a:pt x="849" y="1056"/>
                    <a:pt x="849" y="1056"/>
                  </a:cubicBezTo>
                  <a:cubicBezTo>
                    <a:pt x="854" y="969"/>
                    <a:pt x="854" y="969"/>
                    <a:pt x="854" y="969"/>
                  </a:cubicBezTo>
                  <a:cubicBezTo>
                    <a:pt x="881" y="936"/>
                    <a:pt x="881" y="936"/>
                    <a:pt x="881" y="936"/>
                  </a:cubicBezTo>
                  <a:cubicBezTo>
                    <a:pt x="890" y="926"/>
                    <a:pt x="894" y="914"/>
                    <a:pt x="894" y="901"/>
                  </a:cubicBezTo>
                  <a:cubicBezTo>
                    <a:pt x="894" y="895"/>
                    <a:pt x="894" y="895"/>
                    <a:pt x="894" y="895"/>
                  </a:cubicBezTo>
                  <a:cubicBezTo>
                    <a:pt x="862" y="887"/>
                    <a:pt x="862" y="887"/>
                    <a:pt x="862" y="887"/>
                  </a:cubicBezTo>
                  <a:cubicBezTo>
                    <a:pt x="845" y="853"/>
                    <a:pt x="845" y="853"/>
                    <a:pt x="845" y="853"/>
                  </a:cubicBezTo>
                  <a:cubicBezTo>
                    <a:pt x="771" y="853"/>
                    <a:pt x="771" y="853"/>
                    <a:pt x="771" y="853"/>
                  </a:cubicBezTo>
                  <a:cubicBezTo>
                    <a:pt x="713" y="829"/>
                    <a:pt x="713" y="829"/>
                    <a:pt x="713" y="829"/>
                  </a:cubicBezTo>
                  <a:cubicBezTo>
                    <a:pt x="713" y="800"/>
                    <a:pt x="713" y="800"/>
                    <a:pt x="713" y="800"/>
                  </a:cubicBezTo>
                  <a:cubicBezTo>
                    <a:pt x="713" y="792"/>
                    <a:pt x="711" y="784"/>
                    <a:pt x="707" y="777"/>
                  </a:cubicBezTo>
                  <a:cubicBezTo>
                    <a:pt x="694" y="757"/>
                    <a:pt x="694" y="757"/>
                    <a:pt x="694" y="757"/>
                  </a:cubicBezTo>
                  <a:cubicBezTo>
                    <a:pt x="644" y="757"/>
                    <a:pt x="644" y="757"/>
                    <a:pt x="644" y="757"/>
                  </a:cubicBezTo>
                  <a:cubicBezTo>
                    <a:pt x="607" y="703"/>
                    <a:pt x="607" y="703"/>
                    <a:pt x="607" y="703"/>
                  </a:cubicBezTo>
                  <a:cubicBezTo>
                    <a:pt x="585" y="695"/>
                    <a:pt x="585" y="695"/>
                    <a:pt x="585" y="695"/>
                  </a:cubicBezTo>
                  <a:cubicBezTo>
                    <a:pt x="585" y="711"/>
                    <a:pt x="585" y="711"/>
                    <a:pt x="585" y="711"/>
                  </a:cubicBezTo>
                  <a:cubicBezTo>
                    <a:pt x="535" y="711"/>
                    <a:pt x="535" y="711"/>
                    <a:pt x="535" y="711"/>
                  </a:cubicBezTo>
                  <a:cubicBezTo>
                    <a:pt x="516" y="683"/>
                    <a:pt x="516" y="683"/>
                    <a:pt x="516" y="683"/>
                  </a:cubicBezTo>
                  <a:cubicBezTo>
                    <a:pt x="466" y="678"/>
                    <a:pt x="466" y="678"/>
                    <a:pt x="466" y="678"/>
                  </a:cubicBezTo>
                  <a:cubicBezTo>
                    <a:pt x="431" y="722"/>
                    <a:pt x="431" y="722"/>
                    <a:pt x="431" y="722"/>
                  </a:cubicBezTo>
                  <a:cubicBezTo>
                    <a:pt x="361" y="714"/>
                    <a:pt x="361" y="714"/>
                    <a:pt x="361" y="714"/>
                  </a:cubicBezTo>
                  <a:cubicBezTo>
                    <a:pt x="361" y="653"/>
                    <a:pt x="361" y="653"/>
                    <a:pt x="361" y="653"/>
                  </a:cubicBezTo>
                  <a:cubicBezTo>
                    <a:pt x="361" y="646"/>
                    <a:pt x="356" y="640"/>
                    <a:pt x="350" y="639"/>
                  </a:cubicBezTo>
                  <a:cubicBezTo>
                    <a:pt x="310" y="634"/>
                    <a:pt x="310" y="634"/>
                    <a:pt x="310" y="634"/>
                  </a:cubicBezTo>
                  <a:cubicBezTo>
                    <a:pt x="330" y="601"/>
                    <a:pt x="330" y="601"/>
                    <a:pt x="330" y="601"/>
                  </a:cubicBezTo>
                  <a:cubicBezTo>
                    <a:pt x="330" y="588"/>
                    <a:pt x="330" y="588"/>
                    <a:pt x="330" y="588"/>
                  </a:cubicBezTo>
                  <a:cubicBezTo>
                    <a:pt x="330" y="580"/>
                    <a:pt x="321" y="575"/>
                    <a:pt x="314" y="580"/>
                  </a:cubicBezTo>
                  <a:cubicBezTo>
                    <a:pt x="266" y="616"/>
                    <a:pt x="266" y="616"/>
                    <a:pt x="266" y="616"/>
                  </a:cubicBezTo>
                  <a:cubicBezTo>
                    <a:pt x="225" y="616"/>
                    <a:pt x="225" y="616"/>
                    <a:pt x="225" y="616"/>
                  </a:cubicBezTo>
                  <a:cubicBezTo>
                    <a:pt x="221" y="609"/>
                    <a:pt x="221" y="609"/>
                    <a:pt x="221" y="609"/>
                  </a:cubicBezTo>
                  <a:cubicBezTo>
                    <a:pt x="213" y="591"/>
                    <a:pt x="212" y="570"/>
                    <a:pt x="220" y="552"/>
                  </a:cubicBezTo>
                  <a:cubicBezTo>
                    <a:pt x="228" y="533"/>
                    <a:pt x="228" y="533"/>
                    <a:pt x="228" y="533"/>
                  </a:cubicBezTo>
                  <a:cubicBezTo>
                    <a:pt x="234" y="518"/>
                    <a:pt x="246" y="505"/>
                    <a:pt x="261" y="498"/>
                  </a:cubicBezTo>
                  <a:cubicBezTo>
                    <a:pt x="272" y="492"/>
                    <a:pt x="272" y="492"/>
                    <a:pt x="272" y="492"/>
                  </a:cubicBezTo>
                  <a:cubicBezTo>
                    <a:pt x="282" y="487"/>
                    <a:pt x="293" y="485"/>
                    <a:pt x="303" y="485"/>
                  </a:cubicBezTo>
                  <a:cubicBezTo>
                    <a:pt x="384" y="485"/>
                    <a:pt x="384" y="485"/>
                    <a:pt x="384" y="485"/>
                  </a:cubicBezTo>
                  <a:cubicBezTo>
                    <a:pt x="384" y="506"/>
                    <a:pt x="384" y="506"/>
                    <a:pt x="384" y="506"/>
                  </a:cubicBezTo>
                  <a:cubicBezTo>
                    <a:pt x="384" y="518"/>
                    <a:pt x="390" y="529"/>
                    <a:pt x="400" y="535"/>
                  </a:cubicBezTo>
                  <a:cubicBezTo>
                    <a:pt x="406" y="539"/>
                    <a:pt x="406" y="539"/>
                    <a:pt x="406" y="539"/>
                  </a:cubicBezTo>
                  <a:cubicBezTo>
                    <a:pt x="411" y="543"/>
                    <a:pt x="418" y="539"/>
                    <a:pt x="418" y="533"/>
                  </a:cubicBezTo>
                  <a:cubicBezTo>
                    <a:pt x="418" y="478"/>
                    <a:pt x="418" y="478"/>
                    <a:pt x="418" y="478"/>
                  </a:cubicBezTo>
                  <a:cubicBezTo>
                    <a:pt x="456" y="443"/>
                    <a:pt x="456" y="443"/>
                    <a:pt x="456" y="443"/>
                  </a:cubicBezTo>
                  <a:cubicBezTo>
                    <a:pt x="494" y="423"/>
                    <a:pt x="494" y="423"/>
                    <a:pt x="494" y="423"/>
                  </a:cubicBezTo>
                  <a:cubicBezTo>
                    <a:pt x="494" y="398"/>
                    <a:pt x="494" y="398"/>
                    <a:pt x="494" y="398"/>
                  </a:cubicBezTo>
                  <a:cubicBezTo>
                    <a:pt x="545" y="347"/>
                    <a:pt x="545" y="347"/>
                    <a:pt x="545" y="347"/>
                  </a:cubicBezTo>
                  <a:cubicBezTo>
                    <a:pt x="599" y="320"/>
                    <a:pt x="599" y="320"/>
                    <a:pt x="599" y="320"/>
                  </a:cubicBezTo>
                  <a:cubicBezTo>
                    <a:pt x="599" y="308"/>
                    <a:pt x="599" y="308"/>
                    <a:pt x="599" y="308"/>
                  </a:cubicBezTo>
                  <a:cubicBezTo>
                    <a:pt x="629" y="282"/>
                    <a:pt x="629" y="282"/>
                    <a:pt x="629" y="282"/>
                  </a:cubicBezTo>
                  <a:cubicBezTo>
                    <a:pt x="639" y="285"/>
                    <a:pt x="639" y="285"/>
                    <a:pt x="639" y="285"/>
                  </a:cubicBezTo>
                  <a:cubicBezTo>
                    <a:pt x="647" y="287"/>
                    <a:pt x="655" y="285"/>
                    <a:pt x="660" y="278"/>
                  </a:cubicBezTo>
                  <a:cubicBezTo>
                    <a:pt x="662" y="276"/>
                    <a:pt x="660" y="272"/>
                    <a:pt x="657" y="272"/>
                  </a:cubicBezTo>
                  <a:cubicBezTo>
                    <a:pt x="647" y="272"/>
                    <a:pt x="647" y="272"/>
                    <a:pt x="647" y="272"/>
                  </a:cubicBezTo>
                  <a:cubicBezTo>
                    <a:pt x="641" y="272"/>
                    <a:pt x="635" y="268"/>
                    <a:pt x="633" y="261"/>
                  </a:cubicBezTo>
                  <a:cubicBezTo>
                    <a:pt x="632" y="253"/>
                    <a:pt x="638" y="246"/>
                    <a:pt x="646" y="246"/>
                  </a:cubicBezTo>
                  <a:cubicBezTo>
                    <a:pt x="656" y="246"/>
                    <a:pt x="656" y="246"/>
                    <a:pt x="656" y="246"/>
                  </a:cubicBezTo>
                  <a:cubicBezTo>
                    <a:pt x="663" y="246"/>
                    <a:pt x="670" y="250"/>
                    <a:pt x="673" y="256"/>
                  </a:cubicBezTo>
                  <a:cubicBezTo>
                    <a:pt x="677" y="263"/>
                    <a:pt x="677" y="263"/>
                    <a:pt x="677" y="263"/>
                  </a:cubicBezTo>
                  <a:cubicBezTo>
                    <a:pt x="705" y="263"/>
                    <a:pt x="705" y="263"/>
                    <a:pt x="705" y="263"/>
                  </a:cubicBezTo>
                  <a:cubicBezTo>
                    <a:pt x="721" y="247"/>
                    <a:pt x="721" y="247"/>
                    <a:pt x="721" y="247"/>
                  </a:cubicBezTo>
                  <a:cubicBezTo>
                    <a:pt x="732" y="247"/>
                    <a:pt x="732" y="247"/>
                    <a:pt x="732" y="247"/>
                  </a:cubicBezTo>
                  <a:cubicBezTo>
                    <a:pt x="732" y="262"/>
                    <a:pt x="732" y="262"/>
                    <a:pt x="732" y="262"/>
                  </a:cubicBezTo>
                  <a:cubicBezTo>
                    <a:pt x="719" y="275"/>
                    <a:pt x="719" y="275"/>
                    <a:pt x="719" y="275"/>
                  </a:cubicBezTo>
                  <a:cubicBezTo>
                    <a:pt x="715" y="279"/>
                    <a:pt x="717" y="285"/>
                    <a:pt x="721" y="287"/>
                  </a:cubicBezTo>
                  <a:cubicBezTo>
                    <a:pt x="762" y="301"/>
                    <a:pt x="762" y="301"/>
                    <a:pt x="762" y="301"/>
                  </a:cubicBezTo>
                  <a:cubicBezTo>
                    <a:pt x="769" y="303"/>
                    <a:pt x="775" y="298"/>
                    <a:pt x="775" y="292"/>
                  </a:cubicBezTo>
                  <a:cubicBezTo>
                    <a:pt x="775" y="282"/>
                    <a:pt x="775" y="282"/>
                    <a:pt x="775" y="282"/>
                  </a:cubicBezTo>
                  <a:cubicBezTo>
                    <a:pt x="740" y="265"/>
                    <a:pt x="740" y="265"/>
                    <a:pt x="740" y="265"/>
                  </a:cubicBezTo>
                  <a:cubicBezTo>
                    <a:pt x="740" y="255"/>
                    <a:pt x="740" y="255"/>
                    <a:pt x="740" y="255"/>
                  </a:cubicBezTo>
                  <a:cubicBezTo>
                    <a:pt x="766" y="245"/>
                    <a:pt x="766" y="245"/>
                    <a:pt x="766" y="245"/>
                  </a:cubicBezTo>
                  <a:cubicBezTo>
                    <a:pt x="766" y="223"/>
                    <a:pt x="766" y="223"/>
                    <a:pt x="766" y="223"/>
                  </a:cubicBezTo>
                  <a:cubicBezTo>
                    <a:pt x="766" y="217"/>
                    <a:pt x="763" y="211"/>
                    <a:pt x="757" y="208"/>
                  </a:cubicBezTo>
                  <a:cubicBezTo>
                    <a:pt x="735" y="196"/>
                    <a:pt x="735" y="196"/>
                    <a:pt x="735" y="196"/>
                  </a:cubicBezTo>
                  <a:cubicBezTo>
                    <a:pt x="735" y="166"/>
                    <a:pt x="735" y="166"/>
                    <a:pt x="735" y="166"/>
                  </a:cubicBezTo>
                  <a:cubicBezTo>
                    <a:pt x="735" y="158"/>
                    <a:pt x="727" y="153"/>
                    <a:pt x="720" y="157"/>
                  </a:cubicBezTo>
                  <a:cubicBezTo>
                    <a:pt x="695" y="170"/>
                    <a:pt x="695" y="170"/>
                    <a:pt x="695" y="170"/>
                  </a:cubicBezTo>
                  <a:cubicBezTo>
                    <a:pt x="678" y="170"/>
                    <a:pt x="678" y="170"/>
                    <a:pt x="678" y="170"/>
                  </a:cubicBezTo>
                  <a:cubicBezTo>
                    <a:pt x="680" y="134"/>
                    <a:pt x="680" y="134"/>
                    <a:pt x="680" y="134"/>
                  </a:cubicBezTo>
                  <a:cubicBezTo>
                    <a:pt x="624" y="120"/>
                    <a:pt x="624" y="120"/>
                    <a:pt x="624" y="120"/>
                  </a:cubicBezTo>
                  <a:cubicBezTo>
                    <a:pt x="597" y="137"/>
                    <a:pt x="597" y="137"/>
                    <a:pt x="597" y="137"/>
                  </a:cubicBezTo>
                  <a:cubicBezTo>
                    <a:pt x="597" y="192"/>
                    <a:pt x="597" y="192"/>
                    <a:pt x="597" y="192"/>
                  </a:cubicBezTo>
                  <a:cubicBezTo>
                    <a:pt x="555" y="208"/>
                    <a:pt x="555" y="208"/>
                    <a:pt x="555" y="208"/>
                  </a:cubicBezTo>
                  <a:cubicBezTo>
                    <a:pt x="537" y="244"/>
                    <a:pt x="537" y="244"/>
                    <a:pt x="537" y="244"/>
                  </a:cubicBezTo>
                  <a:cubicBezTo>
                    <a:pt x="519" y="244"/>
                    <a:pt x="519" y="244"/>
                    <a:pt x="519" y="244"/>
                  </a:cubicBezTo>
                  <a:cubicBezTo>
                    <a:pt x="519" y="202"/>
                    <a:pt x="519" y="202"/>
                    <a:pt x="519" y="202"/>
                  </a:cubicBezTo>
                  <a:cubicBezTo>
                    <a:pt x="477" y="196"/>
                    <a:pt x="477" y="196"/>
                    <a:pt x="477" y="196"/>
                  </a:cubicBezTo>
                  <a:cubicBezTo>
                    <a:pt x="457" y="177"/>
                    <a:pt x="457" y="177"/>
                    <a:pt x="457" y="177"/>
                  </a:cubicBezTo>
                  <a:cubicBezTo>
                    <a:pt x="455" y="161"/>
                    <a:pt x="455" y="161"/>
                    <a:pt x="455" y="161"/>
                  </a:cubicBezTo>
                  <a:cubicBezTo>
                    <a:pt x="455" y="154"/>
                    <a:pt x="458" y="146"/>
                    <a:pt x="464" y="142"/>
                  </a:cubicBezTo>
                  <a:cubicBezTo>
                    <a:pt x="519" y="108"/>
                    <a:pt x="519" y="108"/>
                    <a:pt x="519" y="108"/>
                  </a:cubicBezTo>
                  <a:cubicBezTo>
                    <a:pt x="547" y="101"/>
                    <a:pt x="547" y="101"/>
                    <a:pt x="547" y="101"/>
                  </a:cubicBezTo>
                  <a:cubicBezTo>
                    <a:pt x="554" y="99"/>
                    <a:pt x="560" y="104"/>
                    <a:pt x="560" y="111"/>
                  </a:cubicBezTo>
                  <a:cubicBezTo>
                    <a:pt x="560" y="124"/>
                    <a:pt x="560" y="124"/>
                    <a:pt x="560" y="124"/>
                  </a:cubicBezTo>
                  <a:cubicBezTo>
                    <a:pt x="576" y="124"/>
                    <a:pt x="576" y="124"/>
                    <a:pt x="576" y="124"/>
                  </a:cubicBezTo>
                  <a:cubicBezTo>
                    <a:pt x="582" y="124"/>
                    <a:pt x="587" y="119"/>
                    <a:pt x="587" y="113"/>
                  </a:cubicBezTo>
                  <a:cubicBezTo>
                    <a:pt x="587" y="107"/>
                    <a:pt x="587" y="107"/>
                    <a:pt x="587" y="107"/>
                  </a:cubicBezTo>
                  <a:cubicBezTo>
                    <a:pt x="597" y="107"/>
                    <a:pt x="597" y="107"/>
                    <a:pt x="597" y="107"/>
                  </a:cubicBezTo>
                  <a:cubicBezTo>
                    <a:pt x="601" y="107"/>
                    <a:pt x="603" y="102"/>
                    <a:pt x="601" y="99"/>
                  </a:cubicBezTo>
                  <a:cubicBezTo>
                    <a:pt x="591" y="86"/>
                    <a:pt x="591" y="86"/>
                    <a:pt x="591" y="86"/>
                  </a:cubicBezTo>
                  <a:cubicBezTo>
                    <a:pt x="619" y="86"/>
                    <a:pt x="619" y="86"/>
                    <a:pt x="619" y="86"/>
                  </a:cubicBezTo>
                  <a:cubicBezTo>
                    <a:pt x="640" y="60"/>
                    <a:pt x="640" y="60"/>
                    <a:pt x="640" y="60"/>
                  </a:cubicBezTo>
                  <a:cubicBezTo>
                    <a:pt x="685" y="56"/>
                    <a:pt x="685" y="56"/>
                    <a:pt x="685" y="56"/>
                  </a:cubicBezTo>
                  <a:cubicBezTo>
                    <a:pt x="691" y="56"/>
                    <a:pt x="697" y="58"/>
                    <a:pt x="701" y="62"/>
                  </a:cubicBezTo>
                  <a:cubicBezTo>
                    <a:pt x="707" y="67"/>
                    <a:pt x="707" y="67"/>
                    <a:pt x="707" y="67"/>
                  </a:cubicBezTo>
                  <a:cubicBezTo>
                    <a:pt x="711" y="72"/>
                    <a:pt x="710" y="80"/>
                    <a:pt x="704" y="83"/>
                  </a:cubicBezTo>
                  <a:cubicBezTo>
                    <a:pt x="695" y="88"/>
                    <a:pt x="681" y="95"/>
                    <a:pt x="672" y="100"/>
                  </a:cubicBezTo>
                  <a:cubicBezTo>
                    <a:pt x="667" y="102"/>
                    <a:pt x="668" y="109"/>
                    <a:pt x="673" y="110"/>
                  </a:cubicBezTo>
                  <a:cubicBezTo>
                    <a:pt x="723" y="124"/>
                    <a:pt x="723" y="124"/>
                    <a:pt x="723" y="124"/>
                  </a:cubicBezTo>
                  <a:cubicBezTo>
                    <a:pt x="730" y="125"/>
                    <a:pt x="737" y="121"/>
                    <a:pt x="739" y="115"/>
                  </a:cubicBezTo>
                  <a:cubicBezTo>
                    <a:pt x="740" y="109"/>
                    <a:pt x="740" y="109"/>
                    <a:pt x="740" y="109"/>
                  </a:cubicBezTo>
                  <a:cubicBezTo>
                    <a:pt x="742" y="104"/>
                    <a:pt x="747" y="100"/>
                    <a:pt x="752" y="100"/>
                  </a:cubicBezTo>
                  <a:cubicBezTo>
                    <a:pt x="779" y="100"/>
                    <a:pt x="779" y="100"/>
                    <a:pt x="779" y="100"/>
                  </a:cubicBezTo>
                  <a:cubicBezTo>
                    <a:pt x="788" y="83"/>
                    <a:pt x="788" y="83"/>
                    <a:pt x="788" y="83"/>
                  </a:cubicBezTo>
                  <a:cubicBezTo>
                    <a:pt x="790" y="79"/>
                    <a:pt x="787" y="74"/>
                    <a:pt x="782" y="74"/>
                  </a:cubicBezTo>
                  <a:cubicBezTo>
                    <a:pt x="767" y="74"/>
                    <a:pt x="767" y="74"/>
                    <a:pt x="767" y="74"/>
                  </a:cubicBezTo>
                  <a:cubicBezTo>
                    <a:pt x="767" y="42"/>
                    <a:pt x="767" y="42"/>
                    <a:pt x="767" y="42"/>
                  </a:cubicBezTo>
                  <a:cubicBezTo>
                    <a:pt x="716" y="19"/>
                    <a:pt x="716" y="19"/>
                    <a:pt x="716" y="19"/>
                  </a:cubicBezTo>
                  <a:cubicBezTo>
                    <a:pt x="695" y="10"/>
                    <a:pt x="671" y="9"/>
                    <a:pt x="649" y="16"/>
                  </a:cubicBezTo>
                  <a:cubicBezTo>
                    <a:pt x="609" y="30"/>
                    <a:pt x="609" y="30"/>
                    <a:pt x="609" y="30"/>
                  </a:cubicBezTo>
                  <a:cubicBezTo>
                    <a:pt x="609" y="55"/>
                    <a:pt x="609" y="55"/>
                    <a:pt x="609" y="55"/>
                  </a:cubicBezTo>
                  <a:cubicBezTo>
                    <a:pt x="609" y="61"/>
                    <a:pt x="604" y="65"/>
                    <a:pt x="599" y="65"/>
                  </a:cubicBezTo>
                  <a:cubicBezTo>
                    <a:pt x="583" y="63"/>
                    <a:pt x="583" y="63"/>
                    <a:pt x="583" y="63"/>
                  </a:cubicBezTo>
                  <a:cubicBezTo>
                    <a:pt x="578" y="62"/>
                    <a:pt x="574" y="58"/>
                    <a:pt x="574" y="54"/>
                  </a:cubicBezTo>
                  <a:cubicBezTo>
                    <a:pt x="574" y="40"/>
                    <a:pt x="574" y="40"/>
                    <a:pt x="574" y="40"/>
                  </a:cubicBezTo>
                  <a:cubicBezTo>
                    <a:pt x="589" y="26"/>
                    <a:pt x="589" y="26"/>
                    <a:pt x="589" y="26"/>
                  </a:cubicBezTo>
                  <a:cubicBezTo>
                    <a:pt x="594" y="22"/>
                    <a:pt x="591" y="14"/>
                    <a:pt x="584" y="14"/>
                  </a:cubicBezTo>
                  <a:cubicBezTo>
                    <a:pt x="548" y="14"/>
                    <a:pt x="548" y="14"/>
                    <a:pt x="548" y="14"/>
                  </a:cubicBezTo>
                  <a:cubicBezTo>
                    <a:pt x="542" y="14"/>
                    <a:pt x="537" y="17"/>
                    <a:pt x="535" y="22"/>
                  </a:cubicBezTo>
                  <a:cubicBezTo>
                    <a:pt x="528" y="36"/>
                    <a:pt x="528" y="36"/>
                    <a:pt x="528" y="36"/>
                  </a:cubicBezTo>
                  <a:cubicBezTo>
                    <a:pt x="536" y="36"/>
                    <a:pt x="536" y="36"/>
                    <a:pt x="536" y="36"/>
                  </a:cubicBezTo>
                  <a:cubicBezTo>
                    <a:pt x="541" y="36"/>
                    <a:pt x="545" y="41"/>
                    <a:pt x="545" y="46"/>
                  </a:cubicBezTo>
                  <a:cubicBezTo>
                    <a:pt x="545" y="51"/>
                    <a:pt x="545" y="51"/>
                    <a:pt x="545" y="51"/>
                  </a:cubicBezTo>
                  <a:cubicBezTo>
                    <a:pt x="545" y="57"/>
                    <a:pt x="541" y="61"/>
                    <a:pt x="536" y="61"/>
                  </a:cubicBezTo>
                  <a:cubicBezTo>
                    <a:pt x="508" y="61"/>
                    <a:pt x="508" y="61"/>
                    <a:pt x="508" y="61"/>
                  </a:cubicBezTo>
                  <a:cubicBezTo>
                    <a:pt x="503" y="69"/>
                    <a:pt x="503" y="69"/>
                    <a:pt x="503" y="69"/>
                  </a:cubicBezTo>
                  <a:cubicBezTo>
                    <a:pt x="500" y="73"/>
                    <a:pt x="496" y="75"/>
                    <a:pt x="491" y="75"/>
                  </a:cubicBezTo>
                  <a:cubicBezTo>
                    <a:pt x="464" y="75"/>
                    <a:pt x="464" y="75"/>
                    <a:pt x="464" y="75"/>
                  </a:cubicBezTo>
                  <a:cubicBezTo>
                    <a:pt x="456" y="75"/>
                    <a:pt x="450" y="69"/>
                    <a:pt x="450" y="61"/>
                  </a:cubicBezTo>
                  <a:cubicBezTo>
                    <a:pt x="450" y="47"/>
                    <a:pt x="450" y="47"/>
                    <a:pt x="450" y="47"/>
                  </a:cubicBezTo>
                  <a:cubicBezTo>
                    <a:pt x="493" y="47"/>
                    <a:pt x="493" y="47"/>
                    <a:pt x="493" y="47"/>
                  </a:cubicBezTo>
                  <a:cubicBezTo>
                    <a:pt x="517" y="18"/>
                    <a:pt x="517" y="18"/>
                    <a:pt x="517" y="18"/>
                  </a:cubicBezTo>
                  <a:cubicBezTo>
                    <a:pt x="509" y="12"/>
                    <a:pt x="509" y="12"/>
                    <a:pt x="509" y="12"/>
                  </a:cubicBezTo>
                  <a:cubicBezTo>
                    <a:pt x="505" y="9"/>
                    <a:pt x="499" y="10"/>
                    <a:pt x="495" y="13"/>
                  </a:cubicBezTo>
                  <a:cubicBezTo>
                    <a:pt x="485" y="24"/>
                    <a:pt x="485" y="24"/>
                    <a:pt x="485" y="24"/>
                  </a:cubicBezTo>
                  <a:cubicBezTo>
                    <a:pt x="482" y="28"/>
                    <a:pt x="478" y="30"/>
                    <a:pt x="473" y="30"/>
                  </a:cubicBezTo>
                  <a:cubicBezTo>
                    <a:pt x="452" y="30"/>
                    <a:pt x="452" y="30"/>
                    <a:pt x="452" y="30"/>
                  </a:cubicBezTo>
                  <a:cubicBezTo>
                    <a:pt x="447" y="30"/>
                    <a:pt x="441" y="27"/>
                    <a:pt x="438" y="22"/>
                  </a:cubicBezTo>
                  <a:cubicBezTo>
                    <a:pt x="425" y="0"/>
                    <a:pt x="425" y="0"/>
                    <a:pt x="425" y="0"/>
                  </a:cubicBezTo>
                  <a:cubicBezTo>
                    <a:pt x="386" y="0"/>
                    <a:pt x="386" y="0"/>
                    <a:pt x="386" y="0"/>
                  </a:cubicBezTo>
                  <a:cubicBezTo>
                    <a:pt x="377" y="0"/>
                    <a:pt x="369" y="3"/>
                    <a:pt x="363" y="9"/>
                  </a:cubicBezTo>
                  <a:cubicBezTo>
                    <a:pt x="344" y="25"/>
                    <a:pt x="344" y="25"/>
                    <a:pt x="344" y="25"/>
                  </a:cubicBezTo>
                  <a:cubicBezTo>
                    <a:pt x="340" y="28"/>
                    <a:pt x="343" y="34"/>
                    <a:pt x="347" y="34"/>
                  </a:cubicBezTo>
                  <a:cubicBezTo>
                    <a:pt x="380" y="34"/>
                    <a:pt x="380" y="34"/>
                    <a:pt x="380" y="34"/>
                  </a:cubicBezTo>
                  <a:cubicBezTo>
                    <a:pt x="380" y="48"/>
                    <a:pt x="380" y="48"/>
                    <a:pt x="380" y="48"/>
                  </a:cubicBezTo>
                  <a:cubicBezTo>
                    <a:pt x="378" y="50"/>
                    <a:pt x="378" y="50"/>
                    <a:pt x="378" y="50"/>
                  </a:cubicBezTo>
                  <a:cubicBezTo>
                    <a:pt x="374" y="54"/>
                    <a:pt x="377" y="61"/>
                    <a:pt x="382" y="61"/>
                  </a:cubicBezTo>
                  <a:cubicBezTo>
                    <a:pt x="406" y="61"/>
                    <a:pt x="406" y="61"/>
                    <a:pt x="406" y="61"/>
                  </a:cubicBezTo>
                  <a:cubicBezTo>
                    <a:pt x="413" y="61"/>
                    <a:pt x="419" y="65"/>
                    <a:pt x="421" y="72"/>
                  </a:cubicBezTo>
                  <a:cubicBezTo>
                    <a:pt x="422" y="77"/>
                    <a:pt x="422" y="77"/>
                    <a:pt x="422" y="77"/>
                  </a:cubicBezTo>
                  <a:cubicBezTo>
                    <a:pt x="377" y="77"/>
                    <a:pt x="377" y="77"/>
                    <a:pt x="377" y="77"/>
                  </a:cubicBezTo>
                  <a:cubicBezTo>
                    <a:pt x="370" y="77"/>
                    <a:pt x="363" y="73"/>
                    <a:pt x="361" y="66"/>
                  </a:cubicBezTo>
                  <a:cubicBezTo>
                    <a:pt x="359" y="59"/>
                    <a:pt x="359" y="59"/>
                    <a:pt x="359" y="59"/>
                  </a:cubicBezTo>
                  <a:cubicBezTo>
                    <a:pt x="310" y="41"/>
                    <a:pt x="310" y="41"/>
                    <a:pt x="310" y="41"/>
                  </a:cubicBezTo>
                  <a:cubicBezTo>
                    <a:pt x="278" y="42"/>
                    <a:pt x="278" y="42"/>
                    <a:pt x="278" y="42"/>
                  </a:cubicBezTo>
                  <a:cubicBezTo>
                    <a:pt x="270" y="46"/>
                    <a:pt x="270" y="46"/>
                    <a:pt x="270" y="46"/>
                  </a:cubicBezTo>
                  <a:cubicBezTo>
                    <a:pt x="187" y="109"/>
                    <a:pt x="117" y="188"/>
                    <a:pt x="64" y="277"/>
                  </a:cubicBezTo>
                  <a:cubicBezTo>
                    <a:pt x="64" y="287"/>
                    <a:pt x="64" y="287"/>
                    <a:pt x="64" y="287"/>
                  </a:cubicBezTo>
                  <a:cubicBezTo>
                    <a:pt x="51" y="300"/>
                    <a:pt x="51" y="300"/>
                    <a:pt x="51" y="300"/>
                  </a:cubicBezTo>
                  <a:cubicBezTo>
                    <a:pt x="31" y="336"/>
                    <a:pt x="14" y="374"/>
                    <a:pt x="0" y="413"/>
                  </a:cubicBezTo>
                  <a:cubicBezTo>
                    <a:pt x="0" y="429"/>
                    <a:pt x="0" y="429"/>
                    <a:pt x="0" y="429"/>
                  </a:cubicBezTo>
                  <a:cubicBezTo>
                    <a:pt x="33" y="447"/>
                    <a:pt x="33" y="447"/>
                    <a:pt x="33" y="447"/>
                  </a:cubicBezTo>
                  <a:cubicBezTo>
                    <a:pt x="33" y="492"/>
                    <a:pt x="33" y="492"/>
                    <a:pt x="33" y="492"/>
                  </a:cubicBezTo>
                  <a:cubicBezTo>
                    <a:pt x="33" y="504"/>
                    <a:pt x="36" y="516"/>
                    <a:pt x="43" y="527"/>
                  </a:cubicBezTo>
                  <a:cubicBezTo>
                    <a:pt x="67" y="571"/>
                    <a:pt x="67" y="571"/>
                    <a:pt x="67" y="571"/>
                  </a:cubicBezTo>
                  <a:cubicBezTo>
                    <a:pt x="81" y="571"/>
                    <a:pt x="81" y="571"/>
                    <a:pt x="81" y="571"/>
                  </a:cubicBezTo>
                  <a:cubicBezTo>
                    <a:pt x="81" y="548"/>
                    <a:pt x="81" y="548"/>
                    <a:pt x="81" y="548"/>
                  </a:cubicBezTo>
                  <a:cubicBezTo>
                    <a:pt x="64" y="500"/>
                    <a:pt x="64" y="500"/>
                    <a:pt x="64" y="500"/>
                  </a:cubicBezTo>
                  <a:cubicBezTo>
                    <a:pt x="64" y="472"/>
                    <a:pt x="64" y="472"/>
                    <a:pt x="64" y="472"/>
                  </a:cubicBezTo>
                  <a:cubicBezTo>
                    <a:pt x="64" y="464"/>
                    <a:pt x="71" y="457"/>
                    <a:pt x="79" y="457"/>
                  </a:cubicBezTo>
                  <a:cubicBezTo>
                    <a:pt x="79" y="496"/>
                    <a:pt x="79" y="496"/>
                    <a:pt x="79" y="496"/>
                  </a:cubicBezTo>
                  <a:cubicBezTo>
                    <a:pt x="114" y="550"/>
                    <a:pt x="114" y="550"/>
                    <a:pt x="114" y="550"/>
                  </a:cubicBezTo>
                  <a:cubicBezTo>
                    <a:pt x="114" y="573"/>
                    <a:pt x="114" y="573"/>
                    <a:pt x="114" y="573"/>
                  </a:cubicBezTo>
                  <a:cubicBezTo>
                    <a:pt x="122" y="573"/>
                    <a:pt x="122" y="573"/>
                    <a:pt x="122" y="573"/>
                  </a:cubicBezTo>
                  <a:cubicBezTo>
                    <a:pt x="122" y="591"/>
                    <a:pt x="122" y="591"/>
                    <a:pt x="122" y="591"/>
                  </a:cubicBezTo>
                  <a:cubicBezTo>
                    <a:pt x="144" y="635"/>
                    <a:pt x="144" y="635"/>
                    <a:pt x="144" y="635"/>
                  </a:cubicBezTo>
                  <a:cubicBezTo>
                    <a:pt x="213" y="654"/>
                    <a:pt x="213" y="654"/>
                    <a:pt x="213" y="654"/>
                  </a:cubicBezTo>
                  <a:cubicBezTo>
                    <a:pt x="215" y="655"/>
                    <a:pt x="218" y="653"/>
                    <a:pt x="218" y="650"/>
                  </a:cubicBezTo>
                  <a:cubicBezTo>
                    <a:pt x="218" y="643"/>
                    <a:pt x="218" y="643"/>
                    <a:pt x="218" y="643"/>
                  </a:cubicBezTo>
                  <a:cubicBezTo>
                    <a:pt x="218" y="641"/>
                    <a:pt x="220" y="639"/>
                    <a:pt x="221" y="640"/>
                  </a:cubicBezTo>
                  <a:cubicBezTo>
                    <a:pt x="242" y="644"/>
                    <a:pt x="242" y="644"/>
                    <a:pt x="242" y="644"/>
                  </a:cubicBezTo>
                  <a:cubicBezTo>
                    <a:pt x="244" y="644"/>
                    <a:pt x="245" y="646"/>
                    <a:pt x="245" y="647"/>
                  </a:cubicBezTo>
                  <a:cubicBezTo>
                    <a:pt x="245" y="660"/>
                    <a:pt x="245" y="660"/>
                    <a:pt x="245" y="660"/>
                  </a:cubicBezTo>
                  <a:cubicBezTo>
                    <a:pt x="245" y="662"/>
                    <a:pt x="246" y="664"/>
                    <a:pt x="248" y="664"/>
                  </a:cubicBezTo>
                  <a:cubicBezTo>
                    <a:pt x="293" y="677"/>
                    <a:pt x="293" y="677"/>
                    <a:pt x="293" y="677"/>
                  </a:cubicBezTo>
                  <a:cubicBezTo>
                    <a:pt x="296" y="678"/>
                    <a:pt x="299" y="680"/>
                    <a:pt x="301" y="682"/>
                  </a:cubicBezTo>
                  <a:cubicBezTo>
                    <a:pt x="346" y="736"/>
                    <a:pt x="346" y="736"/>
                    <a:pt x="346" y="736"/>
                  </a:cubicBezTo>
                  <a:cubicBezTo>
                    <a:pt x="400" y="736"/>
                    <a:pt x="400" y="736"/>
                    <a:pt x="400" y="736"/>
                  </a:cubicBezTo>
                  <a:cubicBezTo>
                    <a:pt x="408" y="736"/>
                    <a:pt x="413" y="741"/>
                    <a:pt x="413" y="749"/>
                  </a:cubicBezTo>
                  <a:cubicBezTo>
                    <a:pt x="413" y="781"/>
                    <a:pt x="413" y="781"/>
                    <a:pt x="413" y="781"/>
                  </a:cubicBezTo>
                  <a:cubicBezTo>
                    <a:pt x="373" y="821"/>
                    <a:pt x="373" y="821"/>
                    <a:pt x="373" y="821"/>
                  </a:cubicBezTo>
                  <a:cubicBezTo>
                    <a:pt x="373" y="907"/>
                    <a:pt x="373" y="907"/>
                    <a:pt x="373" y="907"/>
                  </a:cubicBezTo>
                  <a:cubicBezTo>
                    <a:pt x="437" y="971"/>
                    <a:pt x="437" y="971"/>
                    <a:pt x="437" y="971"/>
                  </a:cubicBezTo>
                  <a:cubicBezTo>
                    <a:pt x="437" y="993"/>
                    <a:pt x="437" y="993"/>
                    <a:pt x="437" y="993"/>
                  </a:cubicBezTo>
                  <a:cubicBezTo>
                    <a:pt x="463" y="993"/>
                    <a:pt x="463" y="993"/>
                    <a:pt x="463" y="993"/>
                  </a:cubicBezTo>
                  <a:cubicBezTo>
                    <a:pt x="511" y="1041"/>
                    <a:pt x="511" y="1041"/>
                    <a:pt x="511" y="1041"/>
                  </a:cubicBezTo>
                  <a:cubicBezTo>
                    <a:pt x="511" y="1182"/>
                    <a:pt x="511" y="1182"/>
                    <a:pt x="511" y="1182"/>
                  </a:cubicBezTo>
                  <a:cubicBezTo>
                    <a:pt x="524" y="1182"/>
                    <a:pt x="524" y="1182"/>
                    <a:pt x="524" y="1182"/>
                  </a:cubicBezTo>
                  <a:cubicBezTo>
                    <a:pt x="515" y="1228"/>
                    <a:pt x="515" y="1228"/>
                    <a:pt x="515" y="1228"/>
                  </a:cubicBezTo>
                  <a:cubicBezTo>
                    <a:pt x="601" y="1212"/>
                    <a:pt x="683" y="1184"/>
                    <a:pt x="760" y="1146"/>
                  </a:cubicBezTo>
                  <a:moveTo>
                    <a:pt x="321" y="137"/>
                  </a:moveTo>
                  <a:cubicBezTo>
                    <a:pt x="281" y="137"/>
                    <a:pt x="281" y="137"/>
                    <a:pt x="281" y="137"/>
                  </a:cubicBezTo>
                  <a:cubicBezTo>
                    <a:pt x="278" y="137"/>
                    <a:pt x="277" y="133"/>
                    <a:pt x="279" y="131"/>
                  </a:cubicBezTo>
                  <a:cubicBezTo>
                    <a:pt x="292" y="124"/>
                    <a:pt x="292" y="124"/>
                    <a:pt x="292" y="124"/>
                  </a:cubicBezTo>
                  <a:cubicBezTo>
                    <a:pt x="295" y="122"/>
                    <a:pt x="299" y="121"/>
                    <a:pt x="303" y="121"/>
                  </a:cubicBezTo>
                  <a:cubicBezTo>
                    <a:pt x="321" y="121"/>
                    <a:pt x="321" y="121"/>
                    <a:pt x="321" y="121"/>
                  </a:cubicBezTo>
                  <a:lnTo>
                    <a:pt x="321" y="137"/>
                  </a:lnTo>
                  <a:close/>
                  <a:moveTo>
                    <a:pt x="477" y="352"/>
                  </a:moveTo>
                  <a:cubicBezTo>
                    <a:pt x="471" y="358"/>
                    <a:pt x="471" y="358"/>
                    <a:pt x="471" y="358"/>
                  </a:cubicBezTo>
                  <a:cubicBezTo>
                    <a:pt x="467" y="362"/>
                    <a:pt x="462" y="364"/>
                    <a:pt x="457" y="364"/>
                  </a:cubicBezTo>
                  <a:cubicBezTo>
                    <a:pt x="445" y="364"/>
                    <a:pt x="445" y="364"/>
                    <a:pt x="445" y="364"/>
                  </a:cubicBezTo>
                  <a:cubicBezTo>
                    <a:pt x="441" y="364"/>
                    <a:pt x="438" y="359"/>
                    <a:pt x="439" y="355"/>
                  </a:cubicBezTo>
                  <a:cubicBezTo>
                    <a:pt x="443" y="344"/>
                    <a:pt x="443" y="344"/>
                    <a:pt x="443" y="344"/>
                  </a:cubicBezTo>
                  <a:cubicBezTo>
                    <a:pt x="469" y="336"/>
                    <a:pt x="469" y="336"/>
                    <a:pt x="469" y="336"/>
                  </a:cubicBezTo>
                  <a:cubicBezTo>
                    <a:pt x="473" y="335"/>
                    <a:pt x="477" y="338"/>
                    <a:pt x="477" y="342"/>
                  </a:cubicBezTo>
                  <a:lnTo>
                    <a:pt x="477" y="352"/>
                  </a:lnTo>
                  <a:close/>
                  <a:moveTo>
                    <a:pt x="482" y="312"/>
                  </a:moveTo>
                  <a:cubicBezTo>
                    <a:pt x="482" y="315"/>
                    <a:pt x="480" y="317"/>
                    <a:pt x="479" y="319"/>
                  </a:cubicBezTo>
                  <a:cubicBezTo>
                    <a:pt x="473" y="325"/>
                    <a:pt x="473" y="325"/>
                    <a:pt x="473" y="325"/>
                  </a:cubicBezTo>
                  <a:cubicBezTo>
                    <a:pt x="471" y="326"/>
                    <a:pt x="469" y="327"/>
                    <a:pt x="466" y="327"/>
                  </a:cubicBezTo>
                  <a:cubicBezTo>
                    <a:pt x="455" y="327"/>
                    <a:pt x="455" y="327"/>
                    <a:pt x="455" y="327"/>
                  </a:cubicBezTo>
                  <a:cubicBezTo>
                    <a:pt x="455" y="304"/>
                    <a:pt x="455" y="304"/>
                    <a:pt x="455" y="304"/>
                  </a:cubicBezTo>
                  <a:cubicBezTo>
                    <a:pt x="482" y="304"/>
                    <a:pt x="482" y="304"/>
                    <a:pt x="482" y="304"/>
                  </a:cubicBezTo>
                  <a:lnTo>
                    <a:pt x="482" y="312"/>
                  </a:lnTo>
                  <a:close/>
                  <a:moveTo>
                    <a:pt x="502" y="307"/>
                  </a:moveTo>
                  <a:cubicBezTo>
                    <a:pt x="502" y="304"/>
                    <a:pt x="506" y="302"/>
                    <a:pt x="508" y="304"/>
                  </a:cubicBezTo>
                  <a:cubicBezTo>
                    <a:pt x="513" y="309"/>
                    <a:pt x="513" y="309"/>
                    <a:pt x="513" y="309"/>
                  </a:cubicBezTo>
                  <a:cubicBezTo>
                    <a:pt x="515" y="311"/>
                    <a:pt x="513" y="315"/>
                    <a:pt x="511" y="315"/>
                  </a:cubicBezTo>
                  <a:cubicBezTo>
                    <a:pt x="502" y="315"/>
                    <a:pt x="502" y="315"/>
                    <a:pt x="502" y="315"/>
                  </a:cubicBezTo>
                  <a:lnTo>
                    <a:pt x="502" y="307"/>
                  </a:lnTo>
                  <a:close/>
                  <a:moveTo>
                    <a:pt x="487" y="320"/>
                  </a:moveTo>
                  <a:cubicBezTo>
                    <a:pt x="515" y="326"/>
                    <a:pt x="515" y="326"/>
                    <a:pt x="515" y="326"/>
                  </a:cubicBezTo>
                  <a:cubicBezTo>
                    <a:pt x="520" y="327"/>
                    <a:pt x="523" y="331"/>
                    <a:pt x="523" y="336"/>
                  </a:cubicBezTo>
                  <a:cubicBezTo>
                    <a:pt x="523" y="349"/>
                    <a:pt x="523" y="349"/>
                    <a:pt x="523" y="349"/>
                  </a:cubicBezTo>
                  <a:cubicBezTo>
                    <a:pt x="507" y="349"/>
                    <a:pt x="507" y="349"/>
                    <a:pt x="507" y="349"/>
                  </a:cubicBezTo>
                  <a:cubicBezTo>
                    <a:pt x="501" y="349"/>
                    <a:pt x="495" y="346"/>
                    <a:pt x="492" y="341"/>
                  </a:cubicBezTo>
                  <a:cubicBezTo>
                    <a:pt x="487" y="333"/>
                    <a:pt x="487" y="333"/>
                    <a:pt x="487" y="333"/>
                  </a:cubicBezTo>
                  <a:lnTo>
                    <a:pt x="487" y="320"/>
                  </a:lnTo>
                  <a:close/>
                  <a:moveTo>
                    <a:pt x="467" y="284"/>
                  </a:moveTo>
                  <a:cubicBezTo>
                    <a:pt x="467" y="281"/>
                    <a:pt x="471" y="279"/>
                    <a:pt x="473" y="281"/>
                  </a:cubicBezTo>
                  <a:cubicBezTo>
                    <a:pt x="482" y="290"/>
                    <a:pt x="482" y="290"/>
                    <a:pt x="482" y="290"/>
                  </a:cubicBezTo>
                  <a:cubicBezTo>
                    <a:pt x="484" y="292"/>
                    <a:pt x="482" y="296"/>
                    <a:pt x="480" y="296"/>
                  </a:cubicBezTo>
                  <a:cubicBezTo>
                    <a:pt x="467" y="296"/>
                    <a:pt x="467" y="296"/>
                    <a:pt x="467" y="296"/>
                  </a:cubicBezTo>
                  <a:lnTo>
                    <a:pt x="467" y="284"/>
                  </a:lnTo>
                  <a:close/>
                  <a:moveTo>
                    <a:pt x="390" y="330"/>
                  </a:moveTo>
                  <a:cubicBezTo>
                    <a:pt x="390" y="326"/>
                    <a:pt x="391" y="322"/>
                    <a:pt x="394" y="319"/>
                  </a:cubicBezTo>
                  <a:cubicBezTo>
                    <a:pt x="415" y="296"/>
                    <a:pt x="415" y="296"/>
                    <a:pt x="415" y="296"/>
                  </a:cubicBezTo>
                  <a:cubicBezTo>
                    <a:pt x="390" y="296"/>
                    <a:pt x="390" y="296"/>
                    <a:pt x="390" y="296"/>
                  </a:cubicBezTo>
                  <a:cubicBezTo>
                    <a:pt x="390" y="285"/>
                    <a:pt x="390" y="285"/>
                    <a:pt x="390" y="285"/>
                  </a:cubicBezTo>
                  <a:cubicBezTo>
                    <a:pt x="417" y="268"/>
                    <a:pt x="417" y="268"/>
                    <a:pt x="417" y="268"/>
                  </a:cubicBezTo>
                  <a:cubicBezTo>
                    <a:pt x="419" y="267"/>
                    <a:pt x="421" y="266"/>
                    <a:pt x="424" y="266"/>
                  </a:cubicBezTo>
                  <a:cubicBezTo>
                    <a:pt x="443" y="266"/>
                    <a:pt x="443" y="266"/>
                    <a:pt x="443" y="266"/>
                  </a:cubicBezTo>
                  <a:cubicBezTo>
                    <a:pt x="448" y="266"/>
                    <a:pt x="453" y="270"/>
                    <a:pt x="455" y="275"/>
                  </a:cubicBezTo>
                  <a:cubicBezTo>
                    <a:pt x="457" y="279"/>
                    <a:pt x="457" y="279"/>
                    <a:pt x="457" y="279"/>
                  </a:cubicBezTo>
                  <a:cubicBezTo>
                    <a:pt x="457" y="296"/>
                    <a:pt x="457" y="296"/>
                    <a:pt x="457" y="296"/>
                  </a:cubicBezTo>
                  <a:cubicBezTo>
                    <a:pt x="437" y="296"/>
                    <a:pt x="437" y="296"/>
                    <a:pt x="437" y="296"/>
                  </a:cubicBezTo>
                  <a:cubicBezTo>
                    <a:pt x="405" y="352"/>
                    <a:pt x="405" y="352"/>
                    <a:pt x="405" y="352"/>
                  </a:cubicBezTo>
                  <a:cubicBezTo>
                    <a:pt x="400" y="350"/>
                    <a:pt x="400" y="350"/>
                    <a:pt x="400" y="350"/>
                  </a:cubicBezTo>
                  <a:cubicBezTo>
                    <a:pt x="394" y="346"/>
                    <a:pt x="390" y="340"/>
                    <a:pt x="390" y="333"/>
                  </a:cubicBezTo>
                  <a:lnTo>
                    <a:pt x="390" y="330"/>
                  </a:lnTo>
                  <a:close/>
                  <a:moveTo>
                    <a:pt x="361" y="209"/>
                  </a:moveTo>
                  <a:cubicBezTo>
                    <a:pt x="364" y="208"/>
                    <a:pt x="367" y="207"/>
                    <a:pt x="370" y="208"/>
                  </a:cubicBezTo>
                  <a:cubicBezTo>
                    <a:pt x="377" y="209"/>
                    <a:pt x="377" y="209"/>
                    <a:pt x="377" y="209"/>
                  </a:cubicBezTo>
                  <a:cubicBezTo>
                    <a:pt x="382" y="210"/>
                    <a:pt x="385" y="214"/>
                    <a:pt x="385" y="219"/>
                  </a:cubicBezTo>
                  <a:cubicBezTo>
                    <a:pt x="385" y="235"/>
                    <a:pt x="385" y="235"/>
                    <a:pt x="385" y="235"/>
                  </a:cubicBezTo>
                  <a:cubicBezTo>
                    <a:pt x="370" y="242"/>
                    <a:pt x="370" y="242"/>
                    <a:pt x="370" y="242"/>
                  </a:cubicBezTo>
                  <a:cubicBezTo>
                    <a:pt x="365" y="244"/>
                    <a:pt x="360" y="243"/>
                    <a:pt x="357" y="239"/>
                  </a:cubicBezTo>
                  <a:cubicBezTo>
                    <a:pt x="345" y="221"/>
                    <a:pt x="345" y="221"/>
                    <a:pt x="345" y="221"/>
                  </a:cubicBezTo>
                  <a:lnTo>
                    <a:pt x="361" y="209"/>
                  </a:lnTo>
                  <a:close/>
                  <a:moveTo>
                    <a:pt x="265" y="91"/>
                  </a:moveTo>
                  <a:cubicBezTo>
                    <a:pt x="265" y="86"/>
                    <a:pt x="268" y="82"/>
                    <a:pt x="272" y="81"/>
                  </a:cubicBezTo>
                  <a:cubicBezTo>
                    <a:pt x="293" y="77"/>
                    <a:pt x="293" y="77"/>
                    <a:pt x="293" y="77"/>
                  </a:cubicBezTo>
                  <a:cubicBezTo>
                    <a:pt x="321" y="77"/>
                    <a:pt x="321" y="77"/>
                    <a:pt x="321" y="77"/>
                  </a:cubicBezTo>
                  <a:cubicBezTo>
                    <a:pt x="321" y="94"/>
                    <a:pt x="321" y="94"/>
                    <a:pt x="321" y="94"/>
                  </a:cubicBezTo>
                  <a:cubicBezTo>
                    <a:pt x="314" y="99"/>
                    <a:pt x="314" y="99"/>
                    <a:pt x="314" y="99"/>
                  </a:cubicBezTo>
                  <a:cubicBezTo>
                    <a:pt x="311" y="102"/>
                    <a:pt x="307" y="103"/>
                    <a:pt x="303" y="103"/>
                  </a:cubicBezTo>
                  <a:cubicBezTo>
                    <a:pt x="274" y="103"/>
                    <a:pt x="274" y="103"/>
                    <a:pt x="274" y="103"/>
                  </a:cubicBezTo>
                  <a:cubicBezTo>
                    <a:pt x="269" y="103"/>
                    <a:pt x="265" y="99"/>
                    <a:pt x="265" y="93"/>
                  </a:cubicBezTo>
                  <a:lnTo>
                    <a:pt x="265" y="91"/>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endParaRPr lang="en-IN" dirty="0"/>
            </a:p>
          </p:txBody>
        </p:sp>
        <p:grpSp>
          <p:nvGrpSpPr>
            <p:cNvPr id="315" name="Group 314">
              <a:extLst>
                <a:ext uri="{FF2B5EF4-FFF2-40B4-BE49-F238E27FC236}">
                  <a16:creationId xmlns:a16="http://schemas.microsoft.com/office/drawing/2014/main" id="{9B507CE2-1C7F-4E70-8EFB-BC614D6003C8}"/>
                </a:ext>
              </a:extLst>
            </p:cNvPr>
            <p:cNvGrpSpPr/>
            <p:nvPr/>
          </p:nvGrpSpPr>
          <p:grpSpPr>
            <a:xfrm>
              <a:off x="973450" y="2910117"/>
              <a:ext cx="441219" cy="228936"/>
              <a:chOff x="2564861" y="1087830"/>
              <a:chExt cx="2452239" cy="1272397"/>
            </a:xfrm>
          </p:grpSpPr>
          <p:sp>
            <p:nvSpPr>
              <p:cNvPr id="316" name="Freeform 5">
                <a:extLst>
                  <a:ext uri="{FF2B5EF4-FFF2-40B4-BE49-F238E27FC236}">
                    <a16:creationId xmlns:a16="http://schemas.microsoft.com/office/drawing/2014/main" id="{31C9FE93-2C10-4DEA-9BE2-4DF6C0E4AF90}"/>
                  </a:ext>
                </a:extLst>
              </p:cNvPr>
              <p:cNvSpPr>
                <a:spLocks/>
              </p:cNvSpPr>
              <p:nvPr/>
            </p:nvSpPr>
            <p:spPr bwMode="auto">
              <a:xfrm>
                <a:off x="2839775" y="1087830"/>
                <a:ext cx="1901952" cy="1166555"/>
              </a:xfrm>
              <a:custGeom>
                <a:avLst/>
                <a:gdLst>
                  <a:gd name="T0" fmla="*/ 5871 w 6055"/>
                  <a:gd name="T1" fmla="*/ 0 h 3716"/>
                  <a:gd name="T2" fmla="*/ 184 w 6055"/>
                  <a:gd name="T3" fmla="*/ 0 h 3716"/>
                  <a:gd name="T4" fmla="*/ 0 w 6055"/>
                  <a:gd name="T5" fmla="*/ 183 h 3716"/>
                  <a:gd name="T6" fmla="*/ 0 w 6055"/>
                  <a:gd name="T7" fmla="*/ 3716 h 3716"/>
                  <a:gd name="T8" fmla="*/ 6055 w 6055"/>
                  <a:gd name="T9" fmla="*/ 3716 h 3716"/>
                  <a:gd name="T10" fmla="*/ 6055 w 6055"/>
                  <a:gd name="T11" fmla="*/ 183 h 3716"/>
                  <a:gd name="T12" fmla="*/ 5871 w 6055"/>
                  <a:gd name="T13" fmla="*/ 0 h 3716"/>
                </a:gdLst>
                <a:ahLst/>
                <a:cxnLst>
                  <a:cxn ang="0">
                    <a:pos x="T0" y="T1"/>
                  </a:cxn>
                  <a:cxn ang="0">
                    <a:pos x="T2" y="T3"/>
                  </a:cxn>
                  <a:cxn ang="0">
                    <a:pos x="T4" y="T5"/>
                  </a:cxn>
                  <a:cxn ang="0">
                    <a:pos x="T6" y="T7"/>
                  </a:cxn>
                  <a:cxn ang="0">
                    <a:pos x="T8" y="T9"/>
                  </a:cxn>
                  <a:cxn ang="0">
                    <a:pos x="T10" y="T11"/>
                  </a:cxn>
                  <a:cxn ang="0">
                    <a:pos x="T12" y="T13"/>
                  </a:cxn>
                </a:cxnLst>
                <a:rect l="0" t="0" r="r" b="b"/>
                <a:pathLst>
                  <a:path w="6055" h="3716">
                    <a:moveTo>
                      <a:pt x="5871" y="0"/>
                    </a:moveTo>
                    <a:cubicBezTo>
                      <a:pt x="184" y="0"/>
                      <a:pt x="184" y="0"/>
                      <a:pt x="184" y="0"/>
                    </a:cubicBezTo>
                    <a:cubicBezTo>
                      <a:pt x="82" y="0"/>
                      <a:pt x="0" y="82"/>
                      <a:pt x="0" y="183"/>
                    </a:cubicBezTo>
                    <a:cubicBezTo>
                      <a:pt x="0" y="3716"/>
                      <a:pt x="0" y="3716"/>
                      <a:pt x="0" y="3716"/>
                    </a:cubicBezTo>
                    <a:cubicBezTo>
                      <a:pt x="6055" y="3716"/>
                      <a:pt x="6055" y="3716"/>
                      <a:pt x="6055" y="3716"/>
                    </a:cubicBezTo>
                    <a:cubicBezTo>
                      <a:pt x="6055" y="183"/>
                      <a:pt x="6055" y="183"/>
                      <a:pt x="6055" y="183"/>
                    </a:cubicBezTo>
                    <a:cubicBezTo>
                      <a:pt x="6055" y="82"/>
                      <a:pt x="5973" y="0"/>
                      <a:pt x="5871" y="0"/>
                    </a:cubicBez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7" name="Freeform 6">
                <a:extLst>
                  <a:ext uri="{FF2B5EF4-FFF2-40B4-BE49-F238E27FC236}">
                    <a16:creationId xmlns:a16="http://schemas.microsoft.com/office/drawing/2014/main" id="{0EABB152-E715-4DB3-833F-0CA89893886E}"/>
                  </a:ext>
                </a:extLst>
              </p:cNvPr>
              <p:cNvSpPr>
                <a:spLocks/>
              </p:cNvSpPr>
              <p:nvPr/>
            </p:nvSpPr>
            <p:spPr bwMode="auto">
              <a:xfrm>
                <a:off x="4043902" y="1087830"/>
                <a:ext cx="697825" cy="697826"/>
              </a:xfrm>
              <a:custGeom>
                <a:avLst/>
                <a:gdLst>
                  <a:gd name="T0" fmla="*/ 0 w 2222"/>
                  <a:gd name="T1" fmla="*/ 0 h 2222"/>
                  <a:gd name="T2" fmla="*/ 2222 w 2222"/>
                  <a:gd name="T3" fmla="*/ 2222 h 2222"/>
                  <a:gd name="T4" fmla="*/ 2222 w 2222"/>
                  <a:gd name="T5" fmla="*/ 183 h 2222"/>
                  <a:gd name="T6" fmla="*/ 2038 w 2222"/>
                  <a:gd name="T7" fmla="*/ 0 h 2222"/>
                  <a:gd name="T8" fmla="*/ 0 w 2222"/>
                  <a:gd name="T9" fmla="*/ 0 h 2222"/>
                </a:gdLst>
                <a:ahLst/>
                <a:cxnLst>
                  <a:cxn ang="0">
                    <a:pos x="T0" y="T1"/>
                  </a:cxn>
                  <a:cxn ang="0">
                    <a:pos x="T2" y="T3"/>
                  </a:cxn>
                  <a:cxn ang="0">
                    <a:pos x="T4" y="T5"/>
                  </a:cxn>
                  <a:cxn ang="0">
                    <a:pos x="T6" y="T7"/>
                  </a:cxn>
                  <a:cxn ang="0">
                    <a:pos x="T8" y="T9"/>
                  </a:cxn>
                </a:cxnLst>
                <a:rect l="0" t="0" r="r" b="b"/>
                <a:pathLst>
                  <a:path w="2222" h="2222">
                    <a:moveTo>
                      <a:pt x="0" y="0"/>
                    </a:moveTo>
                    <a:cubicBezTo>
                      <a:pt x="2222" y="2222"/>
                      <a:pt x="2222" y="2222"/>
                      <a:pt x="2222" y="2222"/>
                    </a:cubicBezTo>
                    <a:cubicBezTo>
                      <a:pt x="2222" y="183"/>
                      <a:pt x="2222" y="183"/>
                      <a:pt x="2222" y="183"/>
                    </a:cubicBezTo>
                    <a:cubicBezTo>
                      <a:pt x="2222" y="82"/>
                      <a:pt x="2140" y="0"/>
                      <a:pt x="2038" y="0"/>
                    </a:cubicBezTo>
                    <a:lnTo>
                      <a:pt x="0" y="0"/>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8" name="Rectangle 7">
                <a:extLst>
                  <a:ext uri="{FF2B5EF4-FFF2-40B4-BE49-F238E27FC236}">
                    <a16:creationId xmlns:a16="http://schemas.microsoft.com/office/drawing/2014/main" id="{D79BF556-CD5A-476F-9949-4BCD27059CFA}"/>
                  </a:ext>
                </a:extLst>
              </p:cNvPr>
              <p:cNvSpPr>
                <a:spLocks noChangeArrowheads="1"/>
              </p:cNvSpPr>
              <p:nvPr/>
            </p:nvSpPr>
            <p:spPr bwMode="auto">
              <a:xfrm>
                <a:off x="2965778" y="1179468"/>
                <a:ext cx="1649946" cy="1007105"/>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9" name="Freeform 8">
                <a:extLst>
                  <a:ext uri="{FF2B5EF4-FFF2-40B4-BE49-F238E27FC236}">
                    <a16:creationId xmlns:a16="http://schemas.microsoft.com/office/drawing/2014/main" id="{26D19584-D5E1-496F-AA84-325CF0EB9AB8}"/>
                  </a:ext>
                </a:extLst>
              </p:cNvPr>
              <p:cNvSpPr>
                <a:spLocks/>
              </p:cNvSpPr>
              <p:nvPr/>
            </p:nvSpPr>
            <p:spPr bwMode="auto">
              <a:xfrm>
                <a:off x="2564861" y="2254385"/>
                <a:ext cx="2452239" cy="105842"/>
              </a:xfrm>
              <a:custGeom>
                <a:avLst/>
                <a:gdLst>
                  <a:gd name="T0" fmla="*/ 7580 w 7807"/>
                  <a:gd name="T1" fmla="*/ 337 h 337"/>
                  <a:gd name="T2" fmla="*/ 227 w 7807"/>
                  <a:gd name="T3" fmla="*/ 337 h 337"/>
                  <a:gd name="T4" fmla="*/ 0 w 7807"/>
                  <a:gd name="T5" fmla="*/ 110 h 337"/>
                  <a:gd name="T6" fmla="*/ 0 w 7807"/>
                  <a:gd name="T7" fmla="*/ 0 h 337"/>
                  <a:gd name="T8" fmla="*/ 7807 w 7807"/>
                  <a:gd name="T9" fmla="*/ 0 h 337"/>
                  <a:gd name="T10" fmla="*/ 7807 w 7807"/>
                  <a:gd name="T11" fmla="*/ 110 h 337"/>
                  <a:gd name="T12" fmla="*/ 7580 w 7807"/>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7807" h="337">
                    <a:moveTo>
                      <a:pt x="7580" y="337"/>
                    </a:moveTo>
                    <a:cubicBezTo>
                      <a:pt x="227" y="337"/>
                      <a:pt x="227" y="337"/>
                      <a:pt x="227" y="337"/>
                    </a:cubicBezTo>
                    <a:cubicBezTo>
                      <a:pt x="102" y="337"/>
                      <a:pt x="0" y="235"/>
                      <a:pt x="0" y="110"/>
                    </a:cubicBezTo>
                    <a:cubicBezTo>
                      <a:pt x="0" y="0"/>
                      <a:pt x="0" y="0"/>
                      <a:pt x="0" y="0"/>
                    </a:cubicBezTo>
                    <a:cubicBezTo>
                      <a:pt x="7807" y="0"/>
                      <a:pt x="7807" y="0"/>
                      <a:pt x="7807" y="0"/>
                    </a:cubicBezTo>
                    <a:cubicBezTo>
                      <a:pt x="7807" y="110"/>
                      <a:pt x="7807" y="110"/>
                      <a:pt x="7807" y="110"/>
                    </a:cubicBezTo>
                    <a:cubicBezTo>
                      <a:pt x="7807" y="235"/>
                      <a:pt x="7705" y="337"/>
                      <a:pt x="7580" y="337"/>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0" name="Freeform 9">
                <a:extLst>
                  <a:ext uri="{FF2B5EF4-FFF2-40B4-BE49-F238E27FC236}">
                    <a16:creationId xmlns:a16="http://schemas.microsoft.com/office/drawing/2014/main" id="{189CEA36-8AB8-4CF0-8C4C-630EBA70FD24}"/>
                  </a:ext>
                </a:extLst>
              </p:cNvPr>
              <p:cNvSpPr>
                <a:spLocks/>
              </p:cNvSpPr>
              <p:nvPr/>
            </p:nvSpPr>
            <p:spPr bwMode="auto">
              <a:xfrm>
                <a:off x="4079641" y="1263317"/>
                <a:ext cx="398626" cy="45819"/>
              </a:xfrm>
              <a:custGeom>
                <a:avLst/>
                <a:gdLst>
                  <a:gd name="T0" fmla="*/ 73 w 1270"/>
                  <a:gd name="T1" fmla="*/ 145 h 145"/>
                  <a:gd name="T2" fmla="*/ 1198 w 1270"/>
                  <a:gd name="T3" fmla="*/ 145 h 145"/>
                  <a:gd name="T4" fmla="*/ 1270 w 1270"/>
                  <a:gd name="T5" fmla="*/ 73 h 145"/>
                  <a:gd name="T6" fmla="*/ 1270 w 1270"/>
                  <a:gd name="T7" fmla="*/ 73 h 145"/>
                  <a:gd name="T8" fmla="*/ 1198 w 1270"/>
                  <a:gd name="T9" fmla="*/ 0 h 145"/>
                  <a:gd name="T10" fmla="*/ 73 w 1270"/>
                  <a:gd name="T11" fmla="*/ 0 h 145"/>
                  <a:gd name="T12" fmla="*/ 0 w 1270"/>
                  <a:gd name="T13" fmla="*/ 73 h 145"/>
                  <a:gd name="T14" fmla="*/ 0 w 1270"/>
                  <a:gd name="T15" fmla="*/ 73 h 145"/>
                  <a:gd name="T16" fmla="*/ 73 w 1270"/>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5">
                    <a:moveTo>
                      <a:pt x="73" y="145"/>
                    </a:moveTo>
                    <a:cubicBezTo>
                      <a:pt x="1198" y="145"/>
                      <a:pt x="1198" y="145"/>
                      <a:pt x="1198" y="145"/>
                    </a:cubicBezTo>
                    <a:cubicBezTo>
                      <a:pt x="1238" y="145"/>
                      <a:pt x="1270" y="112"/>
                      <a:pt x="1270" y="73"/>
                    </a:cubicBezTo>
                    <a:cubicBezTo>
                      <a:pt x="1270" y="73"/>
                      <a:pt x="1270" y="73"/>
                      <a:pt x="1270" y="73"/>
                    </a:cubicBezTo>
                    <a:cubicBezTo>
                      <a:pt x="1270" y="33"/>
                      <a:pt x="1238" y="0"/>
                      <a:pt x="1198" y="0"/>
                    </a:cubicBezTo>
                    <a:cubicBezTo>
                      <a:pt x="73" y="0"/>
                      <a:pt x="73" y="0"/>
                      <a:pt x="73" y="0"/>
                    </a:cubicBezTo>
                    <a:cubicBezTo>
                      <a:pt x="33" y="0"/>
                      <a:pt x="0" y="33"/>
                      <a:pt x="0" y="73"/>
                    </a:cubicBezTo>
                    <a:cubicBezTo>
                      <a:pt x="0" y="73"/>
                      <a:pt x="0" y="73"/>
                      <a:pt x="0" y="73"/>
                    </a:cubicBezTo>
                    <a:cubicBezTo>
                      <a:pt x="0" y="112"/>
                      <a:pt x="33" y="145"/>
                      <a:pt x="73" y="145"/>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1" name="Freeform 10">
                <a:extLst>
                  <a:ext uri="{FF2B5EF4-FFF2-40B4-BE49-F238E27FC236}">
                    <a16:creationId xmlns:a16="http://schemas.microsoft.com/office/drawing/2014/main" id="{943DE371-E064-4739-9BC1-A9FDE5818157}"/>
                  </a:ext>
                </a:extLst>
              </p:cNvPr>
              <p:cNvSpPr>
                <a:spLocks/>
              </p:cNvSpPr>
              <p:nvPr/>
            </p:nvSpPr>
            <p:spPr bwMode="auto">
              <a:xfrm>
                <a:off x="4079641" y="1376949"/>
                <a:ext cx="398626" cy="45361"/>
              </a:xfrm>
              <a:custGeom>
                <a:avLst/>
                <a:gdLst>
                  <a:gd name="T0" fmla="*/ 73 w 1270"/>
                  <a:gd name="T1" fmla="*/ 145 h 145"/>
                  <a:gd name="T2" fmla="*/ 1198 w 1270"/>
                  <a:gd name="T3" fmla="*/ 145 h 145"/>
                  <a:gd name="T4" fmla="*/ 1270 w 1270"/>
                  <a:gd name="T5" fmla="*/ 72 h 145"/>
                  <a:gd name="T6" fmla="*/ 1270 w 1270"/>
                  <a:gd name="T7" fmla="*/ 72 h 145"/>
                  <a:gd name="T8" fmla="*/ 1198 w 1270"/>
                  <a:gd name="T9" fmla="*/ 0 h 145"/>
                  <a:gd name="T10" fmla="*/ 73 w 1270"/>
                  <a:gd name="T11" fmla="*/ 0 h 145"/>
                  <a:gd name="T12" fmla="*/ 0 w 1270"/>
                  <a:gd name="T13" fmla="*/ 72 h 145"/>
                  <a:gd name="T14" fmla="*/ 0 w 1270"/>
                  <a:gd name="T15" fmla="*/ 72 h 145"/>
                  <a:gd name="T16" fmla="*/ 73 w 1270"/>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5">
                    <a:moveTo>
                      <a:pt x="73" y="145"/>
                    </a:moveTo>
                    <a:cubicBezTo>
                      <a:pt x="1198" y="145"/>
                      <a:pt x="1198" y="145"/>
                      <a:pt x="1198" y="145"/>
                    </a:cubicBezTo>
                    <a:cubicBezTo>
                      <a:pt x="1238" y="145"/>
                      <a:pt x="1270" y="112"/>
                      <a:pt x="1270" y="72"/>
                    </a:cubicBezTo>
                    <a:cubicBezTo>
                      <a:pt x="1270" y="72"/>
                      <a:pt x="1270" y="72"/>
                      <a:pt x="1270" y="72"/>
                    </a:cubicBezTo>
                    <a:cubicBezTo>
                      <a:pt x="1270" y="33"/>
                      <a:pt x="1238" y="0"/>
                      <a:pt x="1198" y="0"/>
                    </a:cubicBezTo>
                    <a:cubicBezTo>
                      <a:pt x="73" y="0"/>
                      <a:pt x="73" y="0"/>
                      <a:pt x="73" y="0"/>
                    </a:cubicBezTo>
                    <a:cubicBezTo>
                      <a:pt x="33" y="0"/>
                      <a:pt x="0" y="33"/>
                      <a:pt x="0" y="72"/>
                    </a:cubicBezTo>
                    <a:cubicBezTo>
                      <a:pt x="0" y="72"/>
                      <a:pt x="0" y="72"/>
                      <a:pt x="0" y="72"/>
                    </a:cubicBezTo>
                    <a:cubicBezTo>
                      <a:pt x="0" y="112"/>
                      <a:pt x="33" y="145"/>
                      <a:pt x="73" y="145"/>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2" name="Freeform 11">
                <a:extLst>
                  <a:ext uri="{FF2B5EF4-FFF2-40B4-BE49-F238E27FC236}">
                    <a16:creationId xmlns:a16="http://schemas.microsoft.com/office/drawing/2014/main" id="{7909D000-529B-4A01-B8EE-9D436E556F3C}"/>
                  </a:ext>
                </a:extLst>
              </p:cNvPr>
              <p:cNvSpPr>
                <a:spLocks/>
              </p:cNvSpPr>
              <p:nvPr/>
            </p:nvSpPr>
            <p:spPr bwMode="auto">
              <a:xfrm>
                <a:off x="4079641" y="1490122"/>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3" name="Freeform 12">
                <a:extLst>
                  <a:ext uri="{FF2B5EF4-FFF2-40B4-BE49-F238E27FC236}">
                    <a16:creationId xmlns:a16="http://schemas.microsoft.com/office/drawing/2014/main" id="{131507B2-2B64-44FB-999C-2E09E77F3F55}"/>
                  </a:ext>
                </a:extLst>
              </p:cNvPr>
              <p:cNvSpPr>
                <a:spLocks/>
              </p:cNvSpPr>
              <p:nvPr/>
            </p:nvSpPr>
            <p:spPr bwMode="auto">
              <a:xfrm>
                <a:off x="4079641" y="1603295"/>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4" name="Freeform 13">
                <a:extLst>
                  <a:ext uri="{FF2B5EF4-FFF2-40B4-BE49-F238E27FC236}">
                    <a16:creationId xmlns:a16="http://schemas.microsoft.com/office/drawing/2014/main" id="{63D61FD0-4624-4ABB-ADB9-067EE99A434A}"/>
                  </a:ext>
                </a:extLst>
              </p:cNvPr>
              <p:cNvSpPr>
                <a:spLocks/>
              </p:cNvSpPr>
              <p:nvPr/>
            </p:nvSpPr>
            <p:spPr bwMode="auto">
              <a:xfrm>
                <a:off x="4079641" y="1716469"/>
                <a:ext cx="398626" cy="45361"/>
              </a:xfrm>
              <a:custGeom>
                <a:avLst/>
                <a:gdLst>
                  <a:gd name="T0" fmla="*/ 73 w 1270"/>
                  <a:gd name="T1" fmla="*/ 145 h 145"/>
                  <a:gd name="T2" fmla="*/ 1198 w 1270"/>
                  <a:gd name="T3" fmla="*/ 145 h 145"/>
                  <a:gd name="T4" fmla="*/ 1270 w 1270"/>
                  <a:gd name="T5" fmla="*/ 73 h 145"/>
                  <a:gd name="T6" fmla="*/ 1270 w 1270"/>
                  <a:gd name="T7" fmla="*/ 73 h 145"/>
                  <a:gd name="T8" fmla="*/ 1198 w 1270"/>
                  <a:gd name="T9" fmla="*/ 0 h 145"/>
                  <a:gd name="T10" fmla="*/ 73 w 1270"/>
                  <a:gd name="T11" fmla="*/ 0 h 145"/>
                  <a:gd name="T12" fmla="*/ 0 w 1270"/>
                  <a:gd name="T13" fmla="*/ 73 h 145"/>
                  <a:gd name="T14" fmla="*/ 0 w 1270"/>
                  <a:gd name="T15" fmla="*/ 73 h 145"/>
                  <a:gd name="T16" fmla="*/ 73 w 1270"/>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5">
                    <a:moveTo>
                      <a:pt x="73" y="145"/>
                    </a:moveTo>
                    <a:cubicBezTo>
                      <a:pt x="1198" y="145"/>
                      <a:pt x="1198" y="145"/>
                      <a:pt x="1198" y="145"/>
                    </a:cubicBezTo>
                    <a:cubicBezTo>
                      <a:pt x="1238" y="145"/>
                      <a:pt x="1270" y="112"/>
                      <a:pt x="1270" y="73"/>
                    </a:cubicBezTo>
                    <a:cubicBezTo>
                      <a:pt x="1270" y="73"/>
                      <a:pt x="1270" y="73"/>
                      <a:pt x="1270" y="73"/>
                    </a:cubicBezTo>
                    <a:cubicBezTo>
                      <a:pt x="1270" y="33"/>
                      <a:pt x="1238" y="0"/>
                      <a:pt x="1198" y="0"/>
                    </a:cubicBezTo>
                    <a:cubicBezTo>
                      <a:pt x="73" y="0"/>
                      <a:pt x="73" y="0"/>
                      <a:pt x="73" y="0"/>
                    </a:cubicBezTo>
                    <a:cubicBezTo>
                      <a:pt x="33" y="0"/>
                      <a:pt x="0" y="33"/>
                      <a:pt x="0" y="73"/>
                    </a:cubicBezTo>
                    <a:cubicBezTo>
                      <a:pt x="0" y="73"/>
                      <a:pt x="0" y="73"/>
                      <a:pt x="0" y="73"/>
                    </a:cubicBezTo>
                    <a:cubicBezTo>
                      <a:pt x="0" y="112"/>
                      <a:pt x="33" y="145"/>
                      <a:pt x="73" y="145"/>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5" name="Freeform 14">
                <a:extLst>
                  <a:ext uri="{FF2B5EF4-FFF2-40B4-BE49-F238E27FC236}">
                    <a16:creationId xmlns:a16="http://schemas.microsoft.com/office/drawing/2014/main" id="{EDFE9107-2908-4786-A508-1AEC799CA19D}"/>
                  </a:ext>
                </a:extLst>
              </p:cNvPr>
              <p:cNvSpPr>
                <a:spLocks/>
              </p:cNvSpPr>
              <p:nvPr/>
            </p:nvSpPr>
            <p:spPr bwMode="auto">
              <a:xfrm>
                <a:off x="4079641" y="1829642"/>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6" name="Freeform 15">
                <a:extLst>
                  <a:ext uri="{FF2B5EF4-FFF2-40B4-BE49-F238E27FC236}">
                    <a16:creationId xmlns:a16="http://schemas.microsoft.com/office/drawing/2014/main" id="{36F40C89-EE46-499C-BD07-D3F53A1BD7AF}"/>
                  </a:ext>
                </a:extLst>
              </p:cNvPr>
              <p:cNvSpPr>
                <a:spLocks/>
              </p:cNvSpPr>
              <p:nvPr/>
            </p:nvSpPr>
            <p:spPr bwMode="auto">
              <a:xfrm>
                <a:off x="4079641" y="1943273"/>
                <a:ext cx="398626" cy="44903"/>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7" name="Freeform 16">
                <a:extLst>
                  <a:ext uri="{FF2B5EF4-FFF2-40B4-BE49-F238E27FC236}">
                    <a16:creationId xmlns:a16="http://schemas.microsoft.com/office/drawing/2014/main" id="{A9978094-E92C-4C47-98FE-C778C1373A79}"/>
                  </a:ext>
                </a:extLst>
              </p:cNvPr>
              <p:cNvSpPr>
                <a:spLocks/>
              </p:cNvSpPr>
              <p:nvPr/>
            </p:nvSpPr>
            <p:spPr bwMode="auto">
              <a:xfrm>
                <a:off x="4079641" y="2056447"/>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8" name="Freeform 17">
                <a:extLst>
                  <a:ext uri="{FF2B5EF4-FFF2-40B4-BE49-F238E27FC236}">
                    <a16:creationId xmlns:a16="http://schemas.microsoft.com/office/drawing/2014/main" id="{68736611-7A19-4354-8AA9-49520BB822A2}"/>
                  </a:ext>
                </a:extLst>
              </p:cNvPr>
              <p:cNvSpPr>
                <a:spLocks/>
              </p:cNvSpPr>
              <p:nvPr/>
            </p:nvSpPr>
            <p:spPr bwMode="auto">
              <a:xfrm>
                <a:off x="3112399" y="1260568"/>
                <a:ext cx="402750" cy="422452"/>
              </a:xfrm>
              <a:custGeom>
                <a:avLst/>
                <a:gdLst>
                  <a:gd name="T0" fmla="*/ 1282 w 1282"/>
                  <a:gd name="T1" fmla="*/ 1346 h 1346"/>
                  <a:gd name="T2" fmla="*/ 0 w 1282"/>
                  <a:gd name="T3" fmla="*/ 926 h 1346"/>
                  <a:gd name="T4" fmla="*/ 1282 w 1282"/>
                  <a:gd name="T5" fmla="*/ 0 h 1346"/>
                  <a:gd name="T6" fmla="*/ 1282 w 1282"/>
                  <a:gd name="T7" fmla="*/ 1346 h 1346"/>
                </a:gdLst>
                <a:ahLst/>
                <a:cxnLst>
                  <a:cxn ang="0">
                    <a:pos x="T0" y="T1"/>
                  </a:cxn>
                  <a:cxn ang="0">
                    <a:pos x="T2" y="T3"/>
                  </a:cxn>
                  <a:cxn ang="0">
                    <a:pos x="T4" y="T5"/>
                  </a:cxn>
                  <a:cxn ang="0">
                    <a:pos x="T6" y="T7"/>
                  </a:cxn>
                </a:cxnLst>
                <a:rect l="0" t="0" r="r" b="b"/>
                <a:pathLst>
                  <a:path w="1282" h="1346">
                    <a:moveTo>
                      <a:pt x="1282" y="1346"/>
                    </a:moveTo>
                    <a:cubicBezTo>
                      <a:pt x="0" y="926"/>
                      <a:pt x="0" y="926"/>
                      <a:pt x="0" y="926"/>
                    </a:cubicBezTo>
                    <a:cubicBezTo>
                      <a:pt x="183" y="363"/>
                      <a:pt x="683" y="0"/>
                      <a:pt x="1282" y="0"/>
                    </a:cubicBezTo>
                    <a:lnTo>
                      <a:pt x="1282" y="13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9" name="Freeform 18">
                <a:extLst>
                  <a:ext uri="{FF2B5EF4-FFF2-40B4-BE49-F238E27FC236}">
                    <a16:creationId xmlns:a16="http://schemas.microsoft.com/office/drawing/2014/main" id="{A9602574-C958-48A0-9038-5BC5C569B1F8}"/>
                  </a:ext>
                </a:extLst>
              </p:cNvPr>
              <p:cNvSpPr>
                <a:spLocks/>
              </p:cNvSpPr>
              <p:nvPr/>
            </p:nvSpPr>
            <p:spPr bwMode="auto">
              <a:xfrm>
                <a:off x="3112399" y="1683021"/>
                <a:ext cx="402750" cy="341353"/>
              </a:xfrm>
              <a:custGeom>
                <a:avLst/>
                <a:gdLst>
                  <a:gd name="T0" fmla="*/ 1282 w 1282"/>
                  <a:gd name="T1" fmla="*/ 0 h 1088"/>
                  <a:gd name="T2" fmla="*/ 488 w 1282"/>
                  <a:gd name="T3" fmla="*/ 1088 h 1088"/>
                  <a:gd name="T4" fmla="*/ 0 w 1282"/>
                  <a:gd name="T5" fmla="*/ 414 h 1088"/>
                  <a:gd name="T6" fmla="*/ 1282 w 1282"/>
                  <a:gd name="T7" fmla="*/ 0 h 1088"/>
                </a:gdLst>
                <a:ahLst/>
                <a:cxnLst>
                  <a:cxn ang="0">
                    <a:pos x="T0" y="T1"/>
                  </a:cxn>
                  <a:cxn ang="0">
                    <a:pos x="T2" y="T3"/>
                  </a:cxn>
                  <a:cxn ang="0">
                    <a:pos x="T4" y="T5"/>
                  </a:cxn>
                  <a:cxn ang="0">
                    <a:pos x="T6" y="T7"/>
                  </a:cxn>
                </a:cxnLst>
                <a:rect l="0" t="0" r="r" b="b"/>
                <a:pathLst>
                  <a:path w="1282" h="1088">
                    <a:moveTo>
                      <a:pt x="1282" y="0"/>
                    </a:moveTo>
                    <a:cubicBezTo>
                      <a:pt x="488" y="1088"/>
                      <a:pt x="488" y="1088"/>
                      <a:pt x="488" y="1088"/>
                    </a:cubicBezTo>
                    <a:cubicBezTo>
                      <a:pt x="248" y="912"/>
                      <a:pt x="92" y="699"/>
                      <a:pt x="0" y="414"/>
                    </a:cubicBezTo>
                    <a:lnTo>
                      <a:pt x="1282"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0" name="Freeform 19">
                <a:extLst>
                  <a:ext uri="{FF2B5EF4-FFF2-40B4-BE49-F238E27FC236}">
                    <a16:creationId xmlns:a16="http://schemas.microsoft.com/office/drawing/2014/main" id="{2F8F1322-BA58-4B84-BBD3-F95A435D4707}"/>
                  </a:ext>
                </a:extLst>
              </p:cNvPr>
              <p:cNvSpPr>
                <a:spLocks/>
              </p:cNvSpPr>
              <p:nvPr/>
            </p:nvSpPr>
            <p:spPr bwMode="auto">
              <a:xfrm>
                <a:off x="3265893" y="1683021"/>
                <a:ext cx="649715" cy="473312"/>
              </a:xfrm>
              <a:custGeom>
                <a:avLst/>
                <a:gdLst>
                  <a:gd name="T0" fmla="*/ 794 w 2069"/>
                  <a:gd name="T1" fmla="*/ 0 h 1508"/>
                  <a:gd name="T2" fmla="*/ 2069 w 2069"/>
                  <a:gd name="T3" fmla="*/ 414 h 1508"/>
                  <a:gd name="T4" fmla="*/ 371 w 2069"/>
                  <a:gd name="T5" fmla="*/ 1282 h 1508"/>
                  <a:gd name="T6" fmla="*/ 0 w 2069"/>
                  <a:gd name="T7" fmla="*/ 1088 h 1508"/>
                  <a:gd name="T8" fmla="*/ 794 w 2069"/>
                  <a:gd name="T9" fmla="*/ 0 h 1508"/>
                </a:gdLst>
                <a:ahLst/>
                <a:cxnLst>
                  <a:cxn ang="0">
                    <a:pos x="T0" y="T1"/>
                  </a:cxn>
                  <a:cxn ang="0">
                    <a:pos x="T2" y="T3"/>
                  </a:cxn>
                  <a:cxn ang="0">
                    <a:pos x="T4" y="T5"/>
                  </a:cxn>
                  <a:cxn ang="0">
                    <a:pos x="T6" y="T7"/>
                  </a:cxn>
                  <a:cxn ang="0">
                    <a:pos x="T8" y="T9"/>
                  </a:cxn>
                </a:cxnLst>
                <a:rect l="0" t="0" r="r" b="b"/>
                <a:pathLst>
                  <a:path w="2069" h="1508">
                    <a:moveTo>
                      <a:pt x="794" y="0"/>
                    </a:moveTo>
                    <a:cubicBezTo>
                      <a:pt x="2069" y="414"/>
                      <a:pt x="2069" y="414"/>
                      <a:pt x="2069" y="414"/>
                    </a:cubicBezTo>
                    <a:cubicBezTo>
                      <a:pt x="1835" y="1120"/>
                      <a:pt x="1080" y="1508"/>
                      <a:pt x="371" y="1282"/>
                    </a:cubicBezTo>
                    <a:cubicBezTo>
                      <a:pt x="235" y="1236"/>
                      <a:pt x="117" y="1178"/>
                      <a:pt x="0" y="1088"/>
                    </a:cubicBezTo>
                    <a:lnTo>
                      <a:pt x="794"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1" name="Freeform 20">
                <a:extLst>
                  <a:ext uri="{FF2B5EF4-FFF2-40B4-BE49-F238E27FC236}">
                    <a16:creationId xmlns:a16="http://schemas.microsoft.com/office/drawing/2014/main" id="{D185D344-5EDA-4147-AF60-3C229E221C9C}"/>
                  </a:ext>
                </a:extLst>
              </p:cNvPr>
              <p:cNvSpPr>
                <a:spLocks/>
              </p:cNvSpPr>
              <p:nvPr/>
            </p:nvSpPr>
            <p:spPr bwMode="auto">
              <a:xfrm>
                <a:off x="3515149" y="1260568"/>
                <a:ext cx="421078" cy="552121"/>
              </a:xfrm>
              <a:custGeom>
                <a:avLst/>
                <a:gdLst>
                  <a:gd name="T0" fmla="*/ 0 w 1340"/>
                  <a:gd name="T1" fmla="*/ 1346 h 1760"/>
                  <a:gd name="T2" fmla="*/ 0 w 1340"/>
                  <a:gd name="T3" fmla="*/ 0 h 1760"/>
                  <a:gd name="T4" fmla="*/ 1340 w 1340"/>
                  <a:gd name="T5" fmla="*/ 1346 h 1760"/>
                  <a:gd name="T6" fmla="*/ 1275 w 1340"/>
                  <a:gd name="T7" fmla="*/ 1760 h 1760"/>
                  <a:gd name="T8" fmla="*/ 0 w 1340"/>
                  <a:gd name="T9" fmla="*/ 1346 h 1760"/>
                </a:gdLst>
                <a:ahLst/>
                <a:cxnLst>
                  <a:cxn ang="0">
                    <a:pos x="T0" y="T1"/>
                  </a:cxn>
                  <a:cxn ang="0">
                    <a:pos x="T2" y="T3"/>
                  </a:cxn>
                  <a:cxn ang="0">
                    <a:pos x="T4" y="T5"/>
                  </a:cxn>
                  <a:cxn ang="0">
                    <a:pos x="T6" y="T7"/>
                  </a:cxn>
                  <a:cxn ang="0">
                    <a:pos x="T8" y="T9"/>
                  </a:cxn>
                </a:cxnLst>
                <a:rect l="0" t="0" r="r" b="b"/>
                <a:pathLst>
                  <a:path w="1340" h="1760">
                    <a:moveTo>
                      <a:pt x="0" y="1346"/>
                    </a:moveTo>
                    <a:cubicBezTo>
                      <a:pt x="0" y="0"/>
                      <a:pt x="0" y="0"/>
                      <a:pt x="0" y="0"/>
                    </a:cubicBezTo>
                    <a:cubicBezTo>
                      <a:pt x="741" y="0"/>
                      <a:pt x="1340" y="602"/>
                      <a:pt x="1340" y="1346"/>
                    </a:cubicBezTo>
                    <a:cubicBezTo>
                      <a:pt x="1340" y="1495"/>
                      <a:pt x="1320" y="1618"/>
                      <a:pt x="1275" y="1760"/>
                    </a:cubicBezTo>
                    <a:lnTo>
                      <a:pt x="0" y="1346"/>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2" name="Freeform 21">
                <a:extLst>
                  <a:ext uri="{FF2B5EF4-FFF2-40B4-BE49-F238E27FC236}">
                    <a16:creationId xmlns:a16="http://schemas.microsoft.com/office/drawing/2014/main" id="{67C4BB68-BF50-4E83-A651-9580686BFF87}"/>
                  </a:ext>
                </a:extLst>
              </p:cNvPr>
              <p:cNvSpPr>
                <a:spLocks/>
              </p:cNvSpPr>
              <p:nvPr/>
            </p:nvSpPr>
            <p:spPr bwMode="auto">
              <a:xfrm>
                <a:off x="4135540" y="1179468"/>
                <a:ext cx="480184" cy="480185"/>
              </a:xfrm>
              <a:custGeom>
                <a:avLst/>
                <a:gdLst>
                  <a:gd name="T0" fmla="*/ 1048 w 1048"/>
                  <a:gd name="T1" fmla="*/ 1048 h 1048"/>
                  <a:gd name="T2" fmla="*/ 1048 w 1048"/>
                  <a:gd name="T3" fmla="*/ 0 h 1048"/>
                  <a:gd name="T4" fmla="*/ 0 w 1048"/>
                  <a:gd name="T5" fmla="*/ 0 h 1048"/>
                  <a:gd name="T6" fmla="*/ 1048 w 1048"/>
                  <a:gd name="T7" fmla="*/ 1048 h 1048"/>
                </a:gdLst>
                <a:ahLst/>
                <a:cxnLst>
                  <a:cxn ang="0">
                    <a:pos x="T0" y="T1"/>
                  </a:cxn>
                  <a:cxn ang="0">
                    <a:pos x="T2" y="T3"/>
                  </a:cxn>
                  <a:cxn ang="0">
                    <a:pos x="T4" y="T5"/>
                  </a:cxn>
                  <a:cxn ang="0">
                    <a:pos x="T6" y="T7"/>
                  </a:cxn>
                </a:cxnLst>
                <a:rect l="0" t="0" r="r" b="b"/>
                <a:pathLst>
                  <a:path w="1048" h="1048">
                    <a:moveTo>
                      <a:pt x="1048" y="1048"/>
                    </a:moveTo>
                    <a:lnTo>
                      <a:pt x="1048" y="0"/>
                    </a:lnTo>
                    <a:lnTo>
                      <a:pt x="0" y="0"/>
                    </a:lnTo>
                    <a:lnTo>
                      <a:pt x="1048" y="1048"/>
                    </a:lnTo>
                    <a:close/>
                  </a:path>
                </a:pathLst>
              </a:cu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3" name="Freeform 22">
                <a:extLst>
                  <a:ext uri="{FF2B5EF4-FFF2-40B4-BE49-F238E27FC236}">
                    <a16:creationId xmlns:a16="http://schemas.microsoft.com/office/drawing/2014/main" id="{F6FF2FBE-F84D-4472-9650-0C37A43328C4}"/>
                  </a:ext>
                </a:extLst>
              </p:cNvPr>
              <p:cNvSpPr>
                <a:spLocks/>
              </p:cNvSpPr>
              <p:nvPr/>
            </p:nvSpPr>
            <p:spPr bwMode="auto">
              <a:xfrm>
                <a:off x="4219847" y="1263317"/>
                <a:ext cx="258420" cy="45819"/>
              </a:xfrm>
              <a:custGeom>
                <a:avLst/>
                <a:gdLst>
                  <a:gd name="T0" fmla="*/ 144 w 823"/>
                  <a:gd name="T1" fmla="*/ 145 h 145"/>
                  <a:gd name="T2" fmla="*/ 751 w 823"/>
                  <a:gd name="T3" fmla="*/ 145 h 145"/>
                  <a:gd name="T4" fmla="*/ 823 w 823"/>
                  <a:gd name="T5" fmla="*/ 73 h 145"/>
                  <a:gd name="T6" fmla="*/ 823 w 823"/>
                  <a:gd name="T7" fmla="*/ 73 h 145"/>
                  <a:gd name="T8" fmla="*/ 751 w 823"/>
                  <a:gd name="T9" fmla="*/ 0 h 145"/>
                  <a:gd name="T10" fmla="*/ 0 w 823"/>
                  <a:gd name="T11" fmla="*/ 0 h 145"/>
                  <a:gd name="T12" fmla="*/ 144 w 823"/>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823" h="145">
                    <a:moveTo>
                      <a:pt x="144" y="145"/>
                    </a:moveTo>
                    <a:cubicBezTo>
                      <a:pt x="751" y="145"/>
                      <a:pt x="751" y="145"/>
                      <a:pt x="751" y="145"/>
                    </a:cubicBezTo>
                    <a:cubicBezTo>
                      <a:pt x="791" y="145"/>
                      <a:pt x="823" y="112"/>
                      <a:pt x="823" y="73"/>
                    </a:cubicBezTo>
                    <a:cubicBezTo>
                      <a:pt x="823" y="73"/>
                      <a:pt x="823" y="73"/>
                      <a:pt x="823" y="73"/>
                    </a:cubicBezTo>
                    <a:cubicBezTo>
                      <a:pt x="823" y="33"/>
                      <a:pt x="791" y="0"/>
                      <a:pt x="751" y="0"/>
                    </a:cubicBezTo>
                    <a:cubicBezTo>
                      <a:pt x="0" y="0"/>
                      <a:pt x="0" y="0"/>
                      <a:pt x="0" y="0"/>
                    </a:cubicBezTo>
                    <a:lnTo>
                      <a:pt x="144" y="145"/>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4" name="Freeform 23">
                <a:extLst>
                  <a:ext uri="{FF2B5EF4-FFF2-40B4-BE49-F238E27FC236}">
                    <a16:creationId xmlns:a16="http://schemas.microsoft.com/office/drawing/2014/main" id="{C42A7096-98F6-4C3C-BEC9-0DE8D38CA92E}"/>
                  </a:ext>
                </a:extLst>
              </p:cNvPr>
              <p:cNvSpPr>
                <a:spLocks/>
              </p:cNvSpPr>
              <p:nvPr/>
            </p:nvSpPr>
            <p:spPr bwMode="auto">
              <a:xfrm>
                <a:off x="4333021" y="1376949"/>
                <a:ext cx="145247" cy="45361"/>
              </a:xfrm>
              <a:custGeom>
                <a:avLst/>
                <a:gdLst>
                  <a:gd name="T0" fmla="*/ 145 w 463"/>
                  <a:gd name="T1" fmla="*/ 145 h 145"/>
                  <a:gd name="T2" fmla="*/ 391 w 463"/>
                  <a:gd name="T3" fmla="*/ 145 h 145"/>
                  <a:gd name="T4" fmla="*/ 463 w 463"/>
                  <a:gd name="T5" fmla="*/ 72 h 145"/>
                  <a:gd name="T6" fmla="*/ 463 w 463"/>
                  <a:gd name="T7" fmla="*/ 72 h 145"/>
                  <a:gd name="T8" fmla="*/ 391 w 463"/>
                  <a:gd name="T9" fmla="*/ 0 h 145"/>
                  <a:gd name="T10" fmla="*/ 0 w 463"/>
                  <a:gd name="T11" fmla="*/ 0 h 145"/>
                  <a:gd name="T12" fmla="*/ 145 w 463"/>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463" h="145">
                    <a:moveTo>
                      <a:pt x="145" y="145"/>
                    </a:moveTo>
                    <a:cubicBezTo>
                      <a:pt x="391" y="145"/>
                      <a:pt x="391" y="145"/>
                      <a:pt x="391" y="145"/>
                    </a:cubicBezTo>
                    <a:cubicBezTo>
                      <a:pt x="431" y="145"/>
                      <a:pt x="463" y="112"/>
                      <a:pt x="463" y="72"/>
                    </a:cubicBezTo>
                    <a:cubicBezTo>
                      <a:pt x="463" y="72"/>
                      <a:pt x="463" y="72"/>
                      <a:pt x="463" y="72"/>
                    </a:cubicBezTo>
                    <a:cubicBezTo>
                      <a:pt x="463" y="33"/>
                      <a:pt x="431" y="0"/>
                      <a:pt x="391" y="0"/>
                    </a:cubicBezTo>
                    <a:cubicBezTo>
                      <a:pt x="0" y="0"/>
                      <a:pt x="0" y="0"/>
                      <a:pt x="0" y="0"/>
                    </a:cubicBezTo>
                    <a:lnTo>
                      <a:pt x="145" y="145"/>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5" name="Oval 37">
                <a:extLst>
                  <a:ext uri="{FF2B5EF4-FFF2-40B4-BE49-F238E27FC236}">
                    <a16:creationId xmlns:a16="http://schemas.microsoft.com/office/drawing/2014/main" id="{50F10D4D-D2F8-4F30-9726-DB71E0D05741}"/>
                  </a:ext>
                </a:extLst>
              </p:cNvPr>
              <p:cNvSpPr>
                <a:spLocks noChangeArrowheads="1"/>
              </p:cNvSpPr>
              <p:nvPr/>
            </p:nvSpPr>
            <p:spPr bwMode="auto">
              <a:xfrm>
                <a:off x="3771278" y="1113947"/>
                <a:ext cx="39404" cy="39404"/>
              </a:xfrm>
              <a:prstGeom prst="ellipse">
                <a:avLst/>
              </a:pr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6" name="Freeform 38">
                <a:extLst>
                  <a:ext uri="{FF2B5EF4-FFF2-40B4-BE49-F238E27FC236}">
                    <a16:creationId xmlns:a16="http://schemas.microsoft.com/office/drawing/2014/main" id="{EB450B40-F21C-4C28-AD57-05AAC9A43196}"/>
                  </a:ext>
                </a:extLst>
              </p:cNvPr>
              <p:cNvSpPr>
                <a:spLocks/>
              </p:cNvSpPr>
              <p:nvPr/>
            </p:nvSpPr>
            <p:spPr bwMode="auto">
              <a:xfrm>
                <a:off x="4446194" y="1490122"/>
                <a:ext cx="32073" cy="30699"/>
              </a:xfrm>
              <a:custGeom>
                <a:avLst/>
                <a:gdLst>
                  <a:gd name="T0" fmla="*/ 30 w 102"/>
                  <a:gd name="T1" fmla="*/ 0 h 97"/>
                  <a:gd name="T2" fmla="*/ 0 w 102"/>
                  <a:gd name="T3" fmla="*/ 0 h 97"/>
                  <a:gd name="T4" fmla="*/ 97 w 102"/>
                  <a:gd name="T5" fmla="*/ 97 h 97"/>
                  <a:gd name="T6" fmla="*/ 102 w 102"/>
                  <a:gd name="T7" fmla="*/ 72 h 97"/>
                  <a:gd name="T8" fmla="*/ 30 w 102"/>
                  <a:gd name="T9" fmla="*/ 0 h 97"/>
                </a:gdLst>
                <a:ahLst/>
                <a:cxnLst>
                  <a:cxn ang="0">
                    <a:pos x="T0" y="T1"/>
                  </a:cxn>
                  <a:cxn ang="0">
                    <a:pos x="T2" y="T3"/>
                  </a:cxn>
                  <a:cxn ang="0">
                    <a:pos x="T4" y="T5"/>
                  </a:cxn>
                  <a:cxn ang="0">
                    <a:pos x="T6" y="T7"/>
                  </a:cxn>
                  <a:cxn ang="0">
                    <a:pos x="T8" y="T9"/>
                  </a:cxn>
                </a:cxnLst>
                <a:rect l="0" t="0" r="r" b="b"/>
                <a:pathLst>
                  <a:path w="102" h="97">
                    <a:moveTo>
                      <a:pt x="30" y="0"/>
                    </a:moveTo>
                    <a:cubicBezTo>
                      <a:pt x="0" y="0"/>
                      <a:pt x="0" y="0"/>
                      <a:pt x="0" y="0"/>
                    </a:cubicBezTo>
                    <a:cubicBezTo>
                      <a:pt x="97" y="97"/>
                      <a:pt x="97" y="97"/>
                      <a:pt x="97" y="97"/>
                    </a:cubicBezTo>
                    <a:cubicBezTo>
                      <a:pt x="100" y="89"/>
                      <a:pt x="102" y="81"/>
                      <a:pt x="102" y="72"/>
                    </a:cubicBezTo>
                    <a:cubicBezTo>
                      <a:pt x="102" y="32"/>
                      <a:pt x="70" y="0"/>
                      <a:pt x="30" y="0"/>
                    </a:cubicBez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grpSp>
        <p:nvGrpSpPr>
          <p:cNvPr id="7211" name="Group 7210">
            <a:extLst>
              <a:ext uri="{FF2B5EF4-FFF2-40B4-BE49-F238E27FC236}">
                <a16:creationId xmlns:a16="http://schemas.microsoft.com/office/drawing/2014/main" id="{431E4859-D47E-43EE-8BDF-AB74831F3324}"/>
              </a:ext>
            </a:extLst>
          </p:cNvPr>
          <p:cNvGrpSpPr/>
          <p:nvPr/>
        </p:nvGrpSpPr>
        <p:grpSpPr>
          <a:xfrm>
            <a:off x="2151036" y="2657553"/>
            <a:ext cx="649631" cy="562747"/>
            <a:chOff x="2187346" y="2649688"/>
            <a:chExt cx="498947" cy="432216"/>
          </a:xfrm>
        </p:grpSpPr>
        <p:grpSp>
          <p:nvGrpSpPr>
            <p:cNvPr id="347" name="Group 346">
              <a:extLst>
                <a:ext uri="{FF2B5EF4-FFF2-40B4-BE49-F238E27FC236}">
                  <a16:creationId xmlns:a16="http://schemas.microsoft.com/office/drawing/2014/main" id="{2F359C83-360A-40AF-982F-E30A4CE9100D}"/>
                </a:ext>
              </a:extLst>
            </p:cNvPr>
            <p:cNvGrpSpPr/>
            <p:nvPr/>
          </p:nvGrpSpPr>
          <p:grpSpPr>
            <a:xfrm>
              <a:off x="2198546" y="2716710"/>
              <a:ext cx="198133" cy="319145"/>
              <a:chOff x="3092806" y="852813"/>
              <a:chExt cx="1011895" cy="1629919"/>
            </a:xfrm>
          </p:grpSpPr>
          <p:sp>
            <p:nvSpPr>
              <p:cNvPr id="348" name="Rectangle 166">
                <a:extLst>
                  <a:ext uri="{FF2B5EF4-FFF2-40B4-BE49-F238E27FC236}">
                    <a16:creationId xmlns:a16="http://schemas.microsoft.com/office/drawing/2014/main" id="{8303DB9B-852D-4264-BC7D-0F13C8E4DA34}"/>
                  </a:ext>
                </a:extLst>
              </p:cNvPr>
              <p:cNvSpPr>
                <a:spLocks noChangeArrowheads="1"/>
              </p:cNvSpPr>
              <p:nvPr/>
            </p:nvSpPr>
            <p:spPr bwMode="auto">
              <a:xfrm>
                <a:off x="3092806" y="852813"/>
                <a:ext cx="784233" cy="1629919"/>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49" name="Rectangle 167">
                <a:extLst>
                  <a:ext uri="{FF2B5EF4-FFF2-40B4-BE49-F238E27FC236}">
                    <a16:creationId xmlns:a16="http://schemas.microsoft.com/office/drawing/2014/main" id="{8B132EA6-8622-4921-A6F0-4224C4319990}"/>
                  </a:ext>
                </a:extLst>
              </p:cNvPr>
              <p:cNvSpPr>
                <a:spLocks noChangeArrowheads="1"/>
              </p:cNvSpPr>
              <p:nvPr/>
            </p:nvSpPr>
            <p:spPr bwMode="auto">
              <a:xfrm>
                <a:off x="3877039" y="852813"/>
                <a:ext cx="227662" cy="1629919"/>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50" name="Freeform 168">
                <a:extLst>
                  <a:ext uri="{FF2B5EF4-FFF2-40B4-BE49-F238E27FC236}">
                    <a16:creationId xmlns:a16="http://schemas.microsoft.com/office/drawing/2014/main" id="{F7FDB661-FCCF-4767-8411-8F7A312DABA2}"/>
                  </a:ext>
                </a:extLst>
              </p:cNvPr>
              <p:cNvSpPr>
                <a:spLocks noEditPoints="1"/>
              </p:cNvSpPr>
              <p:nvPr/>
            </p:nvSpPr>
            <p:spPr bwMode="auto">
              <a:xfrm>
                <a:off x="3168302" y="1144267"/>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51" name="Freeform 169">
                <a:extLst>
                  <a:ext uri="{FF2B5EF4-FFF2-40B4-BE49-F238E27FC236}">
                    <a16:creationId xmlns:a16="http://schemas.microsoft.com/office/drawing/2014/main" id="{51FB5BFB-575D-462E-83C6-C2A6057C79D9}"/>
                  </a:ext>
                </a:extLst>
              </p:cNvPr>
              <p:cNvSpPr>
                <a:spLocks noEditPoints="1"/>
              </p:cNvSpPr>
              <p:nvPr/>
            </p:nvSpPr>
            <p:spPr bwMode="auto">
              <a:xfrm>
                <a:off x="3168302" y="921872"/>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52" name="Oval 170">
                <a:extLst>
                  <a:ext uri="{FF2B5EF4-FFF2-40B4-BE49-F238E27FC236}">
                    <a16:creationId xmlns:a16="http://schemas.microsoft.com/office/drawing/2014/main" id="{689E3900-C1FD-4F55-BC1F-1FC9A5A9DB6C}"/>
                  </a:ext>
                </a:extLst>
              </p:cNvPr>
              <p:cNvSpPr>
                <a:spLocks noChangeArrowheads="1"/>
              </p:cNvSpPr>
              <p:nvPr/>
            </p:nvSpPr>
            <p:spPr bwMode="auto">
              <a:xfrm>
                <a:off x="3663423" y="121508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53" name="Oval 171">
                <a:extLst>
                  <a:ext uri="{FF2B5EF4-FFF2-40B4-BE49-F238E27FC236}">
                    <a16:creationId xmlns:a16="http://schemas.microsoft.com/office/drawing/2014/main" id="{65F6F543-577B-4BB0-B111-16E0C65B07B2}"/>
                  </a:ext>
                </a:extLst>
              </p:cNvPr>
              <p:cNvSpPr>
                <a:spLocks noChangeArrowheads="1"/>
              </p:cNvSpPr>
              <p:nvPr/>
            </p:nvSpPr>
            <p:spPr bwMode="auto">
              <a:xfrm>
                <a:off x="3727800" y="121508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54" name="Freeform 172">
                <a:extLst>
                  <a:ext uri="{FF2B5EF4-FFF2-40B4-BE49-F238E27FC236}">
                    <a16:creationId xmlns:a16="http://schemas.microsoft.com/office/drawing/2014/main" id="{F548FE69-A60B-494A-96D3-0B4CD890AAD1}"/>
                  </a:ext>
                </a:extLst>
              </p:cNvPr>
              <p:cNvSpPr>
                <a:spLocks noEditPoints="1"/>
              </p:cNvSpPr>
              <p:nvPr/>
            </p:nvSpPr>
            <p:spPr bwMode="auto">
              <a:xfrm>
                <a:off x="3168302" y="135203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55" name="Oval 173">
                <a:extLst>
                  <a:ext uri="{FF2B5EF4-FFF2-40B4-BE49-F238E27FC236}">
                    <a16:creationId xmlns:a16="http://schemas.microsoft.com/office/drawing/2014/main" id="{1BB0B5AF-6D67-4BA8-87F6-889B275E79DF}"/>
                  </a:ext>
                </a:extLst>
              </p:cNvPr>
              <p:cNvSpPr>
                <a:spLocks noChangeArrowheads="1"/>
              </p:cNvSpPr>
              <p:nvPr/>
            </p:nvSpPr>
            <p:spPr bwMode="auto">
              <a:xfrm>
                <a:off x="3663423" y="142284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56" name="Oval 174">
                <a:extLst>
                  <a:ext uri="{FF2B5EF4-FFF2-40B4-BE49-F238E27FC236}">
                    <a16:creationId xmlns:a16="http://schemas.microsoft.com/office/drawing/2014/main" id="{918CC9AE-6388-4FD3-B122-13E8B946849B}"/>
                  </a:ext>
                </a:extLst>
              </p:cNvPr>
              <p:cNvSpPr>
                <a:spLocks noChangeArrowheads="1"/>
              </p:cNvSpPr>
              <p:nvPr/>
            </p:nvSpPr>
            <p:spPr bwMode="auto">
              <a:xfrm>
                <a:off x="3727800" y="142284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57" name="Freeform 175">
                <a:extLst>
                  <a:ext uri="{FF2B5EF4-FFF2-40B4-BE49-F238E27FC236}">
                    <a16:creationId xmlns:a16="http://schemas.microsoft.com/office/drawing/2014/main" id="{30249516-AEE7-4FF3-A9B2-7FC03DD4DFFD}"/>
                  </a:ext>
                </a:extLst>
              </p:cNvPr>
              <p:cNvSpPr>
                <a:spLocks noEditPoints="1"/>
              </p:cNvSpPr>
              <p:nvPr/>
            </p:nvSpPr>
            <p:spPr bwMode="auto">
              <a:xfrm>
                <a:off x="3168302" y="155979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58" name="Oval 176">
                <a:extLst>
                  <a:ext uri="{FF2B5EF4-FFF2-40B4-BE49-F238E27FC236}">
                    <a16:creationId xmlns:a16="http://schemas.microsoft.com/office/drawing/2014/main" id="{D85F67AF-B9E9-4D04-819A-AC60900DF234}"/>
                  </a:ext>
                </a:extLst>
              </p:cNvPr>
              <p:cNvSpPr>
                <a:spLocks noChangeArrowheads="1"/>
              </p:cNvSpPr>
              <p:nvPr/>
            </p:nvSpPr>
            <p:spPr bwMode="auto">
              <a:xfrm>
                <a:off x="3663423" y="163060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59" name="Oval 177">
                <a:extLst>
                  <a:ext uri="{FF2B5EF4-FFF2-40B4-BE49-F238E27FC236}">
                    <a16:creationId xmlns:a16="http://schemas.microsoft.com/office/drawing/2014/main" id="{E9B06D59-4BD7-46B1-B149-0E78D2542C38}"/>
                  </a:ext>
                </a:extLst>
              </p:cNvPr>
              <p:cNvSpPr>
                <a:spLocks noChangeArrowheads="1"/>
              </p:cNvSpPr>
              <p:nvPr/>
            </p:nvSpPr>
            <p:spPr bwMode="auto">
              <a:xfrm>
                <a:off x="3727800" y="163060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60" name="Freeform 178">
                <a:extLst>
                  <a:ext uri="{FF2B5EF4-FFF2-40B4-BE49-F238E27FC236}">
                    <a16:creationId xmlns:a16="http://schemas.microsoft.com/office/drawing/2014/main" id="{E1250970-ED47-4799-9DDE-842DC39EBC07}"/>
                  </a:ext>
                </a:extLst>
              </p:cNvPr>
              <p:cNvSpPr>
                <a:spLocks noEditPoints="1"/>
              </p:cNvSpPr>
              <p:nvPr/>
            </p:nvSpPr>
            <p:spPr bwMode="auto">
              <a:xfrm>
                <a:off x="3168302" y="1767558"/>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61" name="Oval 179">
                <a:extLst>
                  <a:ext uri="{FF2B5EF4-FFF2-40B4-BE49-F238E27FC236}">
                    <a16:creationId xmlns:a16="http://schemas.microsoft.com/office/drawing/2014/main" id="{77E2B97F-9A7C-4B82-A1B1-50B93BA629D6}"/>
                  </a:ext>
                </a:extLst>
              </p:cNvPr>
              <p:cNvSpPr>
                <a:spLocks noChangeArrowheads="1"/>
              </p:cNvSpPr>
              <p:nvPr/>
            </p:nvSpPr>
            <p:spPr bwMode="auto">
              <a:xfrm>
                <a:off x="3663423" y="183837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62" name="Oval 180">
                <a:extLst>
                  <a:ext uri="{FF2B5EF4-FFF2-40B4-BE49-F238E27FC236}">
                    <a16:creationId xmlns:a16="http://schemas.microsoft.com/office/drawing/2014/main" id="{44701FD9-1AAC-4781-9378-9F25EC3016F0}"/>
                  </a:ext>
                </a:extLst>
              </p:cNvPr>
              <p:cNvSpPr>
                <a:spLocks noChangeArrowheads="1"/>
              </p:cNvSpPr>
              <p:nvPr/>
            </p:nvSpPr>
            <p:spPr bwMode="auto">
              <a:xfrm>
                <a:off x="3727800" y="183837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63" name="Freeform 181">
                <a:extLst>
                  <a:ext uri="{FF2B5EF4-FFF2-40B4-BE49-F238E27FC236}">
                    <a16:creationId xmlns:a16="http://schemas.microsoft.com/office/drawing/2014/main" id="{7C54FF85-1A12-4A34-A59C-6D62BB1A808E}"/>
                  </a:ext>
                </a:extLst>
              </p:cNvPr>
              <p:cNvSpPr>
                <a:spLocks noEditPoints="1"/>
              </p:cNvSpPr>
              <p:nvPr/>
            </p:nvSpPr>
            <p:spPr bwMode="auto">
              <a:xfrm>
                <a:off x="3168302" y="197532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64" name="Oval 182">
                <a:extLst>
                  <a:ext uri="{FF2B5EF4-FFF2-40B4-BE49-F238E27FC236}">
                    <a16:creationId xmlns:a16="http://schemas.microsoft.com/office/drawing/2014/main" id="{27CDE33E-2356-4A78-B5C4-15AF439D205E}"/>
                  </a:ext>
                </a:extLst>
              </p:cNvPr>
              <p:cNvSpPr>
                <a:spLocks noChangeArrowheads="1"/>
              </p:cNvSpPr>
              <p:nvPr/>
            </p:nvSpPr>
            <p:spPr bwMode="auto">
              <a:xfrm>
                <a:off x="3663423" y="204613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65" name="Oval 183">
                <a:extLst>
                  <a:ext uri="{FF2B5EF4-FFF2-40B4-BE49-F238E27FC236}">
                    <a16:creationId xmlns:a16="http://schemas.microsoft.com/office/drawing/2014/main" id="{A2C4505A-88D4-48A6-8492-9573C9BE620D}"/>
                  </a:ext>
                </a:extLst>
              </p:cNvPr>
              <p:cNvSpPr>
                <a:spLocks noChangeArrowheads="1"/>
              </p:cNvSpPr>
              <p:nvPr/>
            </p:nvSpPr>
            <p:spPr bwMode="auto">
              <a:xfrm>
                <a:off x="3727800" y="204613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66" name="Freeform 184">
                <a:extLst>
                  <a:ext uri="{FF2B5EF4-FFF2-40B4-BE49-F238E27FC236}">
                    <a16:creationId xmlns:a16="http://schemas.microsoft.com/office/drawing/2014/main" id="{B4769FE5-CD34-449E-A179-6CAA1EAF81CD}"/>
                  </a:ext>
                </a:extLst>
              </p:cNvPr>
              <p:cNvSpPr>
                <a:spLocks noEditPoints="1"/>
              </p:cNvSpPr>
              <p:nvPr/>
            </p:nvSpPr>
            <p:spPr bwMode="auto">
              <a:xfrm>
                <a:off x="3168302" y="218308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67" name="Oval 185">
                <a:extLst>
                  <a:ext uri="{FF2B5EF4-FFF2-40B4-BE49-F238E27FC236}">
                    <a16:creationId xmlns:a16="http://schemas.microsoft.com/office/drawing/2014/main" id="{D6CBA07A-6209-43B4-8A3A-C6CDB982C0F4}"/>
                  </a:ext>
                </a:extLst>
              </p:cNvPr>
              <p:cNvSpPr>
                <a:spLocks noChangeArrowheads="1"/>
              </p:cNvSpPr>
              <p:nvPr/>
            </p:nvSpPr>
            <p:spPr bwMode="auto">
              <a:xfrm>
                <a:off x="3663423" y="225389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68" name="Oval 186">
                <a:extLst>
                  <a:ext uri="{FF2B5EF4-FFF2-40B4-BE49-F238E27FC236}">
                    <a16:creationId xmlns:a16="http://schemas.microsoft.com/office/drawing/2014/main" id="{C2DBD4C7-5C05-4B25-AB93-DA7458A95527}"/>
                  </a:ext>
                </a:extLst>
              </p:cNvPr>
              <p:cNvSpPr>
                <a:spLocks noChangeArrowheads="1"/>
              </p:cNvSpPr>
              <p:nvPr/>
            </p:nvSpPr>
            <p:spPr bwMode="auto">
              <a:xfrm>
                <a:off x="3727800" y="225389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69" name="Oval 189">
                <a:extLst>
                  <a:ext uri="{FF2B5EF4-FFF2-40B4-BE49-F238E27FC236}">
                    <a16:creationId xmlns:a16="http://schemas.microsoft.com/office/drawing/2014/main" id="{0D1E5247-3B7F-47CA-9C35-DFDD7476B073}"/>
                  </a:ext>
                </a:extLst>
              </p:cNvPr>
              <p:cNvSpPr>
                <a:spLocks noChangeArrowheads="1"/>
              </p:cNvSpPr>
              <p:nvPr/>
            </p:nvSpPr>
            <p:spPr bwMode="auto">
              <a:xfrm>
                <a:off x="3372555" y="1469666"/>
                <a:ext cx="26336" cy="26336"/>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70" name="Oval 195">
                <a:extLst>
                  <a:ext uri="{FF2B5EF4-FFF2-40B4-BE49-F238E27FC236}">
                    <a16:creationId xmlns:a16="http://schemas.microsoft.com/office/drawing/2014/main" id="{9409B178-BE29-4124-A98B-9EBEE5FC2AD8}"/>
                  </a:ext>
                </a:extLst>
              </p:cNvPr>
              <p:cNvSpPr>
                <a:spLocks noChangeArrowheads="1"/>
              </p:cNvSpPr>
              <p:nvPr/>
            </p:nvSpPr>
            <p:spPr bwMode="auto">
              <a:xfrm>
                <a:off x="3274818" y="1745903"/>
                <a:ext cx="62036" cy="61451"/>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71" name="Oval 196">
                <a:extLst>
                  <a:ext uri="{FF2B5EF4-FFF2-40B4-BE49-F238E27FC236}">
                    <a16:creationId xmlns:a16="http://schemas.microsoft.com/office/drawing/2014/main" id="{763AA5BE-6D98-464D-9180-AB0400E9BD60}"/>
                  </a:ext>
                </a:extLst>
              </p:cNvPr>
              <p:cNvSpPr>
                <a:spLocks noChangeArrowheads="1"/>
              </p:cNvSpPr>
              <p:nvPr/>
            </p:nvSpPr>
            <p:spPr bwMode="auto">
              <a:xfrm>
                <a:off x="3663423" y="1007319"/>
                <a:ext cx="38041" cy="3745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372" name="Oval 197">
                <a:extLst>
                  <a:ext uri="{FF2B5EF4-FFF2-40B4-BE49-F238E27FC236}">
                    <a16:creationId xmlns:a16="http://schemas.microsoft.com/office/drawing/2014/main" id="{073DBFAF-5BD1-483A-A5EF-09DB6A91456E}"/>
                  </a:ext>
                </a:extLst>
              </p:cNvPr>
              <p:cNvSpPr>
                <a:spLocks noChangeArrowheads="1"/>
              </p:cNvSpPr>
              <p:nvPr/>
            </p:nvSpPr>
            <p:spPr bwMode="auto">
              <a:xfrm>
                <a:off x="3727800" y="1007319"/>
                <a:ext cx="38041" cy="37456"/>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grpSp>
        <p:grpSp>
          <p:nvGrpSpPr>
            <p:cNvPr id="7210" name="Group 7209">
              <a:extLst>
                <a:ext uri="{FF2B5EF4-FFF2-40B4-BE49-F238E27FC236}">
                  <a16:creationId xmlns:a16="http://schemas.microsoft.com/office/drawing/2014/main" id="{ACEE6256-1B3A-4B8B-BCCF-02AF5077E137}"/>
                </a:ext>
              </a:extLst>
            </p:cNvPr>
            <p:cNvGrpSpPr/>
            <p:nvPr/>
          </p:nvGrpSpPr>
          <p:grpSpPr>
            <a:xfrm>
              <a:off x="2374238" y="2649688"/>
              <a:ext cx="215204" cy="346642"/>
              <a:chOff x="-972021" y="1201218"/>
              <a:chExt cx="627275" cy="1010390"/>
            </a:xfrm>
          </p:grpSpPr>
          <p:sp>
            <p:nvSpPr>
              <p:cNvPr id="515" name="Rectangle 166">
                <a:extLst>
                  <a:ext uri="{FF2B5EF4-FFF2-40B4-BE49-F238E27FC236}">
                    <a16:creationId xmlns:a16="http://schemas.microsoft.com/office/drawing/2014/main" id="{686077E3-8C29-4635-8D3A-A5E3B6C2339F}"/>
                  </a:ext>
                </a:extLst>
              </p:cNvPr>
              <p:cNvSpPr>
                <a:spLocks noChangeArrowheads="1"/>
              </p:cNvSpPr>
              <p:nvPr/>
            </p:nvSpPr>
            <p:spPr bwMode="auto">
              <a:xfrm>
                <a:off x="-972021" y="1201218"/>
                <a:ext cx="486147" cy="1010390"/>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16" name="Rectangle 167">
                <a:extLst>
                  <a:ext uri="{FF2B5EF4-FFF2-40B4-BE49-F238E27FC236}">
                    <a16:creationId xmlns:a16="http://schemas.microsoft.com/office/drawing/2014/main" id="{67F19DF6-F0BA-4E12-9DB7-D0647A0C7D58}"/>
                  </a:ext>
                </a:extLst>
              </p:cNvPr>
              <p:cNvSpPr>
                <a:spLocks noChangeArrowheads="1"/>
              </p:cNvSpPr>
              <p:nvPr/>
            </p:nvSpPr>
            <p:spPr bwMode="auto">
              <a:xfrm>
                <a:off x="-485874" y="1201218"/>
                <a:ext cx="141128" cy="1010390"/>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17" name="Freeform 168">
                <a:extLst>
                  <a:ext uri="{FF2B5EF4-FFF2-40B4-BE49-F238E27FC236}">
                    <a16:creationId xmlns:a16="http://schemas.microsoft.com/office/drawing/2014/main" id="{39F231E8-FDC0-4693-B966-4B60A4E965AA}"/>
                  </a:ext>
                </a:extLst>
              </p:cNvPr>
              <p:cNvSpPr>
                <a:spLocks noEditPoints="1"/>
              </p:cNvSpPr>
              <p:nvPr/>
            </p:nvSpPr>
            <p:spPr bwMode="auto">
              <a:xfrm>
                <a:off x="-925221" y="1381891"/>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18" name="Freeform 169">
                <a:extLst>
                  <a:ext uri="{FF2B5EF4-FFF2-40B4-BE49-F238E27FC236}">
                    <a16:creationId xmlns:a16="http://schemas.microsoft.com/office/drawing/2014/main" id="{246C7FE1-B7BB-4697-AAA3-D603A4DFC0C3}"/>
                  </a:ext>
                </a:extLst>
              </p:cNvPr>
              <p:cNvSpPr>
                <a:spLocks noEditPoints="1"/>
              </p:cNvSpPr>
              <p:nvPr/>
            </p:nvSpPr>
            <p:spPr bwMode="auto">
              <a:xfrm>
                <a:off x="-925221" y="1244028"/>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19" name="Oval 170">
                <a:extLst>
                  <a:ext uri="{FF2B5EF4-FFF2-40B4-BE49-F238E27FC236}">
                    <a16:creationId xmlns:a16="http://schemas.microsoft.com/office/drawing/2014/main" id="{AB4A8BD8-571A-4E11-9E55-39CB88BB69E2}"/>
                  </a:ext>
                </a:extLst>
              </p:cNvPr>
              <p:cNvSpPr>
                <a:spLocks noChangeArrowheads="1"/>
              </p:cNvSpPr>
              <p:nvPr/>
            </p:nvSpPr>
            <p:spPr bwMode="auto">
              <a:xfrm>
                <a:off x="-618295" y="1425789"/>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20" name="Oval 171">
                <a:extLst>
                  <a:ext uri="{FF2B5EF4-FFF2-40B4-BE49-F238E27FC236}">
                    <a16:creationId xmlns:a16="http://schemas.microsoft.com/office/drawing/2014/main" id="{F0409F7C-476F-476A-8E2E-BC79A4C6561B}"/>
                  </a:ext>
                </a:extLst>
              </p:cNvPr>
              <p:cNvSpPr>
                <a:spLocks noChangeArrowheads="1"/>
              </p:cNvSpPr>
              <p:nvPr/>
            </p:nvSpPr>
            <p:spPr bwMode="auto">
              <a:xfrm>
                <a:off x="-578387" y="1425789"/>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21" name="Freeform 172">
                <a:extLst>
                  <a:ext uri="{FF2B5EF4-FFF2-40B4-BE49-F238E27FC236}">
                    <a16:creationId xmlns:a16="http://schemas.microsoft.com/office/drawing/2014/main" id="{31A04566-BEF8-410A-B06E-CAE8AFACE3C7}"/>
                  </a:ext>
                </a:extLst>
              </p:cNvPr>
              <p:cNvSpPr>
                <a:spLocks noEditPoints="1"/>
              </p:cNvSpPr>
              <p:nvPr/>
            </p:nvSpPr>
            <p:spPr bwMode="auto">
              <a:xfrm>
                <a:off x="-925221" y="1510684"/>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22" name="Oval 173">
                <a:extLst>
                  <a:ext uri="{FF2B5EF4-FFF2-40B4-BE49-F238E27FC236}">
                    <a16:creationId xmlns:a16="http://schemas.microsoft.com/office/drawing/2014/main" id="{B962FD90-4172-4643-888F-B77792193FFA}"/>
                  </a:ext>
                </a:extLst>
              </p:cNvPr>
              <p:cNvSpPr>
                <a:spLocks noChangeArrowheads="1"/>
              </p:cNvSpPr>
              <p:nvPr/>
            </p:nvSpPr>
            <p:spPr bwMode="auto">
              <a:xfrm>
                <a:off x="-618295" y="1554583"/>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23" name="Oval 174">
                <a:extLst>
                  <a:ext uri="{FF2B5EF4-FFF2-40B4-BE49-F238E27FC236}">
                    <a16:creationId xmlns:a16="http://schemas.microsoft.com/office/drawing/2014/main" id="{C3DD63BC-E702-44AF-933F-A5E3F612D29A}"/>
                  </a:ext>
                </a:extLst>
              </p:cNvPr>
              <p:cNvSpPr>
                <a:spLocks noChangeArrowheads="1"/>
              </p:cNvSpPr>
              <p:nvPr/>
            </p:nvSpPr>
            <p:spPr bwMode="auto">
              <a:xfrm>
                <a:off x="-578387" y="1554583"/>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24" name="Freeform 175">
                <a:extLst>
                  <a:ext uri="{FF2B5EF4-FFF2-40B4-BE49-F238E27FC236}">
                    <a16:creationId xmlns:a16="http://schemas.microsoft.com/office/drawing/2014/main" id="{E6E69053-5E13-4ACE-9A99-AFADE542CF58}"/>
                  </a:ext>
                </a:extLst>
              </p:cNvPr>
              <p:cNvSpPr>
                <a:spLocks noEditPoints="1"/>
              </p:cNvSpPr>
              <p:nvPr/>
            </p:nvSpPr>
            <p:spPr bwMode="auto">
              <a:xfrm>
                <a:off x="-925221" y="1639477"/>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25" name="Oval 176">
                <a:extLst>
                  <a:ext uri="{FF2B5EF4-FFF2-40B4-BE49-F238E27FC236}">
                    <a16:creationId xmlns:a16="http://schemas.microsoft.com/office/drawing/2014/main" id="{EEC619AA-FB05-4C20-8BA9-EDFBB696A510}"/>
                  </a:ext>
                </a:extLst>
              </p:cNvPr>
              <p:cNvSpPr>
                <a:spLocks noChangeArrowheads="1"/>
              </p:cNvSpPr>
              <p:nvPr/>
            </p:nvSpPr>
            <p:spPr bwMode="auto">
              <a:xfrm>
                <a:off x="-618295" y="1683375"/>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26" name="Oval 177">
                <a:extLst>
                  <a:ext uri="{FF2B5EF4-FFF2-40B4-BE49-F238E27FC236}">
                    <a16:creationId xmlns:a16="http://schemas.microsoft.com/office/drawing/2014/main" id="{2486FE95-D957-4512-88B7-9CB1F8C7567A}"/>
                  </a:ext>
                </a:extLst>
              </p:cNvPr>
              <p:cNvSpPr>
                <a:spLocks noChangeArrowheads="1"/>
              </p:cNvSpPr>
              <p:nvPr/>
            </p:nvSpPr>
            <p:spPr bwMode="auto">
              <a:xfrm>
                <a:off x="-578387" y="1683375"/>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27" name="Freeform 178">
                <a:extLst>
                  <a:ext uri="{FF2B5EF4-FFF2-40B4-BE49-F238E27FC236}">
                    <a16:creationId xmlns:a16="http://schemas.microsoft.com/office/drawing/2014/main" id="{80EF648F-A7B6-41E7-85BF-AB625E40489E}"/>
                  </a:ext>
                </a:extLst>
              </p:cNvPr>
              <p:cNvSpPr>
                <a:spLocks noEditPoints="1"/>
              </p:cNvSpPr>
              <p:nvPr/>
            </p:nvSpPr>
            <p:spPr bwMode="auto">
              <a:xfrm>
                <a:off x="-925221" y="1768270"/>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28" name="Oval 179">
                <a:extLst>
                  <a:ext uri="{FF2B5EF4-FFF2-40B4-BE49-F238E27FC236}">
                    <a16:creationId xmlns:a16="http://schemas.microsoft.com/office/drawing/2014/main" id="{8AA5DE8E-3F8F-464C-9259-B9158BB88DC9}"/>
                  </a:ext>
                </a:extLst>
              </p:cNvPr>
              <p:cNvSpPr>
                <a:spLocks noChangeArrowheads="1"/>
              </p:cNvSpPr>
              <p:nvPr/>
            </p:nvSpPr>
            <p:spPr bwMode="auto">
              <a:xfrm>
                <a:off x="-618295" y="1812168"/>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29" name="Oval 180">
                <a:extLst>
                  <a:ext uri="{FF2B5EF4-FFF2-40B4-BE49-F238E27FC236}">
                    <a16:creationId xmlns:a16="http://schemas.microsoft.com/office/drawing/2014/main" id="{09186628-C416-4EA5-9A0F-116C648F0E45}"/>
                  </a:ext>
                </a:extLst>
              </p:cNvPr>
              <p:cNvSpPr>
                <a:spLocks noChangeArrowheads="1"/>
              </p:cNvSpPr>
              <p:nvPr/>
            </p:nvSpPr>
            <p:spPr bwMode="auto">
              <a:xfrm>
                <a:off x="-578387" y="1812168"/>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30" name="Freeform 181">
                <a:extLst>
                  <a:ext uri="{FF2B5EF4-FFF2-40B4-BE49-F238E27FC236}">
                    <a16:creationId xmlns:a16="http://schemas.microsoft.com/office/drawing/2014/main" id="{04D024C4-A20D-4E57-A8E9-220EE9EA68C6}"/>
                  </a:ext>
                </a:extLst>
              </p:cNvPr>
              <p:cNvSpPr>
                <a:spLocks noEditPoints="1"/>
              </p:cNvSpPr>
              <p:nvPr/>
            </p:nvSpPr>
            <p:spPr bwMode="auto">
              <a:xfrm>
                <a:off x="-925221" y="1897063"/>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31" name="Oval 182">
                <a:extLst>
                  <a:ext uri="{FF2B5EF4-FFF2-40B4-BE49-F238E27FC236}">
                    <a16:creationId xmlns:a16="http://schemas.microsoft.com/office/drawing/2014/main" id="{42E49693-0ADF-4706-932D-A3AE9FC18F65}"/>
                  </a:ext>
                </a:extLst>
              </p:cNvPr>
              <p:cNvSpPr>
                <a:spLocks noChangeArrowheads="1"/>
              </p:cNvSpPr>
              <p:nvPr/>
            </p:nvSpPr>
            <p:spPr bwMode="auto">
              <a:xfrm>
                <a:off x="-618295" y="1940961"/>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32" name="Oval 183">
                <a:extLst>
                  <a:ext uri="{FF2B5EF4-FFF2-40B4-BE49-F238E27FC236}">
                    <a16:creationId xmlns:a16="http://schemas.microsoft.com/office/drawing/2014/main" id="{9A90E7C0-B1CC-48E1-BCF8-71F9AD0CE045}"/>
                  </a:ext>
                </a:extLst>
              </p:cNvPr>
              <p:cNvSpPr>
                <a:spLocks noChangeArrowheads="1"/>
              </p:cNvSpPr>
              <p:nvPr/>
            </p:nvSpPr>
            <p:spPr bwMode="auto">
              <a:xfrm>
                <a:off x="-578387" y="1940961"/>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33" name="Freeform 184">
                <a:extLst>
                  <a:ext uri="{FF2B5EF4-FFF2-40B4-BE49-F238E27FC236}">
                    <a16:creationId xmlns:a16="http://schemas.microsoft.com/office/drawing/2014/main" id="{E7F38F43-B2B1-4726-8263-C1AB056DCCED}"/>
                  </a:ext>
                </a:extLst>
              </p:cNvPr>
              <p:cNvSpPr>
                <a:spLocks noEditPoints="1"/>
              </p:cNvSpPr>
              <p:nvPr/>
            </p:nvSpPr>
            <p:spPr bwMode="auto">
              <a:xfrm>
                <a:off x="-925221" y="2025856"/>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34" name="Oval 185">
                <a:extLst>
                  <a:ext uri="{FF2B5EF4-FFF2-40B4-BE49-F238E27FC236}">
                    <a16:creationId xmlns:a16="http://schemas.microsoft.com/office/drawing/2014/main" id="{808C76E2-AB9B-4AC8-A30F-A158CFE998F7}"/>
                  </a:ext>
                </a:extLst>
              </p:cNvPr>
              <p:cNvSpPr>
                <a:spLocks noChangeArrowheads="1"/>
              </p:cNvSpPr>
              <p:nvPr/>
            </p:nvSpPr>
            <p:spPr bwMode="auto">
              <a:xfrm>
                <a:off x="-618295" y="2069754"/>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35" name="Oval 186">
                <a:extLst>
                  <a:ext uri="{FF2B5EF4-FFF2-40B4-BE49-F238E27FC236}">
                    <a16:creationId xmlns:a16="http://schemas.microsoft.com/office/drawing/2014/main" id="{C1E1B5BE-800D-4A49-9545-73F14CE65030}"/>
                  </a:ext>
                </a:extLst>
              </p:cNvPr>
              <p:cNvSpPr>
                <a:spLocks noChangeArrowheads="1"/>
              </p:cNvSpPr>
              <p:nvPr/>
            </p:nvSpPr>
            <p:spPr bwMode="auto">
              <a:xfrm>
                <a:off x="-578387" y="2069754"/>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36" name="Oval 189">
                <a:extLst>
                  <a:ext uri="{FF2B5EF4-FFF2-40B4-BE49-F238E27FC236}">
                    <a16:creationId xmlns:a16="http://schemas.microsoft.com/office/drawing/2014/main" id="{D55F6417-92BB-463D-AC4C-D90D772C329F}"/>
                  </a:ext>
                </a:extLst>
              </p:cNvPr>
              <p:cNvSpPr>
                <a:spLocks noChangeArrowheads="1"/>
              </p:cNvSpPr>
              <p:nvPr/>
            </p:nvSpPr>
            <p:spPr bwMode="auto">
              <a:xfrm>
                <a:off x="-798604" y="1583606"/>
                <a:ext cx="16326" cy="16326"/>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37" name="Oval 195">
                <a:extLst>
                  <a:ext uri="{FF2B5EF4-FFF2-40B4-BE49-F238E27FC236}">
                    <a16:creationId xmlns:a16="http://schemas.microsoft.com/office/drawing/2014/main" id="{341B21F6-94D9-46FA-9859-2F1FD8EEEA18}"/>
                  </a:ext>
                </a:extLst>
              </p:cNvPr>
              <p:cNvSpPr>
                <a:spLocks noChangeArrowheads="1"/>
              </p:cNvSpPr>
              <p:nvPr/>
            </p:nvSpPr>
            <p:spPr bwMode="auto">
              <a:xfrm>
                <a:off x="-859192" y="1754846"/>
                <a:ext cx="38456" cy="38094"/>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38" name="Oval 196">
                <a:extLst>
                  <a:ext uri="{FF2B5EF4-FFF2-40B4-BE49-F238E27FC236}">
                    <a16:creationId xmlns:a16="http://schemas.microsoft.com/office/drawing/2014/main" id="{CB8AD437-9EF2-4269-85D1-6E2A50C7DE8A}"/>
                  </a:ext>
                </a:extLst>
              </p:cNvPr>
              <p:cNvSpPr>
                <a:spLocks noChangeArrowheads="1"/>
              </p:cNvSpPr>
              <p:nvPr/>
            </p:nvSpPr>
            <p:spPr bwMode="auto">
              <a:xfrm>
                <a:off x="-618295" y="1296997"/>
                <a:ext cx="23582" cy="232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39" name="Oval 197">
                <a:extLst>
                  <a:ext uri="{FF2B5EF4-FFF2-40B4-BE49-F238E27FC236}">
                    <a16:creationId xmlns:a16="http://schemas.microsoft.com/office/drawing/2014/main" id="{155C43DD-884C-47C3-9A40-71DA1357BB74}"/>
                  </a:ext>
                </a:extLst>
              </p:cNvPr>
              <p:cNvSpPr>
                <a:spLocks noChangeArrowheads="1"/>
              </p:cNvSpPr>
              <p:nvPr/>
            </p:nvSpPr>
            <p:spPr bwMode="auto">
              <a:xfrm>
                <a:off x="-578387" y="1296997"/>
                <a:ext cx="23582" cy="2321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grpSp>
        <p:sp>
          <p:nvSpPr>
            <p:cNvPr id="567" name="Freeform 134">
              <a:extLst>
                <a:ext uri="{FF2B5EF4-FFF2-40B4-BE49-F238E27FC236}">
                  <a16:creationId xmlns:a16="http://schemas.microsoft.com/office/drawing/2014/main" id="{B68070AE-0527-494C-934B-FFCA11F1B90D}"/>
                </a:ext>
              </a:extLst>
            </p:cNvPr>
            <p:cNvSpPr>
              <a:spLocks/>
            </p:cNvSpPr>
            <p:nvPr/>
          </p:nvSpPr>
          <p:spPr bwMode="auto">
            <a:xfrm>
              <a:off x="2187346" y="3046377"/>
              <a:ext cx="228600" cy="18288"/>
            </a:xfrm>
            <a:custGeom>
              <a:avLst/>
              <a:gdLst>
                <a:gd name="T0" fmla="*/ 826 w 831"/>
                <a:gd name="T1" fmla="*/ 0 h 11"/>
                <a:gd name="T2" fmla="*/ 5 w 831"/>
                <a:gd name="T3" fmla="*/ 0 h 11"/>
                <a:gd name="T4" fmla="*/ 0 w 831"/>
                <a:gd name="T5" fmla="*/ 5 h 11"/>
                <a:gd name="T6" fmla="*/ 5 w 831"/>
                <a:gd name="T7" fmla="*/ 11 h 11"/>
                <a:gd name="T8" fmla="*/ 826 w 831"/>
                <a:gd name="T9" fmla="*/ 11 h 11"/>
                <a:gd name="T10" fmla="*/ 831 w 831"/>
                <a:gd name="T11" fmla="*/ 5 h 11"/>
                <a:gd name="T12" fmla="*/ 826 w 83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31" h="11">
                  <a:moveTo>
                    <a:pt x="826" y="0"/>
                  </a:moveTo>
                  <a:cubicBezTo>
                    <a:pt x="5" y="0"/>
                    <a:pt x="5" y="0"/>
                    <a:pt x="5" y="0"/>
                  </a:cubicBezTo>
                  <a:cubicBezTo>
                    <a:pt x="2" y="0"/>
                    <a:pt x="0" y="2"/>
                    <a:pt x="0" y="5"/>
                  </a:cubicBezTo>
                  <a:cubicBezTo>
                    <a:pt x="0" y="8"/>
                    <a:pt x="2" y="11"/>
                    <a:pt x="5" y="11"/>
                  </a:cubicBezTo>
                  <a:cubicBezTo>
                    <a:pt x="826" y="11"/>
                    <a:pt x="826" y="11"/>
                    <a:pt x="826" y="11"/>
                  </a:cubicBezTo>
                  <a:cubicBezTo>
                    <a:pt x="829" y="11"/>
                    <a:pt x="831" y="8"/>
                    <a:pt x="831" y="5"/>
                  </a:cubicBezTo>
                  <a:cubicBezTo>
                    <a:pt x="831" y="2"/>
                    <a:pt x="829" y="0"/>
                    <a:pt x="826"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nvGrpSpPr>
            <p:cNvPr id="7206" name="Group 7205">
              <a:extLst>
                <a:ext uri="{FF2B5EF4-FFF2-40B4-BE49-F238E27FC236}">
                  <a16:creationId xmlns:a16="http://schemas.microsoft.com/office/drawing/2014/main" id="{E396047C-7F0F-49BD-993F-8E3BE612DAD9}"/>
                </a:ext>
              </a:extLst>
            </p:cNvPr>
            <p:cNvGrpSpPr/>
            <p:nvPr/>
          </p:nvGrpSpPr>
          <p:grpSpPr>
            <a:xfrm>
              <a:off x="2503413" y="2810855"/>
              <a:ext cx="182880" cy="271049"/>
              <a:chOff x="2520246" y="2856083"/>
              <a:chExt cx="182880" cy="271049"/>
            </a:xfrm>
          </p:grpSpPr>
          <p:grpSp>
            <p:nvGrpSpPr>
              <p:cNvPr id="540" name="Group 539">
                <a:extLst>
                  <a:ext uri="{FF2B5EF4-FFF2-40B4-BE49-F238E27FC236}">
                    <a16:creationId xmlns:a16="http://schemas.microsoft.com/office/drawing/2014/main" id="{991ACE58-22E9-4C10-BB38-7A132340192D}"/>
                  </a:ext>
                </a:extLst>
              </p:cNvPr>
              <p:cNvGrpSpPr/>
              <p:nvPr/>
            </p:nvGrpSpPr>
            <p:grpSpPr>
              <a:xfrm>
                <a:off x="2537842" y="2856083"/>
                <a:ext cx="152977" cy="246409"/>
                <a:chOff x="3092806" y="852813"/>
                <a:chExt cx="1011895" cy="1629919"/>
              </a:xfrm>
            </p:grpSpPr>
            <p:sp>
              <p:nvSpPr>
                <p:cNvPr id="541" name="Rectangle 166">
                  <a:extLst>
                    <a:ext uri="{FF2B5EF4-FFF2-40B4-BE49-F238E27FC236}">
                      <a16:creationId xmlns:a16="http://schemas.microsoft.com/office/drawing/2014/main" id="{DDF3B71C-013C-4097-A355-5D408716CC7B}"/>
                    </a:ext>
                  </a:extLst>
                </p:cNvPr>
                <p:cNvSpPr>
                  <a:spLocks noChangeArrowheads="1"/>
                </p:cNvSpPr>
                <p:nvPr/>
              </p:nvSpPr>
              <p:spPr bwMode="auto">
                <a:xfrm>
                  <a:off x="3092806" y="852813"/>
                  <a:ext cx="784233" cy="1629919"/>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42" name="Rectangle 167">
                  <a:extLst>
                    <a:ext uri="{FF2B5EF4-FFF2-40B4-BE49-F238E27FC236}">
                      <a16:creationId xmlns:a16="http://schemas.microsoft.com/office/drawing/2014/main" id="{24BDE122-FF60-4209-803E-6A8953DC7855}"/>
                    </a:ext>
                  </a:extLst>
                </p:cNvPr>
                <p:cNvSpPr>
                  <a:spLocks noChangeArrowheads="1"/>
                </p:cNvSpPr>
                <p:nvPr/>
              </p:nvSpPr>
              <p:spPr bwMode="auto">
                <a:xfrm>
                  <a:off x="3877039" y="852813"/>
                  <a:ext cx="227662" cy="1629919"/>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43" name="Freeform 168">
                  <a:extLst>
                    <a:ext uri="{FF2B5EF4-FFF2-40B4-BE49-F238E27FC236}">
                      <a16:creationId xmlns:a16="http://schemas.microsoft.com/office/drawing/2014/main" id="{D42E6C14-5163-402A-B4BD-783C93392C6F}"/>
                    </a:ext>
                  </a:extLst>
                </p:cNvPr>
                <p:cNvSpPr>
                  <a:spLocks noEditPoints="1"/>
                </p:cNvSpPr>
                <p:nvPr/>
              </p:nvSpPr>
              <p:spPr bwMode="auto">
                <a:xfrm>
                  <a:off x="3168302" y="1144267"/>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44" name="Freeform 169">
                  <a:extLst>
                    <a:ext uri="{FF2B5EF4-FFF2-40B4-BE49-F238E27FC236}">
                      <a16:creationId xmlns:a16="http://schemas.microsoft.com/office/drawing/2014/main" id="{020EACB6-9045-4239-A94B-EB433504373E}"/>
                    </a:ext>
                  </a:extLst>
                </p:cNvPr>
                <p:cNvSpPr>
                  <a:spLocks noEditPoints="1"/>
                </p:cNvSpPr>
                <p:nvPr/>
              </p:nvSpPr>
              <p:spPr bwMode="auto">
                <a:xfrm>
                  <a:off x="3168302" y="921872"/>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45" name="Oval 170">
                  <a:extLst>
                    <a:ext uri="{FF2B5EF4-FFF2-40B4-BE49-F238E27FC236}">
                      <a16:creationId xmlns:a16="http://schemas.microsoft.com/office/drawing/2014/main" id="{7D4849CC-E4AA-411B-90E5-40A8B1B0C92C}"/>
                    </a:ext>
                  </a:extLst>
                </p:cNvPr>
                <p:cNvSpPr>
                  <a:spLocks noChangeArrowheads="1"/>
                </p:cNvSpPr>
                <p:nvPr/>
              </p:nvSpPr>
              <p:spPr bwMode="auto">
                <a:xfrm>
                  <a:off x="3663423" y="121508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46" name="Oval 171">
                  <a:extLst>
                    <a:ext uri="{FF2B5EF4-FFF2-40B4-BE49-F238E27FC236}">
                      <a16:creationId xmlns:a16="http://schemas.microsoft.com/office/drawing/2014/main" id="{5AB76CAC-1A5B-4CCC-843A-B868F0164E83}"/>
                    </a:ext>
                  </a:extLst>
                </p:cNvPr>
                <p:cNvSpPr>
                  <a:spLocks noChangeArrowheads="1"/>
                </p:cNvSpPr>
                <p:nvPr/>
              </p:nvSpPr>
              <p:spPr bwMode="auto">
                <a:xfrm>
                  <a:off x="3727800" y="121508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47" name="Freeform 172">
                  <a:extLst>
                    <a:ext uri="{FF2B5EF4-FFF2-40B4-BE49-F238E27FC236}">
                      <a16:creationId xmlns:a16="http://schemas.microsoft.com/office/drawing/2014/main" id="{F85E779B-A255-431C-812D-BC59A4046ACE}"/>
                    </a:ext>
                  </a:extLst>
                </p:cNvPr>
                <p:cNvSpPr>
                  <a:spLocks noEditPoints="1"/>
                </p:cNvSpPr>
                <p:nvPr/>
              </p:nvSpPr>
              <p:spPr bwMode="auto">
                <a:xfrm>
                  <a:off x="3168302" y="135203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48" name="Oval 173">
                  <a:extLst>
                    <a:ext uri="{FF2B5EF4-FFF2-40B4-BE49-F238E27FC236}">
                      <a16:creationId xmlns:a16="http://schemas.microsoft.com/office/drawing/2014/main" id="{61B40637-B5A2-421F-B5AB-DCB0609FC71B}"/>
                    </a:ext>
                  </a:extLst>
                </p:cNvPr>
                <p:cNvSpPr>
                  <a:spLocks noChangeArrowheads="1"/>
                </p:cNvSpPr>
                <p:nvPr/>
              </p:nvSpPr>
              <p:spPr bwMode="auto">
                <a:xfrm>
                  <a:off x="3663423" y="142284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49" name="Oval 174">
                  <a:extLst>
                    <a:ext uri="{FF2B5EF4-FFF2-40B4-BE49-F238E27FC236}">
                      <a16:creationId xmlns:a16="http://schemas.microsoft.com/office/drawing/2014/main" id="{15492714-57A5-4428-B5E8-C37BB5920596}"/>
                    </a:ext>
                  </a:extLst>
                </p:cNvPr>
                <p:cNvSpPr>
                  <a:spLocks noChangeArrowheads="1"/>
                </p:cNvSpPr>
                <p:nvPr/>
              </p:nvSpPr>
              <p:spPr bwMode="auto">
                <a:xfrm>
                  <a:off x="3727800" y="142284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50" name="Freeform 175">
                  <a:extLst>
                    <a:ext uri="{FF2B5EF4-FFF2-40B4-BE49-F238E27FC236}">
                      <a16:creationId xmlns:a16="http://schemas.microsoft.com/office/drawing/2014/main" id="{ECC837DC-9D05-4C8D-AD48-67B8BA7C15A8}"/>
                    </a:ext>
                  </a:extLst>
                </p:cNvPr>
                <p:cNvSpPr>
                  <a:spLocks noEditPoints="1"/>
                </p:cNvSpPr>
                <p:nvPr/>
              </p:nvSpPr>
              <p:spPr bwMode="auto">
                <a:xfrm>
                  <a:off x="3168302" y="155979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51" name="Oval 176">
                  <a:extLst>
                    <a:ext uri="{FF2B5EF4-FFF2-40B4-BE49-F238E27FC236}">
                      <a16:creationId xmlns:a16="http://schemas.microsoft.com/office/drawing/2014/main" id="{9052EFA8-D0F5-40CE-B7D2-7E93C795B532}"/>
                    </a:ext>
                  </a:extLst>
                </p:cNvPr>
                <p:cNvSpPr>
                  <a:spLocks noChangeArrowheads="1"/>
                </p:cNvSpPr>
                <p:nvPr/>
              </p:nvSpPr>
              <p:spPr bwMode="auto">
                <a:xfrm>
                  <a:off x="3663423" y="163060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52" name="Oval 177">
                  <a:extLst>
                    <a:ext uri="{FF2B5EF4-FFF2-40B4-BE49-F238E27FC236}">
                      <a16:creationId xmlns:a16="http://schemas.microsoft.com/office/drawing/2014/main" id="{7A63E3AC-90EE-486B-ACAF-855E3B188255}"/>
                    </a:ext>
                  </a:extLst>
                </p:cNvPr>
                <p:cNvSpPr>
                  <a:spLocks noChangeArrowheads="1"/>
                </p:cNvSpPr>
                <p:nvPr/>
              </p:nvSpPr>
              <p:spPr bwMode="auto">
                <a:xfrm>
                  <a:off x="3727800" y="163060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53" name="Freeform 178">
                  <a:extLst>
                    <a:ext uri="{FF2B5EF4-FFF2-40B4-BE49-F238E27FC236}">
                      <a16:creationId xmlns:a16="http://schemas.microsoft.com/office/drawing/2014/main" id="{81960F32-1813-4543-8937-716AC0F6F574}"/>
                    </a:ext>
                  </a:extLst>
                </p:cNvPr>
                <p:cNvSpPr>
                  <a:spLocks noEditPoints="1"/>
                </p:cNvSpPr>
                <p:nvPr/>
              </p:nvSpPr>
              <p:spPr bwMode="auto">
                <a:xfrm>
                  <a:off x="3168302" y="1767558"/>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54" name="Oval 179">
                  <a:extLst>
                    <a:ext uri="{FF2B5EF4-FFF2-40B4-BE49-F238E27FC236}">
                      <a16:creationId xmlns:a16="http://schemas.microsoft.com/office/drawing/2014/main" id="{8804DBEE-2525-45D0-9707-886647171603}"/>
                    </a:ext>
                  </a:extLst>
                </p:cNvPr>
                <p:cNvSpPr>
                  <a:spLocks noChangeArrowheads="1"/>
                </p:cNvSpPr>
                <p:nvPr/>
              </p:nvSpPr>
              <p:spPr bwMode="auto">
                <a:xfrm>
                  <a:off x="3663423" y="183837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55" name="Oval 180">
                  <a:extLst>
                    <a:ext uri="{FF2B5EF4-FFF2-40B4-BE49-F238E27FC236}">
                      <a16:creationId xmlns:a16="http://schemas.microsoft.com/office/drawing/2014/main" id="{B195A0DB-8699-40DB-A98F-8F3F3F8535B7}"/>
                    </a:ext>
                  </a:extLst>
                </p:cNvPr>
                <p:cNvSpPr>
                  <a:spLocks noChangeArrowheads="1"/>
                </p:cNvSpPr>
                <p:nvPr/>
              </p:nvSpPr>
              <p:spPr bwMode="auto">
                <a:xfrm>
                  <a:off x="3727800" y="183837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56" name="Freeform 181">
                  <a:extLst>
                    <a:ext uri="{FF2B5EF4-FFF2-40B4-BE49-F238E27FC236}">
                      <a16:creationId xmlns:a16="http://schemas.microsoft.com/office/drawing/2014/main" id="{684609D2-CB5D-401D-9AA3-698521D38DC7}"/>
                    </a:ext>
                  </a:extLst>
                </p:cNvPr>
                <p:cNvSpPr>
                  <a:spLocks noEditPoints="1"/>
                </p:cNvSpPr>
                <p:nvPr/>
              </p:nvSpPr>
              <p:spPr bwMode="auto">
                <a:xfrm>
                  <a:off x="3168302" y="197532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57" name="Oval 182">
                  <a:extLst>
                    <a:ext uri="{FF2B5EF4-FFF2-40B4-BE49-F238E27FC236}">
                      <a16:creationId xmlns:a16="http://schemas.microsoft.com/office/drawing/2014/main" id="{63DB809D-7F22-45E2-8B13-164EB994CC8E}"/>
                    </a:ext>
                  </a:extLst>
                </p:cNvPr>
                <p:cNvSpPr>
                  <a:spLocks noChangeArrowheads="1"/>
                </p:cNvSpPr>
                <p:nvPr/>
              </p:nvSpPr>
              <p:spPr bwMode="auto">
                <a:xfrm>
                  <a:off x="3663423" y="204613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58" name="Oval 183">
                  <a:extLst>
                    <a:ext uri="{FF2B5EF4-FFF2-40B4-BE49-F238E27FC236}">
                      <a16:creationId xmlns:a16="http://schemas.microsoft.com/office/drawing/2014/main" id="{0DB0F84B-54D8-4BC4-B66D-2CBF1BA14040}"/>
                    </a:ext>
                  </a:extLst>
                </p:cNvPr>
                <p:cNvSpPr>
                  <a:spLocks noChangeArrowheads="1"/>
                </p:cNvSpPr>
                <p:nvPr/>
              </p:nvSpPr>
              <p:spPr bwMode="auto">
                <a:xfrm>
                  <a:off x="3727800" y="204613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59" name="Freeform 184">
                  <a:extLst>
                    <a:ext uri="{FF2B5EF4-FFF2-40B4-BE49-F238E27FC236}">
                      <a16:creationId xmlns:a16="http://schemas.microsoft.com/office/drawing/2014/main" id="{5A7925FD-CA91-456F-A014-B0758696E5C2}"/>
                    </a:ext>
                  </a:extLst>
                </p:cNvPr>
                <p:cNvSpPr>
                  <a:spLocks noEditPoints="1"/>
                </p:cNvSpPr>
                <p:nvPr/>
              </p:nvSpPr>
              <p:spPr bwMode="auto">
                <a:xfrm>
                  <a:off x="3168302" y="218308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60" name="Oval 185">
                  <a:extLst>
                    <a:ext uri="{FF2B5EF4-FFF2-40B4-BE49-F238E27FC236}">
                      <a16:creationId xmlns:a16="http://schemas.microsoft.com/office/drawing/2014/main" id="{9F2013AF-0B03-43EE-AB9D-CE340BEB20AF}"/>
                    </a:ext>
                  </a:extLst>
                </p:cNvPr>
                <p:cNvSpPr>
                  <a:spLocks noChangeArrowheads="1"/>
                </p:cNvSpPr>
                <p:nvPr/>
              </p:nvSpPr>
              <p:spPr bwMode="auto">
                <a:xfrm>
                  <a:off x="3663423" y="225389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61" name="Oval 186">
                  <a:extLst>
                    <a:ext uri="{FF2B5EF4-FFF2-40B4-BE49-F238E27FC236}">
                      <a16:creationId xmlns:a16="http://schemas.microsoft.com/office/drawing/2014/main" id="{5C137590-298B-4100-A59B-2F9242B79C66}"/>
                    </a:ext>
                  </a:extLst>
                </p:cNvPr>
                <p:cNvSpPr>
                  <a:spLocks noChangeArrowheads="1"/>
                </p:cNvSpPr>
                <p:nvPr/>
              </p:nvSpPr>
              <p:spPr bwMode="auto">
                <a:xfrm>
                  <a:off x="3727800" y="225389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62" name="Oval 189">
                  <a:extLst>
                    <a:ext uri="{FF2B5EF4-FFF2-40B4-BE49-F238E27FC236}">
                      <a16:creationId xmlns:a16="http://schemas.microsoft.com/office/drawing/2014/main" id="{7FC95DB5-5DB0-49B2-9F9B-7EF692B529B1}"/>
                    </a:ext>
                  </a:extLst>
                </p:cNvPr>
                <p:cNvSpPr>
                  <a:spLocks noChangeArrowheads="1"/>
                </p:cNvSpPr>
                <p:nvPr/>
              </p:nvSpPr>
              <p:spPr bwMode="auto">
                <a:xfrm>
                  <a:off x="3372555" y="1469666"/>
                  <a:ext cx="26336" cy="26336"/>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63" name="Oval 195">
                  <a:extLst>
                    <a:ext uri="{FF2B5EF4-FFF2-40B4-BE49-F238E27FC236}">
                      <a16:creationId xmlns:a16="http://schemas.microsoft.com/office/drawing/2014/main" id="{96E432DA-E913-4D92-9E2C-6BBA41D815A7}"/>
                    </a:ext>
                  </a:extLst>
                </p:cNvPr>
                <p:cNvSpPr>
                  <a:spLocks noChangeArrowheads="1"/>
                </p:cNvSpPr>
                <p:nvPr/>
              </p:nvSpPr>
              <p:spPr bwMode="auto">
                <a:xfrm>
                  <a:off x="3274818" y="1745903"/>
                  <a:ext cx="62036" cy="61451"/>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64" name="Oval 196">
                  <a:extLst>
                    <a:ext uri="{FF2B5EF4-FFF2-40B4-BE49-F238E27FC236}">
                      <a16:creationId xmlns:a16="http://schemas.microsoft.com/office/drawing/2014/main" id="{5F6CB2DD-9F19-4A0D-B990-78332CE36976}"/>
                    </a:ext>
                  </a:extLst>
                </p:cNvPr>
                <p:cNvSpPr>
                  <a:spLocks noChangeArrowheads="1"/>
                </p:cNvSpPr>
                <p:nvPr/>
              </p:nvSpPr>
              <p:spPr bwMode="auto">
                <a:xfrm>
                  <a:off x="3663423" y="1007319"/>
                  <a:ext cx="38041" cy="3745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sp>
              <p:nvSpPr>
                <p:cNvPr id="565" name="Oval 197">
                  <a:extLst>
                    <a:ext uri="{FF2B5EF4-FFF2-40B4-BE49-F238E27FC236}">
                      <a16:creationId xmlns:a16="http://schemas.microsoft.com/office/drawing/2014/main" id="{D193E27A-51AD-47D4-BF79-4147895D521F}"/>
                    </a:ext>
                  </a:extLst>
                </p:cNvPr>
                <p:cNvSpPr>
                  <a:spLocks noChangeArrowheads="1"/>
                </p:cNvSpPr>
                <p:nvPr/>
              </p:nvSpPr>
              <p:spPr bwMode="auto">
                <a:xfrm>
                  <a:off x="3727800" y="1007319"/>
                  <a:ext cx="38041" cy="37456"/>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IN" dirty="0"/>
                </a:p>
              </p:txBody>
            </p:sp>
          </p:grpSp>
          <p:sp>
            <p:nvSpPr>
              <p:cNvPr id="568" name="Freeform 134">
                <a:extLst>
                  <a:ext uri="{FF2B5EF4-FFF2-40B4-BE49-F238E27FC236}">
                    <a16:creationId xmlns:a16="http://schemas.microsoft.com/office/drawing/2014/main" id="{349EBEA2-2D32-48AA-A048-60F65358EF28}"/>
                  </a:ext>
                </a:extLst>
              </p:cNvPr>
              <p:cNvSpPr>
                <a:spLocks/>
              </p:cNvSpPr>
              <p:nvPr/>
            </p:nvSpPr>
            <p:spPr bwMode="auto">
              <a:xfrm>
                <a:off x="2520246" y="3108844"/>
                <a:ext cx="182880" cy="18288"/>
              </a:xfrm>
              <a:custGeom>
                <a:avLst/>
                <a:gdLst>
                  <a:gd name="T0" fmla="*/ 826 w 831"/>
                  <a:gd name="T1" fmla="*/ 0 h 11"/>
                  <a:gd name="T2" fmla="*/ 5 w 831"/>
                  <a:gd name="T3" fmla="*/ 0 h 11"/>
                  <a:gd name="T4" fmla="*/ 0 w 831"/>
                  <a:gd name="T5" fmla="*/ 5 h 11"/>
                  <a:gd name="T6" fmla="*/ 5 w 831"/>
                  <a:gd name="T7" fmla="*/ 11 h 11"/>
                  <a:gd name="T8" fmla="*/ 826 w 831"/>
                  <a:gd name="T9" fmla="*/ 11 h 11"/>
                  <a:gd name="T10" fmla="*/ 831 w 831"/>
                  <a:gd name="T11" fmla="*/ 5 h 11"/>
                  <a:gd name="T12" fmla="*/ 826 w 83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31" h="11">
                    <a:moveTo>
                      <a:pt x="826" y="0"/>
                    </a:moveTo>
                    <a:cubicBezTo>
                      <a:pt x="5" y="0"/>
                      <a:pt x="5" y="0"/>
                      <a:pt x="5" y="0"/>
                    </a:cubicBezTo>
                    <a:cubicBezTo>
                      <a:pt x="2" y="0"/>
                      <a:pt x="0" y="2"/>
                      <a:pt x="0" y="5"/>
                    </a:cubicBezTo>
                    <a:cubicBezTo>
                      <a:pt x="0" y="8"/>
                      <a:pt x="2" y="11"/>
                      <a:pt x="5" y="11"/>
                    </a:cubicBezTo>
                    <a:cubicBezTo>
                      <a:pt x="826" y="11"/>
                      <a:pt x="826" y="11"/>
                      <a:pt x="826" y="11"/>
                    </a:cubicBezTo>
                    <a:cubicBezTo>
                      <a:pt x="829" y="11"/>
                      <a:pt x="831" y="8"/>
                      <a:pt x="831" y="5"/>
                    </a:cubicBezTo>
                    <a:cubicBezTo>
                      <a:pt x="831" y="2"/>
                      <a:pt x="829" y="0"/>
                      <a:pt x="826"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grpSp>
        <p:nvGrpSpPr>
          <p:cNvPr id="7209" name="Group 7208">
            <a:extLst>
              <a:ext uri="{FF2B5EF4-FFF2-40B4-BE49-F238E27FC236}">
                <a16:creationId xmlns:a16="http://schemas.microsoft.com/office/drawing/2014/main" id="{2626B9D5-6E20-4AFE-A069-816382F2510C}"/>
              </a:ext>
            </a:extLst>
          </p:cNvPr>
          <p:cNvGrpSpPr/>
          <p:nvPr/>
        </p:nvGrpSpPr>
        <p:grpSpPr>
          <a:xfrm>
            <a:off x="4609940" y="2678342"/>
            <a:ext cx="695485" cy="650726"/>
            <a:chOff x="-1618561" y="429798"/>
            <a:chExt cx="664386" cy="621629"/>
          </a:xfrm>
        </p:grpSpPr>
        <p:sp>
          <p:nvSpPr>
            <p:cNvPr id="578" name="Rectangle 103">
              <a:extLst>
                <a:ext uri="{FF2B5EF4-FFF2-40B4-BE49-F238E27FC236}">
                  <a16:creationId xmlns:a16="http://schemas.microsoft.com/office/drawing/2014/main" id="{157A41B4-8B19-4B91-A677-20AD8109A3F3}"/>
                </a:ext>
              </a:extLst>
            </p:cNvPr>
            <p:cNvSpPr>
              <a:spLocks noChangeArrowheads="1"/>
            </p:cNvSpPr>
            <p:nvPr/>
          </p:nvSpPr>
          <p:spPr bwMode="auto">
            <a:xfrm>
              <a:off x="-1523179" y="521892"/>
              <a:ext cx="230233" cy="481845"/>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9" name="Freeform 104">
              <a:extLst>
                <a:ext uri="{FF2B5EF4-FFF2-40B4-BE49-F238E27FC236}">
                  <a16:creationId xmlns:a16="http://schemas.microsoft.com/office/drawing/2014/main" id="{77C32140-88C9-4B3A-9F1A-413C51308F74}"/>
                </a:ext>
              </a:extLst>
            </p:cNvPr>
            <p:cNvSpPr>
              <a:spLocks/>
            </p:cNvSpPr>
            <p:nvPr/>
          </p:nvSpPr>
          <p:spPr bwMode="auto">
            <a:xfrm>
              <a:off x="-1360371" y="706078"/>
              <a:ext cx="46047" cy="42758"/>
            </a:xfrm>
            <a:custGeom>
              <a:avLst/>
              <a:gdLst>
                <a:gd name="T0" fmla="*/ 0 w 20"/>
                <a:gd name="T1" fmla="*/ 19 h 19"/>
                <a:gd name="T2" fmla="*/ 20 w 20"/>
                <a:gd name="T3" fmla="*/ 19 h 19"/>
                <a:gd name="T4" fmla="*/ 20 w 20"/>
                <a:gd name="T5" fmla="*/ 0 h 19"/>
                <a:gd name="T6" fmla="*/ 0 w 20"/>
                <a:gd name="T7" fmla="*/ 19 h 19"/>
              </a:gdLst>
              <a:ahLst/>
              <a:cxnLst>
                <a:cxn ang="0">
                  <a:pos x="T0" y="T1"/>
                </a:cxn>
                <a:cxn ang="0">
                  <a:pos x="T2" y="T3"/>
                </a:cxn>
                <a:cxn ang="0">
                  <a:pos x="T4" y="T5"/>
                </a:cxn>
                <a:cxn ang="0">
                  <a:pos x="T6" y="T7"/>
                </a:cxn>
              </a:cxnLst>
              <a:rect l="0" t="0" r="r" b="b"/>
              <a:pathLst>
                <a:path w="20" h="19">
                  <a:moveTo>
                    <a:pt x="0" y="19"/>
                  </a:moveTo>
                  <a:cubicBezTo>
                    <a:pt x="20" y="19"/>
                    <a:pt x="20" y="19"/>
                    <a:pt x="20" y="19"/>
                  </a:cubicBezTo>
                  <a:cubicBezTo>
                    <a:pt x="20" y="0"/>
                    <a:pt x="20" y="0"/>
                    <a:pt x="20" y="0"/>
                  </a:cubicBezTo>
                  <a:cubicBezTo>
                    <a:pt x="15" y="8"/>
                    <a:pt x="8" y="14"/>
                    <a:pt x="0" y="19"/>
                  </a:cubicBezTo>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80" name="Freeform 105">
              <a:extLst>
                <a:ext uri="{FF2B5EF4-FFF2-40B4-BE49-F238E27FC236}">
                  <a16:creationId xmlns:a16="http://schemas.microsoft.com/office/drawing/2014/main" id="{45B4CD64-453C-4271-9221-8112D193F95F}"/>
                </a:ext>
              </a:extLst>
            </p:cNvPr>
            <p:cNvSpPr>
              <a:spLocks noEditPoints="1"/>
            </p:cNvSpPr>
            <p:nvPr/>
          </p:nvSpPr>
          <p:spPr bwMode="auto">
            <a:xfrm>
              <a:off x="-1500156" y="770214"/>
              <a:ext cx="185831" cy="54270"/>
            </a:xfrm>
            <a:custGeom>
              <a:avLst/>
              <a:gdLst>
                <a:gd name="T0" fmla="*/ 41 w 83"/>
                <a:gd name="T1" fmla="*/ 0 h 24"/>
                <a:gd name="T2" fmla="*/ 22 w 83"/>
                <a:gd name="T3" fmla="*/ 2 h 24"/>
                <a:gd name="T4" fmla="*/ 3 w 83"/>
                <a:gd name="T5" fmla="*/ 0 h 24"/>
                <a:gd name="T6" fmla="*/ 0 w 83"/>
                <a:gd name="T7" fmla="*/ 0 h 24"/>
                <a:gd name="T8" fmla="*/ 0 w 83"/>
                <a:gd name="T9" fmla="*/ 24 h 24"/>
                <a:gd name="T10" fmla="*/ 83 w 83"/>
                <a:gd name="T11" fmla="*/ 24 h 24"/>
                <a:gd name="T12" fmla="*/ 83 w 83"/>
                <a:gd name="T13" fmla="*/ 0 h 24"/>
                <a:gd name="T14" fmla="*/ 41 w 83"/>
                <a:gd name="T15" fmla="*/ 0 h 24"/>
                <a:gd name="T16" fmla="*/ 8 w 83"/>
                <a:gd name="T17" fmla="*/ 20 h 24"/>
                <a:gd name="T18" fmla="*/ 4 w 83"/>
                <a:gd name="T19" fmla="*/ 20 h 24"/>
                <a:gd name="T20" fmla="*/ 4 w 83"/>
                <a:gd name="T21" fmla="*/ 4 h 24"/>
                <a:gd name="T22" fmla="*/ 8 w 83"/>
                <a:gd name="T23" fmla="*/ 4 h 24"/>
                <a:gd name="T24" fmla="*/ 8 w 83"/>
                <a:gd name="T25" fmla="*/ 20 h 24"/>
                <a:gd name="T26" fmla="*/ 14 w 83"/>
                <a:gd name="T27" fmla="*/ 20 h 24"/>
                <a:gd name="T28" fmla="*/ 10 w 83"/>
                <a:gd name="T29" fmla="*/ 20 h 24"/>
                <a:gd name="T30" fmla="*/ 10 w 83"/>
                <a:gd name="T31" fmla="*/ 4 h 24"/>
                <a:gd name="T32" fmla="*/ 14 w 83"/>
                <a:gd name="T33" fmla="*/ 4 h 24"/>
                <a:gd name="T34" fmla="*/ 14 w 83"/>
                <a:gd name="T35" fmla="*/ 20 h 24"/>
                <a:gd name="T36" fmla="*/ 20 w 83"/>
                <a:gd name="T37" fmla="*/ 20 h 24"/>
                <a:gd name="T38" fmla="*/ 16 w 83"/>
                <a:gd name="T39" fmla="*/ 20 h 24"/>
                <a:gd name="T40" fmla="*/ 16 w 83"/>
                <a:gd name="T41" fmla="*/ 4 h 24"/>
                <a:gd name="T42" fmla="*/ 20 w 83"/>
                <a:gd name="T43" fmla="*/ 4 h 24"/>
                <a:gd name="T44" fmla="*/ 20 w 83"/>
                <a:gd name="T45" fmla="*/ 20 h 24"/>
                <a:gd name="T46" fmla="*/ 26 w 83"/>
                <a:gd name="T47" fmla="*/ 20 h 24"/>
                <a:gd name="T48" fmla="*/ 22 w 83"/>
                <a:gd name="T49" fmla="*/ 20 h 24"/>
                <a:gd name="T50" fmla="*/ 22 w 83"/>
                <a:gd name="T51" fmla="*/ 4 h 24"/>
                <a:gd name="T52" fmla="*/ 26 w 83"/>
                <a:gd name="T53" fmla="*/ 4 h 24"/>
                <a:gd name="T54" fmla="*/ 26 w 83"/>
                <a:gd name="T55"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24">
                  <a:moveTo>
                    <a:pt x="41" y="0"/>
                  </a:moveTo>
                  <a:cubicBezTo>
                    <a:pt x="35" y="2"/>
                    <a:pt x="29" y="2"/>
                    <a:pt x="22" y="2"/>
                  </a:cubicBezTo>
                  <a:cubicBezTo>
                    <a:pt x="16" y="2"/>
                    <a:pt x="9" y="2"/>
                    <a:pt x="3" y="0"/>
                  </a:cubicBezTo>
                  <a:cubicBezTo>
                    <a:pt x="0" y="0"/>
                    <a:pt x="0" y="0"/>
                    <a:pt x="0" y="0"/>
                  </a:cubicBezTo>
                  <a:cubicBezTo>
                    <a:pt x="0" y="24"/>
                    <a:pt x="0" y="24"/>
                    <a:pt x="0" y="24"/>
                  </a:cubicBezTo>
                  <a:cubicBezTo>
                    <a:pt x="83" y="24"/>
                    <a:pt x="83" y="24"/>
                    <a:pt x="83" y="24"/>
                  </a:cubicBezTo>
                  <a:cubicBezTo>
                    <a:pt x="83" y="0"/>
                    <a:pt x="83" y="0"/>
                    <a:pt x="83" y="0"/>
                  </a:cubicBezTo>
                  <a:lnTo>
                    <a:pt x="41" y="0"/>
                  </a:lnTo>
                  <a:close/>
                  <a:moveTo>
                    <a:pt x="8" y="20"/>
                  </a:moveTo>
                  <a:cubicBezTo>
                    <a:pt x="4" y="20"/>
                    <a:pt x="4" y="20"/>
                    <a:pt x="4" y="20"/>
                  </a:cubicBezTo>
                  <a:cubicBezTo>
                    <a:pt x="4" y="4"/>
                    <a:pt x="4" y="4"/>
                    <a:pt x="4" y="4"/>
                  </a:cubicBezTo>
                  <a:cubicBezTo>
                    <a:pt x="8" y="4"/>
                    <a:pt x="8" y="4"/>
                    <a:pt x="8" y="4"/>
                  </a:cubicBezTo>
                  <a:lnTo>
                    <a:pt x="8" y="20"/>
                  </a:lnTo>
                  <a:close/>
                  <a:moveTo>
                    <a:pt x="14" y="20"/>
                  </a:moveTo>
                  <a:cubicBezTo>
                    <a:pt x="10" y="20"/>
                    <a:pt x="10" y="20"/>
                    <a:pt x="10" y="20"/>
                  </a:cubicBezTo>
                  <a:cubicBezTo>
                    <a:pt x="10" y="4"/>
                    <a:pt x="10" y="4"/>
                    <a:pt x="10" y="4"/>
                  </a:cubicBezTo>
                  <a:cubicBezTo>
                    <a:pt x="14" y="4"/>
                    <a:pt x="14" y="4"/>
                    <a:pt x="14" y="4"/>
                  </a:cubicBezTo>
                  <a:lnTo>
                    <a:pt x="14" y="20"/>
                  </a:lnTo>
                  <a:close/>
                  <a:moveTo>
                    <a:pt x="20" y="20"/>
                  </a:moveTo>
                  <a:cubicBezTo>
                    <a:pt x="16" y="20"/>
                    <a:pt x="16" y="20"/>
                    <a:pt x="16" y="20"/>
                  </a:cubicBezTo>
                  <a:cubicBezTo>
                    <a:pt x="16" y="4"/>
                    <a:pt x="16" y="4"/>
                    <a:pt x="16" y="4"/>
                  </a:cubicBezTo>
                  <a:cubicBezTo>
                    <a:pt x="20" y="4"/>
                    <a:pt x="20" y="4"/>
                    <a:pt x="20" y="4"/>
                  </a:cubicBezTo>
                  <a:lnTo>
                    <a:pt x="20" y="20"/>
                  </a:lnTo>
                  <a:close/>
                  <a:moveTo>
                    <a:pt x="26" y="20"/>
                  </a:moveTo>
                  <a:cubicBezTo>
                    <a:pt x="22" y="20"/>
                    <a:pt x="22" y="20"/>
                    <a:pt x="22" y="20"/>
                  </a:cubicBezTo>
                  <a:cubicBezTo>
                    <a:pt x="22" y="4"/>
                    <a:pt x="22" y="4"/>
                    <a:pt x="22" y="4"/>
                  </a:cubicBezTo>
                  <a:cubicBezTo>
                    <a:pt x="26" y="4"/>
                    <a:pt x="26" y="4"/>
                    <a:pt x="26" y="4"/>
                  </a:cubicBezTo>
                  <a:lnTo>
                    <a:pt x="26" y="20"/>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81" name="Rectangle 106">
              <a:extLst>
                <a:ext uri="{FF2B5EF4-FFF2-40B4-BE49-F238E27FC236}">
                  <a16:creationId xmlns:a16="http://schemas.microsoft.com/office/drawing/2014/main" id="{CB864323-913E-4060-A79B-D296D6ABEFA6}"/>
                </a:ext>
              </a:extLst>
            </p:cNvPr>
            <p:cNvSpPr>
              <a:spLocks noChangeArrowheads="1"/>
            </p:cNvSpPr>
            <p:nvPr/>
          </p:nvSpPr>
          <p:spPr bwMode="auto">
            <a:xfrm>
              <a:off x="-1292946" y="521892"/>
              <a:ext cx="67426" cy="481845"/>
            </a:xfrm>
            <a:prstGeom prst="rect">
              <a:avLst/>
            </a:prstGeom>
            <a:solidFill>
              <a:srgbClr val="F78C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82" name="Oval 107">
              <a:extLst>
                <a:ext uri="{FF2B5EF4-FFF2-40B4-BE49-F238E27FC236}">
                  <a16:creationId xmlns:a16="http://schemas.microsoft.com/office/drawing/2014/main" id="{D5C81CF3-5A89-4659-B2EB-1240A01F7C9F}"/>
                </a:ext>
              </a:extLst>
            </p:cNvPr>
            <p:cNvSpPr>
              <a:spLocks noChangeArrowheads="1"/>
            </p:cNvSpPr>
            <p:nvPr/>
          </p:nvSpPr>
          <p:spPr bwMode="auto">
            <a:xfrm>
              <a:off x="-1355438" y="791593"/>
              <a:ext cx="11512" cy="98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83" name="Oval 108">
              <a:extLst>
                <a:ext uri="{FF2B5EF4-FFF2-40B4-BE49-F238E27FC236}">
                  <a16:creationId xmlns:a16="http://schemas.microsoft.com/office/drawing/2014/main" id="{12CB786E-6F65-4245-B9C7-9142AFA563CF}"/>
                </a:ext>
              </a:extLst>
            </p:cNvPr>
            <p:cNvSpPr>
              <a:spLocks noChangeArrowheads="1"/>
            </p:cNvSpPr>
            <p:nvPr/>
          </p:nvSpPr>
          <p:spPr bwMode="auto">
            <a:xfrm>
              <a:off x="-1335704" y="791593"/>
              <a:ext cx="11512" cy="9867"/>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84" name="Freeform 109">
              <a:extLst>
                <a:ext uri="{FF2B5EF4-FFF2-40B4-BE49-F238E27FC236}">
                  <a16:creationId xmlns:a16="http://schemas.microsoft.com/office/drawing/2014/main" id="{EDCBB292-9441-42F0-8131-CEB5A1DA896D}"/>
                </a:ext>
              </a:extLst>
            </p:cNvPr>
            <p:cNvSpPr>
              <a:spLocks noEditPoints="1"/>
            </p:cNvSpPr>
            <p:nvPr/>
          </p:nvSpPr>
          <p:spPr bwMode="auto">
            <a:xfrm>
              <a:off x="-1500156" y="844218"/>
              <a:ext cx="185831" cy="54270"/>
            </a:xfrm>
            <a:custGeom>
              <a:avLst/>
              <a:gdLst>
                <a:gd name="T0" fmla="*/ 0 w 113"/>
                <a:gd name="T1" fmla="*/ 33 h 33"/>
                <a:gd name="T2" fmla="*/ 113 w 113"/>
                <a:gd name="T3" fmla="*/ 33 h 33"/>
                <a:gd name="T4" fmla="*/ 113 w 113"/>
                <a:gd name="T5" fmla="*/ 0 h 33"/>
                <a:gd name="T6" fmla="*/ 0 w 113"/>
                <a:gd name="T7" fmla="*/ 0 h 33"/>
                <a:gd name="T8" fmla="*/ 0 w 113"/>
                <a:gd name="T9" fmla="*/ 33 h 33"/>
                <a:gd name="T10" fmla="*/ 11 w 113"/>
                <a:gd name="T11" fmla="*/ 29 h 33"/>
                <a:gd name="T12" fmla="*/ 5 w 113"/>
                <a:gd name="T13" fmla="*/ 29 h 33"/>
                <a:gd name="T14" fmla="*/ 5 w 113"/>
                <a:gd name="T15" fmla="*/ 6 h 33"/>
                <a:gd name="T16" fmla="*/ 11 w 113"/>
                <a:gd name="T17" fmla="*/ 6 h 33"/>
                <a:gd name="T18" fmla="*/ 11 w 113"/>
                <a:gd name="T19" fmla="*/ 29 h 33"/>
                <a:gd name="T20" fmla="*/ 19 w 113"/>
                <a:gd name="T21" fmla="*/ 29 h 33"/>
                <a:gd name="T22" fmla="*/ 13 w 113"/>
                <a:gd name="T23" fmla="*/ 29 h 33"/>
                <a:gd name="T24" fmla="*/ 13 w 113"/>
                <a:gd name="T25" fmla="*/ 6 h 33"/>
                <a:gd name="T26" fmla="*/ 19 w 113"/>
                <a:gd name="T27" fmla="*/ 6 h 33"/>
                <a:gd name="T28" fmla="*/ 19 w 113"/>
                <a:gd name="T29" fmla="*/ 29 h 33"/>
                <a:gd name="T30" fmla="*/ 27 w 113"/>
                <a:gd name="T31" fmla="*/ 29 h 33"/>
                <a:gd name="T32" fmla="*/ 22 w 113"/>
                <a:gd name="T33" fmla="*/ 29 h 33"/>
                <a:gd name="T34" fmla="*/ 22 w 113"/>
                <a:gd name="T35" fmla="*/ 6 h 33"/>
                <a:gd name="T36" fmla="*/ 27 w 113"/>
                <a:gd name="T37" fmla="*/ 6 h 33"/>
                <a:gd name="T38" fmla="*/ 27 w 113"/>
                <a:gd name="T39" fmla="*/ 29 h 33"/>
                <a:gd name="T40" fmla="*/ 35 w 113"/>
                <a:gd name="T41" fmla="*/ 29 h 33"/>
                <a:gd name="T42" fmla="*/ 30 w 113"/>
                <a:gd name="T43" fmla="*/ 29 h 33"/>
                <a:gd name="T44" fmla="*/ 30 w 113"/>
                <a:gd name="T45" fmla="*/ 6 h 33"/>
                <a:gd name="T46" fmla="*/ 35 w 113"/>
                <a:gd name="T47" fmla="*/ 6 h 33"/>
                <a:gd name="T48" fmla="*/ 35 w 113"/>
                <a:gd name="T49"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3">
                  <a:moveTo>
                    <a:pt x="0" y="33"/>
                  </a:moveTo>
                  <a:lnTo>
                    <a:pt x="113" y="33"/>
                  </a:lnTo>
                  <a:lnTo>
                    <a:pt x="113" y="0"/>
                  </a:lnTo>
                  <a:lnTo>
                    <a:pt x="0" y="0"/>
                  </a:lnTo>
                  <a:lnTo>
                    <a:pt x="0" y="33"/>
                  </a:lnTo>
                  <a:close/>
                  <a:moveTo>
                    <a:pt x="11" y="29"/>
                  </a:moveTo>
                  <a:lnTo>
                    <a:pt x="5" y="29"/>
                  </a:lnTo>
                  <a:lnTo>
                    <a:pt x="5" y="6"/>
                  </a:lnTo>
                  <a:lnTo>
                    <a:pt x="11" y="6"/>
                  </a:lnTo>
                  <a:lnTo>
                    <a:pt x="11" y="29"/>
                  </a:lnTo>
                  <a:close/>
                  <a:moveTo>
                    <a:pt x="19" y="29"/>
                  </a:moveTo>
                  <a:lnTo>
                    <a:pt x="13" y="29"/>
                  </a:lnTo>
                  <a:lnTo>
                    <a:pt x="13" y="6"/>
                  </a:lnTo>
                  <a:lnTo>
                    <a:pt x="19" y="6"/>
                  </a:lnTo>
                  <a:lnTo>
                    <a:pt x="19" y="29"/>
                  </a:lnTo>
                  <a:close/>
                  <a:moveTo>
                    <a:pt x="27" y="29"/>
                  </a:moveTo>
                  <a:lnTo>
                    <a:pt x="22" y="29"/>
                  </a:lnTo>
                  <a:lnTo>
                    <a:pt x="22" y="6"/>
                  </a:lnTo>
                  <a:lnTo>
                    <a:pt x="27" y="6"/>
                  </a:lnTo>
                  <a:lnTo>
                    <a:pt x="27" y="29"/>
                  </a:lnTo>
                  <a:close/>
                  <a:moveTo>
                    <a:pt x="35" y="29"/>
                  </a:moveTo>
                  <a:lnTo>
                    <a:pt x="30" y="29"/>
                  </a:lnTo>
                  <a:lnTo>
                    <a:pt x="30" y="6"/>
                  </a:lnTo>
                  <a:lnTo>
                    <a:pt x="35" y="6"/>
                  </a:lnTo>
                  <a:lnTo>
                    <a:pt x="35" y="29"/>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85" name="Oval 110">
              <a:extLst>
                <a:ext uri="{FF2B5EF4-FFF2-40B4-BE49-F238E27FC236}">
                  <a16:creationId xmlns:a16="http://schemas.microsoft.com/office/drawing/2014/main" id="{8DC0E402-9EA9-4FC9-BF1A-1FCC718C46DF}"/>
                </a:ext>
              </a:extLst>
            </p:cNvPr>
            <p:cNvSpPr>
              <a:spLocks noChangeArrowheads="1"/>
            </p:cNvSpPr>
            <p:nvPr/>
          </p:nvSpPr>
          <p:spPr bwMode="auto">
            <a:xfrm>
              <a:off x="-1355438" y="867241"/>
              <a:ext cx="11512"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86" name="Oval 111">
              <a:extLst>
                <a:ext uri="{FF2B5EF4-FFF2-40B4-BE49-F238E27FC236}">
                  <a16:creationId xmlns:a16="http://schemas.microsoft.com/office/drawing/2014/main" id="{3F845244-076B-4CA9-9BD6-F9E552CC333C}"/>
                </a:ext>
              </a:extLst>
            </p:cNvPr>
            <p:cNvSpPr>
              <a:spLocks noChangeArrowheads="1"/>
            </p:cNvSpPr>
            <p:nvPr/>
          </p:nvSpPr>
          <p:spPr bwMode="auto">
            <a:xfrm>
              <a:off x="-1335704" y="867241"/>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87" name="Freeform 112">
              <a:extLst>
                <a:ext uri="{FF2B5EF4-FFF2-40B4-BE49-F238E27FC236}">
                  <a16:creationId xmlns:a16="http://schemas.microsoft.com/office/drawing/2014/main" id="{DD851EDD-D9C2-47EA-A5B2-EF5E6C98F7DC}"/>
                </a:ext>
              </a:extLst>
            </p:cNvPr>
            <p:cNvSpPr>
              <a:spLocks noEditPoints="1"/>
            </p:cNvSpPr>
            <p:nvPr/>
          </p:nvSpPr>
          <p:spPr bwMode="auto">
            <a:xfrm>
              <a:off x="-1500156" y="921510"/>
              <a:ext cx="185831" cy="50981"/>
            </a:xfrm>
            <a:custGeom>
              <a:avLst/>
              <a:gdLst>
                <a:gd name="T0" fmla="*/ 0 w 113"/>
                <a:gd name="T1" fmla="*/ 31 h 31"/>
                <a:gd name="T2" fmla="*/ 113 w 113"/>
                <a:gd name="T3" fmla="*/ 31 h 31"/>
                <a:gd name="T4" fmla="*/ 113 w 113"/>
                <a:gd name="T5" fmla="*/ 0 h 31"/>
                <a:gd name="T6" fmla="*/ 0 w 113"/>
                <a:gd name="T7" fmla="*/ 0 h 31"/>
                <a:gd name="T8" fmla="*/ 0 w 113"/>
                <a:gd name="T9" fmla="*/ 31 h 31"/>
                <a:gd name="T10" fmla="*/ 11 w 113"/>
                <a:gd name="T11" fmla="*/ 27 h 31"/>
                <a:gd name="T12" fmla="*/ 5 w 113"/>
                <a:gd name="T13" fmla="*/ 27 h 31"/>
                <a:gd name="T14" fmla="*/ 5 w 113"/>
                <a:gd name="T15" fmla="*/ 4 h 31"/>
                <a:gd name="T16" fmla="*/ 11 w 113"/>
                <a:gd name="T17" fmla="*/ 4 h 31"/>
                <a:gd name="T18" fmla="*/ 11 w 113"/>
                <a:gd name="T19" fmla="*/ 27 h 31"/>
                <a:gd name="T20" fmla="*/ 19 w 113"/>
                <a:gd name="T21" fmla="*/ 27 h 31"/>
                <a:gd name="T22" fmla="*/ 13 w 113"/>
                <a:gd name="T23" fmla="*/ 27 h 31"/>
                <a:gd name="T24" fmla="*/ 13 w 113"/>
                <a:gd name="T25" fmla="*/ 4 h 31"/>
                <a:gd name="T26" fmla="*/ 19 w 113"/>
                <a:gd name="T27" fmla="*/ 4 h 31"/>
                <a:gd name="T28" fmla="*/ 19 w 113"/>
                <a:gd name="T29" fmla="*/ 27 h 31"/>
                <a:gd name="T30" fmla="*/ 27 w 113"/>
                <a:gd name="T31" fmla="*/ 27 h 31"/>
                <a:gd name="T32" fmla="*/ 22 w 113"/>
                <a:gd name="T33" fmla="*/ 27 h 31"/>
                <a:gd name="T34" fmla="*/ 22 w 113"/>
                <a:gd name="T35" fmla="*/ 4 h 31"/>
                <a:gd name="T36" fmla="*/ 27 w 113"/>
                <a:gd name="T37" fmla="*/ 4 h 31"/>
                <a:gd name="T38" fmla="*/ 27 w 113"/>
                <a:gd name="T39" fmla="*/ 27 h 31"/>
                <a:gd name="T40" fmla="*/ 35 w 113"/>
                <a:gd name="T41" fmla="*/ 27 h 31"/>
                <a:gd name="T42" fmla="*/ 30 w 113"/>
                <a:gd name="T43" fmla="*/ 27 h 31"/>
                <a:gd name="T44" fmla="*/ 30 w 113"/>
                <a:gd name="T45" fmla="*/ 4 h 31"/>
                <a:gd name="T46" fmla="*/ 35 w 113"/>
                <a:gd name="T47" fmla="*/ 4 h 31"/>
                <a:gd name="T48" fmla="*/ 35 w 113"/>
                <a:gd name="T49"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1">
                  <a:moveTo>
                    <a:pt x="0" y="31"/>
                  </a:moveTo>
                  <a:lnTo>
                    <a:pt x="113" y="31"/>
                  </a:lnTo>
                  <a:lnTo>
                    <a:pt x="113" y="0"/>
                  </a:lnTo>
                  <a:lnTo>
                    <a:pt x="0" y="0"/>
                  </a:lnTo>
                  <a:lnTo>
                    <a:pt x="0" y="31"/>
                  </a:lnTo>
                  <a:close/>
                  <a:moveTo>
                    <a:pt x="11" y="27"/>
                  </a:moveTo>
                  <a:lnTo>
                    <a:pt x="5" y="27"/>
                  </a:lnTo>
                  <a:lnTo>
                    <a:pt x="5" y="4"/>
                  </a:lnTo>
                  <a:lnTo>
                    <a:pt x="11" y="4"/>
                  </a:lnTo>
                  <a:lnTo>
                    <a:pt x="11" y="27"/>
                  </a:lnTo>
                  <a:close/>
                  <a:moveTo>
                    <a:pt x="19" y="27"/>
                  </a:moveTo>
                  <a:lnTo>
                    <a:pt x="13" y="27"/>
                  </a:lnTo>
                  <a:lnTo>
                    <a:pt x="13" y="4"/>
                  </a:lnTo>
                  <a:lnTo>
                    <a:pt x="19" y="4"/>
                  </a:lnTo>
                  <a:lnTo>
                    <a:pt x="19" y="27"/>
                  </a:lnTo>
                  <a:close/>
                  <a:moveTo>
                    <a:pt x="27" y="27"/>
                  </a:moveTo>
                  <a:lnTo>
                    <a:pt x="22" y="27"/>
                  </a:lnTo>
                  <a:lnTo>
                    <a:pt x="22" y="4"/>
                  </a:lnTo>
                  <a:lnTo>
                    <a:pt x="27" y="4"/>
                  </a:lnTo>
                  <a:lnTo>
                    <a:pt x="27" y="27"/>
                  </a:lnTo>
                  <a:close/>
                  <a:moveTo>
                    <a:pt x="35" y="27"/>
                  </a:moveTo>
                  <a:lnTo>
                    <a:pt x="30" y="27"/>
                  </a:lnTo>
                  <a:lnTo>
                    <a:pt x="30" y="4"/>
                  </a:lnTo>
                  <a:lnTo>
                    <a:pt x="35" y="4"/>
                  </a:lnTo>
                  <a:lnTo>
                    <a:pt x="35"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88" name="Oval 113">
              <a:extLst>
                <a:ext uri="{FF2B5EF4-FFF2-40B4-BE49-F238E27FC236}">
                  <a16:creationId xmlns:a16="http://schemas.microsoft.com/office/drawing/2014/main" id="{8E70143A-C5A1-4112-BE37-FBC622C0D8B0}"/>
                </a:ext>
              </a:extLst>
            </p:cNvPr>
            <p:cNvSpPr>
              <a:spLocks noChangeArrowheads="1"/>
            </p:cNvSpPr>
            <p:nvPr/>
          </p:nvSpPr>
          <p:spPr bwMode="auto">
            <a:xfrm>
              <a:off x="-1355438" y="941244"/>
              <a:ext cx="11512"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89" name="Oval 114">
              <a:extLst>
                <a:ext uri="{FF2B5EF4-FFF2-40B4-BE49-F238E27FC236}">
                  <a16:creationId xmlns:a16="http://schemas.microsoft.com/office/drawing/2014/main" id="{BBDB4C90-C2F6-424D-B633-BEA84BBF8D16}"/>
                </a:ext>
              </a:extLst>
            </p:cNvPr>
            <p:cNvSpPr>
              <a:spLocks noChangeArrowheads="1"/>
            </p:cNvSpPr>
            <p:nvPr/>
          </p:nvSpPr>
          <p:spPr bwMode="auto">
            <a:xfrm>
              <a:off x="-1335704" y="941244"/>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90" name="Rectangle 146">
              <a:extLst>
                <a:ext uri="{FF2B5EF4-FFF2-40B4-BE49-F238E27FC236}">
                  <a16:creationId xmlns:a16="http://schemas.microsoft.com/office/drawing/2014/main" id="{BDD48560-9A81-47AE-93F0-B0E876EFE78E}"/>
                </a:ext>
              </a:extLst>
            </p:cNvPr>
            <p:cNvSpPr>
              <a:spLocks noChangeArrowheads="1"/>
            </p:cNvSpPr>
            <p:nvPr/>
          </p:nvSpPr>
          <p:spPr bwMode="auto">
            <a:xfrm>
              <a:off x="-1250189" y="569582"/>
              <a:ext cx="230233" cy="481845"/>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91" name="Rectangle 147">
              <a:extLst>
                <a:ext uri="{FF2B5EF4-FFF2-40B4-BE49-F238E27FC236}">
                  <a16:creationId xmlns:a16="http://schemas.microsoft.com/office/drawing/2014/main" id="{CEF991EA-54A1-4DD4-A671-59CEF75BA2D9}"/>
                </a:ext>
              </a:extLst>
            </p:cNvPr>
            <p:cNvSpPr>
              <a:spLocks noChangeArrowheads="1"/>
            </p:cNvSpPr>
            <p:nvPr/>
          </p:nvSpPr>
          <p:spPr bwMode="auto">
            <a:xfrm>
              <a:off x="-1019956" y="569582"/>
              <a:ext cx="65781" cy="481845"/>
            </a:xfrm>
            <a:prstGeom prst="rect">
              <a:avLst/>
            </a:prstGeom>
            <a:solidFill>
              <a:srgbClr val="F78C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92" name="Freeform 148">
              <a:extLst>
                <a:ext uri="{FF2B5EF4-FFF2-40B4-BE49-F238E27FC236}">
                  <a16:creationId xmlns:a16="http://schemas.microsoft.com/office/drawing/2014/main" id="{65924310-BDF2-47E6-BD3E-61FC345BC7AE}"/>
                </a:ext>
              </a:extLst>
            </p:cNvPr>
            <p:cNvSpPr>
              <a:spLocks noEditPoints="1"/>
            </p:cNvSpPr>
            <p:nvPr/>
          </p:nvSpPr>
          <p:spPr bwMode="auto">
            <a:xfrm>
              <a:off x="-1228809" y="965912"/>
              <a:ext cx="185831" cy="52625"/>
            </a:xfrm>
            <a:custGeom>
              <a:avLst/>
              <a:gdLst>
                <a:gd name="T0" fmla="*/ 0 w 113"/>
                <a:gd name="T1" fmla="*/ 32 h 32"/>
                <a:gd name="T2" fmla="*/ 113 w 113"/>
                <a:gd name="T3" fmla="*/ 32 h 32"/>
                <a:gd name="T4" fmla="*/ 113 w 113"/>
                <a:gd name="T5" fmla="*/ 0 h 32"/>
                <a:gd name="T6" fmla="*/ 0 w 113"/>
                <a:gd name="T7" fmla="*/ 0 h 32"/>
                <a:gd name="T8" fmla="*/ 0 w 113"/>
                <a:gd name="T9" fmla="*/ 32 h 32"/>
                <a:gd name="T10" fmla="*/ 11 w 113"/>
                <a:gd name="T11" fmla="*/ 28 h 32"/>
                <a:gd name="T12" fmla="*/ 6 w 113"/>
                <a:gd name="T13" fmla="*/ 28 h 32"/>
                <a:gd name="T14" fmla="*/ 6 w 113"/>
                <a:gd name="T15" fmla="*/ 5 h 32"/>
                <a:gd name="T16" fmla="*/ 11 w 113"/>
                <a:gd name="T17" fmla="*/ 5 h 32"/>
                <a:gd name="T18" fmla="*/ 11 w 113"/>
                <a:gd name="T19" fmla="*/ 28 h 32"/>
                <a:gd name="T20" fmla="*/ 19 w 113"/>
                <a:gd name="T21" fmla="*/ 28 h 32"/>
                <a:gd name="T22" fmla="*/ 14 w 113"/>
                <a:gd name="T23" fmla="*/ 28 h 32"/>
                <a:gd name="T24" fmla="*/ 14 w 113"/>
                <a:gd name="T25" fmla="*/ 5 h 32"/>
                <a:gd name="T26" fmla="*/ 19 w 113"/>
                <a:gd name="T27" fmla="*/ 5 h 32"/>
                <a:gd name="T28" fmla="*/ 19 w 113"/>
                <a:gd name="T29" fmla="*/ 28 h 32"/>
                <a:gd name="T30" fmla="*/ 28 w 113"/>
                <a:gd name="T31" fmla="*/ 28 h 32"/>
                <a:gd name="T32" fmla="*/ 22 w 113"/>
                <a:gd name="T33" fmla="*/ 28 h 32"/>
                <a:gd name="T34" fmla="*/ 22 w 113"/>
                <a:gd name="T35" fmla="*/ 5 h 32"/>
                <a:gd name="T36" fmla="*/ 28 w 113"/>
                <a:gd name="T37" fmla="*/ 5 h 32"/>
                <a:gd name="T38" fmla="*/ 28 w 113"/>
                <a:gd name="T39" fmla="*/ 28 h 32"/>
                <a:gd name="T40" fmla="*/ 36 w 113"/>
                <a:gd name="T41" fmla="*/ 28 h 32"/>
                <a:gd name="T42" fmla="*/ 32 w 113"/>
                <a:gd name="T43" fmla="*/ 28 h 32"/>
                <a:gd name="T44" fmla="*/ 32 w 113"/>
                <a:gd name="T45" fmla="*/ 5 h 32"/>
                <a:gd name="T46" fmla="*/ 36 w 113"/>
                <a:gd name="T47" fmla="*/ 5 h 32"/>
                <a:gd name="T48" fmla="*/ 36 w 113"/>
                <a:gd name="T4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2">
                  <a:moveTo>
                    <a:pt x="0" y="32"/>
                  </a:moveTo>
                  <a:lnTo>
                    <a:pt x="113" y="32"/>
                  </a:lnTo>
                  <a:lnTo>
                    <a:pt x="113" y="0"/>
                  </a:lnTo>
                  <a:lnTo>
                    <a:pt x="0" y="0"/>
                  </a:lnTo>
                  <a:lnTo>
                    <a:pt x="0" y="32"/>
                  </a:lnTo>
                  <a:close/>
                  <a:moveTo>
                    <a:pt x="11" y="28"/>
                  </a:moveTo>
                  <a:lnTo>
                    <a:pt x="6" y="28"/>
                  </a:lnTo>
                  <a:lnTo>
                    <a:pt x="6" y="5"/>
                  </a:lnTo>
                  <a:lnTo>
                    <a:pt x="11" y="5"/>
                  </a:lnTo>
                  <a:lnTo>
                    <a:pt x="11" y="28"/>
                  </a:lnTo>
                  <a:close/>
                  <a:moveTo>
                    <a:pt x="19" y="28"/>
                  </a:moveTo>
                  <a:lnTo>
                    <a:pt x="14" y="28"/>
                  </a:lnTo>
                  <a:lnTo>
                    <a:pt x="14" y="5"/>
                  </a:lnTo>
                  <a:lnTo>
                    <a:pt x="19" y="5"/>
                  </a:lnTo>
                  <a:lnTo>
                    <a:pt x="19" y="28"/>
                  </a:lnTo>
                  <a:close/>
                  <a:moveTo>
                    <a:pt x="28" y="28"/>
                  </a:moveTo>
                  <a:lnTo>
                    <a:pt x="22" y="28"/>
                  </a:lnTo>
                  <a:lnTo>
                    <a:pt x="22" y="5"/>
                  </a:lnTo>
                  <a:lnTo>
                    <a:pt x="28" y="5"/>
                  </a:lnTo>
                  <a:lnTo>
                    <a:pt x="28" y="28"/>
                  </a:lnTo>
                  <a:close/>
                  <a:moveTo>
                    <a:pt x="36" y="28"/>
                  </a:moveTo>
                  <a:lnTo>
                    <a:pt x="32" y="28"/>
                  </a:lnTo>
                  <a:lnTo>
                    <a:pt x="32" y="5"/>
                  </a:lnTo>
                  <a:lnTo>
                    <a:pt x="36" y="5"/>
                  </a:lnTo>
                  <a:lnTo>
                    <a:pt x="36" y="28"/>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93" name="Oval 149">
              <a:extLst>
                <a:ext uri="{FF2B5EF4-FFF2-40B4-BE49-F238E27FC236}">
                  <a16:creationId xmlns:a16="http://schemas.microsoft.com/office/drawing/2014/main" id="{FF883CB9-C183-4939-A5B1-59D7639FF358}"/>
                </a:ext>
              </a:extLst>
            </p:cNvPr>
            <p:cNvSpPr>
              <a:spLocks noChangeArrowheads="1"/>
            </p:cNvSpPr>
            <p:nvPr/>
          </p:nvSpPr>
          <p:spPr bwMode="auto">
            <a:xfrm>
              <a:off x="-1082447" y="987290"/>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94" name="Oval 150">
              <a:extLst>
                <a:ext uri="{FF2B5EF4-FFF2-40B4-BE49-F238E27FC236}">
                  <a16:creationId xmlns:a16="http://schemas.microsoft.com/office/drawing/2014/main" id="{DE317CF5-4A6D-4929-BA60-55761B112147}"/>
                </a:ext>
              </a:extLst>
            </p:cNvPr>
            <p:cNvSpPr>
              <a:spLocks noChangeArrowheads="1"/>
            </p:cNvSpPr>
            <p:nvPr/>
          </p:nvSpPr>
          <p:spPr bwMode="auto">
            <a:xfrm>
              <a:off x="-1062713" y="987290"/>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95" name="Freeform 151">
              <a:extLst>
                <a:ext uri="{FF2B5EF4-FFF2-40B4-BE49-F238E27FC236}">
                  <a16:creationId xmlns:a16="http://schemas.microsoft.com/office/drawing/2014/main" id="{202F62E1-32B0-4633-846C-40AEC30A24E9}"/>
                </a:ext>
              </a:extLst>
            </p:cNvPr>
            <p:cNvSpPr>
              <a:spLocks noEditPoints="1"/>
            </p:cNvSpPr>
            <p:nvPr/>
          </p:nvSpPr>
          <p:spPr bwMode="auto">
            <a:xfrm>
              <a:off x="-1228809" y="891908"/>
              <a:ext cx="185831" cy="50981"/>
            </a:xfrm>
            <a:custGeom>
              <a:avLst/>
              <a:gdLst>
                <a:gd name="T0" fmla="*/ 0 w 113"/>
                <a:gd name="T1" fmla="*/ 31 h 31"/>
                <a:gd name="T2" fmla="*/ 113 w 113"/>
                <a:gd name="T3" fmla="*/ 31 h 31"/>
                <a:gd name="T4" fmla="*/ 113 w 113"/>
                <a:gd name="T5" fmla="*/ 0 h 31"/>
                <a:gd name="T6" fmla="*/ 0 w 113"/>
                <a:gd name="T7" fmla="*/ 0 h 31"/>
                <a:gd name="T8" fmla="*/ 0 w 113"/>
                <a:gd name="T9" fmla="*/ 31 h 31"/>
                <a:gd name="T10" fmla="*/ 11 w 113"/>
                <a:gd name="T11" fmla="*/ 27 h 31"/>
                <a:gd name="T12" fmla="*/ 6 w 113"/>
                <a:gd name="T13" fmla="*/ 27 h 31"/>
                <a:gd name="T14" fmla="*/ 6 w 113"/>
                <a:gd name="T15" fmla="*/ 4 h 31"/>
                <a:gd name="T16" fmla="*/ 11 w 113"/>
                <a:gd name="T17" fmla="*/ 4 h 31"/>
                <a:gd name="T18" fmla="*/ 11 w 113"/>
                <a:gd name="T19" fmla="*/ 27 h 31"/>
                <a:gd name="T20" fmla="*/ 19 w 113"/>
                <a:gd name="T21" fmla="*/ 27 h 31"/>
                <a:gd name="T22" fmla="*/ 14 w 113"/>
                <a:gd name="T23" fmla="*/ 27 h 31"/>
                <a:gd name="T24" fmla="*/ 14 w 113"/>
                <a:gd name="T25" fmla="*/ 4 h 31"/>
                <a:gd name="T26" fmla="*/ 19 w 113"/>
                <a:gd name="T27" fmla="*/ 4 h 31"/>
                <a:gd name="T28" fmla="*/ 19 w 113"/>
                <a:gd name="T29" fmla="*/ 27 h 31"/>
                <a:gd name="T30" fmla="*/ 28 w 113"/>
                <a:gd name="T31" fmla="*/ 27 h 31"/>
                <a:gd name="T32" fmla="*/ 22 w 113"/>
                <a:gd name="T33" fmla="*/ 27 h 31"/>
                <a:gd name="T34" fmla="*/ 22 w 113"/>
                <a:gd name="T35" fmla="*/ 4 h 31"/>
                <a:gd name="T36" fmla="*/ 28 w 113"/>
                <a:gd name="T37" fmla="*/ 4 h 31"/>
                <a:gd name="T38" fmla="*/ 28 w 113"/>
                <a:gd name="T39" fmla="*/ 27 h 31"/>
                <a:gd name="T40" fmla="*/ 36 w 113"/>
                <a:gd name="T41" fmla="*/ 27 h 31"/>
                <a:gd name="T42" fmla="*/ 32 w 113"/>
                <a:gd name="T43" fmla="*/ 27 h 31"/>
                <a:gd name="T44" fmla="*/ 32 w 113"/>
                <a:gd name="T45" fmla="*/ 4 h 31"/>
                <a:gd name="T46" fmla="*/ 36 w 113"/>
                <a:gd name="T47" fmla="*/ 4 h 31"/>
                <a:gd name="T48" fmla="*/ 36 w 113"/>
                <a:gd name="T49"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1">
                  <a:moveTo>
                    <a:pt x="0" y="31"/>
                  </a:moveTo>
                  <a:lnTo>
                    <a:pt x="113" y="31"/>
                  </a:lnTo>
                  <a:lnTo>
                    <a:pt x="113" y="0"/>
                  </a:lnTo>
                  <a:lnTo>
                    <a:pt x="0" y="0"/>
                  </a:lnTo>
                  <a:lnTo>
                    <a:pt x="0" y="31"/>
                  </a:lnTo>
                  <a:close/>
                  <a:moveTo>
                    <a:pt x="11" y="27"/>
                  </a:moveTo>
                  <a:lnTo>
                    <a:pt x="6" y="27"/>
                  </a:lnTo>
                  <a:lnTo>
                    <a:pt x="6" y="4"/>
                  </a:lnTo>
                  <a:lnTo>
                    <a:pt x="11" y="4"/>
                  </a:lnTo>
                  <a:lnTo>
                    <a:pt x="11" y="27"/>
                  </a:lnTo>
                  <a:close/>
                  <a:moveTo>
                    <a:pt x="19" y="27"/>
                  </a:moveTo>
                  <a:lnTo>
                    <a:pt x="14" y="27"/>
                  </a:lnTo>
                  <a:lnTo>
                    <a:pt x="14" y="4"/>
                  </a:lnTo>
                  <a:lnTo>
                    <a:pt x="19" y="4"/>
                  </a:lnTo>
                  <a:lnTo>
                    <a:pt x="19" y="27"/>
                  </a:lnTo>
                  <a:close/>
                  <a:moveTo>
                    <a:pt x="28" y="27"/>
                  </a:moveTo>
                  <a:lnTo>
                    <a:pt x="22" y="27"/>
                  </a:lnTo>
                  <a:lnTo>
                    <a:pt x="22" y="4"/>
                  </a:lnTo>
                  <a:lnTo>
                    <a:pt x="28" y="4"/>
                  </a:lnTo>
                  <a:lnTo>
                    <a:pt x="28" y="27"/>
                  </a:lnTo>
                  <a:close/>
                  <a:moveTo>
                    <a:pt x="36" y="27"/>
                  </a:moveTo>
                  <a:lnTo>
                    <a:pt x="32" y="27"/>
                  </a:lnTo>
                  <a:lnTo>
                    <a:pt x="32" y="4"/>
                  </a:lnTo>
                  <a:lnTo>
                    <a:pt x="36" y="4"/>
                  </a:lnTo>
                  <a:lnTo>
                    <a:pt x="36"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96" name="Oval 152">
              <a:extLst>
                <a:ext uri="{FF2B5EF4-FFF2-40B4-BE49-F238E27FC236}">
                  <a16:creationId xmlns:a16="http://schemas.microsoft.com/office/drawing/2014/main" id="{F87473D9-3296-4506-A5D9-EFEAADEB4BAE}"/>
                </a:ext>
              </a:extLst>
            </p:cNvPr>
            <p:cNvSpPr>
              <a:spLocks noChangeArrowheads="1"/>
            </p:cNvSpPr>
            <p:nvPr/>
          </p:nvSpPr>
          <p:spPr bwMode="auto">
            <a:xfrm>
              <a:off x="-1082447" y="911642"/>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97" name="Oval 153">
              <a:extLst>
                <a:ext uri="{FF2B5EF4-FFF2-40B4-BE49-F238E27FC236}">
                  <a16:creationId xmlns:a16="http://schemas.microsoft.com/office/drawing/2014/main" id="{CD33F7BE-8C6B-4B68-80D1-7CA442CA642F}"/>
                </a:ext>
              </a:extLst>
            </p:cNvPr>
            <p:cNvSpPr>
              <a:spLocks noChangeArrowheads="1"/>
            </p:cNvSpPr>
            <p:nvPr/>
          </p:nvSpPr>
          <p:spPr bwMode="auto">
            <a:xfrm>
              <a:off x="-1062713" y="911642"/>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98" name="Freeform 154">
              <a:extLst>
                <a:ext uri="{FF2B5EF4-FFF2-40B4-BE49-F238E27FC236}">
                  <a16:creationId xmlns:a16="http://schemas.microsoft.com/office/drawing/2014/main" id="{52A96704-5222-4F16-84AB-50B457E2C079}"/>
                </a:ext>
              </a:extLst>
            </p:cNvPr>
            <p:cNvSpPr>
              <a:spLocks noEditPoints="1"/>
            </p:cNvSpPr>
            <p:nvPr/>
          </p:nvSpPr>
          <p:spPr bwMode="auto">
            <a:xfrm>
              <a:off x="-1228809" y="816260"/>
              <a:ext cx="185831" cy="52625"/>
            </a:xfrm>
            <a:custGeom>
              <a:avLst/>
              <a:gdLst>
                <a:gd name="T0" fmla="*/ 0 w 113"/>
                <a:gd name="T1" fmla="*/ 32 h 32"/>
                <a:gd name="T2" fmla="*/ 113 w 113"/>
                <a:gd name="T3" fmla="*/ 32 h 32"/>
                <a:gd name="T4" fmla="*/ 113 w 113"/>
                <a:gd name="T5" fmla="*/ 0 h 32"/>
                <a:gd name="T6" fmla="*/ 0 w 113"/>
                <a:gd name="T7" fmla="*/ 0 h 32"/>
                <a:gd name="T8" fmla="*/ 0 w 113"/>
                <a:gd name="T9" fmla="*/ 32 h 32"/>
                <a:gd name="T10" fmla="*/ 11 w 113"/>
                <a:gd name="T11" fmla="*/ 27 h 32"/>
                <a:gd name="T12" fmla="*/ 6 w 113"/>
                <a:gd name="T13" fmla="*/ 27 h 32"/>
                <a:gd name="T14" fmla="*/ 6 w 113"/>
                <a:gd name="T15" fmla="*/ 5 h 32"/>
                <a:gd name="T16" fmla="*/ 11 w 113"/>
                <a:gd name="T17" fmla="*/ 5 h 32"/>
                <a:gd name="T18" fmla="*/ 11 w 113"/>
                <a:gd name="T19" fmla="*/ 27 h 32"/>
                <a:gd name="T20" fmla="*/ 19 w 113"/>
                <a:gd name="T21" fmla="*/ 27 h 32"/>
                <a:gd name="T22" fmla="*/ 14 w 113"/>
                <a:gd name="T23" fmla="*/ 27 h 32"/>
                <a:gd name="T24" fmla="*/ 14 w 113"/>
                <a:gd name="T25" fmla="*/ 5 h 32"/>
                <a:gd name="T26" fmla="*/ 19 w 113"/>
                <a:gd name="T27" fmla="*/ 5 h 32"/>
                <a:gd name="T28" fmla="*/ 19 w 113"/>
                <a:gd name="T29" fmla="*/ 27 h 32"/>
                <a:gd name="T30" fmla="*/ 28 w 113"/>
                <a:gd name="T31" fmla="*/ 27 h 32"/>
                <a:gd name="T32" fmla="*/ 22 w 113"/>
                <a:gd name="T33" fmla="*/ 27 h 32"/>
                <a:gd name="T34" fmla="*/ 22 w 113"/>
                <a:gd name="T35" fmla="*/ 5 h 32"/>
                <a:gd name="T36" fmla="*/ 28 w 113"/>
                <a:gd name="T37" fmla="*/ 5 h 32"/>
                <a:gd name="T38" fmla="*/ 28 w 113"/>
                <a:gd name="T39" fmla="*/ 27 h 32"/>
                <a:gd name="T40" fmla="*/ 36 w 113"/>
                <a:gd name="T41" fmla="*/ 27 h 32"/>
                <a:gd name="T42" fmla="*/ 32 w 113"/>
                <a:gd name="T43" fmla="*/ 27 h 32"/>
                <a:gd name="T44" fmla="*/ 32 w 113"/>
                <a:gd name="T45" fmla="*/ 5 h 32"/>
                <a:gd name="T46" fmla="*/ 36 w 113"/>
                <a:gd name="T47" fmla="*/ 5 h 32"/>
                <a:gd name="T48" fmla="*/ 36 w 113"/>
                <a:gd name="T49" fmla="*/ 2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2">
                  <a:moveTo>
                    <a:pt x="0" y="32"/>
                  </a:moveTo>
                  <a:lnTo>
                    <a:pt x="113" y="32"/>
                  </a:lnTo>
                  <a:lnTo>
                    <a:pt x="113" y="0"/>
                  </a:lnTo>
                  <a:lnTo>
                    <a:pt x="0" y="0"/>
                  </a:lnTo>
                  <a:lnTo>
                    <a:pt x="0" y="32"/>
                  </a:lnTo>
                  <a:close/>
                  <a:moveTo>
                    <a:pt x="11" y="27"/>
                  </a:moveTo>
                  <a:lnTo>
                    <a:pt x="6" y="27"/>
                  </a:lnTo>
                  <a:lnTo>
                    <a:pt x="6" y="5"/>
                  </a:lnTo>
                  <a:lnTo>
                    <a:pt x="11" y="5"/>
                  </a:lnTo>
                  <a:lnTo>
                    <a:pt x="11" y="27"/>
                  </a:lnTo>
                  <a:close/>
                  <a:moveTo>
                    <a:pt x="19" y="27"/>
                  </a:moveTo>
                  <a:lnTo>
                    <a:pt x="14" y="27"/>
                  </a:lnTo>
                  <a:lnTo>
                    <a:pt x="14" y="5"/>
                  </a:lnTo>
                  <a:lnTo>
                    <a:pt x="19" y="5"/>
                  </a:lnTo>
                  <a:lnTo>
                    <a:pt x="19" y="27"/>
                  </a:lnTo>
                  <a:close/>
                  <a:moveTo>
                    <a:pt x="28" y="27"/>
                  </a:moveTo>
                  <a:lnTo>
                    <a:pt x="22" y="27"/>
                  </a:lnTo>
                  <a:lnTo>
                    <a:pt x="22" y="5"/>
                  </a:lnTo>
                  <a:lnTo>
                    <a:pt x="28" y="5"/>
                  </a:lnTo>
                  <a:lnTo>
                    <a:pt x="28" y="27"/>
                  </a:lnTo>
                  <a:close/>
                  <a:moveTo>
                    <a:pt x="36" y="27"/>
                  </a:moveTo>
                  <a:lnTo>
                    <a:pt x="32" y="27"/>
                  </a:lnTo>
                  <a:lnTo>
                    <a:pt x="32" y="5"/>
                  </a:lnTo>
                  <a:lnTo>
                    <a:pt x="36" y="5"/>
                  </a:lnTo>
                  <a:lnTo>
                    <a:pt x="36"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99" name="Oval 155">
              <a:extLst>
                <a:ext uri="{FF2B5EF4-FFF2-40B4-BE49-F238E27FC236}">
                  <a16:creationId xmlns:a16="http://schemas.microsoft.com/office/drawing/2014/main" id="{5A8373CC-5479-4A8E-9288-D3D70C1EBA8B}"/>
                </a:ext>
              </a:extLst>
            </p:cNvPr>
            <p:cNvSpPr>
              <a:spLocks noChangeArrowheads="1"/>
            </p:cNvSpPr>
            <p:nvPr/>
          </p:nvSpPr>
          <p:spPr bwMode="auto">
            <a:xfrm>
              <a:off x="-1082447" y="835994"/>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00" name="Oval 156">
              <a:extLst>
                <a:ext uri="{FF2B5EF4-FFF2-40B4-BE49-F238E27FC236}">
                  <a16:creationId xmlns:a16="http://schemas.microsoft.com/office/drawing/2014/main" id="{37D3A53E-E637-4C81-BFAA-1BEC30E04E85}"/>
                </a:ext>
              </a:extLst>
            </p:cNvPr>
            <p:cNvSpPr>
              <a:spLocks noChangeArrowheads="1"/>
            </p:cNvSpPr>
            <p:nvPr/>
          </p:nvSpPr>
          <p:spPr bwMode="auto">
            <a:xfrm>
              <a:off x="-1062713" y="835994"/>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01" name="Freeform 157">
              <a:extLst>
                <a:ext uri="{FF2B5EF4-FFF2-40B4-BE49-F238E27FC236}">
                  <a16:creationId xmlns:a16="http://schemas.microsoft.com/office/drawing/2014/main" id="{17A48110-C211-45EC-9BCE-2BBC12218568}"/>
                </a:ext>
              </a:extLst>
            </p:cNvPr>
            <p:cNvSpPr>
              <a:spLocks noEditPoints="1"/>
            </p:cNvSpPr>
            <p:nvPr/>
          </p:nvSpPr>
          <p:spPr bwMode="auto">
            <a:xfrm>
              <a:off x="-1228809" y="738968"/>
              <a:ext cx="185831" cy="54270"/>
            </a:xfrm>
            <a:custGeom>
              <a:avLst/>
              <a:gdLst>
                <a:gd name="T0" fmla="*/ 0 w 113"/>
                <a:gd name="T1" fmla="*/ 33 h 33"/>
                <a:gd name="T2" fmla="*/ 113 w 113"/>
                <a:gd name="T3" fmla="*/ 33 h 33"/>
                <a:gd name="T4" fmla="*/ 113 w 113"/>
                <a:gd name="T5" fmla="*/ 0 h 33"/>
                <a:gd name="T6" fmla="*/ 0 w 113"/>
                <a:gd name="T7" fmla="*/ 0 h 33"/>
                <a:gd name="T8" fmla="*/ 0 w 113"/>
                <a:gd name="T9" fmla="*/ 33 h 33"/>
                <a:gd name="T10" fmla="*/ 11 w 113"/>
                <a:gd name="T11" fmla="*/ 29 h 33"/>
                <a:gd name="T12" fmla="*/ 6 w 113"/>
                <a:gd name="T13" fmla="*/ 29 h 33"/>
                <a:gd name="T14" fmla="*/ 6 w 113"/>
                <a:gd name="T15" fmla="*/ 6 h 33"/>
                <a:gd name="T16" fmla="*/ 11 w 113"/>
                <a:gd name="T17" fmla="*/ 6 h 33"/>
                <a:gd name="T18" fmla="*/ 11 w 113"/>
                <a:gd name="T19" fmla="*/ 29 h 33"/>
                <a:gd name="T20" fmla="*/ 19 w 113"/>
                <a:gd name="T21" fmla="*/ 29 h 33"/>
                <a:gd name="T22" fmla="*/ 14 w 113"/>
                <a:gd name="T23" fmla="*/ 29 h 33"/>
                <a:gd name="T24" fmla="*/ 14 w 113"/>
                <a:gd name="T25" fmla="*/ 6 h 33"/>
                <a:gd name="T26" fmla="*/ 19 w 113"/>
                <a:gd name="T27" fmla="*/ 6 h 33"/>
                <a:gd name="T28" fmla="*/ 19 w 113"/>
                <a:gd name="T29" fmla="*/ 29 h 33"/>
                <a:gd name="T30" fmla="*/ 28 w 113"/>
                <a:gd name="T31" fmla="*/ 29 h 33"/>
                <a:gd name="T32" fmla="*/ 22 w 113"/>
                <a:gd name="T33" fmla="*/ 29 h 33"/>
                <a:gd name="T34" fmla="*/ 22 w 113"/>
                <a:gd name="T35" fmla="*/ 6 h 33"/>
                <a:gd name="T36" fmla="*/ 28 w 113"/>
                <a:gd name="T37" fmla="*/ 6 h 33"/>
                <a:gd name="T38" fmla="*/ 28 w 113"/>
                <a:gd name="T39" fmla="*/ 29 h 33"/>
                <a:gd name="T40" fmla="*/ 36 w 113"/>
                <a:gd name="T41" fmla="*/ 29 h 33"/>
                <a:gd name="T42" fmla="*/ 32 w 113"/>
                <a:gd name="T43" fmla="*/ 29 h 33"/>
                <a:gd name="T44" fmla="*/ 32 w 113"/>
                <a:gd name="T45" fmla="*/ 6 h 33"/>
                <a:gd name="T46" fmla="*/ 36 w 113"/>
                <a:gd name="T47" fmla="*/ 6 h 33"/>
                <a:gd name="T48" fmla="*/ 36 w 113"/>
                <a:gd name="T49"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3">
                  <a:moveTo>
                    <a:pt x="0" y="33"/>
                  </a:moveTo>
                  <a:lnTo>
                    <a:pt x="113" y="33"/>
                  </a:lnTo>
                  <a:lnTo>
                    <a:pt x="113" y="0"/>
                  </a:lnTo>
                  <a:lnTo>
                    <a:pt x="0" y="0"/>
                  </a:lnTo>
                  <a:lnTo>
                    <a:pt x="0" y="33"/>
                  </a:lnTo>
                  <a:close/>
                  <a:moveTo>
                    <a:pt x="11" y="29"/>
                  </a:moveTo>
                  <a:lnTo>
                    <a:pt x="6" y="29"/>
                  </a:lnTo>
                  <a:lnTo>
                    <a:pt x="6" y="6"/>
                  </a:lnTo>
                  <a:lnTo>
                    <a:pt x="11" y="6"/>
                  </a:lnTo>
                  <a:lnTo>
                    <a:pt x="11" y="29"/>
                  </a:lnTo>
                  <a:close/>
                  <a:moveTo>
                    <a:pt x="19" y="29"/>
                  </a:moveTo>
                  <a:lnTo>
                    <a:pt x="14" y="29"/>
                  </a:lnTo>
                  <a:lnTo>
                    <a:pt x="14" y="6"/>
                  </a:lnTo>
                  <a:lnTo>
                    <a:pt x="19" y="6"/>
                  </a:lnTo>
                  <a:lnTo>
                    <a:pt x="19" y="29"/>
                  </a:lnTo>
                  <a:close/>
                  <a:moveTo>
                    <a:pt x="28" y="29"/>
                  </a:moveTo>
                  <a:lnTo>
                    <a:pt x="22" y="29"/>
                  </a:lnTo>
                  <a:lnTo>
                    <a:pt x="22" y="6"/>
                  </a:lnTo>
                  <a:lnTo>
                    <a:pt x="28" y="6"/>
                  </a:lnTo>
                  <a:lnTo>
                    <a:pt x="28" y="29"/>
                  </a:lnTo>
                  <a:close/>
                  <a:moveTo>
                    <a:pt x="36" y="29"/>
                  </a:moveTo>
                  <a:lnTo>
                    <a:pt x="32" y="29"/>
                  </a:lnTo>
                  <a:lnTo>
                    <a:pt x="32" y="6"/>
                  </a:lnTo>
                  <a:lnTo>
                    <a:pt x="36" y="6"/>
                  </a:lnTo>
                  <a:lnTo>
                    <a:pt x="36" y="29"/>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02" name="Oval 158">
              <a:extLst>
                <a:ext uri="{FF2B5EF4-FFF2-40B4-BE49-F238E27FC236}">
                  <a16:creationId xmlns:a16="http://schemas.microsoft.com/office/drawing/2014/main" id="{332B12C4-4FFE-4353-8C8E-64340AE26F6D}"/>
                </a:ext>
              </a:extLst>
            </p:cNvPr>
            <p:cNvSpPr>
              <a:spLocks noChangeArrowheads="1"/>
            </p:cNvSpPr>
            <p:nvPr/>
          </p:nvSpPr>
          <p:spPr bwMode="auto">
            <a:xfrm>
              <a:off x="-1082447" y="761992"/>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03" name="Oval 159">
              <a:extLst>
                <a:ext uri="{FF2B5EF4-FFF2-40B4-BE49-F238E27FC236}">
                  <a16:creationId xmlns:a16="http://schemas.microsoft.com/office/drawing/2014/main" id="{92AA0751-BCB3-4BD3-AB54-8EF646E94C33}"/>
                </a:ext>
              </a:extLst>
            </p:cNvPr>
            <p:cNvSpPr>
              <a:spLocks noChangeArrowheads="1"/>
            </p:cNvSpPr>
            <p:nvPr/>
          </p:nvSpPr>
          <p:spPr bwMode="auto">
            <a:xfrm>
              <a:off x="-1062713" y="761992"/>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04" name="Freeform 160">
              <a:extLst>
                <a:ext uri="{FF2B5EF4-FFF2-40B4-BE49-F238E27FC236}">
                  <a16:creationId xmlns:a16="http://schemas.microsoft.com/office/drawing/2014/main" id="{7AB9A380-0F60-4F20-BEF7-832E92BB507E}"/>
                </a:ext>
              </a:extLst>
            </p:cNvPr>
            <p:cNvSpPr>
              <a:spLocks noEditPoints="1"/>
            </p:cNvSpPr>
            <p:nvPr/>
          </p:nvSpPr>
          <p:spPr bwMode="auto">
            <a:xfrm>
              <a:off x="-1228809" y="664964"/>
              <a:ext cx="185831" cy="52625"/>
            </a:xfrm>
            <a:custGeom>
              <a:avLst/>
              <a:gdLst>
                <a:gd name="T0" fmla="*/ 0 w 113"/>
                <a:gd name="T1" fmla="*/ 32 h 32"/>
                <a:gd name="T2" fmla="*/ 113 w 113"/>
                <a:gd name="T3" fmla="*/ 32 h 32"/>
                <a:gd name="T4" fmla="*/ 113 w 113"/>
                <a:gd name="T5" fmla="*/ 0 h 32"/>
                <a:gd name="T6" fmla="*/ 0 w 113"/>
                <a:gd name="T7" fmla="*/ 0 h 32"/>
                <a:gd name="T8" fmla="*/ 0 w 113"/>
                <a:gd name="T9" fmla="*/ 32 h 32"/>
                <a:gd name="T10" fmla="*/ 11 w 113"/>
                <a:gd name="T11" fmla="*/ 28 h 32"/>
                <a:gd name="T12" fmla="*/ 6 w 113"/>
                <a:gd name="T13" fmla="*/ 28 h 32"/>
                <a:gd name="T14" fmla="*/ 6 w 113"/>
                <a:gd name="T15" fmla="*/ 4 h 32"/>
                <a:gd name="T16" fmla="*/ 11 w 113"/>
                <a:gd name="T17" fmla="*/ 4 h 32"/>
                <a:gd name="T18" fmla="*/ 11 w 113"/>
                <a:gd name="T19" fmla="*/ 28 h 32"/>
                <a:gd name="T20" fmla="*/ 19 w 113"/>
                <a:gd name="T21" fmla="*/ 28 h 32"/>
                <a:gd name="T22" fmla="*/ 14 w 113"/>
                <a:gd name="T23" fmla="*/ 28 h 32"/>
                <a:gd name="T24" fmla="*/ 14 w 113"/>
                <a:gd name="T25" fmla="*/ 4 h 32"/>
                <a:gd name="T26" fmla="*/ 19 w 113"/>
                <a:gd name="T27" fmla="*/ 4 h 32"/>
                <a:gd name="T28" fmla="*/ 19 w 113"/>
                <a:gd name="T29" fmla="*/ 28 h 32"/>
                <a:gd name="T30" fmla="*/ 28 w 113"/>
                <a:gd name="T31" fmla="*/ 28 h 32"/>
                <a:gd name="T32" fmla="*/ 22 w 113"/>
                <a:gd name="T33" fmla="*/ 28 h 32"/>
                <a:gd name="T34" fmla="*/ 22 w 113"/>
                <a:gd name="T35" fmla="*/ 4 h 32"/>
                <a:gd name="T36" fmla="*/ 28 w 113"/>
                <a:gd name="T37" fmla="*/ 4 h 32"/>
                <a:gd name="T38" fmla="*/ 28 w 113"/>
                <a:gd name="T39" fmla="*/ 28 h 32"/>
                <a:gd name="T40" fmla="*/ 36 w 113"/>
                <a:gd name="T41" fmla="*/ 28 h 32"/>
                <a:gd name="T42" fmla="*/ 32 w 113"/>
                <a:gd name="T43" fmla="*/ 28 h 32"/>
                <a:gd name="T44" fmla="*/ 32 w 113"/>
                <a:gd name="T45" fmla="*/ 4 h 32"/>
                <a:gd name="T46" fmla="*/ 36 w 113"/>
                <a:gd name="T47" fmla="*/ 4 h 32"/>
                <a:gd name="T48" fmla="*/ 36 w 113"/>
                <a:gd name="T4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2">
                  <a:moveTo>
                    <a:pt x="0" y="32"/>
                  </a:moveTo>
                  <a:lnTo>
                    <a:pt x="113" y="32"/>
                  </a:lnTo>
                  <a:lnTo>
                    <a:pt x="113" y="0"/>
                  </a:lnTo>
                  <a:lnTo>
                    <a:pt x="0" y="0"/>
                  </a:lnTo>
                  <a:lnTo>
                    <a:pt x="0" y="32"/>
                  </a:lnTo>
                  <a:close/>
                  <a:moveTo>
                    <a:pt x="11" y="28"/>
                  </a:moveTo>
                  <a:lnTo>
                    <a:pt x="6" y="28"/>
                  </a:lnTo>
                  <a:lnTo>
                    <a:pt x="6" y="4"/>
                  </a:lnTo>
                  <a:lnTo>
                    <a:pt x="11" y="4"/>
                  </a:lnTo>
                  <a:lnTo>
                    <a:pt x="11" y="28"/>
                  </a:lnTo>
                  <a:close/>
                  <a:moveTo>
                    <a:pt x="19" y="28"/>
                  </a:moveTo>
                  <a:lnTo>
                    <a:pt x="14" y="28"/>
                  </a:lnTo>
                  <a:lnTo>
                    <a:pt x="14" y="4"/>
                  </a:lnTo>
                  <a:lnTo>
                    <a:pt x="19" y="4"/>
                  </a:lnTo>
                  <a:lnTo>
                    <a:pt x="19" y="28"/>
                  </a:lnTo>
                  <a:close/>
                  <a:moveTo>
                    <a:pt x="28" y="28"/>
                  </a:moveTo>
                  <a:lnTo>
                    <a:pt x="22" y="28"/>
                  </a:lnTo>
                  <a:lnTo>
                    <a:pt x="22" y="4"/>
                  </a:lnTo>
                  <a:lnTo>
                    <a:pt x="28" y="4"/>
                  </a:lnTo>
                  <a:lnTo>
                    <a:pt x="28" y="28"/>
                  </a:lnTo>
                  <a:close/>
                  <a:moveTo>
                    <a:pt x="36" y="28"/>
                  </a:moveTo>
                  <a:lnTo>
                    <a:pt x="32" y="28"/>
                  </a:lnTo>
                  <a:lnTo>
                    <a:pt x="32" y="4"/>
                  </a:lnTo>
                  <a:lnTo>
                    <a:pt x="36" y="4"/>
                  </a:lnTo>
                  <a:lnTo>
                    <a:pt x="36" y="28"/>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05" name="Oval 161">
              <a:extLst>
                <a:ext uri="{FF2B5EF4-FFF2-40B4-BE49-F238E27FC236}">
                  <a16:creationId xmlns:a16="http://schemas.microsoft.com/office/drawing/2014/main" id="{B9352C13-65BC-46C4-A556-2CAE8A0022E0}"/>
                </a:ext>
              </a:extLst>
            </p:cNvPr>
            <p:cNvSpPr>
              <a:spLocks noChangeArrowheads="1"/>
            </p:cNvSpPr>
            <p:nvPr/>
          </p:nvSpPr>
          <p:spPr bwMode="auto">
            <a:xfrm>
              <a:off x="-1082447" y="686344"/>
              <a:ext cx="9867" cy="98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06" name="Oval 162">
              <a:extLst>
                <a:ext uri="{FF2B5EF4-FFF2-40B4-BE49-F238E27FC236}">
                  <a16:creationId xmlns:a16="http://schemas.microsoft.com/office/drawing/2014/main" id="{D02D3BC2-406C-4555-AB27-5D5956B700BF}"/>
                </a:ext>
              </a:extLst>
            </p:cNvPr>
            <p:cNvSpPr>
              <a:spLocks noChangeArrowheads="1"/>
            </p:cNvSpPr>
            <p:nvPr/>
          </p:nvSpPr>
          <p:spPr bwMode="auto">
            <a:xfrm>
              <a:off x="-1062713" y="686344"/>
              <a:ext cx="11512" cy="9867"/>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07" name="Freeform 163">
              <a:extLst>
                <a:ext uri="{FF2B5EF4-FFF2-40B4-BE49-F238E27FC236}">
                  <a16:creationId xmlns:a16="http://schemas.microsoft.com/office/drawing/2014/main" id="{057D5D07-1396-4F31-A869-F7FFB687AF61}"/>
                </a:ext>
              </a:extLst>
            </p:cNvPr>
            <p:cNvSpPr>
              <a:spLocks noEditPoints="1"/>
            </p:cNvSpPr>
            <p:nvPr/>
          </p:nvSpPr>
          <p:spPr bwMode="auto">
            <a:xfrm>
              <a:off x="-1228809" y="589316"/>
              <a:ext cx="185831" cy="54270"/>
            </a:xfrm>
            <a:custGeom>
              <a:avLst/>
              <a:gdLst>
                <a:gd name="T0" fmla="*/ 0 w 113"/>
                <a:gd name="T1" fmla="*/ 33 h 33"/>
                <a:gd name="T2" fmla="*/ 113 w 113"/>
                <a:gd name="T3" fmla="*/ 33 h 33"/>
                <a:gd name="T4" fmla="*/ 113 w 113"/>
                <a:gd name="T5" fmla="*/ 0 h 33"/>
                <a:gd name="T6" fmla="*/ 0 w 113"/>
                <a:gd name="T7" fmla="*/ 0 h 33"/>
                <a:gd name="T8" fmla="*/ 0 w 113"/>
                <a:gd name="T9" fmla="*/ 33 h 33"/>
                <a:gd name="T10" fmla="*/ 11 w 113"/>
                <a:gd name="T11" fmla="*/ 27 h 33"/>
                <a:gd name="T12" fmla="*/ 6 w 113"/>
                <a:gd name="T13" fmla="*/ 27 h 33"/>
                <a:gd name="T14" fmla="*/ 6 w 113"/>
                <a:gd name="T15" fmla="*/ 6 h 33"/>
                <a:gd name="T16" fmla="*/ 11 w 113"/>
                <a:gd name="T17" fmla="*/ 6 h 33"/>
                <a:gd name="T18" fmla="*/ 11 w 113"/>
                <a:gd name="T19" fmla="*/ 27 h 33"/>
                <a:gd name="T20" fmla="*/ 19 w 113"/>
                <a:gd name="T21" fmla="*/ 27 h 33"/>
                <a:gd name="T22" fmla="*/ 14 w 113"/>
                <a:gd name="T23" fmla="*/ 27 h 33"/>
                <a:gd name="T24" fmla="*/ 14 w 113"/>
                <a:gd name="T25" fmla="*/ 6 h 33"/>
                <a:gd name="T26" fmla="*/ 19 w 113"/>
                <a:gd name="T27" fmla="*/ 6 h 33"/>
                <a:gd name="T28" fmla="*/ 19 w 113"/>
                <a:gd name="T29" fmla="*/ 27 h 33"/>
                <a:gd name="T30" fmla="*/ 28 w 113"/>
                <a:gd name="T31" fmla="*/ 27 h 33"/>
                <a:gd name="T32" fmla="*/ 22 w 113"/>
                <a:gd name="T33" fmla="*/ 27 h 33"/>
                <a:gd name="T34" fmla="*/ 22 w 113"/>
                <a:gd name="T35" fmla="*/ 6 h 33"/>
                <a:gd name="T36" fmla="*/ 28 w 113"/>
                <a:gd name="T37" fmla="*/ 6 h 33"/>
                <a:gd name="T38" fmla="*/ 28 w 113"/>
                <a:gd name="T39" fmla="*/ 27 h 33"/>
                <a:gd name="T40" fmla="*/ 36 w 113"/>
                <a:gd name="T41" fmla="*/ 27 h 33"/>
                <a:gd name="T42" fmla="*/ 32 w 113"/>
                <a:gd name="T43" fmla="*/ 27 h 33"/>
                <a:gd name="T44" fmla="*/ 32 w 113"/>
                <a:gd name="T45" fmla="*/ 6 h 33"/>
                <a:gd name="T46" fmla="*/ 36 w 113"/>
                <a:gd name="T47" fmla="*/ 6 h 33"/>
                <a:gd name="T48" fmla="*/ 36 w 113"/>
                <a:gd name="T49"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3">
                  <a:moveTo>
                    <a:pt x="0" y="33"/>
                  </a:moveTo>
                  <a:lnTo>
                    <a:pt x="113" y="33"/>
                  </a:lnTo>
                  <a:lnTo>
                    <a:pt x="113" y="0"/>
                  </a:lnTo>
                  <a:lnTo>
                    <a:pt x="0" y="0"/>
                  </a:lnTo>
                  <a:lnTo>
                    <a:pt x="0" y="33"/>
                  </a:lnTo>
                  <a:close/>
                  <a:moveTo>
                    <a:pt x="11" y="27"/>
                  </a:moveTo>
                  <a:lnTo>
                    <a:pt x="6" y="27"/>
                  </a:lnTo>
                  <a:lnTo>
                    <a:pt x="6" y="6"/>
                  </a:lnTo>
                  <a:lnTo>
                    <a:pt x="11" y="6"/>
                  </a:lnTo>
                  <a:lnTo>
                    <a:pt x="11" y="27"/>
                  </a:lnTo>
                  <a:close/>
                  <a:moveTo>
                    <a:pt x="19" y="27"/>
                  </a:moveTo>
                  <a:lnTo>
                    <a:pt x="14" y="27"/>
                  </a:lnTo>
                  <a:lnTo>
                    <a:pt x="14" y="6"/>
                  </a:lnTo>
                  <a:lnTo>
                    <a:pt x="19" y="6"/>
                  </a:lnTo>
                  <a:lnTo>
                    <a:pt x="19" y="27"/>
                  </a:lnTo>
                  <a:close/>
                  <a:moveTo>
                    <a:pt x="28" y="27"/>
                  </a:moveTo>
                  <a:lnTo>
                    <a:pt x="22" y="27"/>
                  </a:lnTo>
                  <a:lnTo>
                    <a:pt x="22" y="6"/>
                  </a:lnTo>
                  <a:lnTo>
                    <a:pt x="28" y="6"/>
                  </a:lnTo>
                  <a:lnTo>
                    <a:pt x="28" y="27"/>
                  </a:lnTo>
                  <a:close/>
                  <a:moveTo>
                    <a:pt x="36" y="27"/>
                  </a:moveTo>
                  <a:lnTo>
                    <a:pt x="32" y="27"/>
                  </a:lnTo>
                  <a:lnTo>
                    <a:pt x="32" y="6"/>
                  </a:lnTo>
                  <a:lnTo>
                    <a:pt x="36" y="6"/>
                  </a:lnTo>
                  <a:lnTo>
                    <a:pt x="36"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08" name="Oval 164">
              <a:extLst>
                <a:ext uri="{FF2B5EF4-FFF2-40B4-BE49-F238E27FC236}">
                  <a16:creationId xmlns:a16="http://schemas.microsoft.com/office/drawing/2014/main" id="{7F7D073D-82F4-47C5-8CAB-A26BA2C3CD2F}"/>
                </a:ext>
              </a:extLst>
            </p:cNvPr>
            <p:cNvSpPr>
              <a:spLocks noChangeArrowheads="1"/>
            </p:cNvSpPr>
            <p:nvPr/>
          </p:nvSpPr>
          <p:spPr bwMode="auto">
            <a:xfrm>
              <a:off x="-1082447" y="609051"/>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09" name="Oval 165">
              <a:extLst>
                <a:ext uri="{FF2B5EF4-FFF2-40B4-BE49-F238E27FC236}">
                  <a16:creationId xmlns:a16="http://schemas.microsoft.com/office/drawing/2014/main" id="{506B87A2-830D-42B7-B676-468CFB14E6E9}"/>
                </a:ext>
              </a:extLst>
            </p:cNvPr>
            <p:cNvSpPr>
              <a:spLocks noChangeArrowheads="1"/>
            </p:cNvSpPr>
            <p:nvPr/>
          </p:nvSpPr>
          <p:spPr bwMode="auto">
            <a:xfrm>
              <a:off x="-1062713" y="609051"/>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11" name="Freeform 167">
              <a:extLst>
                <a:ext uri="{FF2B5EF4-FFF2-40B4-BE49-F238E27FC236}">
                  <a16:creationId xmlns:a16="http://schemas.microsoft.com/office/drawing/2014/main" id="{C89BE846-33DC-46C0-AA26-994740E901FF}"/>
                </a:ext>
              </a:extLst>
            </p:cNvPr>
            <p:cNvSpPr>
              <a:spLocks/>
            </p:cNvSpPr>
            <p:nvPr/>
          </p:nvSpPr>
          <p:spPr bwMode="auto">
            <a:xfrm>
              <a:off x="-1353793" y="544915"/>
              <a:ext cx="18090" cy="44403"/>
            </a:xfrm>
            <a:custGeom>
              <a:avLst/>
              <a:gdLst>
                <a:gd name="T0" fmla="*/ 2 w 8"/>
                <a:gd name="T1" fmla="*/ 1 h 20"/>
                <a:gd name="T2" fmla="*/ 0 w 8"/>
                <a:gd name="T3" fmla="*/ 2 h 20"/>
                <a:gd name="T4" fmla="*/ 0 w 8"/>
                <a:gd name="T5" fmla="*/ 5 h 20"/>
                <a:gd name="T6" fmla="*/ 2 w 8"/>
                <a:gd name="T7" fmla="*/ 4 h 20"/>
                <a:gd name="T8" fmla="*/ 3 w 8"/>
                <a:gd name="T9" fmla="*/ 3 h 20"/>
                <a:gd name="T10" fmla="*/ 5 w 8"/>
                <a:gd name="T11" fmla="*/ 3 h 20"/>
                <a:gd name="T12" fmla="*/ 5 w 8"/>
                <a:gd name="T13" fmla="*/ 2 h 20"/>
                <a:gd name="T14" fmla="*/ 5 w 8"/>
                <a:gd name="T15" fmla="*/ 20 h 20"/>
                <a:gd name="T16" fmla="*/ 8 w 8"/>
                <a:gd name="T17" fmla="*/ 20 h 20"/>
                <a:gd name="T18" fmla="*/ 8 w 8"/>
                <a:gd name="T19" fmla="*/ 10 h 20"/>
                <a:gd name="T20" fmla="*/ 5 w 8"/>
                <a:gd name="T21" fmla="*/ 0 h 20"/>
                <a:gd name="T22" fmla="*/ 4 w 8"/>
                <a:gd name="T23" fmla="*/ 1 h 20"/>
                <a:gd name="T24" fmla="*/ 2 w 8"/>
                <a:gd name="T25"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0">
                  <a:moveTo>
                    <a:pt x="2" y="1"/>
                  </a:moveTo>
                  <a:cubicBezTo>
                    <a:pt x="2" y="2"/>
                    <a:pt x="1" y="2"/>
                    <a:pt x="0" y="2"/>
                  </a:cubicBezTo>
                  <a:cubicBezTo>
                    <a:pt x="0" y="5"/>
                    <a:pt x="0" y="5"/>
                    <a:pt x="0" y="5"/>
                  </a:cubicBezTo>
                  <a:cubicBezTo>
                    <a:pt x="1" y="4"/>
                    <a:pt x="1" y="4"/>
                    <a:pt x="2" y="4"/>
                  </a:cubicBezTo>
                  <a:cubicBezTo>
                    <a:pt x="2" y="4"/>
                    <a:pt x="3" y="4"/>
                    <a:pt x="3" y="3"/>
                  </a:cubicBezTo>
                  <a:cubicBezTo>
                    <a:pt x="4" y="3"/>
                    <a:pt x="4" y="3"/>
                    <a:pt x="5" y="3"/>
                  </a:cubicBezTo>
                  <a:cubicBezTo>
                    <a:pt x="5" y="2"/>
                    <a:pt x="5" y="2"/>
                    <a:pt x="5" y="2"/>
                  </a:cubicBezTo>
                  <a:cubicBezTo>
                    <a:pt x="5" y="20"/>
                    <a:pt x="5" y="20"/>
                    <a:pt x="5" y="20"/>
                  </a:cubicBezTo>
                  <a:cubicBezTo>
                    <a:pt x="8" y="20"/>
                    <a:pt x="8" y="20"/>
                    <a:pt x="8" y="20"/>
                  </a:cubicBezTo>
                  <a:cubicBezTo>
                    <a:pt x="8" y="10"/>
                    <a:pt x="8" y="10"/>
                    <a:pt x="8" y="10"/>
                  </a:cubicBezTo>
                  <a:cubicBezTo>
                    <a:pt x="7" y="7"/>
                    <a:pt x="6" y="3"/>
                    <a:pt x="5" y="0"/>
                  </a:cubicBezTo>
                  <a:cubicBezTo>
                    <a:pt x="5" y="0"/>
                    <a:pt x="4" y="0"/>
                    <a:pt x="4" y="1"/>
                  </a:cubicBezTo>
                  <a:cubicBezTo>
                    <a:pt x="3" y="1"/>
                    <a:pt x="3" y="1"/>
                    <a:pt x="2" y="1"/>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12" name="Freeform 168">
              <a:extLst>
                <a:ext uri="{FF2B5EF4-FFF2-40B4-BE49-F238E27FC236}">
                  <a16:creationId xmlns:a16="http://schemas.microsoft.com/office/drawing/2014/main" id="{8008568F-BE2E-454C-AF8F-C02F66C1DEB6}"/>
                </a:ext>
              </a:extLst>
            </p:cNvPr>
            <p:cNvSpPr>
              <a:spLocks/>
            </p:cNvSpPr>
            <p:nvPr/>
          </p:nvSpPr>
          <p:spPr bwMode="auto">
            <a:xfrm>
              <a:off x="-1380105" y="490645"/>
              <a:ext cx="4934" cy="27957"/>
            </a:xfrm>
            <a:custGeom>
              <a:avLst/>
              <a:gdLst>
                <a:gd name="T0" fmla="*/ 2 w 2"/>
                <a:gd name="T1" fmla="*/ 12 h 12"/>
                <a:gd name="T2" fmla="*/ 2 w 2"/>
                <a:gd name="T3" fmla="*/ 2 h 12"/>
                <a:gd name="T4" fmla="*/ 0 w 2"/>
                <a:gd name="T5" fmla="*/ 0 h 12"/>
                <a:gd name="T6" fmla="*/ 0 w 2"/>
                <a:gd name="T7" fmla="*/ 12 h 12"/>
                <a:gd name="T8" fmla="*/ 2 w 2"/>
                <a:gd name="T9" fmla="*/ 12 h 12"/>
              </a:gdLst>
              <a:ahLst/>
              <a:cxnLst>
                <a:cxn ang="0">
                  <a:pos x="T0" y="T1"/>
                </a:cxn>
                <a:cxn ang="0">
                  <a:pos x="T2" y="T3"/>
                </a:cxn>
                <a:cxn ang="0">
                  <a:pos x="T4" y="T5"/>
                </a:cxn>
                <a:cxn ang="0">
                  <a:pos x="T6" y="T7"/>
                </a:cxn>
                <a:cxn ang="0">
                  <a:pos x="T8" y="T9"/>
                </a:cxn>
              </a:cxnLst>
              <a:rect l="0" t="0" r="r" b="b"/>
              <a:pathLst>
                <a:path w="2" h="12">
                  <a:moveTo>
                    <a:pt x="2" y="12"/>
                  </a:moveTo>
                  <a:cubicBezTo>
                    <a:pt x="2" y="2"/>
                    <a:pt x="2" y="2"/>
                    <a:pt x="2" y="2"/>
                  </a:cubicBezTo>
                  <a:cubicBezTo>
                    <a:pt x="1" y="1"/>
                    <a:pt x="0" y="1"/>
                    <a:pt x="0" y="0"/>
                  </a:cubicBezTo>
                  <a:cubicBezTo>
                    <a:pt x="0" y="12"/>
                    <a:pt x="0" y="12"/>
                    <a:pt x="0" y="12"/>
                  </a:cubicBezTo>
                  <a:lnTo>
                    <a:pt x="2" y="1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13" name="Freeform 169">
              <a:extLst>
                <a:ext uri="{FF2B5EF4-FFF2-40B4-BE49-F238E27FC236}">
                  <a16:creationId xmlns:a16="http://schemas.microsoft.com/office/drawing/2014/main" id="{4C40C2C7-AACE-49AD-B2EF-6E1E0FB8943F}"/>
                </a:ext>
              </a:extLst>
            </p:cNvPr>
            <p:cNvSpPr>
              <a:spLocks/>
            </p:cNvSpPr>
            <p:nvPr/>
          </p:nvSpPr>
          <p:spPr bwMode="auto">
            <a:xfrm>
              <a:off x="-1542913" y="687988"/>
              <a:ext cx="16445" cy="11512"/>
            </a:xfrm>
            <a:custGeom>
              <a:avLst/>
              <a:gdLst>
                <a:gd name="T0" fmla="*/ 1 w 7"/>
                <a:gd name="T1" fmla="*/ 0 h 5"/>
                <a:gd name="T2" fmla="*/ 0 w 7"/>
                <a:gd name="T3" fmla="*/ 0 h 5"/>
                <a:gd name="T4" fmla="*/ 7 w 7"/>
                <a:gd name="T5" fmla="*/ 5 h 5"/>
                <a:gd name="T6" fmla="*/ 1 w 7"/>
                <a:gd name="T7" fmla="*/ 0 h 5"/>
              </a:gdLst>
              <a:ahLst/>
              <a:cxnLst>
                <a:cxn ang="0">
                  <a:pos x="T0" y="T1"/>
                </a:cxn>
                <a:cxn ang="0">
                  <a:pos x="T2" y="T3"/>
                </a:cxn>
                <a:cxn ang="0">
                  <a:pos x="T4" y="T5"/>
                </a:cxn>
                <a:cxn ang="0">
                  <a:pos x="T6" y="T7"/>
                </a:cxn>
              </a:cxnLst>
              <a:rect l="0" t="0" r="r" b="b"/>
              <a:pathLst>
                <a:path w="7" h="5">
                  <a:moveTo>
                    <a:pt x="1" y="0"/>
                  </a:moveTo>
                  <a:cubicBezTo>
                    <a:pt x="1" y="0"/>
                    <a:pt x="0" y="0"/>
                    <a:pt x="0" y="0"/>
                  </a:cubicBezTo>
                  <a:cubicBezTo>
                    <a:pt x="2" y="2"/>
                    <a:pt x="5" y="4"/>
                    <a:pt x="7" y="5"/>
                  </a:cubicBezTo>
                  <a:cubicBezTo>
                    <a:pt x="6" y="2"/>
                    <a:pt x="4" y="0"/>
                    <a:pt x="1" y="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14" name="Freeform 170">
              <a:extLst>
                <a:ext uri="{FF2B5EF4-FFF2-40B4-BE49-F238E27FC236}">
                  <a16:creationId xmlns:a16="http://schemas.microsoft.com/office/drawing/2014/main" id="{726274FF-8D15-48FF-8D4B-9836C89C6647}"/>
                </a:ext>
              </a:extLst>
            </p:cNvPr>
            <p:cNvSpPr>
              <a:spLocks/>
            </p:cNvSpPr>
            <p:nvPr/>
          </p:nvSpPr>
          <p:spPr bwMode="auto">
            <a:xfrm>
              <a:off x="-1411352" y="613985"/>
              <a:ext cx="16445" cy="49336"/>
            </a:xfrm>
            <a:custGeom>
              <a:avLst/>
              <a:gdLst>
                <a:gd name="T0" fmla="*/ 7 w 7"/>
                <a:gd name="T1" fmla="*/ 22 h 22"/>
                <a:gd name="T2" fmla="*/ 7 w 7"/>
                <a:gd name="T3" fmla="*/ 0 h 22"/>
                <a:gd name="T4" fmla="*/ 6 w 7"/>
                <a:gd name="T5" fmla="*/ 0 h 22"/>
                <a:gd name="T6" fmla="*/ 5 w 7"/>
                <a:gd name="T7" fmla="*/ 1 h 22"/>
                <a:gd name="T8" fmla="*/ 3 w 7"/>
                <a:gd name="T9" fmla="*/ 2 h 22"/>
                <a:gd name="T10" fmla="*/ 1 w 7"/>
                <a:gd name="T11" fmla="*/ 3 h 22"/>
                <a:gd name="T12" fmla="*/ 0 w 7"/>
                <a:gd name="T13" fmla="*/ 4 h 22"/>
                <a:gd name="T14" fmla="*/ 0 w 7"/>
                <a:gd name="T15" fmla="*/ 6 h 22"/>
                <a:gd name="T16" fmla="*/ 1 w 7"/>
                <a:gd name="T17" fmla="*/ 6 h 22"/>
                <a:gd name="T18" fmla="*/ 3 w 7"/>
                <a:gd name="T19" fmla="*/ 5 h 22"/>
                <a:gd name="T20" fmla="*/ 4 w 7"/>
                <a:gd name="T21" fmla="*/ 4 h 22"/>
                <a:gd name="T22" fmla="*/ 5 w 7"/>
                <a:gd name="T23" fmla="*/ 4 h 22"/>
                <a:gd name="T24" fmla="*/ 5 w 7"/>
                <a:gd name="T25" fmla="*/ 22 h 22"/>
                <a:gd name="T26" fmla="*/ 7 w 7"/>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2">
                  <a:moveTo>
                    <a:pt x="7" y="22"/>
                  </a:moveTo>
                  <a:cubicBezTo>
                    <a:pt x="7" y="0"/>
                    <a:pt x="7" y="0"/>
                    <a:pt x="7" y="0"/>
                  </a:cubicBezTo>
                  <a:cubicBezTo>
                    <a:pt x="6" y="0"/>
                    <a:pt x="6" y="0"/>
                    <a:pt x="6" y="0"/>
                  </a:cubicBezTo>
                  <a:cubicBezTo>
                    <a:pt x="6" y="0"/>
                    <a:pt x="5" y="1"/>
                    <a:pt x="5" y="1"/>
                  </a:cubicBezTo>
                  <a:cubicBezTo>
                    <a:pt x="4" y="1"/>
                    <a:pt x="4" y="2"/>
                    <a:pt x="3" y="2"/>
                  </a:cubicBezTo>
                  <a:cubicBezTo>
                    <a:pt x="3" y="2"/>
                    <a:pt x="2" y="3"/>
                    <a:pt x="1" y="3"/>
                  </a:cubicBezTo>
                  <a:cubicBezTo>
                    <a:pt x="1" y="3"/>
                    <a:pt x="0" y="3"/>
                    <a:pt x="0" y="4"/>
                  </a:cubicBezTo>
                  <a:cubicBezTo>
                    <a:pt x="0" y="6"/>
                    <a:pt x="0" y="6"/>
                    <a:pt x="0" y="6"/>
                  </a:cubicBezTo>
                  <a:cubicBezTo>
                    <a:pt x="0" y="6"/>
                    <a:pt x="1" y="6"/>
                    <a:pt x="1" y="6"/>
                  </a:cubicBezTo>
                  <a:cubicBezTo>
                    <a:pt x="2" y="5"/>
                    <a:pt x="2" y="5"/>
                    <a:pt x="3" y="5"/>
                  </a:cubicBezTo>
                  <a:cubicBezTo>
                    <a:pt x="3" y="5"/>
                    <a:pt x="3" y="4"/>
                    <a:pt x="4" y="4"/>
                  </a:cubicBezTo>
                  <a:cubicBezTo>
                    <a:pt x="4" y="4"/>
                    <a:pt x="4" y="4"/>
                    <a:pt x="5" y="4"/>
                  </a:cubicBezTo>
                  <a:cubicBezTo>
                    <a:pt x="5" y="22"/>
                    <a:pt x="5" y="22"/>
                    <a:pt x="5" y="22"/>
                  </a:cubicBezTo>
                  <a:lnTo>
                    <a:pt x="7"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15" name="Freeform 171">
              <a:extLst>
                <a:ext uri="{FF2B5EF4-FFF2-40B4-BE49-F238E27FC236}">
                  <a16:creationId xmlns:a16="http://schemas.microsoft.com/office/drawing/2014/main" id="{3A520DA3-FD6A-4ED9-A4F4-C3E74A29E716}"/>
                </a:ext>
              </a:extLst>
            </p:cNvPr>
            <p:cNvSpPr>
              <a:spLocks noEditPoints="1"/>
            </p:cNvSpPr>
            <p:nvPr/>
          </p:nvSpPr>
          <p:spPr bwMode="auto">
            <a:xfrm>
              <a:off x="-1394906" y="543270"/>
              <a:ext cx="27957" cy="47692"/>
            </a:xfrm>
            <a:custGeom>
              <a:avLst/>
              <a:gdLst>
                <a:gd name="T0" fmla="*/ 4 w 13"/>
                <a:gd name="T1" fmla="*/ 1 h 22"/>
                <a:gd name="T2" fmla="*/ 1 w 13"/>
                <a:gd name="T3" fmla="*/ 3 h 22"/>
                <a:gd name="T4" fmla="*/ 0 w 13"/>
                <a:gd name="T5" fmla="*/ 6 h 22"/>
                <a:gd name="T6" fmla="*/ 0 w 13"/>
                <a:gd name="T7" fmla="*/ 11 h 22"/>
                <a:gd name="T8" fmla="*/ 0 w 13"/>
                <a:gd name="T9" fmla="*/ 16 h 22"/>
                <a:gd name="T10" fmla="*/ 1 w 13"/>
                <a:gd name="T11" fmla="*/ 19 h 22"/>
                <a:gd name="T12" fmla="*/ 3 w 13"/>
                <a:gd name="T13" fmla="*/ 21 h 22"/>
                <a:gd name="T14" fmla="*/ 6 w 13"/>
                <a:gd name="T15" fmla="*/ 22 h 22"/>
                <a:gd name="T16" fmla="*/ 9 w 13"/>
                <a:gd name="T17" fmla="*/ 21 h 22"/>
                <a:gd name="T18" fmla="*/ 11 w 13"/>
                <a:gd name="T19" fmla="*/ 19 h 22"/>
                <a:gd name="T20" fmla="*/ 13 w 13"/>
                <a:gd name="T21" fmla="*/ 15 h 22"/>
                <a:gd name="T22" fmla="*/ 13 w 13"/>
                <a:gd name="T23" fmla="*/ 11 h 22"/>
                <a:gd name="T24" fmla="*/ 7 w 13"/>
                <a:gd name="T25" fmla="*/ 0 h 22"/>
                <a:gd name="T26" fmla="*/ 4 w 13"/>
                <a:gd name="T27" fmla="*/ 1 h 22"/>
                <a:gd name="T28" fmla="*/ 11 w 13"/>
                <a:gd name="T29" fmla="*/ 11 h 22"/>
                <a:gd name="T30" fmla="*/ 6 w 13"/>
                <a:gd name="T31" fmla="*/ 20 h 22"/>
                <a:gd name="T32" fmla="*/ 2 w 13"/>
                <a:gd name="T33" fmla="*/ 11 h 22"/>
                <a:gd name="T34" fmla="*/ 7 w 13"/>
                <a:gd name="T35" fmla="*/ 2 h 22"/>
                <a:gd name="T36" fmla="*/ 11 w 13"/>
                <a:gd name="T3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22">
                  <a:moveTo>
                    <a:pt x="4" y="1"/>
                  </a:moveTo>
                  <a:cubicBezTo>
                    <a:pt x="3" y="1"/>
                    <a:pt x="2" y="2"/>
                    <a:pt x="1" y="3"/>
                  </a:cubicBezTo>
                  <a:cubicBezTo>
                    <a:pt x="1" y="4"/>
                    <a:pt x="0" y="5"/>
                    <a:pt x="0" y="6"/>
                  </a:cubicBezTo>
                  <a:cubicBezTo>
                    <a:pt x="0" y="8"/>
                    <a:pt x="0" y="9"/>
                    <a:pt x="0" y="11"/>
                  </a:cubicBezTo>
                  <a:cubicBezTo>
                    <a:pt x="0" y="13"/>
                    <a:pt x="0" y="14"/>
                    <a:pt x="0" y="16"/>
                  </a:cubicBezTo>
                  <a:cubicBezTo>
                    <a:pt x="0" y="17"/>
                    <a:pt x="1" y="18"/>
                    <a:pt x="1" y="19"/>
                  </a:cubicBezTo>
                  <a:cubicBezTo>
                    <a:pt x="2" y="20"/>
                    <a:pt x="3" y="21"/>
                    <a:pt x="3" y="21"/>
                  </a:cubicBezTo>
                  <a:cubicBezTo>
                    <a:pt x="4" y="21"/>
                    <a:pt x="5" y="22"/>
                    <a:pt x="6" y="22"/>
                  </a:cubicBezTo>
                  <a:cubicBezTo>
                    <a:pt x="7" y="22"/>
                    <a:pt x="8" y="21"/>
                    <a:pt x="9" y="21"/>
                  </a:cubicBezTo>
                  <a:cubicBezTo>
                    <a:pt x="10" y="20"/>
                    <a:pt x="11" y="20"/>
                    <a:pt x="11" y="19"/>
                  </a:cubicBezTo>
                  <a:cubicBezTo>
                    <a:pt x="12" y="18"/>
                    <a:pt x="13" y="17"/>
                    <a:pt x="13" y="15"/>
                  </a:cubicBezTo>
                  <a:cubicBezTo>
                    <a:pt x="13" y="14"/>
                    <a:pt x="13" y="12"/>
                    <a:pt x="13" y="11"/>
                  </a:cubicBezTo>
                  <a:cubicBezTo>
                    <a:pt x="13" y="3"/>
                    <a:pt x="11" y="0"/>
                    <a:pt x="7" y="0"/>
                  </a:cubicBezTo>
                  <a:cubicBezTo>
                    <a:pt x="5" y="0"/>
                    <a:pt x="4" y="0"/>
                    <a:pt x="4" y="1"/>
                  </a:cubicBezTo>
                  <a:moveTo>
                    <a:pt x="11" y="11"/>
                  </a:moveTo>
                  <a:cubicBezTo>
                    <a:pt x="11" y="17"/>
                    <a:pt x="9" y="20"/>
                    <a:pt x="6" y="20"/>
                  </a:cubicBezTo>
                  <a:cubicBezTo>
                    <a:pt x="3" y="20"/>
                    <a:pt x="2" y="17"/>
                    <a:pt x="2" y="11"/>
                  </a:cubicBezTo>
                  <a:cubicBezTo>
                    <a:pt x="2" y="5"/>
                    <a:pt x="4" y="2"/>
                    <a:pt x="7" y="2"/>
                  </a:cubicBezTo>
                  <a:cubicBezTo>
                    <a:pt x="9" y="2"/>
                    <a:pt x="11" y="5"/>
                    <a:pt x="11" y="11"/>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16" name="Freeform 172">
              <a:extLst>
                <a:ext uri="{FF2B5EF4-FFF2-40B4-BE49-F238E27FC236}">
                  <a16:creationId xmlns:a16="http://schemas.microsoft.com/office/drawing/2014/main" id="{9C0A0773-8F70-4851-8ACF-0F56A7A265FE}"/>
                </a:ext>
              </a:extLst>
            </p:cNvPr>
            <p:cNvSpPr>
              <a:spLocks/>
            </p:cNvSpPr>
            <p:nvPr/>
          </p:nvSpPr>
          <p:spPr bwMode="auto">
            <a:xfrm>
              <a:off x="-1470554" y="687988"/>
              <a:ext cx="14801" cy="29601"/>
            </a:xfrm>
            <a:custGeom>
              <a:avLst/>
              <a:gdLst>
                <a:gd name="T0" fmla="*/ 7 w 7"/>
                <a:gd name="T1" fmla="*/ 13 h 13"/>
                <a:gd name="T2" fmla="*/ 7 w 7"/>
                <a:gd name="T3" fmla="*/ 0 h 13"/>
                <a:gd name="T4" fmla="*/ 6 w 7"/>
                <a:gd name="T5" fmla="*/ 0 h 13"/>
                <a:gd name="T6" fmla="*/ 5 w 7"/>
                <a:gd name="T7" fmla="*/ 1 h 13"/>
                <a:gd name="T8" fmla="*/ 3 w 7"/>
                <a:gd name="T9" fmla="*/ 2 h 13"/>
                <a:gd name="T10" fmla="*/ 2 w 7"/>
                <a:gd name="T11" fmla="*/ 2 h 13"/>
                <a:gd name="T12" fmla="*/ 0 w 7"/>
                <a:gd name="T13" fmla="*/ 3 h 13"/>
                <a:gd name="T14" fmla="*/ 0 w 7"/>
                <a:gd name="T15" fmla="*/ 6 h 13"/>
                <a:gd name="T16" fmla="*/ 1 w 7"/>
                <a:gd name="T17" fmla="*/ 5 h 13"/>
                <a:gd name="T18" fmla="*/ 3 w 7"/>
                <a:gd name="T19" fmla="*/ 4 h 13"/>
                <a:gd name="T20" fmla="*/ 4 w 7"/>
                <a:gd name="T21" fmla="*/ 4 h 13"/>
                <a:gd name="T22" fmla="*/ 5 w 7"/>
                <a:gd name="T23" fmla="*/ 3 h 13"/>
                <a:gd name="T24" fmla="*/ 5 w 7"/>
                <a:gd name="T25" fmla="*/ 13 h 13"/>
                <a:gd name="T26" fmla="*/ 7 w 7"/>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3">
                  <a:moveTo>
                    <a:pt x="7" y="13"/>
                  </a:moveTo>
                  <a:cubicBezTo>
                    <a:pt x="7" y="0"/>
                    <a:pt x="7" y="0"/>
                    <a:pt x="7" y="0"/>
                  </a:cubicBezTo>
                  <a:cubicBezTo>
                    <a:pt x="6" y="0"/>
                    <a:pt x="6" y="0"/>
                    <a:pt x="6" y="0"/>
                  </a:cubicBezTo>
                  <a:cubicBezTo>
                    <a:pt x="6" y="0"/>
                    <a:pt x="6" y="0"/>
                    <a:pt x="5" y="1"/>
                  </a:cubicBezTo>
                  <a:cubicBezTo>
                    <a:pt x="5" y="1"/>
                    <a:pt x="4" y="1"/>
                    <a:pt x="3" y="2"/>
                  </a:cubicBezTo>
                  <a:cubicBezTo>
                    <a:pt x="3" y="2"/>
                    <a:pt x="2" y="2"/>
                    <a:pt x="2" y="2"/>
                  </a:cubicBezTo>
                  <a:cubicBezTo>
                    <a:pt x="1" y="3"/>
                    <a:pt x="0" y="3"/>
                    <a:pt x="0" y="3"/>
                  </a:cubicBezTo>
                  <a:cubicBezTo>
                    <a:pt x="0" y="6"/>
                    <a:pt x="0" y="6"/>
                    <a:pt x="0" y="6"/>
                  </a:cubicBezTo>
                  <a:cubicBezTo>
                    <a:pt x="0" y="5"/>
                    <a:pt x="1" y="5"/>
                    <a:pt x="1" y="5"/>
                  </a:cubicBezTo>
                  <a:cubicBezTo>
                    <a:pt x="2" y="5"/>
                    <a:pt x="2" y="5"/>
                    <a:pt x="3" y="4"/>
                  </a:cubicBezTo>
                  <a:cubicBezTo>
                    <a:pt x="3" y="4"/>
                    <a:pt x="4" y="4"/>
                    <a:pt x="4" y="4"/>
                  </a:cubicBezTo>
                  <a:cubicBezTo>
                    <a:pt x="4" y="3"/>
                    <a:pt x="5" y="3"/>
                    <a:pt x="5" y="3"/>
                  </a:cubicBezTo>
                  <a:cubicBezTo>
                    <a:pt x="5" y="13"/>
                    <a:pt x="5" y="13"/>
                    <a:pt x="5" y="13"/>
                  </a:cubicBezTo>
                  <a:cubicBezTo>
                    <a:pt x="6" y="13"/>
                    <a:pt x="6" y="13"/>
                    <a:pt x="7" y="13"/>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17" name="Freeform 173">
              <a:extLst>
                <a:ext uri="{FF2B5EF4-FFF2-40B4-BE49-F238E27FC236}">
                  <a16:creationId xmlns:a16="http://schemas.microsoft.com/office/drawing/2014/main" id="{4BFEA625-1740-4C4C-9FED-62F89F723904}"/>
                </a:ext>
              </a:extLst>
            </p:cNvPr>
            <p:cNvSpPr>
              <a:spLocks/>
            </p:cNvSpPr>
            <p:nvPr/>
          </p:nvSpPr>
          <p:spPr bwMode="auto">
            <a:xfrm>
              <a:off x="-1554424" y="482423"/>
              <a:ext cx="29601" cy="36179"/>
            </a:xfrm>
            <a:custGeom>
              <a:avLst/>
              <a:gdLst>
                <a:gd name="T0" fmla="*/ 0 w 13"/>
                <a:gd name="T1" fmla="*/ 10 h 16"/>
                <a:gd name="T2" fmla="*/ 0 w 13"/>
                <a:gd name="T3" fmla="*/ 10 h 16"/>
                <a:gd name="T4" fmla="*/ 1 w 13"/>
                <a:gd name="T5" fmla="*/ 13 h 16"/>
                <a:gd name="T6" fmla="*/ 3 w 13"/>
                <a:gd name="T7" fmla="*/ 16 h 16"/>
                <a:gd name="T8" fmla="*/ 6 w 13"/>
                <a:gd name="T9" fmla="*/ 16 h 16"/>
                <a:gd name="T10" fmla="*/ 9 w 13"/>
                <a:gd name="T11" fmla="*/ 15 h 16"/>
                <a:gd name="T12" fmla="*/ 11 w 13"/>
                <a:gd name="T13" fmla="*/ 13 h 16"/>
                <a:gd name="T14" fmla="*/ 13 w 13"/>
                <a:gd name="T15" fmla="*/ 10 h 16"/>
                <a:gd name="T16" fmla="*/ 13 w 13"/>
                <a:gd name="T17" fmla="*/ 5 h 16"/>
                <a:gd name="T18" fmla="*/ 12 w 13"/>
                <a:gd name="T19" fmla="*/ 0 h 16"/>
                <a:gd name="T20" fmla="*/ 10 w 13"/>
                <a:gd name="T21" fmla="*/ 1 h 16"/>
                <a:gd name="T22" fmla="*/ 11 w 13"/>
                <a:gd name="T23" fmla="*/ 5 h 16"/>
                <a:gd name="T24" fmla="*/ 6 w 13"/>
                <a:gd name="T25" fmla="*/ 14 h 16"/>
                <a:gd name="T26" fmla="*/ 2 w 13"/>
                <a:gd name="T27" fmla="*/ 8 h 16"/>
                <a:gd name="T28" fmla="*/ 0 w 13"/>
                <a:gd name="T29" fmla="*/ 9 h 16"/>
                <a:gd name="T30" fmla="*/ 0 w 13"/>
                <a:gd name="T31"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6">
                  <a:moveTo>
                    <a:pt x="0" y="10"/>
                  </a:moveTo>
                  <a:cubicBezTo>
                    <a:pt x="0" y="10"/>
                    <a:pt x="0" y="10"/>
                    <a:pt x="0" y="10"/>
                  </a:cubicBezTo>
                  <a:cubicBezTo>
                    <a:pt x="0" y="11"/>
                    <a:pt x="0" y="13"/>
                    <a:pt x="1" y="13"/>
                  </a:cubicBezTo>
                  <a:cubicBezTo>
                    <a:pt x="2" y="14"/>
                    <a:pt x="2" y="15"/>
                    <a:pt x="3" y="16"/>
                  </a:cubicBezTo>
                  <a:cubicBezTo>
                    <a:pt x="4" y="16"/>
                    <a:pt x="5" y="16"/>
                    <a:pt x="6" y="16"/>
                  </a:cubicBezTo>
                  <a:cubicBezTo>
                    <a:pt x="7" y="16"/>
                    <a:pt x="8" y="16"/>
                    <a:pt x="9" y="15"/>
                  </a:cubicBezTo>
                  <a:cubicBezTo>
                    <a:pt x="10" y="15"/>
                    <a:pt x="11" y="14"/>
                    <a:pt x="11" y="13"/>
                  </a:cubicBezTo>
                  <a:cubicBezTo>
                    <a:pt x="12" y="12"/>
                    <a:pt x="12" y="11"/>
                    <a:pt x="13" y="10"/>
                  </a:cubicBezTo>
                  <a:cubicBezTo>
                    <a:pt x="13" y="9"/>
                    <a:pt x="13" y="7"/>
                    <a:pt x="13" y="5"/>
                  </a:cubicBezTo>
                  <a:cubicBezTo>
                    <a:pt x="13" y="3"/>
                    <a:pt x="13" y="1"/>
                    <a:pt x="12" y="0"/>
                  </a:cubicBezTo>
                  <a:cubicBezTo>
                    <a:pt x="12" y="0"/>
                    <a:pt x="11" y="0"/>
                    <a:pt x="10" y="1"/>
                  </a:cubicBezTo>
                  <a:cubicBezTo>
                    <a:pt x="10" y="2"/>
                    <a:pt x="11" y="4"/>
                    <a:pt x="11" y="5"/>
                  </a:cubicBezTo>
                  <a:cubicBezTo>
                    <a:pt x="11" y="11"/>
                    <a:pt x="9" y="14"/>
                    <a:pt x="6" y="14"/>
                  </a:cubicBezTo>
                  <a:cubicBezTo>
                    <a:pt x="4" y="14"/>
                    <a:pt x="2" y="12"/>
                    <a:pt x="2" y="8"/>
                  </a:cubicBezTo>
                  <a:cubicBezTo>
                    <a:pt x="1" y="8"/>
                    <a:pt x="1" y="9"/>
                    <a:pt x="0" y="9"/>
                  </a:cubicBezTo>
                  <a:cubicBezTo>
                    <a:pt x="0" y="9"/>
                    <a:pt x="0" y="10"/>
                    <a:pt x="0" y="1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18" name="Freeform 174">
              <a:extLst>
                <a:ext uri="{FF2B5EF4-FFF2-40B4-BE49-F238E27FC236}">
                  <a16:creationId xmlns:a16="http://schemas.microsoft.com/office/drawing/2014/main" id="{B09AC239-1984-4EA1-98FD-6A476D2A5958}"/>
                </a:ext>
              </a:extLst>
            </p:cNvPr>
            <p:cNvSpPr>
              <a:spLocks/>
            </p:cNvSpPr>
            <p:nvPr/>
          </p:nvSpPr>
          <p:spPr bwMode="auto">
            <a:xfrm>
              <a:off x="-1391617" y="689633"/>
              <a:ext cx="9867" cy="6578"/>
            </a:xfrm>
            <a:custGeom>
              <a:avLst/>
              <a:gdLst>
                <a:gd name="T0" fmla="*/ 3 w 4"/>
                <a:gd name="T1" fmla="*/ 1 h 3"/>
                <a:gd name="T2" fmla="*/ 1 w 4"/>
                <a:gd name="T3" fmla="*/ 1 h 3"/>
                <a:gd name="T4" fmla="*/ 0 w 4"/>
                <a:gd name="T5" fmla="*/ 2 h 3"/>
                <a:gd name="T6" fmla="*/ 0 w 4"/>
                <a:gd name="T7" fmla="*/ 3 h 3"/>
                <a:gd name="T8" fmla="*/ 4 w 4"/>
                <a:gd name="T9" fmla="*/ 0 h 3"/>
                <a:gd name="T10" fmla="*/ 3 w 4"/>
                <a:gd name="T11" fmla="*/ 1 h 3"/>
              </a:gdLst>
              <a:ahLst/>
              <a:cxnLst>
                <a:cxn ang="0">
                  <a:pos x="T0" y="T1"/>
                </a:cxn>
                <a:cxn ang="0">
                  <a:pos x="T2" y="T3"/>
                </a:cxn>
                <a:cxn ang="0">
                  <a:pos x="T4" y="T5"/>
                </a:cxn>
                <a:cxn ang="0">
                  <a:pos x="T6" y="T7"/>
                </a:cxn>
                <a:cxn ang="0">
                  <a:pos x="T8" y="T9"/>
                </a:cxn>
                <a:cxn ang="0">
                  <a:pos x="T10" y="T11"/>
                </a:cxn>
              </a:cxnLst>
              <a:rect l="0" t="0" r="r" b="b"/>
              <a:pathLst>
                <a:path w="4" h="3">
                  <a:moveTo>
                    <a:pt x="3" y="1"/>
                  </a:moveTo>
                  <a:cubicBezTo>
                    <a:pt x="2" y="1"/>
                    <a:pt x="2" y="1"/>
                    <a:pt x="1" y="1"/>
                  </a:cubicBezTo>
                  <a:cubicBezTo>
                    <a:pt x="1" y="2"/>
                    <a:pt x="0" y="2"/>
                    <a:pt x="0" y="2"/>
                  </a:cubicBezTo>
                  <a:cubicBezTo>
                    <a:pt x="0" y="3"/>
                    <a:pt x="0" y="3"/>
                    <a:pt x="0" y="3"/>
                  </a:cubicBezTo>
                  <a:cubicBezTo>
                    <a:pt x="1" y="2"/>
                    <a:pt x="3" y="1"/>
                    <a:pt x="4" y="0"/>
                  </a:cubicBezTo>
                  <a:cubicBezTo>
                    <a:pt x="4" y="0"/>
                    <a:pt x="3" y="0"/>
                    <a:pt x="3" y="1"/>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19" name="Freeform 175">
              <a:extLst>
                <a:ext uri="{FF2B5EF4-FFF2-40B4-BE49-F238E27FC236}">
                  <a16:creationId xmlns:a16="http://schemas.microsoft.com/office/drawing/2014/main" id="{5BF34CA6-C185-4760-9A38-43DDD07B875F}"/>
                </a:ext>
              </a:extLst>
            </p:cNvPr>
            <p:cNvSpPr>
              <a:spLocks noEditPoints="1"/>
            </p:cNvSpPr>
            <p:nvPr/>
          </p:nvSpPr>
          <p:spPr bwMode="auto">
            <a:xfrm>
              <a:off x="-1376816" y="613985"/>
              <a:ext cx="31246" cy="49336"/>
            </a:xfrm>
            <a:custGeom>
              <a:avLst/>
              <a:gdLst>
                <a:gd name="T0" fmla="*/ 14 w 14"/>
                <a:gd name="T1" fmla="*/ 11 h 22"/>
                <a:gd name="T2" fmla="*/ 8 w 14"/>
                <a:gd name="T3" fmla="*/ 0 h 22"/>
                <a:gd name="T4" fmla="*/ 4 w 14"/>
                <a:gd name="T5" fmla="*/ 1 h 22"/>
                <a:gd name="T6" fmla="*/ 2 w 14"/>
                <a:gd name="T7" fmla="*/ 3 h 22"/>
                <a:gd name="T8" fmla="*/ 1 w 14"/>
                <a:gd name="T9" fmla="*/ 7 h 22"/>
                <a:gd name="T10" fmla="*/ 0 w 14"/>
                <a:gd name="T11" fmla="*/ 12 h 22"/>
                <a:gd name="T12" fmla="*/ 1 w 14"/>
                <a:gd name="T13" fmla="*/ 16 h 22"/>
                <a:gd name="T14" fmla="*/ 2 w 14"/>
                <a:gd name="T15" fmla="*/ 19 h 22"/>
                <a:gd name="T16" fmla="*/ 4 w 14"/>
                <a:gd name="T17" fmla="*/ 21 h 22"/>
                <a:gd name="T18" fmla="*/ 7 w 14"/>
                <a:gd name="T19" fmla="*/ 22 h 22"/>
                <a:gd name="T20" fmla="*/ 10 w 14"/>
                <a:gd name="T21" fmla="*/ 22 h 22"/>
                <a:gd name="T22" fmla="*/ 14 w 14"/>
                <a:gd name="T23" fmla="*/ 14 h 22"/>
                <a:gd name="T24" fmla="*/ 14 w 14"/>
                <a:gd name="T25" fmla="*/ 11 h 22"/>
                <a:gd name="T26" fmla="*/ 7 w 14"/>
                <a:gd name="T27" fmla="*/ 20 h 22"/>
                <a:gd name="T28" fmla="*/ 3 w 14"/>
                <a:gd name="T29" fmla="*/ 12 h 22"/>
                <a:gd name="T30" fmla="*/ 7 w 14"/>
                <a:gd name="T31" fmla="*/ 2 h 22"/>
                <a:gd name="T32" fmla="*/ 12 w 14"/>
                <a:gd name="T33" fmla="*/ 11 h 22"/>
                <a:gd name="T34" fmla="*/ 7 w 14"/>
                <a:gd name="T35"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22">
                  <a:moveTo>
                    <a:pt x="14" y="11"/>
                  </a:moveTo>
                  <a:cubicBezTo>
                    <a:pt x="14" y="4"/>
                    <a:pt x="12" y="0"/>
                    <a:pt x="8" y="0"/>
                  </a:cubicBezTo>
                  <a:cubicBezTo>
                    <a:pt x="6" y="0"/>
                    <a:pt x="5" y="1"/>
                    <a:pt x="4" y="1"/>
                  </a:cubicBezTo>
                  <a:cubicBezTo>
                    <a:pt x="4" y="1"/>
                    <a:pt x="3" y="2"/>
                    <a:pt x="2" y="3"/>
                  </a:cubicBezTo>
                  <a:cubicBezTo>
                    <a:pt x="2" y="4"/>
                    <a:pt x="1" y="5"/>
                    <a:pt x="1" y="7"/>
                  </a:cubicBezTo>
                  <a:cubicBezTo>
                    <a:pt x="1" y="8"/>
                    <a:pt x="0" y="10"/>
                    <a:pt x="0" y="12"/>
                  </a:cubicBezTo>
                  <a:cubicBezTo>
                    <a:pt x="0" y="13"/>
                    <a:pt x="1" y="15"/>
                    <a:pt x="1" y="16"/>
                  </a:cubicBezTo>
                  <a:cubicBezTo>
                    <a:pt x="1" y="17"/>
                    <a:pt x="2" y="19"/>
                    <a:pt x="2" y="19"/>
                  </a:cubicBezTo>
                  <a:cubicBezTo>
                    <a:pt x="3" y="20"/>
                    <a:pt x="3" y="21"/>
                    <a:pt x="4" y="21"/>
                  </a:cubicBezTo>
                  <a:cubicBezTo>
                    <a:pt x="5" y="22"/>
                    <a:pt x="6" y="22"/>
                    <a:pt x="7" y="22"/>
                  </a:cubicBezTo>
                  <a:cubicBezTo>
                    <a:pt x="8" y="22"/>
                    <a:pt x="9" y="22"/>
                    <a:pt x="10" y="22"/>
                  </a:cubicBezTo>
                  <a:cubicBezTo>
                    <a:pt x="11" y="19"/>
                    <a:pt x="13" y="17"/>
                    <a:pt x="14" y="14"/>
                  </a:cubicBezTo>
                  <a:cubicBezTo>
                    <a:pt x="14" y="13"/>
                    <a:pt x="14" y="12"/>
                    <a:pt x="14" y="11"/>
                  </a:cubicBezTo>
                  <a:moveTo>
                    <a:pt x="7" y="20"/>
                  </a:moveTo>
                  <a:cubicBezTo>
                    <a:pt x="4" y="20"/>
                    <a:pt x="3" y="17"/>
                    <a:pt x="3" y="12"/>
                  </a:cubicBezTo>
                  <a:cubicBezTo>
                    <a:pt x="3" y="5"/>
                    <a:pt x="4" y="2"/>
                    <a:pt x="7" y="2"/>
                  </a:cubicBezTo>
                  <a:cubicBezTo>
                    <a:pt x="10" y="2"/>
                    <a:pt x="12" y="5"/>
                    <a:pt x="12" y="11"/>
                  </a:cubicBezTo>
                  <a:cubicBezTo>
                    <a:pt x="12" y="17"/>
                    <a:pt x="10" y="20"/>
                    <a:pt x="7" y="2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20" name="Freeform 176">
              <a:extLst>
                <a:ext uri="{FF2B5EF4-FFF2-40B4-BE49-F238E27FC236}">
                  <a16:creationId xmlns:a16="http://schemas.microsoft.com/office/drawing/2014/main" id="{4DE8393E-9AAC-4D1B-BA03-1B69A6064189}"/>
                </a:ext>
              </a:extLst>
            </p:cNvPr>
            <p:cNvSpPr>
              <a:spLocks/>
            </p:cNvSpPr>
            <p:nvPr/>
          </p:nvSpPr>
          <p:spPr bwMode="auto">
            <a:xfrm>
              <a:off x="-1516601" y="687988"/>
              <a:ext cx="31246" cy="26312"/>
            </a:xfrm>
            <a:custGeom>
              <a:avLst/>
              <a:gdLst>
                <a:gd name="T0" fmla="*/ 14 w 14"/>
                <a:gd name="T1" fmla="*/ 12 h 12"/>
                <a:gd name="T2" fmla="*/ 14 w 14"/>
                <a:gd name="T3" fmla="*/ 11 h 12"/>
                <a:gd name="T4" fmla="*/ 7 w 14"/>
                <a:gd name="T5" fmla="*/ 0 h 12"/>
                <a:gd name="T6" fmla="*/ 4 w 14"/>
                <a:gd name="T7" fmla="*/ 0 h 12"/>
                <a:gd name="T8" fmla="*/ 2 w 14"/>
                <a:gd name="T9" fmla="*/ 3 h 12"/>
                <a:gd name="T10" fmla="*/ 0 w 14"/>
                <a:gd name="T11" fmla="*/ 6 h 12"/>
                <a:gd name="T12" fmla="*/ 0 w 14"/>
                <a:gd name="T13" fmla="*/ 8 h 12"/>
                <a:gd name="T14" fmla="*/ 3 w 14"/>
                <a:gd name="T15" fmla="*/ 9 h 12"/>
                <a:gd name="T16" fmla="*/ 7 w 14"/>
                <a:gd name="T17" fmla="*/ 2 h 12"/>
                <a:gd name="T18" fmla="*/ 11 w 14"/>
                <a:gd name="T19" fmla="*/ 11 h 12"/>
                <a:gd name="T20" fmla="*/ 11 w 14"/>
                <a:gd name="T21" fmla="*/ 12 h 12"/>
                <a:gd name="T22" fmla="*/ 14 w 14"/>
                <a:gd name="T23"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2">
                  <a:moveTo>
                    <a:pt x="14" y="12"/>
                  </a:moveTo>
                  <a:cubicBezTo>
                    <a:pt x="14" y="12"/>
                    <a:pt x="14" y="11"/>
                    <a:pt x="14" y="11"/>
                  </a:cubicBezTo>
                  <a:cubicBezTo>
                    <a:pt x="14" y="3"/>
                    <a:pt x="12" y="0"/>
                    <a:pt x="7" y="0"/>
                  </a:cubicBezTo>
                  <a:cubicBezTo>
                    <a:pt x="6" y="0"/>
                    <a:pt x="5" y="0"/>
                    <a:pt x="4" y="0"/>
                  </a:cubicBezTo>
                  <a:cubicBezTo>
                    <a:pt x="3" y="1"/>
                    <a:pt x="2" y="2"/>
                    <a:pt x="2" y="3"/>
                  </a:cubicBezTo>
                  <a:cubicBezTo>
                    <a:pt x="1" y="4"/>
                    <a:pt x="1" y="5"/>
                    <a:pt x="0" y="6"/>
                  </a:cubicBezTo>
                  <a:cubicBezTo>
                    <a:pt x="0" y="7"/>
                    <a:pt x="0" y="7"/>
                    <a:pt x="0" y="8"/>
                  </a:cubicBezTo>
                  <a:cubicBezTo>
                    <a:pt x="1" y="8"/>
                    <a:pt x="2" y="8"/>
                    <a:pt x="3" y="9"/>
                  </a:cubicBezTo>
                  <a:cubicBezTo>
                    <a:pt x="3" y="4"/>
                    <a:pt x="4" y="2"/>
                    <a:pt x="7" y="2"/>
                  </a:cubicBezTo>
                  <a:cubicBezTo>
                    <a:pt x="10" y="2"/>
                    <a:pt x="11" y="5"/>
                    <a:pt x="11" y="11"/>
                  </a:cubicBezTo>
                  <a:cubicBezTo>
                    <a:pt x="11" y="11"/>
                    <a:pt x="11" y="11"/>
                    <a:pt x="11" y="12"/>
                  </a:cubicBezTo>
                  <a:cubicBezTo>
                    <a:pt x="12" y="12"/>
                    <a:pt x="13" y="12"/>
                    <a:pt x="14" y="1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21" name="Freeform 177">
              <a:extLst>
                <a:ext uri="{FF2B5EF4-FFF2-40B4-BE49-F238E27FC236}">
                  <a16:creationId xmlns:a16="http://schemas.microsoft.com/office/drawing/2014/main" id="{FE061A8C-4B5A-4827-90A3-92C893FFD57B}"/>
                </a:ext>
              </a:extLst>
            </p:cNvPr>
            <p:cNvSpPr>
              <a:spLocks/>
            </p:cNvSpPr>
            <p:nvPr/>
          </p:nvSpPr>
          <p:spPr bwMode="auto">
            <a:xfrm>
              <a:off x="-1436019" y="687988"/>
              <a:ext cx="29601" cy="26312"/>
            </a:xfrm>
            <a:custGeom>
              <a:avLst/>
              <a:gdLst>
                <a:gd name="T0" fmla="*/ 7 w 13"/>
                <a:gd name="T1" fmla="*/ 0 h 12"/>
                <a:gd name="T2" fmla="*/ 4 w 13"/>
                <a:gd name="T3" fmla="*/ 0 h 12"/>
                <a:gd name="T4" fmla="*/ 2 w 13"/>
                <a:gd name="T5" fmla="*/ 3 h 12"/>
                <a:gd name="T6" fmla="*/ 0 w 13"/>
                <a:gd name="T7" fmla="*/ 6 h 12"/>
                <a:gd name="T8" fmla="*/ 0 w 13"/>
                <a:gd name="T9" fmla="*/ 11 h 12"/>
                <a:gd name="T10" fmla="*/ 0 w 13"/>
                <a:gd name="T11" fmla="*/ 12 h 12"/>
                <a:gd name="T12" fmla="*/ 2 w 13"/>
                <a:gd name="T13" fmla="*/ 12 h 12"/>
                <a:gd name="T14" fmla="*/ 2 w 13"/>
                <a:gd name="T15" fmla="*/ 11 h 12"/>
                <a:gd name="T16" fmla="*/ 7 w 13"/>
                <a:gd name="T17" fmla="*/ 2 h 12"/>
                <a:gd name="T18" fmla="*/ 11 w 13"/>
                <a:gd name="T19" fmla="*/ 9 h 12"/>
                <a:gd name="T20" fmla="*/ 13 w 13"/>
                <a:gd name="T21" fmla="*/ 8 h 12"/>
                <a:gd name="T22" fmla="*/ 7 w 13"/>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2">
                  <a:moveTo>
                    <a:pt x="7" y="0"/>
                  </a:moveTo>
                  <a:cubicBezTo>
                    <a:pt x="6" y="0"/>
                    <a:pt x="5" y="0"/>
                    <a:pt x="4" y="0"/>
                  </a:cubicBezTo>
                  <a:cubicBezTo>
                    <a:pt x="3" y="1"/>
                    <a:pt x="2" y="2"/>
                    <a:pt x="2" y="3"/>
                  </a:cubicBezTo>
                  <a:cubicBezTo>
                    <a:pt x="1" y="4"/>
                    <a:pt x="0" y="5"/>
                    <a:pt x="0" y="6"/>
                  </a:cubicBezTo>
                  <a:cubicBezTo>
                    <a:pt x="0" y="8"/>
                    <a:pt x="0" y="9"/>
                    <a:pt x="0" y="11"/>
                  </a:cubicBezTo>
                  <a:cubicBezTo>
                    <a:pt x="0" y="12"/>
                    <a:pt x="0" y="12"/>
                    <a:pt x="0" y="12"/>
                  </a:cubicBezTo>
                  <a:cubicBezTo>
                    <a:pt x="1" y="12"/>
                    <a:pt x="1" y="12"/>
                    <a:pt x="2" y="12"/>
                  </a:cubicBezTo>
                  <a:cubicBezTo>
                    <a:pt x="2" y="11"/>
                    <a:pt x="2" y="11"/>
                    <a:pt x="2" y="11"/>
                  </a:cubicBezTo>
                  <a:cubicBezTo>
                    <a:pt x="2" y="5"/>
                    <a:pt x="4" y="2"/>
                    <a:pt x="7" y="2"/>
                  </a:cubicBezTo>
                  <a:cubicBezTo>
                    <a:pt x="9" y="2"/>
                    <a:pt x="11" y="4"/>
                    <a:pt x="11" y="9"/>
                  </a:cubicBezTo>
                  <a:cubicBezTo>
                    <a:pt x="12" y="9"/>
                    <a:pt x="13" y="8"/>
                    <a:pt x="13" y="8"/>
                  </a:cubicBezTo>
                  <a:cubicBezTo>
                    <a:pt x="13" y="2"/>
                    <a:pt x="11" y="0"/>
                    <a:pt x="7" y="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22" name="Freeform 178">
              <a:extLst>
                <a:ext uri="{FF2B5EF4-FFF2-40B4-BE49-F238E27FC236}">
                  <a16:creationId xmlns:a16="http://schemas.microsoft.com/office/drawing/2014/main" id="{D38CBF49-7690-4D31-8521-54CB983770F2}"/>
                </a:ext>
              </a:extLst>
            </p:cNvPr>
            <p:cNvSpPr>
              <a:spLocks noEditPoints="1"/>
            </p:cNvSpPr>
            <p:nvPr/>
          </p:nvSpPr>
          <p:spPr bwMode="auto">
            <a:xfrm>
              <a:off x="-1475487" y="469267"/>
              <a:ext cx="31246" cy="49336"/>
            </a:xfrm>
            <a:custGeom>
              <a:avLst/>
              <a:gdLst>
                <a:gd name="T0" fmla="*/ 2 w 14"/>
                <a:gd name="T1" fmla="*/ 3 h 22"/>
                <a:gd name="T2" fmla="*/ 0 w 14"/>
                <a:gd name="T3" fmla="*/ 7 h 22"/>
                <a:gd name="T4" fmla="*/ 0 w 14"/>
                <a:gd name="T5" fmla="*/ 12 h 22"/>
                <a:gd name="T6" fmla="*/ 0 w 14"/>
                <a:gd name="T7" fmla="*/ 16 h 22"/>
                <a:gd name="T8" fmla="*/ 2 w 14"/>
                <a:gd name="T9" fmla="*/ 19 h 22"/>
                <a:gd name="T10" fmla="*/ 4 w 14"/>
                <a:gd name="T11" fmla="*/ 22 h 22"/>
                <a:gd name="T12" fmla="*/ 7 w 14"/>
                <a:gd name="T13" fmla="*/ 22 h 22"/>
                <a:gd name="T14" fmla="*/ 10 w 14"/>
                <a:gd name="T15" fmla="*/ 21 h 22"/>
                <a:gd name="T16" fmla="*/ 12 w 14"/>
                <a:gd name="T17" fmla="*/ 19 h 22"/>
                <a:gd name="T18" fmla="*/ 13 w 14"/>
                <a:gd name="T19" fmla="*/ 16 h 22"/>
                <a:gd name="T20" fmla="*/ 14 w 14"/>
                <a:gd name="T21" fmla="*/ 11 h 22"/>
                <a:gd name="T22" fmla="*/ 7 w 14"/>
                <a:gd name="T23" fmla="*/ 0 h 22"/>
                <a:gd name="T24" fmla="*/ 4 w 14"/>
                <a:gd name="T25" fmla="*/ 1 h 22"/>
                <a:gd name="T26" fmla="*/ 2 w 14"/>
                <a:gd name="T27" fmla="*/ 3 h 22"/>
                <a:gd name="T28" fmla="*/ 7 w 14"/>
                <a:gd name="T29" fmla="*/ 2 h 22"/>
                <a:gd name="T30" fmla="*/ 11 w 14"/>
                <a:gd name="T31" fmla="*/ 11 h 22"/>
                <a:gd name="T32" fmla="*/ 7 w 14"/>
                <a:gd name="T33" fmla="*/ 20 h 22"/>
                <a:gd name="T34" fmla="*/ 2 w 14"/>
                <a:gd name="T35" fmla="*/ 12 h 22"/>
                <a:gd name="T36" fmla="*/ 7 w 14"/>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2">
                  <a:moveTo>
                    <a:pt x="2" y="3"/>
                  </a:moveTo>
                  <a:cubicBezTo>
                    <a:pt x="1" y="4"/>
                    <a:pt x="1" y="5"/>
                    <a:pt x="0" y="7"/>
                  </a:cubicBezTo>
                  <a:cubicBezTo>
                    <a:pt x="0" y="8"/>
                    <a:pt x="0" y="10"/>
                    <a:pt x="0" y="12"/>
                  </a:cubicBezTo>
                  <a:cubicBezTo>
                    <a:pt x="0" y="13"/>
                    <a:pt x="0" y="15"/>
                    <a:pt x="0" y="16"/>
                  </a:cubicBezTo>
                  <a:cubicBezTo>
                    <a:pt x="1" y="17"/>
                    <a:pt x="1" y="19"/>
                    <a:pt x="2" y="19"/>
                  </a:cubicBezTo>
                  <a:cubicBezTo>
                    <a:pt x="2" y="20"/>
                    <a:pt x="3" y="21"/>
                    <a:pt x="4" y="22"/>
                  </a:cubicBezTo>
                  <a:cubicBezTo>
                    <a:pt x="5" y="22"/>
                    <a:pt x="5" y="22"/>
                    <a:pt x="7" y="22"/>
                  </a:cubicBezTo>
                  <a:cubicBezTo>
                    <a:pt x="8" y="22"/>
                    <a:pt x="9" y="22"/>
                    <a:pt x="10" y="21"/>
                  </a:cubicBezTo>
                  <a:cubicBezTo>
                    <a:pt x="10" y="21"/>
                    <a:pt x="11" y="20"/>
                    <a:pt x="12" y="19"/>
                  </a:cubicBezTo>
                  <a:cubicBezTo>
                    <a:pt x="12" y="18"/>
                    <a:pt x="13" y="17"/>
                    <a:pt x="13" y="16"/>
                  </a:cubicBezTo>
                  <a:cubicBezTo>
                    <a:pt x="13" y="15"/>
                    <a:pt x="14" y="13"/>
                    <a:pt x="14" y="11"/>
                  </a:cubicBezTo>
                  <a:cubicBezTo>
                    <a:pt x="14" y="4"/>
                    <a:pt x="11" y="0"/>
                    <a:pt x="7" y="0"/>
                  </a:cubicBezTo>
                  <a:cubicBezTo>
                    <a:pt x="6" y="0"/>
                    <a:pt x="5" y="1"/>
                    <a:pt x="4" y="1"/>
                  </a:cubicBezTo>
                  <a:cubicBezTo>
                    <a:pt x="3" y="2"/>
                    <a:pt x="2" y="2"/>
                    <a:pt x="2" y="3"/>
                  </a:cubicBezTo>
                  <a:moveTo>
                    <a:pt x="7" y="2"/>
                  </a:moveTo>
                  <a:cubicBezTo>
                    <a:pt x="10" y="2"/>
                    <a:pt x="11" y="5"/>
                    <a:pt x="11" y="11"/>
                  </a:cubicBezTo>
                  <a:cubicBezTo>
                    <a:pt x="11" y="17"/>
                    <a:pt x="10" y="20"/>
                    <a:pt x="7" y="20"/>
                  </a:cubicBezTo>
                  <a:cubicBezTo>
                    <a:pt x="4" y="20"/>
                    <a:pt x="2" y="17"/>
                    <a:pt x="2" y="12"/>
                  </a:cubicBezTo>
                  <a:cubicBezTo>
                    <a:pt x="2" y="5"/>
                    <a:pt x="4" y="2"/>
                    <a:pt x="7"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23" name="Freeform 179">
              <a:extLst>
                <a:ext uri="{FF2B5EF4-FFF2-40B4-BE49-F238E27FC236}">
                  <a16:creationId xmlns:a16="http://schemas.microsoft.com/office/drawing/2014/main" id="{B67EC2C0-7032-4B23-B0D2-12DE2BDCE97E}"/>
                </a:ext>
              </a:extLst>
            </p:cNvPr>
            <p:cNvSpPr>
              <a:spLocks noEditPoints="1"/>
            </p:cNvSpPr>
            <p:nvPr/>
          </p:nvSpPr>
          <p:spPr bwMode="auto">
            <a:xfrm>
              <a:off x="-1495222" y="613985"/>
              <a:ext cx="31246" cy="49336"/>
            </a:xfrm>
            <a:custGeom>
              <a:avLst/>
              <a:gdLst>
                <a:gd name="T0" fmla="*/ 2 w 14"/>
                <a:gd name="T1" fmla="*/ 19 h 22"/>
                <a:gd name="T2" fmla="*/ 4 w 14"/>
                <a:gd name="T3" fmla="*/ 21 h 22"/>
                <a:gd name="T4" fmla="*/ 7 w 14"/>
                <a:gd name="T5" fmla="*/ 22 h 22"/>
                <a:gd name="T6" fmla="*/ 10 w 14"/>
                <a:gd name="T7" fmla="*/ 21 h 22"/>
                <a:gd name="T8" fmla="*/ 12 w 14"/>
                <a:gd name="T9" fmla="*/ 19 h 22"/>
                <a:gd name="T10" fmla="*/ 13 w 14"/>
                <a:gd name="T11" fmla="*/ 16 h 22"/>
                <a:gd name="T12" fmla="*/ 14 w 14"/>
                <a:gd name="T13" fmla="*/ 11 h 22"/>
                <a:gd name="T14" fmla="*/ 7 w 14"/>
                <a:gd name="T15" fmla="*/ 0 h 22"/>
                <a:gd name="T16" fmla="*/ 4 w 14"/>
                <a:gd name="T17" fmla="*/ 1 h 22"/>
                <a:gd name="T18" fmla="*/ 2 w 14"/>
                <a:gd name="T19" fmla="*/ 3 h 22"/>
                <a:gd name="T20" fmla="*/ 0 w 14"/>
                <a:gd name="T21" fmla="*/ 7 h 22"/>
                <a:gd name="T22" fmla="*/ 0 w 14"/>
                <a:gd name="T23" fmla="*/ 12 h 22"/>
                <a:gd name="T24" fmla="*/ 0 w 14"/>
                <a:gd name="T25" fmla="*/ 16 h 22"/>
                <a:gd name="T26" fmla="*/ 2 w 14"/>
                <a:gd name="T27" fmla="*/ 19 h 22"/>
                <a:gd name="T28" fmla="*/ 7 w 14"/>
                <a:gd name="T29" fmla="*/ 2 h 22"/>
                <a:gd name="T30" fmla="*/ 11 w 14"/>
                <a:gd name="T31" fmla="*/ 11 h 22"/>
                <a:gd name="T32" fmla="*/ 7 w 14"/>
                <a:gd name="T33" fmla="*/ 20 h 22"/>
                <a:gd name="T34" fmla="*/ 2 w 14"/>
                <a:gd name="T35" fmla="*/ 12 h 22"/>
                <a:gd name="T36" fmla="*/ 7 w 14"/>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2">
                  <a:moveTo>
                    <a:pt x="2" y="19"/>
                  </a:moveTo>
                  <a:cubicBezTo>
                    <a:pt x="2" y="20"/>
                    <a:pt x="3" y="21"/>
                    <a:pt x="4" y="21"/>
                  </a:cubicBezTo>
                  <a:cubicBezTo>
                    <a:pt x="5" y="22"/>
                    <a:pt x="6" y="22"/>
                    <a:pt x="7" y="22"/>
                  </a:cubicBezTo>
                  <a:cubicBezTo>
                    <a:pt x="8" y="22"/>
                    <a:pt x="9" y="22"/>
                    <a:pt x="10" y="21"/>
                  </a:cubicBezTo>
                  <a:cubicBezTo>
                    <a:pt x="11" y="21"/>
                    <a:pt x="11" y="20"/>
                    <a:pt x="12" y="19"/>
                  </a:cubicBezTo>
                  <a:cubicBezTo>
                    <a:pt x="12" y="18"/>
                    <a:pt x="13" y="17"/>
                    <a:pt x="13" y="16"/>
                  </a:cubicBezTo>
                  <a:cubicBezTo>
                    <a:pt x="14" y="14"/>
                    <a:pt x="14" y="13"/>
                    <a:pt x="14" y="11"/>
                  </a:cubicBezTo>
                  <a:cubicBezTo>
                    <a:pt x="14" y="4"/>
                    <a:pt x="12" y="0"/>
                    <a:pt x="7" y="0"/>
                  </a:cubicBezTo>
                  <a:cubicBezTo>
                    <a:pt x="6" y="0"/>
                    <a:pt x="5" y="1"/>
                    <a:pt x="4" y="1"/>
                  </a:cubicBezTo>
                  <a:cubicBezTo>
                    <a:pt x="3" y="1"/>
                    <a:pt x="2" y="2"/>
                    <a:pt x="2" y="3"/>
                  </a:cubicBezTo>
                  <a:cubicBezTo>
                    <a:pt x="1" y="4"/>
                    <a:pt x="1" y="5"/>
                    <a:pt x="0" y="7"/>
                  </a:cubicBezTo>
                  <a:cubicBezTo>
                    <a:pt x="0" y="8"/>
                    <a:pt x="0" y="10"/>
                    <a:pt x="0" y="12"/>
                  </a:cubicBezTo>
                  <a:cubicBezTo>
                    <a:pt x="0" y="13"/>
                    <a:pt x="0" y="15"/>
                    <a:pt x="0" y="16"/>
                  </a:cubicBezTo>
                  <a:cubicBezTo>
                    <a:pt x="1" y="17"/>
                    <a:pt x="1" y="19"/>
                    <a:pt x="2" y="19"/>
                  </a:cubicBezTo>
                  <a:moveTo>
                    <a:pt x="7" y="2"/>
                  </a:moveTo>
                  <a:cubicBezTo>
                    <a:pt x="10" y="2"/>
                    <a:pt x="11" y="5"/>
                    <a:pt x="11" y="11"/>
                  </a:cubicBezTo>
                  <a:cubicBezTo>
                    <a:pt x="11" y="17"/>
                    <a:pt x="10" y="20"/>
                    <a:pt x="7" y="20"/>
                  </a:cubicBezTo>
                  <a:cubicBezTo>
                    <a:pt x="4" y="20"/>
                    <a:pt x="2" y="17"/>
                    <a:pt x="2" y="12"/>
                  </a:cubicBezTo>
                  <a:cubicBezTo>
                    <a:pt x="2" y="5"/>
                    <a:pt x="4" y="2"/>
                    <a:pt x="7"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24" name="Freeform 180">
              <a:extLst>
                <a:ext uri="{FF2B5EF4-FFF2-40B4-BE49-F238E27FC236}">
                  <a16:creationId xmlns:a16="http://schemas.microsoft.com/office/drawing/2014/main" id="{ACBED3C0-7DEA-45A9-A033-CDACFFED0EF6}"/>
                </a:ext>
              </a:extLst>
            </p:cNvPr>
            <p:cNvSpPr>
              <a:spLocks/>
            </p:cNvSpPr>
            <p:nvPr/>
          </p:nvSpPr>
          <p:spPr bwMode="auto">
            <a:xfrm>
              <a:off x="-1511667" y="469267"/>
              <a:ext cx="16445" cy="49336"/>
            </a:xfrm>
            <a:custGeom>
              <a:avLst/>
              <a:gdLst>
                <a:gd name="T0" fmla="*/ 7 w 7"/>
                <a:gd name="T1" fmla="*/ 22 h 22"/>
                <a:gd name="T2" fmla="*/ 7 w 7"/>
                <a:gd name="T3" fmla="*/ 0 h 22"/>
                <a:gd name="T4" fmla="*/ 7 w 7"/>
                <a:gd name="T5" fmla="*/ 0 h 22"/>
                <a:gd name="T6" fmla="*/ 5 w 7"/>
                <a:gd name="T7" fmla="*/ 1 h 22"/>
                <a:gd name="T8" fmla="*/ 4 w 7"/>
                <a:gd name="T9" fmla="*/ 2 h 22"/>
                <a:gd name="T10" fmla="*/ 2 w 7"/>
                <a:gd name="T11" fmla="*/ 3 h 22"/>
                <a:gd name="T12" fmla="*/ 0 w 7"/>
                <a:gd name="T13" fmla="*/ 4 h 22"/>
                <a:gd name="T14" fmla="*/ 0 w 7"/>
                <a:gd name="T15" fmla="*/ 6 h 22"/>
                <a:gd name="T16" fmla="*/ 2 w 7"/>
                <a:gd name="T17" fmla="*/ 6 h 22"/>
                <a:gd name="T18" fmla="*/ 3 w 7"/>
                <a:gd name="T19" fmla="*/ 5 h 22"/>
                <a:gd name="T20" fmla="*/ 4 w 7"/>
                <a:gd name="T21" fmla="*/ 4 h 22"/>
                <a:gd name="T22" fmla="*/ 5 w 7"/>
                <a:gd name="T23" fmla="*/ 4 h 22"/>
                <a:gd name="T24" fmla="*/ 5 w 7"/>
                <a:gd name="T25" fmla="*/ 22 h 22"/>
                <a:gd name="T26" fmla="*/ 7 w 7"/>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2">
                  <a:moveTo>
                    <a:pt x="7" y="22"/>
                  </a:moveTo>
                  <a:cubicBezTo>
                    <a:pt x="7" y="0"/>
                    <a:pt x="7" y="0"/>
                    <a:pt x="7" y="0"/>
                  </a:cubicBezTo>
                  <a:cubicBezTo>
                    <a:pt x="7" y="0"/>
                    <a:pt x="7" y="0"/>
                    <a:pt x="7" y="0"/>
                  </a:cubicBezTo>
                  <a:cubicBezTo>
                    <a:pt x="6" y="1"/>
                    <a:pt x="6" y="1"/>
                    <a:pt x="5" y="1"/>
                  </a:cubicBezTo>
                  <a:cubicBezTo>
                    <a:pt x="5" y="2"/>
                    <a:pt x="4" y="2"/>
                    <a:pt x="4" y="2"/>
                  </a:cubicBezTo>
                  <a:cubicBezTo>
                    <a:pt x="3" y="2"/>
                    <a:pt x="2" y="3"/>
                    <a:pt x="2" y="3"/>
                  </a:cubicBezTo>
                  <a:cubicBezTo>
                    <a:pt x="1" y="3"/>
                    <a:pt x="1" y="3"/>
                    <a:pt x="0" y="4"/>
                  </a:cubicBezTo>
                  <a:cubicBezTo>
                    <a:pt x="0" y="6"/>
                    <a:pt x="0" y="6"/>
                    <a:pt x="0" y="6"/>
                  </a:cubicBezTo>
                  <a:cubicBezTo>
                    <a:pt x="1" y="6"/>
                    <a:pt x="1" y="6"/>
                    <a:pt x="2" y="6"/>
                  </a:cubicBezTo>
                  <a:cubicBezTo>
                    <a:pt x="2" y="5"/>
                    <a:pt x="3" y="5"/>
                    <a:pt x="3" y="5"/>
                  </a:cubicBezTo>
                  <a:cubicBezTo>
                    <a:pt x="3" y="5"/>
                    <a:pt x="4" y="4"/>
                    <a:pt x="4" y="4"/>
                  </a:cubicBezTo>
                  <a:cubicBezTo>
                    <a:pt x="5" y="4"/>
                    <a:pt x="5" y="4"/>
                    <a:pt x="5" y="4"/>
                  </a:cubicBezTo>
                  <a:cubicBezTo>
                    <a:pt x="5" y="22"/>
                    <a:pt x="5" y="22"/>
                    <a:pt x="5" y="22"/>
                  </a:cubicBezTo>
                  <a:lnTo>
                    <a:pt x="7"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25" name="Freeform 181">
              <a:extLst>
                <a:ext uri="{FF2B5EF4-FFF2-40B4-BE49-F238E27FC236}">
                  <a16:creationId xmlns:a16="http://schemas.microsoft.com/office/drawing/2014/main" id="{E830815A-E78F-45AE-A9EC-8BF179CC3D90}"/>
                </a:ext>
              </a:extLst>
            </p:cNvPr>
            <p:cNvSpPr>
              <a:spLocks/>
            </p:cNvSpPr>
            <p:nvPr/>
          </p:nvSpPr>
          <p:spPr bwMode="auto">
            <a:xfrm>
              <a:off x="-1511667" y="543270"/>
              <a:ext cx="16445" cy="46047"/>
            </a:xfrm>
            <a:custGeom>
              <a:avLst/>
              <a:gdLst>
                <a:gd name="T0" fmla="*/ 7 w 7"/>
                <a:gd name="T1" fmla="*/ 21 h 21"/>
                <a:gd name="T2" fmla="*/ 7 w 7"/>
                <a:gd name="T3" fmla="*/ 0 h 21"/>
                <a:gd name="T4" fmla="*/ 7 w 7"/>
                <a:gd name="T5" fmla="*/ 0 h 21"/>
                <a:gd name="T6" fmla="*/ 5 w 7"/>
                <a:gd name="T7" fmla="*/ 1 h 21"/>
                <a:gd name="T8" fmla="*/ 4 w 7"/>
                <a:gd name="T9" fmla="*/ 2 h 21"/>
                <a:gd name="T10" fmla="*/ 2 w 7"/>
                <a:gd name="T11" fmla="*/ 2 h 21"/>
                <a:gd name="T12" fmla="*/ 0 w 7"/>
                <a:gd name="T13" fmla="*/ 3 h 21"/>
                <a:gd name="T14" fmla="*/ 0 w 7"/>
                <a:gd name="T15" fmla="*/ 6 h 21"/>
                <a:gd name="T16" fmla="*/ 2 w 7"/>
                <a:gd name="T17" fmla="*/ 5 h 21"/>
                <a:gd name="T18" fmla="*/ 3 w 7"/>
                <a:gd name="T19" fmla="*/ 4 h 21"/>
                <a:gd name="T20" fmla="*/ 4 w 7"/>
                <a:gd name="T21" fmla="*/ 4 h 21"/>
                <a:gd name="T22" fmla="*/ 5 w 7"/>
                <a:gd name="T23" fmla="*/ 3 h 21"/>
                <a:gd name="T24" fmla="*/ 5 w 7"/>
                <a:gd name="T25" fmla="*/ 21 h 21"/>
                <a:gd name="T26" fmla="*/ 7 w 7"/>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1">
                  <a:moveTo>
                    <a:pt x="7" y="21"/>
                  </a:moveTo>
                  <a:cubicBezTo>
                    <a:pt x="7" y="0"/>
                    <a:pt x="7" y="0"/>
                    <a:pt x="7" y="0"/>
                  </a:cubicBezTo>
                  <a:cubicBezTo>
                    <a:pt x="7" y="0"/>
                    <a:pt x="7" y="0"/>
                    <a:pt x="7" y="0"/>
                  </a:cubicBezTo>
                  <a:cubicBezTo>
                    <a:pt x="6" y="0"/>
                    <a:pt x="6" y="0"/>
                    <a:pt x="5" y="1"/>
                  </a:cubicBezTo>
                  <a:cubicBezTo>
                    <a:pt x="5" y="1"/>
                    <a:pt x="4" y="1"/>
                    <a:pt x="4" y="2"/>
                  </a:cubicBezTo>
                  <a:cubicBezTo>
                    <a:pt x="3" y="2"/>
                    <a:pt x="2" y="2"/>
                    <a:pt x="2" y="2"/>
                  </a:cubicBezTo>
                  <a:cubicBezTo>
                    <a:pt x="1" y="3"/>
                    <a:pt x="1" y="3"/>
                    <a:pt x="0" y="3"/>
                  </a:cubicBezTo>
                  <a:cubicBezTo>
                    <a:pt x="0" y="6"/>
                    <a:pt x="0" y="6"/>
                    <a:pt x="0" y="6"/>
                  </a:cubicBezTo>
                  <a:cubicBezTo>
                    <a:pt x="1" y="5"/>
                    <a:pt x="1" y="5"/>
                    <a:pt x="2" y="5"/>
                  </a:cubicBezTo>
                  <a:cubicBezTo>
                    <a:pt x="2" y="5"/>
                    <a:pt x="3" y="5"/>
                    <a:pt x="3" y="4"/>
                  </a:cubicBezTo>
                  <a:cubicBezTo>
                    <a:pt x="3" y="4"/>
                    <a:pt x="4" y="4"/>
                    <a:pt x="4" y="4"/>
                  </a:cubicBezTo>
                  <a:cubicBezTo>
                    <a:pt x="5" y="3"/>
                    <a:pt x="5" y="3"/>
                    <a:pt x="5" y="3"/>
                  </a:cubicBezTo>
                  <a:cubicBezTo>
                    <a:pt x="5" y="21"/>
                    <a:pt x="5" y="21"/>
                    <a:pt x="5" y="21"/>
                  </a:cubicBezTo>
                  <a:lnTo>
                    <a:pt x="7" y="21"/>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26" name="Freeform 182">
              <a:extLst>
                <a:ext uri="{FF2B5EF4-FFF2-40B4-BE49-F238E27FC236}">
                  <a16:creationId xmlns:a16="http://schemas.microsoft.com/office/drawing/2014/main" id="{EA8540D5-F179-4D9A-B6F3-747458689CAB}"/>
                </a:ext>
              </a:extLst>
            </p:cNvPr>
            <p:cNvSpPr>
              <a:spLocks/>
            </p:cNvSpPr>
            <p:nvPr/>
          </p:nvSpPr>
          <p:spPr bwMode="auto">
            <a:xfrm>
              <a:off x="-1587315" y="543270"/>
              <a:ext cx="23023" cy="47692"/>
            </a:xfrm>
            <a:custGeom>
              <a:avLst/>
              <a:gdLst>
                <a:gd name="T0" fmla="*/ 3 w 10"/>
                <a:gd name="T1" fmla="*/ 2 h 22"/>
                <a:gd name="T2" fmla="*/ 8 w 10"/>
                <a:gd name="T3" fmla="*/ 11 h 22"/>
                <a:gd name="T4" fmla="*/ 3 w 10"/>
                <a:gd name="T5" fmla="*/ 20 h 22"/>
                <a:gd name="T6" fmla="*/ 0 w 10"/>
                <a:gd name="T7" fmla="*/ 17 h 22"/>
                <a:gd name="T8" fmla="*/ 0 w 10"/>
                <a:gd name="T9" fmla="*/ 21 h 22"/>
                <a:gd name="T10" fmla="*/ 0 w 10"/>
                <a:gd name="T11" fmla="*/ 21 h 22"/>
                <a:gd name="T12" fmla="*/ 3 w 10"/>
                <a:gd name="T13" fmla="*/ 22 h 22"/>
                <a:gd name="T14" fmla="*/ 6 w 10"/>
                <a:gd name="T15" fmla="*/ 21 h 22"/>
                <a:gd name="T16" fmla="*/ 8 w 10"/>
                <a:gd name="T17" fmla="*/ 19 h 22"/>
                <a:gd name="T18" fmla="*/ 10 w 10"/>
                <a:gd name="T19" fmla="*/ 15 h 22"/>
                <a:gd name="T20" fmla="*/ 10 w 10"/>
                <a:gd name="T21" fmla="*/ 11 h 22"/>
                <a:gd name="T22" fmla="*/ 4 w 10"/>
                <a:gd name="T23" fmla="*/ 0 h 22"/>
                <a:gd name="T24" fmla="*/ 3 w 10"/>
                <a:gd name="T25" fmla="*/ 2 h 22"/>
                <a:gd name="T26" fmla="*/ 3 w 10"/>
                <a:gd name="T2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22">
                  <a:moveTo>
                    <a:pt x="3" y="2"/>
                  </a:moveTo>
                  <a:cubicBezTo>
                    <a:pt x="6" y="2"/>
                    <a:pt x="8" y="5"/>
                    <a:pt x="8" y="11"/>
                  </a:cubicBezTo>
                  <a:cubicBezTo>
                    <a:pt x="8" y="17"/>
                    <a:pt x="6" y="20"/>
                    <a:pt x="3" y="20"/>
                  </a:cubicBezTo>
                  <a:cubicBezTo>
                    <a:pt x="2" y="20"/>
                    <a:pt x="1" y="19"/>
                    <a:pt x="0" y="17"/>
                  </a:cubicBezTo>
                  <a:cubicBezTo>
                    <a:pt x="0" y="18"/>
                    <a:pt x="0" y="20"/>
                    <a:pt x="0" y="21"/>
                  </a:cubicBezTo>
                  <a:cubicBezTo>
                    <a:pt x="0" y="21"/>
                    <a:pt x="0" y="21"/>
                    <a:pt x="0" y="21"/>
                  </a:cubicBezTo>
                  <a:cubicBezTo>
                    <a:pt x="1" y="21"/>
                    <a:pt x="2" y="22"/>
                    <a:pt x="3" y="22"/>
                  </a:cubicBezTo>
                  <a:cubicBezTo>
                    <a:pt x="4" y="22"/>
                    <a:pt x="5" y="21"/>
                    <a:pt x="6" y="21"/>
                  </a:cubicBezTo>
                  <a:cubicBezTo>
                    <a:pt x="7" y="20"/>
                    <a:pt x="8" y="20"/>
                    <a:pt x="8" y="19"/>
                  </a:cubicBezTo>
                  <a:cubicBezTo>
                    <a:pt x="9" y="18"/>
                    <a:pt x="9" y="17"/>
                    <a:pt x="10" y="15"/>
                  </a:cubicBezTo>
                  <a:cubicBezTo>
                    <a:pt x="10" y="14"/>
                    <a:pt x="10" y="12"/>
                    <a:pt x="10" y="11"/>
                  </a:cubicBezTo>
                  <a:cubicBezTo>
                    <a:pt x="10" y="4"/>
                    <a:pt x="8" y="0"/>
                    <a:pt x="4" y="0"/>
                  </a:cubicBezTo>
                  <a:cubicBezTo>
                    <a:pt x="4" y="1"/>
                    <a:pt x="3" y="1"/>
                    <a:pt x="3" y="2"/>
                  </a:cubicBezTo>
                  <a:cubicBezTo>
                    <a:pt x="3" y="2"/>
                    <a:pt x="3" y="2"/>
                    <a:pt x="3"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27" name="Freeform 183">
              <a:extLst>
                <a:ext uri="{FF2B5EF4-FFF2-40B4-BE49-F238E27FC236}">
                  <a16:creationId xmlns:a16="http://schemas.microsoft.com/office/drawing/2014/main" id="{BAF78340-35D0-4E73-BDF1-EAB5D086C37D}"/>
                </a:ext>
              </a:extLst>
            </p:cNvPr>
            <p:cNvSpPr>
              <a:spLocks/>
            </p:cNvSpPr>
            <p:nvPr/>
          </p:nvSpPr>
          <p:spPr bwMode="auto">
            <a:xfrm>
              <a:off x="-1531401" y="613985"/>
              <a:ext cx="18090" cy="49336"/>
            </a:xfrm>
            <a:custGeom>
              <a:avLst/>
              <a:gdLst>
                <a:gd name="T0" fmla="*/ 8 w 8"/>
                <a:gd name="T1" fmla="*/ 22 h 22"/>
                <a:gd name="T2" fmla="*/ 8 w 8"/>
                <a:gd name="T3" fmla="*/ 0 h 22"/>
                <a:gd name="T4" fmla="*/ 7 w 8"/>
                <a:gd name="T5" fmla="*/ 0 h 22"/>
                <a:gd name="T6" fmla="*/ 5 w 8"/>
                <a:gd name="T7" fmla="*/ 1 h 22"/>
                <a:gd name="T8" fmla="*/ 4 w 8"/>
                <a:gd name="T9" fmla="*/ 2 h 22"/>
                <a:gd name="T10" fmla="*/ 2 w 8"/>
                <a:gd name="T11" fmla="*/ 3 h 22"/>
                <a:gd name="T12" fmla="*/ 0 w 8"/>
                <a:gd name="T13" fmla="*/ 4 h 22"/>
                <a:gd name="T14" fmla="*/ 0 w 8"/>
                <a:gd name="T15" fmla="*/ 6 h 22"/>
                <a:gd name="T16" fmla="*/ 2 w 8"/>
                <a:gd name="T17" fmla="*/ 6 h 22"/>
                <a:gd name="T18" fmla="*/ 3 w 8"/>
                <a:gd name="T19" fmla="*/ 5 h 22"/>
                <a:gd name="T20" fmla="*/ 4 w 8"/>
                <a:gd name="T21" fmla="*/ 4 h 22"/>
                <a:gd name="T22" fmla="*/ 5 w 8"/>
                <a:gd name="T23" fmla="*/ 4 h 22"/>
                <a:gd name="T24" fmla="*/ 5 w 8"/>
                <a:gd name="T25" fmla="*/ 22 h 22"/>
                <a:gd name="T26" fmla="*/ 8 w 8"/>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2">
                  <a:moveTo>
                    <a:pt x="8" y="22"/>
                  </a:moveTo>
                  <a:cubicBezTo>
                    <a:pt x="8" y="0"/>
                    <a:pt x="8" y="0"/>
                    <a:pt x="8" y="0"/>
                  </a:cubicBezTo>
                  <a:cubicBezTo>
                    <a:pt x="7" y="0"/>
                    <a:pt x="7" y="0"/>
                    <a:pt x="7" y="0"/>
                  </a:cubicBezTo>
                  <a:cubicBezTo>
                    <a:pt x="6" y="0"/>
                    <a:pt x="6" y="1"/>
                    <a:pt x="5" y="1"/>
                  </a:cubicBezTo>
                  <a:cubicBezTo>
                    <a:pt x="5" y="1"/>
                    <a:pt x="4" y="2"/>
                    <a:pt x="4" y="2"/>
                  </a:cubicBezTo>
                  <a:cubicBezTo>
                    <a:pt x="3" y="2"/>
                    <a:pt x="2" y="3"/>
                    <a:pt x="2" y="3"/>
                  </a:cubicBezTo>
                  <a:cubicBezTo>
                    <a:pt x="1" y="3"/>
                    <a:pt x="1" y="3"/>
                    <a:pt x="0" y="4"/>
                  </a:cubicBezTo>
                  <a:cubicBezTo>
                    <a:pt x="0" y="6"/>
                    <a:pt x="0" y="6"/>
                    <a:pt x="0" y="6"/>
                  </a:cubicBezTo>
                  <a:cubicBezTo>
                    <a:pt x="1" y="6"/>
                    <a:pt x="1" y="6"/>
                    <a:pt x="2" y="6"/>
                  </a:cubicBezTo>
                  <a:cubicBezTo>
                    <a:pt x="2" y="5"/>
                    <a:pt x="3" y="5"/>
                    <a:pt x="3" y="5"/>
                  </a:cubicBezTo>
                  <a:cubicBezTo>
                    <a:pt x="4" y="5"/>
                    <a:pt x="4" y="4"/>
                    <a:pt x="4" y="4"/>
                  </a:cubicBezTo>
                  <a:cubicBezTo>
                    <a:pt x="5" y="4"/>
                    <a:pt x="5" y="4"/>
                    <a:pt x="5" y="4"/>
                  </a:cubicBezTo>
                  <a:cubicBezTo>
                    <a:pt x="5" y="22"/>
                    <a:pt x="5" y="22"/>
                    <a:pt x="5" y="22"/>
                  </a:cubicBezTo>
                  <a:lnTo>
                    <a:pt x="8"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28" name="Freeform 184">
              <a:extLst>
                <a:ext uri="{FF2B5EF4-FFF2-40B4-BE49-F238E27FC236}">
                  <a16:creationId xmlns:a16="http://schemas.microsoft.com/office/drawing/2014/main" id="{BBF2B138-DB40-4CE0-9EC6-F97B202DF8B5}"/>
                </a:ext>
              </a:extLst>
            </p:cNvPr>
            <p:cNvSpPr>
              <a:spLocks noEditPoints="1"/>
            </p:cNvSpPr>
            <p:nvPr/>
          </p:nvSpPr>
          <p:spPr bwMode="auto">
            <a:xfrm>
              <a:off x="-1556069" y="543270"/>
              <a:ext cx="31246" cy="47692"/>
            </a:xfrm>
            <a:custGeom>
              <a:avLst/>
              <a:gdLst>
                <a:gd name="T0" fmla="*/ 14 w 14"/>
                <a:gd name="T1" fmla="*/ 15 h 22"/>
                <a:gd name="T2" fmla="*/ 14 w 14"/>
                <a:gd name="T3" fmla="*/ 11 h 22"/>
                <a:gd name="T4" fmla="*/ 7 w 14"/>
                <a:gd name="T5" fmla="*/ 0 h 22"/>
                <a:gd name="T6" fmla="*/ 4 w 14"/>
                <a:gd name="T7" fmla="*/ 1 h 22"/>
                <a:gd name="T8" fmla="*/ 2 w 14"/>
                <a:gd name="T9" fmla="*/ 3 h 22"/>
                <a:gd name="T10" fmla="*/ 1 w 14"/>
                <a:gd name="T11" fmla="*/ 6 h 22"/>
                <a:gd name="T12" fmla="*/ 0 w 14"/>
                <a:gd name="T13" fmla="*/ 11 h 22"/>
                <a:gd name="T14" fmla="*/ 1 w 14"/>
                <a:gd name="T15" fmla="*/ 16 h 22"/>
                <a:gd name="T16" fmla="*/ 2 w 14"/>
                <a:gd name="T17" fmla="*/ 19 h 22"/>
                <a:gd name="T18" fmla="*/ 4 w 14"/>
                <a:gd name="T19" fmla="*/ 21 h 22"/>
                <a:gd name="T20" fmla="*/ 7 w 14"/>
                <a:gd name="T21" fmla="*/ 22 h 22"/>
                <a:gd name="T22" fmla="*/ 10 w 14"/>
                <a:gd name="T23" fmla="*/ 21 h 22"/>
                <a:gd name="T24" fmla="*/ 12 w 14"/>
                <a:gd name="T25" fmla="*/ 19 h 22"/>
                <a:gd name="T26" fmla="*/ 14 w 14"/>
                <a:gd name="T27" fmla="*/ 15 h 22"/>
                <a:gd name="T28" fmla="*/ 7 w 14"/>
                <a:gd name="T29" fmla="*/ 20 h 22"/>
                <a:gd name="T30" fmla="*/ 3 w 14"/>
                <a:gd name="T31" fmla="*/ 11 h 22"/>
                <a:gd name="T32" fmla="*/ 7 w 14"/>
                <a:gd name="T33" fmla="*/ 2 h 22"/>
                <a:gd name="T34" fmla="*/ 12 w 14"/>
                <a:gd name="T35" fmla="*/ 11 h 22"/>
                <a:gd name="T36" fmla="*/ 7 w 14"/>
                <a:gd name="T3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2">
                  <a:moveTo>
                    <a:pt x="14" y="15"/>
                  </a:moveTo>
                  <a:cubicBezTo>
                    <a:pt x="14" y="14"/>
                    <a:pt x="14" y="12"/>
                    <a:pt x="14" y="11"/>
                  </a:cubicBezTo>
                  <a:cubicBezTo>
                    <a:pt x="14" y="3"/>
                    <a:pt x="12" y="0"/>
                    <a:pt x="7" y="0"/>
                  </a:cubicBezTo>
                  <a:cubicBezTo>
                    <a:pt x="6" y="0"/>
                    <a:pt x="5" y="0"/>
                    <a:pt x="4" y="1"/>
                  </a:cubicBezTo>
                  <a:cubicBezTo>
                    <a:pt x="3" y="1"/>
                    <a:pt x="3" y="2"/>
                    <a:pt x="2" y="3"/>
                  </a:cubicBezTo>
                  <a:cubicBezTo>
                    <a:pt x="1" y="4"/>
                    <a:pt x="1" y="5"/>
                    <a:pt x="1" y="6"/>
                  </a:cubicBezTo>
                  <a:cubicBezTo>
                    <a:pt x="0" y="8"/>
                    <a:pt x="0" y="9"/>
                    <a:pt x="0" y="11"/>
                  </a:cubicBezTo>
                  <a:cubicBezTo>
                    <a:pt x="0" y="13"/>
                    <a:pt x="0" y="14"/>
                    <a:pt x="1" y="16"/>
                  </a:cubicBezTo>
                  <a:cubicBezTo>
                    <a:pt x="1" y="17"/>
                    <a:pt x="1" y="18"/>
                    <a:pt x="2" y="19"/>
                  </a:cubicBezTo>
                  <a:cubicBezTo>
                    <a:pt x="3" y="20"/>
                    <a:pt x="3" y="21"/>
                    <a:pt x="4" y="21"/>
                  </a:cubicBezTo>
                  <a:cubicBezTo>
                    <a:pt x="5" y="21"/>
                    <a:pt x="6" y="22"/>
                    <a:pt x="7" y="22"/>
                  </a:cubicBezTo>
                  <a:cubicBezTo>
                    <a:pt x="8" y="22"/>
                    <a:pt x="9" y="21"/>
                    <a:pt x="10" y="21"/>
                  </a:cubicBezTo>
                  <a:cubicBezTo>
                    <a:pt x="11" y="20"/>
                    <a:pt x="12" y="20"/>
                    <a:pt x="12" y="19"/>
                  </a:cubicBezTo>
                  <a:cubicBezTo>
                    <a:pt x="13" y="18"/>
                    <a:pt x="13" y="17"/>
                    <a:pt x="14" y="15"/>
                  </a:cubicBezTo>
                  <a:moveTo>
                    <a:pt x="7" y="20"/>
                  </a:moveTo>
                  <a:cubicBezTo>
                    <a:pt x="4" y="20"/>
                    <a:pt x="3" y="17"/>
                    <a:pt x="3" y="11"/>
                  </a:cubicBezTo>
                  <a:cubicBezTo>
                    <a:pt x="3" y="5"/>
                    <a:pt x="4" y="2"/>
                    <a:pt x="7" y="2"/>
                  </a:cubicBezTo>
                  <a:cubicBezTo>
                    <a:pt x="10" y="2"/>
                    <a:pt x="12" y="5"/>
                    <a:pt x="12" y="11"/>
                  </a:cubicBezTo>
                  <a:cubicBezTo>
                    <a:pt x="12" y="17"/>
                    <a:pt x="10" y="20"/>
                    <a:pt x="7" y="2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29" name="Freeform 185">
              <a:extLst>
                <a:ext uri="{FF2B5EF4-FFF2-40B4-BE49-F238E27FC236}">
                  <a16:creationId xmlns:a16="http://schemas.microsoft.com/office/drawing/2014/main" id="{7E6416B6-676B-48B3-B8BE-9499C2719DA0}"/>
                </a:ext>
              </a:extLst>
            </p:cNvPr>
            <p:cNvSpPr>
              <a:spLocks/>
            </p:cNvSpPr>
            <p:nvPr/>
          </p:nvSpPr>
          <p:spPr bwMode="auto">
            <a:xfrm>
              <a:off x="-1450820" y="613985"/>
              <a:ext cx="14801" cy="49336"/>
            </a:xfrm>
            <a:custGeom>
              <a:avLst/>
              <a:gdLst>
                <a:gd name="T0" fmla="*/ 7 w 7"/>
                <a:gd name="T1" fmla="*/ 22 h 22"/>
                <a:gd name="T2" fmla="*/ 7 w 7"/>
                <a:gd name="T3" fmla="*/ 0 h 22"/>
                <a:gd name="T4" fmla="*/ 6 w 7"/>
                <a:gd name="T5" fmla="*/ 0 h 22"/>
                <a:gd name="T6" fmla="*/ 5 w 7"/>
                <a:gd name="T7" fmla="*/ 1 h 22"/>
                <a:gd name="T8" fmla="*/ 3 w 7"/>
                <a:gd name="T9" fmla="*/ 2 h 22"/>
                <a:gd name="T10" fmla="*/ 2 w 7"/>
                <a:gd name="T11" fmla="*/ 3 h 22"/>
                <a:gd name="T12" fmla="*/ 0 w 7"/>
                <a:gd name="T13" fmla="*/ 4 h 22"/>
                <a:gd name="T14" fmla="*/ 0 w 7"/>
                <a:gd name="T15" fmla="*/ 6 h 22"/>
                <a:gd name="T16" fmla="*/ 1 w 7"/>
                <a:gd name="T17" fmla="*/ 6 h 22"/>
                <a:gd name="T18" fmla="*/ 3 w 7"/>
                <a:gd name="T19" fmla="*/ 5 h 22"/>
                <a:gd name="T20" fmla="*/ 4 w 7"/>
                <a:gd name="T21" fmla="*/ 4 h 22"/>
                <a:gd name="T22" fmla="*/ 5 w 7"/>
                <a:gd name="T23" fmla="*/ 4 h 22"/>
                <a:gd name="T24" fmla="*/ 5 w 7"/>
                <a:gd name="T25" fmla="*/ 22 h 22"/>
                <a:gd name="T26" fmla="*/ 7 w 7"/>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2">
                  <a:moveTo>
                    <a:pt x="7" y="22"/>
                  </a:moveTo>
                  <a:cubicBezTo>
                    <a:pt x="7" y="0"/>
                    <a:pt x="7" y="0"/>
                    <a:pt x="7" y="0"/>
                  </a:cubicBezTo>
                  <a:cubicBezTo>
                    <a:pt x="6" y="0"/>
                    <a:pt x="6" y="0"/>
                    <a:pt x="6" y="0"/>
                  </a:cubicBezTo>
                  <a:cubicBezTo>
                    <a:pt x="6" y="0"/>
                    <a:pt x="5" y="1"/>
                    <a:pt x="5" y="1"/>
                  </a:cubicBezTo>
                  <a:cubicBezTo>
                    <a:pt x="4" y="1"/>
                    <a:pt x="4" y="2"/>
                    <a:pt x="3" y="2"/>
                  </a:cubicBezTo>
                  <a:cubicBezTo>
                    <a:pt x="3" y="2"/>
                    <a:pt x="2" y="3"/>
                    <a:pt x="2" y="3"/>
                  </a:cubicBezTo>
                  <a:cubicBezTo>
                    <a:pt x="1" y="3"/>
                    <a:pt x="0" y="3"/>
                    <a:pt x="0" y="4"/>
                  </a:cubicBezTo>
                  <a:cubicBezTo>
                    <a:pt x="0" y="6"/>
                    <a:pt x="0" y="6"/>
                    <a:pt x="0" y="6"/>
                  </a:cubicBezTo>
                  <a:cubicBezTo>
                    <a:pt x="0" y="6"/>
                    <a:pt x="1" y="6"/>
                    <a:pt x="1" y="6"/>
                  </a:cubicBezTo>
                  <a:cubicBezTo>
                    <a:pt x="2" y="5"/>
                    <a:pt x="2" y="5"/>
                    <a:pt x="3" y="5"/>
                  </a:cubicBezTo>
                  <a:cubicBezTo>
                    <a:pt x="3" y="5"/>
                    <a:pt x="4" y="4"/>
                    <a:pt x="4" y="4"/>
                  </a:cubicBezTo>
                  <a:cubicBezTo>
                    <a:pt x="4" y="4"/>
                    <a:pt x="5" y="4"/>
                    <a:pt x="5" y="4"/>
                  </a:cubicBezTo>
                  <a:cubicBezTo>
                    <a:pt x="5" y="22"/>
                    <a:pt x="5" y="22"/>
                    <a:pt x="5" y="22"/>
                  </a:cubicBezTo>
                  <a:lnTo>
                    <a:pt x="7"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30" name="Freeform 186">
              <a:extLst>
                <a:ext uri="{FF2B5EF4-FFF2-40B4-BE49-F238E27FC236}">
                  <a16:creationId xmlns:a16="http://schemas.microsoft.com/office/drawing/2014/main" id="{6BCA1E71-8C4B-4D09-8424-F086B2804195}"/>
                </a:ext>
              </a:extLst>
            </p:cNvPr>
            <p:cNvSpPr>
              <a:spLocks/>
            </p:cNvSpPr>
            <p:nvPr/>
          </p:nvSpPr>
          <p:spPr bwMode="auto">
            <a:xfrm>
              <a:off x="-1431086" y="543270"/>
              <a:ext cx="14801" cy="46047"/>
            </a:xfrm>
            <a:custGeom>
              <a:avLst/>
              <a:gdLst>
                <a:gd name="T0" fmla="*/ 7 w 7"/>
                <a:gd name="T1" fmla="*/ 21 h 21"/>
                <a:gd name="T2" fmla="*/ 7 w 7"/>
                <a:gd name="T3" fmla="*/ 0 h 21"/>
                <a:gd name="T4" fmla="*/ 6 w 7"/>
                <a:gd name="T5" fmla="*/ 0 h 21"/>
                <a:gd name="T6" fmla="*/ 5 w 7"/>
                <a:gd name="T7" fmla="*/ 1 h 21"/>
                <a:gd name="T8" fmla="*/ 3 w 7"/>
                <a:gd name="T9" fmla="*/ 2 h 21"/>
                <a:gd name="T10" fmla="*/ 1 w 7"/>
                <a:gd name="T11" fmla="*/ 2 h 21"/>
                <a:gd name="T12" fmla="*/ 0 w 7"/>
                <a:gd name="T13" fmla="*/ 3 h 21"/>
                <a:gd name="T14" fmla="*/ 0 w 7"/>
                <a:gd name="T15" fmla="*/ 6 h 21"/>
                <a:gd name="T16" fmla="*/ 1 w 7"/>
                <a:gd name="T17" fmla="*/ 5 h 21"/>
                <a:gd name="T18" fmla="*/ 3 w 7"/>
                <a:gd name="T19" fmla="*/ 4 h 21"/>
                <a:gd name="T20" fmla="*/ 4 w 7"/>
                <a:gd name="T21" fmla="*/ 4 h 21"/>
                <a:gd name="T22" fmla="*/ 5 w 7"/>
                <a:gd name="T23" fmla="*/ 3 h 21"/>
                <a:gd name="T24" fmla="*/ 5 w 7"/>
                <a:gd name="T25" fmla="*/ 21 h 21"/>
                <a:gd name="T26" fmla="*/ 7 w 7"/>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1">
                  <a:moveTo>
                    <a:pt x="7" y="21"/>
                  </a:moveTo>
                  <a:cubicBezTo>
                    <a:pt x="7" y="0"/>
                    <a:pt x="7" y="0"/>
                    <a:pt x="7" y="0"/>
                  </a:cubicBezTo>
                  <a:cubicBezTo>
                    <a:pt x="6" y="0"/>
                    <a:pt x="6" y="0"/>
                    <a:pt x="6" y="0"/>
                  </a:cubicBezTo>
                  <a:cubicBezTo>
                    <a:pt x="6" y="0"/>
                    <a:pt x="5" y="0"/>
                    <a:pt x="5" y="1"/>
                  </a:cubicBezTo>
                  <a:cubicBezTo>
                    <a:pt x="4" y="1"/>
                    <a:pt x="4" y="1"/>
                    <a:pt x="3" y="2"/>
                  </a:cubicBezTo>
                  <a:cubicBezTo>
                    <a:pt x="3" y="2"/>
                    <a:pt x="2" y="2"/>
                    <a:pt x="1" y="2"/>
                  </a:cubicBezTo>
                  <a:cubicBezTo>
                    <a:pt x="1" y="3"/>
                    <a:pt x="0" y="3"/>
                    <a:pt x="0" y="3"/>
                  </a:cubicBezTo>
                  <a:cubicBezTo>
                    <a:pt x="0" y="6"/>
                    <a:pt x="0" y="6"/>
                    <a:pt x="0" y="6"/>
                  </a:cubicBezTo>
                  <a:cubicBezTo>
                    <a:pt x="0" y="5"/>
                    <a:pt x="1" y="5"/>
                    <a:pt x="1" y="5"/>
                  </a:cubicBezTo>
                  <a:cubicBezTo>
                    <a:pt x="2" y="5"/>
                    <a:pt x="2" y="5"/>
                    <a:pt x="3" y="4"/>
                  </a:cubicBezTo>
                  <a:cubicBezTo>
                    <a:pt x="3" y="4"/>
                    <a:pt x="3" y="4"/>
                    <a:pt x="4" y="4"/>
                  </a:cubicBezTo>
                  <a:cubicBezTo>
                    <a:pt x="4" y="3"/>
                    <a:pt x="4" y="3"/>
                    <a:pt x="5" y="3"/>
                  </a:cubicBezTo>
                  <a:cubicBezTo>
                    <a:pt x="5" y="21"/>
                    <a:pt x="5" y="21"/>
                    <a:pt x="5" y="21"/>
                  </a:cubicBezTo>
                  <a:lnTo>
                    <a:pt x="7" y="21"/>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31" name="Freeform 187">
              <a:extLst>
                <a:ext uri="{FF2B5EF4-FFF2-40B4-BE49-F238E27FC236}">
                  <a16:creationId xmlns:a16="http://schemas.microsoft.com/office/drawing/2014/main" id="{203D38C3-1148-4C7E-9214-C12F700BC280}"/>
                </a:ext>
              </a:extLst>
            </p:cNvPr>
            <p:cNvSpPr>
              <a:spLocks noEditPoints="1"/>
            </p:cNvSpPr>
            <p:nvPr/>
          </p:nvSpPr>
          <p:spPr bwMode="auto">
            <a:xfrm>
              <a:off x="-1436019" y="469267"/>
              <a:ext cx="29601" cy="49336"/>
            </a:xfrm>
            <a:custGeom>
              <a:avLst/>
              <a:gdLst>
                <a:gd name="T0" fmla="*/ 4 w 13"/>
                <a:gd name="T1" fmla="*/ 1 h 22"/>
                <a:gd name="T2" fmla="*/ 2 w 13"/>
                <a:gd name="T3" fmla="*/ 3 h 22"/>
                <a:gd name="T4" fmla="*/ 0 w 13"/>
                <a:gd name="T5" fmla="*/ 7 h 22"/>
                <a:gd name="T6" fmla="*/ 0 w 13"/>
                <a:gd name="T7" fmla="*/ 12 h 22"/>
                <a:gd name="T8" fmla="*/ 0 w 13"/>
                <a:gd name="T9" fmla="*/ 16 h 22"/>
                <a:gd name="T10" fmla="*/ 1 w 13"/>
                <a:gd name="T11" fmla="*/ 19 h 22"/>
                <a:gd name="T12" fmla="*/ 4 w 13"/>
                <a:gd name="T13" fmla="*/ 22 h 22"/>
                <a:gd name="T14" fmla="*/ 6 w 13"/>
                <a:gd name="T15" fmla="*/ 22 h 22"/>
                <a:gd name="T16" fmla="*/ 9 w 13"/>
                <a:gd name="T17" fmla="*/ 21 h 22"/>
                <a:gd name="T18" fmla="*/ 12 w 13"/>
                <a:gd name="T19" fmla="*/ 19 h 22"/>
                <a:gd name="T20" fmla="*/ 13 w 13"/>
                <a:gd name="T21" fmla="*/ 16 h 22"/>
                <a:gd name="T22" fmla="*/ 13 w 13"/>
                <a:gd name="T23" fmla="*/ 11 h 22"/>
                <a:gd name="T24" fmla="*/ 11 w 13"/>
                <a:gd name="T25" fmla="*/ 2 h 22"/>
                <a:gd name="T26" fmla="*/ 7 w 13"/>
                <a:gd name="T27" fmla="*/ 0 h 22"/>
                <a:gd name="T28" fmla="*/ 4 w 13"/>
                <a:gd name="T29" fmla="*/ 1 h 22"/>
                <a:gd name="T30" fmla="*/ 7 w 13"/>
                <a:gd name="T31" fmla="*/ 20 h 22"/>
                <a:gd name="T32" fmla="*/ 2 w 13"/>
                <a:gd name="T33" fmla="*/ 12 h 22"/>
                <a:gd name="T34" fmla="*/ 7 w 13"/>
                <a:gd name="T35" fmla="*/ 2 h 22"/>
                <a:gd name="T36" fmla="*/ 11 w 13"/>
                <a:gd name="T37" fmla="*/ 11 h 22"/>
                <a:gd name="T38" fmla="*/ 7 w 13"/>
                <a:gd name="T39"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22">
                  <a:moveTo>
                    <a:pt x="4" y="1"/>
                  </a:moveTo>
                  <a:cubicBezTo>
                    <a:pt x="3" y="2"/>
                    <a:pt x="2" y="2"/>
                    <a:pt x="2" y="3"/>
                  </a:cubicBezTo>
                  <a:cubicBezTo>
                    <a:pt x="1" y="4"/>
                    <a:pt x="0" y="5"/>
                    <a:pt x="0" y="7"/>
                  </a:cubicBezTo>
                  <a:cubicBezTo>
                    <a:pt x="0" y="8"/>
                    <a:pt x="0" y="10"/>
                    <a:pt x="0" y="12"/>
                  </a:cubicBezTo>
                  <a:cubicBezTo>
                    <a:pt x="0" y="13"/>
                    <a:pt x="0" y="15"/>
                    <a:pt x="0" y="16"/>
                  </a:cubicBezTo>
                  <a:cubicBezTo>
                    <a:pt x="0" y="17"/>
                    <a:pt x="1" y="19"/>
                    <a:pt x="1" y="19"/>
                  </a:cubicBezTo>
                  <a:cubicBezTo>
                    <a:pt x="2" y="20"/>
                    <a:pt x="3" y="21"/>
                    <a:pt x="4" y="22"/>
                  </a:cubicBezTo>
                  <a:cubicBezTo>
                    <a:pt x="4" y="22"/>
                    <a:pt x="5" y="22"/>
                    <a:pt x="6" y="22"/>
                  </a:cubicBezTo>
                  <a:cubicBezTo>
                    <a:pt x="7" y="22"/>
                    <a:pt x="8" y="22"/>
                    <a:pt x="9" y="21"/>
                  </a:cubicBezTo>
                  <a:cubicBezTo>
                    <a:pt x="10" y="21"/>
                    <a:pt x="11" y="20"/>
                    <a:pt x="12" y="19"/>
                  </a:cubicBezTo>
                  <a:cubicBezTo>
                    <a:pt x="12" y="18"/>
                    <a:pt x="13" y="17"/>
                    <a:pt x="13" y="16"/>
                  </a:cubicBezTo>
                  <a:cubicBezTo>
                    <a:pt x="13" y="15"/>
                    <a:pt x="13" y="13"/>
                    <a:pt x="13" y="11"/>
                  </a:cubicBezTo>
                  <a:cubicBezTo>
                    <a:pt x="13" y="7"/>
                    <a:pt x="13" y="4"/>
                    <a:pt x="11" y="2"/>
                  </a:cubicBezTo>
                  <a:cubicBezTo>
                    <a:pt x="10" y="1"/>
                    <a:pt x="8" y="1"/>
                    <a:pt x="7" y="0"/>
                  </a:cubicBezTo>
                  <a:cubicBezTo>
                    <a:pt x="6" y="0"/>
                    <a:pt x="5" y="1"/>
                    <a:pt x="4" y="1"/>
                  </a:cubicBezTo>
                  <a:moveTo>
                    <a:pt x="7" y="20"/>
                  </a:moveTo>
                  <a:cubicBezTo>
                    <a:pt x="4" y="20"/>
                    <a:pt x="2" y="17"/>
                    <a:pt x="2" y="12"/>
                  </a:cubicBezTo>
                  <a:cubicBezTo>
                    <a:pt x="2" y="5"/>
                    <a:pt x="4" y="2"/>
                    <a:pt x="7" y="2"/>
                  </a:cubicBezTo>
                  <a:cubicBezTo>
                    <a:pt x="10" y="2"/>
                    <a:pt x="11" y="5"/>
                    <a:pt x="11" y="11"/>
                  </a:cubicBezTo>
                  <a:cubicBezTo>
                    <a:pt x="11" y="17"/>
                    <a:pt x="10" y="20"/>
                    <a:pt x="7" y="2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32" name="Freeform 188">
              <a:extLst>
                <a:ext uri="{FF2B5EF4-FFF2-40B4-BE49-F238E27FC236}">
                  <a16:creationId xmlns:a16="http://schemas.microsoft.com/office/drawing/2014/main" id="{C5DC56BC-9616-4782-B373-1A3A4166C41B}"/>
                </a:ext>
              </a:extLst>
            </p:cNvPr>
            <p:cNvSpPr>
              <a:spLocks noEditPoints="1"/>
            </p:cNvSpPr>
            <p:nvPr/>
          </p:nvSpPr>
          <p:spPr bwMode="auto">
            <a:xfrm>
              <a:off x="-1575804" y="613985"/>
              <a:ext cx="31246" cy="49336"/>
            </a:xfrm>
            <a:custGeom>
              <a:avLst/>
              <a:gdLst>
                <a:gd name="T0" fmla="*/ 7 w 14"/>
                <a:gd name="T1" fmla="*/ 22 h 22"/>
                <a:gd name="T2" fmla="*/ 10 w 14"/>
                <a:gd name="T3" fmla="*/ 21 h 22"/>
                <a:gd name="T4" fmla="*/ 12 w 14"/>
                <a:gd name="T5" fmla="*/ 19 h 22"/>
                <a:gd name="T6" fmla="*/ 14 w 14"/>
                <a:gd name="T7" fmla="*/ 16 h 22"/>
                <a:gd name="T8" fmla="*/ 14 w 14"/>
                <a:gd name="T9" fmla="*/ 11 h 22"/>
                <a:gd name="T10" fmla="*/ 7 w 14"/>
                <a:gd name="T11" fmla="*/ 0 h 22"/>
                <a:gd name="T12" fmla="*/ 4 w 14"/>
                <a:gd name="T13" fmla="*/ 1 h 22"/>
                <a:gd name="T14" fmla="*/ 2 w 14"/>
                <a:gd name="T15" fmla="*/ 3 h 22"/>
                <a:gd name="T16" fmla="*/ 1 w 14"/>
                <a:gd name="T17" fmla="*/ 7 h 22"/>
                <a:gd name="T18" fmla="*/ 0 w 14"/>
                <a:gd name="T19" fmla="*/ 12 h 22"/>
                <a:gd name="T20" fmla="*/ 0 w 14"/>
                <a:gd name="T21" fmla="*/ 14 h 22"/>
                <a:gd name="T22" fmla="*/ 5 w 14"/>
                <a:gd name="T23" fmla="*/ 22 h 22"/>
                <a:gd name="T24" fmla="*/ 7 w 14"/>
                <a:gd name="T25" fmla="*/ 22 h 22"/>
                <a:gd name="T26" fmla="*/ 7 w 14"/>
                <a:gd name="T27" fmla="*/ 2 h 22"/>
                <a:gd name="T28" fmla="*/ 12 w 14"/>
                <a:gd name="T29" fmla="*/ 11 h 22"/>
                <a:gd name="T30" fmla="*/ 7 w 14"/>
                <a:gd name="T31" fmla="*/ 20 h 22"/>
                <a:gd name="T32" fmla="*/ 3 w 14"/>
                <a:gd name="T33" fmla="*/ 12 h 22"/>
                <a:gd name="T34" fmla="*/ 7 w 14"/>
                <a:gd name="T35"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22">
                  <a:moveTo>
                    <a:pt x="7" y="22"/>
                  </a:moveTo>
                  <a:cubicBezTo>
                    <a:pt x="8" y="22"/>
                    <a:pt x="9" y="22"/>
                    <a:pt x="10" y="21"/>
                  </a:cubicBezTo>
                  <a:cubicBezTo>
                    <a:pt x="11" y="21"/>
                    <a:pt x="12" y="20"/>
                    <a:pt x="12" y="19"/>
                  </a:cubicBezTo>
                  <a:cubicBezTo>
                    <a:pt x="13" y="18"/>
                    <a:pt x="13" y="17"/>
                    <a:pt x="14" y="16"/>
                  </a:cubicBezTo>
                  <a:cubicBezTo>
                    <a:pt x="14" y="14"/>
                    <a:pt x="14" y="13"/>
                    <a:pt x="14" y="11"/>
                  </a:cubicBezTo>
                  <a:cubicBezTo>
                    <a:pt x="14" y="4"/>
                    <a:pt x="12" y="0"/>
                    <a:pt x="7" y="0"/>
                  </a:cubicBezTo>
                  <a:cubicBezTo>
                    <a:pt x="6" y="0"/>
                    <a:pt x="5" y="1"/>
                    <a:pt x="4" y="1"/>
                  </a:cubicBezTo>
                  <a:cubicBezTo>
                    <a:pt x="3" y="1"/>
                    <a:pt x="3" y="2"/>
                    <a:pt x="2" y="3"/>
                  </a:cubicBezTo>
                  <a:cubicBezTo>
                    <a:pt x="1" y="4"/>
                    <a:pt x="1" y="5"/>
                    <a:pt x="1" y="7"/>
                  </a:cubicBezTo>
                  <a:cubicBezTo>
                    <a:pt x="0" y="8"/>
                    <a:pt x="0" y="10"/>
                    <a:pt x="0" y="12"/>
                  </a:cubicBezTo>
                  <a:cubicBezTo>
                    <a:pt x="0" y="12"/>
                    <a:pt x="0" y="13"/>
                    <a:pt x="0" y="14"/>
                  </a:cubicBezTo>
                  <a:cubicBezTo>
                    <a:pt x="2" y="17"/>
                    <a:pt x="3" y="19"/>
                    <a:pt x="5" y="22"/>
                  </a:cubicBezTo>
                  <a:cubicBezTo>
                    <a:pt x="5" y="22"/>
                    <a:pt x="6" y="22"/>
                    <a:pt x="7" y="22"/>
                  </a:cubicBezTo>
                  <a:moveTo>
                    <a:pt x="7" y="2"/>
                  </a:moveTo>
                  <a:cubicBezTo>
                    <a:pt x="10" y="2"/>
                    <a:pt x="12" y="5"/>
                    <a:pt x="12" y="11"/>
                  </a:cubicBezTo>
                  <a:cubicBezTo>
                    <a:pt x="12" y="17"/>
                    <a:pt x="10" y="20"/>
                    <a:pt x="7" y="20"/>
                  </a:cubicBezTo>
                  <a:cubicBezTo>
                    <a:pt x="4" y="20"/>
                    <a:pt x="3" y="17"/>
                    <a:pt x="3" y="12"/>
                  </a:cubicBezTo>
                  <a:cubicBezTo>
                    <a:pt x="3" y="5"/>
                    <a:pt x="4" y="2"/>
                    <a:pt x="7"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33" name="Freeform 189">
              <a:extLst>
                <a:ext uri="{FF2B5EF4-FFF2-40B4-BE49-F238E27FC236}">
                  <a16:creationId xmlns:a16="http://schemas.microsoft.com/office/drawing/2014/main" id="{38A069ED-CA46-4533-99C2-2C3272D7E321}"/>
                </a:ext>
              </a:extLst>
            </p:cNvPr>
            <p:cNvSpPr>
              <a:spLocks/>
            </p:cNvSpPr>
            <p:nvPr/>
          </p:nvSpPr>
          <p:spPr bwMode="auto">
            <a:xfrm>
              <a:off x="-1470554" y="543270"/>
              <a:ext cx="14801" cy="46047"/>
            </a:xfrm>
            <a:custGeom>
              <a:avLst/>
              <a:gdLst>
                <a:gd name="T0" fmla="*/ 7 w 7"/>
                <a:gd name="T1" fmla="*/ 21 h 21"/>
                <a:gd name="T2" fmla="*/ 7 w 7"/>
                <a:gd name="T3" fmla="*/ 0 h 21"/>
                <a:gd name="T4" fmla="*/ 6 w 7"/>
                <a:gd name="T5" fmla="*/ 0 h 21"/>
                <a:gd name="T6" fmla="*/ 5 w 7"/>
                <a:gd name="T7" fmla="*/ 1 h 21"/>
                <a:gd name="T8" fmla="*/ 3 w 7"/>
                <a:gd name="T9" fmla="*/ 2 h 21"/>
                <a:gd name="T10" fmla="*/ 2 w 7"/>
                <a:gd name="T11" fmla="*/ 2 h 21"/>
                <a:gd name="T12" fmla="*/ 0 w 7"/>
                <a:gd name="T13" fmla="*/ 3 h 21"/>
                <a:gd name="T14" fmla="*/ 0 w 7"/>
                <a:gd name="T15" fmla="*/ 6 h 21"/>
                <a:gd name="T16" fmla="*/ 1 w 7"/>
                <a:gd name="T17" fmla="*/ 5 h 21"/>
                <a:gd name="T18" fmla="*/ 3 w 7"/>
                <a:gd name="T19" fmla="*/ 4 h 21"/>
                <a:gd name="T20" fmla="*/ 4 w 7"/>
                <a:gd name="T21" fmla="*/ 4 h 21"/>
                <a:gd name="T22" fmla="*/ 5 w 7"/>
                <a:gd name="T23" fmla="*/ 3 h 21"/>
                <a:gd name="T24" fmla="*/ 5 w 7"/>
                <a:gd name="T25" fmla="*/ 21 h 21"/>
                <a:gd name="T26" fmla="*/ 7 w 7"/>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1">
                  <a:moveTo>
                    <a:pt x="7" y="21"/>
                  </a:moveTo>
                  <a:cubicBezTo>
                    <a:pt x="7" y="0"/>
                    <a:pt x="7" y="0"/>
                    <a:pt x="7" y="0"/>
                  </a:cubicBezTo>
                  <a:cubicBezTo>
                    <a:pt x="6" y="0"/>
                    <a:pt x="6" y="0"/>
                    <a:pt x="6" y="0"/>
                  </a:cubicBezTo>
                  <a:cubicBezTo>
                    <a:pt x="6" y="0"/>
                    <a:pt x="6" y="0"/>
                    <a:pt x="5" y="1"/>
                  </a:cubicBezTo>
                  <a:cubicBezTo>
                    <a:pt x="5" y="1"/>
                    <a:pt x="4" y="1"/>
                    <a:pt x="3" y="2"/>
                  </a:cubicBezTo>
                  <a:cubicBezTo>
                    <a:pt x="3" y="2"/>
                    <a:pt x="2" y="2"/>
                    <a:pt x="2" y="2"/>
                  </a:cubicBezTo>
                  <a:cubicBezTo>
                    <a:pt x="1" y="3"/>
                    <a:pt x="0" y="3"/>
                    <a:pt x="0" y="3"/>
                  </a:cubicBezTo>
                  <a:cubicBezTo>
                    <a:pt x="0" y="6"/>
                    <a:pt x="0" y="6"/>
                    <a:pt x="0" y="6"/>
                  </a:cubicBezTo>
                  <a:cubicBezTo>
                    <a:pt x="0" y="5"/>
                    <a:pt x="1" y="5"/>
                    <a:pt x="1" y="5"/>
                  </a:cubicBezTo>
                  <a:cubicBezTo>
                    <a:pt x="2" y="5"/>
                    <a:pt x="2" y="5"/>
                    <a:pt x="3" y="4"/>
                  </a:cubicBezTo>
                  <a:cubicBezTo>
                    <a:pt x="3" y="4"/>
                    <a:pt x="4" y="4"/>
                    <a:pt x="4" y="4"/>
                  </a:cubicBezTo>
                  <a:cubicBezTo>
                    <a:pt x="4" y="3"/>
                    <a:pt x="5" y="3"/>
                    <a:pt x="5" y="3"/>
                  </a:cubicBezTo>
                  <a:cubicBezTo>
                    <a:pt x="5" y="21"/>
                    <a:pt x="5" y="21"/>
                    <a:pt x="5" y="21"/>
                  </a:cubicBezTo>
                  <a:lnTo>
                    <a:pt x="7" y="21"/>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10" name="Freeform 166">
              <a:extLst>
                <a:ext uri="{FF2B5EF4-FFF2-40B4-BE49-F238E27FC236}">
                  <a16:creationId xmlns:a16="http://schemas.microsoft.com/office/drawing/2014/main" id="{438F9DDD-E230-487F-8216-1248A383B952}"/>
                </a:ext>
              </a:extLst>
            </p:cNvPr>
            <p:cNvSpPr>
              <a:spLocks/>
            </p:cNvSpPr>
            <p:nvPr/>
          </p:nvSpPr>
          <p:spPr bwMode="auto">
            <a:xfrm>
              <a:off x="-1600471" y="447888"/>
              <a:ext cx="281214" cy="282858"/>
            </a:xfrm>
            <a:custGeom>
              <a:avLst/>
              <a:gdLst>
                <a:gd name="T0" fmla="*/ 104 w 126"/>
                <a:gd name="T1" fmla="*/ 103 h 126"/>
                <a:gd name="T2" fmla="*/ 23 w 126"/>
                <a:gd name="T3" fmla="*/ 105 h 126"/>
                <a:gd name="T4" fmla="*/ 21 w 126"/>
                <a:gd name="T5" fmla="*/ 24 h 126"/>
                <a:gd name="T6" fmla="*/ 102 w 126"/>
                <a:gd name="T7" fmla="*/ 22 h 126"/>
                <a:gd name="T8" fmla="*/ 104 w 126"/>
                <a:gd name="T9" fmla="*/ 103 h 126"/>
              </a:gdLst>
              <a:ahLst/>
              <a:cxnLst>
                <a:cxn ang="0">
                  <a:pos x="T0" y="T1"/>
                </a:cxn>
                <a:cxn ang="0">
                  <a:pos x="T2" y="T3"/>
                </a:cxn>
                <a:cxn ang="0">
                  <a:pos x="T4" y="T5"/>
                </a:cxn>
                <a:cxn ang="0">
                  <a:pos x="T6" y="T7"/>
                </a:cxn>
                <a:cxn ang="0">
                  <a:pos x="T8" y="T9"/>
                </a:cxn>
              </a:cxnLst>
              <a:rect l="0" t="0" r="r" b="b"/>
              <a:pathLst>
                <a:path w="126" h="126">
                  <a:moveTo>
                    <a:pt x="104" y="103"/>
                  </a:moveTo>
                  <a:cubicBezTo>
                    <a:pt x="82" y="125"/>
                    <a:pt x="46" y="126"/>
                    <a:pt x="23" y="105"/>
                  </a:cubicBezTo>
                  <a:cubicBezTo>
                    <a:pt x="1" y="83"/>
                    <a:pt x="0" y="47"/>
                    <a:pt x="21" y="24"/>
                  </a:cubicBezTo>
                  <a:cubicBezTo>
                    <a:pt x="43" y="1"/>
                    <a:pt x="79" y="0"/>
                    <a:pt x="102" y="22"/>
                  </a:cubicBezTo>
                  <a:cubicBezTo>
                    <a:pt x="125" y="44"/>
                    <a:pt x="126" y="80"/>
                    <a:pt x="104" y="10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34" name="Freeform 190">
              <a:extLst>
                <a:ext uri="{FF2B5EF4-FFF2-40B4-BE49-F238E27FC236}">
                  <a16:creationId xmlns:a16="http://schemas.microsoft.com/office/drawing/2014/main" id="{A1DFA90C-E331-4CFD-8A42-3C00EA0E144A}"/>
                </a:ext>
              </a:extLst>
            </p:cNvPr>
            <p:cNvSpPr>
              <a:spLocks noEditPoints="1"/>
            </p:cNvSpPr>
            <p:nvPr/>
          </p:nvSpPr>
          <p:spPr bwMode="auto">
            <a:xfrm>
              <a:off x="-1618561" y="429798"/>
              <a:ext cx="317393" cy="325615"/>
            </a:xfrm>
            <a:custGeom>
              <a:avLst/>
              <a:gdLst>
                <a:gd name="T0" fmla="*/ 11 w 142"/>
                <a:gd name="T1" fmla="*/ 145 h 145"/>
                <a:gd name="T2" fmla="*/ 32 w 142"/>
                <a:gd name="T3" fmla="*/ 123 h 145"/>
                <a:gd name="T4" fmla="*/ 118 w 142"/>
                <a:gd name="T5" fmla="*/ 116 h 145"/>
                <a:gd name="T6" fmla="*/ 115 w 142"/>
                <a:gd name="T7" fmla="*/ 24 h 145"/>
                <a:gd name="T8" fmla="*/ 24 w 142"/>
                <a:gd name="T9" fmla="*/ 27 h 145"/>
                <a:gd name="T10" fmla="*/ 21 w 142"/>
                <a:gd name="T11" fmla="*/ 113 h 145"/>
                <a:gd name="T12" fmla="*/ 0 w 142"/>
                <a:gd name="T13" fmla="*/ 135 h 145"/>
                <a:gd name="T14" fmla="*/ 11 w 142"/>
                <a:gd name="T15" fmla="*/ 145 h 145"/>
                <a:gd name="T16" fmla="*/ 35 w 142"/>
                <a:gd name="T17" fmla="*/ 109 h 145"/>
                <a:gd name="T18" fmla="*/ 34 w 142"/>
                <a:gd name="T19" fmla="*/ 36 h 145"/>
                <a:gd name="T20" fmla="*/ 106 w 142"/>
                <a:gd name="T21" fmla="*/ 34 h 145"/>
                <a:gd name="T22" fmla="*/ 108 w 142"/>
                <a:gd name="T23" fmla="*/ 107 h 145"/>
                <a:gd name="T24" fmla="*/ 35 w 142"/>
                <a:gd name="T25" fmla="*/ 10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 h="145">
                  <a:moveTo>
                    <a:pt x="11" y="145"/>
                  </a:moveTo>
                  <a:cubicBezTo>
                    <a:pt x="32" y="123"/>
                    <a:pt x="32" y="123"/>
                    <a:pt x="32" y="123"/>
                  </a:cubicBezTo>
                  <a:cubicBezTo>
                    <a:pt x="58" y="143"/>
                    <a:pt x="95" y="140"/>
                    <a:pt x="118" y="116"/>
                  </a:cubicBezTo>
                  <a:cubicBezTo>
                    <a:pt x="142" y="90"/>
                    <a:pt x="141" y="49"/>
                    <a:pt x="115" y="24"/>
                  </a:cubicBezTo>
                  <a:cubicBezTo>
                    <a:pt x="89" y="0"/>
                    <a:pt x="48" y="1"/>
                    <a:pt x="24" y="27"/>
                  </a:cubicBezTo>
                  <a:cubicBezTo>
                    <a:pt x="1" y="51"/>
                    <a:pt x="0" y="88"/>
                    <a:pt x="21" y="113"/>
                  </a:cubicBezTo>
                  <a:cubicBezTo>
                    <a:pt x="0" y="135"/>
                    <a:pt x="0" y="135"/>
                    <a:pt x="0" y="135"/>
                  </a:cubicBezTo>
                  <a:lnTo>
                    <a:pt x="11" y="145"/>
                  </a:lnTo>
                  <a:close/>
                  <a:moveTo>
                    <a:pt x="35" y="109"/>
                  </a:moveTo>
                  <a:cubicBezTo>
                    <a:pt x="15" y="89"/>
                    <a:pt x="14" y="57"/>
                    <a:pt x="34" y="36"/>
                  </a:cubicBezTo>
                  <a:cubicBezTo>
                    <a:pt x="53" y="15"/>
                    <a:pt x="85" y="15"/>
                    <a:pt x="106" y="34"/>
                  </a:cubicBezTo>
                  <a:cubicBezTo>
                    <a:pt x="127" y="54"/>
                    <a:pt x="127" y="86"/>
                    <a:pt x="108" y="107"/>
                  </a:cubicBezTo>
                  <a:cubicBezTo>
                    <a:pt x="88" y="127"/>
                    <a:pt x="56" y="128"/>
                    <a:pt x="35" y="109"/>
                  </a:cubicBezTo>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nvGrpSpPr>
            <p:cNvPr id="7208" name="Group 7207">
              <a:extLst>
                <a:ext uri="{FF2B5EF4-FFF2-40B4-BE49-F238E27FC236}">
                  <a16:creationId xmlns:a16="http://schemas.microsoft.com/office/drawing/2014/main" id="{FA9F779E-483B-4EEA-9D2D-CBDBCD0D3A54}"/>
                </a:ext>
              </a:extLst>
            </p:cNvPr>
            <p:cNvGrpSpPr/>
            <p:nvPr/>
          </p:nvGrpSpPr>
          <p:grpSpPr>
            <a:xfrm>
              <a:off x="-1540750" y="514095"/>
              <a:ext cx="161773" cy="150445"/>
              <a:chOff x="4739410" y="2683370"/>
              <a:chExt cx="515681" cy="479570"/>
            </a:xfrm>
          </p:grpSpPr>
          <p:sp>
            <p:nvSpPr>
              <p:cNvPr id="35" name="Freeform: Shape 34">
                <a:extLst>
                  <a:ext uri="{FF2B5EF4-FFF2-40B4-BE49-F238E27FC236}">
                    <a16:creationId xmlns:a16="http://schemas.microsoft.com/office/drawing/2014/main" id="{432C08CB-0C5B-415F-8997-795AE06E760D}"/>
                  </a:ext>
                </a:extLst>
              </p:cNvPr>
              <p:cNvSpPr/>
              <p:nvPr/>
            </p:nvSpPr>
            <p:spPr>
              <a:xfrm>
                <a:off x="4739410" y="2698616"/>
                <a:ext cx="464324" cy="464324"/>
              </a:xfrm>
              <a:custGeom>
                <a:avLst/>
                <a:gdLst>
                  <a:gd name="connsiteX0" fmla="*/ 810 w 464324"/>
                  <a:gd name="connsiteY0" fmla="*/ 202774 h 464324"/>
                  <a:gd name="connsiteX1" fmla="*/ 33136 w 464324"/>
                  <a:gd name="connsiteY1" fmla="*/ 118138 h 464324"/>
                  <a:gd name="connsiteX2" fmla="*/ 39014 w 464324"/>
                  <a:gd name="connsiteY2" fmla="*/ 109322 h 464324"/>
                  <a:gd name="connsiteX3" fmla="*/ 56059 w 464324"/>
                  <a:gd name="connsiteY3" fmla="*/ 92277 h 464324"/>
                  <a:gd name="connsiteX4" fmla="*/ 47243 w 464324"/>
                  <a:gd name="connsiteY4" fmla="*/ 82873 h 464324"/>
                  <a:gd name="connsiteX5" fmla="*/ 47243 w 464324"/>
                  <a:gd name="connsiteY5" fmla="*/ 65240 h 464324"/>
                  <a:gd name="connsiteX6" fmla="*/ 65463 w 464324"/>
                  <a:gd name="connsiteY6" fmla="*/ 47020 h 464324"/>
                  <a:gd name="connsiteX7" fmla="*/ 83095 w 464324"/>
                  <a:gd name="connsiteY7" fmla="*/ 47020 h 464324"/>
                  <a:gd name="connsiteX8" fmla="*/ 92499 w 464324"/>
                  <a:gd name="connsiteY8" fmla="*/ 55836 h 464324"/>
                  <a:gd name="connsiteX9" fmla="*/ 144809 w 464324"/>
                  <a:gd name="connsiteY9" fmla="*/ 3527 h 464324"/>
                  <a:gd name="connsiteX10" fmla="*/ 162442 w 464324"/>
                  <a:gd name="connsiteY10" fmla="*/ 3527 h 464324"/>
                  <a:gd name="connsiteX11" fmla="*/ 219454 w 464324"/>
                  <a:gd name="connsiteY11" fmla="*/ 61126 h 464324"/>
                  <a:gd name="connsiteX12" fmla="*/ 219454 w 464324"/>
                  <a:gd name="connsiteY12" fmla="*/ 78759 h 464324"/>
                  <a:gd name="connsiteX13" fmla="*/ 168907 w 464324"/>
                  <a:gd name="connsiteY13" fmla="*/ 129893 h 464324"/>
                  <a:gd name="connsiteX14" fmla="*/ 461608 w 464324"/>
                  <a:gd name="connsiteY14" fmla="*/ 409663 h 464324"/>
                  <a:gd name="connsiteX15" fmla="*/ 461608 w 464324"/>
                  <a:gd name="connsiteY15" fmla="*/ 427296 h 464324"/>
                  <a:gd name="connsiteX16" fmla="*/ 426930 w 464324"/>
                  <a:gd name="connsiteY16" fmla="*/ 461973 h 464324"/>
                  <a:gd name="connsiteX17" fmla="*/ 409298 w 464324"/>
                  <a:gd name="connsiteY17" fmla="*/ 461973 h 464324"/>
                  <a:gd name="connsiteX18" fmla="*/ 129528 w 464324"/>
                  <a:gd name="connsiteY18" fmla="*/ 169273 h 464324"/>
                  <a:gd name="connsiteX19" fmla="*/ 114834 w 464324"/>
                  <a:gd name="connsiteY19" fmla="*/ 183966 h 464324"/>
                  <a:gd name="connsiteX20" fmla="*/ 104842 w 464324"/>
                  <a:gd name="connsiteY20" fmla="*/ 189844 h 464324"/>
                  <a:gd name="connsiteX21" fmla="*/ 16679 w 464324"/>
                  <a:gd name="connsiteY21" fmla="*/ 218644 h 464324"/>
                  <a:gd name="connsiteX22" fmla="*/ 3749 w 464324"/>
                  <a:gd name="connsiteY22" fmla="*/ 215117 h 464324"/>
                  <a:gd name="connsiteX23" fmla="*/ 810 w 464324"/>
                  <a:gd name="connsiteY23" fmla="*/ 202774 h 46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64324" h="464324">
                    <a:moveTo>
                      <a:pt x="810" y="202774"/>
                    </a:moveTo>
                    <a:lnTo>
                      <a:pt x="33136" y="118138"/>
                    </a:lnTo>
                    <a:cubicBezTo>
                      <a:pt x="34312" y="114612"/>
                      <a:pt x="36663" y="111673"/>
                      <a:pt x="39014" y="109322"/>
                    </a:cubicBezTo>
                    <a:lnTo>
                      <a:pt x="56059" y="92277"/>
                    </a:lnTo>
                    <a:lnTo>
                      <a:pt x="47243" y="82873"/>
                    </a:lnTo>
                    <a:cubicBezTo>
                      <a:pt x="42540" y="78171"/>
                      <a:pt x="42540" y="69943"/>
                      <a:pt x="47243" y="65240"/>
                    </a:cubicBezTo>
                    <a:lnTo>
                      <a:pt x="65463" y="47020"/>
                    </a:lnTo>
                    <a:cubicBezTo>
                      <a:pt x="70165" y="42318"/>
                      <a:pt x="78393" y="42318"/>
                      <a:pt x="83095" y="47020"/>
                    </a:cubicBezTo>
                    <a:lnTo>
                      <a:pt x="92499" y="55836"/>
                    </a:lnTo>
                    <a:lnTo>
                      <a:pt x="144809" y="3527"/>
                    </a:lnTo>
                    <a:cubicBezTo>
                      <a:pt x="149511" y="-1176"/>
                      <a:pt x="157740" y="-1176"/>
                      <a:pt x="162442" y="3527"/>
                    </a:cubicBezTo>
                    <a:lnTo>
                      <a:pt x="219454" y="61126"/>
                    </a:lnTo>
                    <a:cubicBezTo>
                      <a:pt x="224156" y="65828"/>
                      <a:pt x="224156" y="74057"/>
                      <a:pt x="219454" y="78759"/>
                    </a:cubicBezTo>
                    <a:lnTo>
                      <a:pt x="168907" y="129893"/>
                    </a:lnTo>
                    <a:lnTo>
                      <a:pt x="461608" y="409663"/>
                    </a:lnTo>
                    <a:cubicBezTo>
                      <a:pt x="466310" y="414365"/>
                      <a:pt x="466310" y="422594"/>
                      <a:pt x="461608" y="427296"/>
                    </a:cubicBezTo>
                    <a:lnTo>
                      <a:pt x="426930" y="461973"/>
                    </a:lnTo>
                    <a:cubicBezTo>
                      <a:pt x="422228" y="466675"/>
                      <a:pt x="414000" y="466675"/>
                      <a:pt x="409298" y="461973"/>
                    </a:cubicBezTo>
                    <a:lnTo>
                      <a:pt x="129528" y="169273"/>
                    </a:lnTo>
                    <a:lnTo>
                      <a:pt x="114834" y="183966"/>
                    </a:lnTo>
                    <a:cubicBezTo>
                      <a:pt x="111895" y="186905"/>
                      <a:pt x="108369" y="188668"/>
                      <a:pt x="104842" y="189844"/>
                    </a:cubicBezTo>
                    <a:lnTo>
                      <a:pt x="16679" y="218644"/>
                    </a:lnTo>
                    <a:cubicBezTo>
                      <a:pt x="11977" y="219819"/>
                      <a:pt x="7275" y="218644"/>
                      <a:pt x="3749" y="215117"/>
                    </a:cubicBezTo>
                    <a:cubicBezTo>
                      <a:pt x="222" y="212179"/>
                      <a:pt x="-953" y="206889"/>
                      <a:pt x="810" y="202774"/>
                    </a:cubicBezTo>
                    <a:close/>
                  </a:path>
                </a:pathLst>
              </a:custGeom>
              <a:solidFill>
                <a:srgbClr val="DC3C00"/>
              </a:solidFill>
              <a:ln w="5854"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846BC991-258F-4AD1-B914-7A887DD9DE56}"/>
                  </a:ext>
                </a:extLst>
              </p:cNvPr>
              <p:cNvSpPr/>
              <p:nvPr/>
            </p:nvSpPr>
            <p:spPr>
              <a:xfrm>
                <a:off x="5008235" y="2683370"/>
                <a:ext cx="246856" cy="246856"/>
              </a:xfrm>
              <a:custGeom>
                <a:avLst/>
                <a:gdLst>
                  <a:gd name="connsiteX0" fmla="*/ 84636 w 246855"/>
                  <a:gd name="connsiteY0" fmla="*/ 125156 h 246855"/>
                  <a:gd name="connsiteX1" fmla="*/ 8229 w 246855"/>
                  <a:gd name="connsiteY1" fmla="*/ 74609 h 246855"/>
                  <a:gd name="connsiteX2" fmla="*/ 2939 w 246855"/>
                  <a:gd name="connsiteY2" fmla="*/ 65793 h 246855"/>
                  <a:gd name="connsiteX3" fmla="*/ 6465 w 246855"/>
                  <a:gd name="connsiteY3" fmla="*/ 55801 h 246855"/>
                  <a:gd name="connsiteX4" fmla="*/ 59363 w 246855"/>
                  <a:gd name="connsiteY4" fmla="*/ 3491 h 246855"/>
                  <a:gd name="connsiteX5" fmla="*/ 75232 w 246855"/>
                  <a:gd name="connsiteY5" fmla="*/ 2316 h 246855"/>
                  <a:gd name="connsiteX6" fmla="*/ 165158 w 246855"/>
                  <a:gd name="connsiteY6" fmla="*/ 62266 h 246855"/>
                  <a:gd name="connsiteX7" fmla="*/ 166334 w 246855"/>
                  <a:gd name="connsiteY7" fmla="*/ 63442 h 246855"/>
                  <a:gd name="connsiteX8" fmla="*/ 166922 w 246855"/>
                  <a:gd name="connsiteY8" fmla="*/ 64030 h 246855"/>
                  <a:gd name="connsiteX9" fmla="*/ 183966 w 246855"/>
                  <a:gd name="connsiteY9" fmla="*/ 81074 h 246855"/>
                  <a:gd name="connsiteX10" fmla="*/ 185142 w 246855"/>
                  <a:gd name="connsiteY10" fmla="*/ 82250 h 246855"/>
                  <a:gd name="connsiteX11" fmla="*/ 185730 w 246855"/>
                  <a:gd name="connsiteY11" fmla="*/ 82838 h 246855"/>
                  <a:gd name="connsiteX12" fmla="*/ 185730 w 246855"/>
                  <a:gd name="connsiteY12" fmla="*/ 83425 h 246855"/>
                  <a:gd name="connsiteX13" fmla="*/ 246268 w 246855"/>
                  <a:gd name="connsiteY13" fmla="*/ 171588 h 246855"/>
                  <a:gd name="connsiteX14" fmla="*/ 245093 w 246855"/>
                  <a:gd name="connsiteY14" fmla="*/ 187457 h 246855"/>
                  <a:gd name="connsiteX15" fmla="*/ 192195 w 246855"/>
                  <a:gd name="connsiteY15" fmla="*/ 239767 h 246855"/>
                  <a:gd name="connsiteX16" fmla="*/ 182203 w 246855"/>
                  <a:gd name="connsiteY16" fmla="*/ 243294 h 246855"/>
                  <a:gd name="connsiteX17" fmla="*/ 172799 w 246855"/>
                  <a:gd name="connsiteY17" fmla="*/ 238004 h 246855"/>
                  <a:gd name="connsiteX18" fmla="*/ 123428 w 246855"/>
                  <a:gd name="connsiteY18" fmla="*/ 163947 h 246855"/>
                  <a:gd name="connsiteX19" fmla="*/ 43494 w 246855"/>
                  <a:gd name="connsiteY19" fmla="*/ 247408 h 246855"/>
                  <a:gd name="connsiteX20" fmla="*/ 0 w 246855"/>
                  <a:gd name="connsiteY20" fmla="*/ 205678 h 246855"/>
                  <a:gd name="connsiteX21" fmla="*/ 84636 w 246855"/>
                  <a:gd name="connsiteY21" fmla="*/ 125156 h 246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6855" h="246855">
                    <a:moveTo>
                      <a:pt x="84636" y="125156"/>
                    </a:moveTo>
                    <a:lnTo>
                      <a:pt x="8229" y="74609"/>
                    </a:lnTo>
                    <a:cubicBezTo>
                      <a:pt x="5290" y="72258"/>
                      <a:pt x="3527" y="69319"/>
                      <a:pt x="2939" y="65793"/>
                    </a:cubicBezTo>
                    <a:cubicBezTo>
                      <a:pt x="2939" y="62266"/>
                      <a:pt x="4114" y="58740"/>
                      <a:pt x="6465" y="55801"/>
                    </a:cubicBezTo>
                    <a:lnTo>
                      <a:pt x="59363" y="3491"/>
                    </a:lnTo>
                    <a:cubicBezTo>
                      <a:pt x="63477" y="-623"/>
                      <a:pt x="70530" y="-1211"/>
                      <a:pt x="75232" y="2316"/>
                    </a:cubicBezTo>
                    <a:lnTo>
                      <a:pt x="165158" y="62266"/>
                    </a:lnTo>
                    <a:cubicBezTo>
                      <a:pt x="165746" y="62266"/>
                      <a:pt x="166334" y="62854"/>
                      <a:pt x="166334" y="63442"/>
                    </a:cubicBezTo>
                    <a:lnTo>
                      <a:pt x="166922" y="64030"/>
                    </a:lnTo>
                    <a:lnTo>
                      <a:pt x="183966" y="81074"/>
                    </a:lnTo>
                    <a:lnTo>
                      <a:pt x="185142" y="82250"/>
                    </a:lnTo>
                    <a:lnTo>
                      <a:pt x="185730" y="82838"/>
                    </a:lnTo>
                    <a:lnTo>
                      <a:pt x="185730" y="83425"/>
                    </a:lnTo>
                    <a:lnTo>
                      <a:pt x="246268" y="171588"/>
                    </a:lnTo>
                    <a:cubicBezTo>
                      <a:pt x="249795" y="176290"/>
                      <a:pt x="249207" y="183343"/>
                      <a:pt x="245093" y="187457"/>
                    </a:cubicBezTo>
                    <a:lnTo>
                      <a:pt x="192195" y="239767"/>
                    </a:lnTo>
                    <a:cubicBezTo>
                      <a:pt x="189844" y="242118"/>
                      <a:pt x="185730" y="243882"/>
                      <a:pt x="182203" y="243294"/>
                    </a:cubicBezTo>
                    <a:cubicBezTo>
                      <a:pt x="178677" y="242706"/>
                      <a:pt x="175150" y="240943"/>
                      <a:pt x="172799" y="238004"/>
                    </a:cubicBezTo>
                    <a:lnTo>
                      <a:pt x="123428" y="163947"/>
                    </a:lnTo>
                    <a:lnTo>
                      <a:pt x="43494" y="247408"/>
                    </a:lnTo>
                    <a:lnTo>
                      <a:pt x="0" y="205678"/>
                    </a:lnTo>
                    <a:lnTo>
                      <a:pt x="84636" y="125156"/>
                    </a:lnTo>
                    <a:close/>
                  </a:path>
                </a:pathLst>
              </a:custGeom>
              <a:solidFill>
                <a:schemeClr val="accent4"/>
              </a:solidFill>
              <a:ln w="5854"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E5CAB8B3-D824-46C2-924A-12BDE139D3F5}"/>
                  </a:ext>
                </a:extLst>
              </p:cNvPr>
              <p:cNvSpPr/>
              <p:nvPr/>
            </p:nvSpPr>
            <p:spPr>
              <a:xfrm>
                <a:off x="4775485" y="2966043"/>
                <a:ext cx="193958" cy="193958"/>
              </a:xfrm>
              <a:custGeom>
                <a:avLst/>
                <a:gdLst>
                  <a:gd name="connsiteX0" fmla="*/ 56424 w 193958"/>
                  <a:gd name="connsiteY0" fmla="*/ 194546 h 193958"/>
                  <a:gd name="connsiteX1" fmla="*/ 38792 w 193958"/>
                  <a:gd name="connsiteY1" fmla="*/ 194546 h 193958"/>
                  <a:gd name="connsiteX2" fmla="*/ 3527 w 193958"/>
                  <a:gd name="connsiteY2" fmla="*/ 159281 h 193958"/>
                  <a:gd name="connsiteX3" fmla="*/ 3527 w 193958"/>
                  <a:gd name="connsiteY3" fmla="*/ 141648 h 193958"/>
                  <a:gd name="connsiteX4" fmla="*/ 152228 w 193958"/>
                  <a:gd name="connsiteY4" fmla="*/ 0 h 193958"/>
                  <a:gd name="connsiteX5" fmla="*/ 197485 w 193958"/>
                  <a:gd name="connsiteY5" fmla="*/ 47020 h 193958"/>
                  <a:gd name="connsiteX6" fmla="*/ 56424 w 193958"/>
                  <a:gd name="connsiteY6" fmla="*/ 194546 h 193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958" h="193958">
                    <a:moveTo>
                      <a:pt x="56424" y="194546"/>
                    </a:moveTo>
                    <a:cubicBezTo>
                      <a:pt x="51722" y="199248"/>
                      <a:pt x="43494" y="199248"/>
                      <a:pt x="38792" y="194546"/>
                    </a:cubicBezTo>
                    <a:lnTo>
                      <a:pt x="3527" y="159281"/>
                    </a:lnTo>
                    <a:cubicBezTo>
                      <a:pt x="-1176" y="154579"/>
                      <a:pt x="-1176" y="146350"/>
                      <a:pt x="3527" y="141648"/>
                    </a:cubicBezTo>
                    <a:lnTo>
                      <a:pt x="152228" y="0"/>
                    </a:lnTo>
                    <a:lnTo>
                      <a:pt x="197485" y="47020"/>
                    </a:lnTo>
                    <a:lnTo>
                      <a:pt x="56424" y="194546"/>
                    </a:lnTo>
                    <a:close/>
                  </a:path>
                </a:pathLst>
              </a:custGeom>
              <a:solidFill>
                <a:schemeClr val="accent4"/>
              </a:solidFill>
              <a:ln w="5854" cap="flat">
                <a:noFill/>
                <a:prstDash val="solid"/>
                <a:miter/>
              </a:ln>
            </p:spPr>
            <p:txBody>
              <a:bodyPr rtlCol="0" anchor="ctr"/>
              <a:lstStyle/>
              <a:p>
                <a:endParaRPr lang="en-US" dirty="0"/>
              </a:p>
            </p:txBody>
          </p:sp>
        </p:grpSp>
      </p:grpSp>
      <p:grpSp>
        <p:nvGrpSpPr>
          <p:cNvPr id="7228" name="Group 7227">
            <a:extLst>
              <a:ext uri="{FF2B5EF4-FFF2-40B4-BE49-F238E27FC236}">
                <a16:creationId xmlns:a16="http://schemas.microsoft.com/office/drawing/2014/main" id="{B8B329ED-290E-4A23-B050-A51241AE1A3C}"/>
              </a:ext>
            </a:extLst>
          </p:cNvPr>
          <p:cNvGrpSpPr/>
          <p:nvPr/>
        </p:nvGrpSpPr>
        <p:grpSpPr>
          <a:xfrm>
            <a:off x="2624051" y="4494280"/>
            <a:ext cx="659950" cy="549986"/>
            <a:chOff x="2705343" y="4619986"/>
            <a:chExt cx="497366" cy="414492"/>
          </a:xfrm>
        </p:grpSpPr>
        <p:grpSp>
          <p:nvGrpSpPr>
            <p:cNvPr id="312" name="Group 311">
              <a:extLst>
                <a:ext uri="{FF2B5EF4-FFF2-40B4-BE49-F238E27FC236}">
                  <a16:creationId xmlns:a16="http://schemas.microsoft.com/office/drawing/2014/main" id="{FFA04F06-EACE-4E75-A7CA-15EDE481D21D}"/>
                </a:ext>
              </a:extLst>
            </p:cNvPr>
            <p:cNvGrpSpPr/>
            <p:nvPr/>
          </p:nvGrpSpPr>
          <p:grpSpPr>
            <a:xfrm>
              <a:off x="2705343" y="4619986"/>
              <a:ext cx="327779" cy="327451"/>
              <a:chOff x="1283045" y="2187345"/>
              <a:chExt cx="443919" cy="443475"/>
            </a:xfrm>
          </p:grpSpPr>
          <p:sp>
            <p:nvSpPr>
              <p:cNvPr id="313" name="Freeform 6">
                <a:extLst>
                  <a:ext uri="{FF2B5EF4-FFF2-40B4-BE49-F238E27FC236}">
                    <a16:creationId xmlns:a16="http://schemas.microsoft.com/office/drawing/2014/main" id="{ED10EF93-1083-4200-A7E4-1A09A29939C9}"/>
                  </a:ext>
                </a:extLst>
              </p:cNvPr>
              <p:cNvSpPr>
                <a:spLocks noEditPoints="1"/>
              </p:cNvSpPr>
              <p:nvPr/>
            </p:nvSpPr>
            <p:spPr bwMode="auto">
              <a:xfrm>
                <a:off x="1283045" y="2187345"/>
                <a:ext cx="443919" cy="443475"/>
              </a:xfrm>
              <a:custGeom>
                <a:avLst/>
                <a:gdLst>
                  <a:gd name="T0" fmla="*/ 1295 w 1361"/>
                  <a:gd name="T1" fmla="*/ 1013 h 1361"/>
                  <a:gd name="T2" fmla="*/ 1361 w 1361"/>
                  <a:gd name="T3" fmla="*/ 836 h 1361"/>
                  <a:gd name="T4" fmla="*/ 1184 w 1361"/>
                  <a:gd name="T5" fmla="*/ 735 h 1361"/>
                  <a:gd name="T6" fmla="*/ 1178 w 1361"/>
                  <a:gd name="T7" fmla="*/ 595 h 1361"/>
                  <a:gd name="T8" fmla="*/ 1350 w 1361"/>
                  <a:gd name="T9" fmla="*/ 482 h 1361"/>
                  <a:gd name="T10" fmla="*/ 1272 w 1361"/>
                  <a:gd name="T11" fmla="*/ 310 h 1361"/>
                  <a:gd name="T12" fmla="*/ 1071 w 1361"/>
                  <a:gd name="T13" fmla="*/ 364 h 1361"/>
                  <a:gd name="T14" fmla="*/ 971 w 1361"/>
                  <a:gd name="T15" fmla="*/ 271 h 1361"/>
                  <a:gd name="T16" fmla="*/ 1013 w 1361"/>
                  <a:gd name="T17" fmla="*/ 67 h 1361"/>
                  <a:gd name="T18" fmla="*/ 836 w 1361"/>
                  <a:gd name="T19" fmla="*/ 0 h 1361"/>
                  <a:gd name="T20" fmla="*/ 733 w 1361"/>
                  <a:gd name="T21" fmla="*/ 181 h 1361"/>
                  <a:gd name="T22" fmla="*/ 596 w 1361"/>
                  <a:gd name="T23" fmla="*/ 185 h 1361"/>
                  <a:gd name="T24" fmla="*/ 482 w 1361"/>
                  <a:gd name="T25" fmla="*/ 12 h 1361"/>
                  <a:gd name="T26" fmla="*/ 310 w 1361"/>
                  <a:gd name="T27" fmla="*/ 90 h 1361"/>
                  <a:gd name="T28" fmla="*/ 364 w 1361"/>
                  <a:gd name="T29" fmla="*/ 288 h 1361"/>
                  <a:gd name="T30" fmla="*/ 267 w 1361"/>
                  <a:gd name="T31" fmla="*/ 389 h 1361"/>
                  <a:gd name="T32" fmla="*/ 67 w 1361"/>
                  <a:gd name="T33" fmla="*/ 349 h 1361"/>
                  <a:gd name="T34" fmla="*/ 0 w 1361"/>
                  <a:gd name="T35" fmla="*/ 525 h 1361"/>
                  <a:gd name="T36" fmla="*/ 175 w 1361"/>
                  <a:gd name="T37" fmla="*/ 625 h 1361"/>
                  <a:gd name="T38" fmla="*/ 178 w 1361"/>
                  <a:gd name="T39" fmla="*/ 770 h 1361"/>
                  <a:gd name="T40" fmla="*/ 12 w 1361"/>
                  <a:gd name="T41" fmla="*/ 880 h 1361"/>
                  <a:gd name="T42" fmla="*/ 90 w 1361"/>
                  <a:gd name="T43" fmla="*/ 1052 h 1361"/>
                  <a:gd name="T44" fmla="*/ 281 w 1361"/>
                  <a:gd name="T45" fmla="*/ 1000 h 1361"/>
                  <a:gd name="T46" fmla="*/ 388 w 1361"/>
                  <a:gd name="T47" fmla="*/ 1102 h 1361"/>
                  <a:gd name="T48" fmla="*/ 349 w 1361"/>
                  <a:gd name="T49" fmla="*/ 1295 h 1361"/>
                  <a:gd name="T50" fmla="*/ 525 w 1361"/>
                  <a:gd name="T51" fmla="*/ 1361 h 1361"/>
                  <a:gd name="T52" fmla="*/ 623 w 1361"/>
                  <a:gd name="T53" fmla="*/ 1190 h 1361"/>
                  <a:gd name="T54" fmla="*/ 771 w 1361"/>
                  <a:gd name="T55" fmla="*/ 1185 h 1361"/>
                  <a:gd name="T56" fmla="*/ 880 w 1361"/>
                  <a:gd name="T57" fmla="*/ 1350 h 1361"/>
                  <a:gd name="T58" fmla="*/ 1052 w 1361"/>
                  <a:gd name="T59" fmla="*/ 1272 h 1361"/>
                  <a:gd name="T60" fmla="*/ 1000 w 1361"/>
                  <a:gd name="T61" fmla="*/ 1079 h 1361"/>
                  <a:gd name="T62" fmla="*/ 1097 w 1361"/>
                  <a:gd name="T63" fmla="*/ 973 h 1361"/>
                  <a:gd name="T64" fmla="*/ 1295 w 1361"/>
                  <a:gd name="T65" fmla="*/ 1013 h 1361"/>
                  <a:gd name="T66" fmla="*/ 583 w 1361"/>
                  <a:gd name="T67" fmla="*/ 940 h 1361"/>
                  <a:gd name="T68" fmla="*/ 425 w 1361"/>
                  <a:gd name="T69" fmla="*/ 590 h 1361"/>
                  <a:gd name="T70" fmla="*/ 774 w 1361"/>
                  <a:gd name="T71" fmla="*/ 432 h 1361"/>
                  <a:gd name="T72" fmla="*/ 933 w 1361"/>
                  <a:gd name="T73" fmla="*/ 782 h 1361"/>
                  <a:gd name="T74" fmla="*/ 583 w 1361"/>
                  <a:gd name="T75" fmla="*/ 94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1" h="1361">
                    <a:moveTo>
                      <a:pt x="1295" y="1013"/>
                    </a:moveTo>
                    <a:cubicBezTo>
                      <a:pt x="1361" y="836"/>
                      <a:pt x="1361" y="836"/>
                      <a:pt x="1361" y="836"/>
                    </a:cubicBezTo>
                    <a:cubicBezTo>
                      <a:pt x="1184" y="735"/>
                      <a:pt x="1184" y="735"/>
                      <a:pt x="1184" y="735"/>
                    </a:cubicBezTo>
                    <a:cubicBezTo>
                      <a:pt x="1188" y="688"/>
                      <a:pt x="1186" y="641"/>
                      <a:pt x="1178" y="595"/>
                    </a:cubicBezTo>
                    <a:cubicBezTo>
                      <a:pt x="1350" y="482"/>
                      <a:pt x="1350" y="482"/>
                      <a:pt x="1350" y="482"/>
                    </a:cubicBezTo>
                    <a:cubicBezTo>
                      <a:pt x="1272" y="310"/>
                      <a:pt x="1272" y="310"/>
                      <a:pt x="1272" y="310"/>
                    </a:cubicBezTo>
                    <a:cubicBezTo>
                      <a:pt x="1071" y="364"/>
                      <a:pt x="1071" y="364"/>
                      <a:pt x="1071" y="364"/>
                    </a:cubicBezTo>
                    <a:cubicBezTo>
                      <a:pt x="1043" y="329"/>
                      <a:pt x="1009" y="298"/>
                      <a:pt x="971" y="271"/>
                    </a:cubicBezTo>
                    <a:cubicBezTo>
                      <a:pt x="1013" y="67"/>
                      <a:pt x="1013" y="67"/>
                      <a:pt x="1013" y="67"/>
                    </a:cubicBezTo>
                    <a:cubicBezTo>
                      <a:pt x="836" y="0"/>
                      <a:pt x="836" y="0"/>
                      <a:pt x="836" y="0"/>
                    </a:cubicBezTo>
                    <a:cubicBezTo>
                      <a:pt x="733" y="181"/>
                      <a:pt x="733" y="181"/>
                      <a:pt x="733" y="181"/>
                    </a:cubicBezTo>
                    <a:cubicBezTo>
                      <a:pt x="687" y="177"/>
                      <a:pt x="641" y="178"/>
                      <a:pt x="596" y="185"/>
                    </a:cubicBezTo>
                    <a:cubicBezTo>
                      <a:pt x="482" y="12"/>
                      <a:pt x="482" y="12"/>
                      <a:pt x="482" y="12"/>
                    </a:cubicBezTo>
                    <a:cubicBezTo>
                      <a:pt x="310" y="90"/>
                      <a:pt x="310" y="90"/>
                      <a:pt x="310" y="90"/>
                    </a:cubicBezTo>
                    <a:cubicBezTo>
                      <a:pt x="364" y="288"/>
                      <a:pt x="364" y="288"/>
                      <a:pt x="364" y="288"/>
                    </a:cubicBezTo>
                    <a:cubicBezTo>
                      <a:pt x="327" y="317"/>
                      <a:pt x="295" y="351"/>
                      <a:pt x="267" y="389"/>
                    </a:cubicBezTo>
                    <a:cubicBezTo>
                      <a:pt x="67" y="349"/>
                      <a:pt x="67" y="349"/>
                      <a:pt x="67" y="349"/>
                    </a:cubicBezTo>
                    <a:cubicBezTo>
                      <a:pt x="0" y="525"/>
                      <a:pt x="0" y="525"/>
                      <a:pt x="0" y="525"/>
                    </a:cubicBezTo>
                    <a:cubicBezTo>
                      <a:pt x="175" y="625"/>
                      <a:pt x="175" y="625"/>
                      <a:pt x="175" y="625"/>
                    </a:cubicBezTo>
                    <a:cubicBezTo>
                      <a:pt x="169" y="674"/>
                      <a:pt x="171" y="723"/>
                      <a:pt x="178" y="770"/>
                    </a:cubicBezTo>
                    <a:cubicBezTo>
                      <a:pt x="12" y="880"/>
                      <a:pt x="12" y="880"/>
                      <a:pt x="12" y="880"/>
                    </a:cubicBezTo>
                    <a:cubicBezTo>
                      <a:pt x="90" y="1052"/>
                      <a:pt x="90" y="1052"/>
                      <a:pt x="90" y="1052"/>
                    </a:cubicBezTo>
                    <a:cubicBezTo>
                      <a:pt x="281" y="1000"/>
                      <a:pt x="281" y="1000"/>
                      <a:pt x="281" y="1000"/>
                    </a:cubicBezTo>
                    <a:cubicBezTo>
                      <a:pt x="311" y="1039"/>
                      <a:pt x="347" y="1073"/>
                      <a:pt x="388" y="1102"/>
                    </a:cubicBezTo>
                    <a:cubicBezTo>
                      <a:pt x="349" y="1295"/>
                      <a:pt x="349" y="1295"/>
                      <a:pt x="349" y="1295"/>
                    </a:cubicBezTo>
                    <a:cubicBezTo>
                      <a:pt x="525" y="1361"/>
                      <a:pt x="525" y="1361"/>
                      <a:pt x="525" y="1361"/>
                    </a:cubicBezTo>
                    <a:cubicBezTo>
                      <a:pt x="623" y="1190"/>
                      <a:pt x="623" y="1190"/>
                      <a:pt x="623" y="1190"/>
                    </a:cubicBezTo>
                    <a:cubicBezTo>
                      <a:pt x="673" y="1196"/>
                      <a:pt x="723" y="1194"/>
                      <a:pt x="771" y="1185"/>
                    </a:cubicBezTo>
                    <a:cubicBezTo>
                      <a:pt x="880" y="1350"/>
                      <a:pt x="880" y="1350"/>
                      <a:pt x="880" y="1350"/>
                    </a:cubicBezTo>
                    <a:cubicBezTo>
                      <a:pt x="1052" y="1272"/>
                      <a:pt x="1052" y="1272"/>
                      <a:pt x="1052" y="1272"/>
                    </a:cubicBezTo>
                    <a:cubicBezTo>
                      <a:pt x="1000" y="1079"/>
                      <a:pt x="1000" y="1079"/>
                      <a:pt x="1000" y="1079"/>
                    </a:cubicBezTo>
                    <a:cubicBezTo>
                      <a:pt x="1037" y="1049"/>
                      <a:pt x="1070" y="1013"/>
                      <a:pt x="1097" y="973"/>
                    </a:cubicBezTo>
                    <a:lnTo>
                      <a:pt x="1295" y="1013"/>
                    </a:lnTo>
                    <a:close/>
                    <a:moveTo>
                      <a:pt x="583" y="940"/>
                    </a:moveTo>
                    <a:cubicBezTo>
                      <a:pt x="443" y="887"/>
                      <a:pt x="372" y="730"/>
                      <a:pt x="425" y="590"/>
                    </a:cubicBezTo>
                    <a:cubicBezTo>
                      <a:pt x="478" y="450"/>
                      <a:pt x="634" y="379"/>
                      <a:pt x="774" y="432"/>
                    </a:cubicBezTo>
                    <a:cubicBezTo>
                      <a:pt x="915" y="485"/>
                      <a:pt x="985" y="641"/>
                      <a:pt x="933" y="782"/>
                    </a:cubicBezTo>
                    <a:cubicBezTo>
                      <a:pt x="880" y="922"/>
                      <a:pt x="723" y="992"/>
                      <a:pt x="583" y="940"/>
                    </a:cubicBezTo>
                    <a:close/>
                  </a:path>
                </a:pathLst>
              </a:custGeom>
              <a:solidFill>
                <a:srgbClr val="4E9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 name="Freeform 7">
                <a:extLst>
                  <a:ext uri="{FF2B5EF4-FFF2-40B4-BE49-F238E27FC236}">
                    <a16:creationId xmlns:a16="http://schemas.microsoft.com/office/drawing/2014/main" id="{2F589196-59DF-4F9C-9199-90CA86F5E03A}"/>
                  </a:ext>
                </a:extLst>
              </p:cNvPr>
              <p:cNvSpPr>
                <a:spLocks/>
              </p:cNvSpPr>
              <p:nvPr/>
            </p:nvSpPr>
            <p:spPr bwMode="auto">
              <a:xfrm>
                <a:off x="1396689" y="2288115"/>
                <a:ext cx="330275" cy="342705"/>
              </a:xfrm>
              <a:custGeom>
                <a:avLst/>
                <a:gdLst>
                  <a:gd name="T0" fmla="*/ 829 w 1012"/>
                  <a:gd name="T1" fmla="*/ 285 h 1051"/>
                  <a:gd name="T2" fmla="*/ 1001 w 1012"/>
                  <a:gd name="T3" fmla="*/ 172 h 1051"/>
                  <a:gd name="T4" fmla="*/ 923 w 1012"/>
                  <a:gd name="T5" fmla="*/ 0 h 1051"/>
                  <a:gd name="T6" fmla="*/ 722 w 1012"/>
                  <a:gd name="T7" fmla="*/ 54 h 1051"/>
                  <a:gd name="T8" fmla="*/ 673 w 1012"/>
                  <a:gd name="T9" fmla="*/ 2 h 1051"/>
                  <a:gd name="T10" fmla="*/ 519 w 1012"/>
                  <a:gd name="T11" fmla="*/ 182 h 1051"/>
                  <a:gd name="T12" fmla="*/ 584 w 1012"/>
                  <a:gd name="T13" fmla="*/ 472 h 1051"/>
                  <a:gd name="T14" fmla="*/ 234 w 1012"/>
                  <a:gd name="T15" fmla="*/ 630 h 1051"/>
                  <a:gd name="T16" fmla="*/ 167 w 1012"/>
                  <a:gd name="T17" fmla="*/ 592 h 1051"/>
                  <a:gd name="T18" fmla="*/ 13 w 1012"/>
                  <a:gd name="T19" fmla="*/ 772 h 1051"/>
                  <a:gd name="T20" fmla="*/ 39 w 1012"/>
                  <a:gd name="T21" fmla="*/ 792 h 1051"/>
                  <a:gd name="T22" fmla="*/ 0 w 1012"/>
                  <a:gd name="T23" fmla="*/ 985 h 1051"/>
                  <a:gd name="T24" fmla="*/ 176 w 1012"/>
                  <a:gd name="T25" fmla="*/ 1051 h 1051"/>
                  <a:gd name="T26" fmla="*/ 274 w 1012"/>
                  <a:gd name="T27" fmla="*/ 880 h 1051"/>
                  <a:gd name="T28" fmla="*/ 422 w 1012"/>
                  <a:gd name="T29" fmla="*/ 875 h 1051"/>
                  <a:gd name="T30" fmla="*/ 531 w 1012"/>
                  <a:gd name="T31" fmla="*/ 1040 h 1051"/>
                  <a:gd name="T32" fmla="*/ 703 w 1012"/>
                  <a:gd name="T33" fmla="*/ 962 h 1051"/>
                  <a:gd name="T34" fmla="*/ 651 w 1012"/>
                  <a:gd name="T35" fmla="*/ 769 h 1051"/>
                  <a:gd name="T36" fmla="*/ 748 w 1012"/>
                  <a:gd name="T37" fmla="*/ 663 h 1051"/>
                  <a:gd name="T38" fmla="*/ 946 w 1012"/>
                  <a:gd name="T39" fmla="*/ 703 h 1051"/>
                  <a:gd name="T40" fmla="*/ 1012 w 1012"/>
                  <a:gd name="T41" fmla="*/ 526 h 1051"/>
                  <a:gd name="T42" fmla="*/ 835 w 1012"/>
                  <a:gd name="T43" fmla="*/ 425 h 1051"/>
                  <a:gd name="T44" fmla="*/ 829 w 1012"/>
                  <a:gd name="T45" fmla="*/ 285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12" h="1051">
                    <a:moveTo>
                      <a:pt x="829" y="285"/>
                    </a:moveTo>
                    <a:cubicBezTo>
                      <a:pt x="1001" y="172"/>
                      <a:pt x="1001" y="172"/>
                      <a:pt x="1001" y="172"/>
                    </a:cubicBezTo>
                    <a:cubicBezTo>
                      <a:pt x="923" y="0"/>
                      <a:pt x="923" y="0"/>
                      <a:pt x="923" y="0"/>
                    </a:cubicBezTo>
                    <a:cubicBezTo>
                      <a:pt x="722" y="54"/>
                      <a:pt x="722" y="54"/>
                      <a:pt x="722" y="54"/>
                    </a:cubicBezTo>
                    <a:cubicBezTo>
                      <a:pt x="707" y="36"/>
                      <a:pt x="691" y="19"/>
                      <a:pt x="673" y="2"/>
                    </a:cubicBezTo>
                    <a:cubicBezTo>
                      <a:pt x="519" y="182"/>
                      <a:pt x="519" y="182"/>
                      <a:pt x="519" y="182"/>
                    </a:cubicBezTo>
                    <a:cubicBezTo>
                      <a:pt x="594" y="255"/>
                      <a:pt x="623" y="368"/>
                      <a:pt x="584" y="472"/>
                    </a:cubicBezTo>
                    <a:cubicBezTo>
                      <a:pt x="531" y="612"/>
                      <a:pt x="374" y="682"/>
                      <a:pt x="234" y="630"/>
                    </a:cubicBezTo>
                    <a:cubicBezTo>
                      <a:pt x="210" y="620"/>
                      <a:pt x="187" y="608"/>
                      <a:pt x="167" y="592"/>
                    </a:cubicBezTo>
                    <a:cubicBezTo>
                      <a:pt x="13" y="772"/>
                      <a:pt x="13" y="772"/>
                      <a:pt x="13" y="772"/>
                    </a:cubicBezTo>
                    <a:cubicBezTo>
                      <a:pt x="21" y="779"/>
                      <a:pt x="30" y="785"/>
                      <a:pt x="39" y="792"/>
                    </a:cubicBezTo>
                    <a:cubicBezTo>
                      <a:pt x="0" y="985"/>
                      <a:pt x="0" y="985"/>
                      <a:pt x="0" y="985"/>
                    </a:cubicBezTo>
                    <a:cubicBezTo>
                      <a:pt x="176" y="1051"/>
                      <a:pt x="176" y="1051"/>
                      <a:pt x="176" y="1051"/>
                    </a:cubicBezTo>
                    <a:cubicBezTo>
                      <a:pt x="274" y="880"/>
                      <a:pt x="274" y="880"/>
                      <a:pt x="274" y="880"/>
                    </a:cubicBezTo>
                    <a:cubicBezTo>
                      <a:pt x="324" y="886"/>
                      <a:pt x="374" y="884"/>
                      <a:pt x="422" y="875"/>
                    </a:cubicBezTo>
                    <a:cubicBezTo>
                      <a:pt x="531" y="1040"/>
                      <a:pt x="531" y="1040"/>
                      <a:pt x="531" y="1040"/>
                    </a:cubicBezTo>
                    <a:cubicBezTo>
                      <a:pt x="703" y="962"/>
                      <a:pt x="703" y="962"/>
                      <a:pt x="703" y="962"/>
                    </a:cubicBezTo>
                    <a:cubicBezTo>
                      <a:pt x="651" y="769"/>
                      <a:pt x="651" y="769"/>
                      <a:pt x="651" y="769"/>
                    </a:cubicBezTo>
                    <a:cubicBezTo>
                      <a:pt x="688" y="739"/>
                      <a:pt x="721" y="703"/>
                      <a:pt x="748" y="663"/>
                    </a:cubicBezTo>
                    <a:cubicBezTo>
                      <a:pt x="946" y="703"/>
                      <a:pt x="946" y="703"/>
                      <a:pt x="946" y="703"/>
                    </a:cubicBezTo>
                    <a:cubicBezTo>
                      <a:pt x="1012" y="526"/>
                      <a:pt x="1012" y="526"/>
                      <a:pt x="1012" y="526"/>
                    </a:cubicBezTo>
                    <a:cubicBezTo>
                      <a:pt x="835" y="425"/>
                      <a:pt x="835" y="425"/>
                      <a:pt x="835" y="425"/>
                    </a:cubicBezTo>
                    <a:cubicBezTo>
                      <a:pt x="839" y="378"/>
                      <a:pt x="837" y="331"/>
                      <a:pt x="829" y="285"/>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39" name="Freeform 6">
              <a:extLst>
                <a:ext uri="{FF2B5EF4-FFF2-40B4-BE49-F238E27FC236}">
                  <a16:creationId xmlns:a16="http://schemas.microsoft.com/office/drawing/2014/main" id="{3CF3E404-E102-4A52-8EFA-A025AD0089BA}"/>
                </a:ext>
              </a:extLst>
            </p:cNvPr>
            <p:cNvSpPr>
              <a:spLocks noEditPoints="1"/>
            </p:cNvSpPr>
            <p:nvPr/>
          </p:nvSpPr>
          <p:spPr bwMode="auto">
            <a:xfrm>
              <a:off x="2987768" y="4819752"/>
              <a:ext cx="214941" cy="214726"/>
            </a:xfrm>
            <a:custGeom>
              <a:avLst/>
              <a:gdLst>
                <a:gd name="T0" fmla="*/ 1295 w 1361"/>
                <a:gd name="T1" fmla="*/ 1013 h 1361"/>
                <a:gd name="T2" fmla="*/ 1361 w 1361"/>
                <a:gd name="T3" fmla="*/ 836 h 1361"/>
                <a:gd name="T4" fmla="*/ 1184 w 1361"/>
                <a:gd name="T5" fmla="*/ 735 h 1361"/>
                <a:gd name="T6" fmla="*/ 1178 w 1361"/>
                <a:gd name="T7" fmla="*/ 595 h 1361"/>
                <a:gd name="T8" fmla="*/ 1350 w 1361"/>
                <a:gd name="T9" fmla="*/ 482 h 1361"/>
                <a:gd name="T10" fmla="*/ 1272 w 1361"/>
                <a:gd name="T11" fmla="*/ 310 h 1361"/>
                <a:gd name="T12" fmla="*/ 1071 w 1361"/>
                <a:gd name="T13" fmla="*/ 364 h 1361"/>
                <a:gd name="T14" fmla="*/ 971 w 1361"/>
                <a:gd name="T15" fmla="*/ 271 h 1361"/>
                <a:gd name="T16" fmla="*/ 1013 w 1361"/>
                <a:gd name="T17" fmla="*/ 67 h 1361"/>
                <a:gd name="T18" fmla="*/ 836 w 1361"/>
                <a:gd name="T19" fmla="*/ 0 h 1361"/>
                <a:gd name="T20" fmla="*/ 733 w 1361"/>
                <a:gd name="T21" fmla="*/ 181 h 1361"/>
                <a:gd name="T22" fmla="*/ 596 w 1361"/>
                <a:gd name="T23" fmla="*/ 185 h 1361"/>
                <a:gd name="T24" fmla="*/ 482 w 1361"/>
                <a:gd name="T25" fmla="*/ 12 h 1361"/>
                <a:gd name="T26" fmla="*/ 310 w 1361"/>
                <a:gd name="T27" fmla="*/ 90 h 1361"/>
                <a:gd name="T28" fmla="*/ 364 w 1361"/>
                <a:gd name="T29" fmla="*/ 288 h 1361"/>
                <a:gd name="T30" fmla="*/ 267 w 1361"/>
                <a:gd name="T31" fmla="*/ 389 h 1361"/>
                <a:gd name="T32" fmla="*/ 67 w 1361"/>
                <a:gd name="T33" fmla="*/ 349 h 1361"/>
                <a:gd name="T34" fmla="*/ 0 w 1361"/>
                <a:gd name="T35" fmla="*/ 525 h 1361"/>
                <a:gd name="T36" fmla="*/ 175 w 1361"/>
                <a:gd name="T37" fmla="*/ 625 h 1361"/>
                <a:gd name="T38" fmla="*/ 178 w 1361"/>
                <a:gd name="T39" fmla="*/ 770 h 1361"/>
                <a:gd name="T40" fmla="*/ 12 w 1361"/>
                <a:gd name="T41" fmla="*/ 880 h 1361"/>
                <a:gd name="T42" fmla="*/ 90 w 1361"/>
                <a:gd name="T43" fmla="*/ 1052 h 1361"/>
                <a:gd name="T44" fmla="*/ 281 w 1361"/>
                <a:gd name="T45" fmla="*/ 1000 h 1361"/>
                <a:gd name="T46" fmla="*/ 388 w 1361"/>
                <a:gd name="T47" fmla="*/ 1102 h 1361"/>
                <a:gd name="T48" fmla="*/ 349 w 1361"/>
                <a:gd name="T49" fmla="*/ 1295 h 1361"/>
                <a:gd name="T50" fmla="*/ 525 w 1361"/>
                <a:gd name="T51" fmla="*/ 1361 h 1361"/>
                <a:gd name="T52" fmla="*/ 623 w 1361"/>
                <a:gd name="T53" fmla="*/ 1190 h 1361"/>
                <a:gd name="T54" fmla="*/ 771 w 1361"/>
                <a:gd name="T55" fmla="*/ 1185 h 1361"/>
                <a:gd name="T56" fmla="*/ 880 w 1361"/>
                <a:gd name="T57" fmla="*/ 1350 h 1361"/>
                <a:gd name="T58" fmla="*/ 1052 w 1361"/>
                <a:gd name="T59" fmla="*/ 1272 h 1361"/>
                <a:gd name="T60" fmla="*/ 1000 w 1361"/>
                <a:gd name="T61" fmla="*/ 1079 h 1361"/>
                <a:gd name="T62" fmla="*/ 1097 w 1361"/>
                <a:gd name="T63" fmla="*/ 973 h 1361"/>
                <a:gd name="T64" fmla="*/ 1295 w 1361"/>
                <a:gd name="T65" fmla="*/ 1013 h 1361"/>
                <a:gd name="T66" fmla="*/ 583 w 1361"/>
                <a:gd name="T67" fmla="*/ 940 h 1361"/>
                <a:gd name="T68" fmla="*/ 425 w 1361"/>
                <a:gd name="T69" fmla="*/ 590 h 1361"/>
                <a:gd name="T70" fmla="*/ 774 w 1361"/>
                <a:gd name="T71" fmla="*/ 432 h 1361"/>
                <a:gd name="T72" fmla="*/ 933 w 1361"/>
                <a:gd name="T73" fmla="*/ 782 h 1361"/>
                <a:gd name="T74" fmla="*/ 583 w 1361"/>
                <a:gd name="T75" fmla="*/ 94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1" h="1361">
                  <a:moveTo>
                    <a:pt x="1295" y="1013"/>
                  </a:moveTo>
                  <a:cubicBezTo>
                    <a:pt x="1361" y="836"/>
                    <a:pt x="1361" y="836"/>
                    <a:pt x="1361" y="836"/>
                  </a:cubicBezTo>
                  <a:cubicBezTo>
                    <a:pt x="1184" y="735"/>
                    <a:pt x="1184" y="735"/>
                    <a:pt x="1184" y="735"/>
                  </a:cubicBezTo>
                  <a:cubicBezTo>
                    <a:pt x="1188" y="688"/>
                    <a:pt x="1186" y="641"/>
                    <a:pt x="1178" y="595"/>
                  </a:cubicBezTo>
                  <a:cubicBezTo>
                    <a:pt x="1350" y="482"/>
                    <a:pt x="1350" y="482"/>
                    <a:pt x="1350" y="482"/>
                  </a:cubicBezTo>
                  <a:cubicBezTo>
                    <a:pt x="1272" y="310"/>
                    <a:pt x="1272" y="310"/>
                    <a:pt x="1272" y="310"/>
                  </a:cubicBezTo>
                  <a:cubicBezTo>
                    <a:pt x="1071" y="364"/>
                    <a:pt x="1071" y="364"/>
                    <a:pt x="1071" y="364"/>
                  </a:cubicBezTo>
                  <a:cubicBezTo>
                    <a:pt x="1043" y="329"/>
                    <a:pt x="1009" y="298"/>
                    <a:pt x="971" y="271"/>
                  </a:cubicBezTo>
                  <a:cubicBezTo>
                    <a:pt x="1013" y="67"/>
                    <a:pt x="1013" y="67"/>
                    <a:pt x="1013" y="67"/>
                  </a:cubicBezTo>
                  <a:cubicBezTo>
                    <a:pt x="836" y="0"/>
                    <a:pt x="836" y="0"/>
                    <a:pt x="836" y="0"/>
                  </a:cubicBezTo>
                  <a:cubicBezTo>
                    <a:pt x="733" y="181"/>
                    <a:pt x="733" y="181"/>
                    <a:pt x="733" y="181"/>
                  </a:cubicBezTo>
                  <a:cubicBezTo>
                    <a:pt x="687" y="177"/>
                    <a:pt x="641" y="178"/>
                    <a:pt x="596" y="185"/>
                  </a:cubicBezTo>
                  <a:cubicBezTo>
                    <a:pt x="482" y="12"/>
                    <a:pt x="482" y="12"/>
                    <a:pt x="482" y="12"/>
                  </a:cubicBezTo>
                  <a:cubicBezTo>
                    <a:pt x="310" y="90"/>
                    <a:pt x="310" y="90"/>
                    <a:pt x="310" y="90"/>
                  </a:cubicBezTo>
                  <a:cubicBezTo>
                    <a:pt x="364" y="288"/>
                    <a:pt x="364" y="288"/>
                    <a:pt x="364" y="288"/>
                  </a:cubicBezTo>
                  <a:cubicBezTo>
                    <a:pt x="327" y="317"/>
                    <a:pt x="295" y="351"/>
                    <a:pt x="267" y="389"/>
                  </a:cubicBezTo>
                  <a:cubicBezTo>
                    <a:pt x="67" y="349"/>
                    <a:pt x="67" y="349"/>
                    <a:pt x="67" y="349"/>
                  </a:cubicBezTo>
                  <a:cubicBezTo>
                    <a:pt x="0" y="525"/>
                    <a:pt x="0" y="525"/>
                    <a:pt x="0" y="525"/>
                  </a:cubicBezTo>
                  <a:cubicBezTo>
                    <a:pt x="175" y="625"/>
                    <a:pt x="175" y="625"/>
                    <a:pt x="175" y="625"/>
                  </a:cubicBezTo>
                  <a:cubicBezTo>
                    <a:pt x="169" y="674"/>
                    <a:pt x="171" y="723"/>
                    <a:pt x="178" y="770"/>
                  </a:cubicBezTo>
                  <a:cubicBezTo>
                    <a:pt x="12" y="880"/>
                    <a:pt x="12" y="880"/>
                    <a:pt x="12" y="880"/>
                  </a:cubicBezTo>
                  <a:cubicBezTo>
                    <a:pt x="90" y="1052"/>
                    <a:pt x="90" y="1052"/>
                    <a:pt x="90" y="1052"/>
                  </a:cubicBezTo>
                  <a:cubicBezTo>
                    <a:pt x="281" y="1000"/>
                    <a:pt x="281" y="1000"/>
                    <a:pt x="281" y="1000"/>
                  </a:cubicBezTo>
                  <a:cubicBezTo>
                    <a:pt x="311" y="1039"/>
                    <a:pt x="347" y="1073"/>
                    <a:pt x="388" y="1102"/>
                  </a:cubicBezTo>
                  <a:cubicBezTo>
                    <a:pt x="349" y="1295"/>
                    <a:pt x="349" y="1295"/>
                    <a:pt x="349" y="1295"/>
                  </a:cubicBezTo>
                  <a:cubicBezTo>
                    <a:pt x="525" y="1361"/>
                    <a:pt x="525" y="1361"/>
                    <a:pt x="525" y="1361"/>
                  </a:cubicBezTo>
                  <a:cubicBezTo>
                    <a:pt x="623" y="1190"/>
                    <a:pt x="623" y="1190"/>
                    <a:pt x="623" y="1190"/>
                  </a:cubicBezTo>
                  <a:cubicBezTo>
                    <a:pt x="673" y="1196"/>
                    <a:pt x="723" y="1194"/>
                    <a:pt x="771" y="1185"/>
                  </a:cubicBezTo>
                  <a:cubicBezTo>
                    <a:pt x="880" y="1350"/>
                    <a:pt x="880" y="1350"/>
                    <a:pt x="880" y="1350"/>
                  </a:cubicBezTo>
                  <a:cubicBezTo>
                    <a:pt x="1052" y="1272"/>
                    <a:pt x="1052" y="1272"/>
                    <a:pt x="1052" y="1272"/>
                  </a:cubicBezTo>
                  <a:cubicBezTo>
                    <a:pt x="1000" y="1079"/>
                    <a:pt x="1000" y="1079"/>
                    <a:pt x="1000" y="1079"/>
                  </a:cubicBezTo>
                  <a:cubicBezTo>
                    <a:pt x="1037" y="1049"/>
                    <a:pt x="1070" y="1013"/>
                    <a:pt x="1097" y="973"/>
                  </a:cubicBezTo>
                  <a:lnTo>
                    <a:pt x="1295" y="1013"/>
                  </a:lnTo>
                  <a:close/>
                  <a:moveTo>
                    <a:pt x="583" y="940"/>
                  </a:moveTo>
                  <a:cubicBezTo>
                    <a:pt x="443" y="887"/>
                    <a:pt x="372" y="730"/>
                    <a:pt x="425" y="590"/>
                  </a:cubicBezTo>
                  <a:cubicBezTo>
                    <a:pt x="478" y="450"/>
                    <a:pt x="634" y="379"/>
                    <a:pt x="774" y="432"/>
                  </a:cubicBezTo>
                  <a:cubicBezTo>
                    <a:pt x="915" y="485"/>
                    <a:pt x="985" y="641"/>
                    <a:pt x="933" y="782"/>
                  </a:cubicBezTo>
                  <a:cubicBezTo>
                    <a:pt x="880" y="922"/>
                    <a:pt x="723" y="992"/>
                    <a:pt x="583" y="94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40" name="Freeform 7">
              <a:extLst>
                <a:ext uri="{FF2B5EF4-FFF2-40B4-BE49-F238E27FC236}">
                  <a16:creationId xmlns:a16="http://schemas.microsoft.com/office/drawing/2014/main" id="{9ED7A54C-6EB4-4EB9-92D2-969E3726B0C5}"/>
                </a:ext>
              </a:extLst>
            </p:cNvPr>
            <p:cNvSpPr>
              <a:spLocks/>
            </p:cNvSpPr>
            <p:nvPr/>
          </p:nvSpPr>
          <p:spPr bwMode="auto">
            <a:xfrm>
              <a:off x="3042793" y="4868544"/>
              <a:ext cx="159916" cy="165934"/>
            </a:xfrm>
            <a:custGeom>
              <a:avLst/>
              <a:gdLst>
                <a:gd name="T0" fmla="*/ 829 w 1012"/>
                <a:gd name="T1" fmla="*/ 285 h 1051"/>
                <a:gd name="T2" fmla="*/ 1001 w 1012"/>
                <a:gd name="T3" fmla="*/ 172 h 1051"/>
                <a:gd name="T4" fmla="*/ 923 w 1012"/>
                <a:gd name="T5" fmla="*/ 0 h 1051"/>
                <a:gd name="T6" fmla="*/ 722 w 1012"/>
                <a:gd name="T7" fmla="*/ 54 h 1051"/>
                <a:gd name="T8" fmla="*/ 673 w 1012"/>
                <a:gd name="T9" fmla="*/ 2 h 1051"/>
                <a:gd name="T10" fmla="*/ 519 w 1012"/>
                <a:gd name="T11" fmla="*/ 182 h 1051"/>
                <a:gd name="T12" fmla="*/ 584 w 1012"/>
                <a:gd name="T13" fmla="*/ 472 h 1051"/>
                <a:gd name="T14" fmla="*/ 234 w 1012"/>
                <a:gd name="T15" fmla="*/ 630 h 1051"/>
                <a:gd name="T16" fmla="*/ 167 w 1012"/>
                <a:gd name="T17" fmla="*/ 592 h 1051"/>
                <a:gd name="T18" fmla="*/ 13 w 1012"/>
                <a:gd name="T19" fmla="*/ 772 h 1051"/>
                <a:gd name="T20" fmla="*/ 39 w 1012"/>
                <a:gd name="T21" fmla="*/ 792 h 1051"/>
                <a:gd name="T22" fmla="*/ 0 w 1012"/>
                <a:gd name="T23" fmla="*/ 985 h 1051"/>
                <a:gd name="T24" fmla="*/ 176 w 1012"/>
                <a:gd name="T25" fmla="*/ 1051 h 1051"/>
                <a:gd name="T26" fmla="*/ 274 w 1012"/>
                <a:gd name="T27" fmla="*/ 880 h 1051"/>
                <a:gd name="T28" fmla="*/ 422 w 1012"/>
                <a:gd name="T29" fmla="*/ 875 h 1051"/>
                <a:gd name="T30" fmla="*/ 531 w 1012"/>
                <a:gd name="T31" fmla="*/ 1040 h 1051"/>
                <a:gd name="T32" fmla="*/ 703 w 1012"/>
                <a:gd name="T33" fmla="*/ 962 h 1051"/>
                <a:gd name="T34" fmla="*/ 651 w 1012"/>
                <a:gd name="T35" fmla="*/ 769 h 1051"/>
                <a:gd name="T36" fmla="*/ 748 w 1012"/>
                <a:gd name="T37" fmla="*/ 663 h 1051"/>
                <a:gd name="T38" fmla="*/ 946 w 1012"/>
                <a:gd name="T39" fmla="*/ 703 h 1051"/>
                <a:gd name="T40" fmla="*/ 1012 w 1012"/>
                <a:gd name="T41" fmla="*/ 526 h 1051"/>
                <a:gd name="T42" fmla="*/ 835 w 1012"/>
                <a:gd name="T43" fmla="*/ 425 h 1051"/>
                <a:gd name="T44" fmla="*/ 829 w 1012"/>
                <a:gd name="T45" fmla="*/ 285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12" h="1051">
                  <a:moveTo>
                    <a:pt x="829" y="285"/>
                  </a:moveTo>
                  <a:cubicBezTo>
                    <a:pt x="1001" y="172"/>
                    <a:pt x="1001" y="172"/>
                    <a:pt x="1001" y="172"/>
                  </a:cubicBezTo>
                  <a:cubicBezTo>
                    <a:pt x="923" y="0"/>
                    <a:pt x="923" y="0"/>
                    <a:pt x="923" y="0"/>
                  </a:cubicBezTo>
                  <a:cubicBezTo>
                    <a:pt x="722" y="54"/>
                    <a:pt x="722" y="54"/>
                    <a:pt x="722" y="54"/>
                  </a:cubicBezTo>
                  <a:cubicBezTo>
                    <a:pt x="707" y="36"/>
                    <a:pt x="691" y="19"/>
                    <a:pt x="673" y="2"/>
                  </a:cubicBezTo>
                  <a:cubicBezTo>
                    <a:pt x="519" y="182"/>
                    <a:pt x="519" y="182"/>
                    <a:pt x="519" y="182"/>
                  </a:cubicBezTo>
                  <a:cubicBezTo>
                    <a:pt x="594" y="255"/>
                    <a:pt x="623" y="368"/>
                    <a:pt x="584" y="472"/>
                  </a:cubicBezTo>
                  <a:cubicBezTo>
                    <a:pt x="531" y="612"/>
                    <a:pt x="374" y="682"/>
                    <a:pt x="234" y="630"/>
                  </a:cubicBezTo>
                  <a:cubicBezTo>
                    <a:pt x="210" y="620"/>
                    <a:pt x="187" y="608"/>
                    <a:pt x="167" y="592"/>
                  </a:cubicBezTo>
                  <a:cubicBezTo>
                    <a:pt x="13" y="772"/>
                    <a:pt x="13" y="772"/>
                    <a:pt x="13" y="772"/>
                  </a:cubicBezTo>
                  <a:cubicBezTo>
                    <a:pt x="21" y="779"/>
                    <a:pt x="30" y="785"/>
                    <a:pt x="39" y="792"/>
                  </a:cubicBezTo>
                  <a:cubicBezTo>
                    <a:pt x="0" y="985"/>
                    <a:pt x="0" y="985"/>
                    <a:pt x="0" y="985"/>
                  </a:cubicBezTo>
                  <a:cubicBezTo>
                    <a:pt x="176" y="1051"/>
                    <a:pt x="176" y="1051"/>
                    <a:pt x="176" y="1051"/>
                  </a:cubicBezTo>
                  <a:cubicBezTo>
                    <a:pt x="274" y="880"/>
                    <a:pt x="274" y="880"/>
                    <a:pt x="274" y="880"/>
                  </a:cubicBezTo>
                  <a:cubicBezTo>
                    <a:pt x="324" y="886"/>
                    <a:pt x="374" y="884"/>
                    <a:pt x="422" y="875"/>
                  </a:cubicBezTo>
                  <a:cubicBezTo>
                    <a:pt x="531" y="1040"/>
                    <a:pt x="531" y="1040"/>
                    <a:pt x="531" y="1040"/>
                  </a:cubicBezTo>
                  <a:cubicBezTo>
                    <a:pt x="703" y="962"/>
                    <a:pt x="703" y="962"/>
                    <a:pt x="703" y="962"/>
                  </a:cubicBezTo>
                  <a:cubicBezTo>
                    <a:pt x="651" y="769"/>
                    <a:pt x="651" y="769"/>
                    <a:pt x="651" y="769"/>
                  </a:cubicBezTo>
                  <a:cubicBezTo>
                    <a:pt x="688" y="739"/>
                    <a:pt x="721" y="703"/>
                    <a:pt x="748" y="663"/>
                  </a:cubicBezTo>
                  <a:cubicBezTo>
                    <a:pt x="946" y="703"/>
                    <a:pt x="946" y="703"/>
                    <a:pt x="946" y="703"/>
                  </a:cubicBezTo>
                  <a:cubicBezTo>
                    <a:pt x="1012" y="526"/>
                    <a:pt x="1012" y="526"/>
                    <a:pt x="1012" y="526"/>
                  </a:cubicBezTo>
                  <a:cubicBezTo>
                    <a:pt x="835" y="425"/>
                    <a:pt x="835" y="425"/>
                    <a:pt x="835" y="425"/>
                  </a:cubicBezTo>
                  <a:cubicBezTo>
                    <a:pt x="839" y="378"/>
                    <a:pt x="837" y="331"/>
                    <a:pt x="829" y="28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7227" name="Group 7226">
            <a:extLst>
              <a:ext uri="{FF2B5EF4-FFF2-40B4-BE49-F238E27FC236}">
                <a16:creationId xmlns:a16="http://schemas.microsoft.com/office/drawing/2014/main" id="{9C3573F0-4763-4ACF-B561-13CF7D10F6A9}"/>
              </a:ext>
            </a:extLst>
          </p:cNvPr>
          <p:cNvGrpSpPr/>
          <p:nvPr/>
        </p:nvGrpSpPr>
        <p:grpSpPr>
          <a:xfrm>
            <a:off x="4408614" y="4373739"/>
            <a:ext cx="810162" cy="781763"/>
            <a:chOff x="4462449" y="4536913"/>
            <a:chExt cx="573543" cy="553440"/>
          </a:xfrm>
        </p:grpSpPr>
        <p:cxnSp>
          <p:nvCxnSpPr>
            <p:cNvPr id="654" name="Straight Connector 653">
              <a:extLst>
                <a:ext uri="{FF2B5EF4-FFF2-40B4-BE49-F238E27FC236}">
                  <a16:creationId xmlns:a16="http://schemas.microsoft.com/office/drawing/2014/main" id="{4784ED6C-967D-48E1-8D5C-4197C2498EAC}"/>
                </a:ext>
              </a:extLst>
            </p:cNvPr>
            <p:cNvCxnSpPr>
              <a:cxnSpLocks/>
            </p:cNvCxnSpPr>
            <p:nvPr/>
          </p:nvCxnSpPr>
          <p:spPr>
            <a:xfrm flipV="1">
              <a:off x="4771720" y="4839359"/>
              <a:ext cx="180343" cy="119011"/>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3" name="Straight Connector 502">
              <a:extLst>
                <a:ext uri="{FF2B5EF4-FFF2-40B4-BE49-F238E27FC236}">
                  <a16:creationId xmlns:a16="http://schemas.microsoft.com/office/drawing/2014/main" id="{E09C4BA1-3191-41FD-8A6A-687EC9AFD1E5}"/>
                </a:ext>
              </a:extLst>
            </p:cNvPr>
            <p:cNvCxnSpPr>
              <a:cxnSpLocks/>
            </p:cNvCxnSpPr>
            <p:nvPr/>
          </p:nvCxnSpPr>
          <p:spPr>
            <a:xfrm flipV="1">
              <a:off x="4567807" y="4656010"/>
              <a:ext cx="180343" cy="119011"/>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12" name="Oval 7211">
              <a:extLst>
                <a:ext uri="{FF2B5EF4-FFF2-40B4-BE49-F238E27FC236}">
                  <a16:creationId xmlns:a16="http://schemas.microsoft.com/office/drawing/2014/main" id="{CBFD3055-935D-43E2-AF4A-0B08DDD915F1}"/>
                </a:ext>
              </a:extLst>
            </p:cNvPr>
            <p:cNvSpPr/>
            <p:nvPr/>
          </p:nvSpPr>
          <p:spPr bwMode="auto">
            <a:xfrm>
              <a:off x="4677789" y="4536913"/>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42" name="Oval 641">
              <a:extLst>
                <a:ext uri="{FF2B5EF4-FFF2-40B4-BE49-F238E27FC236}">
                  <a16:creationId xmlns:a16="http://schemas.microsoft.com/office/drawing/2014/main" id="{62A15344-0EA2-489D-A43E-16F540978346}"/>
                </a:ext>
              </a:extLst>
            </p:cNvPr>
            <p:cNvSpPr/>
            <p:nvPr/>
          </p:nvSpPr>
          <p:spPr bwMode="auto">
            <a:xfrm>
              <a:off x="4462449" y="4720911"/>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43" name="Oval 642">
              <a:extLst>
                <a:ext uri="{FF2B5EF4-FFF2-40B4-BE49-F238E27FC236}">
                  <a16:creationId xmlns:a16="http://schemas.microsoft.com/office/drawing/2014/main" id="{5269D7F0-82C0-4D7C-9286-BCFF8662E8F9}"/>
                </a:ext>
              </a:extLst>
            </p:cNvPr>
            <p:cNvSpPr/>
            <p:nvPr/>
          </p:nvSpPr>
          <p:spPr bwMode="auto">
            <a:xfrm>
              <a:off x="4861786" y="4720911"/>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44" name="Oval 643">
              <a:extLst>
                <a:ext uri="{FF2B5EF4-FFF2-40B4-BE49-F238E27FC236}">
                  <a16:creationId xmlns:a16="http://schemas.microsoft.com/office/drawing/2014/main" id="{3E44C0DD-9FB6-4785-A898-BBB3D4F2057E}"/>
                </a:ext>
              </a:extLst>
            </p:cNvPr>
            <p:cNvSpPr/>
            <p:nvPr/>
          </p:nvSpPr>
          <p:spPr bwMode="auto">
            <a:xfrm>
              <a:off x="4661047" y="4916148"/>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219" name="Group 7218">
              <a:extLst>
                <a:ext uri="{FF2B5EF4-FFF2-40B4-BE49-F238E27FC236}">
                  <a16:creationId xmlns:a16="http://schemas.microsoft.com/office/drawing/2014/main" id="{6A78AC05-5E35-48EF-82AB-9BD222F60F9E}"/>
                </a:ext>
              </a:extLst>
            </p:cNvPr>
            <p:cNvGrpSpPr/>
            <p:nvPr/>
          </p:nvGrpSpPr>
          <p:grpSpPr>
            <a:xfrm>
              <a:off x="4699506" y="4558052"/>
              <a:ext cx="130772" cy="131928"/>
              <a:chOff x="-1095835" y="3713831"/>
              <a:chExt cx="386194" cy="389612"/>
            </a:xfrm>
          </p:grpSpPr>
          <p:sp>
            <p:nvSpPr>
              <p:cNvPr id="490" name="Freeform 68">
                <a:extLst>
                  <a:ext uri="{FF2B5EF4-FFF2-40B4-BE49-F238E27FC236}">
                    <a16:creationId xmlns:a16="http://schemas.microsoft.com/office/drawing/2014/main" id="{CF6FF747-25D4-4DE6-A2E0-4B7051E10640}"/>
                  </a:ext>
                </a:extLst>
              </p:cNvPr>
              <p:cNvSpPr>
                <a:spLocks/>
              </p:cNvSpPr>
              <p:nvPr/>
            </p:nvSpPr>
            <p:spPr bwMode="auto">
              <a:xfrm>
                <a:off x="-1083874" y="3910346"/>
                <a:ext cx="317840" cy="193097"/>
              </a:xfrm>
              <a:custGeom>
                <a:avLst/>
                <a:gdLst>
                  <a:gd name="T0" fmla="*/ 78 w 137"/>
                  <a:gd name="T1" fmla="*/ 0 h 83"/>
                  <a:gd name="T2" fmla="*/ 0 w 137"/>
                  <a:gd name="T3" fmla="*/ 29 h 83"/>
                  <a:gd name="T4" fmla="*/ 78 w 137"/>
                  <a:gd name="T5" fmla="*/ 83 h 83"/>
                  <a:gd name="T6" fmla="*/ 137 w 137"/>
                  <a:gd name="T7" fmla="*/ 58 h 83"/>
                  <a:gd name="T8" fmla="*/ 78 w 137"/>
                  <a:gd name="T9" fmla="*/ 0 h 83"/>
                </a:gdLst>
                <a:ahLst/>
                <a:cxnLst>
                  <a:cxn ang="0">
                    <a:pos x="T0" y="T1"/>
                  </a:cxn>
                  <a:cxn ang="0">
                    <a:pos x="T2" y="T3"/>
                  </a:cxn>
                  <a:cxn ang="0">
                    <a:pos x="T4" y="T5"/>
                  </a:cxn>
                  <a:cxn ang="0">
                    <a:pos x="T6" y="T7"/>
                  </a:cxn>
                  <a:cxn ang="0">
                    <a:pos x="T8" y="T9"/>
                  </a:cxn>
                </a:cxnLst>
                <a:rect l="0" t="0" r="r" b="b"/>
                <a:pathLst>
                  <a:path w="137" h="83">
                    <a:moveTo>
                      <a:pt x="78" y="0"/>
                    </a:moveTo>
                    <a:cubicBezTo>
                      <a:pt x="0" y="29"/>
                      <a:pt x="0" y="29"/>
                      <a:pt x="0" y="29"/>
                    </a:cubicBezTo>
                    <a:cubicBezTo>
                      <a:pt x="12" y="60"/>
                      <a:pt x="42" y="83"/>
                      <a:pt x="78" y="83"/>
                    </a:cubicBezTo>
                    <a:cubicBezTo>
                      <a:pt x="101" y="83"/>
                      <a:pt x="122" y="73"/>
                      <a:pt x="137" y="58"/>
                    </a:cubicBezTo>
                    <a:lnTo>
                      <a:pt x="78" y="0"/>
                    </a:lnTo>
                    <a:close/>
                  </a:path>
                </a:pathLst>
              </a:custGeom>
              <a:solidFill>
                <a:srgbClr val="4C9A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91" name="Freeform 69">
                <a:extLst>
                  <a:ext uri="{FF2B5EF4-FFF2-40B4-BE49-F238E27FC236}">
                    <a16:creationId xmlns:a16="http://schemas.microsoft.com/office/drawing/2014/main" id="{01D75D7F-1E8B-470F-A6C4-D894EB7A20F9}"/>
                  </a:ext>
                </a:extLst>
              </p:cNvPr>
              <p:cNvSpPr>
                <a:spLocks/>
              </p:cNvSpPr>
              <p:nvPr/>
            </p:nvSpPr>
            <p:spPr bwMode="auto">
              <a:xfrm>
                <a:off x="-1095835" y="3773641"/>
                <a:ext cx="193097" cy="136705"/>
              </a:xfrm>
              <a:custGeom>
                <a:avLst/>
                <a:gdLst>
                  <a:gd name="T0" fmla="*/ 24 w 83"/>
                  <a:gd name="T1" fmla="*/ 0 h 59"/>
                  <a:gd name="T2" fmla="*/ 0 w 83"/>
                  <a:gd name="T3" fmla="*/ 58 h 59"/>
                  <a:gd name="T4" fmla="*/ 0 w 83"/>
                  <a:gd name="T5" fmla="*/ 59 h 59"/>
                  <a:gd name="T6" fmla="*/ 83 w 83"/>
                  <a:gd name="T7" fmla="*/ 59 h 59"/>
                  <a:gd name="T8" fmla="*/ 24 w 83"/>
                  <a:gd name="T9" fmla="*/ 0 h 59"/>
                </a:gdLst>
                <a:ahLst/>
                <a:cxnLst>
                  <a:cxn ang="0">
                    <a:pos x="T0" y="T1"/>
                  </a:cxn>
                  <a:cxn ang="0">
                    <a:pos x="T2" y="T3"/>
                  </a:cxn>
                  <a:cxn ang="0">
                    <a:pos x="T4" y="T5"/>
                  </a:cxn>
                  <a:cxn ang="0">
                    <a:pos x="T6" y="T7"/>
                  </a:cxn>
                  <a:cxn ang="0">
                    <a:pos x="T8" y="T9"/>
                  </a:cxn>
                </a:cxnLst>
                <a:rect l="0" t="0" r="r" b="b"/>
                <a:pathLst>
                  <a:path w="83" h="59">
                    <a:moveTo>
                      <a:pt x="24" y="0"/>
                    </a:moveTo>
                    <a:cubicBezTo>
                      <a:pt x="9" y="15"/>
                      <a:pt x="0" y="36"/>
                      <a:pt x="0" y="58"/>
                    </a:cubicBezTo>
                    <a:cubicBezTo>
                      <a:pt x="0" y="59"/>
                      <a:pt x="0" y="59"/>
                      <a:pt x="0" y="59"/>
                    </a:cubicBezTo>
                    <a:cubicBezTo>
                      <a:pt x="83" y="59"/>
                      <a:pt x="83" y="59"/>
                      <a:pt x="83" y="59"/>
                    </a:cubicBezTo>
                    <a:lnTo>
                      <a:pt x="24"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92" name="Freeform 70">
                <a:extLst>
                  <a:ext uri="{FF2B5EF4-FFF2-40B4-BE49-F238E27FC236}">
                    <a16:creationId xmlns:a16="http://schemas.microsoft.com/office/drawing/2014/main" id="{9CA4B5AC-CFE0-4838-9750-1995FC2C1537}"/>
                  </a:ext>
                </a:extLst>
              </p:cNvPr>
              <p:cNvSpPr>
                <a:spLocks/>
              </p:cNvSpPr>
              <p:nvPr/>
            </p:nvSpPr>
            <p:spPr bwMode="auto">
              <a:xfrm>
                <a:off x="-1095835" y="3910346"/>
                <a:ext cx="193097" cy="66644"/>
              </a:xfrm>
              <a:custGeom>
                <a:avLst/>
                <a:gdLst>
                  <a:gd name="T0" fmla="*/ 0 w 83"/>
                  <a:gd name="T1" fmla="*/ 0 h 29"/>
                  <a:gd name="T2" fmla="*/ 5 w 83"/>
                  <a:gd name="T3" fmla="*/ 29 h 29"/>
                  <a:gd name="T4" fmla="*/ 83 w 83"/>
                  <a:gd name="T5" fmla="*/ 0 h 29"/>
                  <a:gd name="T6" fmla="*/ 0 w 83"/>
                  <a:gd name="T7" fmla="*/ 0 h 29"/>
                </a:gdLst>
                <a:ahLst/>
                <a:cxnLst>
                  <a:cxn ang="0">
                    <a:pos x="T0" y="T1"/>
                  </a:cxn>
                  <a:cxn ang="0">
                    <a:pos x="T2" y="T3"/>
                  </a:cxn>
                  <a:cxn ang="0">
                    <a:pos x="T4" y="T5"/>
                  </a:cxn>
                  <a:cxn ang="0">
                    <a:pos x="T6" y="T7"/>
                  </a:cxn>
                </a:cxnLst>
                <a:rect l="0" t="0" r="r" b="b"/>
                <a:pathLst>
                  <a:path w="83" h="29">
                    <a:moveTo>
                      <a:pt x="0" y="0"/>
                    </a:moveTo>
                    <a:cubicBezTo>
                      <a:pt x="0" y="10"/>
                      <a:pt x="2" y="20"/>
                      <a:pt x="5" y="29"/>
                    </a:cubicBezTo>
                    <a:cubicBezTo>
                      <a:pt x="83" y="0"/>
                      <a:pt x="83" y="0"/>
                      <a:pt x="83"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93" name="Freeform 71">
                <a:extLst>
                  <a:ext uri="{FF2B5EF4-FFF2-40B4-BE49-F238E27FC236}">
                    <a16:creationId xmlns:a16="http://schemas.microsoft.com/office/drawing/2014/main" id="{D75E68C1-1CED-4F74-BFC0-972D7927D926}"/>
                  </a:ext>
                </a:extLst>
              </p:cNvPr>
              <p:cNvSpPr>
                <a:spLocks/>
              </p:cNvSpPr>
              <p:nvPr/>
            </p:nvSpPr>
            <p:spPr bwMode="auto">
              <a:xfrm>
                <a:off x="-1039444" y="3713831"/>
                <a:ext cx="329803" cy="331511"/>
              </a:xfrm>
              <a:custGeom>
                <a:avLst/>
                <a:gdLst>
                  <a:gd name="T0" fmla="*/ 118 w 142"/>
                  <a:gd name="T1" fmla="*/ 142 h 142"/>
                  <a:gd name="T2" fmla="*/ 142 w 142"/>
                  <a:gd name="T3" fmla="*/ 83 h 142"/>
                  <a:gd name="T4" fmla="*/ 59 w 142"/>
                  <a:gd name="T5" fmla="*/ 0 h 142"/>
                  <a:gd name="T6" fmla="*/ 0 w 142"/>
                  <a:gd name="T7" fmla="*/ 25 h 142"/>
                  <a:gd name="T8" fmla="*/ 59 w 142"/>
                  <a:gd name="T9" fmla="*/ 84 h 142"/>
                  <a:gd name="T10" fmla="*/ 118 w 142"/>
                  <a:gd name="T11" fmla="*/ 142 h 142"/>
                </a:gdLst>
                <a:ahLst/>
                <a:cxnLst>
                  <a:cxn ang="0">
                    <a:pos x="T0" y="T1"/>
                  </a:cxn>
                  <a:cxn ang="0">
                    <a:pos x="T2" y="T3"/>
                  </a:cxn>
                  <a:cxn ang="0">
                    <a:pos x="T4" y="T5"/>
                  </a:cxn>
                  <a:cxn ang="0">
                    <a:pos x="T6" y="T7"/>
                  </a:cxn>
                  <a:cxn ang="0">
                    <a:pos x="T8" y="T9"/>
                  </a:cxn>
                  <a:cxn ang="0">
                    <a:pos x="T10" y="T11"/>
                  </a:cxn>
                </a:cxnLst>
                <a:rect l="0" t="0" r="r" b="b"/>
                <a:pathLst>
                  <a:path w="142" h="142">
                    <a:moveTo>
                      <a:pt x="118" y="142"/>
                    </a:moveTo>
                    <a:cubicBezTo>
                      <a:pt x="133" y="127"/>
                      <a:pt x="142" y="106"/>
                      <a:pt x="142" y="83"/>
                    </a:cubicBezTo>
                    <a:cubicBezTo>
                      <a:pt x="142" y="38"/>
                      <a:pt x="105" y="0"/>
                      <a:pt x="59" y="0"/>
                    </a:cubicBezTo>
                    <a:cubicBezTo>
                      <a:pt x="36" y="0"/>
                      <a:pt x="15" y="10"/>
                      <a:pt x="0" y="25"/>
                    </a:cubicBezTo>
                    <a:cubicBezTo>
                      <a:pt x="59" y="84"/>
                      <a:pt x="59" y="84"/>
                      <a:pt x="59" y="84"/>
                    </a:cubicBezTo>
                    <a:lnTo>
                      <a:pt x="118" y="142"/>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nvGrpSpPr>
            <p:cNvPr id="7220" name="Group 7219">
              <a:extLst>
                <a:ext uri="{FF2B5EF4-FFF2-40B4-BE49-F238E27FC236}">
                  <a16:creationId xmlns:a16="http://schemas.microsoft.com/office/drawing/2014/main" id="{9779E292-6A21-4D56-B473-2720A505E1B6}"/>
                </a:ext>
              </a:extLst>
            </p:cNvPr>
            <p:cNvGrpSpPr/>
            <p:nvPr/>
          </p:nvGrpSpPr>
          <p:grpSpPr>
            <a:xfrm>
              <a:off x="4898495" y="4755809"/>
              <a:ext cx="100789" cy="104410"/>
              <a:chOff x="-632745" y="4371727"/>
              <a:chExt cx="285373" cy="295626"/>
            </a:xfrm>
          </p:grpSpPr>
          <p:sp>
            <p:nvSpPr>
              <p:cNvPr id="494" name="Rectangle 72">
                <a:extLst>
                  <a:ext uri="{FF2B5EF4-FFF2-40B4-BE49-F238E27FC236}">
                    <a16:creationId xmlns:a16="http://schemas.microsoft.com/office/drawing/2014/main" id="{F3E444A4-B896-4199-8DF5-9E9466856287}"/>
                  </a:ext>
                </a:extLst>
              </p:cNvPr>
              <p:cNvSpPr>
                <a:spLocks noChangeArrowheads="1"/>
              </p:cNvSpPr>
              <p:nvPr/>
            </p:nvSpPr>
            <p:spPr bwMode="auto">
              <a:xfrm>
                <a:off x="-632745" y="4568241"/>
                <a:ext cx="71770" cy="99111"/>
              </a:xfrm>
              <a:prstGeom prst="rect">
                <a:avLst/>
              </a:prstGeom>
              <a:solidFill>
                <a:srgbClr val="4C9A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95" name="Rectangle 73">
                <a:extLst>
                  <a:ext uri="{FF2B5EF4-FFF2-40B4-BE49-F238E27FC236}">
                    <a16:creationId xmlns:a16="http://schemas.microsoft.com/office/drawing/2014/main" id="{709B50E6-233C-4328-AC40-7E650C4DE9F7}"/>
                  </a:ext>
                </a:extLst>
              </p:cNvPr>
              <p:cNvSpPr>
                <a:spLocks noChangeArrowheads="1"/>
              </p:cNvSpPr>
              <p:nvPr/>
            </p:nvSpPr>
            <p:spPr bwMode="auto">
              <a:xfrm>
                <a:off x="-526799" y="4458876"/>
                <a:ext cx="71770" cy="208476"/>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96" name="Rectangle 74">
                <a:extLst>
                  <a:ext uri="{FF2B5EF4-FFF2-40B4-BE49-F238E27FC236}">
                    <a16:creationId xmlns:a16="http://schemas.microsoft.com/office/drawing/2014/main" id="{997B0A6C-BCD3-4C29-BF8A-966A4C362E37}"/>
                  </a:ext>
                </a:extLst>
              </p:cNvPr>
              <p:cNvSpPr>
                <a:spLocks noChangeArrowheads="1"/>
              </p:cNvSpPr>
              <p:nvPr/>
            </p:nvSpPr>
            <p:spPr bwMode="auto">
              <a:xfrm>
                <a:off x="-420852" y="4371727"/>
                <a:ext cx="73480" cy="295626"/>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nvGrpSpPr>
            <p:cNvPr id="508" name="Group 507">
              <a:extLst>
                <a:ext uri="{FF2B5EF4-FFF2-40B4-BE49-F238E27FC236}">
                  <a16:creationId xmlns:a16="http://schemas.microsoft.com/office/drawing/2014/main" id="{05C918EF-F84C-43D2-82A2-FC3E9B29035D}"/>
                </a:ext>
              </a:extLst>
            </p:cNvPr>
            <p:cNvGrpSpPr/>
            <p:nvPr/>
          </p:nvGrpSpPr>
          <p:grpSpPr>
            <a:xfrm>
              <a:off x="4502848" y="4757253"/>
              <a:ext cx="93408" cy="101521"/>
              <a:chOff x="3647478" y="3846078"/>
              <a:chExt cx="338204" cy="367579"/>
            </a:xfrm>
          </p:grpSpPr>
          <p:sp>
            <p:nvSpPr>
              <p:cNvPr id="509" name="Rectangle 221">
                <a:extLst>
                  <a:ext uri="{FF2B5EF4-FFF2-40B4-BE49-F238E27FC236}">
                    <a16:creationId xmlns:a16="http://schemas.microsoft.com/office/drawing/2014/main" id="{4272B351-A33B-4B0A-9613-FF625E7D51DA}"/>
                  </a:ext>
                </a:extLst>
              </p:cNvPr>
              <p:cNvSpPr>
                <a:spLocks noChangeArrowheads="1"/>
              </p:cNvSpPr>
              <p:nvPr/>
            </p:nvSpPr>
            <p:spPr bwMode="auto">
              <a:xfrm>
                <a:off x="3647478" y="4081074"/>
                <a:ext cx="79391" cy="132583"/>
              </a:xfrm>
              <a:prstGeom prst="rect">
                <a:avLst/>
              </a:prstGeom>
              <a:solidFill>
                <a:srgbClr val="4C9A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10" name="Rectangle 222">
                <a:extLst>
                  <a:ext uri="{FF2B5EF4-FFF2-40B4-BE49-F238E27FC236}">
                    <a16:creationId xmlns:a16="http://schemas.microsoft.com/office/drawing/2014/main" id="{31AC12A7-6E48-4D15-B564-5A44ACBAC576}"/>
                  </a:ext>
                </a:extLst>
              </p:cNvPr>
              <p:cNvSpPr>
                <a:spLocks noChangeArrowheads="1"/>
              </p:cNvSpPr>
              <p:nvPr/>
            </p:nvSpPr>
            <p:spPr bwMode="auto">
              <a:xfrm>
                <a:off x="3775297" y="3932614"/>
                <a:ext cx="80978" cy="281043"/>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11" name="Rectangle 223">
                <a:extLst>
                  <a:ext uri="{FF2B5EF4-FFF2-40B4-BE49-F238E27FC236}">
                    <a16:creationId xmlns:a16="http://schemas.microsoft.com/office/drawing/2014/main" id="{0C8ED369-9013-494D-B754-3A42D1E9C8ED}"/>
                  </a:ext>
                </a:extLst>
              </p:cNvPr>
              <p:cNvSpPr>
                <a:spLocks noChangeArrowheads="1"/>
              </p:cNvSpPr>
              <p:nvPr/>
            </p:nvSpPr>
            <p:spPr bwMode="auto">
              <a:xfrm>
                <a:off x="3904704" y="3846078"/>
                <a:ext cx="80978" cy="367579"/>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12" name="Freeform 224">
                <a:extLst>
                  <a:ext uri="{FF2B5EF4-FFF2-40B4-BE49-F238E27FC236}">
                    <a16:creationId xmlns:a16="http://schemas.microsoft.com/office/drawing/2014/main" id="{BADE590E-2590-4E9C-9897-F2499031A3ED}"/>
                  </a:ext>
                </a:extLst>
              </p:cNvPr>
              <p:cNvSpPr>
                <a:spLocks/>
              </p:cNvSpPr>
              <p:nvPr/>
            </p:nvSpPr>
            <p:spPr bwMode="auto">
              <a:xfrm>
                <a:off x="3664944" y="3976279"/>
                <a:ext cx="301684" cy="164339"/>
              </a:xfrm>
              <a:custGeom>
                <a:avLst/>
                <a:gdLst>
                  <a:gd name="T0" fmla="*/ 260 w 281"/>
                  <a:gd name="T1" fmla="*/ 36 h 152"/>
                  <a:gd name="T2" fmla="*/ 244 w 281"/>
                  <a:gd name="T3" fmla="*/ 44 h 152"/>
                  <a:gd name="T4" fmla="*/ 164 w 281"/>
                  <a:gd name="T5" fmla="*/ 22 h 152"/>
                  <a:gd name="T6" fmla="*/ 165 w 281"/>
                  <a:gd name="T7" fmla="*/ 21 h 152"/>
                  <a:gd name="T8" fmla="*/ 144 w 281"/>
                  <a:gd name="T9" fmla="*/ 0 h 152"/>
                  <a:gd name="T10" fmla="*/ 123 w 281"/>
                  <a:gd name="T11" fmla="*/ 21 h 152"/>
                  <a:gd name="T12" fmla="*/ 125 w 281"/>
                  <a:gd name="T13" fmla="*/ 30 h 152"/>
                  <a:gd name="T14" fmla="*/ 33 w 281"/>
                  <a:gd name="T15" fmla="*/ 114 h 152"/>
                  <a:gd name="T16" fmla="*/ 21 w 281"/>
                  <a:gd name="T17" fmla="*/ 110 h 152"/>
                  <a:gd name="T18" fmla="*/ 0 w 281"/>
                  <a:gd name="T19" fmla="*/ 131 h 152"/>
                  <a:gd name="T20" fmla="*/ 21 w 281"/>
                  <a:gd name="T21" fmla="*/ 152 h 152"/>
                  <a:gd name="T22" fmla="*/ 42 w 281"/>
                  <a:gd name="T23" fmla="*/ 131 h 152"/>
                  <a:gd name="T24" fmla="*/ 41 w 281"/>
                  <a:gd name="T25" fmla="*/ 125 h 152"/>
                  <a:gd name="T26" fmla="*/ 133 w 281"/>
                  <a:gd name="T27" fmla="*/ 39 h 152"/>
                  <a:gd name="T28" fmla="*/ 144 w 281"/>
                  <a:gd name="T29" fmla="*/ 42 h 152"/>
                  <a:gd name="T30" fmla="*/ 160 w 281"/>
                  <a:gd name="T31" fmla="*/ 34 h 152"/>
                  <a:gd name="T32" fmla="*/ 239 w 281"/>
                  <a:gd name="T33" fmla="*/ 56 h 152"/>
                  <a:gd name="T34" fmla="*/ 239 w 281"/>
                  <a:gd name="T35" fmla="*/ 57 h 152"/>
                  <a:gd name="T36" fmla="*/ 260 w 281"/>
                  <a:gd name="T37" fmla="*/ 78 h 152"/>
                  <a:gd name="T38" fmla="*/ 281 w 281"/>
                  <a:gd name="T39" fmla="*/ 57 h 152"/>
                  <a:gd name="T40" fmla="*/ 260 w 281"/>
                  <a:gd name="T41" fmla="*/ 3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1" h="152">
                    <a:moveTo>
                      <a:pt x="260" y="36"/>
                    </a:moveTo>
                    <a:cubicBezTo>
                      <a:pt x="254" y="36"/>
                      <a:pt x="248" y="39"/>
                      <a:pt x="244" y="44"/>
                    </a:cubicBezTo>
                    <a:cubicBezTo>
                      <a:pt x="164" y="22"/>
                      <a:pt x="164" y="22"/>
                      <a:pt x="164" y="22"/>
                    </a:cubicBezTo>
                    <a:cubicBezTo>
                      <a:pt x="164" y="21"/>
                      <a:pt x="165" y="21"/>
                      <a:pt x="165" y="21"/>
                    </a:cubicBezTo>
                    <a:cubicBezTo>
                      <a:pt x="165" y="9"/>
                      <a:pt x="155" y="0"/>
                      <a:pt x="144" y="0"/>
                    </a:cubicBezTo>
                    <a:cubicBezTo>
                      <a:pt x="132" y="0"/>
                      <a:pt x="123" y="9"/>
                      <a:pt x="123" y="21"/>
                    </a:cubicBezTo>
                    <a:cubicBezTo>
                      <a:pt x="123" y="24"/>
                      <a:pt x="123" y="27"/>
                      <a:pt x="125" y="30"/>
                    </a:cubicBezTo>
                    <a:cubicBezTo>
                      <a:pt x="33" y="114"/>
                      <a:pt x="33" y="114"/>
                      <a:pt x="33" y="114"/>
                    </a:cubicBezTo>
                    <a:cubicBezTo>
                      <a:pt x="30" y="112"/>
                      <a:pt x="26" y="110"/>
                      <a:pt x="21" y="110"/>
                    </a:cubicBezTo>
                    <a:cubicBezTo>
                      <a:pt x="9" y="110"/>
                      <a:pt x="0" y="120"/>
                      <a:pt x="0" y="131"/>
                    </a:cubicBezTo>
                    <a:cubicBezTo>
                      <a:pt x="0" y="143"/>
                      <a:pt x="9" y="152"/>
                      <a:pt x="21" y="152"/>
                    </a:cubicBezTo>
                    <a:cubicBezTo>
                      <a:pt x="33" y="152"/>
                      <a:pt x="42" y="143"/>
                      <a:pt x="42" y="131"/>
                    </a:cubicBezTo>
                    <a:cubicBezTo>
                      <a:pt x="42" y="129"/>
                      <a:pt x="41" y="127"/>
                      <a:pt x="41" y="125"/>
                    </a:cubicBezTo>
                    <a:cubicBezTo>
                      <a:pt x="133" y="39"/>
                      <a:pt x="133" y="39"/>
                      <a:pt x="133" y="39"/>
                    </a:cubicBezTo>
                    <a:cubicBezTo>
                      <a:pt x="136" y="41"/>
                      <a:pt x="140" y="42"/>
                      <a:pt x="144" y="42"/>
                    </a:cubicBezTo>
                    <a:cubicBezTo>
                      <a:pt x="150" y="42"/>
                      <a:pt x="156" y="38"/>
                      <a:pt x="160" y="34"/>
                    </a:cubicBezTo>
                    <a:cubicBezTo>
                      <a:pt x="239" y="56"/>
                      <a:pt x="239" y="56"/>
                      <a:pt x="239" y="56"/>
                    </a:cubicBezTo>
                    <a:cubicBezTo>
                      <a:pt x="239" y="56"/>
                      <a:pt x="239" y="56"/>
                      <a:pt x="239" y="57"/>
                    </a:cubicBezTo>
                    <a:cubicBezTo>
                      <a:pt x="239" y="68"/>
                      <a:pt x="249" y="78"/>
                      <a:pt x="260" y="78"/>
                    </a:cubicBezTo>
                    <a:cubicBezTo>
                      <a:pt x="272" y="78"/>
                      <a:pt x="281" y="68"/>
                      <a:pt x="281" y="57"/>
                    </a:cubicBezTo>
                    <a:cubicBezTo>
                      <a:pt x="281" y="45"/>
                      <a:pt x="272" y="36"/>
                      <a:pt x="260"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nvGrpSpPr>
            <p:cNvPr id="7221" name="Group 7220">
              <a:extLst>
                <a:ext uri="{FF2B5EF4-FFF2-40B4-BE49-F238E27FC236}">
                  <a16:creationId xmlns:a16="http://schemas.microsoft.com/office/drawing/2014/main" id="{F16E9808-6EE7-4BDC-98E3-4539239E4C0C}"/>
                </a:ext>
              </a:extLst>
            </p:cNvPr>
            <p:cNvGrpSpPr/>
            <p:nvPr/>
          </p:nvGrpSpPr>
          <p:grpSpPr>
            <a:xfrm>
              <a:off x="4684183" y="4953904"/>
              <a:ext cx="127933" cy="98691"/>
              <a:chOff x="-1435890" y="5157784"/>
              <a:chExt cx="299044" cy="230691"/>
            </a:xfrm>
          </p:grpSpPr>
          <p:sp>
            <p:nvSpPr>
              <p:cNvPr id="497" name="Rectangle 75">
                <a:extLst>
                  <a:ext uri="{FF2B5EF4-FFF2-40B4-BE49-F238E27FC236}">
                    <a16:creationId xmlns:a16="http://schemas.microsoft.com/office/drawing/2014/main" id="{FC9AC483-5ABD-499B-913E-E3BB49F4970D}"/>
                  </a:ext>
                </a:extLst>
              </p:cNvPr>
              <p:cNvSpPr>
                <a:spLocks noChangeArrowheads="1"/>
              </p:cNvSpPr>
              <p:nvPr/>
            </p:nvSpPr>
            <p:spPr bwMode="auto">
              <a:xfrm>
                <a:off x="-1435890" y="5342336"/>
                <a:ext cx="299044" cy="4613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98" name="Rectangle 76">
                <a:extLst>
                  <a:ext uri="{FF2B5EF4-FFF2-40B4-BE49-F238E27FC236}">
                    <a16:creationId xmlns:a16="http://schemas.microsoft.com/office/drawing/2014/main" id="{622DD88F-BED7-45B6-B022-E18AE0784ED3}"/>
                  </a:ext>
                </a:extLst>
              </p:cNvPr>
              <p:cNvSpPr>
                <a:spLocks noChangeArrowheads="1"/>
              </p:cNvSpPr>
              <p:nvPr/>
            </p:nvSpPr>
            <p:spPr bwMode="auto">
              <a:xfrm>
                <a:off x="-1435890" y="5279109"/>
                <a:ext cx="299044" cy="4955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99" name="Rectangle 77">
                <a:extLst>
                  <a:ext uri="{FF2B5EF4-FFF2-40B4-BE49-F238E27FC236}">
                    <a16:creationId xmlns:a16="http://schemas.microsoft.com/office/drawing/2014/main" id="{2F9728BE-C5B3-4EB4-B222-D8093D5FF2B8}"/>
                  </a:ext>
                </a:extLst>
              </p:cNvPr>
              <p:cNvSpPr>
                <a:spLocks noChangeArrowheads="1"/>
              </p:cNvSpPr>
              <p:nvPr/>
            </p:nvSpPr>
            <p:spPr bwMode="auto">
              <a:xfrm>
                <a:off x="-1435890" y="5157784"/>
                <a:ext cx="299044" cy="4613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00" name="Rectangle 78">
                <a:extLst>
                  <a:ext uri="{FF2B5EF4-FFF2-40B4-BE49-F238E27FC236}">
                    <a16:creationId xmlns:a16="http://schemas.microsoft.com/office/drawing/2014/main" id="{0BD535E3-2923-469B-8CD1-0D68D1C4B32D}"/>
                  </a:ext>
                </a:extLst>
              </p:cNvPr>
              <p:cNvSpPr>
                <a:spLocks noChangeArrowheads="1"/>
              </p:cNvSpPr>
              <p:nvPr/>
            </p:nvSpPr>
            <p:spPr bwMode="auto">
              <a:xfrm>
                <a:off x="-1435890" y="5217592"/>
                <a:ext cx="299044" cy="4784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01" name="Freeform 79">
                <a:extLst>
                  <a:ext uri="{FF2B5EF4-FFF2-40B4-BE49-F238E27FC236}">
                    <a16:creationId xmlns:a16="http://schemas.microsoft.com/office/drawing/2014/main" id="{7D096B1B-7C23-4A9B-9341-51BB58176AA2}"/>
                  </a:ext>
                </a:extLst>
              </p:cNvPr>
              <p:cNvSpPr>
                <a:spLocks/>
              </p:cNvSpPr>
              <p:nvPr/>
            </p:nvSpPr>
            <p:spPr bwMode="auto">
              <a:xfrm>
                <a:off x="-1435890" y="5207339"/>
                <a:ext cx="278538" cy="136705"/>
              </a:xfrm>
              <a:custGeom>
                <a:avLst/>
                <a:gdLst>
                  <a:gd name="T0" fmla="*/ 163 w 163"/>
                  <a:gd name="T1" fmla="*/ 0 h 80"/>
                  <a:gd name="T2" fmla="*/ 127 w 163"/>
                  <a:gd name="T3" fmla="*/ 9 h 80"/>
                  <a:gd name="T4" fmla="*/ 135 w 163"/>
                  <a:gd name="T5" fmla="*/ 19 h 80"/>
                  <a:gd name="T6" fmla="*/ 114 w 163"/>
                  <a:gd name="T7" fmla="*/ 42 h 80"/>
                  <a:gd name="T8" fmla="*/ 88 w 163"/>
                  <a:gd name="T9" fmla="*/ 16 h 80"/>
                  <a:gd name="T10" fmla="*/ 43 w 163"/>
                  <a:gd name="T11" fmla="*/ 60 h 80"/>
                  <a:gd name="T12" fmla="*/ 23 w 163"/>
                  <a:gd name="T13" fmla="*/ 39 h 80"/>
                  <a:gd name="T14" fmla="*/ 0 w 163"/>
                  <a:gd name="T15" fmla="*/ 62 h 80"/>
                  <a:gd name="T16" fmla="*/ 0 w 163"/>
                  <a:gd name="T17" fmla="*/ 80 h 80"/>
                  <a:gd name="T18" fmla="*/ 23 w 163"/>
                  <a:gd name="T19" fmla="*/ 57 h 80"/>
                  <a:gd name="T20" fmla="*/ 43 w 163"/>
                  <a:gd name="T21" fmla="*/ 77 h 80"/>
                  <a:gd name="T22" fmla="*/ 88 w 163"/>
                  <a:gd name="T23" fmla="*/ 34 h 80"/>
                  <a:gd name="T24" fmla="*/ 114 w 163"/>
                  <a:gd name="T25" fmla="*/ 60 h 80"/>
                  <a:gd name="T26" fmla="*/ 145 w 163"/>
                  <a:gd name="T27" fmla="*/ 27 h 80"/>
                  <a:gd name="T28" fmla="*/ 153 w 163"/>
                  <a:gd name="T29" fmla="*/ 36 h 80"/>
                  <a:gd name="T30" fmla="*/ 163 w 163"/>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 h="80">
                    <a:moveTo>
                      <a:pt x="163" y="0"/>
                    </a:moveTo>
                    <a:lnTo>
                      <a:pt x="127" y="9"/>
                    </a:lnTo>
                    <a:lnTo>
                      <a:pt x="135" y="19"/>
                    </a:lnTo>
                    <a:lnTo>
                      <a:pt x="114" y="42"/>
                    </a:lnTo>
                    <a:lnTo>
                      <a:pt x="88" y="16"/>
                    </a:lnTo>
                    <a:lnTo>
                      <a:pt x="43" y="60"/>
                    </a:lnTo>
                    <a:lnTo>
                      <a:pt x="23" y="39"/>
                    </a:lnTo>
                    <a:lnTo>
                      <a:pt x="0" y="62"/>
                    </a:lnTo>
                    <a:lnTo>
                      <a:pt x="0" y="80"/>
                    </a:lnTo>
                    <a:lnTo>
                      <a:pt x="23" y="57"/>
                    </a:lnTo>
                    <a:lnTo>
                      <a:pt x="43" y="77"/>
                    </a:lnTo>
                    <a:lnTo>
                      <a:pt x="88" y="34"/>
                    </a:lnTo>
                    <a:lnTo>
                      <a:pt x="114" y="60"/>
                    </a:lnTo>
                    <a:lnTo>
                      <a:pt x="145" y="27"/>
                    </a:lnTo>
                    <a:lnTo>
                      <a:pt x="153" y="36"/>
                    </a:lnTo>
                    <a:lnTo>
                      <a:pt x="163"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cxnSp>
          <p:nvCxnSpPr>
            <p:cNvPr id="655" name="Straight Connector 654">
              <a:extLst>
                <a:ext uri="{FF2B5EF4-FFF2-40B4-BE49-F238E27FC236}">
                  <a16:creationId xmlns:a16="http://schemas.microsoft.com/office/drawing/2014/main" id="{33790A00-94BD-491B-8911-F7ED825BCAAA}"/>
                </a:ext>
              </a:extLst>
            </p:cNvPr>
            <p:cNvCxnSpPr>
              <a:cxnSpLocks/>
              <a:stCxn id="490" idx="3"/>
              <a:endCxn id="643" idx="1"/>
            </p:cNvCxnSpPr>
            <p:nvPr/>
          </p:nvCxnSpPr>
          <p:spPr>
            <a:xfrm>
              <a:off x="4811181" y="4670286"/>
              <a:ext cx="76117" cy="76137"/>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C98D0D20-CE33-47B3-9ED7-0B25C44CE8D4}"/>
                </a:ext>
              </a:extLst>
            </p:cNvPr>
            <p:cNvCxnSpPr>
              <a:cxnSpLocks/>
              <a:endCxn id="644" idx="1"/>
            </p:cNvCxnSpPr>
            <p:nvPr/>
          </p:nvCxnSpPr>
          <p:spPr>
            <a:xfrm>
              <a:off x="4602793" y="4866437"/>
              <a:ext cx="83767" cy="75222"/>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89" name="Group 388">
            <a:extLst>
              <a:ext uri="{FF2B5EF4-FFF2-40B4-BE49-F238E27FC236}">
                <a16:creationId xmlns:a16="http://schemas.microsoft.com/office/drawing/2014/main" id="{37695E76-FA72-4C8E-B8ED-66AB50E65560}"/>
              </a:ext>
            </a:extLst>
          </p:cNvPr>
          <p:cNvGrpSpPr/>
          <p:nvPr/>
        </p:nvGrpSpPr>
        <p:grpSpPr>
          <a:xfrm>
            <a:off x="10052458" y="146014"/>
            <a:ext cx="2033626" cy="1015650"/>
            <a:chOff x="10052458" y="146014"/>
            <a:chExt cx="2033626" cy="1015650"/>
          </a:xfrm>
        </p:grpSpPr>
        <p:pic>
          <p:nvPicPr>
            <p:cNvPr id="390" name="Picture 389">
              <a:extLst>
                <a:ext uri="{FF2B5EF4-FFF2-40B4-BE49-F238E27FC236}">
                  <a16:creationId xmlns:a16="http://schemas.microsoft.com/office/drawing/2014/main" id="{87F44886-1E7E-4D0C-A4C4-A7701BFD083C}"/>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391" name="Rectangle 390">
              <a:extLst>
                <a:ext uri="{FF2B5EF4-FFF2-40B4-BE49-F238E27FC236}">
                  <a16:creationId xmlns:a16="http://schemas.microsoft.com/office/drawing/2014/main" id="{3AD74BA2-8306-46A9-A5DE-EA579A757AD0}"/>
                </a:ext>
              </a:extLst>
            </p:cNvPr>
            <p:cNvSpPr/>
            <p:nvPr/>
          </p:nvSpPr>
          <p:spPr bwMode="auto">
            <a:xfrm>
              <a:off x="10094230" y="917762"/>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Azure</a:t>
              </a:r>
            </a:p>
          </p:txBody>
        </p:sp>
      </p:grpSp>
    </p:spTree>
    <p:extLst>
      <p:ext uri="{BB962C8B-B14F-4D97-AF65-F5344CB8AC3E}">
        <p14:creationId xmlns:p14="http://schemas.microsoft.com/office/powerpoint/2010/main" val="3108589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9EFB82-C37D-4E44-B6CD-F7507BAD150F}"/>
              </a:ext>
            </a:extLst>
          </p:cNvPr>
          <p:cNvGraphicFramePr>
            <a:graphicFrameLocks noChangeAspect="1"/>
          </p:cNvGraphicFramePr>
          <p:nvPr>
            <p:custDataLst>
              <p:tags r:id="rId2"/>
            </p:custDataLst>
            <p:extLst>
              <p:ext uri="{D42A27DB-BD31-4B8C-83A1-F6EECF244321}">
                <p14:modId xmlns:p14="http://schemas.microsoft.com/office/powerpoint/2010/main" val="2337847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6" imgW="503" imgH="503" progId="TCLayout.ActiveDocument.1">
                  <p:embed/>
                </p:oleObj>
              </mc:Choice>
              <mc:Fallback>
                <p:oleObj name="think-cell Slide" r:id="rId6" imgW="503" imgH="503" progId="TCLayout.ActiveDocument.1">
                  <p:embed/>
                  <p:pic>
                    <p:nvPicPr>
                      <p:cNvPr id="5" name="Object 4" hidden="1">
                        <a:extLst>
                          <a:ext uri="{FF2B5EF4-FFF2-40B4-BE49-F238E27FC236}">
                            <a16:creationId xmlns:a16="http://schemas.microsoft.com/office/drawing/2014/main" id="{F79EFB82-C37D-4E44-B6CD-F7507BAD150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B41474-0946-469A-8070-01072C2FD298}"/>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17" name="TextBox 316">
            <a:extLst>
              <a:ext uri="{FF2B5EF4-FFF2-40B4-BE49-F238E27FC236}">
                <a16:creationId xmlns:a16="http://schemas.microsoft.com/office/drawing/2014/main" id="{BB171CD5-B1CB-460E-9703-102DAB528280}"/>
              </a:ext>
            </a:extLst>
          </p:cNvPr>
          <p:cNvSpPr txBox="1"/>
          <p:nvPr/>
        </p:nvSpPr>
        <p:spPr>
          <a:xfrm>
            <a:off x="586501" y="2262151"/>
            <a:ext cx="3474720" cy="2425015"/>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a:endParaRPr lang="en-US" sz="2400" b="1" dirty="0">
              <a:solidFill>
                <a:schemeClr val="bg1"/>
              </a:solidFill>
            </a:endParaRPr>
          </a:p>
        </p:txBody>
      </p:sp>
      <p:sp>
        <p:nvSpPr>
          <p:cNvPr id="4" name="Title 3">
            <a:extLst>
              <a:ext uri="{FF2B5EF4-FFF2-40B4-BE49-F238E27FC236}">
                <a16:creationId xmlns:a16="http://schemas.microsoft.com/office/drawing/2014/main" id="{BA2EB312-9B35-448A-A67B-E4CCDBFB407D}"/>
              </a:ext>
            </a:extLst>
          </p:cNvPr>
          <p:cNvSpPr>
            <a:spLocks noGrp="1"/>
          </p:cNvSpPr>
          <p:nvPr>
            <p:ph type="title"/>
          </p:nvPr>
        </p:nvSpPr>
        <p:spPr>
          <a:xfrm>
            <a:off x="588263" y="457200"/>
            <a:ext cx="11018520" cy="430887"/>
          </a:xfrm>
        </p:spPr>
        <p:txBody>
          <a:bodyPr/>
          <a:lstStyle/>
          <a:p>
            <a:r>
              <a:rPr lang="en-US" dirty="0"/>
              <a:t>Superior Economics from Significant Cost Savings</a:t>
            </a:r>
          </a:p>
        </p:txBody>
      </p:sp>
      <p:grpSp>
        <p:nvGrpSpPr>
          <p:cNvPr id="7" name="Group 6">
            <a:extLst>
              <a:ext uri="{FF2B5EF4-FFF2-40B4-BE49-F238E27FC236}">
                <a16:creationId xmlns:a16="http://schemas.microsoft.com/office/drawing/2014/main" id="{F8A3808A-F527-4A6D-AB09-D9E8CF19E8CB}"/>
              </a:ext>
            </a:extLst>
          </p:cNvPr>
          <p:cNvGrpSpPr>
            <a:grpSpLocks noChangeAspect="1"/>
          </p:cNvGrpSpPr>
          <p:nvPr/>
        </p:nvGrpSpPr>
        <p:grpSpPr>
          <a:xfrm>
            <a:off x="1009104" y="2340544"/>
            <a:ext cx="1736905" cy="1856013"/>
            <a:chOff x="6854382" y="865843"/>
            <a:chExt cx="5582093" cy="5851600"/>
          </a:xfrm>
        </p:grpSpPr>
        <p:sp>
          <p:nvSpPr>
            <p:cNvPr id="8" name="Freeform 1029">
              <a:extLst>
                <a:ext uri="{FF2B5EF4-FFF2-40B4-BE49-F238E27FC236}">
                  <a16:creationId xmlns:a16="http://schemas.microsoft.com/office/drawing/2014/main" id="{33639BD0-9FD8-4B1C-A9E0-4638A7A02657}"/>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close/>
                </a:path>
              </a:pathLst>
            </a:custGeom>
            <a:solidFill>
              <a:srgbClr val="E9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 name="Freeform 1030">
              <a:extLst>
                <a:ext uri="{FF2B5EF4-FFF2-40B4-BE49-F238E27FC236}">
                  <a16:creationId xmlns:a16="http://schemas.microsoft.com/office/drawing/2014/main" id="{026D4388-BB3A-4F2E-8850-8051F7CD1BB8}"/>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 name="Freeform 1036">
              <a:extLst>
                <a:ext uri="{FF2B5EF4-FFF2-40B4-BE49-F238E27FC236}">
                  <a16:creationId xmlns:a16="http://schemas.microsoft.com/office/drawing/2014/main" id="{A3BB721E-A540-46FD-97A1-2DDF318BAA72}"/>
                </a:ext>
              </a:extLst>
            </p:cNvPr>
            <p:cNvSpPr>
              <a:spLocks noEditPoints="1"/>
            </p:cNvSpPr>
            <p:nvPr/>
          </p:nvSpPr>
          <p:spPr bwMode="auto">
            <a:xfrm>
              <a:off x="7375929" y="1478265"/>
              <a:ext cx="1517227" cy="1260405"/>
            </a:xfrm>
            <a:custGeom>
              <a:avLst/>
              <a:gdLst>
                <a:gd name="T0" fmla="*/ 186 w 315"/>
                <a:gd name="T1" fmla="*/ 124 h 263"/>
                <a:gd name="T2" fmla="*/ 280 w 315"/>
                <a:gd name="T3" fmla="*/ 46 h 263"/>
                <a:gd name="T4" fmla="*/ 290 w 315"/>
                <a:gd name="T5" fmla="*/ 57 h 263"/>
                <a:gd name="T6" fmla="*/ 315 w 315"/>
                <a:gd name="T7" fmla="*/ 0 h 263"/>
                <a:gd name="T8" fmla="*/ 254 w 315"/>
                <a:gd name="T9" fmla="*/ 14 h 263"/>
                <a:gd name="T10" fmla="*/ 263 w 315"/>
                <a:gd name="T11" fmla="*/ 25 h 263"/>
                <a:gd name="T12" fmla="*/ 169 w 315"/>
                <a:gd name="T13" fmla="*/ 103 h 263"/>
                <a:gd name="T14" fmla="*/ 135 w 315"/>
                <a:gd name="T15" fmla="*/ 107 h 263"/>
                <a:gd name="T16" fmla="*/ 124 w 315"/>
                <a:gd name="T17" fmla="*/ 140 h 263"/>
                <a:gd name="T18" fmla="*/ 0 w 315"/>
                <a:gd name="T19" fmla="*/ 242 h 263"/>
                <a:gd name="T20" fmla="*/ 17 w 315"/>
                <a:gd name="T21" fmla="*/ 263 h 263"/>
                <a:gd name="T22" fmla="*/ 141 w 315"/>
                <a:gd name="T23" fmla="*/ 161 h 263"/>
                <a:gd name="T24" fmla="*/ 175 w 315"/>
                <a:gd name="T25" fmla="*/ 156 h 263"/>
                <a:gd name="T26" fmla="*/ 186 w 315"/>
                <a:gd name="T27" fmla="*/ 124 h 263"/>
                <a:gd name="T28" fmla="*/ 147 w 315"/>
                <a:gd name="T29" fmla="*/ 138 h 263"/>
                <a:gd name="T30" fmla="*/ 148 w 315"/>
                <a:gd name="T31" fmla="*/ 124 h 263"/>
                <a:gd name="T32" fmla="*/ 162 w 315"/>
                <a:gd name="T33" fmla="*/ 126 h 263"/>
                <a:gd name="T34" fmla="*/ 161 w 315"/>
                <a:gd name="T35" fmla="*/ 140 h 263"/>
                <a:gd name="T36" fmla="*/ 147 w 315"/>
                <a:gd name="T37" fmla="*/ 13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5" h="263">
                  <a:moveTo>
                    <a:pt x="186" y="124"/>
                  </a:moveTo>
                  <a:cubicBezTo>
                    <a:pt x="280" y="46"/>
                    <a:pt x="280" y="46"/>
                    <a:pt x="280" y="46"/>
                  </a:cubicBezTo>
                  <a:cubicBezTo>
                    <a:pt x="290" y="57"/>
                    <a:pt x="290" y="57"/>
                    <a:pt x="290" y="57"/>
                  </a:cubicBezTo>
                  <a:cubicBezTo>
                    <a:pt x="315" y="0"/>
                    <a:pt x="315" y="0"/>
                    <a:pt x="315" y="0"/>
                  </a:cubicBezTo>
                  <a:cubicBezTo>
                    <a:pt x="254" y="14"/>
                    <a:pt x="254" y="14"/>
                    <a:pt x="254" y="14"/>
                  </a:cubicBezTo>
                  <a:cubicBezTo>
                    <a:pt x="263" y="25"/>
                    <a:pt x="263" y="25"/>
                    <a:pt x="263" y="25"/>
                  </a:cubicBezTo>
                  <a:cubicBezTo>
                    <a:pt x="169" y="103"/>
                    <a:pt x="169" y="103"/>
                    <a:pt x="169" y="103"/>
                  </a:cubicBezTo>
                  <a:cubicBezTo>
                    <a:pt x="158" y="98"/>
                    <a:pt x="144" y="99"/>
                    <a:pt x="135" y="107"/>
                  </a:cubicBezTo>
                  <a:cubicBezTo>
                    <a:pt x="125" y="116"/>
                    <a:pt x="121" y="128"/>
                    <a:pt x="124" y="140"/>
                  </a:cubicBezTo>
                  <a:cubicBezTo>
                    <a:pt x="0" y="242"/>
                    <a:pt x="0" y="242"/>
                    <a:pt x="0" y="242"/>
                  </a:cubicBezTo>
                  <a:cubicBezTo>
                    <a:pt x="17" y="263"/>
                    <a:pt x="17" y="263"/>
                    <a:pt x="17" y="263"/>
                  </a:cubicBezTo>
                  <a:cubicBezTo>
                    <a:pt x="141" y="161"/>
                    <a:pt x="141" y="161"/>
                    <a:pt x="141" y="161"/>
                  </a:cubicBezTo>
                  <a:cubicBezTo>
                    <a:pt x="152" y="166"/>
                    <a:pt x="165" y="165"/>
                    <a:pt x="175" y="156"/>
                  </a:cubicBezTo>
                  <a:cubicBezTo>
                    <a:pt x="185" y="148"/>
                    <a:pt x="189" y="135"/>
                    <a:pt x="186" y="124"/>
                  </a:cubicBezTo>
                  <a:close/>
                  <a:moveTo>
                    <a:pt x="147" y="138"/>
                  </a:moveTo>
                  <a:cubicBezTo>
                    <a:pt x="144" y="134"/>
                    <a:pt x="144" y="128"/>
                    <a:pt x="148" y="124"/>
                  </a:cubicBezTo>
                  <a:cubicBezTo>
                    <a:pt x="153" y="121"/>
                    <a:pt x="159" y="121"/>
                    <a:pt x="162" y="126"/>
                  </a:cubicBezTo>
                  <a:cubicBezTo>
                    <a:pt x="166" y="130"/>
                    <a:pt x="165" y="136"/>
                    <a:pt x="161" y="140"/>
                  </a:cubicBezTo>
                  <a:cubicBezTo>
                    <a:pt x="157" y="143"/>
                    <a:pt x="151" y="142"/>
                    <a:pt x="147" y="138"/>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 name="Freeform 1037">
              <a:extLst>
                <a:ext uri="{FF2B5EF4-FFF2-40B4-BE49-F238E27FC236}">
                  <a16:creationId xmlns:a16="http://schemas.microsoft.com/office/drawing/2014/main" id="{F1469B00-1554-4723-8009-9178EF3052D8}"/>
                </a:ext>
              </a:extLst>
            </p:cNvPr>
            <p:cNvSpPr>
              <a:spLocks noEditPoints="1"/>
            </p:cNvSpPr>
            <p:nvPr/>
          </p:nvSpPr>
          <p:spPr bwMode="auto">
            <a:xfrm>
              <a:off x="8039716" y="2031422"/>
              <a:ext cx="161996" cy="161996"/>
            </a:xfrm>
            <a:custGeom>
              <a:avLst/>
              <a:gdLst>
                <a:gd name="T0" fmla="*/ 28 w 33"/>
                <a:gd name="T1" fmla="*/ 7 h 34"/>
                <a:gd name="T2" fmla="*/ 7 w 33"/>
                <a:gd name="T3" fmla="*/ 5 h 34"/>
                <a:gd name="T4" fmla="*/ 5 w 33"/>
                <a:gd name="T5" fmla="*/ 26 h 34"/>
                <a:gd name="T6" fmla="*/ 26 w 33"/>
                <a:gd name="T7" fmla="*/ 28 h 34"/>
                <a:gd name="T8" fmla="*/ 28 w 33"/>
                <a:gd name="T9" fmla="*/ 7 h 34"/>
                <a:gd name="T10" fmla="*/ 9 w 33"/>
                <a:gd name="T11" fmla="*/ 23 h 34"/>
                <a:gd name="T12" fmla="*/ 10 w 33"/>
                <a:gd name="T13" fmla="*/ 9 h 34"/>
                <a:gd name="T14" fmla="*/ 24 w 33"/>
                <a:gd name="T15" fmla="*/ 11 h 34"/>
                <a:gd name="T16" fmla="*/ 23 w 33"/>
                <a:gd name="T17" fmla="*/ 25 h 34"/>
                <a:gd name="T18" fmla="*/ 9 w 33"/>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8" y="7"/>
                  </a:moveTo>
                  <a:cubicBezTo>
                    <a:pt x="23" y="1"/>
                    <a:pt x="14" y="0"/>
                    <a:pt x="7" y="5"/>
                  </a:cubicBezTo>
                  <a:cubicBezTo>
                    <a:pt x="1" y="11"/>
                    <a:pt x="0" y="20"/>
                    <a:pt x="5" y="26"/>
                  </a:cubicBezTo>
                  <a:cubicBezTo>
                    <a:pt x="11" y="33"/>
                    <a:pt x="20" y="34"/>
                    <a:pt x="26" y="28"/>
                  </a:cubicBezTo>
                  <a:cubicBezTo>
                    <a:pt x="33" y="23"/>
                    <a:pt x="33" y="14"/>
                    <a:pt x="28" y="7"/>
                  </a:cubicBezTo>
                  <a:close/>
                  <a:moveTo>
                    <a:pt x="9" y="23"/>
                  </a:moveTo>
                  <a:cubicBezTo>
                    <a:pt x="6" y="19"/>
                    <a:pt x="6" y="13"/>
                    <a:pt x="10" y="9"/>
                  </a:cubicBezTo>
                  <a:cubicBezTo>
                    <a:pt x="15" y="6"/>
                    <a:pt x="21" y="6"/>
                    <a:pt x="24" y="11"/>
                  </a:cubicBezTo>
                  <a:cubicBezTo>
                    <a:pt x="28" y="15"/>
                    <a:pt x="27" y="21"/>
                    <a:pt x="23" y="25"/>
                  </a:cubicBezTo>
                  <a:cubicBezTo>
                    <a:pt x="19" y="28"/>
                    <a:pt x="13" y="27"/>
                    <a:pt x="9" y="2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 name="Freeform 1038">
              <a:extLst>
                <a:ext uri="{FF2B5EF4-FFF2-40B4-BE49-F238E27FC236}">
                  <a16:creationId xmlns:a16="http://schemas.microsoft.com/office/drawing/2014/main" id="{B5C3E519-B2F7-4CC3-8595-377404F735AE}"/>
                </a:ext>
              </a:extLst>
            </p:cNvPr>
            <p:cNvSpPr>
              <a:spLocks/>
            </p:cNvSpPr>
            <p:nvPr/>
          </p:nvSpPr>
          <p:spPr bwMode="auto">
            <a:xfrm>
              <a:off x="6854382" y="865843"/>
              <a:ext cx="1268307" cy="2358815"/>
            </a:xfrm>
            <a:custGeom>
              <a:avLst/>
              <a:gdLst>
                <a:gd name="T0" fmla="*/ 0 w 263"/>
                <a:gd name="T1" fmla="*/ 263 h 492"/>
                <a:gd name="T2" fmla="*/ 133 w 263"/>
                <a:gd name="T3" fmla="*/ 492 h 492"/>
                <a:gd name="T4" fmla="*/ 153 w 263"/>
                <a:gd name="T5" fmla="*/ 457 h 492"/>
                <a:gd name="T6" fmla="*/ 40 w 263"/>
                <a:gd name="T7" fmla="*/ 263 h 492"/>
                <a:gd name="T8" fmla="*/ 263 w 263"/>
                <a:gd name="T9" fmla="*/ 40 h 492"/>
                <a:gd name="T10" fmla="*/ 263 w 263"/>
                <a:gd name="T11" fmla="*/ 0 h 492"/>
                <a:gd name="T12" fmla="*/ 0 w 263"/>
                <a:gd name="T13" fmla="*/ 263 h 492"/>
              </a:gdLst>
              <a:ahLst/>
              <a:cxnLst>
                <a:cxn ang="0">
                  <a:pos x="T0" y="T1"/>
                </a:cxn>
                <a:cxn ang="0">
                  <a:pos x="T2" y="T3"/>
                </a:cxn>
                <a:cxn ang="0">
                  <a:pos x="T4" y="T5"/>
                </a:cxn>
                <a:cxn ang="0">
                  <a:pos x="T6" y="T7"/>
                </a:cxn>
                <a:cxn ang="0">
                  <a:pos x="T8" y="T9"/>
                </a:cxn>
                <a:cxn ang="0">
                  <a:pos x="T10" y="T11"/>
                </a:cxn>
                <a:cxn ang="0">
                  <a:pos x="T12" y="T13"/>
                </a:cxn>
              </a:cxnLst>
              <a:rect l="0" t="0" r="r" b="b"/>
              <a:pathLst>
                <a:path w="263" h="492">
                  <a:moveTo>
                    <a:pt x="0" y="263"/>
                  </a:moveTo>
                  <a:cubicBezTo>
                    <a:pt x="0" y="361"/>
                    <a:pt x="54" y="446"/>
                    <a:pt x="133" y="492"/>
                  </a:cubicBezTo>
                  <a:cubicBezTo>
                    <a:pt x="153" y="457"/>
                    <a:pt x="153" y="457"/>
                    <a:pt x="153" y="457"/>
                  </a:cubicBezTo>
                  <a:cubicBezTo>
                    <a:pt x="85" y="418"/>
                    <a:pt x="40" y="346"/>
                    <a:pt x="40" y="263"/>
                  </a:cubicBezTo>
                  <a:cubicBezTo>
                    <a:pt x="40" y="139"/>
                    <a:pt x="140" y="40"/>
                    <a:pt x="263" y="40"/>
                  </a:cubicBezTo>
                  <a:cubicBezTo>
                    <a:pt x="263" y="0"/>
                    <a:pt x="263" y="0"/>
                    <a:pt x="263" y="0"/>
                  </a:cubicBezTo>
                  <a:cubicBezTo>
                    <a:pt x="118" y="0"/>
                    <a:pt x="0" y="117"/>
                    <a:pt x="0" y="263"/>
                  </a:cubicBez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 name="Freeform 1039">
              <a:extLst>
                <a:ext uri="{FF2B5EF4-FFF2-40B4-BE49-F238E27FC236}">
                  <a16:creationId xmlns:a16="http://schemas.microsoft.com/office/drawing/2014/main" id="{57385CD9-E17C-44EF-AFF2-691F24B762B2}"/>
                </a:ext>
              </a:extLst>
            </p:cNvPr>
            <p:cNvSpPr>
              <a:spLocks/>
            </p:cNvSpPr>
            <p:nvPr/>
          </p:nvSpPr>
          <p:spPr bwMode="auto">
            <a:xfrm>
              <a:off x="8122689" y="865843"/>
              <a:ext cx="1098410" cy="727005"/>
            </a:xfrm>
            <a:custGeom>
              <a:avLst/>
              <a:gdLst>
                <a:gd name="T0" fmla="*/ 0 w 228"/>
                <a:gd name="T1" fmla="*/ 0 h 152"/>
                <a:gd name="T2" fmla="*/ 0 w 228"/>
                <a:gd name="T3" fmla="*/ 40 h 152"/>
                <a:gd name="T4" fmla="*/ 194 w 228"/>
                <a:gd name="T5" fmla="*/ 152 h 152"/>
                <a:gd name="T6" fmla="*/ 228 w 228"/>
                <a:gd name="T7" fmla="*/ 132 h 152"/>
                <a:gd name="T8" fmla="*/ 0 w 228"/>
                <a:gd name="T9" fmla="*/ 0 h 152"/>
              </a:gdLst>
              <a:ahLst/>
              <a:cxnLst>
                <a:cxn ang="0">
                  <a:pos x="T0" y="T1"/>
                </a:cxn>
                <a:cxn ang="0">
                  <a:pos x="T2" y="T3"/>
                </a:cxn>
                <a:cxn ang="0">
                  <a:pos x="T4" y="T5"/>
                </a:cxn>
                <a:cxn ang="0">
                  <a:pos x="T6" y="T7"/>
                </a:cxn>
                <a:cxn ang="0">
                  <a:pos x="T8" y="T9"/>
                </a:cxn>
              </a:cxnLst>
              <a:rect l="0" t="0" r="r" b="b"/>
              <a:pathLst>
                <a:path w="228" h="152">
                  <a:moveTo>
                    <a:pt x="0" y="0"/>
                  </a:moveTo>
                  <a:cubicBezTo>
                    <a:pt x="0" y="40"/>
                    <a:pt x="0" y="40"/>
                    <a:pt x="0" y="40"/>
                  </a:cubicBezTo>
                  <a:cubicBezTo>
                    <a:pt x="83" y="40"/>
                    <a:pt x="155" y="85"/>
                    <a:pt x="194" y="152"/>
                  </a:cubicBezTo>
                  <a:cubicBezTo>
                    <a:pt x="228" y="132"/>
                    <a:pt x="228" y="132"/>
                    <a:pt x="228" y="132"/>
                  </a:cubicBezTo>
                  <a:cubicBezTo>
                    <a:pt x="183" y="53"/>
                    <a:pt x="97" y="0"/>
                    <a:pt x="0" y="0"/>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 name="Freeform 1040">
              <a:extLst>
                <a:ext uri="{FF2B5EF4-FFF2-40B4-BE49-F238E27FC236}">
                  <a16:creationId xmlns:a16="http://schemas.microsoft.com/office/drawing/2014/main" id="{8DCDF2D1-0693-4FE3-B134-DDA68650534F}"/>
                </a:ext>
              </a:extLst>
            </p:cNvPr>
            <p:cNvSpPr>
              <a:spLocks noEditPoints="1"/>
            </p:cNvSpPr>
            <p:nvPr/>
          </p:nvSpPr>
          <p:spPr bwMode="auto">
            <a:xfrm>
              <a:off x="6949209" y="4046489"/>
              <a:ext cx="3346593" cy="2643295"/>
            </a:xfrm>
            <a:custGeom>
              <a:avLst/>
              <a:gdLst>
                <a:gd name="T0" fmla="*/ 663 w 694"/>
                <a:gd name="T1" fmla="*/ 546 h 552"/>
                <a:gd name="T2" fmla="*/ 634 w 694"/>
                <a:gd name="T3" fmla="*/ 552 h 552"/>
                <a:gd name="T4" fmla="*/ 634 w 694"/>
                <a:gd name="T5" fmla="*/ 546 h 552"/>
                <a:gd name="T6" fmla="*/ 548 w 694"/>
                <a:gd name="T7" fmla="*/ 552 h 552"/>
                <a:gd name="T8" fmla="*/ 580 w 694"/>
                <a:gd name="T9" fmla="*/ 549 h 552"/>
                <a:gd name="T10" fmla="*/ 488 w 694"/>
                <a:gd name="T11" fmla="*/ 549 h 552"/>
                <a:gd name="T12" fmla="*/ 520 w 694"/>
                <a:gd name="T13" fmla="*/ 552 h 552"/>
                <a:gd name="T14" fmla="*/ 434 w 694"/>
                <a:gd name="T15" fmla="*/ 546 h 552"/>
                <a:gd name="T16" fmla="*/ 406 w 694"/>
                <a:gd name="T17" fmla="*/ 552 h 552"/>
                <a:gd name="T18" fmla="*/ 406 w 694"/>
                <a:gd name="T19" fmla="*/ 546 h 552"/>
                <a:gd name="T20" fmla="*/ 320 w 694"/>
                <a:gd name="T21" fmla="*/ 552 h 552"/>
                <a:gd name="T22" fmla="*/ 351 w 694"/>
                <a:gd name="T23" fmla="*/ 549 h 552"/>
                <a:gd name="T24" fmla="*/ 263 w 694"/>
                <a:gd name="T25" fmla="*/ 552 h 552"/>
                <a:gd name="T26" fmla="*/ 291 w 694"/>
                <a:gd name="T27" fmla="*/ 546 h 552"/>
                <a:gd name="T28" fmla="*/ 234 w 694"/>
                <a:gd name="T29" fmla="*/ 549 h 552"/>
                <a:gd name="T30" fmla="*/ 235 w 694"/>
                <a:gd name="T31" fmla="*/ 543 h 552"/>
                <a:gd name="T32" fmla="*/ 178 w 694"/>
                <a:gd name="T33" fmla="*/ 535 h 552"/>
                <a:gd name="T34" fmla="*/ 180 w 694"/>
                <a:gd name="T35" fmla="*/ 529 h 552"/>
                <a:gd name="T36" fmla="*/ 127 w 694"/>
                <a:gd name="T37" fmla="*/ 509 h 552"/>
                <a:gd name="T38" fmla="*/ 130 w 694"/>
                <a:gd name="T39" fmla="*/ 503 h 552"/>
                <a:gd name="T40" fmla="*/ 82 w 694"/>
                <a:gd name="T41" fmla="*/ 472 h 552"/>
                <a:gd name="T42" fmla="*/ 86 w 694"/>
                <a:gd name="T43" fmla="*/ 468 h 552"/>
                <a:gd name="T44" fmla="*/ 45 w 694"/>
                <a:gd name="T45" fmla="*/ 428 h 552"/>
                <a:gd name="T46" fmla="*/ 50 w 694"/>
                <a:gd name="T47" fmla="*/ 424 h 552"/>
                <a:gd name="T48" fmla="*/ 19 w 694"/>
                <a:gd name="T49" fmla="*/ 376 h 552"/>
                <a:gd name="T50" fmla="*/ 24 w 694"/>
                <a:gd name="T51" fmla="*/ 374 h 552"/>
                <a:gd name="T52" fmla="*/ 3 w 694"/>
                <a:gd name="T53" fmla="*/ 321 h 552"/>
                <a:gd name="T54" fmla="*/ 9 w 694"/>
                <a:gd name="T55" fmla="*/ 320 h 552"/>
                <a:gd name="T56" fmla="*/ 3 w 694"/>
                <a:gd name="T57" fmla="*/ 267 h 552"/>
                <a:gd name="T58" fmla="*/ 9 w 694"/>
                <a:gd name="T59" fmla="*/ 235 h 552"/>
                <a:gd name="T60" fmla="*/ 11 w 694"/>
                <a:gd name="T61" fmla="*/ 210 h 552"/>
                <a:gd name="T62" fmla="*/ 23 w 694"/>
                <a:gd name="T63" fmla="*/ 181 h 552"/>
                <a:gd name="T64" fmla="*/ 30 w 694"/>
                <a:gd name="T65" fmla="*/ 156 h 552"/>
                <a:gd name="T66" fmla="*/ 49 w 694"/>
                <a:gd name="T67" fmla="*/ 131 h 552"/>
                <a:gd name="T68" fmla="*/ 61 w 694"/>
                <a:gd name="T69" fmla="*/ 108 h 552"/>
                <a:gd name="T70" fmla="*/ 84 w 694"/>
                <a:gd name="T71" fmla="*/ 86 h 552"/>
                <a:gd name="T72" fmla="*/ 484 w 694"/>
                <a:gd name="T73" fmla="*/ 104 h 552"/>
                <a:gd name="T74" fmla="*/ 489 w 694"/>
                <a:gd name="T75" fmla="*/ 100 h 552"/>
                <a:gd name="T76" fmla="*/ 100 w 694"/>
                <a:gd name="T77" fmla="*/ 67 h 552"/>
                <a:gd name="T78" fmla="*/ 127 w 694"/>
                <a:gd name="T79" fmla="*/ 51 h 552"/>
                <a:gd name="T80" fmla="*/ 444 w 694"/>
                <a:gd name="T81" fmla="*/ 65 h 552"/>
                <a:gd name="T82" fmla="*/ 448 w 694"/>
                <a:gd name="T83" fmla="*/ 60 h 552"/>
                <a:gd name="T84" fmla="*/ 147 w 694"/>
                <a:gd name="T85" fmla="*/ 35 h 552"/>
                <a:gd name="T86" fmla="*/ 177 w 694"/>
                <a:gd name="T87" fmla="*/ 25 h 552"/>
                <a:gd name="T88" fmla="*/ 397 w 694"/>
                <a:gd name="T89" fmla="*/ 34 h 552"/>
                <a:gd name="T90" fmla="*/ 399 w 694"/>
                <a:gd name="T91" fmla="*/ 29 h 552"/>
                <a:gd name="T92" fmla="*/ 200 w 694"/>
                <a:gd name="T93" fmla="*/ 14 h 552"/>
                <a:gd name="T94" fmla="*/ 232 w 694"/>
                <a:gd name="T95" fmla="*/ 10 h 552"/>
                <a:gd name="T96" fmla="*/ 344 w 694"/>
                <a:gd name="T97" fmla="*/ 15 h 552"/>
                <a:gd name="T98" fmla="*/ 345 w 694"/>
                <a:gd name="T99" fmla="*/ 9 h 552"/>
                <a:gd name="T100" fmla="*/ 256 w 694"/>
                <a:gd name="T101" fmla="*/ 4 h 552"/>
                <a:gd name="T102" fmla="*/ 288 w 694"/>
                <a:gd name="T103" fmla="*/ 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4" h="552">
                  <a:moveTo>
                    <a:pt x="691" y="552"/>
                  </a:moveTo>
                  <a:cubicBezTo>
                    <a:pt x="663" y="552"/>
                    <a:pt x="663" y="552"/>
                    <a:pt x="663" y="552"/>
                  </a:cubicBezTo>
                  <a:cubicBezTo>
                    <a:pt x="661" y="552"/>
                    <a:pt x="660" y="551"/>
                    <a:pt x="660" y="549"/>
                  </a:cubicBezTo>
                  <a:cubicBezTo>
                    <a:pt x="660" y="548"/>
                    <a:pt x="661" y="546"/>
                    <a:pt x="663" y="546"/>
                  </a:cubicBezTo>
                  <a:cubicBezTo>
                    <a:pt x="691" y="546"/>
                    <a:pt x="691" y="546"/>
                    <a:pt x="691" y="546"/>
                  </a:cubicBezTo>
                  <a:cubicBezTo>
                    <a:pt x="693" y="546"/>
                    <a:pt x="694" y="548"/>
                    <a:pt x="694" y="549"/>
                  </a:cubicBezTo>
                  <a:cubicBezTo>
                    <a:pt x="694" y="551"/>
                    <a:pt x="693" y="552"/>
                    <a:pt x="691" y="552"/>
                  </a:cubicBezTo>
                  <a:close/>
                  <a:moveTo>
                    <a:pt x="634" y="552"/>
                  </a:moveTo>
                  <a:cubicBezTo>
                    <a:pt x="606" y="552"/>
                    <a:pt x="606" y="552"/>
                    <a:pt x="606" y="552"/>
                  </a:cubicBezTo>
                  <a:cubicBezTo>
                    <a:pt x="604" y="552"/>
                    <a:pt x="602" y="551"/>
                    <a:pt x="602" y="549"/>
                  </a:cubicBezTo>
                  <a:cubicBezTo>
                    <a:pt x="602" y="548"/>
                    <a:pt x="604" y="546"/>
                    <a:pt x="606" y="546"/>
                  </a:cubicBezTo>
                  <a:cubicBezTo>
                    <a:pt x="634" y="546"/>
                    <a:pt x="634" y="546"/>
                    <a:pt x="634" y="546"/>
                  </a:cubicBezTo>
                  <a:cubicBezTo>
                    <a:pt x="636" y="546"/>
                    <a:pt x="637" y="548"/>
                    <a:pt x="637" y="549"/>
                  </a:cubicBezTo>
                  <a:cubicBezTo>
                    <a:pt x="637" y="551"/>
                    <a:pt x="636" y="552"/>
                    <a:pt x="634" y="552"/>
                  </a:cubicBezTo>
                  <a:close/>
                  <a:moveTo>
                    <a:pt x="577" y="552"/>
                  </a:moveTo>
                  <a:cubicBezTo>
                    <a:pt x="548" y="552"/>
                    <a:pt x="548" y="552"/>
                    <a:pt x="548" y="552"/>
                  </a:cubicBezTo>
                  <a:cubicBezTo>
                    <a:pt x="547" y="552"/>
                    <a:pt x="545" y="551"/>
                    <a:pt x="545" y="549"/>
                  </a:cubicBezTo>
                  <a:cubicBezTo>
                    <a:pt x="545" y="548"/>
                    <a:pt x="547" y="546"/>
                    <a:pt x="548" y="546"/>
                  </a:cubicBezTo>
                  <a:cubicBezTo>
                    <a:pt x="577" y="546"/>
                    <a:pt x="577" y="546"/>
                    <a:pt x="577" y="546"/>
                  </a:cubicBezTo>
                  <a:cubicBezTo>
                    <a:pt x="579" y="546"/>
                    <a:pt x="580" y="548"/>
                    <a:pt x="580" y="549"/>
                  </a:cubicBezTo>
                  <a:cubicBezTo>
                    <a:pt x="580" y="551"/>
                    <a:pt x="579" y="552"/>
                    <a:pt x="577" y="552"/>
                  </a:cubicBezTo>
                  <a:close/>
                  <a:moveTo>
                    <a:pt x="520" y="552"/>
                  </a:moveTo>
                  <a:cubicBezTo>
                    <a:pt x="491" y="552"/>
                    <a:pt x="491" y="552"/>
                    <a:pt x="491" y="552"/>
                  </a:cubicBezTo>
                  <a:cubicBezTo>
                    <a:pt x="490" y="552"/>
                    <a:pt x="488" y="551"/>
                    <a:pt x="488" y="549"/>
                  </a:cubicBezTo>
                  <a:cubicBezTo>
                    <a:pt x="488" y="548"/>
                    <a:pt x="490" y="546"/>
                    <a:pt x="491" y="546"/>
                  </a:cubicBezTo>
                  <a:cubicBezTo>
                    <a:pt x="520" y="546"/>
                    <a:pt x="520" y="546"/>
                    <a:pt x="520" y="546"/>
                  </a:cubicBezTo>
                  <a:cubicBezTo>
                    <a:pt x="522" y="546"/>
                    <a:pt x="523" y="548"/>
                    <a:pt x="523" y="549"/>
                  </a:cubicBezTo>
                  <a:cubicBezTo>
                    <a:pt x="523" y="551"/>
                    <a:pt x="522" y="552"/>
                    <a:pt x="520" y="552"/>
                  </a:cubicBezTo>
                  <a:close/>
                  <a:moveTo>
                    <a:pt x="463" y="552"/>
                  </a:moveTo>
                  <a:cubicBezTo>
                    <a:pt x="434" y="552"/>
                    <a:pt x="434" y="552"/>
                    <a:pt x="434" y="552"/>
                  </a:cubicBezTo>
                  <a:cubicBezTo>
                    <a:pt x="432" y="552"/>
                    <a:pt x="431" y="551"/>
                    <a:pt x="431" y="549"/>
                  </a:cubicBezTo>
                  <a:cubicBezTo>
                    <a:pt x="431" y="548"/>
                    <a:pt x="432" y="546"/>
                    <a:pt x="434" y="546"/>
                  </a:cubicBezTo>
                  <a:cubicBezTo>
                    <a:pt x="463" y="546"/>
                    <a:pt x="463" y="546"/>
                    <a:pt x="463" y="546"/>
                  </a:cubicBezTo>
                  <a:cubicBezTo>
                    <a:pt x="464" y="546"/>
                    <a:pt x="466" y="548"/>
                    <a:pt x="466" y="549"/>
                  </a:cubicBezTo>
                  <a:cubicBezTo>
                    <a:pt x="466" y="551"/>
                    <a:pt x="464" y="552"/>
                    <a:pt x="463" y="552"/>
                  </a:cubicBezTo>
                  <a:close/>
                  <a:moveTo>
                    <a:pt x="406" y="552"/>
                  </a:moveTo>
                  <a:cubicBezTo>
                    <a:pt x="377" y="552"/>
                    <a:pt x="377" y="552"/>
                    <a:pt x="377" y="552"/>
                  </a:cubicBezTo>
                  <a:cubicBezTo>
                    <a:pt x="375" y="552"/>
                    <a:pt x="374" y="551"/>
                    <a:pt x="374" y="549"/>
                  </a:cubicBezTo>
                  <a:cubicBezTo>
                    <a:pt x="374" y="548"/>
                    <a:pt x="375" y="546"/>
                    <a:pt x="377" y="546"/>
                  </a:cubicBezTo>
                  <a:cubicBezTo>
                    <a:pt x="406" y="546"/>
                    <a:pt x="406" y="546"/>
                    <a:pt x="406" y="546"/>
                  </a:cubicBezTo>
                  <a:cubicBezTo>
                    <a:pt x="407" y="546"/>
                    <a:pt x="409" y="548"/>
                    <a:pt x="409" y="549"/>
                  </a:cubicBezTo>
                  <a:cubicBezTo>
                    <a:pt x="409" y="551"/>
                    <a:pt x="407" y="552"/>
                    <a:pt x="406" y="552"/>
                  </a:cubicBezTo>
                  <a:close/>
                  <a:moveTo>
                    <a:pt x="348" y="552"/>
                  </a:moveTo>
                  <a:cubicBezTo>
                    <a:pt x="320" y="552"/>
                    <a:pt x="320" y="552"/>
                    <a:pt x="320" y="552"/>
                  </a:cubicBezTo>
                  <a:cubicBezTo>
                    <a:pt x="318" y="552"/>
                    <a:pt x="317" y="551"/>
                    <a:pt x="317" y="549"/>
                  </a:cubicBezTo>
                  <a:cubicBezTo>
                    <a:pt x="317" y="548"/>
                    <a:pt x="318" y="546"/>
                    <a:pt x="320" y="546"/>
                  </a:cubicBezTo>
                  <a:cubicBezTo>
                    <a:pt x="348" y="546"/>
                    <a:pt x="348" y="546"/>
                    <a:pt x="348" y="546"/>
                  </a:cubicBezTo>
                  <a:cubicBezTo>
                    <a:pt x="350" y="546"/>
                    <a:pt x="351" y="548"/>
                    <a:pt x="351" y="549"/>
                  </a:cubicBezTo>
                  <a:cubicBezTo>
                    <a:pt x="351" y="551"/>
                    <a:pt x="350" y="552"/>
                    <a:pt x="348" y="552"/>
                  </a:cubicBezTo>
                  <a:close/>
                  <a:moveTo>
                    <a:pt x="291" y="552"/>
                  </a:moveTo>
                  <a:cubicBezTo>
                    <a:pt x="276" y="552"/>
                    <a:pt x="276" y="552"/>
                    <a:pt x="276" y="552"/>
                  </a:cubicBezTo>
                  <a:cubicBezTo>
                    <a:pt x="272" y="552"/>
                    <a:pt x="267" y="552"/>
                    <a:pt x="263" y="552"/>
                  </a:cubicBezTo>
                  <a:cubicBezTo>
                    <a:pt x="261" y="552"/>
                    <a:pt x="259" y="551"/>
                    <a:pt x="260" y="549"/>
                  </a:cubicBezTo>
                  <a:cubicBezTo>
                    <a:pt x="260" y="547"/>
                    <a:pt x="261" y="546"/>
                    <a:pt x="263" y="546"/>
                  </a:cubicBezTo>
                  <a:cubicBezTo>
                    <a:pt x="267" y="546"/>
                    <a:pt x="272" y="546"/>
                    <a:pt x="276" y="546"/>
                  </a:cubicBezTo>
                  <a:cubicBezTo>
                    <a:pt x="291" y="546"/>
                    <a:pt x="291" y="546"/>
                    <a:pt x="291" y="546"/>
                  </a:cubicBezTo>
                  <a:cubicBezTo>
                    <a:pt x="293" y="546"/>
                    <a:pt x="294" y="548"/>
                    <a:pt x="294" y="549"/>
                  </a:cubicBezTo>
                  <a:cubicBezTo>
                    <a:pt x="294" y="551"/>
                    <a:pt x="293" y="552"/>
                    <a:pt x="291" y="552"/>
                  </a:cubicBezTo>
                  <a:close/>
                  <a:moveTo>
                    <a:pt x="234" y="549"/>
                  </a:moveTo>
                  <a:cubicBezTo>
                    <a:pt x="234" y="549"/>
                    <a:pt x="234" y="549"/>
                    <a:pt x="234" y="549"/>
                  </a:cubicBezTo>
                  <a:cubicBezTo>
                    <a:pt x="224" y="548"/>
                    <a:pt x="215" y="546"/>
                    <a:pt x="206" y="543"/>
                  </a:cubicBezTo>
                  <a:cubicBezTo>
                    <a:pt x="204" y="543"/>
                    <a:pt x="203" y="541"/>
                    <a:pt x="203" y="540"/>
                  </a:cubicBezTo>
                  <a:cubicBezTo>
                    <a:pt x="204" y="538"/>
                    <a:pt x="205" y="537"/>
                    <a:pt x="207" y="537"/>
                  </a:cubicBezTo>
                  <a:cubicBezTo>
                    <a:pt x="216" y="540"/>
                    <a:pt x="225" y="542"/>
                    <a:pt x="235" y="543"/>
                  </a:cubicBezTo>
                  <a:cubicBezTo>
                    <a:pt x="236" y="543"/>
                    <a:pt x="238" y="545"/>
                    <a:pt x="237" y="547"/>
                  </a:cubicBezTo>
                  <a:cubicBezTo>
                    <a:pt x="237" y="548"/>
                    <a:pt x="236" y="549"/>
                    <a:pt x="234" y="549"/>
                  </a:cubicBezTo>
                  <a:close/>
                  <a:moveTo>
                    <a:pt x="179" y="535"/>
                  </a:moveTo>
                  <a:cubicBezTo>
                    <a:pt x="179" y="535"/>
                    <a:pt x="178" y="535"/>
                    <a:pt x="178" y="535"/>
                  </a:cubicBezTo>
                  <a:cubicBezTo>
                    <a:pt x="169" y="531"/>
                    <a:pt x="160" y="527"/>
                    <a:pt x="152" y="523"/>
                  </a:cubicBezTo>
                  <a:cubicBezTo>
                    <a:pt x="150" y="522"/>
                    <a:pt x="149" y="520"/>
                    <a:pt x="150" y="519"/>
                  </a:cubicBezTo>
                  <a:cubicBezTo>
                    <a:pt x="151" y="517"/>
                    <a:pt x="153" y="517"/>
                    <a:pt x="154" y="517"/>
                  </a:cubicBezTo>
                  <a:cubicBezTo>
                    <a:pt x="163" y="522"/>
                    <a:pt x="171" y="525"/>
                    <a:pt x="180" y="529"/>
                  </a:cubicBezTo>
                  <a:cubicBezTo>
                    <a:pt x="182" y="529"/>
                    <a:pt x="183" y="531"/>
                    <a:pt x="182" y="533"/>
                  </a:cubicBezTo>
                  <a:cubicBezTo>
                    <a:pt x="182" y="534"/>
                    <a:pt x="180" y="535"/>
                    <a:pt x="179" y="535"/>
                  </a:cubicBezTo>
                  <a:close/>
                  <a:moveTo>
                    <a:pt x="128" y="509"/>
                  </a:moveTo>
                  <a:cubicBezTo>
                    <a:pt x="128" y="509"/>
                    <a:pt x="127" y="509"/>
                    <a:pt x="127" y="509"/>
                  </a:cubicBezTo>
                  <a:cubicBezTo>
                    <a:pt x="118" y="503"/>
                    <a:pt x="111" y="498"/>
                    <a:pt x="103" y="492"/>
                  </a:cubicBezTo>
                  <a:cubicBezTo>
                    <a:pt x="102" y="491"/>
                    <a:pt x="102" y="489"/>
                    <a:pt x="103" y="487"/>
                  </a:cubicBezTo>
                  <a:cubicBezTo>
                    <a:pt x="104" y="486"/>
                    <a:pt x="106" y="486"/>
                    <a:pt x="107" y="487"/>
                  </a:cubicBezTo>
                  <a:cubicBezTo>
                    <a:pt x="114" y="493"/>
                    <a:pt x="122" y="498"/>
                    <a:pt x="130" y="503"/>
                  </a:cubicBezTo>
                  <a:cubicBezTo>
                    <a:pt x="131" y="504"/>
                    <a:pt x="132" y="506"/>
                    <a:pt x="131" y="508"/>
                  </a:cubicBezTo>
                  <a:cubicBezTo>
                    <a:pt x="130" y="509"/>
                    <a:pt x="129" y="509"/>
                    <a:pt x="128" y="509"/>
                  </a:cubicBezTo>
                  <a:close/>
                  <a:moveTo>
                    <a:pt x="84" y="473"/>
                  </a:moveTo>
                  <a:cubicBezTo>
                    <a:pt x="83" y="473"/>
                    <a:pt x="82" y="473"/>
                    <a:pt x="82" y="472"/>
                  </a:cubicBezTo>
                  <a:cubicBezTo>
                    <a:pt x="75" y="466"/>
                    <a:pt x="68" y="458"/>
                    <a:pt x="62" y="451"/>
                  </a:cubicBezTo>
                  <a:cubicBezTo>
                    <a:pt x="61" y="450"/>
                    <a:pt x="61" y="448"/>
                    <a:pt x="63" y="447"/>
                  </a:cubicBezTo>
                  <a:cubicBezTo>
                    <a:pt x="64" y="446"/>
                    <a:pt x="66" y="446"/>
                    <a:pt x="67" y="447"/>
                  </a:cubicBezTo>
                  <a:cubicBezTo>
                    <a:pt x="73" y="454"/>
                    <a:pt x="79" y="461"/>
                    <a:pt x="86" y="468"/>
                  </a:cubicBezTo>
                  <a:cubicBezTo>
                    <a:pt x="87" y="469"/>
                    <a:pt x="87" y="471"/>
                    <a:pt x="86" y="472"/>
                  </a:cubicBezTo>
                  <a:cubicBezTo>
                    <a:pt x="85" y="473"/>
                    <a:pt x="85" y="473"/>
                    <a:pt x="84" y="473"/>
                  </a:cubicBezTo>
                  <a:close/>
                  <a:moveTo>
                    <a:pt x="48" y="429"/>
                  </a:moveTo>
                  <a:cubicBezTo>
                    <a:pt x="47" y="429"/>
                    <a:pt x="46" y="429"/>
                    <a:pt x="45" y="428"/>
                  </a:cubicBezTo>
                  <a:cubicBezTo>
                    <a:pt x="40" y="420"/>
                    <a:pt x="35" y="411"/>
                    <a:pt x="30" y="403"/>
                  </a:cubicBezTo>
                  <a:cubicBezTo>
                    <a:pt x="30" y="401"/>
                    <a:pt x="30" y="399"/>
                    <a:pt x="32" y="399"/>
                  </a:cubicBezTo>
                  <a:cubicBezTo>
                    <a:pt x="33" y="398"/>
                    <a:pt x="35" y="398"/>
                    <a:pt x="36" y="400"/>
                  </a:cubicBezTo>
                  <a:cubicBezTo>
                    <a:pt x="40" y="408"/>
                    <a:pt x="45" y="416"/>
                    <a:pt x="50" y="424"/>
                  </a:cubicBezTo>
                  <a:cubicBezTo>
                    <a:pt x="51" y="426"/>
                    <a:pt x="51" y="428"/>
                    <a:pt x="49" y="429"/>
                  </a:cubicBezTo>
                  <a:cubicBezTo>
                    <a:pt x="49" y="429"/>
                    <a:pt x="48" y="429"/>
                    <a:pt x="48" y="429"/>
                  </a:cubicBezTo>
                  <a:close/>
                  <a:moveTo>
                    <a:pt x="21" y="378"/>
                  </a:moveTo>
                  <a:cubicBezTo>
                    <a:pt x="20" y="378"/>
                    <a:pt x="19" y="378"/>
                    <a:pt x="19" y="376"/>
                  </a:cubicBezTo>
                  <a:cubicBezTo>
                    <a:pt x="15" y="368"/>
                    <a:pt x="12" y="358"/>
                    <a:pt x="9" y="349"/>
                  </a:cubicBezTo>
                  <a:cubicBezTo>
                    <a:pt x="9" y="347"/>
                    <a:pt x="10" y="346"/>
                    <a:pt x="12" y="345"/>
                  </a:cubicBezTo>
                  <a:cubicBezTo>
                    <a:pt x="13" y="345"/>
                    <a:pt x="15" y="346"/>
                    <a:pt x="15" y="347"/>
                  </a:cubicBezTo>
                  <a:cubicBezTo>
                    <a:pt x="18" y="356"/>
                    <a:pt x="21" y="366"/>
                    <a:pt x="24" y="374"/>
                  </a:cubicBezTo>
                  <a:cubicBezTo>
                    <a:pt x="25" y="376"/>
                    <a:pt x="24" y="378"/>
                    <a:pt x="23" y="378"/>
                  </a:cubicBezTo>
                  <a:cubicBezTo>
                    <a:pt x="22" y="378"/>
                    <a:pt x="22" y="378"/>
                    <a:pt x="21" y="378"/>
                  </a:cubicBezTo>
                  <a:close/>
                  <a:moveTo>
                    <a:pt x="6" y="323"/>
                  </a:moveTo>
                  <a:cubicBezTo>
                    <a:pt x="5" y="323"/>
                    <a:pt x="4" y="322"/>
                    <a:pt x="3" y="321"/>
                  </a:cubicBezTo>
                  <a:cubicBezTo>
                    <a:pt x="2" y="311"/>
                    <a:pt x="1" y="302"/>
                    <a:pt x="0" y="292"/>
                  </a:cubicBezTo>
                  <a:cubicBezTo>
                    <a:pt x="0" y="290"/>
                    <a:pt x="1" y="289"/>
                    <a:pt x="3" y="289"/>
                  </a:cubicBezTo>
                  <a:cubicBezTo>
                    <a:pt x="5" y="289"/>
                    <a:pt x="6" y="290"/>
                    <a:pt x="6" y="292"/>
                  </a:cubicBezTo>
                  <a:cubicBezTo>
                    <a:pt x="7" y="301"/>
                    <a:pt x="8" y="311"/>
                    <a:pt x="9" y="320"/>
                  </a:cubicBezTo>
                  <a:cubicBezTo>
                    <a:pt x="10" y="322"/>
                    <a:pt x="9" y="323"/>
                    <a:pt x="7" y="323"/>
                  </a:cubicBezTo>
                  <a:lnTo>
                    <a:pt x="6" y="323"/>
                  </a:lnTo>
                  <a:close/>
                  <a:moveTo>
                    <a:pt x="3" y="267"/>
                  </a:moveTo>
                  <a:cubicBezTo>
                    <a:pt x="3" y="267"/>
                    <a:pt x="3" y="267"/>
                    <a:pt x="3" y="267"/>
                  </a:cubicBezTo>
                  <a:cubicBezTo>
                    <a:pt x="1" y="266"/>
                    <a:pt x="0" y="265"/>
                    <a:pt x="0" y="263"/>
                  </a:cubicBezTo>
                  <a:cubicBezTo>
                    <a:pt x="0" y="254"/>
                    <a:pt x="1" y="244"/>
                    <a:pt x="3" y="235"/>
                  </a:cubicBezTo>
                  <a:cubicBezTo>
                    <a:pt x="3" y="233"/>
                    <a:pt x="5" y="232"/>
                    <a:pt x="6" y="232"/>
                  </a:cubicBezTo>
                  <a:cubicBezTo>
                    <a:pt x="8" y="232"/>
                    <a:pt x="9" y="234"/>
                    <a:pt x="9" y="235"/>
                  </a:cubicBezTo>
                  <a:cubicBezTo>
                    <a:pt x="8" y="245"/>
                    <a:pt x="7" y="254"/>
                    <a:pt x="6" y="264"/>
                  </a:cubicBezTo>
                  <a:cubicBezTo>
                    <a:pt x="6" y="265"/>
                    <a:pt x="5" y="267"/>
                    <a:pt x="3" y="267"/>
                  </a:cubicBezTo>
                  <a:close/>
                  <a:moveTo>
                    <a:pt x="12" y="210"/>
                  </a:moveTo>
                  <a:cubicBezTo>
                    <a:pt x="11" y="210"/>
                    <a:pt x="11" y="210"/>
                    <a:pt x="11" y="210"/>
                  </a:cubicBezTo>
                  <a:cubicBezTo>
                    <a:pt x="9" y="210"/>
                    <a:pt x="8" y="208"/>
                    <a:pt x="9" y="206"/>
                  </a:cubicBezTo>
                  <a:cubicBezTo>
                    <a:pt x="11" y="197"/>
                    <a:pt x="14" y="188"/>
                    <a:pt x="17" y="179"/>
                  </a:cubicBezTo>
                  <a:cubicBezTo>
                    <a:pt x="18" y="177"/>
                    <a:pt x="20" y="176"/>
                    <a:pt x="21" y="177"/>
                  </a:cubicBezTo>
                  <a:cubicBezTo>
                    <a:pt x="23" y="178"/>
                    <a:pt x="24" y="179"/>
                    <a:pt x="23" y="181"/>
                  </a:cubicBezTo>
                  <a:cubicBezTo>
                    <a:pt x="20" y="190"/>
                    <a:pt x="17" y="199"/>
                    <a:pt x="15" y="208"/>
                  </a:cubicBezTo>
                  <a:cubicBezTo>
                    <a:pt x="14" y="209"/>
                    <a:pt x="13" y="210"/>
                    <a:pt x="12" y="210"/>
                  </a:cubicBezTo>
                  <a:close/>
                  <a:moveTo>
                    <a:pt x="32" y="157"/>
                  </a:moveTo>
                  <a:cubicBezTo>
                    <a:pt x="31" y="157"/>
                    <a:pt x="31" y="157"/>
                    <a:pt x="30" y="156"/>
                  </a:cubicBezTo>
                  <a:cubicBezTo>
                    <a:pt x="29" y="156"/>
                    <a:pt x="28" y="154"/>
                    <a:pt x="29" y="152"/>
                  </a:cubicBezTo>
                  <a:cubicBezTo>
                    <a:pt x="33" y="144"/>
                    <a:pt x="38" y="135"/>
                    <a:pt x="43" y="127"/>
                  </a:cubicBezTo>
                  <a:cubicBezTo>
                    <a:pt x="44" y="126"/>
                    <a:pt x="46" y="125"/>
                    <a:pt x="48" y="126"/>
                  </a:cubicBezTo>
                  <a:cubicBezTo>
                    <a:pt x="49" y="127"/>
                    <a:pt x="49" y="129"/>
                    <a:pt x="49" y="131"/>
                  </a:cubicBezTo>
                  <a:cubicBezTo>
                    <a:pt x="43" y="138"/>
                    <a:pt x="39" y="147"/>
                    <a:pt x="35" y="155"/>
                  </a:cubicBezTo>
                  <a:cubicBezTo>
                    <a:pt x="34" y="156"/>
                    <a:pt x="33" y="157"/>
                    <a:pt x="32" y="157"/>
                  </a:cubicBezTo>
                  <a:close/>
                  <a:moveTo>
                    <a:pt x="63" y="109"/>
                  </a:moveTo>
                  <a:cubicBezTo>
                    <a:pt x="62" y="109"/>
                    <a:pt x="61" y="109"/>
                    <a:pt x="61" y="108"/>
                  </a:cubicBezTo>
                  <a:cubicBezTo>
                    <a:pt x="59" y="107"/>
                    <a:pt x="59" y="105"/>
                    <a:pt x="60" y="104"/>
                  </a:cubicBezTo>
                  <a:cubicBezTo>
                    <a:pt x="66" y="96"/>
                    <a:pt x="73" y="89"/>
                    <a:pt x="79" y="82"/>
                  </a:cubicBezTo>
                  <a:cubicBezTo>
                    <a:pt x="81" y="81"/>
                    <a:pt x="83" y="81"/>
                    <a:pt x="84" y="82"/>
                  </a:cubicBezTo>
                  <a:cubicBezTo>
                    <a:pt x="85" y="83"/>
                    <a:pt x="85" y="85"/>
                    <a:pt x="84" y="86"/>
                  </a:cubicBezTo>
                  <a:cubicBezTo>
                    <a:pt x="77" y="93"/>
                    <a:pt x="71" y="100"/>
                    <a:pt x="65" y="108"/>
                  </a:cubicBezTo>
                  <a:cubicBezTo>
                    <a:pt x="64" y="108"/>
                    <a:pt x="63" y="109"/>
                    <a:pt x="63" y="109"/>
                  </a:cubicBezTo>
                  <a:close/>
                  <a:moveTo>
                    <a:pt x="487" y="105"/>
                  </a:moveTo>
                  <a:cubicBezTo>
                    <a:pt x="486" y="105"/>
                    <a:pt x="485" y="105"/>
                    <a:pt x="484" y="104"/>
                  </a:cubicBezTo>
                  <a:cubicBezTo>
                    <a:pt x="478" y="97"/>
                    <a:pt x="472" y="90"/>
                    <a:pt x="465" y="83"/>
                  </a:cubicBezTo>
                  <a:cubicBezTo>
                    <a:pt x="464" y="82"/>
                    <a:pt x="464" y="80"/>
                    <a:pt x="465" y="79"/>
                  </a:cubicBezTo>
                  <a:cubicBezTo>
                    <a:pt x="466" y="78"/>
                    <a:pt x="468" y="78"/>
                    <a:pt x="470" y="79"/>
                  </a:cubicBezTo>
                  <a:cubicBezTo>
                    <a:pt x="476" y="86"/>
                    <a:pt x="483" y="93"/>
                    <a:pt x="489" y="100"/>
                  </a:cubicBezTo>
                  <a:cubicBezTo>
                    <a:pt x="490" y="102"/>
                    <a:pt x="490" y="104"/>
                    <a:pt x="489" y="105"/>
                  </a:cubicBezTo>
                  <a:cubicBezTo>
                    <a:pt x="488" y="105"/>
                    <a:pt x="487" y="105"/>
                    <a:pt x="487" y="105"/>
                  </a:cubicBezTo>
                  <a:close/>
                  <a:moveTo>
                    <a:pt x="103" y="68"/>
                  </a:moveTo>
                  <a:cubicBezTo>
                    <a:pt x="102" y="68"/>
                    <a:pt x="101" y="68"/>
                    <a:pt x="100" y="67"/>
                  </a:cubicBezTo>
                  <a:cubicBezTo>
                    <a:pt x="99" y="66"/>
                    <a:pt x="99" y="64"/>
                    <a:pt x="101" y="63"/>
                  </a:cubicBezTo>
                  <a:cubicBezTo>
                    <a:pt x="108" y="57"/>
                    <a:pt x="116" y="51"/>
                    <a:pt x="124" y="45"/>
                  </a:cubicBezTo>
                  <a:cubicBezTo>
                    <a:pt x="125" y="45"/>
                    <a:pt x="127" y="45"/>
                    <a:pt x="128" y="46"/>
                  </a:cubicBezTo>
                  <a:cubicBezTo>
                    <a:pt x="129" y="48"/>
                    <a:pt x="129" y="50"/>
                    <a:pt x="127" y="51"/>
                  </a:cubicBezTo>
                  <a:cubicBezTo>
                    <a:pt x="119" y="56"/>
                    <a:pt x="112" y="61"/>
                    <a:pt x="105" y="67"/>
                  </a:cubicBezTo>
                  <a:cubicBezTo>
                    <a:pt x="104" y="68"/>
                    <a:pt x="103" y="68"/>
                    <a:pt x="103" y="68"/>
                  </a:cubicBezTo>
                  <a:close/>
                  <a:moveTo>
                    <a:pt x="446" y="65"/>
                  </a:moveTo>
                  <a:cubicBezTo>
                    <a:pt x="445" y="65"/>
                    <a:pt x="445" y="65"/>
                    <a:pt x="444" y="65"/>
                  </a:cubicBezTo>
                  <a:cubicBezTo>
                    <a:pt x="437" y="59"/>
                    <a:pt x="429" y="53"/>
                    <a:pt x="421" y="48"/>
                  </a:cubicBezTo>
                  <a:cubicBezTo>
                    <a:pt x="420" y="47"/>
                    <a:pt x="419" y="45"/>
                    <a:pt x="420" y="44"/>
                  </a:cubicBezTo>
                  <a:cubicBezTo>
                    <a:pt x="421" y="43"/>
                    <a:pt x="423" y="42"/>
                    <a:pt x="424" y="43"/>
                  </a:cubicBezTo>
                  <a:cubicBezTo>
                    <a:pt x="433" y="48"/>
                    <a:pt x="440" y="54"/>
                    <a:pt x="448" y="60"/>
                  </a:cubicBezTo>
                  <a:cubicBezTo>
                    <a:pt x="449" y="61"/>
                    <a:pt x="450" y="63"/>
                    <a:pt x="448" y="64"/>
                  </a:cubicBezTo>
                  <a:cubicBezTo>
                    <a:pt x="448" y="65"/>
                    <a:pt x="447" y="65"/>
                    <a:pt x="446" y="65"/>
                  </a:cubicBezTo>
                  <a:close/>
                  <a:moveTo>
                    <a:pt x="150" y="37"/>
                  </a:moveTo>
                  <a:cubicBezTo>
                    <a:pt x="149" y="37"/>
                    <a:pt x="148" y="36"/>
                    <a:pt x="147" y="35"/>
                  </a:cubicBezTo>
                  <a:cubicBezTo>
                    <a:pt x="147" y="34"/>
                    <a:pt x="147" y="32"/>
                    <a:pt x="149" y="31"/>
                  </a:cubicBezTo>
                  <a:cubicBezTo>
                    <a:pt x="157" y="26"/>
                    <a:pt x="166" y="22"/>
                    <a:pt x="175" y="19"/>
                  </a:cubicBezTo>
                  <a:cubicBezTo>
                    <a:pt x="177" y="18"/>
                    <a:pt x="178" y="19"/>
                    <a:pt x="179" y="21"/>
                  </a:cubicBezTo>
                  <a:cubicBezTo>
                    <a:pt x="180" y="22"/>
                    <a:pt x="179" y="24"/>
                    <a:pt x="177" y="25"/>
                  </a:cubicBezTo>
                  <a:cubicBezTo>
                    <a:pt x="169" y="28"/>
                    <a:pt x="160" y="32"/>
                    <a:pt x="152" y="36"/>
                  </a:cubicBezTo>
                  <a:cubicBezTo>
                    <a:pt x="151" y="37"/>
                    <a:pt x="151" y="37"/>
                    <a:pt x="150" y="37"/>
                  </a:cubicBezTo>
                  <a:close/>
                  <a:moveTo>
                    <a:pt x="398" y="35"/>
                  </a:moveTo>
                  <a:cubicBezTo>
                    <a:pt x="398" y="35"/>
                    <a:pt x="397" y="35"/>
                    <a:pt x="397" y="34"/>
                  </a:cubicBezTo>
                  <a:cubicBezTo>
                    <a:pt x="388" y="30"/>
                    <a:pt x="379" y="26"/>
                    <a:pt x="371" y="23"/>
                  </a:cubicBezTo>
                  <a:cubicBezTo>
                    <a:pt x="369" y="22"/>
                    <a:pt x="368" y="21"/>
                    <a:pt x="369" y="19"/>
                  </a:cubicBezTo>
                  <a:cubicBezTo>
                    <a:pt x="369" y="18"/>
                    <a:pt x="371" y="17"/>
                    <a:pt x="373" y="17"/>
                  </a:cubicBezTo>
                  <a:cubicBezTo>
                    <a:pt x="382" y="21"/>
                    <a:pt x="391" y="25"/>
                    <a:pt x="399" y="29"/>
                  </a:cubicBezTo>
                  <a:cubicBezTo>
                    <a:pt x="401" y="30"/>
                    <a:pt x="402" y="31"/>
                    <a:pt x="401" y="33"/>
                  </a:cubicBezTo>
                  <a:cubicBezTo>
                    <a:pt x="400" y="34"/>
                    <a:pt x="399" y="35"/>
                    <a:pt x="398" y="35"/>
                  </a:cubicBezTo>
                  <a:close/>
                  <a:moveTo>
                    <a:pt x="203" y="16"/>
                  </a:moveTo>
                  <a:cubicBezTo>
                    <a:pt x="202" y="16"/>
                    <a:pt x="201" y="15"/>
                    <a:pt x="200" y="14"/>
                  </a:cubicBezTo>
                  <a:cubicBezTo>
                    <a:pt x="200" y="12"/>
                    <a:pt x="201" y="10"/>
                    <a:pt x="202" y="10"/>
                  </a:cubicBezTo>
                  <a:cubicBezTo>
                    <a:pt x="212" y="7"/>
                    <a:pt x="221" y="5"/>
                    <a:pt x="231" y="4"/>
                  </a:cubicBezTo>
                  <a:cubicBezTo>
                    <a:pt x="232" y="3"/>
                    <a:pt x="234" y="4"/>
                    <a:pt x="234" y="6"/>
                  </a:cubicBezTo>
                  <a:cubicBezTo>
                    <a:pt x="235" y="8"/>
                    <a:pt x="233" y="9"/>
                    <a:pt x="232" y="10"/>
                  </a:cubicBezTo>
                  <a:cubicBezTo>
                    <a:pt x="222" y="11"/>
                    <a:pt x="213" y="13"/>
                    <a:pt x="204" y="16"/>
                  </a:cubicBezTo>
                  <a:lnTo>
                    <a:pt x="203" y="16"/>
                  </a:lnTo>
                  <a:close/>
                  <a:moveTo>
                    <a:pt x="345" y="15"/>
                  </a:moveTo>
                  <a:cubicBezTo>
                    <a:pt x="344" y="15"/>
                    <a:pt x="344" y="15"/>
                    <a:pt x="344" y="15"/>
                  </a:cubicBezTo>
                  <a:cubicBezTo>
                    <a:pt x="335" y="12"/>
                    <a:pt x="325" y="10"/>
                    <a:pt x="316" y="9"/>
                  </a:cubicBezTo>
                  <a:cubicBezTo>
                    <a:pt x="314" y="9"/>
                    <a:pt x="313" y="7"/>
                    <a:pt x="313" y="5"/>
                  </a:cubicBezTo>
                  <a:cubicBezTo>
                    <a:pt x="314" y="4"/>
                    <a:pt x="315" y="3"/>
                    <a:pt x="317" y="3"/>
                  </a:cubicBezTo>
                  <a:cubicBezTo>
                    <a:pt x="326" y="4"/>
                    <a:pt x="336" y="6"/>
                    <a:pt x="345" y="9"/>
                  </a:cubicBezTo>
                  <a:cubicBezTo>
                    <a:pt x="347" y="9"/>
                    <a:pt x="348" y="11"/>
                    <a:pt x="348" y="12"/>
                  </a:cubicBezTo>
                  <a:cubicBezTo>
                    <a:pt x="347" y="14"/>
                    <a:pt x="346" y="15"/>
                    <a:pt x="345" y="15"/>
                  </a:cubicBezTo>
                  <a:close/>
                  <a:moveTo>
                    <a:pt x="260" y="7"/>
                  </a:moveTo>
                  <a:cubicBezTo>
                    <a:pt x="258" y="7"/>
                    <a:pt x="257" y="5"/>
                    <a:pt x="256" y="4"/>
                  </a:cubicBezTo>
                  <a:cubicBezTo>
                    <a:pt x="256" y="2"/>
                    <a:pt x="258" y="0"/>
                    <a:pt x="259" y="0"/>
                  </a:cubicBezTo>
                  <a:cubicBezTo>
                    <a:pt x="269" y="0"/>
                    <a:pt x="279" y="0"/>
                    <a:pt x="288" y="0"/>
                  </a:cubicBezTo>
                  <a:cubicBezTo>
                    <a:pt x="290" y="0"/>
                    <a:pt x="291" y="2"/>
                    <a:pt x="291" y="3"/>
                  </a:cubicBezTo>
                  <a:cubicBezTo>
                    <a:pt x="291" y="5"/>
                    <a:pt x="290" y="6"/>
                    <a:pt x="288" y="6"/>
                  </a:cubicBezTo>
                  <a:cubicBezTo>
                    <a:pt x="279" y="6"/>
                    <a:pt x="269" y="6"/>
                    <a:pt x="260"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 name="Freeform 1041">
              <a:extLst>
                <a:ext uri="{FF2B5EF4-FFF2-40B4-BE49-F238E27FC236}">
                  <a16:creationId xmlns:a16="http://schemas.microsoft.com/office/drawing/2014/main" id="{1D93678C-683E-41CB-BCDF-476CE35ED34F}"/>
                </a:ext>
              </a:extLst>
            </p:cNvPr>
            <p:cNvSpPr>
              <a:spLocks/>
            </p:cNvSpPr>
            <p:nvPr/>
          </p:nvSpPr>
          <p:spPr bwMode="auto">
            <a:xfrm>
              <a:off x="9363339" y="4631255"/>
              <a:ext cx="71120" cy="90876"/>
            </a:xfrm>
            <a:custGeom>
              <a:avLst/>
              <a:gdLst>
                <a:gd name="T0" fmla="*/ 12 w 15"/>
                <a:gd name="T1" fmla="*/ 19 h 19"/>
                <a:gd name="T2" fmla="*/ 9 w 15"/>
                <a:gd name="T3" fmla="*/ 17 h 19"/>
                <a:gd name="T4" fmla="*/ 1 w 15"/>
                <a:gd name="T5" fmla="*/ 5 h 19"/>
                <a:gd name="T6" fmla="*/ 2 w 15"/>
                <a:gd name="T7" fmla="*/ 1 h 19"/>
                <a:gd name="T8" fmla="*/ 7 w 15"/>
                <a:gd name="T9" fmla="*/ 2 h 19"/>
                <a:gd name="T10" fmla="*/ 14 w 15"/>
                <a:gd name="T11" fmla="*/ 14 h 19"/>
                <a:gd name="T12" fmla="*/ 13 w 15"/>
                <a:gd name="T13" fmla="*/ 18 h 19"/>
                <a:gd name="T14" fmla="*/ 12 w 1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9">
                  <a:moveTo>
                    <a:pt x="12" y="19"/>
                  </a:moveTo>
                  <a:cubicBezTo>
                    <a:pt x="11" y="19"/>
                    <a:pt x="10" y="18"/>
                    <a:pt x="9" y="17"/>
                  </a:cubicBezTo>
                  <a:cubicBezTo>
                    <a:pt x="7" y="13"/>
                    <a:pt x="4" y="9"/>
                    <a:pt x="1" y="5"/>
                  </a:cubicBezTo>
                  <a:cubicBezTo>
                    <a:pt x="0" y="4"/>
                    <a:pt x="1" y="2"/>
                    <a:pt x="2" y="1"/>
                  </a:cubicBezTo>
                  <a:cubicBezTo>
                    <a:pt x="4" y="0"/>
                    <a:pt x="6" y="0"/>
                    <a:pt x="7" y="2"/>
                  </a:cubicBezTo>
                  <a:cubicBezTo>
                    <a:pt x="9" y="6"/>
                    <a:pt x="12" y="10"/>
                    <a:pt x="14" y="14"/>
                  </a:cubicBezTo>
                  <a:cubicBezTo>
                    <a:pt x="15" y="16"/>
                    <a:pt x="15" y="18"/>
                    <a:pt x="13" y="18"/>
                  </a:cubicBezTo>
                  <a:cubicBezTo>
                    <a:pt x="13" y="19"/>
                    <a:pt x="12" y="19"/>
                    <a:pt x="12" y="19"/>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 name="Freeform 1042">
              <a:extLst>
                <a:ext uri="{FF2B5EF4-FFF2-40B4-BE49-F238E27FC236}">
                  <a16:creationId xmlns:a16="http://schemas.microsoft.com/office/drawing/2014/main" id="{08C7FFDD-C9B0-4E15-B035-395B8FF9DD47}"/>
                </a:ext>
              </a:extLst>
            </p:cNvPr>
            <p:cNvSpPr>
              <a:spLocks/>
            </p:cNvSpPr>
            <p:nvPr/>
          </p:nvSpPr>
          <p:spPr bwMode="auto">
            <a:xfrm>
              <a:off x="8391365" y="2126248"/>
              <a:ext cx="102729" cy="35560"/>
            </a:xfrm>
            <a:custGeom>
              <a:avLst/>
              <a:gdLst>
                <a:gd name="T0" fmla="*/ 17 w 21"/>
                <a:gd name="T1" fmla="*/ 7 h 7"/>
                <a:gd name="T2" fmla="*/ 3 w 21"/>
                <a:gd name="T3" fmla="*/ 7 h 7"/>
                <a:gd name="T4" fmla="*/ 0 w 21"/>
                <a:gd name="T5" fmla="*/ 4 h 7"/>
                <a:gd name="T6" fmla="*/ 3 w 21"/>
                <a:gd name="T7" fmla="*/ 0 h 7"/>
                <a:gd name="T8" fmla="*/ 17 w 21"/>
                <a:gd name="T9" fmla="*/ 0 h 7"/>
                <a:gd name="T10" fmla="*/ 21 w 21"/>
                <a:gd name="T11" fmla="*/ 4 h 7"/>
                <a:gd name="T12" fmla="*/ 17 w 2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1" h="7">
                  <a:moveTo>
                    <a:pt x="17" y="7"/>
                  </a:moveTo>
                  <a:cubicBezTo>
                    <a:pt x="3" y="7"/>
                    <a:pt x="3" y="7"/>
                    <a:pt x="3" y="7"/>
                  </a:cubicBezTo>
                  <a:cubicBezTo>
                    <a:pt x="1" y="7"/>
                    <a:pt x="0" y="5"/>
                    <a:pt x="0" y="4"/>
                  </a:cubicBezTo>
                  <a:cubicBezTo>
                    <a:pt x="0" y="2"/>
                    <a:pt x="1" y="0"/>
                    <a:pt x="3" y="0"/>
                  </a:cubicBezTo>
                  <a:cubicBezTo>
                    <a:pt x="17" y="0"/>
                    <a:pt x="17" y="0"/>
                    <a:pt x="17" y="0"/>
                  </a:cubicBezTo>
                  <a:cubicBezTo>
                    <a:pt x="19" y="0"/>
                    <a:pt x="21" y="2"/>
                    <a:pt x="21" y="4"/>
                  </a:cubicBezTo>
                  <a:cubicBezTo>
                    <a:pt x="21" y="5"/>
                    <a:pt x="19" y="7"/>
                    <a:pt x="17"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 name="Freeform 1043">
              <a:extLst>
                <a:ext uri="{FF2B5EF4-FFF2-40B4-BE49-F238E27FC236}">
                  <a16:creationId xmlns:a16="http://schemas.microsoft.com/office/drawing/2014/main" id="{1815B25C-4DF2-44CA-A0FA-D774FFA0FD46}"/>
                </a:ext>
              </a:extLst>
            </p:cNvPr>
            <p:cNvSpPr>
              <a:spLocks noEditPoints="1"/>
            </p:cNvSpPr>
            <p:nvPr/>
          </p:nvSpPr>
          <p:spPr bwMode="auto">
            <a:xfrm>
              <a:off x="8600775" y="2126248"/>
              <a:ext cx="3133233" cy="2564273"/>
            </a:xfrm>
            <a:custGeom>
              <a:avLst/>
              <a:gdLst>
                <a:gd name="T0" fmla="*/ 424 w 650"/>
                <a:gd name="T1" fmla="*/ 529 h 535"/>
                <a:gd name="T2" fmla="*/ 453 w 650"/>
                <a:gd name="T3" fmla="*/ 529 h 535"/>
                <a:gd name="T4" fmla="*/ 479 w 650"/>
                <a:gd name="T5" fmla="*/ 520 h 535"/>
                <a:gd name="T6" fmla="*/ 503 w 650"/>
                <a:gd name="T7" fmla="*/ 502 h 535"/>
                <a:gd name="T8" fmla="*/ 480 w 650"/>
                <a:gd name="T9" fmla="*/ 520 h 535"/>
                <a:gd name="T10" fmla="*/ 527 w 650"/>
                <a:gd name="T11" fmla="*/ 492 h 535"/>
                <a:gd name="T12" fmla="*/ 555 w 650"/>
                <a:gd name="T13" fmla="*/ 471 h 535"/>
                <a:gd name="T14" fmla="*/ 529 w 650"/>
                <a:gd name="T15" fmla="*/ 493 h 535"/>
                <a:gd name="T16" fmla="*/ 571 w 650"/>
                <a:gd name="T17" fmla="*/ 451 h 535"/>
                <a:gd name="T18" fmla="*/ 594 w 650"/>
                <a:gd name="T19" fmla="*/ 434 h 535"/>
                <a:gd name="T20" fmla="*/ 608 w 650"/>
                <a:gd name="T21" fmla="*/ 411 h 535"/>
                <a:gd name="T22" fmla="*/ 619 w 650"/>
                <a:gd name="T23" fmla="*/ 382 h 535"/>
                <a:gd name="T24" fmla="*/ 610 w 650"/>
                <a:gd name="T25" fmla="*/ 410 h 535"/>
                <a:gd name="T26" fmla="*/ 631 w 650"/>
                <a:gd name="T27" fmla="*/ 360 h 535"/>
                <a:gd name="T28" fmla="*/ 641 w 650"/>
                <a:gd name="T29" fmla="*/ 326 h 535"/>
                <a:gd name="T30" fmla="*/ 632 w 650"/>
                <a:gd name="T31" fmla="*/ 360 h 535"/>
                <a:gd name="T32" fmla="*/ 642 w 650"/>
                <a:gd name="T33" fmla="*/ 301 h 535"/>
                <a:gd name="T34" fmla="*/ 647 w 650"/>
                <a:gd name="T35" fmla="*/ 270 h 535"/>
                <a:gd name="T36" fmla="*/ 645 w 650"/>
                <a:gd name="T37" fmla="*/ 304 h 535"/>
                <a:gd name="T38" fmla="*/ 639 w 650"/>
                <a:gd name="T39" fmla="*/ 217 h 535"/>
                <a:gd name="T40" fmla="*/ 649 w 650"/>
                <a:gd name="T41" fmla="*/ 244 h 535"/>
                <a:gd name="T42" fmla="*/ 634 w 650"/>
                <a:gd name="T43" fmla="*/ 192 h 535"/>
                <a:gd name="T44" fmla="*/ 623 w 650"/>
                <a:gd name="T45" fmla="*/ 159 h 535"/>
                <a:gd name="T46" fmla="*/ 635 w 650"/>
                <a:gd name="T47" fmla="*/ 192 h 535"/>
                <a:gd name="T48" fmla="*/ 609 w 650"/>
                <a:gd name="T49" fmla="*/ 138 h 535"/>
                <a:gd name="T50" fmla="*/ 598 w 650"/>
                <a:gd name="T51" fmla="*/ 111 h 535"/>
                <a:gd name="T52" fmla="*/ 611 w 650"/>
                <a:gd name="T53" fmla="*/ 140 h 535"/>
                <a:gd name="T54" fmla="*/ 555 w 650"/>
                <a:gd name="T55" fmla="*/ 73 h 535"/>
                <a:gd name="T56" fmla="*/ 580 w 650"/>
                <a:gd name="T57" fmla="*/ 88 h 535"/>
                <a:gd name="T58" fmla="*/ 535 w 650"/>
                <a:gd name="T59" fmla="*/ 56 h 535"/>
                <a:gd name="T60" fmla="*/ 508 w 650"/>
                <a:gd name="T61" fmla="*/ 36 h 535"/>
                <a:gd name="T62" fmla="*/ 538 w 650"/>
                <a:gd name="T63" fmla="*/ 55 h 535"/>
                <a:gd name="T64" fmla="*/ 484 w 650"/>
                <a:gd name="T65" fmla="*/ 28 h 535"/>
                <a:gd name="T66" fmla="*/ 459 w 650"/>
                <a:gd name="T67" fmla="*/ 12 h 535"/>
                <a:gd name="T68" fmla="*/ 485 w 650"/>
                <a:gd name="T69" fmla="*/ 28 h 535"/>
                <a:gd name="T70" fmla="*/ 402 w 650"/>
                <a:gd name="T71" fmla="*/ 8 h 535"/>
                <a:gd name="T72" fmla="*/ 431 w 650"/>
                <a:gd name="T73" fmla="*/ 5 h 535"/>
                <a:gd name="T74" fmla="*/ 374 w 650"/>
                <a:gd name="T75" fmla="*/ 7 h 535"/>
                <a:gd name="T76" fmla="*/ 346 w 650"/>
                <a:gd name="T77" fmla="*/ 0 h 535"/>
                <a:gd name="T78" fmla="*/ 374 w 650"/>
                <a:gd name="T79" fmla="*/ 7 h 535"/>
                <a:gd name="T80" fmla="*/ 285 w 650"/>
                <a:gd name="T81" fmla="*/ 4 h 535"/>
                <a:gd name="T82" fmla="*/ 320 w 650"/>
                <a:gd name="T83" fmla="*/ 4 h 535"/>
                <a:gd name="T84" fmla="*/ 231 w 650"/>
                <a:gd name="T85" fmla="*/ 7 h 535"/>
                <a:gd name="T86" fmla="*/ 260 w 650"/>
                <a:gd name="T87" fmla="*/ 0 h 535"/>
                <a:gd name="T88" fmla="*/ 203 w 650"/>
                <a:gd name="T89" fmla="*/ 7 h 535"/>
                <a:gd name="T90" fmla="*/ 174 w 650"/>
                <a:gd name="T91" fmla="*/ 0 h 535"/>
                <a:gd name="T92" fmla="*/ 203 w 650"/>
                <a:gd name="T93" fmla="*/ 7 h 535"/>
                <a:gd name="T94" fmla="*/ 114 w 650"/>
                <a:gd name="T95" fmla="*/ 4 h 535"/>
                <a:gd name="T96" fmla="*/ 149 w 650"/>
                <a:gd name="T97" fmla="*/ 4 h 535"/>
                <a:gd name="T98" fmla="*/ 60 w 650"/>
                <a:gd name="T99" fmla="*/ 7 h 535"/>
                <a:gd name="T100" fmla="*/ 89 w 650"/>
                <a:gd name="T101" fmla="*/ 0 h 535"/>
                <a:gd name="T102" fmla="*/ 32 w 650"/>
                <a:gd name="T103" fmla="*/ 7 h 535"/>
                <a:gd name="T104" fmla="*/ 3 w 650"/>
                <a:gd name="T105" fmla="*/ 0 h 535"/>
                <a:gd name="T106" fmla="*/ 32 w 650"/>
                <a:gd name="T107" fmla="*/ 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0" h="535">
                  <a:moveTo>
                    <a:pt x="424" y="535"/>
                  </a:moveTo>
                  <a:cubicBezTo>
                    <a:pt x="423" y="535"/>
                    <a:pt x="421" y="534"/>
                    <a:pt x="421" y="532"/>
                  </a:cubicBezTo>
                  <a:cubicBezTo>
                    <a:pt x="421" y="531"/>
                    <a:pt x="422" y="529"/>
                    <a:pt x="424" y="529"/>
                  </a:cubicBezTo>
                  <a:cubicBezTo>
                    <a:pt x="433" y="527"/>
                    <a:pt x="442" y="525"/>
                    <a:pt x="451" y="523"/>
                  </a:cubicBezTo>
                  <a:cubicBezTo>
                    <a:pt x="453" y="522"/>
                    <a:pt x="455" y="523"/>
                    <a:pt x="455" y="525"/>
                  </a:cubicBezTo>
                  <a:cubicBezTo>
                    <a:pt x="455" y="527"/>
                    <a:pt x="454" y="528"/>
                    <a:pt x="453" y="529"/>
                  </a:cubicBezTo>
                  <a:cubicBezTo>
                    <a:pt x="444" y="531"/>
                    <a:pt x="434" y="533"/>
                    <a:pt x="425" y="535"/>
                  </a:cubicBezTo>
                  <a:lnTo>
                    <a:pt x="424" y="535"/>
                  </a:lnTo>
                  <a:close/>
                  <a:moveTo>
                    <a:pt x="479" y="520"/>
                  </a:moveTo>
                  <a:cubicBezTo>
                    <a:pt x="478" y="520"/>
                    <a:pt x="477" y="519"/>
                    <a:pt x="476" y="518"/>
                  </a:cubicBezTo>
                  <a:cubicBezTo>
                    <a:pt x="476" y="516"/>
                    <a:pt x="476" y="514"/>
                    <a:pt x="478" y="514"/>
                  </a:cubicBezTo>
                  <a:cubicBezTo>
                    <a:pt x="487" y="510"/>
                    <a:pt x="495" y="506"/>
                    <a:pt x="503" y="502"/>
                  </a:cubicBezTo>
                  <a:cubicBezTo>
                    <a:pt x="505" y="501"/>
                    <a:pt x="507" y="502"/>
                    <a:pt x="508" y="503"/>
                  </a:cubicBezTo>
                  <a:cubicBezTo>
                    <a:pt x="508" y="505"/>
                    <a:pt x="508" y="507"/>
                    <a:pt x="506" y="508"/>
                  </a:cubicBezTo>
                  <a:cubicBezTo>
                    <a:pt x="498" y="512"/>
                    <a:pt x="489" y="516"/>
                    <a:pt x="480" y="520"/>
                  </a:cubicBezTo>
                  <a:cubicBezTo>
                    <a:pt x="480" y="520"/>
                    <a:pt x="479" y="520"/>
                    <a:pt x="479" y="520"/>
                  </a:cubicBezTo>
                  <a:close/>
                  <a:moveTo>
                    <a:pt x="529" y="493"/>
                  </a:moveTo>
                  <a:cubicBezTo>
                    <a:pt x="528" y="493"/>
                    <a:pt x="527" y="493"/>
                    <a:pt x="527" y="492"/>
                  </a:cubicBezTo>
                  <a:cubicBezTo>
                    <a:pt x="526" y="490"/>
                    <a:pt x="526" y="489"/>
                    <a:pt x="528" y="488"/>
                  </a:cubicBezTo>
                  <a:cubicBezTo>
                    <a:pt x="535" y="482"/>
                    <a:pt x="543" y="477"/>
                    <a:pt x="550" y="471"/>
                  </a:cubicBezTo>
                  <a:cubicBezTo>
                    <a:pt x="551" y="470"/>
                    <a:pt x="553" y="470"/>
                    <a:pt x="555" y="471"/>
                  </a:cubicBezTo>
                  <a:cubicBezTo>
                    <a:pt x="556" y="472"/>
                    <a:pt x="555" y="474"/>
                    <a:pt x="554" y="475"/>
                  </a:cubicBezTo>
                  <a:cubicBezTo>
                    <a:pt x="547" y="482"/>
                    <a:pt x="539" y="487"/>
                    <a:pt x="531" y="493"/>
                  </a:cubicBezTo>
                  <a:cubicBezTo>
                    <a:pt x="531" y="493"/>
                    <a:pt x="530" y="493"/>
                    <a:pt x="529" y="493"/>
                  </a:cubicBezTo>
                  <a:close/>
                  <a:moveTo>
                    <a:pt x="573" y="457"/>
                  </a:moveTo>
                  <a:cubicBezTo>
                    <a:pt x="572" y="457"/>
                    <a:pt x="571" y="456"/>
                    <a:pt x="571" y="456"/>
                  </a:cubicBezTo>
                  <a:cubicBezTo>
                    <a:pt x="570" y="455"/>
                    <a:pt x="570" y="453"/>
                    <a:pt x="571" y="451"/>
                  </a:cubicBezTo>
                  <a:cubicBezTo>
                    <a:pt x="577" y="445"/>
                    <a:pt x="583" y="437"/>
                    <a:pt x="589" y="430"/>
                  </a:cubicBezTo>
                  <a:cubicBezTo>
                    <a:pt x="590" y="429"/>
                    <a:pt x="592" y="428"/>
                    <a:pt x="593" y="429"/>
                  </a:cubicBezTo>
                  <a:cubicBezTo>
                    <a:pt x="595" y="430"/>
                    <a:pt x="595" y="432"/>
                    <a:pt x="594" y="434"/>
                  </a:cubicBezTo>
                  <a:cubicBezTo>
                    <a:pt x="588" y="441"/>
                    <a:pt x="582" y="449"/>
                    <a:pt x="575" y="456"/>
                  </a:cubicBezTo>
                  <a:cubicBezTo>
                    <a:pt x="575" y="456"/>
                    <a:pt x="574" y="457"/>
                    <a:pt x="573" y="457"/>
                  </a:cubicBezTo>
                  <a:close/>
                  <a:moveTo>
                    <a:pt x="608" y="411"/>
                  </a:moveTo>
                  <a:cubicBezTo>
                    <a:pt x="607" y="411"/>
                    <a:pt x="607" y="411"/>
                    <a:pt x="606" y="411"/>
                  </a:cubicBezTo>
                  <a:cubicBezTo>
                    <a:pt x="605" y="410"/>
                    <a:pt x="604" y="408"/>
                    <a:pt x="605" y="407"/>
                  </a:cubicBezTo>
                  <a:cubicBezTo>
                    <a:pt x="610" y="399"/>
                    <a:pt x="615" y="390"/>
                    <a:pt x="619" y="382"/>
                  </a:cubicBezTo>
                  <a:cubicBezTo>
                    <a:pt x="619" y="380"/>
                    <a:pt x="621" y="380"/>
                    <a:pt x="623" y="381"/>
                  </a:cubicBezTo>
                  <a:cubicBezTo>
                    <a:pt x="624" y="381"/>
                    <a:pt x="625" y="383"/>
                    <a:pt x="624" y="385"/>
                  </a:cubicBezTo>
                  <a:cubicBezTo>
                    <a:pt x="620" y="393"/>
                    <a:pt x="615" y="402"/>
                    <a:pt x="610" y="410"/>
                  </a:cubicBezTo>
                  <a:cubicBezTo>
                    <a:pt x="610" y="411"/>
                    <a:pt x="609" y="411"/>
                    <a:pt x="608" y="411"/>
                  </a:cubicBezTo>
                  <a:close/>
                  <a:moveTo>
                    <a:pt x="632" y="360"/>
                  </a:moveTo>
                  <a:cubicBezTo>
                    <a:pt x="631" y="360"/>
                    <a:pt x="631" y="360"/>
                    <a:pt x="631" y="360"/>
                  </a:cubicBezTo>
                  <a:cubicBezTo>
                    <a:pt x="630" y="359"/>
                    <a:pt x="629" y="357"/>
                    <a:pt x="629" y="356"/>
                  </a:cubicBezTo>
                  <a:cubicBezTo>
                    <a:pt x="632" y="347"/>
                    <a:pt x="635" y="338"/>
                    <a:pt x="637" y="329"/>
                  </a:cubicBezTo>
                  <a:cubicBezTo>
                    <a:pt x="637" y="327"/>
                    <a:pt x="639" y="326"/>
                    <a:pt x="641" y="326"/>
                  </a:cubicBezTo>
                  <a:cubicBezTo>
                    <a:pt x="642" y="327"/>
                    <a:pt x="644" y="329"/>
                    <a:pt x="643" y="330"/>
                  </a:cubicBezTo>
                  <a:cubicBezTo>
                    <a:pt x="641" y="340"/>
                    <a:pt x="638" y="349"/>
                    <a:pt x="635" y="358"/>
                  </a:cubicBezTo>
                  <a:cubicBezTo>
                    <a:pt x="635" y="359"/>
                    <a:pt x="634" y="360"/>
                    <a:pt x="632" y="360"/>
                  </a:cubicBezTo>
                  <a:close/>
                  <a:moveTo>
                    <a:pt x="645" y="304"/>
                  </a:moveTo>
                  <a:cubicBezTo>
                    <a:pt x="645" y="304"/>
                    <a:pt x="645" y="304"/>
                    <a:pt x="645" y="304"/>
                  </a:cubicBezTo>
                  <a:cubicBezTo>
                    <a:pt x="643" y="304"/>
                    <a:pt x="642" y="303"/>
                    <a:pt x="642" y="301"/>
                  </a:cubicBezTo>
                  <a:cubicBezTo>
                    <a:pt x="643" y="292"/>
                    <a:pt x="644" y="282"/>
                    <a:pt x="644" y="273"/>
                  </a:cubicBezTo>
                  <a:cubicBezTo>
                    <a:pt x="644" y="271"/>
                    <a:pt x="645" y="270"/>
                    <a:pt x="647" y="270"/>
                  </a:cubicBezTo>
                  <a:cubicBezTo>
                    <a:pt x="647" y="270"/>
                    <a:pt x="647" y="270"/>
                    <a:pt x="647" y="270"/>
                  </a:cubicBezTo>
                  <a:cubicBezTo>
                    <a:pt x="649" y="270"/>
                    <a:pt x="650" y="271"/>
                    <a:pt x="650" y="273"/>
                  </a:cubicBezTo>
                  <a:cubicBezTo>
                    <a:pt x="650" y="283"/>
                    <a:pt x="649" y="292"/>
                    <a:pt x="648" y="302"/>
                  </a:cubicBezTo>
                  <a:cubicBezTo>
                    <a:pt x="648" y="303"/>
                    <a:pt x="647" y="304"/>
                    <a:pt x="645" y="304"/>
                  </a:cubicBezTo>
                  <a:close/>
                  <a:moveTo>
                    <a:pt x="646" y="248"/>
                  </a:moveTo>
                  <a:cubicBezTo>
                    <a:pt x="644" y="248"/>
                    <a:pt x="643" y="246"/>
                    <a:pt x="643" y="245"/>
                  </a:cubicBezTo>
                  <a:cubicBezTo>
                    <a:pt x="642" y="235"/>
                    <a:pt x="640" y="226"/>
                    <a:pt x="639" y="217"/>
                  </a:cubicBezTo>
                  <a:cubicBezTo>
                    <a:pt x="638" y="215"/>
                    <a:pt x="639" y="214"/>
                    <a:pt x="641" y="213"/>
                  </a:cubicBezTo>
                  <a:cubicBezTo>
                    <a:pt x="643" y="213"/>
                    <a:pt x="644" y="214"/>
                    <a:pt x="645" y="216"/>
                  </a:cubicBezTo>
                  <a:cubicBezTo>
                    <a:pt x="647" y="225"/>
                    <a:pt x="648" y="235"/>
                    <a:pt x="649" y="244"/>
                  </a:cubicBezTo>
                  <a:cubicBezTo>
                    <a:pt x="649" y="246"/>
                    <a:pt x="648" y="247"/>
                    <a:pt x="646" y="247"/>
                  </a:cubicBezTo>
                  <a:lnTo>
                    <a:pt x="646" y="248"/>
                  </a:lnTo>
                  <a:close/>
                  <a:moveTo>
                    <a:pt x="634" y="192"/>
                  </a:moveTo>
                  <a:cubicBezTo>
                    <a:pt x="633" y="192"/>
                    <a:pt x="632" y="191"/>
                    <a:pt x="631" y="190"/>
                  </a:cubicBezTo>
                  <a:cubicBezTo>
                    <a:pt x="629" y="181"/>
                    <a:pt x="625" y="172"/>
                    <a:pt x="621" y="163"/>
                  </a:cubicBezTo>
                  <a:cubicBezTo>
                    <a:pt x="621" y="162"/>
                    <a:pt x="621" y="160"/>
                    <a:pt x="623" y="159"/>
                  </a:cubicBezTo>
                  <a:cubicBezTo>
                    <a:pt x="625" y="158"/>
                    <a:pt x="626" y="159"/>
                    <a:pt x="627" y="161"/>
                  </a:cubicBezTo>
                  <a:cubicBezTo>
                    <a:pt x="631" y="169"/>
                    <a:pt x="634" y="179"/>
                    <a:pt x="637" y="188"/>
                  </a:cubicBezTo>
                  <a:cubicBezTo>
                    <a:pt x="638" y="189"/>
                    <a:pt x="637" y="191"/>
                    <a:pt x="635" y="192"/>
                  </a:cubicBezTo>
                  <a:lnTo>
                    <a:pt x="634" y="192"/>
                  </a:lnTo>
                  <a:close/>
                  <a:moveTo>
                    <a:pt x="611" y="140"/>
                  </a:moveTo>
                  <a:cubicBezTo>
                    <a:pt x="610" y="140"/>
                    <a:pt x="609" y="139"/>
                    <a:pt x="609" y="138"/>
                  </a:cubicBezTo>
                  <a:cubicBezTo>
                    <a:pt x="604" y="130"/>
                    <a:pt x="599" y="122"/>
                    <a:pt x="593" y="114"/>
                  </a:cubicBezTo>
                  <a:cubicBezTo>
                    <a:pt x="592" y="113"/>
                    <a:pt x="593" y="111"/>
                    <a:pt x="594" y="110"/>
                  </a:cubicBezTo>
                  <a:cubicBezTo>
                    <a:pt x="595" y="109"/>
                    <a:pt x="597" y="109"/>
                    <a:pt x="598" y="111"/>
                  </a:cubicBezTo>
                  <a:cubicBezTo>
                    <a:pt x="604" y="119"/>
                    <a:pt x="609" y="127"/>
                    <a:pt x="614" y="135"/>
                  </a:cubicBezTo>
                  <a:cubicBezTo>
                    <a:pt x="615" y="136"/>
                    <a:pt x="614" y="138"/>
                    <a:pt x="613" y="139"/>
                  </a:cubicBezTo>
                  <a:cubicBezTo>
                    <a:pt x="612" y="139"/>
                    <a:pt x="612" y="140"/>
                    <a:pt x="611" y="140"/>
                  </a:cubicBezTo>
                  <a:close/>
                  <a:moveTo>
                    <a:pt x="578" y="94"/>
                  </a:moveTo>
                  <a:cubicBezTo>
                    <a:pt x="577" y="94"/>
                    <a:pt x="576" y="93"/>
                    <a:pt x="575" y="93"/>
                  </a:cubicBezTo>
                  <a:cubicBezTo>
                    <a:pt x="569" y="86"/>
                    <a:pt x="562" y="79"/>
                    <a:pt x="555" y="73"/>
                  </a:cubicBezTo>
                  <a:cubicBezTo>
                    <a:pt x="554" y="72"/>
                    <a:pt x="554" y="70"/>
                    <a:pt x="555" y="68"/>
                  </a:cubicBezTo>
                  <a:cubicBezTo>
                    <a:pt x="556" y="67"/>
                    <a:pt x="558" y="67"/>
                    <a:pt x="559" y="68"/>
                  </a:cubicBezTo>
                  <a:cubicBezTo>
                    <a:pt x="567" y="75"/>
                    <a:pt x="574" y="81"/>
                    <a:pt x="580" y="88"/>
                  </a:cubicBezTo>
                  <a:cubicBezTo>
                    <a:pt x="581" y="90"/>
                    <a:pt x="581" y="92"/>
                    <a:pt x="580" y="93"/>
                  </a:cubicBezTo>
                  <a:cubicBezTo>
                    <a:pt x="579" y="93"/>
                    <a:pt x="578" y="94"/>
                    <a:pt x="578" y="94"/>
                  </a:cubicBezTo>
                  <a:close/>
                  <a:moveTo>
                    <a:pt x="535" y="56"/>
                  </a:moveTo>
                  <a:cubicBezTo>
                    <a:pt x="534" y="56"/>
                    <a:pt x="534" y="56"/>
                    <a:pt x="533" y="55"/>
                  </a:cubicBezTo>
                  <a:cubicBezTo>
                    <a:pt x="526" y="50"/>
                    <a:pt x="518" y="45"/>
                    <a:pt x="509" y="40"/>
                  </a:cubicBezTo>
                  <a:cubicBezTo>
                    <a:pt x="508" y="39"/>
                    <a:pt x="507" y="37"/>
                    <a:pt x="508" y="36"/>
                  </a:cubicBezTo>
                  <a:cubicBezTo>
                    <a:pt x="509" y="34"/>
                    <a:pt x="511" y="34"/>
                    <a:pt x="513" y="35"/>
                  </a:cubicBezTo>
                  <a:cubicBezTo>
                    <a:pt x="521" y="39"/>
                    <a:pt x="529" y="45"/>
                    <a:pt x="537" y="50"/>
                  </a:cubicBezTo>
                  <a:cubicBezTo>
                    <a:pt x="538" y="51"/>
                    <a:pt x="539" y="53"/>
                    <a:pt x="538" y="55"/>
                  </a:cubicBezTo>
                  <a:cubicBezTo>
                    <a:pt x="537" y="55"/>
                    <a:pt x="536" y="56"/>
                    <a:pt x="535" y="56"/>
                  </a:cubicBezTo>
                  <a:close/>
                  <a:moveTo>
                    <a:pt x="485" y="28"/>
                  </a:moveTo>
                  <a:cubicBezTo>
                    <a:pt x="485" y="28"/>
                    <a:pt x="485" y="28"/>
                    <a:pt x="484" y="28"/>
                  </a:cubicBezTo>
                  <a:cubicBezTo>
                    <a:pt x="476" y="24"/>
                    <a:pt x="467" y="21"/>
                    <a:pt x="458" y="18"/>
                  </a:cubicBezTo>
                  <a:cubicBezTo>
                    <a:pt x="456" y="18"/>
                    <a:pt x="455" y="16"/>
                    <a:pt x="456" y="14"/>
                  </a:cubicBezTo>
                  <a:cubicBezTo>
                    <a:pt x="456" y="13"/>
                    <a:pt x="458" y="12"/>
                    <a:pt x="459" y="12"/>
                  </a:cubicBezTo>
                  <a:cubicBezTo>
                    <a:pt x="469" y="15"/>
                    <a:pt x="478" y="18"/>
                    <a:pt x="487" y="22"/>
                  </a:cubicBezTo>
                  <a:cubicBezTo>
                    <a:pt x="488" y="23"/>
                    <a:pt x="489" y="24"/>
                    <a:pt x="488" y="26"/>
                  </a:cubicBezTo>
                  <a:cubicBezTo>
                    <a:pt x="488" y="27"/>
                    <a:pt x="487" y="28"/>
                    <a:pt x="485" y="28"/>
                  </a:cubicBezTo>
                  <a:close/>
                  <a:moveTo>
                    <a:pt x="431" y="11"/>
                  </a:moveTo>
                  <a:cubicBezTo>
                    <a:pt x="430" y="11"/>
                    <a:pt x="430" y="11"/>
                    <a:pt x="430" y="11"/>
                  </a:cubicBezTo>
                  <a:cubicBezTo>
                    <a:pt x="421" y="10"/>
                    <a:pt x="412" y="8"/>
                    <a:pt x="402" y="8"/>
                  </a:cubicBezTo>
                  <a:cubicBezTo>
                    <a:pt x="401" y="7"/>
                    <a:pt x="399" y="6"/>
                    <a:pt x="400" y="4"/>
                  </a:cubicBezTo>
                  <a:cubicBezTo>
                    <a:pt x="400" y="2"/>
                    <a:pt x="401" y="1"/>
                    <a:pt x="403" y="1"/>
                  </a:cubicBezTo>
                  <a:cubicBezTo>
                    <a:pt x="412" y="2"/>
                    <a:pt x="422" y="3"/>
                    <a:pt x="431" y="5"/>
                  </a:cubicBezTo>
                  <a:cubicBezTo>
                    <a:pt x="433" y="6"/>
                    <a:pt x="434" y="7"/>
                    <a:pt x="434" y="9"/>
                  </a:cubicBezTo>
                  <a:cubicBezTo>
                    <a:pt x="434" y="10"/>
                    <a:pt x="432" y="11"/>
                    <a:pt x="431" y="11"/>
                  </a:cubicBezTo>
                  <a:close/>
                  <a:moveTo>
                    <a:pt x="374" y="7"/>
                  </a:moveTo>
                  <a:cubicBezTo>
                    <a:pt x="346" y="7"/>
                    <a:pt x="346" y="7"/>
                    <a:pt x="346" y="7"/>
                  </a:cubicBezTo>
                  <a:cubicBezTo>
                    <a:pt x="344" y="7"/>
                    <a:pt x="342" y="5"/>
                    <a:pt x="342" y="4"/>
                  </a:cubicBezTo>
                  <a:cubicBezTo>
                    <a:pt x="342" y="2"/>
                    <a:pt x="344" y="0"/>
                    <a:pt x="346" y="0"/>
                  </a:cubicBezTo>
                  <a:cubicBezTo>
                    <a:pt x="374" y="0"/>
                    <a:pt x="374" y="0"/>
                    <a:pt x="374" y="0"/>
                  </a:cubicBezTo>
                  <a:cubicBezTo>
                    <a:pt x="376" y="0"/>
                    <a:pt x="377" y="2"/>
                    <a:pt x="377" y="4"/>
                  </a:cubicBezTo>
                  <a:cubicBezTo>
                    <a:pt x="377" y="5"/>
                    <a:pt x="376" y="7"/>
                    <a:pt x="374" y="7"/>
                  </a:cubicBezTo>
                  <a:close/>
                  <a:moveTo>
                    <a:pt x="317" y="7"/>
                  </a:moveTo>
                  <a:cubicBezTo>
                    <a:pt x="288" y="7"/>
                    <a:pt x="288" y="7"/>
                    <a:pt x="288" y="7"/>
                  </a:cubicBezTo>
                  <a:cubicBezTo>
                    <a:pt x="287" y="7"/>
                    <a:pt x="285" y="5"/>
                    <a:pt x="285" y="4"/>
                  </a:cubicBezTo>
                  <a:cubicBezTo>
                    <a:pt x="285" y="2"/>
                    <a:pt x="287" y="0"/>
                    <a:pt x="288" y="0"/>
                  </a:cubicBezTo>
                  <a:cubicBezTo>
                    <a:pt x="317" y="0"/>
                    <a:pt x="317" y="0"/>
                    <a:pt x="317" y="0"/>
                  </a:cubicBezTo>
                  <a:cubicBezTo>
                    <a:pt x="319" y="0"/>
                    <a:pt x="320" y="2"/>
                    <a:pt x="320" y="4"/>
                  </a:cubicBezTo>
                  <a:cubicBezTo>
                    <a:pt x="320" y="5"/>
                    <a:pt x="319" y="7"/>
                    <a:pt x="317" y="7"/>
                  </a:cubicBezTo>
                  <a:close/>
                  <a:moveTo>
                    <a:pt x="260" y="7"/>
                  </a:moveTo>
                  <a:cubicBezTo>
                    <a:pt x="231" y="7"/>
                    <a:pt x="231" y="7"/>
                    <a:pt x="231" y="7"/>
                  </a:cubicBezTo>
                  <a:cubicBezTo>
                    <a:pt x="230" y="7"/>
                    <a:pt x="228" y="5"/>
                    <a:pt x="228" y="4"/>
                  </a:cubicBezTo>
                  <a:cubicBezTo>
                    <a:pt x="228" y="2"/>
                    <a:pt x="230" y="0"/>
                    <a:pt x="231" y="0"/>
                  </a:cubicBezTo>
                  <a:cubicBezTo>
                    <a:pt x="260" y="0"/>
                    <a:pt x="260" y="0"/>
                    <a:pt x="260" y="0"/>
                  </a:cubicBezTo>
                  <a:cubicBezTo>
                    <a:pt x="262" y="0"/>
                    <a:pt x="263" y="2"/>
                    <a:pt x="263" y="4"/>
                  </a:cubicBezTo>
                  <a:cubicBezTo>
                    <a:pt x="263" y="5"/>
                    <a:pt x="262" y="7"/>
                    <a:pt x="260" y="7"/>
                  </a:cubicBezTo>
                  <a:close/>
                  <a:moveTo>
                    <a:pt x="203" y="7"/>
                  </a:moveTo>
                  <a:cubicBezTo>
                    <a:pt x="174" y="7"/>
                    <a:pt x="174" y="7"/>
                    <a:pt x="174" y="7"/>
                  </a:cubicBezTo>
                  <a:cubicBezTo>
                    <a:pt x="173" y="7"/>
                    <a:pt x="171" y="5"/>
                    <a:pt x="171" y="4"/>
                  </a:cubicBezTo>
                  <a:cubicBezTo>
                    <a:pt x="171" y="2"/>
                    <a:pt x="173" y="0"/>
                    <a:pt x="174" y="0"/>
                  </a:cubicBezTo>
                  <a:cubicBezTo>
                    <a:pt x="203" y="0"/>
                    <a:pt x="203" y="0"/>
                    <a:pt x="203" y="0"/>
                  </a:cubicBezTo>
                  <a:cubicBezTo>
                    <a:pt x="205" y="0"/>
                    <a:pt x="206" y="2"/>
                    <a:pt x="206" y="4"/>
                  </a:cubicBezTo>
                  <a:cubicBezTo>
                    <a:pt x="206" y="5"/>
                    <a:pt x="205" y="7"/>
                    <a:pt x="203" y="7"/>
                  </a:cubicBezTo>
                  <a:close/>
                  <a:moveTo>
                    <a:pt x="146" y="7"/>
                  </a:moveTo>
                  <a:cubicBezTo>
                    <a:pt x="117" y="7"/>
                    <a:pt x="117" y="7"/>
                    <a:pt x="117" y="7"/>
                  </a:cubicBezTo>
                  <a:cubicBezTo>
                    <a:pt x="115" y="7"/>
                    <a:pt x="114" y="5"/>
                    <a:pt x="114" y="4"/>
                  </a:cubicBezTo>
                  <a:cubicBezTo>
                    <a:pt x="114" y="2"/>
                    <a:pt x="115" y="0"/>
                    <a:pt x="117" y="0"/>
                  </a:cubicBezTo>
                  <a:cubicBezTo>
                    <a:pt x="146" y="0"/>
                    <a:pt x="146" y="0"/>
                    <a:pt x="146" y="0"/>
                  </a:cubicBezTo>
                  <a:cubicBezTo>
                    <a:pt x="147" y="0"/>
                    <a:pt x="149" y="2"/>
                    <a:pt x="149" y="4"/>
                  </a:cubicBezTo>
                  <a:cubicBezTo>
                    <a:pt x="149" y="5"/>
                    <a:pt x="147" y="7"/>
                    <a:pt x="146" y="7"/>
                  </a:cubicBezTo>
                  <a:close/>
                  <a:moveTo>
                    <a:pt x="89" y="7"/>
                  </a:moveTo>
                  <a:cubicBezTo>
                    <a:pt x="60" y="7"/>
                    <a:pt x="60" y="7"/>
                    <a:pt x="60" y="7"/>
                  </a:cubicBezTo>
                  <a:cubicBezTo>
                    <a:pt x="58" y="7"/>
                    <a:pt x="57" y="5"/>
                    <a:pt x="57" y="4"/>
                  </a:cubicBezTo>
                  <a:cubicBezTo>
                    <a:pt x="57" y="2"/>
                    <a:pt x="58" y="0"/>
                    <a:pt x="60" y="0"/>
                  </a:cubicBezTo>
                  <a:cubicBezTo>
                    <a:pt x="89" y="0"/>
                    <a:pt x="89" y="0"/>
                    <a:pt x="89" y="0"/>
                  </a:cubicBezTo>
                  <a:cubicBezTo>
                    <a:pt x="90" y="0"/>
                    <a:pt x="92" y="2"/>
                    <a:pt x="92" y="4"/>
                  </a:cubicBezTo>
                  <a:cubicBezTo>
                    <a:pt x="92" y="5"/>
                    <a:pt x="90" y="7"/>
                    <a:pt x="89" y="7"/>
                  </a:cubicBezTo>
                  <a:close/>
                  <a:moveTo>
                    <a:pt x="32" y="7"/>
                  </a:moveTo>
                  <a:cubicBezTo>
                    <a:pt x="3" y="7"/>
                    <a:pt x="3" y="7"/>
                    <a:pt x="3" y="7"/>
                  </a:cubicBezTo>
                  <a:cubicBezTo>
                    <a:pt x="1" y="7"/>
                    <a:pt x="0" y="5"/>
                    <a:pt x="0" y="4"/>
                  </a:cubicBezTo>
                  <a:cubicBezTo>
                    <a:pt x="0" y="2"/>
                    <a:pt x="1" y="0"/>
                    <a:pt x="3" y="0"/>
                  </a:cubicBezTo>
                  <a:cubicBezTo>
                    <a:pt x="32" y="0"/>
                    <a:pt x="32" y="0"/>
                    <a:pt x="32" y="0"/>
                  </a:cubicBezTo>
                  <a:cubicBezTo>
                    <a:pt x="33" y="0"/>
                    <a:pt x="35" y="2"/>
                    <a:pt x="35" y="4"/>
                  </a:cubicBezTo>
                  <a:cubicBezTo>
                    <a:pt x="35" y="5"/>
                    <a:pt x="33" y="7"/>
                    <a:pt x="32"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 name="Freeform 1044">
              <a:extLst>
                <a:ext uri="{FF2B5EF4-FFF2-40B4-BE49-F238E27FC236}">
                  <a16:creationId xmlns:a16="http://schemas.microsoft.com/office/drawing/2014/main" id="{C547FC27-1E4D-4EA5-8CD5-FEBB342DBD82}"/>
                </a:ext>
              </a:extLst>
            </p:cNvPr>
            <p:cNvSpPr>
              <a:spLocks/>
            </p:cNvSpPr>
            <p:nvPr/>
          </p:nvSpPr>
          <p:spPr bwMode="auto">
            <a:xfrm>
              <a:off x="10422238" y="4678668"/>
              <a:ext cx="102729" cy="27658"/>
            </a:xfrm>
            <a:custGeom>
              <a:avLst/>
              <a:gdLst>
                <a:gd name="T0" fmla="*/ 3 w 21"/>
                <a:gd name="T1" fmla="*/ 6 h 6"/>
                <a:gd name="T2" fmla="*/ 0 w 21"/>
                <a:gd name="T3" fmla="*/ 3 h 6"/>
                <a:gd name="T4" fmla="*/ 3 w 21"/>
                <a:gd name="T5" fmla="*/ 0 h 6"/>
                <a:gd name="T6" fmla="*/ 17 w 21"/>
                <a:gd name="T7" fmla="*/ 0 h 6"/>
                <a:gd name="T8" fmla="*/ 21 w 21"/>
                <a:gd name="T9" fmla="*/ 3 h 6"/>
                <a:gd name="T10" fmla="*/ 18 w 21"/>
                <a:gd name="T11" fmla="*/ 6 h 6"/>
                <a:gd name="T12" fmla="*/ 3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3" y="6"/>
                  </a:moveTo>
                  <a:cubicBezTo>
                    <a:pt x="1" y="6"/>
                    <a:pt x="0" y="5"/>
                    <a:pt x="0" y="3"/>
                  </a:cubicBezTo>
                  <a:cubicBezTo>
                    <a:pt x="0" y="2"/>
                    <a:pt x="1" y="0"/>
                    <a:pt x="3" y="0"/>
                  </a:cubicBezTo>
                  <a:cubicBezTo>
                    <a:pt x="8" y="0"/>
                    <a:pt x="13" y="0"/>
                    <a:pt x="17" y="0"/>
                  </a:cubicBezTo>
                  <a:cubicBezTo>
                    <a:pt x="19" y="0"/>
                    <a:pt x="20" y="1"/>
                    <a:pt x="21" y="3"/>
                  </a:cubicBezTo>
                  <a:cubicBezTo>
                    <a:pt x="21" y="5"/>
                    <a:pt x="19" y="6"/>
                    <a:pt x="18" y="6"/>
                  </a:cubicBezTo>
                  <a:cubicBezTo>
                    <a:pt x="13" y="6"/>
                    <a:pt x="8" y="6"/>
                    <a:pt x="3" y="6"/>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 name="Freeform 347">
              <a:extLst>
                <a:ext uri="{FF2B5EF4-FFF2-40B4-BE49-F238E27FC236}">
                  <a16:creationId xmlns:a16="http://schemas.microsoft.com/office/drawing/2014/main" id="{6D7308FD-52E6-41D5-A3A0-3E67CE638DDA}"/>
                </a:ext>
              </a:extLst>
            </p:cNvPr>
            <p:cNvSpPr>
              <a:spLocks noEditPoints="1"/>
            </p:cNvSpPr>
            <p:nvPr/>
          </p:nvSpPr>
          <p:spPr bwMode="auto">
            <a:xfrm>
              <a:off x="9374146" y="2336732"/>
              <a:ext cx="2142550" cy="2131863"/>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90000"/>
                <a:lumOff val="10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 name="Oval 19">
              <a:extLst>
                <a:ext uri="{FF2B5EF4-FFF2-40B4-BE49-F238E27FC236}">
                  <a16:creationId xmlns:a16="http://schemas.microsoft.com/office/drawing/2014/main" id="{A5C0477E-6F2A-4A68-B0A2-018A5F1A932F}"/>
                </a:ext>
              </a:extLst>
            </p:cNvPr>
            <p:cNvSpPr/>
            <p:nvPr/>
          </p:nvSpPr>
          <p:spPr bwMode="auto">
            <a:xfrm>
              <a:off x="9717866" y="2675109"/>
              <a:ext cx="1455110" cy="1455109"/>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353535"/>
                </a:solidFill>
                <a:effectLst/>
                <a:uLnTx/>
                <a:uFillTx/>
                <a:ea typeface="Segoe UI" pitchFamily="34" charset="0"/>
                <a:cs typeface="Segoe UI" pitchFamily="34" charset="0"/>
              </a:endParaRPr>
            </a:p>
          </p:txBody>
        </p:sp>
        <p:sp>
          <p:nvSpPr>
            <p:cNvPr id="21" name="Circle: Hollow 20">
              <a:extLst>
                <a:ext uri="{FF2B5EF4-FFF2-40B4-BE49-F238E27FC236}">
                  <a16:creationId xmlns:a16="http://schemas.microsoft.com/office/drawing/2014/main" id="{77C6BBD3-BED1-450E-A88E-A499E4EA418A}"/>
                </a:ext>
              </a:extLst>
            </p:cNvPr>
            <p:cNvSpPr/>
            <p:nvPr/>
          </p:nvSpPr>
          <p:spPr bwMode="auto">
            <a:xfrm>
              <a:off x="9717866" y="2675109"/>
              <a:ext cx="1455110" cy="1455109"/>
            </a:xfrm>
            <a:prstGeom prst="donut">
              <a:avLst>
                <a:gd name="adj" fmla="val 4852"/>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353535"/>
                </a:solidFill>
                <a:effectLst/>
                <a:uLnTx/>
                <a:uFillTx/>
                <a:ea typeface="Segoe UI" pitchFamily="34" charset="0"/>
                <a:cs typeface="Segoe UI" pitchFamily="34" charset="0"/>
              </a:endParaRPr>
            </a:p>
          </p:txBody>
        </p:sp>
        <p:grpSp>
          <p:nvGrpSpPr>
            <p:cNvPr id="22" name="Group 21">
              <a:extLst>
                <a:ext uri="{FF2B5EF4-FFF2-40B4-BE49-F238E27FC236}">
                  <a16:creationId xmlns:a16="http://schemas.microsoft.com/office/drawing/2014/main" id="{8D4F84D0-0F3E-49A9-B074-029D3038354F}"/>
                </a:ext>
              </a:extLst>
            </p:cNvPr>
            <p:cNvGrpSpPr/>
            <p:nvPr/>
          </p:nvGrpSpPr>
          <p:grpSpPr>
            <a:xfrm>
              <a:off x="7203504" y="4333342"/>
              <a:ext cx="2142550" cy="2131863"/>
              <a:chOff x="2781727" y="3704522"/>
              <a:chExt cx="2286062" cy="2274660"/>
            </a:xfrm>
          </p:grpSpPr>
          <p:sp>
            <p:nvSpPr>
              <p:cNvPr id="312" name="Freeform 347">
                <a:extLst>
                  <a:ext uri="{FF2B5EF4-FFF2-40B4-BE49-F238E27FC236}">
                    <a16:creationId xmlns:a16="http://schemas.microsoft.com/office/drawing/2014/main" id="{CC09302B-2670-479A-981D-C5ABFAD01BDC}"/>
                  </a:ext>
                </a:extLst>
              </p:cNvPr>
              <p:cNvSpPr>
                <a:spLocks noEditPoints="1"/>
              </p:cNvSpPr>
              <p:nvPr/>
            </p:nvSpPr>
            <p:spPr bwMode="auto">
              <a:xfrm>
                <a:off x="2781727" y="3704522"/>
                <a:ext cx="2286062" cy="227466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13" name="Oval 312">
                <a:extLst>
                  <a:ext uri="{FF2B5EF4-FFF2-40B4-BE49-F238E27FC236}">
                    <a16:creationId xmlns:a16="http://schemas.microsoft.com/office/drawing/2014/main" id="{D374D0EC-DD79-4699-9842-43C0B44CF4A1}"/>
                  </a:ext>
                </a:extLst>
              </p:cNvPr>
              <p:cNvSpPr/>
              <p:nvPr/>
            </p:nvSpPr>
            <p:spPr bwMode="auto">
              <a:xfrm>
                <a:off x="3148470" y="4065564"/>
                <a:ext cx="1552576" cy="1552576"/>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353535"/>
                  </a:solidFill>
                  <a:effectLst/>
                  <a:uLnTx/>
                  <a:uFillTx/>
                  <a:ea typeface="Segoe UI" pitchFamily="34" charset="0"/>
                  <a:cs typeface="Segoe UI" pitchFamily="34" charset="0"/>
                </a:endParaRPr>
              </a:p>
            </p:txBody>
          </p:sp>
          <p:sp>
            <p:nvSpPr>
              <p:cNvPr id="314" name="Circle: Hollow 313">
                <a:extLst>
                  <a:ext uri="{FF2B5EF4-FFF2-40B4-BE49-F238E27FC236}">
                    <a16:creationId xmlns:a16="http://schemas.microsoft.com/office/drawing/2014/main" id="{551C2D8E-F384-4754-8C63-481712804D3D}"/>
                  </a:ext>
                </a:extLst>
              </p:cNvPr>
              <p:cNvSpPr/>
              <p:nvPr/>
            </p:nvSpPr>
            <p:spPr bwMode="auto">
              <a:xfrm>
                <a:off x="3148470" y="4065564"/>
                <a:ext cx="1552576" cy="1552576"/>
              </a:xfrm>
              <a:prstGeom prst="donut">
                <a:avLst>
                  <a:gd name="adj" fmla="val 5255"/>
                </a:avLst>
              </a:prstGeom>
              <a:solidFill>
                <a:srgbClr val="0078D7">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3" name="Freeform 11">
              <a:extLst>
                <a:ext uri="{FF2B5EF4-FFF2-40B4-BE49-F238E27FC236}">
                  <a16:creationId xmlns:a16="http://schemas.microsoft.com/office/drawing/2014/main" id="{C1AE905A-FF2F-4E65-818C-05D4D63168C9}"/>
                </a:ext>
              </a:extLst>
            </p:cNvPr>
            <p:cNvSpPr>
              <a:spLocks noEditPoints="1"/>
            </p:cNvSpPr>
            <p:nvPr/>
          </p:nvSpPr>
          <p:spPr bwMode="auto">
            <a:xfrm>
              <a:off x="9446255" y="4448492"/>
              <a:ext cx="871883" cy="876474"/>
            </a:xfrm>
            <a:custGeom>
              <a:avLst/>
              <a:gdLst>
                <a:gd name="T0" fmla="*/ 78 w 88"/>
                <a:gd name="T1" fmla="*/ 44 h 89"/>
                <a:gd name="T2" fmla="*/ 79 w 88"/>
                <a:gd name="T3" fmla="*/ 34 h 89"/>
                <a:gd name="T4" fmla="*/ 74 w 88"/>
                <a:gd name="T5" fmla="*/ 23 h 89"/>
                <a:gd name="T6" fmla="*/ 65 w 88"/>
                <a:gd name="T7" fmla="*/ 18 h 89"/>
                <a:gd name="T8" fmla="*/ 64 w 88"/>
                <a:gd name="T9" fmla="*/ 5 h 89"/>
                <a:gd name="T10" fmla="*/ 54 w 88"/>
                <a:gd name="T11" fmla="*/ 12 h 89"/>
                <a:gd name="T12" fmla="*/ 44 w 88"/>
                <a:gd name="T13" fmla="*/ 8 h 89"/>
                <a:gd name="T14" fmla="*/ 32 w 88"/>
                <a:gd name="T15" fmla="*/ 10 h 89"/>
                <a:gd name="T16" fmla="*/ 24 w 88"/>
                <a:gd name="T17" fmla="*/ 17 h 89"/>
                <a:gd name="T18" fmla="*/ 12 w 88"/>
                <a:gd name="T19" fmla="*/ 14 h 89"/>
                <a:gd name="T20" fmla="*/ 16 w 88"/>
                <a:gd name="T21" fmla="*/ 25 h 89"/>
                <a:gd name="T22" fmla="*/ 9 w 88"/>
                <a:gd name="T23" fmla="*/ 33 h 89"/>
                <a:gd name="T24" fmla="*/ 7 w 88"/>
                <a:gd name="T25" fmla="*/ 45 h 89"/>
                <a:gd name="T26" fmla="*/ 11 w 88"/>
                <a:gd name="T27" fmla="*/ 55 h 89"/>
                <a:gd name="T28" fmla="*/ 5 w 88"/>
                <a:gd name="T29" fmla="*/ 65 h 89"/>
                <a:gd name="T30" fmla="*/ 17 w 88"/>
                <a:gd name="T31" fmla="*/ 66 h 89"/>
                <a:gd name="T32" fmla="*/ 22 w 88"/>
                <a:gd name="T33" fmla="*/ 75 h 89"/>
                <a:gd name="T34" fmla="*/ 33 w 88"/>
                <a:gd name="T35" fmla="*/ 80 h 89"/>
                <a:gd name="T36" fmla="*/ 43 w 88"/>
                <a:gd name="T37" fmla="*/ 79 h 89"/>
                <a:gd name="T38" fmla="*/ 51 w 88"/>
                <a:gd name="T39" fmla="*/ 89 h 89"/>
                <a:gd name="T40" fmla="*/ 55 w 88"/>
                <a:gd name="T41" fmla="*/ 77 h 89"/>
                <a:gd name="T42" fmla="*/ 65 w 88"/>
                <a:gd name="T43" fmla="*/ 75 h 89"/>
                <a:gd name="T44" fmla="*/ 74 w 88"/>
                <a:gd name="T45" fmla="*/ 66 h 89"/>
                <a:gd name="T46" fmla="*/ 76 w 88"/>
                <a:gd name="T47" fmla="*/ 56 h 89"/>
                <a:gd name="T48" fmla="*/ 88 w 88"/>
                <a:gd name="T49" fmla="*/ 52 h 89"/>
                <a:gd name="T50" fmla="*/ 60 w 88"/>
                <a:gd name="T51" fmla="*/ 61 h 89"/>
                <a:gd name="T52" fmla="*/ 41 w 88"/>
                <a:gd name="T53" fmla="*/ 67 h 89"/>
                <a:gd name="T54" fmla="*/ 28 w 88"/>
                <a:gd name="T55" fmla="*/ 60 h 89"/>
                <a:gd name="T56" fmla="*/ 22 w 88"/>
                <a:gd name="T57" fmla="*/ 48 h 89"/>
                <a:gd name="T58" fmla="*/ 33 w 88"/>
                <a:gd name="T59" fmla="*/ 25 h 89"/>
                <a:gd name="T60" fmla="*/ 59 w 88"/>
                <a:gd name="T61" fmla="*/ 28 h 89"/>
                <a:gd name="T62" fmla="*/ 64 w 88"/>
                <a:gd name="T63" fmla="*/ 54 h 89"/>
                <a:gd name="T64" fmla="*/ 60 w 88"/>
                <a:gd name="T65"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81" y="45"/>
                  </a:moveTo>
                  <a:cubicBezTo>
                    <a:pt x="78" y="44"/>
                    <a:pt x="78" y="44"/>
                    <a:pt x="78" y="44"/>
                  </a:cubicBezTo>
                  <a:cubicBezTo>
                    <a:pt x="78" y="41"/>
                    <a:pt x="78" y="38"/>
                    <a:pt x="77" y="35"/>
                  </a:cubicBezTo>
                  <a:cubicBezTo>
                    <a:pt x="79" y="34"/>
                    <a:pt x="79" y="34"/>
                    <a:pt x="79" y="34"/>
                  </a:cubicBezTo>
                  <a:cubicBezTo>
                    <a:pt x="83" y="32"/>
                    <a:pt x="85" y="29"/>
                    <a:pt x="83" y="25"/>
                  </a:cubicBezTo>
                  <a:cubicBezTo>
                    <a:pt x="81" y="21"/>
                    <a:pt x="77" y="21"/>
                    <a:pt x="74" y="23"/>
                  </a:cubicBezTo>
                  <a:cubicBezTo>
                    <a:pt x="71" y="24"/>
                    <a:pt x="71" y="24"/>
                    <a:pt x="71" y="24"/>
                  </a:cubicBezTo>
                  <a:cubicBezTo>
                    <a:pt x="69" y="22"/>
                    <a:pt x="67" y="19"/>
                    <a:pt x="65" y="18"/>
                  </a:cubicBezTo>
                  <a:cubicBezTo>
                    <a:pt x="66" y="15"/>
                    <a:pt x="66" y="15"/>
                    <a:pt x="66" y="15"/>
                  </a:cubicBezTo>
                  <a:cubicBezTo>
                    <a:pt x="68" y="12"/>
                    <a:pt x="68" y="7"/>
                    <a:pt x="64" y="5"/>
                  </a:cubicBezTo>
                  <a:cubicBezTo>
                    <a:pt x="60" y="4"/>
                    <a:pt x="57" y="7"/>
                    <a:pt x="55" y="10"/>
                  </a:cubicBezTo>
                  <a:cubicBezTo>
                    <a:pt x="54" y="12"/>
                    <a:pt x="54" y="12"/>
                    <a:pt x="54" y="12"/>
                  </a:cubicBezTo>
                  <a:cubicBezTo>
                    <a:pt x="51" y="11"/>
                    <a:pt x="48" y="11"/>
                    <a:pt x="45" y="11"/>
                  </a:cubicBezTo>
                  <a:cubicBezTo>
                    <a:pt x="44" y="8"/>
                    <a:pt x="44" y="8"/>
                    <a:pt x="44" y="8"/>
                  </a:cubicBezTo>
                  <a:cubicBezTo>
                    <a:pt x="44" y="4"/>
                    <a:pt x="41" y="0"/>
                    <a:pt x="37" y="1"/>
                  </a:cubicBezTo>
                  <a:cubicBezTo>
                    <a:pt x="33" y="2"/>
                    <a:pt x="32" y="6"/>
                    <a:pt x="32" y="10"/>
                  </a:cubicBezTo>
                  <a:cubicBezTo>
                    <a:pt x="33" y="13"/>
                    <a:pt x="33" y="13"/>
                    <a:pt x="33" y="13"/>
                  </a:cubicBezTo>
                  <a:cubicBezTo>
                    <a:pt x="30" y="14"/>
                    <a:pt x="27" y="15"/>
                    <a:pt x="24" y="17"/>
                  </a:cubicBezTo>
                  <a:cubicBezTo>
                    <a:pt x="23" y="15"/>
                    <a:pt x="23" y="15"/>
                    <a:pt x="23" y="15"/>
                  </a:cubicBezTo>
                  <a:cubicBezTo>
                    <a:pt x="20" y="12"/>
                    <a:pt x="15" y="11"/>
                    <a:pt x="12" y="14"/>
                  </a:cubicBezTo>
                  <a:cubicBezTo>
                    <a:pt x="10" y="17"/>
                    <a:pt x="11" y="21"/>
                    <a:pt x="14" y="24"/>
                  </a:cubicBezTo>
                  <a:cubicBezTo>
                    <a:pt x="16" y="25"/>
                    <a:pt x="16" y="25"/>
                    <a:pt x="16" y="25"/>
                  </a:cubicBezTo>
                  <a:cubicBezTo>
                    <a:pt x="14" y="28"/>
                    <a:pt x="13" y="31"/>
                    <a:pt x="12" y="34"/>
                  </a:cubicBezTo>
                  <a:cubicBezTo>
                    <a:pt x="9" y="33"/>
                    <a:pt x="9" y="33"/>
                    <a:pt x="9" y="33"/>
                  </a:cubicBezTo>
                  <a:cubicBezTo>
                    <a:pt x="5" y="33"/>
                    <a:pt x="1" y="34"/>
                    <a:pt x="0" y="38"/>
                  </a:cubicBezTo>
                  <a:cubicBezTo>
                    <a:pt x="0" y="42"/>
                    <a:pt x="4" y="45"/>
                    <a:pt x="7" y="45"/>
                  </a:cubicBezTo>
                  <a:cubicBezTo>
                    <a:pt x="10" y="46"/>
                    <a:pt x="10" y="46"/>
                    <a:pt x="10" y="46"/>
                  </a:cubicBezTo>
                  <a:cubicBezTo>
                    <a:pt x="10" y="49"/>
                    <a:pt x="10" y="52"/>
                    <a:pt x="11" y="55"/>
                  </a:cubicBezTo>
                  <a:cubicBezTo>
                    <a:pt x="9" y="56"/>
                    <a:pt x="9" y="56"/>
                    <a:pt x="9" y="56"/>
                  </a:cubicBezTo>
                  <a:cubicBezTo>
                    <a:pt x="5" y="58"/>
                    <a:pt x="3" y="61"/>
                    <a:pt x="5" y="65"/>
                  </a:cubicBezTo>
                  <a:cubicBezTo>
                    <a:pt x="6" y="69"/>
                    <a:pt x="11" y="69"/>
                    <a:pt x="14" y="67"/>
                  </a:cubicBezTo>
                  <a:cubicBezTo>
                    <a:pt x="17" y="66"/>
                    <a:pt x="17" y="66"/>
                    <a:pt x="17" y="66"/>
                  </a:cubicBezTo>
                  <a:cubicBezTo>
                    <a:pt x="19" y="68"/>
                    <a:pt x="21" y="70"/>
                    <a:pt x="23" y="72"/>
                  </a:cubicBezTo>
                  <a:cubicBezTo>
                    <a:pt x="22" y="75"/>
                    <a:pt x="22" y="75"/>
                    <a:pt x="22" y="75"/>
                  </a:cubicBezTo>
                  <a:cubicBezTo>
                    <a:pt x="20" y="78"/>
                    <a:pt x="20" y="83"/>
                    <a:pt x="24" y="84"/>
                  </a:cubicBezTo>
                  <a:cubicBezTo>
                    <a:pt x="28" y="86"/>
                    <a:pt x="31" y="83"/>
                    <a:pt x="33" y="80"/>
                  </a:cubicBezTo>
                  <a:cubicBezTo>
                    <a:pt x="34" y="78"/>
                    <a:pt x="34" y="78"/>
                    <a:pt x="34" y="78"/>
                  </a:cubicBezTo>
                  <a:cubicBezTo>
                    <a:pt x="37" y="79"/>
                    <a:pt x="40" y="79"/>
                    <a:pt x="43" y="79"/>
                  </a:cubicBezTo>
                  <a:cubicBezTo>
                    <a:pt x="44" y="82"/>
                    <a:pt x="44" y="82"/>
                    <a:pt x="44" y="82"/>
                  </a:cubicBezTo>
                  <a:cubicBezTo>
                    <a:pt x="44" y="86"/>
                    <a:pt x="47" y="89"/>
                    <a:pt x="51" y="89"/>
                  </a:cubicBezTo>
                  <a:cubicBezTo>
                    <a:pt x="55" y="88"/>
                    <a:pt x="56" y="84"/>
                    <a:pt x="56" y="80"/>
                  </a:cubicBezTo>
                  <a:cubicBezTo>
                    <a:pt x="55" y="77"/>
                    <a:pt x="55" y="77"/>
                    <a:pt x="55" y="77"/>
                  </a:cubicBezTo>
                  <a:cubicBezTo>
                    <a:pt x="58" y="76"/>
                    <a:pt x="61" y="75"/>
                    <a:pt x="63" y="73"/>
                  </a:cubicBezTo>
                  <a:cubicBezTo>
                    <a:pt x="65" y="75"/>
                    <a:pt x="65" y="75"/>
                    <a:pt x="65" y="75"/>
                  </a:cubicBezTo>
                  <a:cubicBezTo>
                    <a:pt x="68" y="78"/>
                    <a:pt x="72" y="79"/>
                    <a:pt x="75" y="76"/>
                  </a:cubicBezTo>
                  <a:cubicBezTo>
                    <a:pt x="78" y="73"/>
                    <a:pt x="77" y="69"/>
                    <a:pt x="74" y="66"/>
                  </a:cubicBezTo>
                  <a:cubicBezTo>
                    <a:pt x="72" y="64"/>
                    <a:pt x="72" y="64"/>
                    <a:pt x="72" y="64"/>
                  </a:cubicBezTo>
                  <a:cubicBezTo>
                    <a:pt x="74" y="62"/>
                    <a:pt x="75" y="59"/>
                    <a:pt x="76" y="56"/>
                  </a:cubicBezTo>
                  <a:cubicBezTo>
                    <a:pt x="79" y="57"/>
                    <a:pt x="79" y="57"/>
                    <a:pt x="79" y="57"/>
                  </a:cubicBezTo>
                  <a:cubicBezTo>
                    <a:pt x="83" y="57"/>
                    <a:pt x="87" y="56"/>
                    <a:pt x="88" y="52"/>
                  </a:cubicBezTo>
                  <a:cubicBezTo>
                    <a:pt x="88" y="48"/>
                    <a:pt x="84" y="45"/>
                    <a:pt x="81" y="45"/>
                  </a:cubicBezTo>
                  <a:close/>
                  <a:moveTo>
                    <a:pt x="60" y="61"/>
                  </a:moveTo>
                  <a:cubicBezTo>
                    <a:pt x="58" y="62"/>
                    <a:pt x="57" y="64"/>
                    <a:pt x="55" y="65"/>
                  </a:cubicBezTo>
                  <a:cubicBezTo>
                    <a:pt x="51" y="67"/>
                    <a:pt x="46" y="68"/>
                    <a:pt x="41" y="67"/>
                  </a:cubicBezTo>
                  <a:cubicBezTo>
                    <a:pt x="37" y="67"/>
                    <a:pt x="32" y="64"/>
                    <a:pt x="29" y="61"/>
                  </a:cubicBezTo>
                  <a:cubicBezTo>
                    <a:pt x="28" y="61"/>
                    <a:pt x="28" y="61"/>
                    <a:pt x="28" y="60"/>
                  </a:cubicBezTo>
                  <a:cubicBezTo>
                    <a:pt x="25" y="57"/>
                    <a:pt x="23" y="53"/>
                    <a:pt x="22" y="49"/>
                  </a:cubicBezTo>
                  <a:cubicBezTo>
                    <a:pt x="22" y="49"/>
                    <a:pt x="22" y="48"/>
                    <a:pt x="22" y="48"/>
                  </a:cubicBezTo>
                  <a:cubicBezTo>
                    <a:pt x="21" y="43"/>
                    <a:pt x="22" y="38"/>
                    <a:pt x="24" y="34"/>
                  </a:cubicBezTo>
                  <a:cubicBezTo>
                    <a:pt x="26" y="30"/>
                    <a:pt x="29" y="27"/>
                    <a:pt x="33" y="25"/>
                  </a:cubicBezTo>
                  <a:cubicBezTo>
                    <a:pt x="34" y="25"/>
                    <a:pt x="34" y="25"/>
                    <a:pt x="35" y="25"/>
                  </a:cubicBezTo>
                  <a:cubicBezTo>
                    <a:pt x="43" y="21"/>
                    <a:pt x="53" y="22"/>
                    <a:pt x="59" y="28"/>
                  </a:cubicBezTo>
                  <a:cubicBezTo>
                    <a:pt x="60" y="29"/>
                    <a:pt x="60" y="29"/>
                    <a:pt x="60" y="30"/>
                  </a:cubicBezTo>
                  <a:cubicBezTo>
                    <a:pt x="67" y="36"/>
                    <a:pt x="68" y="46"/>
                    <a:pt x="64" y="54"/>
                  </a:cubicBezTo>
                  <a:cubicBezTo>
                    <a:pt x="63" y="57"/>
                    <a:pt x="62" y="59"/>
                    <a:pt x="60" y="61"/>
                  </a:cubicBezTo>
                  <a:cubicBezTo>
                    <a:pt x="58" y="62"/>
                    <a:pt x="61" y="59"/>
                    <a:pt x="60" y="61"/>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 name="Freeform 1048">
              <a:extLst>
                <a:ext uri="{FF2B5EF4-FFF2-40B4-BE49-F238E27FC236}">
                  <a16:creationId xmlns:a16="http://schemas.microsoft.com/office/drawing/2014/main" id="{61AAE228-0C2D-4DEA-90E7-1D95C2742C57}"/>
                </a:ext>
              </a:extLst>
            </p:cNvPr>
            <p:cNvSpPr>
              <a:spLocks noEditPoints="1"/>
            </p:cNvSpPr>
            <p:nvPr/>
          </p:nvSpPr>
          <p:spPr bwMode="auto">
            <a:xfrm>
              <a:off x="10379075" y="6662352"/>
              <a:ext cx="2057400" cy="27432"/>
            </a:xfrm>
            <a:custGeom>
              <a:avLst/>
              <a:gdLst>
                <a:gd name="T0" fmla="*/ 431 w 435"/>
                <a:gd name="T1" fmla="*/ 6 h 6"/>
                <a:gd name="T2" fmla="*/ 403 w 435"/>
                <a:gd name="T3" fmla="*/ 6 h 6"/>
                <a:gd name="T4" fmla="*/ 400 w 435"/>
                <a:gd name="T5" fmla="*/ 3 h 6"/>
                <a:gd name="T6" fmla="*/ 403 w 435"/>
                <a:gd name="T7" fmla="*/ 0 h 6"/>
                <a:gd name="T8" fmla="*/ 431 w 435"/>
                <a:gd name="T9" fmla="*/ 0 h 6"/>
                <a:gd name="T10" fmla="*/ 435 w 435"/>
                <a:gd name="T11" fmla="*/ 3 h 6"/>
                <a:gd name="T12" fmla="*/ 431 w 435"/>
                <a:gd name="T13" fmla="*/ 6 h 6"/>
                <a:gd name="T14" fmla="*/ 374 w 435"/>
                <a:gd name="T15" fmla="*/ 6 h 6"/>
                <a:gd name="T16" fmla="*/ 346 w 435"/>
                <a:gd name="T17" fmla="*/ 6 h 6"/>
                <a:gd name="T18" fmla="*/ 343 w 435"/>
                <a:gd name="T19" fmla="*/ 3 h 6"/>
                <a:gd name="T20" fmla="*/ 346 w 435"/>
                <a:gd name="T21" fmla="*/ 0 h 6"/>
                <a:gd name="T22" fmla="*/ 374 w 435"/>
                <a:gd name="T23" fmla="*/ 0 h 6"/>
                <a:gd name="T24" fmla="*/ 377 w 435"/>
                <a:gd name="T25" fmla="*/ 3 h 6"/>
                <a:gd name="T26" fmla="*/ 374 w 435"/>
                <a:gd name="T27" fmla="*/ 6 h 6"/>
                <a:gd name="T28" fmla="*/ 317 w 435"/>
                <a:gd name="T29" fmla="*/ 6 h 6"/>
                <a:gd name="T30" fmla="*/ 289 w 435"/>
                <a:gd name="T31" fmla="*/ 6 h 6"/>
                <a:gd name="T32" fmla="*/ 286 w 435"/>
                <a:gd name="T33" fmla="*/ 3 h 6"/>
                <a:gd name="T34" fmla="*/ 289 w 435"/>
                <a:gd name="T35" fmla="*/ 0 h 6"/>
                <a:gd name="T36" fmla="*/ 317 w 435"/>
                <a:gd name="T37" fmla="*/ 0 h 6"/>
                <a:gd name="T38" fmla="*/ 320 w 435"/>
                <a:gd name="T39" fmla="*/ 3 h 6"/>
                <a:gd name="T40" fmla="*/ 317 w 435"/>
                <a:gd name="T41" fmla="*/ 6 h 6"/>
                <a:gd name="T42" fmla="*/ 260 w 435"/>
                <a:gd name="T43" fmla="*/ 6 h 6"/>
                <a:gd name="T44" fmla="*/ 231 w 435"/>
                <a:gd name="T45" fmla="*/ 6 h 6"/>
                <a:gd name="T46" fmla="*/ 228 w 435"/>
                <a:gd name="T47" fmla="*/ 3 h 6"/>
                <a:gd name="T48" fmla="*/ 231 w 435"/>
                <a:gd name="T49" fmla="*/ 0 h 6"/>
                <a:gd name="T50" fmla="*/ 260 w 435"/>
                <a:gd name="T51" fmla="*/ 0 h 6"/>
                <a:gd name="T52" fmla="*/ 263 w 435"/>
                <a:gd name="T53" fmla="*/ 3 h 6"/>
                <a:gd name="T54" fmla="*/ 260 w 435"/>
                <a:gd name="T55" fmla="*/ 6 h 6"/>
                <a:gd name="T56" fmla="*/ 203 w 435"/>
                <a:gd name="T57" fmla="*/ 6 h 6"/>
                <a:gd name="T58" fmla="*/ 174 w 435"/>
                <a:gd name="T59" fmla="*/ 6 h 6"/>
                <a:gd name="T60" fmla="*/ 171 w 435"/>
                <a:gd name="T61" fmla="*/ 3 h 6"/>
                <a:gd name="T62" fmla="*/ 174 w 435"/>
                <a:gd name="T63" fmla="*/ 0 h 6"/>
                <a:gd name="T64" fmla="*/ 203 w 435"/>
                <a:gd name="T65" fmla="*/ 0 h 6"/>
                <a:gd name="T66" fmla="*/ 206 w 435"/>
                <a:gd name="T67" fmla="*/ 3 h 6"/>
                <a:gd name="T68" fmla="*/ 203 w 435"/>
                <a:gd name="T69" fmla="*/ 6 h 6"/>
                <a:gd name="T70" fmla="*/ 146 w 435"/>
                <a:gd name="T71" fmla="*/ 6 h 6"/>
                <a:gd name="T72" fmla="*/ 117 w 435"/>
                <a:gd name="T73" fmla="*/ 6 h 6"/>
                <a:gd name="T74" fmla="*/ 114 w 435"/>
                <a:gd name="T75" fmla="*/ 3 h 6"/>
                <a:gd name="T76" fmla="*/ 117 w 435"/>
                <a:gd name="T77" fmla="*/ 0 h 6"/>
                <a:gd name="T78" fmla="*/ 146 w 435"/>
                <a:gd name="T79" fmla="*/ 0 h 6"/>
                <a:gd name="T80" fmla="*/ 149 w 435"/>
                <a:gd name="T81" fmla="*/ 3 h 6"/>
                <a:gd name="T82" fmla="*/ 146 w 435"/>
                <a:gd name="T83" fmla="*/ 6 h 6"/>
                <a:gd name="T84" fmla="*/ 89 w 435"/>
                <a:gd name="T85" fmla="*/ 6 h 6"/>
                <a:gd name="T86" fmla="*/ 60 w 435"/>
                <a:gd name="T87" fmla="*/ 6 h 6"/>
                <a:gd name="T88" fmla="*/ 57 w 435"/>
                <a:gd name="T89" fmla="*/ 3 h 6"/>
                <a:gd name="T90" fmla="*/ 60 w 435"/>
                <a:gd name="T91" fmla="*/ 0 h 6"/>
                <a:gd name="T92" fmla="*/ 89 w 435"/>
                <a:gd name="T93" fmla="*/ 0 h 6"/>
                <a:gd name="T94" fmla="*/ 92 w 435"/>
                <a:gd name="T95" fmla="*/ 3 h 6"/>
                <a:gd name="T96" fmla="*/ 89 w 435"/>
                <a:gd name="T97" fmla="*/ 6 h 6"/>
                <a:gd name="T98" fmla="*/ 31 w 435"/>
                <a:gd name="T99" fmla="*/ 6 h 6"/>
                <a:gd name="T100" fmla="*/ 16 w 435"/>
                <a:gd name="T101" fmla="*/ 6 h 6"/>
                <a:gd name="T102" fmla="*/ 3 w 435"/>
                <a:gd name="T103" fmla="*/ 6 h 6"/>
                <a:gd name="T104" fmla="*/ 0 w 435"/>
                <a:gd name="T105" fmla="*/ 3 h 6"/>
                <a:gd name="T106" fmla="*/ 3 w 435"/>
                <a:gd name="T107" fmla="*/ 0 h 6"/>
                <a:gd name="T108" fmla="*/ 16 w 435"/>
                <a:gd name="T109" fmla="*/ 0 h 6"/>
                <a:gd name="T110" fmla="*/ 31 w 435"/>
                <a:gd name="T111" fmla="*/ 0 h 6"/>
                <a:gd name="T112" fmla="*/ 35 w 435"/>
                <a:gd name="T113" fmla="*/ 3 h 6"/>
                <a:gd name="T114" fmla="*/ 31 w 435"/>
                <a:gd name="T11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5" h="6">
                  <a:moveTo>
                    <a:pt x="431" y="6"/>
                  </a:moveTo>
                  <a:cubicBezTo>
                    <a:pt x="403" y="6"/>
                    <a:pt x="403" y="6"/>
                    <a:pt x="403" y="6"/>
                  </a:cubicBezTo>
                  <a:cubicBezTo>
                    <a:pt x="401" y="6"/>
                    <a:pt x="400" y="5"/>
                    <a:pt x="400" y="3"/>
                  </a:cubicBezTo>
                  <a:cubicBezTo>
                    <a:pt x="400" y="2"/>
                    <a:pt x="401" y="0"/>
                    <a:pt x="403" y="0"/>
                  </a:cubicBezTo>
                  <a:cubicBezTo>
                    <a:pt x="431" y="0"/>
                    <a:pt x="431" y="0"/>
                    <a:pt x="431" y="0"/>
                  </a:cubicBezTo>
                  <a:cubicBezTo>
                    <a:pt x="433" y="0"/>
                    <a:pt x="435" y="2"/>
                    <a:pt x="435" y="3"/>
                  </a:cubicBezTo>
                  <a:cubicBezTo>
                    <a:pt x="435" y="5"/>
                    <a:pt x="433" y="6"/>
                    <a:pt x="431" y="6"/>
                  </a:cubicBezTo>
                  <a:close/>
                  <a:moveTo>
                    <a:pt x="374" y="6"/>
                  </a:moveTo>
                  <a:cubicBezTo>
                    <a:pt x="346" y="6"/>
                    <a:pt x="346" y="6"/>
                    <a:pt x="346" y="6"/>
                  </a:cubicBezTo>
                  <a:cubicBezTo>
                    <a:pt x="344" y="6"/>
                    <a:pt x="343" y="5"/>
                    <a:pt x="343" y="3"/>
                  </a:cubicBezTo>
                  <a:cubicBezTo>
                    <a:pt x="343" y="2"/>
                    <a:pt x="344" y="0"/>
                    <a:pt x="346" y="0"/>
                  </a:cubicBezTo>
                  <a:cubicBezTo>
                    <a:pt x="374" y="0"/>
                    <a:pt x="374" y="0"/>
                    <a:pt x="374" y="0"/>
                  </a:cubicBezTo>
                  <a:cubicBezTo>
                    <a:pt x="376" y="0"/>
                    <a:pt x="377" y="2"/>
                    <a:pt x="377" y="3"/>
                  </a:cubicBezTo>
                  <a:cubicBezTo>
                    <a:pt x="377" y="5"/>
                    <a:pt x="376" y="6"/>
                    <a:pt x="374" y="6"/>
                  </a:cubicBezTo>
                  <a:close/>
                  <a:moveTo>
                    <a:pt x="317" y="6"/>
                  </a:moveTo>
                  <a:cubicBezTo>
                    <a:pt x="289" y="6"/>
                    <a:pt x="289" y="6"/>
                    <a:pt x="289" y="6"/>
                  </a:cubicBezTo>
                  <a:cubicBezTo>
                    <a:pt x="287" y="6"/>
                    <a:pt x="286" y="5"/>
                    <a:pt x="286" y="3"/>
                  </a:cubicBezTo>
                  <a:cubicBezTo>
                    <a:pt x="286" y="2"/>
                    <a:pt x="287" y="0"/>
                    <a:pt x="289" y="0"/>
                  </a:cubicBezTo>
                  <a:cubicBezTo>
                    <a:pt x="317" y="0"/>
                    <a:pt x="317" y="0"/>
                    <a:pt x="317" y="0"/>
                  </a:cubicBezTo>
                  <a:cubicBezTo>
                    <a:pt x="319" y="0"/>
                    <a:pt x="320" y="2"/>
                    <a:pt x="320" y="3"/>
                  </a:cubicBezTo>
                  <a:cubicBezTo>
                    <a:pt x="320" y="5"/>
                    <a:pt x="319" y="6"/>
                    <a:pt x="317" y="6"/>
                  </a:cubicBezTo>
                  <a:close/>
                  <a:moveTo>
                    <a:pt x="260" y="6"/>
                  </a:moveTo>
                  <a:cubicBezTo>
                    <a:pt x="231" y="6"/>
                    <a:pt x="231" y="6"/>
                    <a:pt x="231" y="6"/>
                  </a:cubicBezTo>
                  <a:cubicBezTo>
                    <a:pt x="230" y="6"/>
                    <a:pt x="228" y="5"/>
                    <a:pt x="228" y="3"/>
                  </a:cubicBezTo>
                  <a:cubicBezTo>
                    <a:pt x="228" y="2"/>
                    <a:pt x="230" y="0"/>
                    <a:pt x="231" y="0"/>
                  </a:cubicBezTo>
                  <a:cubicBezTo>
                    <a:pt x="260" y="0"/>
                    <a:pt x="260" y="0"/>
                    <a:pt x="260" y="0"/>
                  </a:cubicBezTo>
                  <a:cubicBezTo>
                    <a:pt x="262" y="0"/>
                    <a:pt x="263" y="2"/>
                    <a:pt x="263" y="3"/>
                  </a:cubicBezTo>
                  <a:cubicBezTo>
                    <a:pt x="263" y="5"/>
                    <a:pt x="262" y="6"/>
                    <a:pt x="260" y="6"/>
                  </a:cubicBezTo>
                  <a:close/>
                  <a:moveTo>
                    <a:pt x="203" y="6"/>
                  </a:moveTo>
                  <a:cubicBezTo>
                    <a:pt x="174" y="6"/>
                    <a:pt x="174" y="6"/>
                    <a:pt x="174" y="6"/>
                  </a:cubicBezTo>
                  <a:cubicBezTo>
                    <a:pt x="173" y="6"/>
                    <a:pt x="171" y="5"/>
                    <a:pt x="171" y="3"/>
                  </a:cubicBezTo>
                  <a:cubicBezTo>
                    <a:pt x="171" y="2"/>
                    <a:pt x="173" y="0"/>
                    <a:pt x="174" y="0"/>
                  </a:cubicBezTo>
                  <a:cubicBezTo>
                    <a:pt x="203" y="0"/>
                    <a:pt x="203" y="0"/>
                    <a:pt x="203" y="0"/>
                  </a:cubicBezTo>
                  <a:cubicBezTo>
                    <a:pt x="205" y="0"/>
                    <a:pt x="206" y="2"/>
                    <a:pt x="206" y="3"/>
                  </a:cubicBezTo>
                  <a:cubicBezTo>
                    <a:pt x="206" y="5"/>
                    <a:pt x="205" y="6"/>
                    <a:pt x="203" y="6"/>
                  </a:cubicBezTo>
                  <a:close/>
                  <a:moveTo>
                    <a:pt x="146" y="6"/>
                  </a:moveTo>
                  <a:cubicBezTo>
                    <a:pt x="117" y="6"/>
                    <a:pt x="117" y="6"/>
                    <a:pt x="117" y="6"/>
                  </a:cubicBezTo>
                  <a:cubicBezTo>
                    <a:pt x="115" y="6"/>
                    <a:pt x="114" y="5"/>
                    <a:pt x="114" y="3"/>
                  </a:cubicBezTo>
                  <a:cubicBezTo>
                    <a:pt x="114" y="2"/>
                    <a:pt x="115" y="0"/>
                    <a:pt x="117" y="0"/>
                  </a:cubicBezTo>
                  <a:cubicBezTo>
                    <a:pt x="146" y="0"/>
                    <a:pt x="146" y="0"/>
                    <a:pt x="146" y="0"/>
                  </a:cubicBezTo>
                  <a:cubicBezTo>
                    <a:pt x="147" y="0"/>
                    <a:pt x="149" y="2"/>
                    <a:pt x="149" y="3"/>
                  </a:cubicBezTo>
                  <a:cubicBezTo>
                    <a:pt x="149" y="5"/>
                    <a:pt x="147" y="6"/>
                    <a:pt x="146" y="6"/>
                  </a:cubicBezTo>
                  <a:close/>
                  <a:moveTo>
                    <a:pt x="89" y="6"/>
                  </a:moveTo>
                  <a:cubicBezTo>
                    <a:pt x="60" y="6"/>
                    <a:pt x="60" y="6"/>
                    <a:pt x="60" y="6"/>
                  </a:cubicBezTo>
                  <a:cubicBezTo>
                    <a:pt x="58" y="6"/>
                    <a:pt x="57" y="5"/>
                    <a:pt x="57" y="3"/>
                  </a:cubicBezTo>
                  <a:cubicBezTo>
                    <a:pt x="57" y="2"/>
                    <a:pt x="58" y="0"/>
                    <a:pt x="60" y="0"/>
                  </a:cubicBezTo>
                  <a:cubicBezTo>
                    <a:pt x="89" y="0"/>
                    <a:pt x="89" y="0"/>
                    <a:pt x="89" y="0"/>
                  </a:cubicBezTo>
                  <a:cubicBezTo>
                    <a:pt x="90" y="0"/>
                    <a:pt x="92" y="2"/>
                    <a:pt x="92" y="3"/>
                  </a:cubicBezTo>
                  <a:cubicBezTo>
                    <a:pt x="92" y="5"/>
                    <a:pt x="90" y="6"/>
                    <a:pt x="89" y="6"/>
                  </a:cubicBezTo>
                  <a:close/>
                  <a:moveTo>
                    <a:pt x="31" y="6"/>
                  </a:moveTo>
                  <a:cubicBezTo>
                    <a:pt x="16" y="6"/>
                    <a:pt x="16" y="6"/>
                    <a:pt x="16" y="6"/>
                  </a:cubicBezTo>
                  <a:cubicBezTo>
                    <a:pt x="12" y="6"/>
                    <a:pt x="7" y="6"/>
                    <a:pt x="3" y="6"/>
                  </a:cubicBezTo>
                  <a:cubicBezTo>
                    <a:pt x="1" y="6"/>
                    <a:pt x="0" y="5"/>
                    <a:pt x="0" y="3"/>
                  </a:cubicBezTo>
                  <a:cubicBezTo>
                    <a:pt x="0" y="1"/>
                    <a:pt x="1" y="0"/>
                    <a:pt x="3" y="0"/>
                  </a:cubicBezTo>
                  <a:cubicBezTo>
                    <a:pt x="7" y="0"/>
                    <a:pt x="12" y="0"/>
                    <a:pt x="16" y="0"/>
                  </a:cubicBezTo>
                  <a:cubicBezTo>
                    <a:pt x="31" y="0"/>
                    <a:pt x="31" y="0"/>
                    <a:pt x="31" y="0"/>
                  </a:cubicBezTo>
                  <a:cubicBezTo>
                    <a:pt x="33" y="0"/>
                    <a:pt x="35" y="2"/>
                    <a:pt x="35" y="3"/>
                  </a:cubicBezTo>
                  <a:cubicBezTo>
                    <a:pt x="35" y="5"/>
                    <a:pt x="33" y="6"/>
                    <a:pt x="31" y="6"/>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nvGrpSpPr>
            <p:cNvPr id="25" name="Group 1154">
              <a:extLst>
                <a:ext uri="{FF2B5EF4-FFF2-40B4-BE49-F238E27FC236}">
                  <a16:creationId xmlns:a16="http://schemas.microsoft.com/office/drawing/2014/main" id="{BC682730-6E05-48C4-85AD-11641EFEA939}"/>
                </a:ext>
              </a:extLst>
            </p:cNvPr>
            <p:cNvGrpSpPr>
              <a:grpSpLocks noChangeAspect="1"/>
            </p:cNvGrpSpPr>
            <p:nvPr/>
          </p:nvGrpSpPr>
          <p:grpSpPr bwMode="auto">
            <a:xfrm>
              <a:off x="7772400" y="5071903"/>
              <a:ext cx="1025559" cy="658099"/>
              <a:chOff x="580" y="1173"/>
              <a:chExt cx="1602" cy="1028"/>
            </a:xfrm>
          </p:grpSpPr>
          <p:sp>
            <p:nvSpPr>
              <p:cNvPr id="186" name="Freeform 1156">
                <a:extLst>
                  <a:ext uri="{FF2B5EF4-FFF2-40B4-BE49-F238E27FC236}">
                    <a16:creationId xmlns:a16="http://schemas.microsoft.com/office/drawing/2014/main" id="{FCABB4E5-A077-4E2B-983A-7EE4D12080CB}"/>
                  </a:ext>
                </a:extLst>
              </p:cNvPr>
              <p:cNvSpPr>
                <a:spLocks/>
              </p:cNvSpPr>
              <p:nvPr/>
            </p:nvSpPr>
            <p:spPr bwMode="auto">
              <a:xfrm>
                <a:off x="809" y="1608"/>
                <a:ext cx="60" cy="131"/>
              </a:xfrm>
              <a:custGeom>
                <a:avLst/>
                <a:gdLst>
                  <a:gd name="T0" fmla="*/ 88 w 88"/>
                  <a:gd name="T1" fmla="*/ 0 h 194"/>
                  <a:gd name="T2" fmla="*/ 0 w 88"/>
                  <a:gd name="T3" fmla="*/ 6 h 194"/>
                  <a:gd name="T4" fmla="*/ 0 w 88"/>
                  <a:gd name="T5" fmla="*/ 90 h 194"/>
                  <a:gd name="T6" fmla="*/ 41 w 88"/>
                  <a:gd name="T7" fmla="*/ 194 h 194"/>
                  <a:gd name="T8" fmla="*/ 81 w 88"/>
                  <a:gd name="T9" fmla="*/ 90 h 194"/>
                  <a:gd name="T10" fmla="*/ 88 w 88"/>
                  <a:gd name="T11" fmla="*/ 0 h 194"/>
                </a:gdLst>
                <a:ahLst/>
                <a:cxnLst>
                  <a:cxn ang="0">
                    <a:pos x="T0" y="T1"/>
                  </a:cxn>
                  <a:cxn ang="0">
                    <a:pos x="T2" y="T3"/>
                  </a:cxn>
                  <a:cxn ang="0">
                    <a:pos x="T4" y="T5"/>
                  </a:cxn>
                  <a:cxn ang="0">
                    <a:pos x="T6" y="T7"/>
                  </a:cxn>
                  <a:cxn ang="0">
                    <a:pos x="T8" y="T9"/>
                  </a:cxn>
                  <a:cxn ang="0">
                    <a:pos x="T10" y="T11"/>
                  </a:cxn>
                </a:cxnLst>
                <a:rect l="0" t="0" r="r" b="b"/>
                <a:pathLst>
                  <a:path w="88" h="194">
                    <a:moveTo>
                      <a:pt x="88" y="0"/>
                    </a:moveTo>
                    <a:cubicBezTo>
                      <a:pt x="0" y="6"/>
                      <a:pt x="0" y="6"/>
                      <a:pt x="0" y="6"/>
                    </a:cubicBezTo>
                    <a:cubicBezTo>
                      <a:pt x="0" y="90"/>
                      <a:pt x="0" y="90"/>
                      <a:pt x="0" y="90"/>
                    </a:cubicBezTo>
                    <a:cubicBezTo>
                      <a:pt x="0" y="90"/>
                      <a:pt x="5" y="194"/>
                      <a:pt x="41" y="194"/>
                    </a:cubicBezTo>
                    <a:cubicBezTo>
                      <a:pt x="77" y="194"/>
                      <a:pt x="81" y="90"/>
                      <a:pt x="81" y="90"/>
                    </a:cubicBezTo>
                    <a:lnTo>
                      <a:pt x="88"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7" name="Freeform 1157">
                <a:extLst>
                  <a:ext uri="{FF2B5EF4-FFF2-40B4-BE49-F238E27FC236}">
                    <a16:creationId xmlns:a16="http://schemas.microsoft.com/office/drawing/2014/main" id="{3085F1CD-6816-419A-AAF6-18D4FE560897}"/>
                  </a:ext>
                </a:extLst>
              </p:cNvPr>
              <p:cNvSpPr>
                <a:spLocks/>
              </p:cNvSpPr>
              <p:nvPr/>
            </p:nvSpPr>
            <p:spPr bwMode="auto">
              <a:xfrm>
                <a:off x="819" y="1602"/>
                <a:ext cx="51" cy="45"/>
              </a:xfrm>
              <a:custGeom>
                <a:avLst/>
                <a:gdLst>
                  <a:gd name="T0" fmla="*/ 3 w 74"/>
                  <a:gd name="T1" fmla="*/ 0 h 66"/>
                  <a:gd name="T2" fmla="*/ 69 w 74"/>
                  <a:gd name="T3" fmla="*/ 63 h 66"/>
                  <a:gd name="T4" fmla="*/ 74 w 74"/>
                  <a:gd name="T5" fmla="*/ 8 h 66"/>
                  <a:gd name="T6" fmla="*/ 3 w 74"/>
                  <a:gd name="T7" fmla="*/ 0 h 66"/>
                </a:gdLst>
                <a:ahLst/>
                <a:cxnLst>
                  <a:cxn ang="0">
                    <a:pos x="T0" y="T1"/>
                  </a:cxn>
                  <a:cxn ang="0">
                    <a:pos x="T2" y="T3"/>
                  </a:cxn>
                  <a:cxn ang="0">
                    <a:pos x="T4" y="T5"/>
                  </a:cxn>
                  <a:cxn ang="0">
                    <a:pos x="T6" y="T7"/>
                  </a:cxn>
                </a:cxnLst>
                <a:rect l="0" t="0" r="r" b="b"/>
                <a:pathLst>
                  <a:path w="74" h="66">
                    <a:moveTo>
                      <a:pt x="3" y="0"/>
                    </a:moveTo>
                    <a:cubicBezTo>
                      <a:pt x="0" y="44"/>
                      <a:pt x="17" y="66"/>
                      <a:pt x="69" y="63"/>
                    </a:cubicBezTo>
                    <a:cubicBezTo>
                      <a:pt x="74" y="8"/>
                      <a:pt x="74" y="8"/>
                      <a:pt x="74" y="8"/>
                    </a:cubicBezTo>
                    <a:lnTo>
                      <a:pt x="3"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8" name="Freeform 1158">
                <a:extLst>
                  <a:ext uri="{FF2B5EF4-FFF2-40B4-BE49-F238E27FC236}">
                    <a16:creationId xmlns:a16="http://schemas.microsoft.com/office/drawing/2014/main" id="{CC556200-A36B-46A9-91D1-7CCB4BC175C6}"/>
                  </a:ext>
                </a:extLst>
              </p:cNvPr>
              <p:cNvSpPr>
                <a:spLocks/>
              </p:cNvSpPr>
              <p:nvPr/>
            </p:nvSpPr>
            <p:spPr bwMode="auto">
              <a:xfrm>
                <a:off x="822" y="1543"/>
                <a:ext cx="87" cy="95"/>
              </a:xfrm>
              <a:custGeom>
                <a:avLst/>
                <a:gdLst>
                  <a:gd name="T0" fmla="*/ 106 w 128"/>
                  <a:gd name="T1" fmla="*/ 57 h 139"/>
                  <a:gd name="T2" fmla="*/ 117 w 128"/>
                  <a:gd name="T3" fmla="*/ 40 h 139"/>
                  <a:gd name="T4" fmla="*/ 88 w 128"/>
                  <a:gd name="T5" fmla="*/ 7 h 139"/>
                  <a:gd name="T6" fmla="*/ 86 w 128"/>
                  <a:gd name="T7" fmla="*/ 1 h 139"/>
                  <a:gd name="T8" fmla="*/ 86 w 128"/>
                  <a:gd name="T9" fmla="*/ 0 h 139"/>
                  <a:gd name="T10" fmla="*/ 47 w 128"/>
                  <a:gd name="T11" fmla="*/ 4 h 139"/>
                  <a:gd name="T12" fmla="*/ 36 w 128"/>
                  <a:gd name="T13" fmla="*/ 32 h 139"/>
                  <a:gd name="T14" fmla="*/ 40 w 128"/>
                  <a:gd name="T15" fmla="*/ 46 h 139"/>
                  <a:gd name="T16" fmla="*/ 30 w 128"/>
                  <a:gd name="T17" fmla="*/ 48 h 139"/>
                  <a:gd name="T18" fmla="*/ 9 w 128"/>
                  <a:gd name="T19" fmla="*/ 39 h 139"/>
                  <a:gd name="T20" fmla="*/ 10 w 128"/>
                  <a:gd name="T21" fmla="*/ 77 h 139"/>
                  <a:gd name="T22" fmla="*/ 13 w 128"/>
                  <a:gd name="T23" fmla="*/ 84 h 139"/>
                  <a:gd name="T24" fmla="*/ 0 w 128"/>
                  <a:gd name="T25" fmla="*/ 124 h 139"/>
                  <a:gd name="T26" fmla="*/ 0 w 128"/>
                  <a:gd name="T27" fmla="*/ 124 h 139"/>
                  <a:gd name="T28" fmla="*/ 0 w 128"/>
                  <a:gd name="T29" fmla="*/ 124 h 139"/>
                  <a:gd name="T30" fmla="*/ 0 w 128"/>
                  <a:gd name="T31" fmla="*/ 124 h 139"/>
                  <a:gd name="T32" fmla="*/ 0 w 128"/>
                  <a:gd name="T33" fmla="*/ 124 h 139"/>
                  <a:gd name="T34" fmla="*/ 91 w 128"/>
                  <a:gd name="T35" fmla="*/ 127 h 139"/>
                  <a:gd name="T36" fmla="*/ 110 w 128"/>
                  <a:gd name="T37" fmla="*/ 115 h 139"/>
                  <a:gd name="T38" fmla="*/ 106 w 128"/>
                  <a:gd name="T39" fmla="*/ 5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9">
                    <a:moveTo>
                      <a:pt x="106" y="57"/>
                    </a:moveTo>
                    <a:cubicBezTo>
                      <a:pt x="128" y="49"/>
                      <a:pt x="119" y="43"/>
                      <a:pt x="117" y="40"/>
                    </a:cubicBezTo>
                    <a:cubicBezTo>
                      <a:pt x="115" y="38"/>
                      <a:pt x="90" y="14"/>
                      <a:pt x="88" y="7"/>
                    </a:cubicBezTo>
                    <a:cubicBezTo>
                      <a:pt x="88" y="5"/>
                      <a:pt x="87" y="3"/>
                      <a:pt x="86" y="1"/>
                    </a:cubicBezTo>
                    <a:cubicBezTo>
                      <a:pt x="86" y="1"/>
                      <a:pt x="86" y="1"/>
                      <a:pt x="86" y="0"/>
                    </a:cubicBezTo>
                    <a:cubicBezTo>
                      <a:pt x="71" y="8"/>
                      <a:pt x="58" y="7"/>
                      <a:pt x="47" y="4"/>
                    </a:cubicBezTo>
                    <a:cubicBezTo>
                      <a:pt x="41" y="14"/>
                      <a:pt x="38" y="25"/>
                      <a:pt x="36" y="32"/>
                    </a:cubicBezTo>
                    <a:cubicBezTo>
                      <a:pt x="38" y="38"/>
                      <a:pt x="39" y="44"/>
                      <a:pt x="40" y="46"/>
                    </a:cubicBezTo>
                    <a:cubicBezTo>
                      <a:pt x="41" y="54"/>
                      <a:pt x="30" y="48"/>
                      <a:pt x="30" y="48"/>
                    </a:cubicBezTo>
                    <a:cubicBezTo>
                      <a:pt x="30" y="48"/>
                      <a:pt x="19" y="41"/>
                      <a:pt x="9" y="39"/>
                    </a:cubicBezTo>
                    <a:cubicBezTo>
                      <a:pt x="2" y="46"/>
                      <a:pt x="7" y="69"/>
                      <a:pt x="10" y="77"/>
                    </a:cubicBezTo>
                    <a:cubicBezTo>
                      <a:pt x="12" y="80"/>
                      <a:pt x="13" y="84"/>
                      <a:pt x="13" y="84"/>
                    </a:cubicBezTo>
                    <a:cubicBezTo>
                      <a:pt x="13" y="84"/>
                      <a:pt x="20" y="116"/>
                      <a:pt x="0" y="124"/>
                    </a:cubicBezTo>
                    <a:cubicBezTo>
                      <a:pt x="0" y="124"/>
                      <a:pt x="0" y="124"/>
                      <a:pt x="0" y="124"/>
                    </a:cubicBezTo>
                    <a:cubicBezTo>
                      <a:pt x="0" y="124"/>
                      <a:pt x="0" y="124"/>
                      <a:pt x="0" y="124"/>
                    </a:cubicBezTo>
                    <a:cubicBezTo>
                      <a:pt x="0" y="124"/>
                      <a:pt x="0" y="124"/>
                      <a:pt x="0" y="124"/>
                    </a:cubicBezTo>
                    <a:cubicBezTo>
                      <a:pt x="0" y="124"/>
                      <a:pt x="0" y="124"/>
                      <a:pt x="0" y="124"/>
                    </a:cubicBezTo>
                    <a:cubicBezTo>
                      <a:pt x="33" y="139"/>
                      <a:pt x="73" y="129"/>
                      <a:pt x="91" y="127"/>
                    </a:cubicBezTo>
                    <a:cubicBezTo>
                      <a:pt x="111" y="124"/>
                      <a:pt x="110" y="115"/>
                      <a:pt x="110" y="115"/>
                    </a:cubicBezTo>
                    <a:cubicBezTo>
                      <a:pt x="108" y="103"/>
                      <a:pt x="101" y="63"/>
                      <a:pt x="106" y="57"/>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9" name="Freeform 1159">
                <a:extLst>
                  <a:ext uri="{FF2B5EF4-FFF2-40B4-BE49-F238E27FC236}">
                    <a16:creationId xmlns:a16="http://schemas.microsoft.com/office/drawing/2014/main" id="{55600C2E-8FE1-4B86-A503-95F584B10612}"/>
                  </a:ext>
                </a:extLst>
              </p:cNvPr>
              <p:cNvSpPr>
                <a:spLocks/>
              </p:cNvSpPr>
              <p:nvPr/>
            </p:nvSpPr>
            <p:spPr bwMode="auto">
              <a:xfrm>
                <a:off x="840" y="1537"/>
                <a:ext cx="14" cy="28"/>
              </a:xfrm>
              <a:custGeom>
                <a:avLst/>
                <a:gdLst>
                  <a:gd name="T0" fmla="*/ 0 w 21"/>
                  <a:gd name="T1" fmla="*/ 0 h 41"/>
                  <a:gd name="T2" fmla="*/ 5 w 21"/>
                  <a:gd name="T3" fmla="*/ 20 h 41"/>
                  <a:gd name="T4" fmla="*/ 5 w 21"/>
                  <a:gd name="T5" fmla="*/ 22 h 41"/>
                  <a:gd name="T6" fmla="*/ 10 w 21"/>
                  <a:gd name="T7" fmla="*/ 41 h 41"/>
                  <a:gd name="T8" fmla="*/ 21 w 21"/>
                  <a:gd name="T9" fmla="*/ 13 h 41"/>
                  <a:gd name="T10" fmla="*/ 0 w 21"/>
                  <a:gd name="T11" fmla="*/ 0 h 41"/>
                  <a:gd name="T12" fmla="*/ 0 w 2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1" h="41">
                    <a:moveTo>
                      <a:pt x="0" y="0"/>
                    </a:moveTo>
                    <a:cubicBezTo>
                      <a:pt x="5" y="20"/>
                      <a:pt x="5" y="20"/>
                      <a:pt x="5" y="20"/>
                    </a:cubicBezTo>
                    <a:cubicBezTo>
                      <a:pt x="5" y="22"/>
                      <a:pt x="5" y="22"/>
                      <a:pt x="5" y="22"/>
                    </a:cubicBezTo>
                    <a:cubicBezTo>
                      <a:pt x="6" y="26"/>
                      <a:pt x="8" y="34"/>
                      <a:pt x="10" y="41"/>
                    </a:cubicBezTo>
                    <a:cubicBezTo>
                      <a:pt x="12" y="34"/>
                      <a:pt x="15" y="23"/>
                      <a:pt x="21" y="13"/>
                    </a:cubicBezTo>
                    <a:cubicBezTo>
                      <a:pt x="9" y="9"/>
                      <a:pt x="1" y="1"/>
                      <a:pt x="0" y="0"/>
                    </a:cubicBezTo>
                    <a:cubicBezTo>
                      <a:pt x="0" y="0"/>
                      <a:pt x="0" y="0"/>
                      <a:pt x="0" y="0"/>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0" name="Freeform 1160">
                <a:extLst>
                  <a:ext uri="{FF2B5EF4-FFF2-40B4-BE49-F238E27FC236}">
                    <a16:creationId xmlns:a16="http://schemas.microsoft.com/office/drawing/2014/main" id="{85D53BED-BF78-4B42-876E-817355E9E95A}"/>
                  </a:ext>
                </a:extLst>
              </p:cNvPr>
              <p:cNvSpPr>
                <a:spLocks/>
              </p:cNvSpPr>
              <p:nvPr/>
            </p:nvSpPr>
            <p:spPr bwMode="auto">
              <a:xfrm>
                <a:off x="819" y="1569"/>
                <a:ext cx="10" cy="27"/>
              </a:xfrm>
              <a:custGeom>
                <a:avLst/>
                <a:gdLst>
                  <a:gd name="T0" fmla="*/ 13 w 14"/>
                  <a:gd name="T1" fmla="*/ 1 h 39"/>
                  <a:gd name="T2" fmla="*/ 2 w 14"/>
                  <a:gd name="T3" fmla="*/ 5 h 39"/>
                  <a:gd name="T4" fmla="*/ 7 w 14"/>
                  <a:gd name="T5" fmla="*/ 27 h 39"/>
                  <a:gd name="T6" fmla="*/ 14 w 14"/>
                  <a:gd name="T7" fmla="*/ 39 h 39"/>
                  <a:gd name="T8" fmla="*/ 13 w 14"/>
                  <a:gd name="T9" fmla="*/ 1 h 39"/>
                </a:gdLst>
                <a:ahLst/>
                <a:cxnLst>
                  <a:cxn ang="0">
                    <a:pos x="T0" y="T1"/>
                  </a:cxn>
                  <a:cxn ang="0">
                    <a:pos x="T2" y="T3"/>
                  </a:cxn>
                  <a:cxn ang="0">
                    <a:pos x="T4" y="T5"/>
                  </a:cxn>
                  <a:cxn ang="0">
                    <a:pos x="T6" y="T7"/>
                  </a:cxn>
                  <a:cxn ang="0">
                    <a:pos x="T8" y="T9"/>
                  </a:cxn>
                </a:cxnLst>
                <a:rect l="0" t="0" r="r" b="b"/>
                <a:pathLst>
                  <a:path w="14" h="39">
                    <a:moveTo>
                      <a:pt x="13" y="1"/>
                    </a:moveTo>
                    <a:cubicBezTo>
                      <a:pt x="8" y="0"/>
                      <a:pt x="4" y="1"/>
                      <a:pt x="2" y="5"/>
                    </a:cubicBezTo>
                    <a:cubicBezTo>
                      <a:pt x="0" y="11"/>
                      <a:pt x="3" y="19"/>
                      <a:pt x="7" y="27"/>
                    </a:cubicBezTo>
                    <a:cubicBezTo>
                      <a:pt x="9" y="31"/>
                      <a:pt x="12" y="35"/>
                      <a:pt x="14" y="39"/>
                    </a:cubicBezTo>
                    <a:cubicBezTo>
                      <a:pt x="11" y="31"/>
                      <a:pt x="6" y="8"/>
                      <a:pt x="13" y="1"/>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1" name="Freeform 1161">
                <a:extLst>
                  <a:ext uri="{FF2B5EF4-FFF2-40B4-BE49-F238E27FC236}">
                    <a16:creationId xmlns:a16="http://schemas.microsoft.com/office/drawing/2014/main" id="{C3F8E4C1-978B-4C03-BFBD-B3C5DCECB062}"/>
                  </a:ext>
                </a:extLst>
              </p:cNvPr>
              <p:cNvSpPr>
                <a:spLocks/>
              </p:cNvSpPr>
              <p:nvPr/>
            </p:nvSpPr>
            <p:spPr bwMode="auto">
              <a:xfrm>
                <a:off x="718" y="1489"/>
                <a:ext cx="170" cy="138"/>
              </a:xfrm>
              <a:custGeom>
                <a:avLst/>
                <a:gdLst>
                  <a:gd name="T0" fmla="*/ 166 w 250"/>
                  <a:gd name="T1" fmla="*/ 164 h 204"/>
                  <a:gd name="T2" fmla="*/ 153 w 250"/>
                  <a:gd name="T3" fmla="*/ 204 h 204"/>
                  <a:gd name="T4" fmla="*/ 153 w 250"/>
                  <a:gd name="T5" fmla="*/ 204 h 204"/>
                  <a:gd name="T6" fmla="*/ 152 w 250"/>
                  <a:gd name="T7" fmla="*/ 204 h 204"/>
                  <a:gd name="T8" fmla="*/ 82 w 250"/>
                  <a:gd name="T9" fmla="*/ 173 h 204"/>
                  <a:gd name="T10" fmla="*/ 72 w 250"/>
                  <a:gd name="T11" fmla="*/ 176 h 204"/>
                  <a:gd name="T12" fmla="*/ 5 w 250"/>
                  <a:gd name="T13" fmla="*/ 128 h 204"/>
                  <a:gd name="T14" fmla="*/ 53 w 250"/>
                  <a:gd name="T15" fmla="*/ 61 h 204"/>
                  <a:gd name="T16" fmla="*/ 64 w 250"/>
                  <a:gd name="T17" fmla="*/ 60 h 204"/>
                  <a:gd name="T18" fmla="*/ 87 w 250"/>
                  <a:gd name="T19" fmla="*/ 30 h 204"/>
                  <a:gd name="T20" fmla="*/ 125 w 250"/>
                  <a:gd name="T21" fmla="*/ 8 h 204"/>
                  <a:gd name="T22" fmla="*/ 197 w 250"/>
                  <a:gd name="T23" fmla="*/ 13 h 204"/>
                  <a:gd name="T24" fmla="*/ 246 w 250"/>
                  <a:gd name="T25" fmla="*/ 42 h 204"/>
                  <a:gd name="T26" fmla="*/ 239 w 250"/>
                  <a:gd name="T27" fmla="*/ 81 h 204"/>
                  <a:gd name="T28" fmla="*/ 239 w 250"/>
                  <a:gd name="T29" fmla="*/ 80 h 204"/>
                  <a:gd name="T30" fmla="*/ 200 w 250"/>
                  <a:gd name="T31" fmla="*/ 84 h 204"/>
                  <a:gd name="T32" fmla="*/ 179 w 250"/>
                  <a:gd name="T33" fmla="*/ 71 h 204"/>
                  <a:gd name="T34" fmla="*/ 179 w 250"/>
                  <a:gd name="T35" fmla="*/ 71 h 204"/>
                  <a:gd name="T36" fmla="*/ 193 w 250"/>
                  <a:gd name="T37" fmla="*/ 126 h 204"/>
                  <a:gd name="T38" fmla="*/ 183 w 250"/>
                  <a:gd name="T39" fmla="*/ 128 h 204"/>
                  <a:gd name="T40" fmla="*/ 162 w 250"/>
                  <a:gd name="T41" fmla="*/ 119 h 204"/>
                  <a:gd name="T42" fmla="*/ 151 w 250"/>
                  <a:gd name="T43" fmla="*/ 123 h 204"/>
                  <a:gd name="T44" fmla="*/ 156 w 250"/>
                  <a:gd name="T45" fmla="*/ 145 h 204"/>
                  <a:gd name="T46" fmla="*/ 163 w 250"/>
                  <a:gd name="T47" fmla="*/ 157 h 204"/>
                  <a:gd name="T48" fmla="*/ 166 w 250"/>
                  <a:gd name="T49"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204">
                    <a:moveTo>
                      <a:pt x="166" y="164"/>
                    </a:moveTo>
                    <a:cubicBezTo>
                      <a:pt x="166" y="164"/>
                      <a:pt x="172" y="195"/>
                      <a:pt x="153" y="204"/>
                    </a:cubicBezTo>
                    <a:cubicBezTo>
                      <a:pt x="153" y="204"/>
                      <a:pt x="153" y="204"/>
                      <a:pt x="153" y="204"/>
                    </a:cubicBezTo>
                    <a:cubicBezTo>
                      <a:pt x="153" y="204"/>
                      <a:pt x="153" y="204"/>
                      <a:pt x="152" y="204"/>
                    </a:cubicBezTo>
                    <a:cubicBezTo>
                      <a:pt x="126" y="204"/>
                      <a:pt x="100" y="192"/>
                      <a:pt x="82" y="173"/>
                    </a:cubicBezTo>
                    <a:cubicBezTo>
                      <a:pt x="79" y="174"/>
                      <a:pt x="76" y="175"/>
                      <a:pt x="72" y="176"/>
                    </a:cubicBezTo>
                    <a:cubicBezTo>
                      <a:pt x="40" y="181"/>
                      <a:pt x="10" y="160"/>
                      <a:pt x="5" y="128"/>
                    </a:cubicBezTo>
                    <a:cubicBezTo>
                      <a:pt x="0" y="96"/>
                      <a:pt x="21" y="66"/>
                      <a:pt x="53" y="61"/>
                    </a:cubicBezTo>
                    <a:cubicBezTo>
                      <a:pt x="57" y="60"/>
                      <a:pt x="60" y="60"/>
                      <a:pt x="64" y="60"/>
                    </a:cubicBezTo>
                    <a:cubicBezTo>
                      <a:pt x="69" y="50"/>
                      <a:pt x="76" y="40"/>
                      <a:pt x="87" y="30"/>
                    </a:cubicBezTo>
                    <a:cubicBezTo>
                      <a:pt x="97" y="20"/>
                      <a:pt x="110" y="13"/>
                      <a:pt x="125" y="8"/>
                    </a:cubicBezTo>
                    <a:cubicBezTo>
                      <a:pt x="150" y="0"/>
                      <a:pt x="175" y="3"/>
                      <a:pt x="197" y="13"/>
                    </a:cubicBezTo>
                    <a:cubicBezTo>
                      <a:pt x="218" y="9"/>
                      <a:pt x="239" y="21"/>
                      <a:pt x="246" y="42"/>
                    </a:cubicBezTo>
                    <a:cubicBezTo>
                      <a:pt x="250" y="56"/>
                      <a:pt x="247" y="70"/>
                      <a:pt x="239" y="81"/>
                    </a:cubicBezTo>
                    <a:cubicBezTo>
                      <a:pt x="239" y="81"/>
                      <a:pt x="239" y="81"/>
                      <a:pt x="239" y="80"/>
                    </a:cubicBezTo>
                    <a:cubicBezTo>
                      <a:pt x="224" y="88"/>
                      <a:pt x="211" y="87"/>
                      <a:pt x="200" y="84"/>
                    </a:cubicBezTo>
                    <a:cubicBezTo>
                      <a:pt x="188" y="80"/>
                      <a:pt x="180" y="72"/>
                      <a:pt x="179" y="71"/>
                    </a:cubicBezTo>
                    <a:cubicBezTo>
                      <a:pt x="179" y="71"/>
                      <a:pt x="179" y="71"/>
                      <a:pt x="179" y="71"/>
                    </a:cubicBezTo>
                    <a:cubicBezTo>
                      <a:pt x="193" y="126"/>
                      <a:pt x="193" y="126"/>
                      <a:pt x="193" y="126"/>
                    </a:cubicBezTo>
                    <a:cubicBezTo>
                      <a:pt x="194" y="134"/>
                      <a:pt x="183" y="128"/>
                      <a:pt x="183" y="128"/>
                    </a:cubicBezTo>
                    <a:cubicBezTo>
                      <a:pt x="183" y="128"/>
                      <a:pt x="172" y="121"/>
                      <a:pt x="162" y="119"/>
                    </a:cubicBezTo>
                    <a:cubicBezTo>
                      <a:pt x="157" y="118"/>
                      <a:pt x="153" y="119"/>
                      <a:pt x="151" y="123"/>
                    </a:cubicBezTo>
                    <a:cubicBezTo>
                      <a:pt x="149" y="129"/>
                      <a:pt x="152" y="137"/>
                      <a:pt x="156" y="145"/>
                    </a:cubicBezTo>
                    <a:cubicBezTo>
                      <a:pt x="158" y="149"/>
                      <a:pt x="161" y="153"/>
                      <a:pt x="163" y="157"/>
                    </a:cubicBezTo>
                    <a:cubicBezTo>
                      <a:pt x="165" y="160"/>
                      <a:pt x="166" y="164"/>
                      <a:pt x="166" y="16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2" name="Freeform 1162">
                <a:extLst>
                  <a:ext uri="{FF2B5EF4-FFF2-40B4-BE49-F238E27FC236}">
                    <a16:creationId xmlns:a16="http://schemas.microsoft.com/office/drawing/2014/main" id="{502819A5-42DE-4248-8BD7-BB7559227834}"/>
                  </a:ext>
                </a:extLst>
              </p:cNvPr>
              <p:cNvSpPr>
                <a:spLocks/>
              </p:cNvSpPr>
              <p:nvPr/>
            </p:nvSpPr>
            <p:spPr bwMode="auto">
              <a:xfrm>
                <a:off x="864" y="1559"/>
                <a:ext cx="8" cy="7"/>
              </a:xfrm>
              <a:custGeom>
                <a:avLst/>
                <a:gdLst>
                  <a:gd name="T0" fmla="*/ 7 w 13"/>
                  <a:gd name="T1" fmla="*/ 8 h 11"/>
                  <a:gd name="T2" fmla="*/ 12 w 13"/>
                  <a:gd name="T3" fmla="*/ 10 h 11"/>
                  <a:gd name="T4" fmla="*/ 13 w 13"/>
                  <a:gd name="T5" fmla="*/ 6 h 11"/>
                  <a:gd name="T6" fmla="*/ 6 w 13"/>
                  <a:gd name="T7" fmla="*/ 0 h 11"/>
                  <a:gd name="T8" fmla="*/ 0 w 13"/>
                  <a:gd name="T9" fmla="*/ 7 h 11"/>
                  <a:gd name="T10" fmla="*/ 2 w 13"/>
                  <a:gd name="T11" fmla="*/ 11 h 11"/>
                  <a:gd name="T12" fmla="*/ 7 w 13"/>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13" h="11">
                    <a:moveTo>
                      <a:pt x="7" y="8"/>
                    </a:moveTo>
                    <a:cubicBezTo>
                      <a:pt x="9" y="8"/>
                      <a:pt x="11" y="9"/>
                      <a:pt x="12" y="10"/>
                    </a:cubicBezTo>
                    <a:cubicBezTo>
                      <a:pt x="13" y="9"/>
                      <a:pt x="13" y="8"/>
                      <a:pt x="13" y="6"/>
                    </a:cubicBezTo>
                    <a:cubicBezTo>
                      <a:pt x="13" y="3"/>
                      <a:pt x="10" y="0"/>
                      <a:pt x="6" y="0"/>
                    </a:cubicBezTo>
                    <a:cubicBezTo>
                      <a:pt x="3" y="1"/>
                      <a:pt x="0" y="4"/>
                      <a:pt x="0" y="7"/>
                    </a:cubicBezTo>
                    <a:cubicBezTo>
                      <a:pt x="0" y="9"/>
                      <a:pt x="1" y="10"/>
                      <a:pt x="2" y="11"/>
                    </a:cubicBezTo>
                    <a:cubicBezTo>
                      <a:pt x="3" y="10"/>
                      <a:pt x="5" y="8"/>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3" name="Freeform 1163">
                <a:extLst>
                  <a:ext uri="{FF2B5EF4-FFF2-40B4-BE49-F238E27FC236}">
                    <a16:creationId xmlns:a16="http://schemas.microsoft.com/office/drawing/2014/main" id="{80B388BD-0D75-4299-8E4C-DC70FC902838}"/>
                  </a:ext>
                </a:extLst>
              </p:cNvPr>
              <p:cNvSpPr>
                <a:spLocks/>
              </p:cNvSpPr>
              <p:nvPr/>
            </p:nvSpPr>
            <p:spPr bwMode="auto">
              <a:xfrm>
                <a:off x="876" y="1600"/>
                <a:ext cx="20" cy="3"/>
              </a:xfrm>
              <a:custGeom>
                <a:avLst/>
                <a:gdLst>
                  <a:gd name="T0" fmla="*/ 0 w 28"/>
                  <a:gd name="T1" fmla="*/ 2 h 4"/>
                  <a:gd name="T2" fmla="*/ 13 w 28"/>
                  <a:gd name="T3" fmla="*/ 2 h 4"/>
                  <a:gd name="T4" fmla="*/ 22 w 28"/>
                  <a:gd name="T5" fmla="*/ 1 h 4"/>
                  <a:gd name="T6" fmla="*/ 26 w 28"/>
                  <a:gd name="T7" fmla="*/ 1 h 4"/>
                  <a:gd name="T8" fmla="*/ 28 w 28"/>
                  <a:gd name="T9" fmla="*/ 2 h 4"/>
                  <a:gd name="T10" fmla="*/ 27 w 28"/>
                  <a:gd name="T11" fmla="*/ 3 h 4"/>
                  <a:gd name="T12" fmla="*/ 27 w 28"/>
                  <a:gd name="T13" fmla="*/ 3 h 4"/>
                  <a:gd name="T14" fmla="*/ 27 w 28"/>
                  <a:gd name="T15" fmla="*/ 4 h 4"/>
                  <a:gd name="T16" fmla="*/ 22 w 28"/>
                  <a:gd name="T17" fmla="*/ 4 h 4"/>
                  <a:gd name="T18" fmla="*/ 13 w 28"/>
                  <a:gd name="T19" fmla="*/ 4 h 4"/>
                  <a:gd name="T20" fmla="*/ 0 w 28"/>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2"/>
                    </a:moveTo>
                    <a:cubicBezTo>
                      <a:pt x="0" y="2"/>
                      <a:pt x="7" y="2"/>
                      <a:pt x="13" y="2"/>
                    </a:cubicBezTo>
                    <a:cubicBezTo>
                      <a:pt x="16" y="2"/>
                      <a:pt x="20" y="2"/>
                      <a:pt x="22" y="1"/>
                    </a:cubicBezTo>
                    <a:cubicBezTo>
                      <a:pt x="24" y="1"/>
                      <a:pt x="26" y="1"/>
                      <a:pt x="26" y="1"/>
                    </a:cubicBezTo>
                    <a:cubicBezTo>
                      <a:pt x="27" y="0"/>
                      <a:pt x="28" y="1"/>
                      <a:pt x="28" y="2"/>
                    </a:cubicBezTo>
                    <a:cubicBezTo>
                      <a:pt x="28" y="2"/>
                      <a:pt x="28" y="3"/>
                      <a:pt x="27" y="3"/>
                    </a:cubicBezTo>
                    <a:cubicBezTo>
                      <a:pt x="27" y="3"/>
                      <a:pt x="27" y="3"/>
                      <a:pt x="27" y="3"/>
                    </a:cubicBezTo>
                    <a:cubicBezTo>
                      <a:pt x="27" y="4"/>
                      <a:pt x="27" y="4"/>
                      <a:pt x="27" y="4"/>
                    </a:cubicBezTo>
                    <a:cubicBezTo>
                      <a:pt x="27" y="4"/>
                      <a:pt x="25" y="4"/>
                      <a:pt x="22" y="4"/>
                    </a:cubicBezTo>
                    <a:cubicBezTo>
                      <a:pt x="20" y="4"/>
                      <a:pt x="16" y="4"/>
                      <a:pt x="13" y="4"/>
                    </a:cubicBezTo>
                    <a:cubicBezTo>
                      <a:pt x="7" y="3"/>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4" name="Freeform 1164">
                <a:extLst>
                  <a:ext uri="{FF2B5EF4-FFF2-40B4-BE49-F238E27FC236}">
                    <a16:creationId xmlns:a16="http://schemas.microsoft.com/office/drawing/2014/main" id="{91133489-16A4-4B5C-B7D0-18F641F1E9E5}"/>
                  </a:ext>
                </a:extLst>
              </p:cNvPr>
              <p:cNvSpPr>
                <a:spLocks/>
              </p:cNvSpPr>
              <p:nvPr/>
            </p:nvSpPr>
            <p:spPr bwMode="auto">
              <a:xfrm>
                <a:off x="876" y="1602"/>
                <a:ext cx="20" cy="2"/>
              </a:xfrm>
              <a:custGeom>
                <a:avLst/>
                <a:gdLst>
                  <a:gd name="T0" fmla="*/ 0 w 28"/>
                  <a:gd name="T1" fmla="*/ 0 h 4"/>
                  <a:gd name="T2" fmla="*/ 13 w 28"/>
                  <a:gd name="T3" fmla="*/ 1 h 4"/>
                  <a:gd name="T4" fmla="*/ 22 w 28"/>
                  <a:gd name="T5" fmla="*/ 2 h 4"/>
                  <a:gd name="T6" fmla="*/ 26 w 28"/>
                  <a:gd name="T7" fmla="*/ 1 h 4"/>
                  <a:gd name="T8" fmla="*/ 28 w 28"/>
                  <a:gd name="T9" fmla="*/ 3 h 4"/>
                  <a:gd name="T10" fmla="*/ 26 w 28"/>
                  <a:gd name="T11" fmla="*/ 4 h 4"/>
                  <a:gd name="T12" fmla="*/ 26 w 28"/>
                  <a:gd name="T13" fmla="*/ 4 h 4"/>
                  <a:gd name="T14" fmla="*/ 26 w 28"/>
                  <a:gd name="T15" fmla="*/ 4 h 4"/>
                  <a:gd name="T16" fmla="*/ 22 w 28"/>
                  <a:gd name="T17" fmla="*/ 4 h 4"/>
                  <a:gd name="T18" fmla="*/ 13 w 28"/>
                  <a:gd name="T19" fmla="*/ 3 h 4"/>
                  <a:gd name="T20" fmla="*/ 0 w 28"/>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0"/>
                    </a:moveTo>
                    <a:cubicBezTo>
                      <a:pt x="0" y="0"/>
                      <a:pt x="7" y="1"/>
                      <a:pt x="13" y="1"/>
                    </a:cubicBezTo>
                    <a:cubicBezTo>
                      <a:pt x="16" y="2"/>
                      <a:pt x="20" y="2"/>
                      <a:pt x="22" y="2"/>
                    </a:cubicBezTo>
                    <a:cubicBezTo>
                      <a:pt x="24" y="1"/>
                      <a:pt x="26" y="1"/>
                      <a:pt x="26" y="1"/>
                    </a:cubicBezTo>
                    <a:cubicBezTo>
                      <a:pt x="27" y="1"/>
                      <a:pt x="27" y="2"/>
                      <a:pt x="28" y="3"/>
                    </a:cubicBezTo>
                    <a:cubicBezTo>
                      <a:pt x="28" y="3"/>
                      <a:pt x="27" y="4"/>
                      <a:pt x="26" y="4"/>
                    </a:cubicBezTo>
                    <a:cubicBezTo>
                      <a:pt x="26" y="4"/>
                      <a:pt x="26" y="4"/>
                      <a:pt x="26" y="4"/>
                    </a:cubicBezTo>
                    <a:cubicBezTo>
                      <a:pt x="26" y="4"/>
                      <a:pt x="26" y="4"/>
                      <a:pt x="26" y="4"/>
                    </a:cubicBezTo>
                    <a:cubicBezTo>
                      <a:pt x="26" y="4"/>
                      <a:pt x="24" y="4"/>
                      <a:pt x="22" y="4"/>
                    </a:cubicBezTo>
                    <a:cubicBezTo>
                      <a:pt x="19" y="4"/>
                      <a:pt x="16" y="3"/>
                      <a:pt x="13" y="3"/>
                    </a:cubicBezTo>
                    <a:cubicBezTo>
                      <a:pt x="6" y="2"/>
                      <a:pt x="0" y="0"/>
                      <a:pt x="0" y="0"/>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5" name="Freeform 1165">
                <a:extLst>
                  <a:ext uri="{FF2B5EF4-FFF2-40B4-BE49-F238E27FC236}">
                    <a16:creationId xmlns:a16="http://schemas.microsoft.com/office/drawing/2014/main" id="{645E123B-2179-4802-B541-DB337E36BF6A}"/>
                  </a:ext>
                </a:extLst>
              </p:cNvPr>
              <p:cNvSpPr>
                <a:spLocks/>
              </p:cNvSpPr>
              <p:nvPr/>
            </p:nvSpPr>
            <p:spPr bwMode="auto">
              <a:xfrm>
                <a:off x="1005" y="1732"/>
                <a:ext cx="84" cy="64"/>
              </a:xfrm>
              <a:custGeom>
                <a:avLst/>
                <a:gdLst>
                  <a:gd name="T0" fmla="*/ 121 w 123"/>
                  <a:gd name="T1" fmla="*/ 56 h 94"/>
                  <a:gd name="T2" fmla="*/ 119 w 123"/>
                  <a:gd name="T3" fmla="*/ 48 h 94"/>
                  <a:gd name="T4" fmla="*/ 122 w 123"/>
                  <a:gd name="T5" fmla="*/ 43 h 94"/>
                  <a:gd name="T6" fmla="*/ 116 w 123"/>
                  <a:gd name="T7" fmla="*/ 33 h 94"/>
                  <a:gd name="T8" fmla="*/ 104 w 123"/>
                  <a:gd name="T9" fmla="*/ 30 h 94"/>
                  <a:gd name="T10" fmla="*/ 86 w 123"/>
                  <a:gd name="T11" fmla="*/ 23 h 94"/>
                  <a:gd name="T12" fmla="*/ 106 w 123"/>
                  <a:gd name="T13" fmla="*/ 17 h 94"/>
                  <a:gd name="T14" fmla="*/ 109 w 123"/>
                  <a:gd name="T15" fmla="*/ 0 h 94"/>
                  <a:gd name="T16" fmla="*/ 64 w 123"/>
                  <a:gd name="T17" fmla="*/ 11 h 94"/>
                  <a:gd name="T18" fmla="*/ 49 w 123"/>
                  <a:gd name="T19" fmla="*/ 25 h 94"/>
                  <a:gd name="T20" fmla="*/ 0 w 123"/>
                  <a:gd name="T21" fmla="*/ 49 h 94"/>
                  <a:gd name="T22" fmla="*/ 10 w 123"/>
                  <a:gd name="T23" fmla="*/ 94 h 94"/>
                  <a:gd name="T24" fmla="*/ 66 w 123"/>
                  <a:gd name="T25" fmla="*/ 80 h 94"/>
                  <a:gd name="T26" fmla="*/ 93 w 123"/>
                  <a:gd name="T27" fmla="*/ 82 h 94"/>
                  <a:gd name="T28" fmla="*/ 103 w 123"/>
                  <a:gd name="T29" fmla="*/ 76 h 94"/>
                  <a:gd name="T30" fmla="*/ 103 w 123"/>
                  <a:gd name="T31" fmla="*/ 72 h 94"/>
                  <a:gd name="T32" fmla="*/ 112 w 123"/>
                  <a:gd name="T33" fmla="*/ 66 h 94"/>
                  <a:gd name="T34" fmla="*/ 111 w 123"/>
                  <a:gd name="T35" fmla="*/ 61 h 94"/>
                  <a:gd name="T36" fmla="*/ 111 w 123"/>
                  <a:gd name="T37" fmla="*/ 61 h 94"/>
                  <a:gd name="T38" fmla="*/ 121 w 123"/>
                  <a:gd name="T39" fmla="*/ 5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94">
                    <a:moveTo>
                      <a:pt x="121" y="56"/>
                    </a:moveTo>
                    <a:cubicBezTo>
                      <a:pt x="122" y="53"/>
                      <a:pt x="121" y="50"/>
                      <a:pt x="119" y="48"/>
                    </a:cubicBezTo>
                    <a:cubicBezTo>
                      <a:pt x="120" y="46"/>
                      <a:pt x="121" y="45"/>
                      <a:pt x="122" y="43"/>
                    </a:cubicBezTo>
                    <a:cubicBezTo>
                      <a:pt x="123" y="39"/>
                      <a:pt x="120" y="35"/>
                      <a:pt x="116" y="33"/>
                    </a:cubicBezTo>
                    <a:cubicBezTo>
                      <a:pt x="104" y="30"/>
                      <a:pt x="104" y="30"/>
                      <a:pt x="104" y="30"/>
                    </a:cubicBezTo>
                    <a:cubicBezTo>
                      <a:pt x="86" y="23"/>
                      <a:pt x="86" y="23"/>
                      <a:pt x="86" y="23"/>
                    </a:cubicBezTo>
                    <a:cubicBezTo>
                      <a:pt x="106" y="17"/>
                      <a:pt x="106" y="17"/>
                      <a:pt x="106" y="17"/>
                    </a:cubicBezTo>
                    <a:cubicBezTo>
                      <a:pt x="106" y="17"/>
                      <a:pt x="117" y="8"/>
                      <a:pt x="109" y="0"/>
                    </a:cubicBezTo>
                    <a:cubicBezTo>
                      <a:pt x="75" y="11"/>
                      <a:pt x="75" y="5"/>
                      <a:pt x="64" y="11"/>
                    </a:cubicBezTo>
                    <a:cubicBezTo>
                      <a:pt x="57" y="14"/>
                      <a:pt x="52" y="19"/>
                      <a:pt x="49" y="25"/>
                    </a:cubicBezTo>
                    <a:cubicBezTo>
                      <a:pt x="47" y="28"/>
                      <a:pt x="0" y="49"/>
                      <a:pt x="0" y="49"/>
                    </a:cubicBezTo>
                    <a:cubicBezTo>
                      <a:pt x="10" y="94"/>
                      <a:pt x="10" y="94"/>
                      <a:pt x="10" y="94"/>
                    </a:cubicBezTo>
                    <a:cubicBezTo>
                      <a:pt x="66" y="80"/>
                      <a:pt x="66" y="80"/>
                      <a:pt x="66" y="80"/>
                    </a:cubicBezTo>
                    <a:cubicBezTo>
                      <a:pt x="93" y="82"/>
                      <a:pt x="93" y="82"/>
                      <a:pt x="93" y="82"/>
                    </a:cubicBezTo>
                    <a:cubicBezTo>
                      <a:pt x="97" y="83"/>
                      <a:pt x="101" y="81"/>
                      <a:pt x="103" y="76"/>
                    </a:cubicBezTo>
                    <a:cubicBezTo>
                      <a:pt x="103" y="75"/>
                      <a:pt x="103" y="73"/>
                      <a:pt x="103" y="72"/>
                    </a:cubicBezTo>
                    <a:cubicBezTo>
                      <a:pt x="107" y="73"/>
                      <a:pt x="110" y="70"/>
                      <a:pt x="112" y="66"/>
                    </a:cubicBezTo>
                    <a:cubicBezTo>
                      <a:pt x="112" y="65"/>
                      <a:pt x="112" y="63"/>
                      <a:pt x="111" y="61"/>
                    </a:cubicBezTo>
                    <a:cubicBezTo>
                      <a:pt x="111" y="61"/>
                      <a:pt x="111" y="61"/>
                      <a:pt x="111" y="61"/>
                    </a:cubicBezTo>
                    <a:cubicBezTo>
                      <a:pt x="116" y="63"/>
                      <a:pt x="120" y="60"/>
                      <a:pt x="121" y="56"/>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6" name="Rectangle 1166">
                <a:extLst>
                  <a:ext uri="{FF2B5EF4-FFF2-40B4-BE49-F238E27FC236}">
                    <a16:creationId xmlns:a16="http://schemas.microsoft.com/office/drawing/2014/main" id="{388759F1-B2F4-41E6-9B2A-8D2619252B40}"/>
                  </a:ext>
                </a:extLst>
              </p:cNvPr>
              <p:cNvSpPr>
                <a:spLocks noChangeArrowheads="1"/>
              </p:cNvSpPr>
              <p:nvPr/>
            </p:nvSpPr>
            <p:spPr bwMode="auto">
              <a:xfrm>
                <a:off x="1637" y="1675"/>
                <a:ext cx="545" cy="3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7" name="Rectangle 1167">
                <a:extLst>
                  <a:ext uri="{FF2B5EF4-FFF2-40B4-BE49-F238E27FC236}">
                    <a16:creationId xmlns:a16="http://schemas.microsoft.com/office/drawing/2014/main" id="{9C8B461D-B5BB-4F52-BE14-FC5C5B98A42E}"/>
                  </a:ext>
                </a:extLst>
              </p:cNvPr>
              <p:cNvSpPr>
                <a:spLocks noChangeArrowheads="1"/>
              </p:cNvSpPr>
              <p:nvPr/>
            </p:nvSpPr>
            <p:spPr bwMode="auto">
              <a:xfrm>
                <a:off x="1658" y="1173"/>
                <a:ext cx="503" cy="532"/>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8" name="Rectangle 1168">
                <a:extLst>
                  <a:ext uri="{FF2B5EF4-FFF2-40B4-BE49-F238E27FC236}">
                    <a16:creationId xmlns:a16="http://schemas.microsoft.com/office/drawing/2014/main" id="{4F27B8A1-0038-4420-8872-E8CB743D1DCC}"/>
                  </a:ext>
                </a:extLst>
              </p:cNvPr>
              <p:cNvSpPr>
                <a:spLocks noChangeArrowheads="1"/>
              </p:cNvSpPr>
              <p:nvPr/>
            </p:nvSpPr>
            <p:spPr bwMode="auto">
              <a:xfrm>
                <a:off x="1693" y="1206"/>
                <a:ext cx="433" cy="4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9" name="Freeform 1169">
                <a:extLst>
                  <a:ext uri="{FF2B5EF4-FFF2-40B4-BE49-F238E27FC236}">
                    <a16:creationId xmlns:a16="http://schemas.microsoft.com/office/drawing/2014/main" id="{28946F1A-E7CB-47CC-A2E4-815CF1B4DFEA}"/>
                  </a:ext>
                </a:extLst>
              </p:cNvPr>
              <p:cNvSpPr>
                <a:spLocks/>
              </p:cNvSpPr>
              <p:nvPr/>
            </p:nvSpPr>
            <p:spPr bwMode="auto">
              <a:xfrm>
                <a:off x="1905" y="1461"/>
                <a:ext cx="85" cy="179"/>
              </a:xfrm>
              <a:custGeom>
                <a:avLst/>
                <a:gdLst>
                  <a:gd name="T0" fmla="*/ 69 w 125"/>
                  <a:gd name="T1" fmla="*/ 263 h 263"/>
                  <a:gd name="T2" fmla="*/ 66 w 125"/>
                  <a:gd name="T3" fmla="*/ 251 h 263"/>
                  <a:gd name="T4" fmla="*/ 0 w 125"/>
                  <a:gd name="T5" fmla="*/ 169 h 263"/>
                  <a:gd name="T6" fmla="*/ 7 w 125"/>
                  <a:gd name="T7" fmla="*/ 158 h 263"/>
                  <a:gd name="T8" fmla="*/ 74 w 125"/>
                  <a:gd name="T9" fmla="*/ 235 h 263"/>
                  <a:gd name="T10" fmla="*/ 90 w 125"/>
                  <a:gd name="T11" fmla="*/ 60 h 263"/>
                  <a:gd name="T12" fmla="*/ 49 w 125"/>
                  <a:gd name="T13" fmla="*/ 8 h 263"/>
                  <a:gd name="T14" fmla="*/ 59 w 125"/>
                  <a:gd name="T15" fmla="*/ 0 h 263"/>
                  <a:gd name="T16" fmla="*/ 102 w 125"/>
                  <a:gd name="T17" fmla="*/ 54 h 263"/>
                  <a:gd name="T18" fmla="*/ 102 w 125"/>
                  <a:gd name="T19" fmla="*/ 54 h 263"/>
                  <a:gd name="T20" fmla="*/ 77 w 125"/>
                  <a:gd name="T21" fmla="*/ 254 h 263"/>
                  <a:gd name="T22" fmla="*/ 69 w 125"/>
                  <a:gd name="T23"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263">
                    <a:moveTo>
                      <a:pt x="69" y="263"/>
                    </a:moveTo>
                    <a:cubicBezTo>
                      <a:pt x="66" y="251"/>
                      <a:pt x="66" y="251"/>
                      <a:pt x="66" y="251"/>
                    </a:cubicBezTo>
                    <a:cubicBezTo>
                      <a:pt x="53" y="206"/>
                      <a:pt x="0" y="169"/>
                      <a:pt x="0" y="169"/>
                    </a:cubicBezTo>
                    <a:cubicBezTo>
                      <a:pt x="7" y="158"/>
                      <a:pt x="7" y="158"/>
                      <a:pt x="7" y="158"/>
                    </a:cubicBezTo>
                    <a:cubicBezTo>
                      <a:pt x="9" y="160"/>
                      <a:pt x="56" y="192"/>
                      <a:pt x="74" y="235"/>
                    </a:cubicBezTo>
                    <a:cubicBezTo>
                      <a:pt x="100" y="194"/>
                      <a:pt x="109" y="108"/>
                      <a:pt x="90" y="60"/>
                    </a:cubicBezTo>
                    <a:cubicBezTo>
                      <a:pt x="49" y="8"/>
                      <a:pt x="49" y="8"/>
                      <a:pt x="49" y="8"/>
                    </a:cubicBezTo>
                    <a:cubicBezTo>
                      <a:pt x="59" y="0"/>
                      <a:pt x="59" y="0"/>
                      <a:pt x="59" y="0"/>
                    </a:cubicBezTo>
                    <a:cubicBezTo>
                      <a:pt x="102" y="54"/>
                      <a:pt x="102" y="54"/>
                      <a:pt x="102" y="54"/>
                    </a:cubicBezTo>
                    <a:cubicBezTo>
                      <a:pt x="102" y="54"/>
                      <a:pt x="102" y="54"/>
                      <a:pt x="102" y="54"/>
                    </a:cubicBezTo>
                    <a:cubicBezTo>
                      <a:pt x="125" y="111"/>
                      <a:pt x="112" y="213"/>
                      <a:pt x="77" y="254"/>
                    </a:cubicBezTo>
                    <a:lnTo>
                      <a:pt x="69" y="263"/>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0" name="Freeform 1170">
                <a:extLst>
                  <a:ext uri="{FF2B5EF4-FFF2-40B4-BE49-F238E27FC236}">
                    <a16:creationId xmlns:a16="http://schemas.microsoft.com/office/drawing/2014/main" id="{1AD78FCA-926F-4214-8CF4-A5750F098B6A}"/>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 name="T10" fmla="*/ 8 w 36"/>
                  <a:gd name="T11" fmla="*/ 41 h 41"/>
                </a:gdLst>
                <a:ahLst/>
                <a:cxnLst>
                  <a:cxn ang="0">
                    <a:pos x="T0" y="T1"/>
                  </a:cxn>
                  <a:cxn ang="0">
                    <a:pos x="T2" y="T3"/>
                  </a:cxn>
                  <a:cxn ang="0">
                    <a:pos x="T4" y="T5"/>
                  </a:cxn>
                  <a:cxn ang="0">
                    <a:pos x="T6" y="T7"/>
                  </a:cxn>
                  <a:cxn ang="0">
                    <a:pos x="T8" y="T9"/>
                  </a:cxn>
                  <a:cxn ang="0">
                    <a:pos x="T10" y="T11"/>
                  </a:cxn>
                </a:cxnLst>
                <a:rect l="0" t="0" r="r" b="b"/>
                <a:pathLst>
                  <a:path w="36" h="41">
                    <a:moveTo>
                      <a:pt x="8" y="41"/>
                    </a:moveTo>
                    <a:lnTo>
                      <a:pt x="36" y="6"/>
                    </a:lnTo>
                    <a:lnTo>
                      <a:pt x="30" y="0"/>
                    </a:lnTo>
                    <a:lnTo>
                      <a:pt x="0" y="37"/>
                    </a:lnTo>
                    <a:lnTo>
                      <a:pt x="0" y="37"/>
                    </a:lnTo>
                    <a:lnTo>
                      <a:pt x="8" y="41"/>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1" name="Freeform 1171">
                <a:extLst>
                  <a:ext uri="{FF2B5EF4-FFF2-40B4-BE49-F238E27FC236}">
                    <a16:creationId xmlns:a16="http://schemas.microsoft.com/office/drawing/2014/main" id="{7E233EC7-DCAA-48D2-8E60-CF2034791CE1}"/>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Lst>
                <a:ahLst/>
                <a:cxnLst>
                  <a:cxn ang="0">
                    <a:pos x="T0" y="T1"/>
                  </a:cxn>
                  <a:cxn ang="0">
                    <a:pos x="T2" y="T3"/>
                  </a:cxn>
                  <a:cxn ang="0">
                    <a:pos x="T4" y="T5"/>
                  </a:cxn>
                  <a:cxn ang="0">
                    <a:pos x="T6" y="T7"/>
                  </a:cxn>
                  <a:cxn ang="0">
                    <a:pos x="T8" y="T9"/>
                  </a:cxn>
                </a:cxnLst>
                <a:rect l="0" t="0" r="r" b="b"/>
                <a:pathLst>
                  <a:path w="36" h="41">
                    <a:moveTo>
                      <a:pt x="8" y="41"/>
                    </a:moveTo>
                    <a:lnTo>
                      <a:pt x="36" y="6"/>
                    </a:lnTo>
                    <a:lnTo>
                      <a:pt x="30" y="0"/>
                    </a:lnTo>
                    <a:lnTo>
                      <a:pt x="0" y="37"/>
                    </a:lnTo>
                    <a:lnTo>
                      <a:pt x="0" y="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2" name="Freeform 1172">
                <a:extLst>
                  <a:ext uri="{FF2B5EF4-FFF2-40B4-BE49-F238E27FC236}">
                    <a16:creationId xmlns:a16="http://schemas.microsoft.com/office/drawing/2014/main" id="{4E0CFD77-0CCE-46E8-B4AD-05CB02E9E037}"/>
                  </a:ext>
                </a:extLst>
              </p:cNvPr>
              <p:cNvSpPr>
                <a:spLocks/>
              </p:cNvSpPr>
              <p:nvPr/>
            </p:nvSpPr>
            <p:spPr bwMode="auto">
              <a:xfrm>
                <a:off x="1850" y="1239"/>
                <a:ext cx="75" cy="106"/>
              </a:xfrm>
              <a:custGeom>
                <a:avLst/>
                <a:gdLst>
                  <a:gd name="T0" fmla="*/ 80 w 110"/>
                  <a:gd name="T1" fmla="*/ 156 h 156"/>
                  <a:gd name="T2" fmla="*/ 77 w 110"/>
                  <a:gd name="T3" fmla="*/ 143 h 156"/>
                  <a:gd name="T4" fmla="*/ 92 w 110"/>
                  <a:gd name="T5" fmla="*/ 139 h 156"/>
                  <a:gd name="T6" fmla="*/ 18 w 110"/>
                  <a:gd name="T7" fmla="*/ 20 h 156"/>
                  <a:gd name="T8" fmla="*/ 10 w 110"/>
                  <a:gd name="T9" fmla="*/ 29 h 156"/>
                  <a:gd name="T10" fmla="*/ 0 w 110"/>
                  <a:gd name="T11" fmla="*/ 21 h 156"/>
                  <a:gd name="T12" fmla="*/ 13 w 110"/>
                  <a:gd name="T13" fmla="*/ 6 h 156"/>
                  <a:gd name="T14" fmla="*/ 18 w 110"/>
                  <a:gd name="T15" fmla="*/ 0 h 156"/>
                  <a:gd name="T16" fmla="*/ 23 w 110"/>
                  <a:gd name="T17" fmla="*/ 6 h 156"/>
                  <a:gd name="T18" fmla="*/ 107 w 110"/>
                  <a:gd name="T19" fmla="*/ 140 h 156"/>
                  <a:gd name="T20" fmla="*/ 110 w 110"/>
                  <a:gd name="T21" fmla="*/ 146 h 156"/>
                  <a:gd name="T22" fmla="*/ 103 w 110"/>
                  <a:gd name="T23" fmla="*/ 149 h 156"/>
                  <a:gd name="T24" fmla="*/ 80 w 110"/>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56">
                    <a:moveTo>
                      <a:pt x="80" y="156"/>
                    </a:moveTo>
                    <a:cubicBezTo>
                      <a:pt x="77" y="143"/>
                      <a:pt x="77" y="143"/>
                      <a:pt x="77" y="143"/>
                    </a:cubicBezTo>
                    <a:cubicBezTo>
                      <a:pt x="82" y="142"/>
                      <a:pt x="87" y="140"/>
                      <a:pt x="92" y="139"/>
                    </a:cubicBezTo>
                    <a:cubicBezTo>
                      <a:pt x="65" y="79"/>
                      <a:pt x="30" y="35"/>
                      <a:pt x="18" y="20"/>
                    </a:cubicBezTo>
                    <a:cubicBezTo>
                      <a:pt x="16" y="22"/>
                      <a:pt x="13" y="25"/>
                      <a:pt x="10" y="29"/>
                    </a:cubicBezTo>
                    <a:cubicBezTo>
                      <a:pt x="0" y="21"/>
                      <a:pt x="0" y="21"/>
                      <a:pt x="0" y="21"/>
                    </a:cubicBezTo>
                    <a:cubicBezTo>
                      <a:pt x="8" y="11"/>
                      <a:pt x="13" y="6"/>
                      <a:pt x="13" y="6"/>
                    </a:cubicBezTo>
                    <a:cubicBezTo>
                      <a:pt x="18" y="0"/>
                      <a:pt x="18" y="0"/>
                      <a:pt x="18" y="0"/>
                    </a:cubicBezTo>
                    <a:cubicBezTo>
                      <a:pt x="23" y="6"/>
                      <a:pt x="23" y="6"/>
                      <a:pt x="23" y="6"/>
                    </a:cubicBezTo>
                    <a:cubicBezTo>
                      <a:pt x="25" y="8"/>
                      <a:pt x="72" y="60"/>
                      <a:pt x="107" y="140"/>
                    </a:cubicBezTo>
                    <a:cubicBezTo>
                      <a:pt x="110" y="146"/>
                      <a:pt x="110" y="146"/>
                      <a:pt x="110" y="146"/>
                    </a:cubicBezTo>
                    <a:cubicBezTo>
                      <a:pt x="103" y="149"/>
                      <a:pt x="103" y="149"/>
                      <a:pt x="103" y="149"/>
                    </a:cubicBezTo>
                    <a:cubicBezTo>
                      <a:pt x="96" y="151"/>
                      <a:pt x="88" y="154"/>
                      <a:pt x="80" y="156"/>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3" name="Freeform 1173">
                <a:extLst>
                  <a:ext uri="{FF2B5EF4-FFF2-40B4-BE49-F238E27FC236}">
                    <a16:creationId xmlns:a16="http://schemas.microsoft.com/office/drawing/2014/main" id="{62EAA4A4-5F9D-40C1-B922-3C57F6DA1712}"/>
                  </a:ext>
                </a:extLst>
              </p:cNvPr>
              <p:cNvSpPr>
                <a:spLocks/>
              </p:cNvSpPr>
              <p:nvPr/>
            </p:nvSpPr>
            <p:spPr bwMode="auto">
              <a:xfrm>
                <a:off x="1799" y="1253"/>
                <a:ext cx="105" cy="97"/>
              </a:xfrm>
              <a:custGeom>
                <a:avLst/>
                <a:gdLst>
                  <a:gd name="T0" fmla="*/ 92 w 154"/>
                  <a:gd name="T1" fmla="*/ 143 h 143"/>
                  <a:gd name="T2" fmla="*/ 7 w 154"/>
                  <a:gd name="T3" fmla="*/ 128 h 143"/>
                  <a:gd name="T4" fmla="*/ 0 w 154"/>
                  <a:gd name="T5" fmla="*/ 125 h 143"/>
                  <a:gd name="T6" fmla="*/ 3 w 154"/>
                  <a:gd name="T7" fmla="*/ 119 h 143"/>
                  <a:gd name="T8" fmla="*/ 74 w 154"/>
                  <a:gd name="T9" fmla="*/ 0 h 143"/>
                  <a:gd name="T10" fmla="*/ 84 w 154"/>
                  <a:gd name="T11" fmla="*/ 8 h 143"/>
                  <a:gd name="T12" fmla="*/ 18 w 154"/>
                  <a:gd name="T13" fmla="*/ 118 h 143"/>
                  <a:gd name="T14" fmla="*/ 92 w 154"/>
                  <a:gd name="T15" fmla="*/ 130 h 143"/>
                  <a:gd name="T16" fmla="*/ 151 w 154"/>
                  <a:gd name="T17" fmla="*/ 122 h 143"/>
                  <a:gd name="T18" fmla="*/ 154 w 154"/>
                  <a:gd name="T19" fmla="*/ 135 h 143"/>
                  <a:gd name="T20" fmla="*/ 92 w 154"/>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143">
                    <a:moveTo>
                      <a:pt x="92" y="143"/>
                    </a:moveTo>
                    <a:cubicBezTo>
                      <a:pt x="63" y="143"/>
                      <a:pt x="34" y="138"/>
                      <a:pt x="7" y="128"/>
                    </a:cubicBezTo>
                    <a:cubicBezTo>
                      <a:pt x="0" y="125"/>
                      <a:pt x="0" y="125"/>
                      <a:pt x="0" y="125"/>
                    </a:cubicBezTo>
                    <a:cubicBezTo>
                      <a:pt x="3" y="119"/>
                      <a:pt x="3" y="119"/>
                      <a:pt x="3" y="119"/>
                    </a:cubicBezTo>
                    <a:cubicBezTo>
                      <a:pt x="27" y="63"/>
                      <a:pt x="58" y="21"/>
                      <a:pt x="74" y="0"/>
                    </a:cubicBezTo>
                    <a:cubicBezTo>
                      <a:pt x="84" y="8"/>
                      <a:pt x="84" y="8"/>
                      <a:pt x="84" y="8"/>
                    </a:cubicBezTo>
                    <a:cubicBezTo>
                      <a:pt x="69" y="27"/>
                      <a:pt x="41" y="67"/>
                      <a:pt x="18" y="118"/>
                    </a:cubicBezTo>
                    <a:cubicBezTo>
                      <a:pt x="42" y="126"/>
                      <a:pt x="67" y="130"/>
                      <a:pt x="92" y="130"/>
                    </a:cubicBezTo>
                    <a:cubicBezTo>
                      <a:pt x="112" y="130"/>
                      <a:pt x="132" y="128"/>
                      <a:pt x="151" y="122"/>
                    </a:cubicBezTo>
                    <a:cubicBezTo>
                      <a:pt x="154" y="135"/>
                      <a:pt x="154" y="135"/>
                      <a:pt x="154" y="135"/>
                    </a:cubicBezTo>
                    <a:cubicBezTo>
                      <a:pt x="134" y="141"/>
                      <a:pt x="113" y="143"/>
                      <a:pt x="92" y="14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4" name="Freeform 1174">
                <a:extLst>
                  <a:ext uri="{FF2B5EF4-FFF2-40B4-BE49-F238E27FC236}">
                    <a16:creationId xmlns:a16="http://schemas.microsoft.com/office/drawing/2014/main" id="{B0414F72-A2CD-4AF4-AE7E-59161A82ED51}"/>
                  </a:ext>
                </a:extLst>
              </p:cNvPr>
              <p:cNvSpPr>
                <a:spLocks/>
              </p:cNvSpPr>
              <p:nvPr/>
            </p:nvSpPr>
            <p:spPr bwMode="auto">
              <a:xfrm>
                <a:off x="1890" y="1334"/>
                <a:ext cx="57" cy="243"/>
              </a:xfrm>
              <a:custGeom>
                <a:avLst/>
                <a:gdLst>
                  <a:gd name="T0" fmla="*/ 29 w 84"/>
                  <a:gd name="T1" fmla="*/ 358 h 358"/>
                  <a:gd name="T2" fmla="*/ 0 w 84"/>
                  <a:gd name="T3" fmla="*/ 358 h 358"/>
                  <a:gd name="T4" fmla="*/ 0 w 84"/>
                  <a:gd name="T5" fmla="*/ 345 h 358"/>
                  <a:gd name="T6" fmla="*/ 21 w 84"/>
                  <a:gd name="T7" fmla="*/ 345 h 358"/>
                  <a:gd name="T8" fmla="*/ 71 w 84"/>
                  <a:gd name="T9" fmla="*/ 160 h 358"/>
                  <a:gd name="T10" fmla="*/ 36 w 84"/>
                  <a:gd name="T11" fmla="*/ 5 h 358"/>
                  <a:gd name="T12" fmla="*/ 48 w 84"/>
                  <a:gd name="T13" fmla="*/ 0 h 358"/>
                  <a:gd name="T14" fmla="*/ 84 w 84"/>
                  <a:gd name="T15" fmla="*/ 160 h 358"/>
                  <a:gd name="T16" fmla="*/ 31 w 84"/>
                  <a:gd name="T17" fmla="*/ 355 h 358"/>
                  <a:gd name="T18" fmla="*/ 29 w 84"/>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358">
                    <a:moveTo>
                      <a:pt x="29" y="358"/>
                    </a:moveTo>
                    <a:cubicBezTo>
                      <a:pt x="0" y="358"/>
                      <a:pt x="0" y="358"/>
                      <a:pt x="0" y="358"/>
                    </a:cubicBezTo>
                    <a:cubicBezTo>
                      <a:pt x="0" y="345"/>
                      <a:pt x="0" y="345"/>
                      <a:pt x="0" y="345"/>
                    </a:cubicBezTo>
                    <a:cubicBezTo>
                      <a:pt x="21" y="345"/>
                      <a:pt x="21" y="345"/>
                      <a:pt x="21" y="345"/>
                    </a:cubicBezTo>
                    <a:cubicBezTo>
                      <a:pt x="54" y="282"/>
                      <a:pt x="71" y="220"/>
                      <a:pt x="71" y="160"/>
                    </a:cubicBezTo>
                    <a:cubicBezTo>
                      <a:pt x="71" y="110"/>
                      <a:pt x="59" y="58"/>
                      <a:pt x="36" y="5"/>
                    </a:cubicBezTo>
                    <a:cubicBezTo>
                      <a:pt x="48" y="0"/>
                      <a:pt x="48" y="0"/>
                      <a:pt x="48" y="0"/>
                    </a:cubicBezTo>
                    <a:cubicBezTo>
                      <a:pt x="72" y="54"/>
                      <a:pt x="84" y="108"/>
                      <a:pt x="84" y="160"/>
                    </a:cubicBezTo>
                    <a:cubicBezTo>
                      <a:pt x="84" y="223"/>
                      <a:pt x="66" y="289"/>
                      <a:pt x="31" y="355"/>
                    </a:cubicBezTo>
                    <a:lnTo>
                      <a:pt x="29" y="3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5" name="Freeform 1175">
                <a:extLst>
                  <a:ext uri="{FF2B5EF4-FFF2-40B4-BE49-F238E27FC236}">
                    <a16:creationId xmlns:a16="http://schemas.microsoft.com/office/drawing/2014/main" id="{70392885-2667-4816-B58D-EBDB36361ADB}"/>
                  </a:ext>
                </a:extLst>
              </p:cNvPr>
              <p:cNvSpPr>
                <a:spLocks/>
              </p:cNvSpPr>
              <p:nvPr/>
            </p:nvSpPr>
            <p:spPr bwMode="auto">
              <a:xfrm>
                <a:off x="1777" y="1330"/>
                <a:ext cx="127" cy="247"/>
              </a:xfrm>
              <a:custGeom>
                <a:avLst/>
                <a:gdLst>
                  <a:gd name="T0" fmla="*/ 166 w 187"/>
                  <a:gd name="T1" fmla="*/ 364 h 364"/>
                  <a:gd name="T2" fmla="*/ 55 w 187"/>
                  <a:gd name="T3" fmla="*/ 364 h 364"/>
                  <a:gd name="T4" fmla="*/ 53 w 187"/>
                  <a:gd name="T5" fmla="*/ 361 h 364"/>
                  <a:gd name="T6" fmla="*/ 0 w 187"/>
                  <a:gd name="T7" fmla="*/ 166 h 364"/>
                  <a:gd name="T8" fmla="*/ 36 w 187"/>
                  <a:gd name="T9" fmla="*/ 6 h 364"/>
                  <a:gd name="T10" fmla="*/ 39 w 187"/>
                  <a:gd name="T11" fmla="*/ 0 h 364"/>
                  <a:gd name="T12" fmla="*/ 44 w 187"/>
                  <a:gd name="T13" fmla="*/ 2 h 364"/>
                  <a:gd name="T14" fmla="*/ 125 w 187"/>
                  <a:gd name="T15" fmla="*/ 17 h 364"/>
                  <a:gd name="T16" fmla="*/ 184 w 187"/>
                  <a:gd name="T17" fmla="*/ 9 h 364"/>
                  <a:gd name="T18" fmla="*/ 187 w 187"/>
                  <a:gd name="T19" fmla="*/ 22 h 364"/>
                  <a:gd name="T20" fmla="*/ 125 w 187"/>
                  <a:gd name="T21" fmla="*/ 30 h 364"/>
                  <a:gd name="T22" fmla="*/ 46 w 187"/>
                  <a:gd name="T23" fmla="*/ 17 h 364"/>
                  <a:gd name="T24" fmla="*/ 13 w 187"/>
                  <a:gd name="T25" fmla="*/ 166 h 364"/>
                  <a:gd name="T26" fmla="*/ 63 w 187"/>
                  <a:gd name="T27" fmla="*/ 351 h 364"/>
                  <a:gd name="T28" fmla="*/ 166 w 187"/>
                  <a:gd name="T29" fmla="*/ 351 h 364"/>
                  <a:gd name="T30" fmla="*/ 166 w 187"/>
                  <a:gd name="T31"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364">
                    <a:moveTo>
                      <a:pt x="166" y="364"/>
                    </a:moveTo>
                    <a:cubicBezTo>
                      <a:pt x="55" y="364"/>
                      <a:pt x="55" y="364"/>
                      <a:pt x="55" y="364"/>
                    </a:cubicBezTo>
                    <a:cubicBezTo>
                      <a:pt x="53" y="361"/>
                      <a:pt x="53" y="361"/>
                      <a:pt x="53" y="361"/>
                    </a:cubicBezTo>
                    <a:cubicBezTo>
                      <a:pt x="18" y="294"/>
                      <a:pt x="0" y="229"/>
                      <a:pt x="0" y="166"/>
                    </a:cubicBezTo>
                    <a:cubicBezTo>
                      <a:pt x="0" y="114"/>
                      <a:pt x="12" y="60"/>
                      <a:pt x="36" y="6"/>
                    </a:cubicBezTo>
                    <a:cubicBezTo>
                      <a:pt x="39" y="0"/>
                      <a:pt x="39" y="0"/>
                      <a:pt x="39" y="0"/>
                    </a:cubicBezTo>
                    <a:cubicBezTo>
                      <a:pt x="44" y="2"/>
                      <a:pt x="44" y="2"/>
                      <a:pt x="44" y="2"/>
                    </a:cubicBezTo>
                    <a:cubicBezTo>
                      <a:pt x="70" y="12"/>
                      <a:pt x="97" y="17"/>
                      <a:pt x="125" y="17"/>
                    </a:cubicBezTo>
                    <a:cubicBezTo>
                      <a:pt x="145" y="17"/>
                      <a:pt x="165" y="15"/>
                      <a:pt x="184" y="9"/>
                    </a:cubicBezTo>
                    <a:cubicBezTo>
                      <a:pt x="187" y="22"/>
                      <a:pt x="187" y="22"/>
                      <a:pt x="187" y="22"/>
                    </a:cubicBezTo>
                    <a:cubicBezTo>
                      <a:pt x="167" y="28"/>
                      <a:pt x="146" y="30"/>
                      <a:pt x="125" y="30"/>
                    </a:cubicBezTo>
                    <a:cubicBezTo>
                      <a:pt x="98" y="30"/>
                      <a:pt x="71" y="26"/>
                      <a:pt x="46" y="17"/>
                    </a:cubicBezTo>
                    <a:cubicBezTo>
                      <a:pt x="24" y="68"/>
                      <a:pt x="13" y="118"/>
                      <a:pt x="13" y="166"/>
                    </a:cubicBezTo>
                    <a:cubicBezTo>
                      <a:pt x="13" y="226"/>
                      <a:pt x="30" y="288"/>
                      <a:pt x="63" y="351"/>
                    </a:cubicBezTo>
                    <a:cubicBezTo>
                      <a:pt x="166" y="351"/>
                      <a:pt x="166" y="351"/>
                      <a:pt x="166" y="351"/>
                    </a:cubicBezTo>
                    <a:lnTo>
                      <a:pt x="166" y="36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6" name="Freeform 1176">
                <a:extLst>
                  <a:ext uri="{FF2B5EF4-FFF2-40B4-BE49-F238E27FC236}">
                    <a16:creationId xmlns:a16="http://schemas.microsoft.com/office/drawing/2014/main" id="{36775B87-3CD7-4FCF-95F6-4864AA4F5624}"/>
                  </a:ext>
                </a:extLst>
              </p:cNvPr>
              <p:cNvSpPr>
                <a:spLocks noEditPoints="1"/>
              </p:cNvSpPr>
              <p:nvPr/>
            </p:nvSpPr>
            <p:spPr bwMode="auto">
              <a:xfrm>
                <a:off x="1825" y="1374"/>
                <a:ext cx="75" cy="74"/>
              </a:xfrm>
              <a:custGeom>
                <a:avLst/>
                <a:gdLst>
                  <a:gd name="T0" fmla="*/ 55 w 110"/>
                  <a:gd name="T1" fmla="*/ 109 h 109"/>
                  <a:gd name="T2" fmla="*/ 0 w 110"/>
                  <a:gd name="T3" fmla="*/ 54 h 109"/>
                  <a:gd name="T4" fmla="*/ 55 w 110"/>
                  <a:gd name="T5" fmla="*/ 0 h 109"/>
                  <a:gd name="T6" fmla="*/ 110 w 110"/>
                  <a:gd name="T7" fmla="*/ 54 h 109"/>
                  <a:gd name="T8" fmla="*/ 55 w 110"/>
                  <a:gd name="T9" fmla="*/ 109 h 109"/>
                  <a:gd name="T10" fmla="*/ 55 w 110"/>
                  <a:gd name="T11" fmla="*/ 13 h 109"/>
                  <a:gd name="T12" fmla="*/ 13 w 110"/>
                  <a:gd name="T13" fmla="*/ 54 h 109"/>
                  <a:gd name="T14" fmla="*/ 55 w 110"/>
                  <a:gd name="T15" fmla="*/ 96 h 109"/>
                  <a:gd name="T16" fmla="*/ 97 w 110"/>
                  <a:gd name="T17" fmla="*/ 54 h 109"/>
                  <a:gd name="T18" fmla="*/ 55 w 110"/>
                  <a:gd name="T19" fmla="*/ 1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9">
                    <a:moveTo>
                      <a:pt x="55" y="109"/>
                    </a:moveTo>
                    <a:cubicBezTo>
                      <a:pt x="25" y="109"/>
                      <a:pt x="0" y="84"/>
                      <a:pt x="0" y="54"/>
                    </a:cubicBezTo>
                    <a:cubicBezTo>
                      <a:pt x="0" y="24"/>
                      <a:pt x="25" y="0"/>
                      <a:pt x="55" y="0"/>
                    </a:cubicBezTo>
                    <a:cubicBezTo>
                      <a:pt x="85" y="0"/>
                      <a:pt x="110" y="24"/>
                      <a:pt x="110" y="54"/>
                    </a:cubicBezTo>
                    <a:cubicBezTo>
                      <a:pt x="110" y="84"/>
                      <a:pt x="85" y="109"/>
                      <a:pt x="55" y="109"/>
                    </a:cubicBezTo>
                    <a:close/>
                    <a:moveTo>
                      <a:pt x="55" y="13"/>
                    </a:moveTo>
                    <a:cubicBezTo>
                      <a:pt x="32" y="13"/>
                      <a:pt x="13" y="31"/>
                      <a:pt x="13" y="54"/>
                    </a:cubicBezTo>
                    <a:cubicBezTo>
                      <a:pt x="13" y="77"/>
                      <a:pt x="32" y="96"/>
                      <a:pt x="55" y="96"/>
                    </a:cubicBezTo>
                    <a:cubicBezTo>
                      <a:pt x="78" y="96"/>
                      <a:pt x="97" y="77"/>
                      <a:pt x="97" y="54"/>
                    </a:cubicBezTo>
                    <a:cubicBezTo>
                      <a:pt x="97" y="31"/>
                      <a:pt x="78" y="13"/>
                      <a:pt x="55" y="1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7" name="Rectangle 1177">
                <a:extLst>
                  <a:ext uri="{FF2B5EF4-FFF2-40B4-BE49-F238E27FC236}">
                    <a16:creationId xmlns:a16="http://schemas.microsoft.com/office/drawing/2014/main" id="{3E0AFE9D-7E99-4012-A5D1-8C1CBA3A1CB8}"/>
                  </a:ext>
                </a:extLst>
              </p:cNvPr>
              <p:cNvSpPr>
                <a:spLocks noChangeArrowheads="1"/>
              </p:cNvSpPr>
              <p:nvPr/>
            </p:nvSpPr>
            <p:spPr bwMode="auto">
              <a:xfrm>
                <a:off x="1857" y="1486"/>
                <a:ext cx="9" cy="14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8" name="Rectangle 1178">
                <a:extLst>
                  <a:ext uri="{FF2B5EF4-FFF2-40B4-BE49-F238E27FC236}">
                    <a16:creationId xmlns:a16="http://schemas.microsoft.com/office/drawing/2014/main" id="{C736B275-2AA1-4A3B-B1A3-9D19DBF2F589}"/>
                  </a:ext>
                </a:extLst>
              </p:cNvPr>
              <p:cNvSpPr>
                <a:spLocks noChangeArrowheads="1"/>
              </p:cNvSpPr>
              <p:nvPr/>
            </p:nvSpPr>
            <p:spPr bwMode="auto">
              <a:xfrm>
                <a:off x="2063" y="1240"/>
                <a:ext cx="9" cy="39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9" name="Rectangle 1179">
                <a:extLst>
                  <a:ext uri="{FF2B5EF4-FFF2-40B4-BE49-F238E27FC236}">
                    <a16:creationId xmlns:a16="http://schemas.microsoft.com/office/drawing/2014/main" id="{23B83D7E-6918-44BC-950F-FB904F98E9C2}"/>
                  </a:ext>
                </a:extLst>
              </p:cNvPr>
              <p:cNvSpPr>
                <a:spLocks noChangeArrowheads="1"/>
              </p:cNvSpPr>
              <p:nvPr/>
            </p:nvSpPr>
            <p:spPr bwMode="auto">
              <a:xfrm>
                <a:off x="2054" y="1632"/>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0" name="Rectangle 1180">
                <a:extLst>
                  <a:ext uri="{FF2B5EF4-FFF2-40B4-BE49-F238E27FC236}">
                    <a16:creationId xmlns:a16="http://schemas.microsoft.com/office/drawing/2014/main" id="{81AD8807-9F92-4F30-BD6E-6B5C1FA8D3CE}"/>
                  </a:ext>
                </a:extLst>
              </p:cNvPr>
              <p:cNvSpPr>
                <a:spLocks noChangeArrowheads="1"/>
              </p:cNvSpPr>
              <p:nvPr/>
            </p:nvSpPr>
            <p:spPr bwMode="auto">
              <a:xfrm>
                <a:off x="2054" y="123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1" name="Rectangle 1181">
                <a:extLst>
                  <a:ext uri="{FF2B5EF4-FFF2-40B4-BE49-F238E27FC236}">
                    <a16:creationId xmlns:a16="http://schemas.microsoft.com/office/drawing/2014/main" id="{AE366CCB-6035-4616-8583-37189269B306}"/>
                  </a:ext>
                </a:extLst>
              </p:cNvPr>
              <p:cNvSpPr>
                <a:spLocks noChangeArrowheads="1"/>
              </p:cNvSpPr>
              <p:nvPr/>
            </p:nvSpPr>
            <p:spPr bwMode="auto">
              <a:xfrm>
                <a:off x="2054" y="131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2" name="Rectangle 1182">
                <a:extLst>
                  <a:ext uri="{FF2B5EF4-FFF2-40B4-BE49-F238E27FC236}">
                    <a16:creationId xmlns:a16="http://schemas.microsoft.com/office/drawing/2014/main" id="{A32BD013-7043-46D5-B60B-D1DC6AC1B890}"/>
                  </a:ext>
                </a:extLst>
              </p:cNvPr>
              <p:cNvSpPr>
                <a:spLocks noChangeArrowheads="1"/>
              </p:cNvSpPr>
              <p:nvPr/>
            </p:nvSpPr>
            <p:spPr bwMode="auto">
              <a:xfrm>
                <a:off x="2054" y="1395"/>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3" name="Rectangle 1183">
                <a:extLst>
                  <a:ext uri="{FF2B5EF4-FFF2-40B4-BE49-F238E27FC236}">
                    <a16:creationId xmlns:a16="http://schemas.microsoft.com/office/drawing/2014/main" id="{2D36274E-C817-4F58-8B56-39335A9A49ED}"/>
                  </a:ext>
                </a:extLst>
              </p:cNvPr>
              <p:cNvSpPr>
                <a:spLocks noChangeArrowheads="1"/>
              </p:cNvSpPr>
              <p:nvPr/>
            </p:nvSpPr>
            <p:spPr bwMode="auto">
              <a:xfrm>
                <a:off x="2054" y="1474"/>
                <a:ext cx="27" cy="8"/>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4" name="Rectangle 1184">
                <a:extLst>
                  <a:ext uri="{FF2B5EF4-FFF2-40B4-BE49-F238E27FC236}">
                    <a16:creationId xmlns:a16="http://schemas.microsoft.com/office/drawing/2014/main" id="{1B77CED5-CD9D-4220-A32B-727E7E700F2C}"/>
                  </a:ext>
                </a:extLst>
              </p:cNvPr>
              <p:cNvSpPr>
                <a:spLocks noChangeArrowheads="1"/>
              </p:cNvSpPr>
              <p:nvPr/>
            </p:nvSpPr>
            <p:spPr bwMode="auto">
              <a:xfrm>
                <a:off x="2054" y="1553"/>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5" name="Rectangle 1185">
                <a:extLst>
                  <a:ext uri="{FF2B5EF4-FFF2-40B4-BE49-F238E27FC236}">
                    <a16:creationId xmlns:a16="http://schemas.microsoft.com/office/drawing/2014/main" id="{3412384A-76F6-4BD8-974E-E7AAC396BBA4}"/>
                  </a:ext>
                </a:extLst>
              </p:cNvPr>
              <p:cNvSpPr>
                <a:spLocks noChangeArrowheads="1"/>
              </p:cNvSpPr>
              <p:nvPr/>
            </p:nvSpPr>
            <p:spPr bwMode="auto">
              <a:xfrm>
                <a:off x="1637" y="1672"/>
                <a:ext cx="545" cy="33"/>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6" name="Freeform 1186">
                <a:extLst>
                  <a:ext uri="{FF2B5EF4-FFF2-40B4-BE49-F238E27FC236}">
                    <a16:creationId xmlns:a16="http://schemas.microsoft.com/office/drawing/2014/main" id="{92C1F088-6218-4D34-8A1F-623EE5A4F9C5}"/>
                  </a:ext>
                </a:extLst>
              </p:cNvPr>
              <p:cNvSpPr>
                <a:spLocks/>
              </p:cNvSpPr>
              <p:nvPr/>
            </p:nvSpPr>
            <p:spPr bwMode="auto">
              <a:xfrm>
                <a:off x="1564" y="1410"/>
                <a:ext cx="105" cy="137"/>
              </a:xfrm>
              <a:custGeom>
                <a:avLst/>
                <a:gdLst>
                  <a:gd name="T0" fmla="*/ 47 w 105"/>
                  <a:gd name="T1" fmla="*/ 137 h 137"/>
                  <a:gd name="T2" fmla="*/ 105 w 105"/>
                  <a:gd name="T3" fmla="*/ 123 h 137"/>
                  <a:gd name="T4" fmla="*/ 74 w 105"/>
                  <a:gd name="T5" fmla="*/ 0 h 137"/>
                  <a:gd name="T6" fmla="*/ 0 w 105"/>
                  <a:gd name="T7" fmla="*/ 16 h 137"/>
                  <a:gd name="T8" fmla="*/ 47 w 105"/>
                  <a:gd name="T9" fmla="*/ 137 h 137"/>
                </a:gdLst>
                <a:ahLst/>
                <a:cxnLst>
                  <a:cxn ang="0">
                    <a:pos x="T0" y="T1"/>
                  </a:cxn>
                  <a:cxn ang="0">
                    <a:pos x="T2" y="T3"/>
                  </a:cxn>
                  <a:cxn ang="0">
                    <a:pos x="T4" y="T5"/>
                  </a:cxn>
                  <a:cxn ang="0">
                    <a:pos x="T6" y="T7"/>
                  </a:cxn>
                  <a:cxn ang="0">
                    <a:pos x="T8" y="T9"/>
                  </a:cxn>
                </a:cxnLst>
                <a:rect l="0" t="0" r="r" b="b"/>
                <a:pathLst>
                  <a:path w="105" h="137">
                    <a:moveTo>
                      <a:pt x="47" y="137"/>
                    </a:moveTo>
                    <a:lnTo>
                      <a:pt x="105" y="123"/>
                    </a:lnTo>
                    <a:lnTo>
                      <a:pt x="74" y="0"/>
                    </a:lnTo>
                    <a:lnTo>
                      <a:pt x="0" y="16"/>
                    </a:lnTo>
                    <a:lnTo>
                      <a:pt x="47" y="137"/>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7" name="Freeform 1187">
                <a:extLst>
                  <a:ext uri="{FF2B5EF4-FFF2-40B4-BE49-F238E27FC236}">
                    <a16:creationId xmlns:a16="http://schemas.microsoft.com/office/drawing/2014/main" id="{8D045066-BDEF-4E7F-8100-9F008A5808CA}"/>
                  </a:ext>
                </a:extLst>
              </p:cNvPr>
              <p:cNvSpPr>
                <a:spLocks/>
              </p:cNvSpPr>
              <p:nvPr/>
            </p:nvSpPr>
            <p:spPr bwMode="auto">
              <a:xfrm>
                <a:off x="1559" y="1375"/>
                <a:ext cx="83" cy="83"/>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8" name="Freeform 1188">
                <a:extLst>
                  <a:ext uri="{FF2B5EF4-FFF2-40B4-BE49-F238E27FC236}">
                    <a16:creationId xmlns:a16="http://schemas.microsoft.com/office/drawing/2014/main" id="{1C307358-5AEA-4EE2-A3C5-B32C5B3B81F3}"/>
                  </a:ext>
                </a:extLst>
              </p:cNvPr>
              <p:cNvSpPr>
                <a:spLocks/>
              </p:cNvSpPr>
              <p:nvPr/>
            </p:nvSpPr>
            <p:spPr bwMode="auto">
              <a:xfrm>
                <a:off x="1714" y="1578"/>
                <a:ext cx="120" cy="94"/>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9" name="Freeform 1189">
                <a:extLst>
                  <a:ext uri="{FF2B5EF4-FFF2-40B4-BE49-F238E27FC236}">
                    <a16:creationId xmlns:a16="http://schemas.microsoft.com/office/drawing/2014/main" id="{F0B4F6FB-E105-4514-9F3B-25C3A0C44F4F}"/>
                  </a:ext>
                </a:extLst>
              </p:cNvPr>
              <p:cNvSpPr>
                <a:spLocks/>
              </p:cNvSpPr>
              <p:nvPr/>
            </p:nvSpPr>
            <p:spPr bwMode="auto">
              <a:xfrm>
                <a:off x="1607" y="1506"/>
                <a:ext cx="68" cy="68"/>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0" name="Freeform 1190">
                <a:extLst>
                  <a:ext uri="{FF2B5EF4-FFF2-40B4-BE49-F238E27FC236}">
                    <a16:creationId xmlns:a16="http://schemas.microsoft.com/office/drawing/2014/main" id="{22FA3D61-6ADE-4E7B-8501-FFBE6256DC24}"/>
                  </a:ext>
                </a:extLst>
              </p:cNvPr>
              <p:cNvSpPr>
                <a:spLocks/>
              </p:cNvSpPr>
              <p:nvPr/>
            </p:nvSpPr>
            <p:spPr bwMode="auto">
              <a:xfrm>
                <a:off x="1623" y="1516"/>
                <a:ext cx="140" cy="130"/>
              </a:xfrm>
              <a:custGeom>
                <a:avLst/>
                <a:gdLst>
                  <a:gd name="T0" fmla="*/ 109 w 140"/>
                  <a:gd name="T1" fmla="*/ 130 h 130"/>
                  <a:gd name="T2" fmla="*/ 140 w 140"/>
                  <a:gd name="T3" fmla="*/ 90 h 130"/>
                  <a:gd name="T4" fmla="*/ 37 w 140"/>
                  <a:gd name="T5" fmla="*/ 0 h 130"/>
                  <a:gd name="T6" fmla="*/ 0 w 140"/>
                  <a:gd name="T7" fmla="*/ 48 h 130"/>
                  <a:gd name="T8" fmla="*/ 109 w 140"/>
                  <a:gd name="T9" fmla="*/ 130 h 130"/>
                </a:gdLst>
                <a:ahLst/>
                <a:cxnLst>
                  <a:cxn ang="0">
                    <a:pos x="T0" y="T1"/>
                  </a:cxn>
                  <a:cxn ang="0">
                    <a:pos x="T2" y="T3"/>
                  </a:cxn>
                  <a:cxn ang="0">
                    <a:pos x="T4" y="T5"/>
                  </a:cxn>
                  <a:cxn ang="0">
                    <a:pos x="T6" y="T7"/>
                  </a:cxn>
                  <a:cxn ang="0">
                    <a:pos x="T8" y="T9"/>
                  </a:cxn>
                </a:cxnLst>
                <a:rect l="0" t="0" r="r" b="b"/>
                <a:pathLst>
                  <a:path w="140" h="130">
                    <a:moveTo>
                      <a:pt x="109" y="130"/>
                    </a:moveTo>
                    <a:lnTo>
                      <a:pt x="140" y="90"/>
                    </a:lnTo>
                    <a:lnTo>
                      <a:pt x="37" y="0"/>
                    </a:lnTo>
                    <a:lnTo>
                      <a:pt x="0" y="48"/>
                    </a:lnTo>
                    <a:lnTo>
                      <a:pt x="109" y="130"/>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1" name="Freeform 1191">
                <a:extLst>
                  <a:ext uri="{FF2B5EF4-FFF2-40B4-BE49-F238E27FC236}">
                    <a16:creationId xmlns:a16="http://schemas.microsoft.com/office/drawing/2014/main" id="{E734A7FB-08BD-4454-8DA2-2E7DC41A9D8E}"/>
                  </a:ext>
                </a:extLst>
              </p:cNvPr>
              <p:cNvSpPr>
                <a:spLocks/>
              </p:cNvSpPr>
              <p:nvPr/>
            </p:nvSpPr>
            <p:spPr bwMode="auto">
              <a:xfrm>
                <a:off x="1659" y="1468"/>
                <a:ext cx="54" cy="48"/>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2" name="Line 1192">
                <a:extLst>
                  <a:ext uri="{FF2B5EF4-FFF2-40B4-BE49-F238E27FC236}">
                    <a16:creationId xmlns:a16="http://schemas.microsoft.com/office/drawing/2014/main" id="{A076919F-94AC-4AE1-8A4E-2A8B4E4E0F1D}"/>
                  </a:ext>
                </a:extLst>
              </p:cNvPr>
              <p:cNvSpPr>
                <a:spLocks noChangeShapeType="1"/>
              </p:cNvSpPr>
              <p:nvPr/>
            </p:nvSpPr>
            <p:spPr bwMode="auto">
              <a:xfrm flipH="1" flipV="1">
                <a:off x="1679" y="1476"/>
                <a:ext cx="61" cy="21"/>
              </a:xfrm>
              <a:prstGeom prst="line">
                <a:avLst/>
              </a:prstGeom>
              <a:noFill/>
              <a:ln w="12700" cap="flat">
                <a:solidFill>
                  <a:srgbClr val="28282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3" name="Freeform 1193">
                <a:extLst>
                  <a:ext uri="{FF2B5EF4-FFF2-40B4-BE49-F238E27FC236}">
                    <a16:creationId xmlns:a16="http://schemas.microsoft.com/office/drawing/2014/main" id="{4282F4D0-0209-40D2-9811-3981DE2E237F}"/>
                  </a:ext>
                </a:extLst>
              </p:cNvPr>
              <p:cNvSpPr>
                <a:spLocks/>
              </p:cNvSpPr>
              <p:nvPr/>
            </p:nvSpPr>
            <p:spPr bwMode="auto">
              <a:xfrm>
                <a:off x="1739" y="1493"/>
                <a:ext cx="10" cy="9"/>
              </a:xfrm>
              <a:custGeom>
                <a:avLst/>
                <a:gdLst>
                  <a:gd name="T0" fmla="*/ 9 w 10"/>
                  <a:gd name="T1" fmla="*/ 9 h 9"/>
                  <a:gd name="T2" fmla="*/ 0 w 10"/>
                  <a:gd name="T3" fmla="*/ 8 h 9"/>
                  <a:gd name="T4" fmla="*/ 2 w 10"/>
                  <a:gd name="T5" fmla="*/ 0 h 9"/>
                  <a:gd name="T6" fmla="*/ 10 w 10"/>
                  <a:gd name="T7" fmla="*/ 4 h 9"/>
                  <a:gd name="T8" fmla="*/ 9 w 10"/>
                  <a:gd name="T9" fmla="*/ 9 h 9"/>
                </a:gdLst>
                <a:ahLst/>
                <a:cxnLst>
                  <a:cxn ang="0">
                    <a:pos x="T0" y="T1"/>
                  </a:cxn>
                  <a:cxn ang="0">
                    <a:pos x="T2" y="T3"/>
                  </a:cxn>
                  <a:cxn ang="0">
                    <a:pos x="T4" y="T5"/>
                  </a:cxn>
                  <a:cxn ang="0">
                    <a:pos x="T6" y="T7"/>
                  </a:cxn>
                  <a:cxn ang="0">
                    <a:pos x="T8" y="T9"/>
                  </a:cxn>
                </a:cxnLst>
                <a:rect l="0" t="0" r="r" b="b"/>
                <a:pathLst>
                  <a:path w="10" h="9">
                    <a:moveTo>
                      <a:pt x="9" y="9"/>
                    </a:moveTo>
                    <a:lnTo>
                      <a:pt x="0" y="8"/>
                    </a:lnTo>
                    <a:lnTo>
                      <a:pt x="2" y="0"/>
                    </a:lnTo>
                    <a:lnTo>
                      <a:pt x="10" y="4"/>
                    </a:lnTo>
                    <a:lnTo>
                      <a:pt x="9" y="9"/>
                    </a:ln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4" name="Freeform 1194">
                <a:extLst>
                  <a:ext uri="{FF2B5EF4-FFF2-40B4-BE49-F238E27FC236}">
                    <a16:creationId xmlns:a16="http://schemas.microsoft.com/office/drawing/2014/main" id="{9A85B8C9-09D0-4361-93C4-1C0B387D3EEF}"/>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 name="T8" fmla="*/ 64 w 75"/>
                  <a:gd name="T9" fmla="*/ 0 h 56"/>
                </a:gdLst>
                <a:ahLst/>
                <a:cxnLst>
                  <a:cxn ang="0">
                    <a:pos x="T0" y="T1"/>
                  </a:cxn>
                  <a:cxn ang="0">
                    <a:pos x="T2" y="T3"/>
                  </a:cxn>
                  <a:cxn ang="0">
                    <a:pos x="T4" y="T5"/>
                  </a:cxn>
                  <a:cxn ang="0">
                    <a:pos x="T6" y="T7"/>
                  </a:cxn>
                  <a:cxn ang="0">
                    <a:pos x="T8" y="T9"/>
                  </a:cxn>
                </a:cxnLst>
                <a:rect l="0" t="0" r="r" b="b"/>
                <a:pathLst>
                  <a:path w="75" h="56">
                    <a:moveTo>
                      <a:pt x="64" y="0"/>
                    </a:moveTo>
                    <a:lnTo>
                      <a:pt x="0" y="13"/>
                    </a:lnTo>
                    <a:lnTo>
                      <a:pt x="6" y="56"/>
                    </a:lnTo>
                    <a:lnTo>
                      <a:pt x="75" y="35"/>
                    </a:lnTo>
                    <a:lnTo>
                      <a:pt x="64"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5" name="Freeform 1195">
                <a:extLst>
                  <a:ext uri="{FF2B5EF4-FFF2-40B4-BE49-F238E27FC236}">
                    <a16:creationId xmlns:a16="http://schemas.microsoft.com/office/drawing/2014/main" id="{7B702629-9551-4327-8263-C939503F739F}"/>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Lst>
                <a:ahLst/>
                <a:cxnLst>
                  <a:cxn ang="0">
                    <a:pos x="T0" y="T1"/>
                  </a:cxn>
                  <a:cxn ang="0">
                    <a:pos x="T2" y="T3"/>
                  </a:cxn>
                  <a:cxn ang="0">
                    <a:pos x="T4" y="T5"/>
                  </a:cxn>
                  <a:cxn ang="0">
                    <a:pos x="T6" y="T7"/>
                  </a:cxn>
                </a:cxnLst>
                <a:rect l="0" t="0" r="r" b="b"/>
                <a:pathLst>
                  <a:path w="75" h="56">
                    <a:moveTo>
                      <a:pt x="64" y="0"/>
                    </a:moveTo>
                    <a:lnTo>
                      <a:pt x="0" y="13"/>
                    </a:lnTo>
                    <a:lnTo>
                      <a:pt x="6" y="56"/>
                    </a:lnTo>
                    <a:lnTo>
                      <a:pt x="75"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6" name="Freeform 1196">
                <a:extLst>
                  <a:ext uri="{FF2B5EF4-FFF2-40B4-BE49-F238E27FC236}">
                    <a16:creationId xmlns:a16="http://schemas.microsoft.com/office/drawing/2014/main" id="{B287D659-571E-4278-B3A3-66D53329B424}"/>
                  </a:ext>
                </a:extLst>
              </p:cNvPr>
              <p:cNvSpPr>
                <a:spLocks/>
              </p:cNvSpPr>
              <p:nvPr/>
            </p:nvSpPr>
            <p:spPr bwMode="auto">
              <a:xfrm>
                <a:off x="1042" y="1438"/>
                <a:ext cx="404" cy="242"/>
              </a:xfrm>
              <a:custGeom>
                <a:avLst/>
                <a:gdLst>
                  <a:gd name="T0" fmla="*/ 582 w 593"/>
                  <a:gd name="T1" fmla="*/ 357 h 357"/>
                  <a:gd name="T2" fmla="*/ 12 w 593"/>
                  <a:gd name="T3" fmla="*/ 357 h 357"/>
                  <a:gd name="T4" fmla="*/ 0 w 593"/>
                  <a:gd name="T5" fmla="*/ 345 h 357"/>
                  <a:gd name="T6" fmla="*/ 0 w 593"/>
                  <a:gd name="T7" fmla="*/ 11 h 357"/>
                  <a:gd name="T8" fmla="*/ 12 w 593"/>
                  <a:gd name="T9" fmla="*/ 0 h 357"/>
                  <a:gd name="T10" fmla="*/ 582 w 593"/>
                  <a:gd name="T11" fmla="*/ 0 h 357"/>
                  <a:gd name="T12" fmla="*/ 593 w 593"/>
                  <a:gd name="T13" fmla="*/ 11 h 357"/>
                  <a:gd name="T14" fmla="*/ 593 w 593"/>
                  <a:gd name="T15" fmla="*/ 345 h 357"/>
                  <a:gd name="T16" fmla="*/ 582 w 593"/>
                  <a:gd name="T17"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3" h="357">
                    <a:moveTo>
                      <a:pt x="582" y="357"/>
                    </a:moveTo>
                    <a:cubicBezTo>
                      <a:pt x="12" y="357"/>
                      <a:pt x="12" y="357"/>
                      <a:pt x="12" y="357"/>
                    </a:cubicBezTo>
                    <a:cubicBezTo>
                      <a:pt x="5" y="357"/>
                      <a:pt x="0" y="352"/>
                      <a:pt x="0" y="345"/>
                    </a:cubicBezTo>
                    <a:cubicBezTo>
                      <a:pt x="0" y="11"/>
                      <a:pt x="0" y="11"/>
                      <a:pt x="0" y="11"/>
                    </a:cubicBezTo>
                    <a:cubicBezTo>
                      <a:pt x="0" y="5"/>
                      <a:pt x="5" y="0"/>
                      <a:pt x="12" y="0"/>
                    </a:cubicBezTo>
                    <a:cubicBezTo>
                      <a:pt x="582" y="0"/>
                      <a:pt x="582" y="0"/>
                      <a:pt x="582" y="0"/>
                    </a:cubicBezTo>
                    <a:cubicBezTo>
                      <a:pt x="588" y="0"/>
                      <a:pt x="593" y="5"/>
                      <a:pt x="593" y="11"/>
                    </a:cubicBezTo>
                    <a:cubicBezTo>
                      <a:pt x="593" y="345"/>
                      <a:pt x="593" y="345"/>
                      <a:pt x="593" y="345"/>
                    </a:cubicBezTo>
                    <a:cubicBezTo>
                      <a:pt x="593" y="352"/>
                      <a:pt x="588" y="357"/>
                      <a:pt x="582" y="357"/>
                    </a:cubicBezTo>
                    <a:close/>
                  </a:path>
                </a:pathLst>
              </a:custGeom>
              <a:solidFill>
                <a:srgbClr val="000000"/>
              </a:solidFill>
              <a:ln w="6350" cap="flat">
                <a:solidFill>
                  <a:srgbClr val="C7B8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7" name="Freeform 1197">
                <a:extLst>
                  <a:ext uri="{FF2B5EF4-FFF2-40B4-BE49-F238E27FC236}">
                    <a16:creationId xmlns:a16="http://schemas.microsoft.com/office/drawing/2014/main" id="{79CAA134-BE02-4369-ABD8-9D619CAC1E51}"/>
                  </a:ext>
                </a:extLst>
              </p:cNvPr>
              <p:cNvSpPr>
                <a:spLocks/>
              </p:cNvSpPr>
              <p:nvPr/>
            </p:nvSpPr>
            <p:spPr bwMode="auto">
              <a:xfrm>
                <a:off x="1059" y="1454"/>
                <a:ext cx="370" cy="211"/>
              </a:xfrm>
              <a:custGeom>
                <a:avLst/>
                <a:gdLst>
                  <a:gd name="T0" fmla="*/ 532 w 543"/>
                  <a:gd name="T1" fmla="*/ 0 h 311"/>
                  <a:gd name="T2" fmla="*/ 543 w 543"/>
                  <a:gd name="T3" fmla="*/ 11 h 311"/>
                  <a:gd name="T4" fmla="*/ 543 w 543"/>
                  <a:gd name="T5" fmla="*/ 300 h 311"/>
                  <a:gd name="T6" fmla="*/ 532 w 543"/>
                  <a:gd name="T7" fmla="*/ 311 h 311"/>
                  <a:gd name="T8" fmla="*/ 11 w 543"/>
                  <a:gd name="T9" fmla="*/ 311 h 311"/>
                  <a:gd name="T10" fmla="*/ 0 w 543"/>
                  <a:gd name="T11" fmla="*/ 300 h 311"/>
                  <a:gd name="T12" fmla="*/ 0 w 543"/>
                  <a:gd name="T13" fmla="*/ 11 h 311"/>
                  <a:gd name="T14" fmla="*/ 11 w 543"/>
                  <a:gd name="T15" fmla="*/ 0 h 311"/>
                  <a:gd name="T16" fmla="*/ 465 w 543"/>
                  <a:gd name="T17" fmla="*/ 0 h 311"/>
                  <a:gd name="T18" fmla="*/ 532 w 543"/>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311">
                    <a:moveTo>
                      <a:pt x="532" y="0"/>
                    </a:moveTo>
                    <a:cubicBezTo>
                      <a:pt x="532" y="0"/>
                      <a:pt x="543" y="0"/>
                      <a:pt x="543" y="11"/>
                    </a:cubicBezTo>
                    <a:cubicBezTo>
                      <a:pt x="543" y="300"/>
                      <a:pt x="543" y="300"/>
                      <a:pt x="543" y="300"/>
                    </a:cubicBezTo>
                    <a:cubicBezTo>
                      <a:pt x="543" y="300"/>
                      <a:pt x="543" y="311"/>
                      <a:pt x="532" y="311"/>
                    </a:cubicBezTo>
                    <a:cubicBezTo>
                      <a:pt x="11" y="311"/>
                      <a:pt x="11" y="311"/>
                      <a:pt x="11" y="311"/>
                    </a:cubicBezTo>
                    <a:cubicBezTo>
                      <a:pt x="11" y="311"/>
                      <a:pt x="0" y="311"/>
                      <a:pt x="0" y="300"/>
                    </a:cubicBezTo>
                    <a:cubicBezTo>
                      <a:pt x="0" y="11"/>
                      <a:pt x="0" y="11"/>
                      <a:pt x="0" y="11"/>
                    </a:cubicBezTo>
                    <a:cubicBezTo>
                      <a:pt x="0" y="11"/>
                      <a:pt x="0" y="0"/>
                      <a:pt x="11" y="0"/>
                    </a:cubicBezTo>
                    <a:cubicBezTo>
                      <a:pt x="465" y="0"/>
                      <a:pt x="465" y="0"/>
                      <a:pt x="465" y="0"/>
                    </a:cubicBezTo>
                    <a:cubicBezTo>
                      <a:pt x="532" y="0"/>
                      <a:pt x="532" y="0"/>
                      <a:pt x="532"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8" name="Freeform 1198">
                <a:extLst>
                  <a:ext uri="{FF2B5EF4-FFF2-40B4-BE49-F238E27FC236}">
                    <a16:creationId xmlns:a16="http://schemas.microsoft.com/office/drawing/2014/main" id="{E83E7582-049C-461A-B636-B66248B1DE01}"/>
                  </a:ext>
                </a:extLst>
              </p:cNvPr>
              <p:cNvSpPr>
                <a:spLocks/>
              </p:cNvSpPr>
              <p:nvPr/>
            </p:nvSpPr>
            <p:spPr bwMode="auto">
              <a:xfrm>
                <a:off x="1059" y="1531"/>
                <a:ext cx="370" cy="134"/>
              </a:xfrm>
              <a:custGeom>
                <a:avLst/>
                <a:gdLst>
                  <a:gd name="T0" fmla="*/ 505 w 543"/>
                  <a:gd name="T1" fmla="*/ 99 h 198"/>
                  <a:gd name="T2" fmla="*/ 476 w 543"/>
                  <a:gd name="T3" fmla="*/ 106 h 198"/>
                  <a:gd name="T4" fmla="*/ 427 w 543"/>
                  <a:gd name="T5" fmla="*/ 68 h 198"/>
                  <a:gd name="T6" fmla="*/ 383 w 543"/>
                  <a:gd name="T7" fmla="*/ 95 h 198"/>
                  <a:gd name="T8" fmla="*/ 326 w 543"/>
                  <a:gd name="T9" fmla="*/ 46 h 198"/>
                  <a:gd name="T10" fmla="*/ 279 w 543"/>
                  <a:gd name="T11" fmla="*/ 72 h 198"/>
                  <a:gd name="T12" fmla="*/ 230 w 543"/>
                  <a:gd name="T13" fmla="*/ 51 h 198"/>
                  <a:gd name="T14" fmla="*/ 172 w 543"/>
                  <a:gd name="T15" fmla="*/ 85 h 198"/>
                  <a:gd name="T16" fmla="*/ 119 w 543"/>
                  <a:gd name="T17" fmla="*/ 59 h 198"/>
                  <a:gd name="T18" fmla="*/ 93 w 543"/>
                  <a:gd name="T19" fmla="*/ 64 h 198"/>
                  <a:gd name="T20" fmla="*/ 93 w 543"/>
                  <a:gd name="T21" fmla="*/ 59 h 198"/>
                  <a:gd name="T22" fmla="*/ 34 w 543"/>
                  <a:gd name="T23" fmla="*/ 0 h 198"/>
                  <a:gd name="T24" fmla="*/ 0 w 543"/>
                  <a:gd name="T25" fmla="*/ 11 h 198"/>
                  <a:gd name="T26" fmla="*/ 0 w 543"/>
                  <a:gd name="T27" fmla="*/ 187 h 198"/>
                  <a:gd name="T28" fmla="*/ 11 w 543"/>
                  <a:gd name="T29" fmla="*/ 198 h 198"/>
                  <a:gd name="T30" fmla="*/ 532 w 543"/>
                  <a:gd name="T31" fmla="*/ 198 h 198"/>
                  <a:gd name="T32" fmla="*/ 543 w 543"/>
                  <a:gd name="T33" fmla="*/ 187 h 198"/>
                  <a:gd name="T34" fmla="*/ 543 w 543"/>
                  <a:gd name="T35" fmla="*/ 111 h 198"/>
                  <a:gd name="T36" fmla="*/ 505 w 543"/>
                  <a:gd name="T37" fmla="*/ 9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3" h="198">
                    <a:moveTo>
                      <a:pt x="505" y="99"/>
                    </a:moveTo>
                    <a:cubicBezTo>
                      <a:pt x="495" y="99"/>
                      <a:pt x="485" y="102"/>
                      <a:pt x="476" y="106"/>
                    </a:cubicBezTo>
                    <a:cubicBezTo>
                      <a:pt x="470" y="84"/>
                      <a:pt x="451" y="68"/>
                      <a:pt x="427" y="68"/>
                    </a:cubicBezTo>
                    <a:cubicBezTo>
                      <a:pt x="408" y="68"/>
                      <a:pt x="391" y="79"/>
                      <a:pt x="383" y="95"/>
                    </a:cubicBezTo>
                    <a:cubicBezTo>
                      <a:pt x="379" y="67"/>
                      <a:pt x="355" y="46"/>
                      <a:pt x="326" y="46"/>
                    </a:cubicBezTo>
                    <a:cubicBezTo>
                      <a:pt x="306" y="46"/>
                      <a:pt x="289" y="56"/>
                      <a:pt x="279" y="72"/>
                    </a:cubicBezTo>
                    <a:cubicBezTo>
                      <a:pt x="267" y="59"/>
                      <a:pt x="249" y="51"/>
                      <a:pt x="230" y="51"/>
                    </a:cubicBezTo>
                    <a:cubicBezTo>
                      <a:pt x="205" y="51"/>
                      <a:pt x="184" y="65"/>
                      <a:pt x="172" y="85"/>
                    </a:cubicBezTo>
                    <a:cubicBezTo>
                      <a:pt x="160" y="69"/>
                      <a:pt x="141" y="59"/>
                      <a:pt x="119" y="59"/>
                    </a:cubicBezTo>
                    <a:cubicBezTo>
                      <a:pt x="110" y="59"/>
                      <a:pt x="101" y="61"/>
                      <a:pt x="93" y="64"/>
                    </a:cubicBezTo>
                    <a:cubicBezTo>
                      <a:pt x="93" y="63"/>
                      <a:pt x="93" y="61"/>
                      <a:pt x="93" y="59"/>
                    </a:cubicBezTo>
                    <a:cubicBezTo>
                      <a:pt x="93" y="26"/>
                      <a:pt x="67" y="0"/>
                      <a:pt x="34" y="0"/>
                    </a:cubicBezTo>
                    <a:cubicBezTo>
                      <a:pt x="22" y="0"/>
                      <a:pt x="10" y="4"/>
                      <a:pt x="0" y="11"/>
                    </a:cubicBezTo>
                    <a:cubicBezTo>
                      <a:pt x="0" y="187"/>
                      <a:pt x="0" y="187"/>
                      <a:pt x="0" y="187"/>
                    </a:cubicBezTo>
                    <a:cubicBezTo>
                      <a:pt x="0" y="187"/>
                      <a:pt x="0" y="198"/>
                      <a:pt x="11" y="198"/>
                    </a:cubicBezTo>
                    <a:cubicBezTo>
                      <a:pt x="532" y="198"/>
                      <a:pt x="532" y="198"/>
                      <a:pt x="532" y="198"/>
                    </a:cubicBezTo>
                    <a:cubicBezTo>
                      <a:pt x="532" y="198"/>
                      <a:pt x="543" y="198"/>
                      <a:pt x="543" y="187"/>
                    </a:cubicBezTo>
                    <a:cubicBezTo>
                      <a:pt x="543" y="111"/>
                      <a:pt x="543" y="111"/>
                      <a:pt x="543" y="111"/>
                    </a:cubicBezTo>
                    <a:cubicBezTo>
                      <a:pt x="532" y="104"/>
                      <a:pt x="519" y="99"/>
                      <a:pt x="505" y="99"/>
                    </a:cubicBezTo>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9" name="Freeform 1199">
                <a:extLst>
                  <a:ext uri="{FF2B5EF4-FFF2-40B4-BE49-F238E27FC236}">
                    <a16:creationId xmlns:a16="http://schemas.microsoft.com/office/drawing/2014/main" id="{97F600DB-76F8-4D07-A7FC-FD385FBA03B2}"/>
                  </a:ext>
                </a:extLst>
              </p:cNvPr>
              <p:cNvSpPr>
                <a:spLocks/>
              </p:cNvSpPr>
              <p:nvPr/>
            </p:nvSpPr>
            <p:spPr bwMode="auto">
              <a:xfrm>
                <a:off x="1062" y="1454"/>
                <a:ext cx="367" cy="152"/>
              </a:xfrm>
              <a:custGeom>
                <a:avLst/>
                <a:gdLst>
                  <a:gd name="T0" fmla="*/ 528 w 539"/>
                  <a:gd name="T1" fmla="*/ 0 h 224"/>
                  <a:gd name="T2" fmla="*/ 461 w 539"/>
                  <a:gd name="T3" fmla="*/ 0 h 224"/>
                  <a:gd name="T4" fmla="*/ 7 w 539"/>
                  <a:gd name="T5" fmla="*/ 0 h 224"/>
                  <a:gd name="T6" fmla="*/ 7 w 539"/>
                  <a:gd name="T7" fmla="*/ 0 h 224"/>
                  <a:gd name="T8" fmla="*/ 7 w 539"/>
                  <a:gd name="T9" fmla="*/ 0 h 224"/>
                  <a:gd name="T10" fmla="*/ 7 w 539"/>
                  <a:gd name="T11" fmla="*/ 0 h 224"/>
                  <a:gd name="T12" fmla="*/ 7 w 539"/>
                  <a:gd name="T13" fmla="*/ 0 h 224"/>
                  <a:gd name="T14" fmla="*/ 7 w 539"/>
                  <a:gd name="T15" fmla="*/ 0 h 224"/>
                  <a:gd name="T16" fmla="*/ 7 w 539"/>
                  <a:gd name="T17" fmla="*/ 0 h 224"/>
                  <a:gd name="T18" fmla="*/ 7 w 539"/>
                  <a:gd name="T19" fmla="*/ 0 h 224"/>
                  <a:gd name="T20" fmla="*/ 7 w 539"/>
                  <a:gd name="T21" fmla="*/ 0 h 224"/>
                  <a:gd name="T22" fmla="*/ 6 w 539"/>
                  <a:gd name="T23" fmla="*/ 0 h 224"/>
                  <a:gd name="T24" fmla="*/ 6 w 539"/>
                  <a:gd name="T25" fmla="*/ 0 h 224"/>
                  <a:gd name="T26" fmla="*/ 6 w 539"/>
                  <a:gd name="T27" fmla="*/ 0 h 224"/>
                  <a:gd name="T28" fmla="*/ 6 w 539"/>
                  <a:gd name="T29" fmla="*/ 0 h 224"/>
                  <a:gd name="T30" fmla="*/ 6 w 539"/>
                  <a:gd name="T31" fmla="*/ 0 h 224"/>
                  <a:gd name="T32" fmla="*/ 6 w 539"/>
                  <a:gd name="T33" fmla="*/ 0 h 224"/>
                  <a:gd name="T34" fmla="*/ 6 w 539"/>
                  <a:gd name="T35" fmla="*/ 0 h 224"/>
                  <a:gd name="T36" fmla="*/ 6 w 539"/>
                  <a:gd name="T37" fmla="*/ 0 h 224"/>
                  <a:gd name="T38" fmla="*/ 6 w 539"/>
                  <a:gd name="T39" fmla="*/ 0 h 224"/>
                  <a:gd name="T40" fmla="*/ 6 w 539"/>
                  <a:gd name="T41" fmla="*/ 0 h 224"/>
                  <a:gd name="T42" fmla="*/ 6 w 539"/>
                  <a:gd name="T43" fmla="*/ 0 h 224"/>
                  <a:gd name="T44" fmla="*/ 0 w 539"/>
                  <a:gd name="T45" fmla="*/ 2 h 224"/>
                  <a:gd name="T46" fmla="*/ 291 w 539"/>
                  <a:gd name="T47" fmla="*/ 168 h 224"/>
                  <a:gd name="T48" fmla="*/ 322 w 539"/>
                  <a:gd name="T49" fmla="*/ 159 h 224"/>
                  <a:gd name="T50" fmla="*/ 379 w 539"/>
                  <a:gd name="T51" fmla="*/ 208 h 224"/>
                  <a:gd name="T52" fmla="*/ 423 w 539"/>
                  <a:gd name="T53" fmla="*/ 181 h 224"/>
                  <a:gd name="T54" fmla="*/ 472 w 539"/>
                  <a:gd name="T55" fmla="*/ 219 h 224"/>
                  <a:gd name="T56" fmla="*/ 501 w 539"/>
                  <a:gd name="T57" fmla="*/ 212 h 224"/>
                  <a:gd name="T58" fmla="*/ 539 w 539"/>
                  <a:gd name="T59" fmla="*/ 224 h 224"/>
                  <a:gd name="T60" fmla="*/ 539 w 539"/>
                  <a:gd name="T61" fmla="*/ 11 h 224"/>
                  <a:gd name="T62" fmla="*/ 528 w 539"/>
                  <a:gd name="T6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9" h="224">
                    <a:moveTo>
                      <a:pt x="528" y="0"/>
                    </a:moveTo>
                    <a:cubicBezTo>
                      <a:pt x="461" y="0"/>
                      <a:pt x="461" y="0"/>
                      <a:pt x="461"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3" y="0"/>
                      <a:pt x="1" y="1"/>
                      <a:pt x="0" y="2"/>
                    </a:cubicBezTo>
                    <a:cubicBezTo>
                      <a:pt x="291" y="168"/>
                      <a:pt x="291" y="168"/>
                      <a:pt x="291" y="168"/>
                    </a:cubicBezTo>
                    <a:cubicBezTo>
                      <a:pt x="300" y="162"/>
                      <a:pt x="311" y="159"/>
                      <a:pt x="322" y="159"/>
                    </a:cubicBezTo>
                    <a:cubicBezTo>
                      <a:pt x="351" y="159"/>
                      <a:pt x="375" y="180"/>
                      <a:pt x="379" y="208"/>
                    </a:cubicBezTo>
                    <a:cubicBezTo>
                      <a:pt x="387" y="192"/>
                      <a:pt x="404" y="181"/>
                      <a:pt x="423" y="181"/>
                    </a:cubicBezTo>
                    <a:cubicBezTo>
                      <a:pt x="447" y="181"/>
                      <a:pt x="466" y="197"/>
                      <a:pt x="472" y="219"/>
                    </a:cubicBezTo>
                    <a:cubicBezTo>
                      <a:pt x="481" y="215"/>
                      <a:pt x="491" y="212"/>
                      <a:pt x="501" y="212"/>
                    </a:cubicBezTo>
                    <a:cubicBezTo>
                      <a:pt x="515" y="212"/>
                      <a:pt x="528" y="217"/>
                      <a:pt x="539" y="224"/>
                    </a:cubicBezTo>
                    <a:cubicBezTo>
                      <a:pt x="539" y="11"/>
                      <a:pt x="539" y="11"/>
                      <a:pt x="539" y="11"/>
                    </a:cubicBezTo>
                    <a:cubicBezTo>
                      <a:pt x="539" y="0"/>
                      <a:pt x="528" y="0"/>
                      <a:pt x="528" y="0"/>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0" name="Freeform 1200">
                <a:extLst>
                  <a:ext uri="{FF2B5EF4-FFF2-40B4-BE49-F238E27FC236}">
                    <a16:creationId xmlns:a16="http://schemas.microsoft.com/office/drawing/2014/main" id="{2DCD807B-D5E9-4EF1-8C5A-596793CC9191}"/>
                  </a:ext>
                </a:extLst>
              </p:cNvPr>
              <p:cNvSpPr>
                <a:spLocks/>
              </p:cNvSpPr>
              <p:nvPr/>
            </p:nvSpPr>
            <p:spPr bwMode="auto">
              <a:xfrm>
                <a:off x="1260" y="1562"/>
                <a:ext cx="169" cy="101"/>
              </a:xfrm>
              <a:custGeom>
                <a:avLst/>
                <a:gdLst>
                  <a:gd name="T0" fmla="*/ 31 w 248"/>
                  <a:gd name="T1" fmla="*/ 0 h 149"/>
                  <a:gd name="T2" fmla="*/ 0 w 248"/>
                  <a:gd name="T3" fmla="*/ 9 h 149"/>
                  <a:gd name="T4" fmla="*/ 245 w 248"/>
                  <a:gd name="T5" fmla="*/ 149 h 149"/>
                  <a:gd name="T6" fmla="*/ 248 w 248"/>
                  <a:gd name="T7" fmla="*/ 141 h 149"/>
                  <a:gd name="T8" fmla="*/ 248 w 248"/>
                  <a:gd name="T9" fmla="*/ 65 h 149"/>
                  <a:gd name="T10" fmla="*/ 248 w 248"/>
                  <a:gd name="T11" fmla="*/ 65 h 149"/>
                  <a:gd name="T12" fmla="*/ 210 w 248"/>
                  <a:gd name="T13" fmla="*/ 53 h 149"/>
                  <a:gd name="T14" fmla="*/ 181 w 248"/>
                  <a:gd name="T15" fmla="*/ 60 h 149"/>
                  <a:gd name="T16" fmla="*/ 132 w 248"/>
                  <a:gd name="T17" fmla="*/ 22 h 149"/>
                  <a:gd name="T18" fmla="*/ 88 w 248"/>
                  <a:gd name="T19" fmla="*/ 49 h 149"/>
                  <a:gd name="T20" fmla="*/ 31 w 248"/>
                  <a:gd name="T2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149">
                    <a:moveTo>
                      <a:pt x="31" y="0"/>
                    </a:moveTo>
                    <a:cubicBezTo>
                      <a:pt x="20" y="0"/>
                      <a:pt x="9" y="3"/>
                      <a:pt x="0" y="9"/>
                    </a:cubicBezTo>
                    <a:cubicBezTo>
                      <a:pt x="245" y="149"/>
                      <a:pt x="245" y="149"/>
                      <a:pt x="245" y="149"/>
                    </a:cubicBezTo>
                    <a:cubicBezTo>
                      <a:pt x="248" y="146"/>
                      <a:pt x="248" y="141"/>
                      <a:pt x="248" y="141"/>
                    </a:cubicBezTo>
                    <a:cubicBezTo>
                      <a:pt x="248" y="65"/>
                      <a:pt x="248" y="65"/>
                      <a:pt x="248" y="65"/>
                    </a:cubicBezTo>
                    <a:cubicBezTo>
                      <a:pt x="248" y="65"/>
                      <a:pt x="248" y="65"/>
                      <a:pt x="248" y="65"/>
                    </a:cubicBezTo>
                    <a:cubicBezTo>
                      <a:pt x="237" y="58"/>
                      <a:pt x="224" y="53"/>
                      <a:pt x="210" y="53"/>
                    </a:cubicBezTo>
                    <a:cubicBezTo>
                      <a:pt x="200" y="53"/>
                      <a:pt x="190" y="56"/>
                      <a:pt x="181" y="60"/>
                    </a:cubicBezTo>
                    <a:cubicBezTo>
                      <a:pt x="175" y="38"/>
                      <a:pt x="156" y="22"/>
                      <a:pt x="132" y="22"/>
                    </a:cubicBezTo>
                    <a:cubicBezTo>
                      <a:pt x="113" y="22"/>
                      <a:pt x="96" y="33"/>
                      <a:pt x="88" y="49"/>
                    </a:cubicBezTo>
                    <a:cubicBezTo>
                      <a:pt x="84" y="21"/>
                      <a:pt x="60" y="0"/>
                      <a:pt x="31"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1" name="Freeform 1201">
                <a:extLst>
                  <a:ext uri="{FF2B5EF4-FFF2-40B4-BE49-F238E27FC236}">
                    <a16:creationId xmlns:a16="http://schemas.microsoft.com/office/drawing/2014/main" id="{0EA4FFEE-BC85-46AF-B10A-2B263C40F09D}"/>
                  </a:ext>
                </a:extLst>
              </p:cNvPr>
              <p:cNvSpPr>
                <a:spLocks/>
              </p:cNvSpPr>
              <p:nvPr/>
            </p:nvSpPr>
            <p:spPr bwMode="auto">
              <a:xfrm>
                <a:off x="1094" y="1461"/>
                <a:ext cx="97" cy="190"/>
              </a:xfrm>
              <a:custGeom>
                <a:avLst/>
                <a:gdLst>
                  <a:gd name="T0" fmla="*/ 65 w 143"/>
                  <a:gd name="T1" fmla="*/ 35 h 280"/>
                  <a:gd name="T2" fmla="*/ 122 w 143"/>
                  <a:gd name="T3" fmla="*/ 0 h 280"/>
                  <a:gd name="T4" fmla="*/ 143 w 143"/>
                  <a:gd name="T5" fmla="*/ 13 h 280"/>
                  <a:gd name="T6" fmla="*/ 86 w 143"/>
                  <a:gd name="T7" fmla="*/ 49 h 280"/>
                  <a:gd name="T8" fmla="*/ 22 w 143"/>
                  <a:gd name="T9" fmla="*/ 269 h 280"/>
                  <a:gd name="T10" fmla="*/ 0 w 143"/>
                  <a:gd name="T11" fmla="*/ 280 h 280"/>
                  <a:gd name="T12" fmla="*/ 65 w 143"/>
                  <a:gd name="T13" fmla="*/ 35 h 280"/>
                </a:gdLst>
                <a:ahLst/>
                <a:cxnLst>
                  <a:cxn ang="0">
                    <a:pos x="T0" y="T1"/>
                  </a:cxn>
                  <a:cxn ang="0">
                    <a:pos x="T2" y="T3"/>
                  </a:cxn>
                  <a:cxn ang="0">
                    <a:pos x="T4" y="T5"/>
                  </a:cxn>
                  <a:cxn ang="0">
                    <a:pos x="T6" y="T7"/>
                  </a:cxn>
                  <a:cxn ang="0">
                    <a:pos x="T8" y="T9"/>
                  </a:cxn>
                  <a:cxn ang="0">
                    <a:pos x="T10" y="T11"/>
                  </a:cxn>
                  <a:cxn ang="0">
                    <a:pos x="T12" y="T13"/>
                  </a:cxn>
                </a:cxnLst>
                <a:rect l="0" t="0" r="r" b="b"/>
                <a:pathLst>
                  <a:path w="143" h="280">
                    <a:moveTo>
                      <a:pt x="65" y="35"/>
                    </a:moveTo>
                    <a:cubicBezTo>
                      <a:pt x="78" y="15"/>
                      <a:pt x="99" y="2"/>
                      <a:pt x="122" y="0"/>
                    </a:cubicBezTo>
                    <a:cubicBezTo>
                      <a:pt x="143" y="13"/>
                      <a:pt x="143" y="13"/>
                      <a:pt x="143" y="13"/>
                    </a:cubicBezTo>
                    <a:cubicBezTo>
                      <a:pt x="120" y="16"/>
                      <a:pt x="99" y="28"/>
                      <a:pt x="86" y="49"/>
                    </a:cubicBezTo>
                    <a:cubicBezTo>
                      <a:pt x="37" y="124"/>
                      <a:pt x="25" y="224"/>
                      <a:pt x="22" y="269"/>
                    </a:cubicBezTo>
                    <a:cubicBezTo>
                      <a:pt x="8" y="276"/>
                      <a:pt x="0" y="280"/>
                      <a:pt x="0" y="280"/>
                    </a:cubicBezTo>
                    <a:cubicBezTo>
                      <a:pt x="0" y="280"/>
                      <a:pt x="0" y="136"/>
                      <a:pt x="65" y="35"/>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2" name="Freeform 1202">
                <a:extLst>
                  <a:ext uri="{FF2B5EF4-FFF2-40B4-BE49-F238E27FC236}">
                    <a16:creationId xmlns:a16="http://schemas.microsoft.com/office/drawing/2014/main" id="{C8C83409-FC6E-4A93-BB04-04F566DB0604}"/>
                  </a:ext>
                </a:extLst>
              </p:cNvPr>
              <p:cNvSpPr>
                <a:spLocks/>
              </p:cNvSpPr>
              <p:nvPr/>
            </p:nvSpPr>
            <p:spPr bwMode="auto">
              <a:xfrm>
                <a:off x="1109" y="1470"/>
                <a:ext cx="128" cy="174"/>
              </a:xfrm>
              <a:custGeom>
                <a:avLst/>
                <a:gdLst>
                  <a:gd name="T0" fmla="*/ 121 w 188"/>
                  <a:gd name="T1" fmla="*/ 0 h 256"/>
                  <a:gd name="T2" fmla="*/ 181 w 188"/>
                  <a:gd name="T3" fmla="*/ 39 h 256"/>
                  <a:gd name="T4" fmla="*/ 174 w 188"/>
                  <a:gd name="T5" fmla="*/ 106 h 256"/>
                  <a:gd name="T6" fmla="*/ 0 w 188"/>
                  <a:gd name="T7" fmla="*/ 256 h 256"/>
                  <a:gd name="T8" fmla="*/ 64 w 188"/>
                  <a:gd name="T9" fmla="*/ 36 h 256"/>
                  <a:gd name="T10" fmla="*/ 121 w 188"/>
                  <a:gd name="T11" fmla="*/ 0 h 256"/>
                </a:gdLst>
                <a:ahLst/>
                <a:cxnLst>
                  <a:cxn ang="0">
                    <a:pos x="T0" y="T1"/>
                  </a:cxn>
                  <a:cxn ang="0">
                    <a:pos x="T2" y="T3"/>
                  </a:cxn>
                  <a:cxn ang="0">
                    <a:pos x="T4" y="T5"/>
                  </a:cxn>
                  <a:cxn ang="0">
                    <a:pos x="T6" y="T7"/>
                  </a:cxn>
                  <a:cxn ang="0">
                    <a:pos x="T8" y="T9"/>
                  </a:cxn>
                  <a:cxn ang="0">
                    <a:pos x="T10" y="T11"/>
                  </a:cxn>
                </a:cxnLst>
                <a:rect l="0" t="0" r="r" b="b"/>
                <a:pathLst>
                  <a:path w="188" h="256">
                    <a:moveTo>
                      <a:pt x="121" y="0"/>
                    </a:moveTo>
                    <a:cubicBezTo>
                      <a:pt x="181" y="39"/>
                      <a:pt x="181" y="39"/>
                      <a:pt x="181" y="39"/>
                    </a:cubicBezTo>
                    <a:cubicBezTo>
                      <a:pt x="188" y="62"/>
                      <a:pt x="186" y="87"/>
                      <a:pt x="174" y="106"/>
                    </a:cubicBezTo>
                    <a:cubicBezTo>
                      <a:pt x="125" y="182"/>
                      <a:pt x="40" y="234"/>
                      <a:pt x="0" y="256"/>
                    </a:cubicBezTo>
                    <a:cubicBezTo>
                      <a:pt x="3" y="211"/>
                      <a:pt x="15" y="111"/>
                      <a:pt x="64" y="36"/>
                    </a:cubicBezTo>
                    <a:cubicBezTo>
                      <a:pt x="77" y="15"/>
                      <a:pt x="98" y="3"/>
                      <a:pt x="121"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3" name="Freeform 1203">
                <a:extLst>
                  <a:ext uri="{FF2B5EF4-FFF2-40B4-BE49-F238E27FC236}">
                    <a16:creationId xmlns:a16="http://schemas.microsoft.com/office/drawing/2014/main" id="{2D2A2015-737A-4162-859B-A648341CC246}"/>
                  </a:ext>
                </a:extLst>
              </p:cNvPr>
              <p:cNvSpPr>
                <a:spLocks/>
              </p:cNvSpPr>
              <p:nvPr/>
            </p:nvSpPr>
            <p:spPr bwMode="auto">
              <a:xfrm>
                <a:off x="1234" y="1436"/>
                <a:ext cx="79" cy="125"/>
              </a:xfrm>
              <a:custGeom>
                <a:avLst/>
                <a:gdLst>
                  <a:gd name="T0" fmla="*/ 0 w 116"/>
                  <a:gd name="T1" fmla="*/ 91 h 184"/>
                  <a:gd name="T2" fmla="*/ 10 w 116"/>
                  <a:gd name="T3" fmla="*/ 184 h 184"/>
                  <a:gd name="T4" fmla="*/ 116 w 116"/>
                  <a:gd name="T5" fmla="*/ 58 h 184"/>
                  <a:gd name="T6" fmla="*/ 110 w 116"/>
                  <a:gd name="T7" fmla="*/ 0 h 184"/>
                  <a:gd name="T8" fmla="*/ 0 w 116"/>
                  <a:gd name="T9" fmla="*/ 91 h 184"/>
                </a:gdLst>
                <a:ahLst/>
                <a:cxnLst>
                  <a:cxn ang="0">
                    <a:pos x="T0" y="T1"/>
                  </a:cxn>
                  <a:cxn ang="0">
                    <a:pos x="T2" y="T3"/>
                  </a:cxn>
                  <a:cxn ang="0">
                    <a:pos x="T4" y="T5"/>
                  </a:cxn>
                  <a:cxn ang="0">
                    <a:pos x="T6" y="T7"/>
                  </a:cxn>
                  <a:cxn ang="0">
                    <a:pos x="T8" y="T9"/>
                  </a:cxn>
                </a:cxnLst>
                <a:rect l="0" t="0" r="r" b="b"/>
                <a:pathLst>
                  <a:path w="116" h="184">
                    <a:moveTo>
                      <a:pt x="0" y="91"/>
                    </a:moveTo>
                    <a:cubicBezTo>
                      <a:pt x="0" y="91"/>
                      <a:pt x="22" y="144"/>
                      <a:pt x="10" y="184"/>
                    </a:cubicBezTo>
                    <a:cubicBezTo>
                      <a:pt x="50" y="172"/>
                      <a:pt x="106" y="107"/>
                      <a:pt x="116" y="58"/>
                    </a:cubicBezTo>
                    <a:cubicBezTo>
                      <a:pt x="110" y="0"/>
                      <a:pt x="110" y="0"/>
                      <a:pt x="110" y="0"/>
                    </a:cubicBezTo>
                    <a:lnTo>
                      <a:pt x="0" y="91"/>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4" name="Freeform 1204">
                <a:extLst>
                  <a:ext uri="{FF2B5EF4-FFF2-40B4-BE49-F238E27FC236}">
                    <a16:creationId xmlns:a16="http://schemas.microsoft.com/office/drawing/2014/main" id="{F381907B-9755-462B-8E3D-844A6763BBA7}"/>
                  </a:ext>
                </a:extLst>
              </p:cNvPr>
              <p:cNvSpPr>
                <a:spLocks/>
              </p:cNvSpPr>
              <p:nvPr/>
            </p:nvSpPr>
            <p:spPr bwMode="auto">
              <a:xfrm>
                <a:off x="1105" y="1364"/>
                <a:ext cx="90" cy="113"/>
              </a:xfrm>
              <a:custGeom>
                <a:avLst/>
                <a:gdLst>
                  <a:gd name="T0" fmla="*/ 94 w 132"/>
                  <a:gd name="T1" fmla="*/ 137 h 167"/>
                  <a:gd name="T2" fmla="*/ 6 w 132"/>
                  <a:gd name="T3" fmla="*/ 167 h 167"/>
                  <a:gd name="T4" fmla="*/ 77 w 132"/>
                  <a:gd name="T5" fmla="*/ 18 h 167"/>
                  <a:gd name="T6" fmla="*/ 132 w 132"/>
                  <a:gd name="T7" fmla="*/ 0 h 167"/>
                  <a:gd name="T8" fmla="*/ 94 w 132"/>
                  <a:gd name="T9" fmla="*/ 137 h 167"/>
                </a:gdLst>
                <a:ahLst/>
                <a:cxnLst>
                  <a:cxn ang="0">
                    <a:pos x="T0" y="T1"/>
                  </a:cxn>
                  <a:cxn ang="0">
                    <a:pos x="T2" y="T3"/>
                  </a:cxn>
                  <a:cxn ang="0">
                    <a:pos x="T4" y="T5"/>
                  </a:cxn>
                  <a:cxn ang="0">
                    <a:pos x="T6" y="T7"/>
                  </a:cxn>
                  <a:cxn ang="0">
                    <a:pos x="T8" y="T9"/>
                  </a:cxn>
                </a:cxnLst>
                <a:rect l="0" t="0" r="r" b="b"/>
                <a:pathLst>
                  <a:path w="132" h="167">
                    <a:moveTo>
                      <a:pt x="94" y="137"/>
                    </a:moveTo>
                    <a:cubicBezTo>
                      <a:pt x="94" y="137"/>
                      <a:pt x="37" y="139"/>
                      <a:pt x="6" y="167"/>
                    </a:cubicBezTo>
                    <a:cubicBezTo>
                      <a:pt x="0" y="125"/>
                      <a:pt x="36" y="47"/>
                      <a:pt x="77" y="18"/>
                    </a:cubicBezTo>
                    <a:cubicBezTo>
                      <a:pt x="132" y="0"/>
                      <a:pt x="132" y="0"/>
                      <a:pt x="132" y="0"/>
                    </a:cubicBezTo>
                    <a:lnTo>
                      <a:pt x="94" y="13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5" name="Freeform 1205">
                <a:extLst>
                  <a:ext uri="{FF2B5EF4-FFF2-40B4-BE49-F238E27FC236}">
                    <a16:creationId xmlns:a16="http://schemas.microsoft.com/office/drawing/2014/main" id="{0E5F6C03-A3EB-49A6-AFFF-C19643BF567B}"/>
                  </a:ext>
                </a:extLst>
              </p:cNvPr>
              <p:cNvSpPr>
                <a:spLocks/>
              </p:cNvSpPr>
              <p:nvPr/>
            </p:nvSpPr>
            <p:spPr bwMode="auto">
              <a:xfrm>
                <a:off x="1280" y="1255"/>
                <a:ext cx="78" cy="79"/>
              </a:xfrm>
              <a:custGeom>
                <a:avLst/>
                <a:gdLst>
                  <a:gd name="T0" fmla="*/ 39 w 114"/>
                  <a:gd name="T1" fmla="*/ 89 h 116"/>
                  <a:gd name="T2" fmla="*/ 0 w 114"/>
                  <a:gd name="T3" fmla="*/ 55 h 116"/>
                  <a:gd name="T4" fmla="*/ 5 w 114"/>
                  <a:gd name="T5" fmla="*/ 51 h 116"/>
                  <a:gd name="T6" fmla="*/ 109 w 114"/>
                  <a:gd name="T7" fmla="*/ 0 h 116"/>
                  <a:gd name="T8" fmla="*/ 106 w 114"/>
                  <a:gd name="T9" fmla="*/ 116 h 116"/>
                  <a:gd name="T10" fmla="*/ 39 w 114"/>
                  <a:gd name="T11" fmla="*/ 89 h 116"/>
                </a:gdLst>
                <a:ahLst/>
                <a:cxnLst>
                  <a:cxn ang="0">
                    <a:pos x="T0" y="T1"/>
                  </a:cxn>
                  <a:cxn ang="0">
                    <a:pos x="T2" y="T3"/>
                  </a:cxn>
                  <a:cxn ang="0">
                    <a:pos x="T4" y="T5"/>
                  </a:cxn>
                  <a:cxn ang="0">
                    <a:pos x="T6" y="T7"/>
                  </a:cxn>
                  <a:cxn ang="0">
                    <a:pos x="T8" y="T9"/>
                  </a:cxn>
                  <a:cxn ang="0">
                    <a:pos x="T10" y="T11"/>
                  </a:cxn>
                </a:cxnLst>
                <a:rect l="0" t="0" r="r" b="b"/>
                <a:pathLst>
                  <a:path w="114" h="116">
                    <a:moveTo>
                      <a:pt x="39" y="89"/>
                    </a:moveTo>
                    <a:cubicBezTo>
                      <a:pt x="24" y="79"/>
                      <a:pt x="11" y="68"/>
                      <a:pt x="0" y="55"/>
                    </a:cubicBezTo>
                    <a:cubicBezTo>
                      <a:pt x="2" y="54"/>
                      <a:pt x="3" y="53"/>
                      <a:pt x="5" y="51"/>
                    </a:cubicBezTo>
                    <a:cubicBezTo>
                      <a:pt x="47" y="23"/>
                      <a:pt x="88" y="7"/>
                      <a:pt x="109" y="0"/>
                    </a:cubicBezTo>
                    <a:cubicBezTo>
                      <a:pt x="112" y="23"/>
                      <a:pt x="114" y="66"/>
                      <a:pt x="106" y="116"/>
                    </a:cubicBezTo>
                    <a:cubicBezTo>
                      <a:pt x="83" y="111"/>
                      <a:pt x="60" y="102"/>
                      <a:pt x="39" y="89"/>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6" name="Freeform 1206">
                <a:extLst>
                  <a:ext uri="{FF2B5EF4-FFF2-40B4-BE49-F238E27FC236}">
                    <a16:creationId xmlns:a16="http://schemas.microsoft.com/office/drawing/2014/main" id="{70763D76-5B78-4A58-8EC5-04EAA651C310}"/>
                  </a:ext>
                </a:extLst>
              </p:cNvPr>
              <p:cNvSpPr>
                <a:spLocks/>
              </p:cNvSpPr>
              <p:nvPr/>
            </p:nvSpPr>
            <p:spPr bwMode="auto">
              <a:xfrm>
                <a:off x="1170" y="1282"/>
                <a:ext cx="110" cy="183"/>
              </a:xfrm>
              <a:custGeom>
                <a:avLst/>
                <a:gdLst>
                  <a:gd name="T0" fmla="*/ 149 w 162"/>
                  <a:gd name="T1" fmla="*/ 0 h 269"/>
                  <a:gd name="T2" fmla="*/ 162 w 162"/>
                  <a:gd name="T3" fmla="*/ 15 h 269"/>
                  <a:gd name="T4" fmla="*/ 69 w 162"/>
                  <a:gd name="T5" fmla="*/ 108 h 269"/>
                  <a:gd name="T6" fmla="*/ 18 w 162"/>
                  <a:gd name="T7" fmla="*/ 269 h 269"/>
                  <a:gd name="T8" fmla="*/ 0 w 162"/>
                  <a:gd name="T9" fmla="*/ 257 h 269"/>
                  <a:gd name="T10" fmla="*/ 51 w 162"/>
                  <a:gd name="T11" fmla="*/ 96 h 269"/>
                  <a:gd name="T12" fmla="*/ 149 w 16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62" h="269">
                    <a:moveTo>
                      <a:pt x="149" y="0"/>
                    </a:moveTo>
                    <a:cubicBezTo>
                      <a:pt x="153" y="5"/>
                      <a:pt x="157" y="10"/>
                      <a:pt x="162" y="15"/>
                    </a:cubicBezTo>
                    <a:cubicBezTo>
                      <a:pt x="128" y="38"/>
                      <a:pt x="95" y="68"/>
                      <a:pt x="69" y="108"/>
                    </a:cubicBezTo>
                    <a:cubicBezTo>
                      <a:pt x="36" y="160"/>
                      <a:pt x="23" y="220"/>
                      <a:pt x="18" y="269"/>
                    </a:cubicBezTo>
                    <a:cubicBezTo>
                      <a:pt x="0" y="257"/>
                      <a:pt x="0" y="257"/>
                      <a:pt x="0" y="257"/>
                    </a:cubicBezTo>
                    <a:cubicBezTo>
                      <a:pt x="5" y="208"/>
                      <a:pt x="18" y="149"/>
                      <a:pt x="51" y="96"/>
                    </a:cubicBezTo>
                    <a:cubicBezTo>
                      <a:pt x="78" y="55"/>
                      <a:pt x="114" y="23"/>
                      <a:pt x="149"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7" name="Freeform 1207">
                <a:extLst>
                  <a:ext uri="{FF2B5EF4-FFF2-40B4-BE49-F238E27FC236}">
                    <a16:creationId xmlns:a16="http://schemas.microsoft.com/office/drawing/2014/main" id="{405AD8D1-9BE3-40B2-94A0-ABF5C0E45736}"/>
                  </a:ext>
                </a:extLst>
              </p:cNvPr>
              <p:cNvSpPr>
                <a:spLocks/>
              </p:cNvSpPr>
              <p:nvPr/>
            </p:nvSpPr>
            <p:spPr bwMode="auto">
              <a:xfrm>
                <a:off x="1182" y="1293"/>
                <a:ext cx="170" cy="205"/>
              </a:xfrm>
              <a:custGeom>
                <a:avLst/>
                <a:gdLst>
                  <a:gd name="T0" fmla="*/ 144 w 250"/>
                  <a:gd name="T1" fmla="*/ 0 h 303"/>
                  <a:gd name="T2" fmla="*/ 183 w 250"/>
                  <a:gd name="T3" fmla="*/ 34 h 303"/>
                  <a:gd name="T4" fmla="*/ 250 w 250"/>
                  <a:gd name="T5" fmla="*/ 61 h 303"/>
                  <a:gd name="T6" fmla="*/ 203 w 250"/>
                  <a:gd name="T7" fmla="*/ 190 h 303"/>
                  <a:gd name="T8" fmla="*/ 77 w 250"/>
                  <a:gd name="T9" fmla="*/ 303 h 303"/>
                  <a:gd name="T10" fmla="*/ 0 w 250"/>
                  <a:gd name="T11" fmla="*/ 254 h 303"/>
                  <a:gd name="T12" fmla="*/ 51 w 250"/>
                  <a:gd name="T13" fmla="*/ 93 h 303"/>
                  <a:gd name="T14" fmla="*/ 144 w 250"/>
                  <a:gd name="T15" fmla="*/ 0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303">
                    <a:moveTo>
                      <a:pt x="144" y="0"/>
                    </a:moveTo>
                    <a:cubicBezTo>
                      <a:pt x="155" y="13"/>
                      <a:pt x="168" y="24"/>
                      <a:pt x="183" y="34"/>
                    </a:cubicBezTo>
                    <a:cubicBezTo>
                      <a:pt x="204" y="47"/>
                      <a:pt x="227" y="56"/>
                      <a:pt x="250" y="61"/>
                    </a:cubicBezTo>
                    <a:cubicBezTo>
                      <a:pt x="243" y="103"/>
                      <a:pt x="229" y="149"/>
                      <a:pt x="203" y="190"/>
                    </a:cubicBezTo>
                    <a:cubicBezTo>
                      <a:pt x="169" y="243"/>
                      <a:pt x="120" y="279"/>
                      <a:pt x="77" y="303"/>
                    </a:cubicBezTo>
                    <a:cubicBezTo>
                      <a:pt x="0" y="254"/>
                      <a:pt x="0" y="254"/>
                      <a:pt x="0" y="254"/>
                    </a:cubicBezTo>
                    <a:cubicBezTo>
                      <a:pt x="5" y="205"/>
                      <a:pt x="18" y="145"/>
                      <a:pt x="51" y="93"/>
                    </a:cubicBezTo>
                    <a:cubicBezTo>
                      <a:pt x="77" y="53"/>
                      <a:pt x="110" y="23"/>
                      <a:pt x="144"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8" name="Freeform 1208">
                <a:extLst>
                  <a:ext uri="{FF2B5EF4-FFF2-40B4-BE49-F238E27FC236}">
                    <a16:creationId xmlns:a16="http://schemas.microsoft.com/office/drawing/2014/main" id="{F60AA00A-A29D-498E-B436-2642A230614D}"/>
                  </a:ext>
                </a:extLst>
              </p:cNvPr>
              <p:cNvSpPr>
                <a:spLocks/>
              </p:cNvSpPr>
              <p:nvPr/>
            </p:nvSpPr>
            <p:spPr bwMode="auto">
              <a:xfrm>
                <a:off x="1235" y="1320"/>
                <a:ext cx="85" cy="84"/>
              </a:xfrm>
              <a:custGeom>
                <a:avLst/>
                <a:gdLst>
                  <a:gd name="T0" fmla="*/ 16 w 124"/>
                  <a:gd name="T1" fmla="*/ 33 h 124"/>
                  <a:gd name="T2" fmla="*/ 32 w 124"/>
                  <a:gd name="T3" fmla="*/ 108 h 124"/>
                  <a:gd name="T4" fmla="*/ 107 w 124"/>
                  <a:gd name="T5" fmla="*/ 92 h 124"/>
                  <a:gd name="T6" fmla="*/ 91 w 124"/>
                  <a:gd name="T7" fmla="*/ 16 h 124"/>
                  <a:gd name="T8" fmla="*/ 16 w 124"/>
                  <a:gd name="T9" fmla="*/ 33 h 124"/>
                </a:gdLst>
                <a:ahLst/>
                <a:cxnLst>
                  <a:cxn ang="0">
                    <a:pos x="T0" y="T1"/>
                  </a:cxn>
                  <a:cxn ang="0">
                    <a:pos x="T2" y="T3"/>
                  </a:cxn>
                  <a:cxn ang="0">
                    <a:pos x="T4" y="T5"/>
                  </a:cxn>
                  <a:cxn ang="0">
                    <a:pos x="T6" y="T7"/>
                  </a:cxn>
                  <a:cxn ang="0">
                    <a:pos x="T8" y="T9"/>
                  </a:cxn>
                </a:cxnLst>
                <a:rect l="0" t="0" r="r" b="b"/>
                <a:pathLst>
                  <a:path w="124" h="124">
                    <a:moveTo>
                      <a:pt x="16" y="33"/>
                    </a:moveTo>
                    <a:cubicBezTo>
                      <a:pt x="0" y="58"/>
                      <a:pt x="7" y="92"/>
                      <a:pt x="32" y="108"/>
                    </a:cubicBezTo>
                    <a:cubicBezTo>
                      <a:pt x="57" y="124"/>
                      <a:pt x="91" y="117"/>
                      <a:pt x="107" y="92"/>
                    </a:cubicBezTo>
                    <a:cubicBezTo>
                      <a:pt x="124" y="66"/>
                      <a:pt x="116" y="33"/>
                      <a:pt x="91" y="16"/>
                    </a:cubicBezTo>
                    <a:cubicBezTo>
                      <a:pt x="66" y="0"/>
                      <a:pt x="32" y="7"/>
                      <a:pt x="16" y="33"/>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9" name="Freeform 1209">
                <a:extLst>
                  <a:ext uri="{FF2B5EF4-FFF2-40B4-BE49-F238E27FC236}">
                    <a16:creationId xmlns:a16="http://schemas.microsoft.com/office/drawing/2014/main" id="{F165C252-A4A7-46B9-8677-5D732AA45C1D}"/>
                  </a:ext>
                </a:extLst>
              </p:cNvPr>
              <p:cNvSpPr>
                <a:spLocks/>
              </p:cNvSpPr>
              <p:nvPr/>
            </p:nvSpPr>
            <p:spPr bwMode="auto">
              <a:xfrm>
                <a:off x="1168" y="1400"/>
                <a:ext cx="89" cy="124"/>
              </a:xfrm>
              <a:custGeom>
                <a:avLst/>
                <a:gdLst>
                  <a:gd name="T0" fmla="*/ 0 w 89"/>
                  <a:gd name="T1" fmla="*/ 114 h 124"/>
                  <a:gd name="T2" fmla="*/ 15 w 89"/>
                  <a:gd name="T3" fmla="*/ 124 h 124"/>
                  <a:gd name="T4" fmla="*/ 89 w 89"/>
                  <a:gd name="T5" fmla="*/ 9 h 124"/>
                  <a:gd name="T6" fmla="*/ 74 w 89"/>
                  <a:gd name="T7" fmla="*/ 0 h 124"/>
                  <a:gd name="T8" fmla="*/ 0 w 89"/>
                  <a:gd name="T9" fmla="*/ 114 h 124"/>
                </a:gdLst>
                <a:ahLst/>
                <a:cxnLst>
                  <a:cxn ang="0">
                    <a:pos x="T0" y="T1"/>
                  </a:cxn>
                  <a:cxn ang="0">
                    <a:pos x="T2" y="T3"/>
                  </a:cxn>
                  <a:cxn ang="0">
                    <a:pos x="T4" y="T5"/>
                  </a:cxn>
                  <a:cxn ang="0">
                    <a:pos x="T6" y="T7"/>
                  </a:cxn>
                  <a:cxn ang="0">
                    <a:pos x="T8" y="T9"/>
                  </a:cxn>
                </a:cxnLst>
                <a:rect l="0" t="0" r="r" b="b"/>
                <a:pathLst>
                  <a:path w="89" h="124">
                    <a:moveTo>
                      <a:pt x="0" y="114"/>
                    </a:moveTo>
                    <a:lnTo>
                      <a:pt x="15" y="124"/>
                    </a:lnTo>
                    <a:lnTo>
                      <a:pt x="89" y="9"/>
                    </a:lnTo>
                    <a:lnTo>
                      <a:pt x="74" y="0"/>
                    </a:lnTo>
                    <a:lnTo>
                      <a:pt x="0" y="11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0" name="Freeform 1210">
                <a:extLst>
                  <a:ext uri="{FF2B5EF4-FFF2-40B4-BE49-F238E27FC236}">
                    <a16:creationId xmlns:a16="http://schemas.microsoft.com/office/drawing/2014/main" id="{63904985-846B-4901-99C3-F13AA224BED0}"/>
                  </a:ext>
                </a:extLst>
              </p:cNvPr>
              <p:cNvSpPr>
                <a:spLocks/>
              </p:cNvSpPr>
              <p:nvPr/>
            </p:nvSpPr>
            <p:spPr bwMode="auto">
              <a:xfrm>
                <a:off x="1247" y="1329"/>
                <a:ext cx="58" cy="39"/>
              </a:xfrm>
              <a:custGeom>
                <a:avLst/>
                <a:gdLst>
                  <a:gd name="T0" fmla="*/ 8 w 86"/>
                  <a:gd name="T1" fmla="*/ 26 h 58"/>
                  <a:gd name="T2" fmla="*/ 68 w 86"/>
                  <a:gd name="T3" fmla="*/ 13 h 58"/>
                  <a:gd name="T4" fmla="*/ 86 w 86"/>
                  <a:gd name="T5" fmla="*/ 40 h 58"/>
                  <a:gd name="T6" fmla="*/ 3 w 86"/>
                  <a:gd name="T7" fmla="*/ 58 h 58"/>
                  <a:gd name="T8" fmla="*/ 8 w 86"/>
                  <a:gd name="T9" fmla="*/ 26 h 58"/>
                </a:gdLst>
                <a:ahLst/>
                <a:cxnLst>
                  <a:cxn ang="0">
                    <a:pos x="T0" y="T1"/>
                  </a:cxn>
                  <a:cxn ang="0">
                    <a:pos x="T2" y="T3"/>
                  </a:cxn>
                  <a:cxn ang="0">
                    <a:pos x="T4" y="T5"/>
                  </a:cxn>
                  <a:cxn ang="0">
                    <a:pos x="T6" y="T7"/>
                  </a:cxn>
                  <a:cxn ang="0">
                    <a:pos x="T8" y="T9"/>
                  </a:cxn>
                </a:cxnLst>
                <a:rect l="0" t="0" r="r" b="b"/>
                <a:pathLst>
                  <a:path w="86" h="58">
                    <a:moveTo>
                      <a:pt x="8" y="26"/>
                    </a:moveTo>
                    <a:cubicBezTo>
                      <a:pt x="21" y="6"/>
                      <a:pt x="48" y="0"/>
                      <a:pt x="68" y="13"/>
                    </a:cubicBezTo>
                    <a:cubicBezTo>
                      <a:pt x="78" y="19"/>
                      <a:pt x="84" y="29"/>
                      <a:pt x="86" y="40"/>
                    </a:cubicBezTo>
                    <a:cubicBezTo>
                      <a:pt x="3" y="58"/>
                      <a:pt x="3" y="58"/>
                      <a:pt x="3" y="58"/>
                    </a:cubicBezTo>
                    <a:cubicBezTo>
                      <a:pt x="0" y="47"/>
                      <a:pt x="2" y="36"/>
                      <a:pt x="8" y="2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1" name="Freeform 1211">
                <a:extLst>
                  <a:ext uri="{FF2B5EF4-FFF2-40B4-BE49-F238E27FC236}">
                    <a16:creationId xmlns:a16="http://schemas.microsoft.com/office/drawing/2014/main" id="{8DE1D8A8-8A66-4328-84C5-4013EADE4002}"/>
                  </a:ext>
                </a:extLst>
              </p:cNvPr>
              <p:cNvSpPr>
                <a:spLocks/>
              </p:cNvSpPr>
              <p:nvPr/>
            </p:nvSpPr>
            <p:spPr bwMode="auto">
              <a:xfrm>
                <a:off x="1249" y="1356"/>
                <a:ext cx="58" cy="39"/>
              </a:xfrm>
              <a:custGeom>
                <a:avLst/>
                <a:gdLst>
                  <a:gd name="T0" fmla="*/ 78 w 86"/>
                  <a:gd name="T1" fmla="*/ 32 h 58"/>
                  <a:gd name="T2" fmla="*/ 18 w 86"/>
                  <a:gd name="T3" fmla="*/ 45 h 58"/>
                  <a:gd name="T4" fmla="*/ 0 w 86"/>
                  <a:gd name="T5" fmla="*/ 18 h 58"/>
                  <a:gd name="T6" fmla="*/ 83 w 86"/>
                  <a:gd name="T7" fmla="*/ 0 h 58"/>
                  <a:gd name="T8" fmla="*/ 78 w 86"/>
                  <a:gd name="T9" fmla="*/ 32 h 58"/>
                </a:gdLst>
                <a:ahLst/>
                <a:cxnLst>
                  <a:cxn ang="0">
                    <a:pos x="T0" y="T1"/>
                  </a:cxn>
                  <a:cxn ang="0">
                    <a:pos x="T2" y="T3"/>
                  </a:cxn>
                  <a:cxn ang="0">
                    <a:pos x="T4" y="T5"/>
                  </a:cxn>
                  <a:cxn ang="0">
                    <a:pos x="T6" y="T7"/>
                  </a:cxn>
                  <a:cxn ang="0">
                    <a:pos x="T8" y="T9"/>
                  </a:cxn>
                </a:cxnLst>
                <a:rect l="0" t="0" r="r" b="b"/>
                <a:pathLst>
                  <a:path w="86" h="58">
                    <a:moveTo>
                      <a:pt x="78" y="32"/>
                    </a:moveTo>
                    <a:cubicBezTo>
                      <a:pt x="65" y="52"/>
                      <a:pt x="38" y="58"/>
                      <a:pt x="18" y="45"/>
                    </a:cubicBezTo>
                    <a:cubicBezTo>
                      <a:pt x="8" y="39"/>
                      <a:pt x="2" y="29"/>
                      <a:pt x="0" y="18"/>
                    </a:cubicBezTo>
                    <a:cubicBezTo>
                      <a:pt x="83" y="0"/>
                      <a:pt x="83" y="0"/>
                      <a:pt x="83" y="0"/>
                    </a:cubicBezTo>
                    <a:cubicBezTo>
                      <a:pt x="86" y="10"/>
                      <a:pt x="84" y="22"/>
                      <a:pt x="78" y="32"/>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2" name="Freeform 1212">
                <a:extLst>
                  <a:ext uri="{FF2B5EF4-FFF2-40B4-BE49-F238E27FC236}">
                    <a16:creationId xmlns:a16="http://schemas.microsoft.com/office/drawing/2014/main" id="{9AE20309-8D44-47CA-9D06-83065211196A}"/>
                  </a:ext>
                </a:extLst>
              </p:cNvPr>
              <p:cNvSpPr>
                <a:spLocks/>
              </p:cNvSpPr>
              <p:nvPr/>
            </p:nvSpPr>
            <p:spPr bwMode="auto">
              <a:xfrm>
                <a:off x="1271" y="1244"/>
                <a:ext cx="83" cy="49"/>
              </a:xfrm>
              <a:custGeom>
                <a:avLst/>
                <a:gdLst>
                  <a:gd name="T0" fmla="*/ 13 w 122"/>
                  <a:gd name="T1" fmla="*/ 72 h 72"/>
                  <a:gd name="T2" fmla="*/ 0 w 122"/>
                  <a:gd name="T3" fmla="*/ 57 h 72"/>
                  <a:gd name="T4" fmla="*/ 120 w 122"/>
                  <a:gd name="T5" fmla="*/ 0 h 72"/>
                  <a:gd name="T6" fmla="*/ 122 w 122"/>
                  <a:gd name="T7" fmla="*/ 17 h 72"/>
                  <a:gd name="T8" fmla="*/ 18 w 122"/>
                  <a:gd name="T9" fmla="*/ 68 h 72"/>
                  <a:gd name="T10" fmla="*/ 13 w 122"/>
                  <a:gd name="T11" fmla="*/ 72 h 72"/>
                </a:gdLst>
                <a:ahLst/>
                <a:cxnLst>
                  <a:cxn ang="0">
                    <a:pos x="T0" y="T1"/>
                  </a:cxn>
                  <a:cxn ang="0">
                    <a:pos x="T2" y="T3"/>
                  </a:cxn>
                  <a:cxn ang="0">
                    <a:pos x="T4" y="T5"/>
                  </a:cxn>
                  <a:cxn ang="0">
                    <a:pos x="T6" y="T7"/>
                  </a:cxn>
                  <a:cxn ang="0">
                    <a:pos x="T8" y="T9"/>
                  </a:cxn>
                  <a:cxn ang="0">
                    <a:pos x="T10" y="T11"/>
                  </a:cxn>
                </a:cxnLst>
                <a:rect l="0" t="0" r="r" b="b"/>
                <a:pathLst>
                  <a:path w="122" h="72">
                    <a:moveTo>
                      <a:pt x="13" y="72"/>
                    </a:moveTo>
                    <a:cubicBezTo>
                      <a:pt x="8" y="67"/>
                      <a:pt x="4" y="62"/>
                      <a:pt x="0" y="57"/>
                    </a:cubicBezTo>
                    <a:cubicBezTo>
                      <a:pt x="62" y="16"/>
                      <a:pt x="120" y="0"/>
                      <a:pt x="120" y="0"/>
                    </a:cubicBezTo>
                    <a:cubicBezTo>
                      <a:pt x="120" y="0"/>
                      <a:pt x="121" y="6"/>
                      <a:pt x="122" y="17"/>
                    </a:cubicBezTo>
                    <a:cubicBezTo>
                      <a:pt x="101" y="24"/>
                      <a:pt x="60" y="40"/>
                      <a:pt x="18" y="68"/>
                    </a:cubicBezTo>
                    <a:cubicBezTo>
                      <a:pt x="16" y="70"/>
                      <a:pt x="15" y="71"/>
                      <a:pt x="13" y="72"/>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3" name="Freeform 1213">
                <a:extLst>
                  <a:ext uri="{FF2B5EF4-FFF2-40B4-BE49-F238E27FC236}">
                    <a16:creationId xmlns:a16="http://schemas.microsoft.com/office/drawing/2014/main" id="{4C700FB3-9875-4FD1-BC0A-E0037EDE9E56}"/>
                  </a:ext>
                </a:extLst>
              </p:cNvPr>
              <p:cNvSpPr>
                <a:spLocks/>
              </p:cNvSpPr>
              <p:nvPr/>
            </p:nvSpPr>
            <p:spPr bwMode="auto">
              <a:xfrm>
                <a:off x="1497" y="1657"/>
                <a:ext cx="83" cy="189"/>
              </a:xfrm>
              <a:custGeom>
                <a:avLst/>
                <a:gdLst>
                  <a:gd name="T0" fmla="*/ 72 w 83"/>
                  <a:gd name="T1" fmla="*/ 189 h 189"/>
                  <a:gd name="T2" fmla="*/ 2 w 83"/>
                  <a:gd name="T3" fmla="*/ 187 h 189"/>
                  <a:gd name="T4" fmla="*/ 0 w 83"/>
                  <a:gd name="T5" fmla="*/ 0 h 189"/>
                  <a:gd name="T6" fmla="*/ 83 w 83"/>
                  <a:gd name="T7" fmla="*/ 2 h 189"/>
                  <a:gd name="T8" fmla="*/ 72 w 83"/>
                  <a:gd name="T9" fmla="*/ 189 h 189"/>
                </a:gdLst>
                <a:ahLst/>
                <a:cxnLst>
                  <a:cxn ang="0">
                    <a:pos x="T0" y="T1"/>
                  </a:cxn>
                  <a:cxn ang="0">
                    <a:pos x="T2" y="T3"/>
                  </a:cxn>
                  <a:cxn ang="0">
                    <a:pos x="T4" y="T5"/>
                  </a:cxn>
                  <a:cxn ang="0">
                    <a:pos x="T6" y="T7"/>
                  </a:cxn>
                  <a:cxn ang="0">
                    <a:pos x="T8" y="T9"/>
                  </a:cxn>
                </a:cxnLst>
                <a:rect l="0" t="0" r="r" b="b"/>
                <a:pathLst>
                  <a:path w="83" h="189">
                    <a:moveTo>
                      <a:pt x="72" y="189"/>
                    </a:moveTo>
                    <a:lnTo>
                      <a:pt x="2" y="187"/>
                    </a:lnTo>
                    <a:lnTo>
                      <a:pt x="0" y="0"/>
                    </a:lnTo>
                    <a:lnTo>
                      <a:pt x="83" y="2"/>
                    </a:lnTo>
                    <a:lnTo>
                      <a:pt x="72" y="18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4" name="Freeform 1214">
                <a:extLst>
                  <a:ext uri="{FF2B5EF4-FFF2-40B4-BE49-F238E27FC236}">
                    <a16:creationId xmlns:a16="http://schemas.microsoft.com/office/drawing/2014/main" id="{3F3BDCF1-EF67-4619-A5DC-BEEB75DEA4CC}"/>
                  </a:ext>
                </a:extLst>
              </p:cNvPr>
              <p:cNvSpPr>
                <a:spLocks/>
              </p:cNvSpPr>
              <p:nvPr/>
            </p:nvSpPr>
            <p:spPr bwMode="auto">
              <a:xfrm>
                <a:off x="1557" y="1655"/>
                <a:ext cx="100" cy="191"/>
              </a:xfrm>
              <a:custGeom>
                <a:avLst/>
                <a:gdLst>
                  <a:gd name="T0" fmla="*/ 100 w 100"/>
                  <a:gd name="T1" fmla="*/ 187 h 191"/>
                  <a:gd name="T2" fmla="*/ 30 w 100"/>
                  <a:gd name="T3" fmla="*/ 191 h 191"/>
                  <a:gd name="T4" fmla="*/ 0 w 100"/>
                  <a:gd name="T5" fmla="*/ 5 h 191"/>
                  <a:gd name="T6" fmla="*/ 84 w 100"/>
                  <a:gd name="T7" fmla="*/ 0 h 191"/>
                  <a:gd name="T8" fmla="*/ 100 w 100"/>
                  <a:gd name="T9" fmla="*/ 187 h 191"/>
                </a:gdLst>
                <a:ahLst/>
                <a:cxnLst>
                  <a:cxn ang="0">
                    <a:pos x="T0" y="T1"/>
                  </a:cxn>
                  <a:cxn ang="0">
                    <a:pos x="T2" y="T3"/>
                  </a:cxn>
                  <a:cxn ang="0">
                    <a:pos x="T4" y="T5"/>
                  </a:cxn>
                  <a:cxn ang="0">
                    <a:pos x="T6" y="T7"/>
                  </a:cxn>
                  <a:cxn ang="0">
                    <a:pos x="T8" y="T9"/>
                  </a:cxn>
                </a:cxnLst>
                <a:rect l="0" t="0" r="r" b="b"/>
                <a:pathLst>
                  <a:path w="100" h="191">
                    <a:moveTo>
                      <a:pt x="100" y="187"/>
                    </a:moveTo>
                    <a:lnTo>
                      <a:pt x="30" y="191"/>
                    </a:lnTo>
                    <a:lnTo>
                      <a:pt x="0" y="5"/>
                    </a:lnTo>
                    <a:lnTo>
                      <a:pt x="84" y="0"/>
                    </a:lnTo>
                    <a:lnTo>
                      <a:pt x="100" y="1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5" name="Freeform 1215">
                <a:extLst>
                  <a:ext uri="{FF2B5EF4-FFF2-40B4-BE49-F238E27FC236}">
                    <a16:creationId xmlns:a16="http://schemas.microsoft.com/office/drawing/2014/main" id="{D3803FCD-FA59-49D4-BB07-AD5E7EF4DB2C}"/>
                  </a:ext>
                </a:extLst>
              </p:cNvPr>
              <p:cNvSpPr>
                <a:spLocks/>
              </p:cNvSpPr>
              <p:nvPr/>
            </p:nvSpPr>
            <p:spPr bwMode="auto">
              <a:xfrm>
                <a:off x="1467" y="2011"/>
                <a:ext cx="50" cy="54"/>
              </a:xfrm>
              <a:custGeom>
                <a:avLst/>
                <a:gdLst>
                  <a:gd name="T0" fmla="*/ 0 w 50"/>
                  <a:gd name="T1" fmla="*/ 48 h 54"/>
                  <a:gd name="T2" fmla="*/ 44 w 50"/>
                  <a:gd name="T3" fmla="*/ 54 h 54"/>
                  <a:gd name="T4" fmla="*/ 50 w 50"/>
                  <a:gd name="T5" fmla="*/ 6 h 54"/>
                  <a:gd name="T6" fmla="*/ 9 w 50"/>
                  <a:gd name="T7" fmla="*/ 0 h 54"/>
                  <a:gd name="T8" fmla="*/ 0 w 50"/>
                  <a:gd name="T9" fmla="*/ 48 h 54"/>
                </a:gdLst>
                <a:ahLst/>
                <a:cxnLst>
                  <a:cxn ang="0">
                    <a:pos x="T0" y="T1"/>
                  </a:cxn>
                  <a:cxn ang="0">
                    <a:pos x="T2" y="T3"/>
                  </a:cxn>
                  <a:cxn ang="0">
                    <a:pos x="T4" y="T5"/>
                  </a:cxn>
                  <a:cxn ang="0">
                    <a:pos x="T6" y="T7"/>
                  </a:cxn>
                  <a:cxn ang="0">
                    <a:pos x="T8" y="T9"/>
                  </a:cxn>
                </a:cxnLst>
                <a:rect l="0" t="0" r="r" b="b"/>
                <a:pathLst>
                  <a:path w="50" h="54">
                    <a:moveTo>
                      <a:pt x="0" y="48"/>
                    </a:moveTo>
                    <a:lnTo>
                      <a:pt x="44" y="54"/>
                    </a:lnTo>
                    <a:lnTo>
                      <a:pt x="50" y="6"/>
                    </a:lnTo>
                    <a:lnTo>
                      <a:pt x="9"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6" name="Freeform 1216">
                <a:extLst>
                  <a:ext uri="{FF2B5EF4-FFF2-40B4-BE49-F238E27FC236}">
                    <a16:creationId xmlns:a16="http://schemas.microsoft.com/office/drawing/2014/main" id="{740862BF-029E-44CA-B221-F7A02911B886}"/>
                  </a:ext>
                </a:extLst>
              </p:cNvPr>
              <p:cNvSpPr>
                <a:spLocks/>
              </p:cNvSpPr>
              <p:nvPr/>
            </p:nvSpPr>
            <p:spPr bwMode="auto">
              <a:xfrm>
                <a:off x="1460" y="2041"/>
                <a:ext cx="127" cy="60"/>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7" name="Freeform 1217">
                <a:extLst>
                  <a:ext uri="{FF2B5EF4-FFF2-40B4-BE49-F238E27FC236}">
                    <a16:creationId xmlns:a16="http://schemas.microsoft.com/office/drawing/2014/main" id="{5BCEEFD2-2E23-4FE3-989C-435B1A473F1F}"/>
                  </a:ext>
                </a:extLst>
              </p:cNvPr>
              <p:cNvSpPr>
                <a:spLocks/>
              </p:cNvSpPr>
              <p:nvPr/>
            </p:nvSpPr>
            <p:spPr bwMode="auto">
              <a:xfrm>
                <a:off x="1497" y="1808"/>
                <a:ext cx="74" cy="74"/>
              </a:xfrm>
              <a:custGeom>
                <a:avLst/>
                <a:gdLst>
                  <a:gd name="T0" fmla="*/ 3 w 108"/>
                  <a:gd name="T1" fmla="*/ 47 h 108"/>
                  <a:gd name="T2" fmla="*/ 60 w 108"/>
                  <a:gd name="T3" fmla="*/ 3 h 108"/>
                  <a:gd name="T4" fmla="*/ 105 w 108"/>
                  <a:gd name="T5" fmla="*/ 60 h 108"/>
                  <a:gd name="T6" fmla="*/ 48 w 108"/>
                  <a:gd name="T7" fmla="*/ 104 h 108"/>
                  <a:gd name="T8" fmla="*/ 3 w 108"/>
                  <a:gd name="T9" fmla="*/ 47 h 108"/>
                </a:gdLst>
                <a:ahLst/>
                <a:cxnLst>
                  <a:cxn ang="0">
                    <a:pos x="T0" y="T1"/>
                  </a:cxn>
                  <a:cxn ang="0">
                    <a:pos x="T2" y="T3"/>
                  </a:cxn>
                  <a:cxn ang="0">
                    <a:pos x="T4" y="T5"/>
                  </a:cxn>
                  <a:cxn ang="0">
                    <a:pos x="T6" y="T7"/>
                  </a:cxn>
                  <a:cxn ang="0">
                    <a:pos x="T8" y="T9"/>
                  </a:cxn>
                </a:cxnLst>
                <a:rect l="0" t="0" r="r" b="b"/>
                <a:pathLst>
                  <a:path w="108" h="108">
                    <a:moveTo>
                      <a:pt x="3" y="47"/>
                    </a:moveTo>
                    <a:cubicBezTo>
                      <a:pt x="7" y="19"/>
                      <a:pt x="32" y="0"/>
                      <a:pt x="60" y="3"/>
                    </a:cubicBezTo>
                    <a:cubicBezTo>
                      <a:pt x="88" y="7"/>
                      <a:pt x="108" y="32"/>
                      <a:pt x="105" y="60"/>
                    </a:cubicBezTo>
                    <a:cubicBezTo>
                      <a:pt x="101" y="88"/>
                      <a:pt x="76" y="108"/>
                      <a:pt x="48" y="104"/>
                    </a:cubicBezTo>
                    <a:cubicBezTo>
                      <a:pt x="20" y="101"/>
                      <a:pt x="0" y="75"/>
                      <a:pt x="3" y="47"/>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8" name="Freeform 1218">
                <a:extLst>
                  <a:ext uri="{FF2B5EF4-FFF2-40B4-BE49-F238E27FC236}">
                    <a16:creationId xmlns:a16="http://schemas.microsoft.com/office/drawing/2014/main" id="{A42E4AD0-12BB-423D-9B9E-A7C831D858FA}"/>
                  </a:ext>
                </a:extLst>
              </p:cNvPr>
              <p:cNvSpPr>
                <a:spLocks/>
              </p:cNvSpPr>
              <p:nvPr/>
            </p:nvSpPr>
            <p:spPr bwMode="auto">
              <a:xfrm>
                <a:off x="1587" y="1810"/>
                <a:ext cx="71" cy="70"/>
              </a:xfrm>
              <a:custGeom>
                <a:avLst/>
                <a:gdLst>
                  <a:gd name="T0" fmla="*/ 1 w 104"/>
                  <a:gd name="T1" fmla="*/ 51 h 104"/>
                  <a:gd name="T2" fmla="*/ 54 w 104"/>
                  <a:gd name="T3" fmla="*/ 1 h 104"/>
                  <a:gd name="T4" fmla="*/ 103 w 104"/>
                  <a:gd name="T5" fmla="*/ 54 h 104"/>
                  <a:gd name="T6" fmla="*/ 50 w 104"/>
                  <a:gd name="T7" fmla="*/ 103 h 104"/>
                  <a:gd name="T8" fmla="*/ 1 w 104"/>
                  <a:gd name="T9" fmla="*/ 51 h 104"/>
                </a:gdLst>
                <a:ahLst/>
                <a:cxnLst>
                  <a:cxn ang="0">
                    <a:pos x="T0" y="T1"/>
                  </a:cxn>
                  <a:cxn ang="0">
                    <a:pos x="T2" y="T3"/>
                  </a:cxn>
                  <a:cxn ang="0">
                    <a:pos x="T4" y="T5"/>
                  </a:cxn>
                  <a:cxn ang="0">
                    <a:pos x="T6" y="T7"/>
                  </a:cxn>
                  <a:cxn ang="0">
                    <a:pos x="T8" y="T9"/>
                  </a:cxn>
                </a:cxnLst>
                <a:rect l="0" t="0" r="r" b="b"/>
                <a:pathLst>
                  <a:path w="104" h="104">
                    <a:moveTo>
                      <a:pt x="1" y="51"/>
                    </a:moveTo>
                    <a:cubicBezTo>
                      <a:pt x="2" y="22"/>
                      <a:pt x="26" y="0"/>
                      <a:pt x="54" y="1"/>
                    </a:cubicBezTo>
                    <a:cubicBezTo>
                      <a:pt x="82" y="2"/>
                      <a:pt x="104" y="26"/>
                      <a:pt x="103" y="54"/>
                    </a:cubicBezTo>
                    <a:cubicBezTo>
                      <a:pt x="102" y="82"/>
                      <a:pt x="78" y="104"/>
                      <a:pt x="50" y="103"/>
                    </a:cubicBezTo>
                    <a:cubicBezTo>
                      <a:pt x="22" y="102"/>
                      <a:pt x="0" y="79"/>
                      <a:pt x="1" y="51"/>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9" name="Freeform 1219">
                <a:extLst>
                  <a:ext uri="{FF2B5EF4-FFF2-40B4-BE49-F238E27FC236}">
                    <a16:creationId xmlns:a16="http://schemas.microsoft.com/office/drawing/2014/main" id="{982CA02C-B8E8-4E25-9470-10B5C34A9756}"/>
                  </a:ext>
                </a:extLst>
              </p:cNvPr>
              <p:cNvSpPr>
                <a:spLocks/>
              </p:cNvSpPr>
              <p:nvPr/>
            </p:nvSpPr>
            <p:spPr bwMode="auto">
              <a:xfrm>
                <a:off x="1464" y="1840"/>
                <a:ext cx="105" cy="215"/>
              </a:xfrm>
              <a:custGeom>
                <a:avLst/>
                <a:gdLst>
                  <a:gd name="T0" fmla="*/ 35 w 105"/>
                  <a:gd name="T1" fmla="*/ 0 h 215"/>
                  <a:gd name="T2" fmla="*/ 105 w 105"/>
                  <a:gd name="T3" fmla="*/ 9 h 215"/>
                  <a:gd name="T4" fmla="*/ 63 w 105"/>
                  <a:gd name="T5" fmla="*/ 215 h 215"/>
                  <a:gd name="T6" fmla="*/ 0 w 105"/>
                  <a:gd name="T7" fmla="*/ 212 h 215"/>
                  <a:gd name="T8" fmla="*/ 35 w 105"/>
                  <a:gd name="T9" fmla="*/ 0 h 215"/>
                </a:gdLst>
                <a:ahLst/>
                <a:cxnLst>
                  <a:cxn ang="0">
                    <a:pos x="T0" y="T1"/>
                  </a:cxn>
                  <a:cxn ang="0">
                    <a:pos x="T2" y="T3"/>
                  </a:cxn>
                  <a:cxn ang="0">
                    <a:pos x="T4" y="T5"/>
                  </a:cxn>
                  <a:cxn ang="0">
                    <a:pos x="T6" y="T7"/>
                  </a:cxn>
                  <a:cxn ang="0">
                    <a:pos x="T8" y="T9"/>
                  </a:cxn>
                </a:cxnLst>
                <a:rect l="0" t="0" r="r" b="b"/>
                <a:pathLst>
                  <a:path w="105" h="215">
                    <a:moveTo>
                      <a:pt x="35" y="0"/>
                    </a:moveTo>
                    <a:lnTo>
                      <a:pt x="105" y="9"/>
                    </a:lnTo>
                    <a:lnTo>
                      <a:pt x="63" y="215"/>
                    </a:lnTo>
                    <a:lnTo>
                      <a:pt x="0" y="212"/>
                    </a:lnTo>
                    <a:lnTo>
                      <a:pt x="3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0" name="Freeform 1220">
                <a:extLst>
                  <a:ext uri="{FF2B5EF4-FFF2-40B4-BE49-F238E27FC236}">
                    <a16:creationId xmlns:a16="http://schemas.microsoft.com/office/drawing/2014/main" id="{374FDC71-6E14-43D0-AAB7-3A36104144D4}"/>
                  </a:ext>
                </a:extLst>
              </p:cNvPr>
              <p:cNvSpPr>
                <a:spLocks/>
              </p:cNvSpPr>
              <p:nvPr/>
            </p:nvSpPr>
            <p:spPr bwMode="auto">
              <a:xfrm>
                <a:off x="1574" y="2015"/>
                <a:ext cx="45" cy="50"/>
              </a:xfrm>
              <a:custGeom>
                <a:avLst/>
                <a:gdLst>
                  <a:gd name="T0" fmla="*/ 0 w 45"/>
                  <a:gd name="T1" fmla="*/ 48 h 50"/>
                  <a:gd name="T2" fmla="*/ 44 w 45"/>
                  <a:gd name="T3" fmla="*/ 50 h 50"/>
                  <a:gd name="T4" fmla="*/ 45 w 45"/>
                  <a:gd name="T5" fmla="*/ 2 h 50"/>
                  <a:gd name="T6" fmla="*/ 5 w 45"/>
                  <a:gd name="T7" fmla="*/ 0 h 50"/>
                  <a:gd name="T8" fmla="*/ 0 w 45"/>
                  <a:gd name="T9" fmla="*/ 48 h 50"/>
                </a:gdLst>
                <a:ahLst/>
                <a:cxnLst>
                  <a:cxn ang="0">
                    <a:pos x="T0" y="T1"/>
                  </a:cxn>
                  <a:cxn ang="0">
                    <a:pos x="T2" y="T3"/>
                  </a:cxn>
                  <a:cxn ang="0">
                    <a:pos x="T4" y="T5"/>
                  </a:cxn>
                  <a:cxn ang="0">
                    <a:pos x="T6" y="T7"/>
                  </a:cxn>
                  <a:cxn ang="0">
                    <a:pos x="T8" y="T9"/>
                  </a:cxn>
                </a:cxnLst>
                <a:rect l="0" t="0" r="r" b="b"/>
                <a:pathLst>
                  <a:path w="45" h="50">
                    <a:moveTo>
                      <a:pt x="0" y="48"/>
                    </a:moveTo>
                    <a:lnTo>
                      <a:pt x="44" y="50"/>
                    </a:lnTo>
                    <a:lnTo>
                      <a:pt x="45" y="2"/>
                    </a:lnTo>
                    <a:lnTo>
                      <a:pt x="5"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1" name="Freeform 1221">
                <a:extLst>
                  <a:ext uri="{FF2B5EF4-FFF2-40B4-BE49-F238E27FC236}">
                    <a16:creationId xmlns:a16="http://schemas.microsoft.com/office/drawing/2014/main" id="{8A00F1BB-0D09-48EB-A5BF-1982367A7E8E}"/>
                  </a:ext>
                </a:extLst>
              </p:cNvPr>
              <p:cNvSpPr>
                <a:spLocks/>
              </p:cNvSpPr>
              <p:nvPr/>
            </p:nvSpPr>
            <p:spPr bwMode="auto">
              <a:xfrm>
                <a:off x="1569" y="2045"/>
                <a:ext cx="127" cy="51"/>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2" name="Freeform 1222">
                <a:extLst>
                  <a:ext uri="{FF2B5EF4-FFF2-40B4-BE49-F238E27FC236}">
                    <a16:creationId xmlns:a16="http://schemas.microsoft.com/office/drawing/2014/main" id="{9A19DFBF-9CA9-475D-B477-ED44CE11A6BF}"/>
                  </a:ext>
                </a:extLst>
              </p:cNvPr>
              <p:cNvSpPr>
                <a:spLocks/>
              </p:cNvSpPr>
              <p:nvPr/>
            </p:nvSpPr>
            <p:spPr bwMode="auto">
              <a:xfrm>
                <a:off x="1570" y="1844"/>
                <a:ext cx="87" cy="213"/>
              </a:xfrm>
              <a:custGeom>
                <a:avLst/>
                <a:gdLst>
                  <a:gd name="T0" fmla="*/ 17 w 87"/>
                  <a:gd name="T1" fmla="*/ 0 h 213"/>
                  <a:gd name="T2" fmla="*/ 87 w 87"/>
                  <a:gd name="T3" fmla="*/ 2 h 213"/>
                  <a:gd name="T4" fmla="*/ 64 w 87"/>
                  <a:gd name="T5" fmla="*/ 210 h 213"/>
                  <a:gd name="T6" fmla="*/ 0 w 87"/>
                  <a:gd name="T7" fmla="*/ 213 h 213"/>
                  <a:gd name="T8" fmla="*/ 17 w 87"/>
                  <a:gd name="T9" fmla="*/ 0 h 213"/>
                </a:gdLst>
                <a:ahLst/>
                <a:cxnLst>
                  <a:cxn ang="0">
                    <a:pos x="T0" y="T1"/>
                  </a:cxn>
                  <a:cxn ang="0">
                    <a:pos x="T2" y="T3"/>
                  </a:cxn>
                  <a:cxn ang="0">
                    <a:pos x="T4" y="T5"/>
                  </a:cxn>
                  <a:cxn ang="0">
                    <a:pos x="T6" y="T7"/>
                  </a:cxn>
                  <a:cxn ang="0">
                    <a:pos x="T8" y="T9"/>
                  </a:cxn>
                </a:cxnLst>
                <a:rect l="0" t="0" r="r" b="b"/>
                <a:pathLst>
                  <a:path w="87" h="213">
                    <a:moveTo>
                      <a:pt x="17" y="0"/>
                    </a:moveTo>
                    <a:lnTo>
                      <a:pt x="87" y="2"/>
                    </a:lnTo>
                    <a:lnTo>
                      <a:pt x="64" y="210"/>
                    </a:lnTo>
                    <a:lnTo>
                      <a:pt x="0" y="213"/>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3" name="Freeform 1223">
                <a:extLst>
                  <a:ext uri="{FF2B5EF4-FFF2-40B4-BE49-F238E27FC236}">
                    <a16:creationId xmlns:a16="http://schemas.microsoft.com/office/drawing/2014/main" id="{1997AF71-8A57-4A11-86E1-111F64157652}"/>
                  </a:ext>
                </a:extLst>
              </p:cNvPr>
              <p:cNvSpPr>
                <a:spLocks/>
              </p:cNvSpPr>
              <p:nvPr/>
            </p:nvSpPr>
            <p:spPr bwMode="auto">
              <a:xfrm>
                <a:off x="1469" y="1372"/>
                <a:ext cx="178" cy="303"/>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4" name="Freeform 1224">
                <a:extLst>
                  <a:ext uri="{FF2B5EF4-FFF2-40B4-BE49-F238E27FC236}">
                    <a16:creationId xmlns:a16="http://schemas.microsoft.com/office/drawing/2014/main" id="{1CFB0B37-71E3-4748-BB6E-06F2958D0C17}"/>
                  </a:ext>
                </a:extLst>
              </p:cNvPr>
              <p:cNvSpPr>
                <a:spLocks/>
              </p:cNvSpPr>
              <p:nvPr/>
            </p:nvSpPr>
            <p:spPr bwMode="auto">
              <a:xfrm>
                <a:off x="1469" y="1427"/>
                <a:ext cx="85" cy="134"/>
              </a:xfrm>
              <a:custGeom>
                <a:avLst/>
                <a:gdLst>
                  <a:gd name="T0" fmla="*/ 25 w 85"/>
                  <a:gd name="T1" fmla="*/ 134 h 134"/>
                  <a:gd name="T2" fmla="*/ 85 w 85"/>
                  <a:gd name="T3" fmla="*/ 127 h 134"/>
                  <a:gd name="T4" fmla="*/ 75 w 85"/>
                  <a:gd name="T5" fmla="*/ 0 h 134"/>
                  <a:gd name="T6" fmla="*/ 0 w 85"/>
                  <a:gd name="T7" fmla="*/ 7 h 134"/>
                  <a:gd name="T8" fmla="*/ 25 w 85"/>
                  <a:gd name="T9" fmla="*/ 134 h 134"/>
                </a:gdLst>
                <a:ahLst/>
                <a:cxnLst>
                  <a:cxn ang="0">
                    <a:pos x="T0" y="T1"/>
                  </a:cxn>
                  <a:cxn ang="0">
                    <a:pos x="T2" y="T3"/>
                  </a:cxn>
                  <a:cxn ang="0">
                    <a:pos x="T4" y="T5"/>
                  </a:cxn>
                  <a:cxn ang="0">
                    <a:pos x="T6" y="T7"/>
                  </a:cxn>
                  <a:cxn ang="0">
                    <a:pos x="T8" y="T9"/>
                  </a:cxn>
                </a:cxnLst>
                <a:rect l="0" t="0" r="r" b="b"/>
                <a:pathLst>
                  <a:path w="85" h="134">
                    <a:moveTo>
                      <a:pt x="25" y="134"/>
                    </a:moveTo>
                    <a:lnTo>
                      <a:pt x="85" y="127"/>
                    </a:lnTo>
                    <a:lnTo>
                      <a:pt x="75" y="0"/>
                    </a:lnTo>
                    <a:lnTo>
                      <a:pt x="0" y="7"/>
                    </a:lnTo>
                    <a:lnTo>
                      <a:pt x="25" y="134"/>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5" name="Freeform 1225">
                <a:extLst>
                  <a:ext uri="{FF2B5EF4-FFF2-40B4-BE49-F238E27FC236}">
                    <a16:creationId xmlns:a16="http://schemas.microsoft.com/office/drawing/2014/main" id="{21B2E647-B40E-4CFF-A3BD-04EDA6AF4F53}"/>
                  </a:ext>
                </a:extLst>
              </p:cNvPr>
              <p:cNvSpPr>
                <a:spLocks/>
              </p:cNvSpPr>
              <p:nvPr/>
            </p:nvSpPr>
            <p:spPr bwMode="auto">
              <a:xfrm>
                <a:off x="1466" y="1388"/>
                <a:ext cx="81" cy="80"/>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6" name="Freeform 1226">
                <a:extLst>
                  <a:ext uri="{FF2B5EF4-FFF2-40B4-BE49-F238E27FC236}">
                    <a16:creationId xmlns:a16="http://schemas.microsoft.com/office/drawing/2014/main" id="{3819D636-25C0-4C66-BAEB-B0E84CE02C24}"/>
                  </a:ext>
                </a:extLst>
              </p:cNvPr>
              <p:cNvSpPr>
                <a:spLocks/>
              </p:cNvSpPr>
              <p:nvPr/>
            </p:nvSpPr>
            <p:spPr bwMode="auto">
              <a:xfrm>
                <a:off x="1491" y="1522"/>
                <a:ext cx="66" cy="66"/>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7" name="Freeform 1227">
                <a:extLst>
                  <a:ext uri="{FF2B5EF4-FFF2-40B4-BE49-F238E27FC236}">
                    <a16:creationId xmlns:a16="http://schemas.microsoft.com/office/drawing/2014/main" id="{9EF43586-B91F-4B1B-8100-3B0C10987484}"/>
                  </a:ext>
                </a:extLst>
              </p:cNvPr>
              <p:cNvSpPr>
                <a:spLocks/>
              </p:cNvSpPr>
              <p:nvPr/>
            </p:nvSpPr>
            <p:spPr bwMode="auto">
              <a:xfrm>
                <a:off x="1517" y="1497"/>
                <a:ext cx="147" cy="88"/>
              </a:xfrm>
              <a:custGeom>
                <a:avLst/>
                <a:gdLst>
                  <a:gd name="T0" fmla="*/ 147 w 147"/>
                  <a:gd name="T1" fmla="*/ 48 h 88"/>
                  <a:gd name="T2" fmla="*/ 135 w 147"/>
                  <a:gd name="T3" fmla="*/ 0 h 88"/>
                  <a:gd name="T4" fmla="*/ 0 w 147"/>
                  <a:gd name="T5" fmla="*/ 29 h 88"/>
                  <a:gd name="T6" fmla="*/ 13 w 147"/>
                  <a:gd name="T7" fmla="*/ 88 h 88"/>
                  <a:gd name="T8" fmla="*/ 147 w 147"/>
                  <a:gd name="T9" fmla="*/ 48 h 88"/>
                </a:gdLst>
                <a:ahLst/>
                <a:cxnLst>
                  <a:cxn ang="0">
                    <a:pos x="T0" y="T1"/>
                  </a:cxn>
                  <a:cxn ang="0">
                    <a:pos x="T2" y="T3"/>
                  </a:cxn>
                  <a:cxn ang="0">
                    <a:pos x="T4" y="T5"/>
                  </a:cxn>
                  <a:cxn ang="0">
                    <a:pos x="T6" y="T7"/>
                  </a:cxn>
                  <a:cxn ang="0">
                    <a:pos x="T8" y="T9"/>
                  </a:cxn>
                </a:cxnLst>
                <a:rect l="0" t="0" r="r" b="b"/>
                <a:pathLst>
                  <a:path w="147" h="88">
                    <a:moveTo>
                      <a:pt x="147" y="48"/>
                    </a:moveTo>
                    <a:lnTo>
                      <a:pt x="135" y="0"/>
                    </a:lnTo>
                    <a:lnTo>
                      <a:pt x="0" y="29"/>
                    </a:lnTo>
                    <a:lnTo>
                      <a:pt x="13" y="88"/>
                    </a:lnTo>
                    <a:lnTo>
                      <a:pt x="147" y="48"/>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8" name="Freeform 1228">
                <a:extLst>
                  <a:ext uri="{FF2B5EF4-FFF2-40B4-BE49-F238E27FC236}">
                    <a16:creationId xmlns:a16="http://schemas.microsoft.com/office/drawing/2014/main" id="{EB9CA543-C92E-4FDF-826D-8DB3CDA51915}"/>
                  </a:ext>
                </a:extLst>
              </p:cNvPr>
              <p:cNvSpPr>
                <a:spLocks/>
              </p:cNvSpPr>
              <p:nvPr/>
            </p:nvSpPr>
            <p:spPr bwMode="auto">
              <a:xfrm>
                <a:off x="1546" y="1497"/>
                <a:ext cx="107" cy="31"/>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9" name="Freeform 1229">
                <a:extLst>
                  <a:ext uri="{FF2B5EF4-FFF2-40B4-BE49-F238E27FC236}">
                    <a16:creationId xmlns:a16="http://schemas.microsoft.com/office/drawing/2014/main" id="{B2A20CD6-7F0B-4C6C-9577-A3471A07D3BB}"/>
                  </a:ext>
                </a:extLst>
              </p:cNvPr>
              <p:cNvSpPr>
                <a:spLocks/>
              </p:cNvSpPr>
              <p:nvPr/>
            </p:nvSpPr>
            <p:spPr bwMode="auto">
              <a:xfrm>
                <a:off x="580" y="2155"/>
                <a:ext cx="1399" cy="46"/>
              </a:xfrm>
              <a:custGeom>
                <a:avLst/>
                <a:gdLst>
                  <a:gd name="T0" fmla="*/ 2019 w 2053"/>
                  <a:gd name="T1" fmla="*/ 68 h 68"/>
                  <a:gd name="T2" fmla="*/ 34 w 2053"/>
                  <a:gd name="T3" fmla="*/ 68 h 68"/>
                  <a:gd name="T4" fmla="*/ 0 w 2053"/>
                  <a:gd name="T5" fmla="*/ 34 h 68"/>
                  <a:gd name="T6" fmla="*/ 34 w 2053"/>
                  <a:gd name="T7" fmla="*/ 0 h 68"/>
                  <a:gd name="T8" fmla="*/ 2019 w 2053"/>
                  <a:gd name="T9" fmla="*/ 0 h 68"/>
                  <a:gd name="T10" fmla="*/ 2053 w 2053"/>
                  <a:gd name="T11" fmla="*/ 34 h 68"/>
                  <a:gd name="T12" fmla="*/ 2019 w 2053"/>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053" h="68">
                    <a:moveTo>
                      <a:pt x="2019" y="68"/>
                    </a:moveTo>
                    <a:cubicBezTo>
                      <a:pt x="34" y="68"/>
                      <a:pt x="34" y="68"/>
                      <a:pt x="34" y="68"/>
                    </a:cubicBezTo>
                    <a:cubicBezTo>
                      <a:pt x="15" y="68"/>
                      <a:pt x="0" y="52"/>
                      <a:pt x="0" y="34"/>
                    </a:cubicBezTo>
                    <a:cubicBezTo>
                      <a:pt x="0" y="15"/>
                      <a:pt x="15" y="0"/>
                      <a:pt x="34" y="0"/>
                    </a:cubicBezTo>
                    <a:cubicBezTo>
                      <a:pt x="2019" y="0"/>
                      <a:pt x="2019" y="0"/>
                      <a:pt x="2019" y="0"/>
                    </a:cubicBezTo>
                    <a:cubicBezTo>
                      <a:pt x="2038" y="0"/>
                      <a:pt x="2053" y="15"/>
                      <a:pt x="2053" y="34"/>
                    </a:cubicBezTo>
                    <a:cubicBezTo>
                      <a:pt x="2053" y="52"/>
                      <a:pt x="2038" y="68"/>
                      <a:pt x="2019" y="68"/>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0" name="Freeform 1230">
                <a:extLst>
                  <a:ext uri="{FF2B5EF4-FFF2-40B4-BE49-F238E27FC236}">
                    <a16:creationId xmlns:a16="http://schemas.microsoft.com/office/drawing/2014/main" id="{264A0793-5975-46D6-91D4-50F936CA3B00}"/>
                  </a:ext>
                </a:extLst>
              </p:cNvPr>
              <p:cNvSpPr>
                <a:spLocks/>
              </p:cNvSpPr>
              <p:nvPr/>
            </p:nvSpPr>
            <p:spPr bwMode="auto">
              <a:xfrm>
                <a:off x="779" y="1655"/>
                <a:ext cx="156" cy="194"/>
              </a:xfrm>
              <a:custGeom>
                <a:avLst/>
                <a:gdLst>
                  <a:gd name="T0" fmla="*/ 211 w 229"/>
                  <a:gd name="T1" fmla="*/ 274 h 287"/>
                  <a:gd name="T2" fmla="*/ 159 w 229"/>
                  <a:gd name="T3" fmla="*/ 269 h 287"/>
                  <a:gd name="T4" fmla="*/ 23 w 229"/>
                  <a:gd name="T5" fmla="*/ 94 h 287"/>
                  <a:gd name="T6" fmla="*/ 23 w 229"/>
                  <a:gd name="T7" fmla="*/ 94 h 287"/>
                  <a:gd name="T8" fmla="*/ 17 w 229"/>
                  <a:gd name="T9" fmla="*/ 88 h 287"/>
                  <a:gd name="T10" fmla="*/ 25 w 229"/>
                  <a:gd name="T11" fmla="*/ 17 h 287"/>
                  <a:gd name="T12" fmla="*/ 96 w 229"/>
                  <a:gd name="T13" fmla="*/ 25 h 287"/>
                  <a:gd name="T14" fmla="*/ 96 w 229"/>
                  <a:gd name="T15" fmla="*/ 25 h 287"/>
                  <a:gd name="T16" fmla="*/ 216 w 229"/>
                  <a:gd name="T17" fmla="*/ 223 h 287"/>
                  <a:gd name="T18" fmla="*/ 211 w 229"/>
                  <a:gd name="T19" fmla="*/ 27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87">
                    <a:moveTo>
                      <a:pt x="211" y="274"/>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4"/>
                      <a:pt x="25" y="17"/>
                    </a:cubicBezTo>
                    <a:cubicBezTo>
                      <a:pt x="47" y="0"/>
                      <a:pt x="79" y="4"/>
                      <a:pt x="96" y="25"/>
                    </a:cubicBezTo>
                    <a:cubicBezTo>
                      <a:pt x="96" y="25"/>
                      <a:pt x="96" y="25"/>
                      <a:pt x="96" y="25"/>
                    </a:cubicBezTo>
                    <a:cubicBezTo>
                      <a:pt x="216" y="223"/>
                      <a:pt x="216" y="223"/>
                      <a:pt x="216" y="223"/>
                    </a:cubicBezTo>
                    <a:cubicBezTo>
                      <a:pt x="229" y="238"/>
                      <a:pt x="226" y="262"/>
                      <a:pt x="211" y="274"/>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1" name="Freeform 1231">
                <a:extLst>
                  <a:ext uri="{FF2B5EF4-FFF2-40B4-BE49-F238E27FC236}">
                    <a16:creationId xmlns:a16="http://schemas.microsoft.com/office/drawing/2014/main" id="{3D1A6411-E5D4-4306-A7B7-81558308EE68}"/>
                  </a:ext>
                </a:extLst>
              </p:cNvPr>
              <p:cNvSpPr>
                <a:spLocks/>
              </p:cNvSpPr>
              <p:nvPr/>
            </p:nvSpPr>
            <p:spPr bwMode="auto">
              <a:xfrm>
                <a:off x="636" y="1795"/>
                <a:ext cx="1300" cy="380"/>
              </a:xfrm>
              <a:custGeom>
                <a:avLst/>
                <a:gdLst>
                  <a:gd name="T0" fmla="*/ 1907 w 1907"/>
                  <a:gd name="T1" fmla="*/ 47 h 561"/>
                  <a:gd name="T2" fmla="*/ 1907 w 1907"/>
                  <a:gd name="T3" fmla="*/ 46 h 561"/>
                  <a:gd name="T4" fmla="*/ 1358 w 1907"/>
                  <a:gd name="T5" fmla="*/ 0 h 561"/>
                  <a:gd name="T6" fmla="*/ 550 w 1907"/>
                  <a:gd name="T7" fmla="*/ 0 h 561"/>
                  <a:gd name="T8" fmla="*/ 0 w 1907"/>
                  <a:gd name="T9" fmla="*/ 46 h 561"/>
                  <a:gd name="T10" fmla="*/ 0 w 1907"/>
                  <a:gd name="T11" fmla="*/ 46 h 561"/>
                  <a:gd name="T12" fmla="*/ 0 w 1907"/>
                  <a:gd name="T13" fmla="*/ 46 h 561"/>
                  <a:gd name="T14" fmla="*/ 0 w 1907"/>
                  <a:gd name="T15" fmla="*/ 74 h 561"/>
                  <a:gd name="T16" fmla="*/ 167 w 1907"/>
                  <a:gd name="T17" fmla="*/ 107 h 561"/>
                  <a:gd name="T18" fmla="*/ 166 w 1907"/>
                  <a:gd name="T19" fmla="*/ 147 h 561"/>
                  <a:gd name="T20" fmla="*/ 67 w 1907"/>
                  <a:gd name="T21" fmla="*/ 541 h 561"/>
                  <a:gd name="T22" fmla="*/ 68 w 1907"/>
                  <a:gd name="T23" fmla="*/ 561 h 561"/>
                  <a:gd name="T24" fmla="*/ 81 w 1907"/>
                  <a:gd name="T25" fmla="*/ 556 h 561"/>
                  <a:gd name="T26" fmla="*/ 195 w 1907"/>
                  <a:gd name="T27" fmla="*/ 159 h 561"/>
                  <a:gd name="T28" fmla="*/ 221 w 1907"/>
                  <a:gd name="T29" fmla="*/ 111 h 561"/>
                  <a:gd name="T30" fmla="*/ 550 w 1907"/>
                  <a:gd name="T31" fmla="*/ 120 h 561"/>
                  <a:gd name="T32" fmla="*/ 1358 w 1907"/>
                  <a:gd name="T33" fmla="*/ 120 h 561"/>
                  <a:gd name="T34" fmla="*/ 1686 w 1907"/>
                  <a:gd name="T35" fmla="*/ 111 h 561"/>
                  <a:gd name="T36" fmla="*/ 1712 w 1907"/>
                  <a:gd name="T37" fmla="*/ 159 h 561"/>
                  <a:gd name="T38" fmla="*/ 1826 w 1907"/>
                  <a:gd name="T39" fmla="*/ 556 h 561"/>
                  <a:gd name="T40" fmla="*/ 1839 w 1907"/>
                  <a:gd name="T41" fmla="*/ 561 h 561"/>
                  <a:gd name="T42" fmla="*/ 1841 w 1907"/>
                  <a:gd name="T43" fmla="*/ 541 h 561"/>
                  <a:gd name="T44" fmla="*/ 1741 w 1907"/>
                  <a:gd name="T45" fmla="*/ 147 h 561"/>
                  <a:gd name="T46" fmla="*/ 1740 w 1907"/>
                  <a:gd name="T47" fmla="*/ 107 h 561"/>
                  <a:gd name="T48" fmla="*/ 1907 w 1907"/>
                  <a:gd name="T49" fmla="*/ 74 h 561"/>
                  <a:gd name="T50" fmla="*/ 1907 w 1907"/>
                  <a:gd name="T51" fmla="*/ 73 h 561"/>
                  <a:gd name="T52" fmla="*/ 1907 w 1907"/>
                  <a:gd name="T53" fmla="*/ 4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7" h="561">
                    <a:moveTo>
                      <a:pt x="1907" y="47"/>
                    </a:moveTo>
                    <a:cubicBezTo>
                      <a:pt x="1907" y="47"/>
                      <a:pt x="1907" y="46"/>
                      <a:pt x="1907" y="46"/>
                    </a:cubicBezTo>
                    <a:cubicBezTo>
                      <a:pt x="1907" y="21"/>
                      <a:pt x="1660" y="0"/>
                      <a:pt x="1358" y="0"/>
                    </a:cubicBezTo>
                    <a:cubicBezTo>
                      <a:pt x="550" y="0"/>
                      <a:pt x="550" y="0"/>
                      <a:pt x="550" y="0"/>
                    </a:cubicBezTo>
                    <a:cubicBezTo>
                      <a:pt x="247" y="0"/>
                      <a:pt x="0" y="21"/>
                      <a:pt x="0" y="46"/>
                    </a:cubicBezTo>
                    <a:cubicBezTo>
                      <a:pt x="0" y="46"/>
                      <a:pt x="0" y="46"/>
                      <a:pt x="0" y="46"/>
                    </a:cubicBezTo>
                    <a:cubicBezTo>
                      <a:pt x="0" y="46"/>
                      <a:pt x="0" y="46"/>
                      <a:pt x="0" y="46"/>
                    </a:cubicBezTo>
                    <a:cubicBezTo>
                      <a:pt x="0" y="74"/>
                      <a:pt x="0" y="74"/>
                      <a:pt x="0" y="74"/>
                    </a:cubicBezTo>
                    <a:cubicBezTo>
                      <a:pt x="0" y="87"/>
                      <a:pt x="64" y="99"/>
                      <a:pt x="167" y="107"/>
                    </a:cubicBezTo>
                    <a:cubicBezTo>
                      <a:pt x="169" y="122"/>
                      <a:pt x="166" y="147"/>
                      <a:pt x="166" y="147"/>
                    </a:cubicBezTo>
                    <a:cubicBezTo>
                      <a:pt x="166" y="147"/>
                      <a:pt x="71" y="524"/>
                      <a:pt x="67" y="541"/>
                    </a:cubicBezTo>
                    <a:cubicBezTo>
                      <a:pt x="62" y="558"/>
                      <a:pt x="61" y="561"/>
                      <a:pt x="68" y="561"/>
                    </a:cubicBezTo>
                    <a:cubicBezTo>
                      <a:pt x="76" y="561"/>
                      <a:pt x="81" y="556"/>
                      <a:pt x="81" y="556"/>
                    </a:cubicBezTo>
                    <a:cubicBezTo>
                      <a:pt x="81" y="556"/>
                      <a:pt x="179" y="222"/>
                      <a:pt x="195" y="159"/>
                    </a:cubicBezTo>
                    <a:cubicBezTo>
                      <a:pt x="201" y="134"/>
                      <a:pt x="212" y="120"/>
                      <a:pt x="221" y="111"/>
                    </a:cubicBezTo>
                    <a:cubicBezTo>
                      <a:pt x="313" y="116"/>
                      <a:pt x="427" y="120"/>
                      <a:pt x="550" y="120"/>
                    </a:cubicBezTo>
                    <a:cubicBezTo>
                      <a:pt x="1358" y="120"/>
                      <a:pt x="1358" y="120"/>
                      <a:pt x="1358" y="120"/>
                    </a:cubicBezTo>
                    <a:cubicBezTo>
                      <a:pt x="1480" y="120"/>
                      <a:pt x="1594" y="116"/>
                      <a:pt x="1686" y="111"/>
                    </a:cubicBezTo>
                    <a:cubicBezTo>
                      <a:pt x="1696" y="120"/>
                      <a:pt x="1706" y="134"/>
                      <a:pt x="1712" y="159"/>
                    </a:cubicBezTo>
                    <a:cubicBezTo>
                      <a:pt x="1729" y="222"/>
                      <a:pt x="1826" y="556"/>
                      <a:pt x="1826" y="556"/>
                    </a:cubicBezTo>
                    <a:cubicBezTo>
                      <a:pt x="1826" y="556"/>
                      <a:pt x="1831" y="561"/>
                      <a:pt x="1839" y="561"/>
                    </a:cubicBezTo>
                    <a:cubicBezTo>
                      <a:pt x="1847" y="561"/>
                      <a:pt x="1846" y="558"/>
                      <a:pt x="1841" y="541"/>
                    </a:cubicBezTo>
                    <a:cubicBezTo>
                      <a:pt x="1836" y="524"/>
                      <a:pt x="1741" y="147"/>
                      <a:pt x="1741" y="147"/>
                    </a:cubicBezTo>
                    <a:cubicBezTo>
                      <a:pt x="1741" y="147"/>
                      <a:pt x="1739" y="122"/>
                      <a:pt x="1740" y="107"/>
                    </a:cubicBezTo>
                    <a:cubicBezTo>
                      <a:pt x="1843" y="99"/>
                      <a:pt x="1907" y="87"/>
                      <a:pt x="1907" y="74"/>
                    </a:cubicBezTo>
                    <a:cubicBezTo>
                      <a:pt x="1907" y="74"/>
                      <a:pt x="1907" y="73"/>
                      <a:pt x="1907" y="73"/>
                    </a:cubicBezTo>
                    <a:lnTo>
                      <a:pt x="1907" y="47"/>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2" name="Freeform 1232">
                <a:extLst>
                  <a:ext uri="{FF2B5EF4-FFF2-40B4-BE49-F238E27FC236}">
                    <a16:creationId xmlns:a16="http://schemas.microsoft.com/office/drawing/2014/main" id="{B9C636E8-DE04-45EC-BCC0-8B30851511B3}"/>
                  </a:ext>
                </a:extLst>
              </p:cNvPr>
              <p:cNvSpPr>
                <a:spLocks/>
              </p:cNvSpPr>
              <p:nvPr/>
            </p:nvSpPr>
            <p:spPr bwMode="auto">
              <a:xfrm>
                <a:off x="636" y="1826"/>
                <a:ext cx="1300" cy="349"/>
              </a:xfrm>
              <a:custGeom>
                <a:avLst/>
                <a:gdLst>
                  <a:gd name="T0" fmla="*/ 1907 w 1907"/>
                  <a:gd name="T1" fmla="*/ 1 h 515"/>
                  <a:gd name="T2" fmla="*/ 1358 w 1907"/>
                  <a:gd name="T3" fmla="*/ 45 h 515"/>
                  <a:gd name="T4" fmla="*/ 550 w 1907"/>
                  <a:gd name="T5" fmla="*/ 45 h 515"/>
                  <a:gd name="T6" fmla="*/ 0 w 1907"/>
                  <a:gd name="T7" fmla="*/ 0 h 515"/>
                  <a:gd name="T8" fmla="*/ 0 w 1907"/>
                  <a:gd name="T9" fmla="*/ 0 h 515"/>
                  <a:gd name="T10" fmla="*/ 0 w 1907"/>
                  <a:gd name="T11" fmla="*/ 28 h 515"/>
                  <a:gd name="T12" fmla="*/ 167 w 1907"/>
                  <a:gd name="T13" fmla="*/ 61 h 515"/>
                  <a:gd name="T14" fmla="*/ 166 w 1907"/>
                  <a:gd name="T15" fmla="*/ 101 h 515"/>
                  <a:gd name="T16" fmla="*/ 67 w 1907"/>
                  <a:gd name="T17" fmla="*/ 495 h 515"/>
                  <a:gd name="T18" fmla="*/ 68 w 1907"/>
                  <a:gd name="T19" fmla="*/ 515 h 515"/>
                  <a:gd name="T20" fmla="*/ 81 w 1907"/>
                  <a:gd name="T21" fmla="*/ 510 h 515"/>
                  <a:gd name="T22" fmla="*/ 195 w 1907"/>
                  <a:gd name="T23" fmla="*/ 113 h 515"/>
                  <a:gd name="T24" fmla="*/ 221 w 1907"/>
                  <a:gd name="T25" fmla="*/ 65 h 515"/>
                  <a:gd name="T26" fmla="*/ 550 w 1907"/>
                  <a:gd name="T27" fmla="*/ 74 h 515"/>
                  <a:gd name="T28" fmla="*/ 1358 w 1907"/>
                  <a:gd name="T29" fmla="*/ 74 h 515"/>
                  <a:gd name="T30" fmla="*/ 1686 w 1907"/>
                  <a:gd name="T31" fmla="*/ 65 h 515"/>
                  <a:gd name="T32" fmla="*/ 1712 w 1907"/>
                  <a:gd name="T33" fmla="*/ 113 h 515"/>
                  <a:gd name="T34" fmla="*/ 1826 w 1907"/>
                  <a:gd name="T35" fmla="*/ 510 h 515"/>
                  <a:gd name="T36" fmla="*/ 1839 w 1907"/>
                  <a:gd name="T37" fmla="*/ 515 h 515"/>
                  <a:gd name="T38" fmla="*/ 1841 w 1907"/>
                  <a:gd name="T39" fmla="*/ 495 h 515"/>
                  <a:gd name="T40" fmla="*/ 1741 w 1907"/>
                  <a:gd name="T41" fmla="*/ 101 h 515"/>
                  <a:gd name="T42" fmla="*/ 1740 w 1907"/>
                  <a:gd name="T43" fmla="*/ 61 h 515"/>
                  <a:gd name="T44" fmla="*/ 1907 w 1907"/>
                  <a:gd name="T45" fmla="*/ 28 h 515"/>
                  <a:gd name="T46" fmla="*/ 1907 w 1907"/>
                  <a:gd name="T47" fmla="*/ 27 h 515"/>
                  <a:gd name="T48" fmla="*/ 1907 w 1907"/>
                  <a:gd name="T49" fmla="*/ 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07" h="515">
                    <a:moveTo>
                      <a:pt x="1907" y="1"/>
                    </a:moveTo>
                    <a:cubicBezTo>
                      <a:pt x="1896" y="25"/>
                      <a:pt x="1653" y="45"/>
                      <a:pt x="1358" y="45"/>
                    </a:cubicBezTo>
                    <a:cubicBezTo>
                      <a:pt x="550" y="45"/>
                      <a:pt x="550" y="45"/>
                      <a:pt x="550" y="45"/>
                    </a:cubicBezTo>
                    <a:cubicBezTo>
                      <a:pt x="247" y="45"/>
                      <a:pt x="0" y="25"/>
                      <a:pt x="0" y="0"/>
                    </a:cubicBezTo>
                    <a:cubicBezTo>
                      <a:pt x="0" y="0"/>
                      <a:pt x="0" y="0"/>
                      <a:pt x="0" y="0"/>
                    </a:cubicBezTo>
                    <a:cubicBezTo>
                      <a:pt x="0" y="28"/>
                      <a:pt x="0" y="28"/>
                      <a:pt x="0" y="28"/>
                    </a:cubicBezTo>
                    <a:cubicBezTo>
                      <a:pt x="0" y="41"/>
                      <a:pt x="64" y="53"/>
                      <a:pt x="167" y="61"/>
                    </a:cubicBezTo>
                    <a:cubicBezTo>
                      <a:pt x="169" y="76"/>
                      <a:pt x="166" y="101"/>
                      <a:pt x="166" y="101"/>
                    </a:cubicBezTo>
                    <a:cubicBezTo>
                      <a:pt x="166" y="101"/>
                      <a:pt x="71" y="478"/>
                      <a:pt x="67" y="495"/>
                    </a:cubicBezTo>
                    <a:cubicBezTo>
                      <a:pt x="62" y="512"/>
                      <a:pt x="61" y="515"/>
                      <a:pt x="68" y="515"/>
                    </a:cubicBezTo>
                    <a:cubicBezTo>
                      <a:pt x="76" y="515"/>
                      <a:pt x="81" y="510"/>
                      <a:pt x="81" y="510"/>
                    </a:cubicBezTo>
                    <a:cubicBezTo>
                      <a:pt x="81" y="510"/>
                      <a:pt x="179" y="176"/>
                      <a:pt x="195" y="113"/>
                    </a:cubicBezTo>
                    <a:cubicBezTo>
                      <a:pt x="201" y="88"/>
                      <a:pt x="212" y="74"/>
                      <a:pt x="221" y="65"/>
                    </a:cubicBezTo>
                    <a:cubicBezTo>
                      <a:pt x="313" y="70"/>
                      <a:pt x="427" y="74"/>
                      <a:pt x="550" y="74"/>
                    </a:cubicBezTo>
                    <a:cubicBezTo>
                      <a:pt x="1358" y="74"/>
                      <a:pt x="1358" y="74"/>
                      <a:pt x="1358" y="74"/>
                    </a:cubicBezTo>
                    <a:cubicBezTo>
                      <a:pt x="1480" y="74"/>
                      <a:pt x="1594" y="70"/>
                      <a:pt x="1686" y="65"/>
                    </a:cubicBezTo>
                    <a:cubicBezTo>
                      <a:pt x="1696" y="74"/>
                      <a:pt x="1706" y="88"/>
                      <a:pt x="1712" y="113"/>
                    </a:cubicBezTo>
                    <a:cubicBezTo>
                      <a:pt x="1729" y="176"/>
                      <a:pt x="1826" y="510"/>
                      <a:pt x="1826" y="510"/>
                    </a:cubicBezTo>
                    <a:cubicBezTo>
                      <a:pt x="1826" y="510"/>
                      <a:pt x="1831" y="515"/>
                      <a:pt x="1839" y="515"/>
                    </a:cubicBezTo>
                    <a:cubicBezTo>
                      <a:pt x="1847" y="515"/>
                      <a:pt x="1846" y="512"/>
                      <a:pt x="1841" y="495"/>
                    </a:cubicBezTo>
                    <a:cubicBezTo>
                      <a:pt x="1836" y="478"/>
                      <a:pt x="1741" y="101"/>
                      <a:pt x="1741" y="101"/>
                    </a:cubicBezTo>
                    <a:cubicBezTo>
                      <a:pt x="1741" y="101"/>
                      <a:pt x="1739" y="76"/>
                      <a:pt x="1740" y="61"/>
                    </a:cubicBezTo>
                    <a:cubicBezTo>
                      <a:pt x="1843" y="53"/>
                      <a:pt x="1907" y="41"/>
                      <a:pt x="1907" y="28"/>
                    </a:cubicBezTo>
                    <a:cubicBezTo>
                      <a:pt x="1907" y="28"/>
                      <a:pt x="1907" y="27"/>
                      <a:pt x="1907" y="27"/>
                    </a:cubicBezTo>
                    <a:lnTo>
                      <a:pt x="1907" y="1"/>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3" name="Freeform 1233">
                <a:extLst>
                  <a:ext uri="{FF2B5EF4-FFF2-40B4-BE49-F238E27FC236}">
                    <a16:creationId xmlns:a16="http://schemas.microsoft.com/office/drawing/2014/main" id="{EF830352-5D85-475E-9192-DDDCD0F5589C}"/>
                  </a:ext>
                </a:extLst>
              </p:cNvPr>
              <p:cNvSpPr>
                <a:spLocks/>
              </p:cNvSpPr>
              <p:nvPr/>
            </p:nvSpPr>
            <p:spPr bwMode="auto">
              <a:xfrm>
                <a:off x="963" y="2148"/>
                <a:ext cx="162" cy="43"/>
              </a:xfrm>
              <a:custGeom>
                <a:avLst/>
                <a:gdLst>
                  <a:gd name="T0" fmla="*/ 0 w 237"/>
                  <a:gd name="T1" fmla="*/ 17 h 63"/>
                  <a:gd name="T2" fmla="*/ 6 w 237"/>
                  <a:gd name="T3" fmla="*/ 53 h 63"/>
                  <a:gd name="T4" fmla="*/ 29 w 237"/>
                  <a:gd name="T5" fmla="*/ 62 h 63"/>
                  <a:gd name="T6" fmla="*/ 140 w 237"/>
                  <a:gd name="T7" fmla="*/ 51 h 63"/>
                  <a:gd name="T8" fmla="*/ 214 w 237"/>
                  <a:gd name="T9" fmla="*/ 35 h 63"/>
                  <a:gd name="T10" fmla="*/ 218 w 237"/>
                  <a:gd name="T11" fmla="*/ 18 h 63"/>
                  <a:gd name="T12" fmla="*/ 112 w 237"/>
                  <a:gd name="T13" fmla="*/ 5 h 63"/>
                  <a:gd name="T14" fmla="*/ 0 w 237"/>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63">
                    <a:moveTo>
                      <a:pt x="0" y="17"/>
                    </a:moveTo>
                    <a:cubicBezTo>
                      <a:pt x="6" y="53"/>
                      <a:pt x="6" y="53"/>
                      <a:pt x="6" y="53"/>
                    </a:cubicBezTo>
                    <a:cubicBezTo>
                      <a:pt x="9" y="61"/>
                      <a:pt x="17" y="63"/>
                      <a:pt x="29" y="62"/>
                    </a:cubicBezTo>
                    <a:cubicBezTo>
                      <a:pt x="140" y="51"/>
                      <a:pt x="140" y="51"/>
                      <a:pt x="140" y="51"/>
                    </a:cubicBezTo>
                    <a:cubicBezTo>
                      <a:pt x="158" y="49"/>
                      <a:pt x="214" y="35"/>
                      <a:pt x="214" y="35"/>
                    </a:cubicBezTo>
                    <a:cubicBezTo>
                      <a:pt x="237" y="27"/>
                      <a:pt x="224" y="17"/>
                      <a:pt x="218" y="18"/>
                    </a:cubicBezTo>
                    <a:cubicBezTo>
                      <a:pt x="199" y="19"/>
                      <a:pt x="150" y="10"/>
                      <a:pt x="112" y="5"/>
                    </a:cubicBezTo>
                    <a:cubicBezTo>
                      <a:pt x="80"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4" name="Freeform 1234">
                <a:extLst>
                  <a:ext uri="{FF2B5EF4-FFF2-40B4-BE49-F238E27FC236}">
                    <a16:creationId xmlns:a16="http://schemas.microsoft.com/office/drawing/2014/main" id="{56828AF6-7FB7-49FB-8FB0-AD4B0021EB5D}"/>
                  </a:ext>
                </a:extLst>
              </p:cNvPr>
              <p:cNvSpPr>
                <a:spLocks/>
              </p:cNvSpPr>
              <p:nvPr/>
            </p:nvSpPr>
            <p:spPr bwMode="auto">
              <a:xfrm>
                <a:off x="962" y="2132"/>
                <a:ext cx="107" cy="34"/>
              </a:xfrm>
              <a:custGeom>
                <a:avLst/>
                <a:gdLst>
                  <a:gd name="T0" fmla="*/ 1 w 157"/>
                  <a:gd name="T1" fmla="*/ 10 h 49"/>
                  <a:gd name="T2" fmla="*/ 2 w 157"/>
                  <a:gd name="T3" fmla="*/ 40 h 49"/>
                  <a:gd name="T4" fmla="*/ 136 w 157"/>
                  <a:gd name="T5" fmla="*/ 40 h 49"/>
                  <a:gd name="T6" fmla="*/ 150 w 157"/>
                  <a:gd name="T7" fmla="*/ 33 h 49"/>
                  <a:gd name="T8" fmla="*/ 51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3" y="21"/>
                      <a:pt x="0" y="33"/>
                      <a:pt x="2" y="40"/>
                    </a:cubicBezTo>
                    <a:cubicBezTo>
                      <a:pt x="5" y="49"/>
                      <a:pt x="136" y="40"/>
                      <a:pt x="136" y="40"/>
                    </a:cubicBezTo>
                    <a:cubicBezTo>
                      <a:pt x="139" y="40"/>
                      <a:pt x="157" y="34"/>
                      <a:pt x="150" y="33"/>
                    </a:cubicBezTo>
                    <a:cubicBezTo>
                      <a:pt x="118" y="29"/>
                      <a:pt x="51" y="13"/>
                      <a:pt x="51"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5" name="Freeform 1235">
                <a:extLst>
                  <a:ext uri="{FF2B5EF4-FFF2-40B4-BE49-F238E27FC236}">
                    <a16:creationId xmlns:a16="http://schemas.microsoft.com/office/drawing/2014/main" id="{75A34D89-062D-4E62-B615-82C0478AB9CB}"/>
                  </a:ext>
                </a:extLst>
              </p:cNvPr>
              <p:cNvSpPr>
                <a:spLocks/>
              </p:cNvSpPr>
              <p:nvPr/>
            </p:nvSpPr>
            <p:spPr bwMode="auto">
              <a:xfrm>
                <a:off x="1002" y="1949"/>
                <a:ext cx="105" cy="212"/>
              </a:xfrm>
              <a:custGeom>
                <a:avLst/>
                <a:gdLst>
                  <a:gd name="T0" fmla="*/ 63 w 105"/>
                  <a:gd name="T1" fmla="*/ 211 h 212"/>
                  <a:gd name="T2" fmla="*/ 105 w 105"/>
                  <a:gd name="T3" fmla="*/ 212 h 212"/>
                  <a:gd name="T4" fmla="*/ 35 w 105"/>
                  <a:gd name="T5" fmla="*/ 0 h 212"/>
                  <a:gd name="T6" fmla="*/ 0 w 105"/>
                  <a:gd name="T7" fmla="*/ 10 h 212"/>
                  <a:gd name="T8" fmla="*/ 63 w 105"/>
                  <a:gd name="T9" fmla="*/ 211 h 212"/>
                </a:gdLst>
                <a:ahLst/>
                <a:cxnLst>
                  <a:cxn ang="0">
                    <a:pos x="T0" y="T1"/>
                  </a:cxn>
                  <a:cxn ang="0">
                    <a:pos x="T2" y="T3"/>
                  </a:cxn>
                  <a:cxn ang="0">
                    <a:pos x="T4" y="T5"/>
                  </a:cxn>
                  <a:cxn ang="0">
                    <a:pos x="T6" y="T7"/>
                  </a:cxn>
                  <a:cxn ang="0">
                    <a:pos x="T8" y="T9"/>
                  </a:cxn>
                </a:cxnLst>
                <a:rect l="0" t="0" r="r" b="b"/>
                <a:pathLst>
                  <a:path w="105" h="212">
                    <a:moveTo>
                      <a:pt x="63" y="211"/>
                    </a:moveTo>
                    <a:lnTo>
                      <a:pt x="105" y="212"/>
                    </a:lnTo>
                    <a:lnTo>
                      <a:pt x="35" y="0"/>
                    </a:lnTo>
                    <a:lnTo>
                      <a:pt x="0" y="10"/>
                    </a:lnTo>
                    <a:lnTo>
                      <a:pt x="63" y="211"/>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6" name="Freeform 1236">
                <a:extLst>
                  <a:ext uri="{FF2B5EF4-FFF2-40B4-BE49-F238E27FC236}">
                    <a16:creationId xmlns:a16="http://schemas.microsoft.com/office/drawing/2014/main" id="{A11D4F4E-BA79-4954-8AC2-DA439C653A0A}"/>
                  </a:ext>
                </a:extLst>
              </p:cNvPr>
              <p:cNvSpPr>
                <a:spLocks/>
              </p:cNvSpPr>
              <p:nvPr/>
            </p:nvSpPr>
            <p:spPr bwMode="auto">
              <a:xfrm>
                <a:off x="930" y="1964"/>
                <a:ext cx="75" cy="195"/>
              </a:xfrm>
              <a:custGeom>
                <a:avLst/>
                <a:gdLst>
                  <a:gd name="T0" fmla="*/ 34 w 75"/>
                  <a:gd name="T1" fmla="*/ 195 h 195"/>
                  <a:gd name="T2" fmla="*/ 75 w 75"/>
                  <a:gd name="T3" fmla="*/ 194 h 195"/>
                  <a:gd name="T4" fmla="*/ 43 w 75"/>
                  <a:gd name="T5" fmla="*/ 0 h 195"/>
                  <a:gd name="T6" fmla="*/ 0 w 75"/>
                  <a:gd name="T7" fmla="*/ 0 h 195"/>
                  <a:gd name="T8" fmla="*/ 34 w 75"/>
                  <a:gd name="T9" fmla="*/ 195 h 195"/>
                </a:gdLst>
                <a:ahLst/>
                <a:cxnLst>
                  <a:cxn ang="0">
                    <a:pos x="T0" y="T1"/>
                  </a:cxn>
                  <a:cxn ang="0">
                    <a:pos x="T2" y="T3"/>
                  </a:cxn>
                  <a:cxn ang="0">
                    <a:pos x="T4" y="T5"/>
                  </a:cxn>
                  <a:cxn ang="0">
                    <a:pos x="T6" y="T7"/>
                  </a:cxn>
                  <a:cxn ang="0">
                    <a:pos x="T8" y="T9"/>
                  </a:cxn>
                </a:cxnLst>
                <a:rect l="0" t="0" r="r" b="b"/>
                <a:pathLst>
                  <a:path w="75" h="195">
                    <a:moveTo>
                      <a:pt x="34" y="195"/>
                    </a:moveTo>
                    <a:lnTo>
                      <a:pt x="75" y="194"/>
                    </a:lnTo>
                    <a:lnTo>
                      <a:pt x="43" y="0"/>
                    </a:lnTo>
                    <a:lnTo>
                      <a:pt x="0" y="0"/>
                    </a:lnTo>
                    <a:lnTo>
                      <a:pt x="34" y="195"/>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7" name="Rectangle 1237">
                <a:extLst>
                  <a:ext uri="{FF2B5EF4-FFF2-40B4-BE49-F238E27FC236}">
                    <a16:creationId xmlns:a16="http://schemas.microsoft.com/office/drawing/2014/main" id="{5C487372-B5F5-4889-89AC-18C2DFE631E8}"/>
                  </a:ext>
                </a:extLst>
              </p:cNvPr>
              <p:cNvSpPr>
                <a:spLocks noChangeArrowheads="1"/>
              </p:cNvSpPr>
              <p:nvPr/>
            </p:nvSpPr>
            <p:spPr bwMode="auto">
              <a:xfrm>
                <a:off x="838" y="1928"/>
                <a:ext cx="47" cy="1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8" name="Freeform 1238">
                <a:extLst>
                  <a:ext uri="{FF2B5EF4-FFF2-40B4-BE49-F238E27FC236}">
                    <a16:creationId xmlns:a16="http://schemas.microsoft.com/office/drawing/2014/main" id="{28C8B4AE-A8D8-49C0-8BBD-FEA28CBD37D9}"/>
                  </a:ext>
                </a:extLst>
              </p:cNvPr>
              <p:cNvSpPr>
                <a:spLocks/>
              </p:cNvSpPr>
              <p:nvPr/>
            </p:nvSpPr>
            <p:spPr bwMode="auto">
              <a:xfrm>
                <a:off x="817" y="1870"/>
                <a:ext cx="187" cy="270"/>
              </a:xfrm>
              <a:custGeom>
                <a:avLst/>
                <a:gdLst>
                  <a:gd name="T0" fmla="*/ 190 w 274"/>
                  <a:gd name="T1" fmla="*/ 398 h 398"/>
                  <a:gd name="T2" fmla="*/ 147 w 274"/>
                  <a:gd name="T3" fmla="*/ 111 h 398"/>
                  <a:gd name="T4" fmla="*/ 0 w 274"/>
                  <a:gd name="T5" fmla="*/ 89 h 398"/>
                  <a:gd name="T6" fmla="*/ 13 w 274"/>
                  <a:gd name="T7" fmla="*/ 0 h 398"/>
                  <a:gd name="T8" fmla="*/ 194 w 274"/>
                  <a:gd name="T9" fmla="*/ 28 h 398"/>
                  <a:gd name="T10" fmla="*/ 232 w 274"/>
                  <a:gd name="T11" fmla="*/ 67 h 398"/>
                  <a:gd name="T12" fmla="*/ 274 w 274"/>
                  <a:gd name="T13" fmla="*/ 372 h 398"/>
                  <a:gd name="T14" fmla="*/ 190 w 274"/>
                  <a:gd name="T15" fmla="*/ 398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8">
                    <a:moveTo>
                      <a:pt x="190" y="398"/>
                    </a:moveTo>
                    <a:cubicBezTo>
                      <a:pt x="147" y="111"/>
                      <a:pt x="147" y="111"/>
                      <a:pt x="147" y="111"/>
                    </a:cubicBezTo>
                    <a:cubicBezTo>
                      <a:pt x="0" y="89"/>
                      <a:pt x="0" y="89"/>
                      <a:pt x="0" y="89"/>
                    </a:cubicBezTo>
                    <a:cubicBezTo>
                      <a:pt x="13" y="0"/>
                      <a:pt x="13" y="0"/>
                      <a:pt x="13" y="0"/>
                    </a:cubicBezTo>
                    <a:cubicBezTo>
                      <a:pt x="194" y="28"/>
                      <a:pt x="194" y="28"/>
                      <a:pt x="194" y="28"/>
                    </a:cubicBezTo>
                    <a:cubicBezTo>
                      <a:pt x="214" y="31"/>
                      <a:pt x="229" y="47"/>
                      <a:pt x="232" y="67"/>
                    </a:cubicBezTo>
                    <a:cubicBezTo>
                      <a:pt x="274" y="372"/>
                      <a:pt x="274" y="372"/>
                      <a:pt x="274" y="372"/>
                    </a:cubicBezTo>
                    <a:lnTo>
                      <a:pt x="190" y="398"/>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9" name="Freeform 1239">
                <a:extLst>
                  <a:ext uri="{FF2B5EF4-FFF2-40B4-BE49-F238E27FC236}">
                    <a16:creationId xmlns:a16="http://schemas.microsoft.com/office/drawing/2014/main" id="{76920175-7E17-467D-B875-520BD17472BD}"/>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 name="T16" fmla="*/ 120 w 148"/>
                  <a:gd name="T17" fmla="*/ 6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270">
                    <a:moveTo>
                      <a:pt x="120" y="69"/>
                    </a:moveTo>
                    <a:lnTo>
                      <a:pt x="18" y="56"/>
                    </a:lnTo>
                    <a:lnTo>
                      <a:pt x="26" y="3"/>
                    </a:lnTo>
                    <a:lnTo>
                      <a:pt x="9" y="0"/>
                    </a:lnTo>
                    <a:lnTo>
                      <a:pt x="0" y="60"/>
                    </a:lnTo>
                    <a:lnTo>
                      <a:pt x="100" y="75"/>
                    </a:lnTo>
                    <a:lnTo>
                      <a:pt x="130" y="270"/>
                    </a:lnTo>
                    <a:lnTo>
                      <a:pt x="148" y="265"/>
                    </a:lnTo>
                    <a:lnTo>
                      <a:pt x="120" y="69"/>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0" name="Freeform 1240">
                <a:extLst>
                  <a:ext uri="{FF2B5EF4-FFF2-40B4-BE49-F238E27FC236}">
                    <a16:creationId xmlns:a16="http://schemas.microsoft.com/office/drawing/2014/main" id="{9F3CD960-3E75-4C4C-9828-FB1897420409}"/>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70">
                    <a:moveTo>
                      <a:pt x="120" y="69"/>
                    </a:moveTo>
                    <a:lnTo>
                      <a:pt x="18" y="56"/>
                    </a:lnTo>
                    <a:lnTo>
                      <a:pt x="26" y="3"/>
                    </a:lnTo>
                    <a:lnTo>
                      <a:pt x="9" y="0"/>
                    </a:lnTo>
                    <a:lnTo>
                      <a:pt x="0" y="60"/>
                    </a:lnTo>
                    <a:lnTo>
                      <a:pt x="100" y="75"/>
                    </a:lnTo>
                    <a:lnTo>
                      <a:pt x="130" y="270"/>
                    </a:lnTo>
                    <a:lnTo>
                      <a:pt x="148" y="2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1" name="Freeform 1241">
                <a:extLst>
                  <a:ext uri="{FF2B5EF4-FFF2-40B4-BE49-F238E27FC236}">
                    <a16:creationId xmlns:a16="http://schemas.microsoft.com/office/drawing/2014/main" id="{EEFD3799-76CF-48D3-B1DE-75D7A27371E3}"/>
                  </a:ext>
                </a:extLst>
              </p:cNvPr>
              <p:cNvSpPr>
                <a:spLocks/>
              </p:cNvSpPr>
              <p:nvPr/>
            </p:nvSpPr>
            <p:spPr bwMode="auto">
              <a:xfrm>
                <a:off x="1010" y="1757"/>
                <a:ext cx="25" cy="38"/>
              </a:xfrm>
              <a:custGeom>
                <a:avLst/>
                <a:gdLst>
                  <a:gd name="T0" fmla="*/ 12 w 25"/>
                  <a:gd name="T1" fmla="*/ 0 h 38"/>
                  <a:gd name="T2" fmla="*/ 25 w 25"/>
                  <a:gd name="T3" fmla="*/ 33 h 38"/>
                  <a:gd name="T4" fmla="*/ 12 w 25"/>
                  <a:gd name="T5" fmla="*/ 38 h 38"/>
                  <a:gd name="T6" fmla="*/ 1 w 25"/>
                  <a:gd name="T7" fmla="*/ 6 h 38"/>
                  <a:gd name="T8" fmla="*/ 0 w 25"/>
                  <a:gd name="T9" fmla="*/ 4 h 38"/>
                  <a:gd name="T10" fmla="*/ 12 w 25"/>
                  <a:gd name="T11" fmla="*/ 0 h 38"/>
                </a:gdLst>
                <a:ahLst/>
                <a:cxnLst>
                  <a:cxn ang="0">
                    <a:pos x="T0" y="T1"/>
                  </a:cxn>
                  <a:cxn ang="0">
                    <a:pos x="T2" y="T3"/>
                  </a:cxn>
                  <a:cxn ang="0">
                    <a:pos x="T4" y="T5"/>
                  </a:cxn>
                  <a:cxn ang="0">
                    <a:pos x="T6" y="T7"/>
                  </a:cxn>
                  <a:cxn ang="0">
                    <a:pos x="T8" y="T9"/>
                  </a:cxn>
                  <a:cxn ang="0">
                    <a:pos x="T10" y="T11"/>
                  </a:cxn>
                </a:cxnLst>
                <a:rect l="0" t="0" r="r" b="b"/>
                <a:pathLst>
                  <a:path w="25" h="38">
                    <a:moveTo>
                      <a:pt x="12" y="0"/>
                    </a:moveTo>
                    <a:lnTo>
                      <a:pt x="25" y="33"/>
                    </a:lnTo>
                    <a:lnTo>
                      <a:pt x="12" y="38"/>
                    </a:lnTo>
                    <a:lnTo>
                      <a:pt x="1" y="6"/>
                    </a:lnTo>
                    <a:lnTo>
                      <a:pt x="0" y="4"/>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2" name="Freeform 1242">
                <a:extLst>
                  <a:ext uri="{FF2B5EF4-FFF2-40B4-BE49-F238E27FC236}">
                    <a16:creationId xmlns:a16="http://schemas.microsoft.com/office/drawing/2014/main" id="{00BCA1AD-3EFF-4600-8723-2E066E201A74}"/>
                  </a:ext>
                </a:extLst>
              </p:cNvPr>
              <p:cNvSpPr>
                <a:spLocks/>
              </p:cNvSpPr>
              <p:nvPr/>
            </p:nvSpPr>
            <p:spPr bwMode="auto">
              <a:xfrm>
                <a:off x="879" y="1760"/>
                <a:ext cx="144" cy="89"/>
              </a:xfrm>
              <a:custGeom>
                <a:avLst/>
                <a:gdLst>
                  <a:gd name="T0" fmla="*/ 193 w 212"/>
                  <a:gd name="T1" fmla="*/ 0 h 131"/>
                  <a:gd name="T2" fmla="*/ 212 w 212"/>
                  <a:gd name="T3" fmla="*/ 53 h 131"/>
                  <a:gd name="T4" fmla="*/ 55 w 212"/>
                  <a:gd name="T5" fmla="*/ 123 h 131"/>
                  <a:gd name="T6" fmla="*/ 7 w 212"/>
                  <a:gd name="T7" fmla="*/ 103 h 131"/>
                  <a:gd name="T8" fmla="*/ 27 w 212"/>
                  <a:gd name="T9" fmla="*/ 56 h 131"/>
                  <a:gd name="T10" fmla="*/ 28 w 212"/>
                  <a:gd name="T11" fmla="*/ 55 h 131"/>
                  <a:gd name="T12" fmla="*/ 32 w 212"/>
                  <a:gd name="T13" fmla="*/ 54 h 131"/>
                  <a:gd name="T14" fmla="*/ 193 w 21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131">
                    <a:moveTo>
                      <a:pt x="193" y="0"/>
                    </a:moveTo>
                    <a:cubicBezTo>
                      <a:pt x="212" y="53"/>
                      <a:pt x="212" y="53"/>
                      <a:pt x="212" y="53"/>
                    </a:cubicBezTo>
                    <a:cubicBezTo>
                      <a:pt x="55" y="123"/>
                      <a:pt x="55" y="123"/>
                      <a:pt x="55" y="123"/>
                    </a:cubicBezTo>
                    <a:cubicBezTo>
                      <a:pt x="37" y="131"/>
                      <a:pt x="15" y="122"/>
                      <a:pt x="7" y="103"/>
                    </a:cubicBezTo>
                    <a:cubicBezTo>
                      <a:pt x="0" y="85"/>
                      <a:pt x="8" y="63"/>
                      <a:pt x="27" y="56"/>
                    </a:cubicBezTo>
                    <a:cubicBezTo>
                      <a:pt x="28" y="55"/>
                      <a:pt x="28" y="55"/>
                      <a:pt x="28" y="55"/>
                    </a:cubicBezTo>
                    <a:cubicBezTo>
                      <a:pt x="32" y="54"/>
                      <a:pt x="32" y="54"/>
                      <a:pt x="32" y="54"/>
                    </a:cubicBezTo>
                    <a:lnTo>
                      <a:pt x="193" y="0"/>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3" name="Freeform 1243">
                <a:extLst>
                  <a:ext uri="{FF2B5EF4-FFF2-40B4-BE49-F238E27FC236}">
                    <a16:creationId xmlns:a16="http://schemas.microsoft.com/office/drawing/2014/main" id="{465E74D4-641C-4DEB-B9E0-EE67F23DDB15}"/>
                  </a:ext>
                </a:extLst>
              </p:cNvPr>
              <p:cNvSpPr>
                <a:spLocks/>
              </p:cNvSpPr>
              <p:nvPr/>
            </p:nvSpPr>
            <p:spPr bwMode="auto">
              <a:xfrm>
                <a:off x="813" y="1879"/>
                <a:ext cx="286" cy="259"/>
              </a:xfrm>
              <a:custGeom>
                <a:avLst/>
                <a:gdLst>
                  <a:gd name="T0" fmla="*/ 334 w 419"/>
                  <a:gd name="T1" fmla="*/ 382 h 382"/>
                  <a:gd name="T2" fmla="*/ 256 w 419"/>
                  <a:gd name="T3" fmla="*/ 117 h 382"/>
                  <a:gd name="T4" fmla="*/ 0 w 419"/>
                  <a:gd name="T5" fmla="*/ 89 h 382"/>
                  <a:gd name="T6" fmla="*/ 10 w 419"/>
                  <a:gd name="T7" fmla="*/ 0 h 382"/>
                  <a:gd name="T8" fmla="*/ 296 w 419"/>
                  <a:gd name="T9" fmla="*/ 31 h 382"/>
                  <a:gd name="T10" fmla="*/ 335 w 419"/>
                  <a:gd name="T11" fmla="*/ 65 h 382"/>
                  <a:gd name="T12" fmla="*/ 419 w 419"/>
                  <a:gd name="T13" fmla="*/ 355 h 382"/>
                  <a:gd name="T14" fmla="*/ 334 w 419"/>
                  <a:gd name="T15" fmla="*/ 382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382">
                    <a:moveTo>
                      <a:pt x="334" y="382"/>
                    </a:moveTo>
                    <a:cubicBezTo>
                      <a:pt x="256" y="117"/>
                      <a:pt x="256" y="117"/>
                      <a:pt x="256" y="117"/>
                    </a:cubicBezTo>
                    <a:cubicBezTo>
                      <a:pt x="0" y="89"/>
                      <a:pt x="0" y="89"/>
                      <a:pt x="0" y="89"/>
                    </a:cubicBezTo>
                    <a:cubicBezTo>
                      <a:pt x="10" y="0"/>
                      <a:pt x="10" y="0"/>
                      <a:pt x="10" y="0"/>
                    </a:cubicBezTo>
                    <a:cubicBezTo>
                      <a:pt x="296" y="31"/>
                      <a:pt x="296" y="31"/>
                      <a:pt x="296" y="31"/>
                    </a:cubicBezTo>
                    <a:cubicBezTo>
                      <a:pt x="315" y="33"/>
                      <a:pt x="330" y="47"/>
                      <a:pt x="335" y="65"/>
                    </a:cubicBezTo>
                    <a:cubicBezTo>
                      <a:pt x="419" y="355"/>
                      <a:pt x="419" y="355"/>
                      <a:pt x="419" y="355"/>
                    </a:cubicBezTo>
                    <a:lnTo>
                      <a:pt x="334" y="382"/>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4" name="Freeform 1244">
                <a:extLst>
                  <a:ext uri="{FF2B5EF4-FFF2-40B4-BE49-F238E27FC236}">
                    <a16:creationId xmlns:a16="http://schemas.microsoft.com/office/drawing/2014/main" id="{B90DA6CD-D8C0-4544-BE20-0C6ED5B86A1E}"/>
                  </a:ext>
                </a:extLst>
              </p:cNvPr>
              <p:cNvSpPr>
                <a:spLocks/>
              </p:cNvSpPr>
              <p:nvPr/>
            </p:nvSpPr>
            <p:spPr bwMode="auto">
              <a:xfrm>
                <a:off x="813" y="1924"/>
                <a:ext cx="245" cy="214"/>
              </a:xfrm>
              <a:custGeom>
                <a:avLst/>
                <a:gdLst>
                  <a:gd name="T0" fmla="*/ 334 w 359"/>
                  <a:gd name="T1" fmla="*/ 315 h 315"/>
                  <a:gd name="T2" fmla="*/ 359 w 359"/>
                  <a:gd name="T3" fmla="*/ 307 h 315"/>
                  <a:gd name="T4" fmla="*/ 285 w 359"/>
                  <a:gd name="T5" fmla="*/ 61 h 315"/>
                  <a:gd name="T6" fmla="*/ 246 w 359"/>
                  <a:gd name="T7" fmla="*/ 27 h 315"/>
                  <a:gd name="T8" fmla="*/ 2 w 359"/>
                  <a:gd name="T9" fmla="*/ 0 h 315"/>
                  <a:gd name="T10" fmla="*/ 0 w 359"/>
                  <a:gd name="T11" fmla="*/ 22 h 315"/>
                  <a:gd name="T12" fmla="*/ 256 w 359"/>
                  <a:gd name="T13" fmla="*/ 50 h 315"/>
                  <a:gd name="T14" fmla="*/ 334 w 359"/>
                  <a:gd name="T15" fmla="*/ 315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9" h="315">
                    <a:moveTo>
                      <a:pt x="334" y="315"/>
                    </a:moveTo>
                    <a:cubicBezTo>
                      <a:pt x="359" y="307"/>
                      <a:pt x="359" y="307"/>
                      <a:pt x="359" y="307"/>
                    </a:cubicBezTo>
                    <a:cubicBezTo>
                      <a:pt x="285" y="61"/>
                      <a:pt x="285" y="61"/>
                      <a:pt x="285" y="61"/>
                    </a:cubicBezTo>
                    <a:cubicBezTo>
                      <a:pt x="280" y="43"/>
                      <a:pt x="265" y="29"/>
                      <a:pt x="246" y="27"/>
                    </a:cubicBezTo>
                    <a:cubicBezTo>
                      <a:pt x="2" y="0"/>
                      <a:pt x="2" y="0"/>
                      <a:pt x="2" y="0"/>
                    </a:cubicBezTo>
                    <a:cubicBezTo>
                      <a:pt x="0" y="22"/>
                      <a:pt x="0" y="22"/>
                      <a:pt x="0" y="22"/>
                    </a:cubicBezTo>
                    <a:cubicBezTo>
                      <a:pt x="256" y="50"/>
                      <a:pt x="256" y="50"/>
                      <a:pt x="256" y="50"/>
                    </a:cubicBezTo>
                    <a:lnTo>
                      <a:pt x="334" y="315"/>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5" name="Freeform 1245">
                <a:extLst>
                  <a:ext uri="{FF2B5EF4-FFF2-40B4-BE49-F238E27FC236}">
                    <a16:creationId xmlns:a16="http://schemas.microsoft.com/office/drawing/2014/main" id="{95A89DCD-802B-4BCF-A86E-18F7764E09CA}"/>
                  </a:ext>
                </a:extLst>
              </p:cNvPr>
              <p:cNvSpPr>
                <a:spLocks/>
              </p:cNvSpPr>
              <p:nvPr/>
            </p:nvSpPr>
            <p:spPr bwMode="auto">
              <a:xfrm>
                <a:off x="771" y="1659"/>
                <a:ext cx="190" cy="288"/>
              </a:xfrm>
              <a:custGeom>
                <a:avLst/>
                <a:gdLst>
                  <a:gd name="T0" fmla="*/ 211 w 278"/>
                  <a:gd name="T1" fmla="*/ 99 h 426"/>
                  <a:gd name="T2" fmla="*/ 134 w 278"/>
                  <a:gd name="T3" fmla="*/ 1 h 426"/>
                  <a:gd name="T4" fmla="*/ 70 w 278"/>
                  <a:gd name="T5" fmla="*/ 0 h 426"/>
                  <a:gd name="T6" fmla="*/ 19 w 278"/>
                  <a:gd name="T7" fmla="*/ 34 h 426"/>
                  <a:gd name="T8" fmla="*/ 0 w 278"/>
                  <a:gd name="T9" fmla="*/ 321 h 426"/>
                  <a:gd name="T10" fmla="*/ 34 w 278"/>
                  <a:gd name="T11" fmla="*/ 420 h 426"/>
                  <a:gd name="T12" fmla="*/ 109 w 278"/>
                  <a:gd name="T13" fmla="*/ 420 h 426"/>
                  <a:gd name="T14" fmla="*/ 238 w 278"/>
                  <a:gd name="T15" fmla="*/ 380 h 426"/>
                  <a:gd name="T16" fmla="*/ 211 w 278"/>
                  <a:gd name="T17" fmla="*/ 9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426">
                    <a:moveTo>
                      <a:pt x="211" y="99"/>
                    </a:moveTo>
                    <a:cubicBezTo>
                      <a:pt x="200" y="51"/>
                      <a:pt x="171" y="1"/>
                      <a:pt x="134" y="1"/>
                    </a:cubicBezTo>
                    <a:cubicBezTo>
                      <a:pt x="124" y="1"/>
                      <a:pt x="80" y="0"/>
                      <a:pt x="70" y="0"/>
                    </a:cubicBezTo>
                    <a:cubicBezTo>
                      <a:pt x="29" y="0"/>
                      <a:pt x="23" y="24"/>
                      <a:pt x="19" y="34"/>
                    </a:cubicBezTo>
                    <a:cubicBezTo>
                      <a:pt x="6" y="68"/>
                      <a:pt x="0" y="261"/>
                      <a:pt x="0" y="321"/>
                    </a:cubicBezTo>
                    <a:cubicBezTo>
                      <a:pt x="0" y="382"/>
                      <a:pt x="0" y="420"/>
                      <a:pt x="34" y="420"/>
                    </a:cubicBezTo>
                    <a:cubicBezTo>
                      <a:pt x="109" y="420"/>
                      <a:pt x="109" y="420"/>
                      <a:pt x="109" y="420"/>
                    </a:cubicBezTo>
                    <a:cubicBezTo>
                      <a:pt x="143" y="420"/>
                      <a:pt x="278" y="426"/>
                      <a:pt x="238" y="380"/>
                    </a:cubicBezTo>
                    <a:cubicBezTo>
                      <a:pt x="180" y="315"/>
                      <a:pt x="224" y="156"/>
                      <a:pt x="211" y="99"/>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6" name="Freeform 1246">
                <a:extLst>
                  <a:ext uri="{FF2B5EF4-FFF2-40B4-BE49-F238E27FC236}">
                    <a16:creationId xmlns:a16="http://schemas.microsoft.com/office/drawing/2014/main" id="{A07C3BEA-5B97-43D4-BB22-7A7CA82A663A}"/>
                  </a:ext>
                </a:extLst>
              </p:cNvPr>
              <p:cNvSpPr>
                <a:spLocks/>
              </p:cNvSpPr>
              <p:nvPr/>
            </p:nvSpPr>
            <p:spPr bwMode="auto">
              <a:xfrm>
                <a:off x="845" y="1965"/>
                <a:ext cx="24" cy="183"/>
              </a:xfrm>
              <a:custGeom>
                <a:avLst/>
                <a:gdLst>
                  <a:gd name="T0" fmla="*/ 18 w 35"/>
                  <a:gd name="T1" fmla="*/ 270 h 270"/>
                  <a:gd name="T2" fmla="*/ 0 w 35"/>
                  <a:gd name="T3" fmla="*/ 252 h 270"/>
                  <a:gd name="T4" fmla="*/ 0 w 35"/>
                  <a:gd name="T5" fmla="*/ 18 h 270"/>
                  <a:gd name="T6" fmla="*/ 18 w 35"/>
                  <a:gd name="T7" fmla="*/ 0 h 270"/>
                  <a:gd name="T8" fmla="*/ 35 w 35"/>
                  <a:gd name="T9" fmla="*/ 18 h 270"/>
                  <a:gd name="T10" fmla="*/ 35 w 35"/>
                  <a:gd name="T11" fmla="*/ 252 h 270"/>
                  <a:gd name="T12" fmla="*/ 18 w 35"/>
                  <a:gd name="T13" fmla="*/ 270 h 270"/>
                </a:gdLst>
                <a:ahLst/>
                <a:cxnLst>
                  <a:cxn ang="0">
                    <a:pos x="T0" y="T1"/>
                  </a:cxn>
                  <a:cxn ang="0">
                    <a:pos x="T2" y="T3"/>
                  </a:cxn>
                  <a:cxn ang="0">
                    <a:pos x="T4" y="T5"/>
                  </a:cxn>
                  <a:cxn ang="0">
                    <a:pos x="T6" y="T7"/>
                  </a:cxn>
                  <a:cxn ang="0">
                    <a:pos x="T8" y="T9"/>
                  </a:cxn>
                  <a:cxn ang="0">
                    <a:pos x="T10" y="T11"/>
                  </a:cxn>
                  <a:cxn ang="0">
                    <a:pos x="T12" y="T13"/>
                  </a:cxn>
                </a:cxnLst>
                <a:rect l="0" t="0" r="r" b="b"/>
                <a:pathLst>
                  <a:path w="35" h="270">
                    <a:moveTo>
                      <a:pt x="18" y="270"/>
                    </a:moveTo>
                    <a:cubicBezTo>
                      <a:pt x="8" y="270"/>
                      <a:pt x="0" y="262"/>
                      <a:pt x="0" y="252"/>
                    </a:cubicBezTo>
                    <a:cubicBezTo>
                      <a:pt x="0" y="18"/>
                      <a:pt x="0" y="18"/>
                      <a:pt x="0" y="18"/>
                    </a:cubicBezTo>
                    <a:cubicBezTo>
                      <a:pt x="0" y="8"/>
                      <a:pt x="8" y="0"/>
                      <a:pt x="18" y="0"/>
                    </a:cubicBezTo>
                    <a:cubicBezTo>
                      <a:pt x="27" y="0"/>
                      <a:pt x="35" y="8"/>
                      <a:pt x="35" y="18"/>
                    </a:cubicBezTo>
                    <a:cubicBezTo>
                      <a:pt x="35" y="252"/>
                      <a:pt x="35" y="252"/>
                      <a:pt x="35" y="252"/>
                    </a:cubicBezTo>
                    <a:cubicBezTo>
                      <a:pt x="35" y="262"/>
                      <a:pt x="27" y="270"/>
                      <a:pt x="18" y="27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7" name="Freeform 1247">
                <a:extLst>
                  <a:ext uri="{FF2B5EF4-FFF2-40B4-BE49-F238E27FC236}">
                    <a16:creationId xmlns:a16="http://schemas.microsoft.com/office/drawing/2014/main" id="{2D9AE28C-1B70-4E29-BEA7-87189AE150A3}"/>
                  </a:ext>
                </a:extLst>
              </p:cNvPr>
              <p:cNvSpPr>
                <a:spLocks/>
              </p:cNvSpPr>
              <p:nvPr/>
            </p:nvSpPr>
            <p:spPr bwMode="auto">
              <a:xfrm>
                <a:off x="748" y="1943"/>
                <a:ext cx="218" cy="34"/>
              </a:xfrm>
              <a:custGeom>
                <a:avLst/>
                <a:gdLst>
                  <a:gd name="T0" fmla="*/ 271 w 321"/>
                  <a:gd name="T1" fmla="*/ 0 h 51"/>
                  <a:gd name="T2" fmla="*/ 173 w 321"/>
                  <a:gd name="T3" fmla="*/ 0 h 51"/>
                  <a:gd name="T4" fmla="*/ 51 w 321"/>
                  <a:gd name="T5" fmla="*/ 0 h 51"/>
                  <a:gd name="T6" fmla="*/ 0 w 321"/>
                  <a:gd name="T7" fmla="*/ 51 h 51"/>
                  <a:gd name="T8" fmla="*/ 321 w 321"/>
                  <a:gd name="T9" fmla="*/ 51 h 51"/>
                  <a:gd name="T10" fmla="*/ 271 w 321"/>
                  <a:gd name="T11" fmla="*/ 0 h 51"/>
                </a:gdLst>
                <a:ahLst/>
                <a:cxnLst>
                  <a:cxn ang="0">
                    <a:pos x="T0" y="T1"/>
                  </a:cxn>
                  <a:cxn ang="0">
                    <a:pos x="T2" y="T3"/>
                  </a:cxn>
                  <a:cxn ang="0">
                    <a:pos x="T4" y="T5"/>
                  </a:cxn>
                  <a:cxn ang="0">
                    <a:pos x="T6" y="T7"/>
                  </a:cxn>
                  <a:cxn ang="0">
                    <a:pos x="T8" y="T9"/>
                  </a:cxn>
                  <a:cxn ang="0">
                    <a:pos x="T10" y="T11"/>
                  </a:cxn>
                </a:cxnLst>
                <a:rect l="0" t="0" r="r" b="b"/>
                <a:pathLst>
                  <a:path w="321" h="51">
                    <a:moveTo>
                      <a:pt x="271" y="0"/>
                    </a:moveTo>
                    <a:cubicBezTo>
                      <a:pt x="173" y="0"/>
                      <a:pt x="173" y="0"/>
                      <a:pt x="173" y="0"/>
                    </a:cubicBezTo>
                    <a:cubicBezTo>
                      <a:pt x="51" y="0"/>
                      <a:pt x="51" y="0"/>
                      <a:pt x="51" y="0"/>
                    </a:cubicBezTo>
                    <a:cubicBezTo>
                      <a:pt x="23" y="0"/>
                      <a:pt x="0" y="23"/>
                      <a:pt x="0" y="51"/>
                    </a:cubicBezTo>
                    <a:cubicBezTo>
                      <a:pt x="321" y="51"/>
                      <a:pt x="321" y="51"/>
                      <a:pt x="321" y="51"/>
                    </a:cubicBezTo>
                    <a:cubicBezTo>
                      <a:pt x="321" y="23"/>
                      <a:pt x="298" y="0"/>
                      <a:pt x="27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8" name="Freeform 1248">
                <a:extLst>
                  <a:ext uri="{FF2B5EF4-FFF2-40B4-BE49-F238E27FC236}">
                    <a16:creationId xmlns:a16="http://schemas.microsoft.com/office/drawing/2014/main" id="{BA90BF41-A94F-4838-A010-220A7680EA4F}"/>
                  </a:ext>
                </a:extLst>
              </p:cNvPr>
              <p:cNvSpPr>
                <a:spLocks/>
              </p:cNvSpPr>
              <p:nvPr/>
            </p:nvSpPr>
            <p:spPr bwMode="auto">
              <a:xfrm>
                <a:off x="769" y="1943"/>
                <a:ext cx="197" cy="34"/>
              </a:xfrm>
              <a:custGeom>
                <a:avLst/>
                <a:gdLst>
                  <a:gd name="T0" fmla="*/ 108 w 289"/>
                  <a:gd name="T1" fmla="*/ 4 h 51"/>
                  <a:gd name="T2" fmla="*/ 206 w 289"/>
                  <a:gd name="T3" fmla="*/ 4 h 51"/>
                  <a:gd name="T4" fmla="*/ 256 w 289"/>
                  <a:gd name="T5" fmla="*/ 51 h 51"/>
                  <a:gd name="T6" fmla="*/ 289 w 289"/>
                  <a:gd name="T7" fmla="*/ 51 h 51"/>
                  <a:gd name="T8" fmla="*/ 239 w 289"/>
                  <a:gd name="T9" fmla="*/ 0 h 51"/>
                  <a:gd name="T10" fmla="*/ 178 w 289"/>
                  <a:gd name="T11" fmla="*/ 0 h 51"/>
                  <a:gd name="T12" fmla="*/ 19 w 289"/>
                  <a:gd name="T13" fmla="*/ 0 h 51"/>
                  <a:gd name="T14" fmla="*/ 0 w 289"/>
                  <a:gd name="T15" fmla="*/ 4 h 51"/>
                  <a:gd name="T16" fmla="*/ 108 w 289"/>
                  <a:gd name="T17"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51">
                    <a:moveTo>
                      <a:pt x="108" y="4"/>
                    </a:moveTo>
                    <a:cubicBezTo>
                      <a:pt x="206" y="4"/>
                      <a:pt x="206" y="4"/>
                      <a:pt x="206" y="4"/>
                    </a:cubicBezTo>
                    <a:cubicBezTo>
                      <a:pt x="232" y="4"/>
                      <a:pt x="254" y="25"/>
                      <a:pt x="256" y="51"/>
                    </a:cubicBezTo>
                    <a:cubicBezTo>
                      <a:pt x="289" y="51"/>
                      <a:pt x="289" y="51"/>
                      <a:pt x="289" y="51"/>
                    </a:cubicBezTo>
                    <a:cubicBezTo>
                      <a:pt x="289" y="23"/>
                      <a:pt x="266" y="0"/>
                      <a:pt x="239" y="0"/>
                    </a:cubicBezTo>
                    <a:cubicBezTo>
                      <a:pt x="178" y="0"/>
                      <a:pt x="178" y="0"/>
                      <a:pt x="178" y="0"/>
                    </a:cubicBezTo>
                    <a:cubicBezTo>
                      <a:pt x="19" y="0"/>
                      <a:pt x="19" y="0"/>
                      <a:pt x="19" y="0"/>
                    </a:cubicBezTo>
                    <a:cubicBezTo>
                      <a:pt x="12" y="0"/>
                      <a:pt x="6" y="2"/>
                      <a:pt x="0" y="4"/>
                    </a:cubicBezTo>
                    <a:lnTo>
                      <a:pt x="108" y="4"/>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9" name="Freeform 1249">
                <a:extLst>
                  <a:ext uri="{FF2B5EF4-FFF2-40B4-BE49-F238E27FC236}">
                    <a16:creationId xmlns:a16="http://schemas.microsoft.com/office/drawing/2014/main" id="{295BB3E0-7D69-40E4-81BC-7C7C282633AB}"/>
                  </a:ext>
                </a:extLst>
              </p:cNvPr>
              <p:cNvSpPr>
                <a:spLocks/>
              </p:cNvSpPr>
              <p:nvPr/>
            </p:nvSpPr>
            <p:spPr bwMode="auto">
              <a:xfrm>
                <a:off x="776" y="2111"/>
                <a:ext cx="162" cy="55"/>
              </a:xfrm>
              <a:custGeom>
                <a:avLst/>
                <a:gdLst>
                  <a:gd name="T0" fmla="*/ 218 w 237"/>
                  <a:gd name="T1" fmla="*/ 79 h 81"/>
                  <a:gd name="T2" fmla="*/ 205 w 237"/>
                  <a:gd name="T3" fmla="*/ 74 h 81"/>
                  <a:gd name="T4" fmla="*/ 119 w 237"/>
                  <a:gd name="T5" fmla="*/ 35 h 81"/>
                  <a:gd name="T6" fmla="*/ 33 w 237"/>
                  <a:gd name="T7" fmla="*/ 74 h 81"/>
                  <a:gd name="T8" fmla="*/ 8 w 237"/>
                  <a:gd name="T9" fmla="*/ 75 h 81"/>
                  <a:gd name="T10" fmla="*/ 6 w 237"/>
                  <a:gd name="T11" fmla="*/ 50 h 81"/>
                  <a:gd name="T12" fmla="*/ 119 w 237"/>
                  <a:gd name="T13" fmla="*/ 0 h 81"/>
                  <a:gd name="T14" fmla="*/ 231 w 237"/>
                  <a:gd name="T15" fmla="*/ 50 h 81"/>
                  <a:gd name="T16" fmla="*/ 230 w 237"/>
                  <a:gd name="T17" fmla="*/ 75 h 81"/>
                  <a:gd name="T18" fmla="*/ 218 w 237"/>
                  <a:gd name="T19" fmla="*/ 7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81">
                    <a:moveTo>
                      <a:pt x="218" y="79"/>
                    </a:moveTo>
                    <a:cubicBezTo>
                      <a:pt x="213" y="79"/>
                      <a:pt x="208" y="78"/>
                      <a:pt x="205" y="74"/>
                    </a:cubicBezTo>
                    <a:cubicBezTo>
                      <a:pt x="183" y="49"/>
                      <a:pt x="151" y="35"/>
                      <a:pt x="119" y="35"/>
                    </a:cubicBezTo>
                    <a:cubicBezTo>
                      <a:pt x="86" y="35"/>
                      <a:pt x="54" y="49"/>
                      <a:pt x="33" y="74"/>
                    </a:cubicBezTo>
                    <a:cubicBezTo>
                      <a:pt x="26" y="81"/>
                      <a:pt x="15" y="81"/>
                      <a:pt x="8" y="75"/>
                    </a:cubicBezTo>
                    <a:cubicBezTo>
                      <a:pt x="0" y="68"/>
                      <a:pt x="0" y="57"/>
                      <a:pt x="6" y="50"/>
                    </a:cubicBezTo>
                    <a:cubicBezTo>
                      <a:pt x="35" y="18"/>
                      <a:pt x="76" y="0"/>
                      <a:pt x="119" y="0"/>
                    </a:cubicBezTo>
                    <a:cubicBezTo>
                      <a:pt x="161" y="0"/>
                      <a:pt x="202" y="18"/>
                      <a:pt x="231" y="50"/>
                    </a:cubicBezTo>
                    <a:cubicBezTo>
                      <a:pt x="237" y="57"/>
                      <a:pt x="237" y="68"/>
                      <a:pt x="230" y="75"/>
                    </a:cubicBezTo>
                    <a:cubicBezTo>
                      <a:pt x="226" y="78"/>
                      <a:pt x="222" y="79"/>
                      <a:pt x="218" y="79"/>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0" name="Oval 1250">
                <a:extLst>
                  <a:ext uri="{FF2B5EF4-FFF2-40B4-BE49-F238E27FC236}">
                    <a16:creationId xmlns:a16="http://schemas.microsoft.com/office/drawing/2014/main" id="{10860076-AB07-4347-AE07-DD8DCFB3BAE8}"/>
                  </a:ext>
                </a:extLst>
              </p:cNvPr>
              <p:cNvSpPr>
                <a:spLocks noChangeArrowheads="1"/>
              </p:cNvSpPr>
              <p:nvPr/>
            </p:nvSpPr>
            <p:spPr bwMode="auto">
              <a:xfrm>
                <a:off x="776"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1" name="Oval 1251">
                <a:extLst>
                  <a:ext uri="{FF2B5EF4-FFF2-40B4-BE49-F238E27FC236}">
                    <a16:creationId xmlns:a16="http://schemas.microsoft.com/office/drawing/2014/main" id="{14290D87-6EF5-4D12-B14E-0E323168CBFA}"/>
                  </a:ext>
                </a:extLst>
              </p:cNvPr>
              <p:cNvSpPr>
                <a:spLocks noChangeArrowheads="1"/>
              </p:cNvSpPr>
              <p:nvPr/>
            </p:nvSpPr>
            <p:spPr bwMode="auto">
              <a:xfrm>
                <a:off x="911"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2" name="Freeform 1252">
                <a:extLst>
                  <a:ext uri="{FF2B5EF4-FFF2-40B4-BE49-F238E27FC236}">
                    <a16:creationId xmlns:a16="http://schemas.microsoft.com/office/drawing/2014/main" id="{1A83D341-01A8-417D-AA47-ECC44BF32C7C}"/>
                  </a:ext>
                </a:extLst>
              </p:cNvPr>
              <p:cNvSpPr>
                <a:spLocks/>
              </p:cNvSpPr>
              <p:nvPr/>
            </p:nvSpPr>
            <p:spPr bwMode="auto">
              <a:xfrm>
                <a:off x="817" y="1766"/>
                <a:ext cx="40" cy="122"/>
              </a:xfrm>
              <a:custGeom>
                <a:avLst/>
                <a:gdLst>
                  <a:gd name="T0" fmla="*/ 20 w 58"/>
                  <a:gd name="T1" fmla="*/ 0 h 181"/>
                  <a:gd name="T2" fmla="*/ 0 w 58"/>
                  <a:gd name="T3" fmla="*/ 0 h 181"/>
                  <a:gd name="T4" fmla="*/ 29 w 58"/>
                  <a:gd name="T5" fmla="*/ 42 h 181"/>
                  <a:gd name="T6" fmla="*/ 29 w 58"/>
                  <a:gd name="T7" fmla="*/ 139 h 181"/>
                  <a:gd name="T8" fmla="*/ 0 w 58"/>
                  <a:gd name="T9" fmla="*/ 181 h 181"/>
                  <a:gd name="T10" fmla="*/ 20 w 58"/>
                  <a:gd name="T11" fmla="*/ 181 h 181"/>
                  <a:gd name="T12" fmla="*/ 58 w 58"/>
                  <a:gd name="T13" fmla="*/ 139 h 181"/>
                  <a:gd name="T14" fmla="*/ 58 w 58"/>
                  <a:gd name="T15" fmla="*/ 42 h 181"/>
                  <a:gd name="T16" fmla="*/ 20 w 58"/>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81">
                    <a:moveTo>
                      <a:pt x="20" y="0"/>
                    </a:moveTo>
                    <a:cubicBezTo>
                      <a:pt x="20" y="0"/>
                      <a:pt x="10" y="0"/>
                      <a:pt x="0" y="0"/>
                    </a:cubicBezTo>
                    <a:cubicBezTo>
                      <a:pt x="16" y="5"/>
                      <a:pt x="29" y="23"/>
                      <a:pt x="29" y="42"/>
                    </a:cubicBezTo>
                    <a:cubicBezTo>
                      <a:pt x="29" y="139"/>
                      <a:pt x="29" y="139"/>
                      <a:pt x="29" y="139"/>
                    </a:cubicBezTo>
                    <a:cubicBezTo>
                      <a:pt x="29" y="159"/>
                      <a:pt x="17" y="177"/>
                      <a:pt x="0" y="181"/>
                    </a:cubicBezTo>
                    <a:cubicBezTo>
                      <a:pt x="10" y="181"/>
                      <a:pt x="20" y="181"/>
                      <a:pt x="20" y="181"/>
                    </a:cubicBezTo>
                    <a:cubicBezTo>
                      <a:pt x="41" y="181"/>
                      <a:pt x="58" y="162"/>
                      <a:pt x="58" y="139"/>
                    </a:cubicBezTo>
                    <a:cubicBezTo>
                      <a:pt x="58" y="42"/>
                      <a:pt x="58" y="42"/>
                      <a:pt x="58" y="42"/>
                    </a:cubicBezTo>
                    <a:cubicBezTo>
                      <a:pt x="58" y="19"/>
                      <a:pt x="41" y="0"/>
                      <a:pt x="20" y="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3" name="Freeform 1253">
                <a:extLst>
                  <a:ext uri="{FF2B5EF4-FFF2-40B4-BE49-F238E27FC236}">
                    <a16:creationId xmlns:a16="http://schemas.microsoft.com/office/drawing/2014/main" id="{EACCF10C-A831-49CF-9069-D0E94CB66416}"/>
                  </a:ext>
                </a:extLst>
              </p:cNvPr>
              <p:cNvSpPr>
                <a:spLocks/>
              </p:cNvSpPr>
              <p:nvPr/>
            </p:nvSpPr>
            <p:spPr bwMode="auto">
              <a:xfrm>
                <a:off x="747" y="1766"/>
                <a:ext cx="95" cy="122"/>
              </a:xfrm>
              <a:custGeom>
                <a:avLst/>
                <a:gdLst>
                  <a:gd name="T0" fmla="*/ 140 w 140"/>
                  <a:gd name="T1" fmla="*/ 139 h 181"/>
                  <a:gd name="T2" fmla="*/ 102 w 140"/>
                  <a:gd name="T3" fmla="*/ 181 h 181"/>
                  <a:gd name="T4" fmla="*/ 70 w 140"/>
                  <a:gd name="T5" fmla="*/ 180 h 181"/>
                  <a:gd name="T6" fmla="*/ 38 w 140"/>
                  <a:gd name="T7" fmla="*/ 181 h 181"/>
                  <a:gd name="T8" fmla="*/ 0 w 140"/>
                  <a:gd name="T9" fmla="*/ 139 h 181"/>
                  <a:gd name="T10" fmla="*/ 0 w 140"/>
                  <a:gd name="T11" fmla="*/ 42 h 181"/>
                  <a:gd name="T12" fmla="*/ 38 w 140"/>
                  <a:gd name="T13" fmla="*/ 0 h 181"/>
                  <a:gd name="T14" fmla="*/ 70 w 140"/>
                  <a:gd name="T15" fmla="*/ 2 h 181"/>
                  <a:gd name="T16" fmla="*/ 102 w 140"/>
                  <a:gd name="T17" fmla="*/ 0 h 181"/>
                  <a:gd name="T18" fmla="*/ 140 w 140"/>
                  <a:gd name="T19" fmla="*/ 42 h 181"/>
                  <a:gd name="T20" fmla="*/ 140 w 140"/>
                  <a:gd name="T21" fmla="*/ 13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181">
                    <a:moveTo>
                      <a:pt x="140" y="139"/>
                    </a:moveTo>
                    <a:cubicBezTo>
                      <a:pt x="140" y="162"/>
                      <a:pt x="123" y="181"/>
                      <a:pt x="102" y="181"/>
                    </a:cubicBezTo>
                    <a:cubicBezTo>
                      <a:pt x="102" y="181"/>
                      <a:pt x="81" y="180"/>
                      <a:pt x="70" y="180"/>
                    </a:cubicBezTo>
                    <a:cubicBezTo>
                      <a:pt x="58" y="180"/>
                      <a:pt x="38" y="181"/>
                      <a:pt x="38" y="181"/>
                    </a:cubicBezTo>
                    <a:cubicBezTo>
                      <a:pt x="17" y="181"/>
                      <a:pt x="0" y="162"/>
                      <a:pt x="0" y="139"/>
                    </a:cubicBezTo>
                    <a:cubicBezTo>
                      <a:pt x="0" y="42"/>
                      <a:pt x="0" y="42"/>
                      <a:pt x="0" y="42"/>
                    </a:cubicBezTo>
                    <a:cubicBezTo>
                      <a:pt x="0" y="19"/>
                      <a:pt x="17" y="0"/>
                      <a:pt x="38" y="0"/>
                    </a:cubicBezTo>
                    <a:cubicBezTo>
                      <a:pt x="38" y="0"/>
                      <a:pt x="55" y="2"/>
                      <a:pt x="70" y="2"/>
                    </a:cubicBezTo>
                    <a:cubicBezTo>
                      <a:pt x="85" y="2"/>
                      <a:pt x="102" y="0"/>
                      <a:pt x="102" y="0"/>
                    </a:cubicBezTo>
                    <a:cubicBezTo>
                      <a:pt x="123" y="0"/>
                      <a:pt x="140" y="19"/>
                      <a:pt x="140" y="42"/>
                    </a:cubicBezTo>
                    <a:lnTo>
                      <a:pt x="140" y="139"/>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4" name="Freeform 1254">
                <a:extLst>
                  <a:ext uri="{FF2B5EF4-FFF2-40B4-BE49-F238E27FC236}">
                    <a16:creationId xmlns:a16="http://schemas.microsoft.com/office/drawing/2014/main" id="{8D90DE46-C0A5-480C-B75D-6BFAA46E11FC}"/>
                  </a:ext>
                </a:extLst>
              </p:cNvPr>
              <p:cNvSpPr>
                <a:spLocks/>
              </p:cNvSpPr>
              <p:nvPr/>
            </p:nvSpPr>
            <p:spPr bwMode="auto">
              <a:xfrm>
                <a:off x="809" y="1766"/>
                <a:ext cx="33" cy="122"/>
              </a:xfrm>
              <a:custGeom>
                <a:avLst/>
                <a:gdLst>
                  <a:gd name="T0" fmla="*/ 11 w 49"/>
                  <a:gd name="T1" fmla="*/ 0 h 181"/>
                  <a:gd name="T2" fmla="*/ 2 w 49"/>
                  <a:gd name="T3" fmla="*/ 1 h 181"/>
                  <a:gd name="T4" fmla="*/ 32 w 49"/>
                  <a:gd name="T5" fmla="*/ 42 h 181"/>
                  <a:gd name="T6" fmla="*/ 32 w 49"/>
                  <a:gd name="T7" fmla="*/ 139 h 181"/>
                  <a:gd name="T8" fmla="*/ 0 w 49"/>
                  <a:gd name="T9" fmla="*/ 180 h 181"/>
                  <a:gd name="T10" fmla="*/ 11 w 49"/>
                  <a:gd name="T11" fmla="*/ 181 h 181"/>
                  <a:gd name="T12" fmla="*/ 49 w 49"/>
                  <a:gd name="T13" fmla="*/ 139 h 181"/>
                  <a:gd name="T14" fmla="*/ 49 w 49"/>
                  <a:gd name="T15" fmla="*/ 42 h 181"/>
                  <a:gd name="T16" fmla="*/ 11 w 49"/>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81">
                    <a:moveTo>
                      <a:pt x="11" y="0"/>
                    </a:moveTo>
                    <a:cubicBezTo>
                      <a:pt x="11" y="0"/>
                      <a:pt x="7" y="1"/>
                      <a:pt x="2" y="1"/>
                    </a:cubicBezTo>
                    <a:cubicBezTo>
                      <a:pt x="19" y="5"/>
                      <a:pt x="32" y="22"/>
                      <a:pt x="32" y="42"/>
                    </a:cubicBezTo>
                    <a:cubicBezTo>
                      <a:pt x="32" y="139"/>
                      <a:pt x="32" y="139"/>
                      <a:pt x="32" y="139"/>
                    </a:cubicBezTo>
                    <a:cubicBezTo>
                      <a:pt x="32" y="160"/>
                      <a:pt x="18" y="177"/>
                      <a:pt x="0" y="180"/>
                    </a:cubicBezTo>
                    <a:cubicBezTo>
                      <a:pt x="6" y="181"/>
                      <a:pt x="11" y="181"/>
                      <a:pt x="11" y="181"/>
                    </a:cubicBezTo>
                    <a:cubicBezTo>
                      <a:pt x="32" y="181"/>
                      <a:pt x="49" y="162"/>
                      <a:pt x="49" y="139"/>
                    </a:cubicBezTo>
                    <a:cubicBezTo>
                      <a:pt x="49" y="42"/>
                      <a:pt x="49" y="42"/>
                      <a:pt x="49" y="42"/>
                    </a:cubicBezTo>
                    <a:cubicBezTo>
                      <a:pt x="49" y="19"/>
                      <a:pt x="32" y="0"/>
                      <a:pt x="1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5" name="Freeform 1255">
                <a:extLst>
                  <a:ext uri="{FF2B5EF4-FFF2-40B4-BE49-F238E27FC236}">
                    <a16:creationId xmlns:a16="http://schemas.microsoft.com/office/drawing/2014/main" id="{8DA2DFB3-48C7-47F5-9533-8BDA4112415F}"/>
                  </a:ext>
                </a:extLst>
              </p:cNvPr>
              <p:cNvSpPr>
                <a:spLocks/>
              </p:cNvSpPr>
              <p:nvPr/>
            </p:nvSpPr>
            <p:spPr bwMode="auto">
              <a:xfrm>
                <a:off x="774" y="1819"/>
                <a:ext cx="18" cy="146"/>
              </a:xfrm>
              <a:custGeom>
                <a:avLst/>
                <a:gdLst>
                  <a:gd name="T0" fmla="*/ 14 w 27"/>
                  <a:gd name="T1" fmla="*/ 215 h 215"/>
                  <a:gd name="T2" fmla="*/ 0 w 27"/>
                  <a:gd name="T3" fmla="*/ 202 h 215"/>
                  <a:gd name="T4" fmla="*/ 0 w 27"/>
                  <a:gd name="T5" fmla="*/ 13 h 215"/>
                  <a:gd name="T6" fmla="*/ 14 w 27"/>
                  <a:gd name="T7" fmla="*/ 0 h 215"/>
                  <a:gd name="T8" fmla="*/ 27 w 27"/>
                  <a:gd name="T9" fmla="*/ 13 h 215"/>
                  <a:gd name="T10" fmla="*/ 27 w 27"/>
                  <a:gd name="T11" fmla="*/ 202 h 215"/>
                  <a:gd name="T12" fmla="*/ 14 w 2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27" h="215">
                    <a:moveTo>
                      <a:pt x="14" y="215"/>
                    </a:moveTo>
                    <a:cubicBezTo>
                      <a:pt x="6" y="215"/>
                      <a:pt x="0" y="209"/>
                      <a:pt x="0" y="202"/>
                    </a:cubicBezTo>
                    <a:cubicBezTo>
                      <a:pt x="0" y="13"/>
                      <a:pt x="0" y="13"/>
                      <a:pt x="0" y="13"/>
                    </a:cubicBezTo>
                    <a:cubicBezTo>
                      <a:pt x="0" y="6"/>
                      <a:pt x="6" y="0"/>
                      <a:pt x="14" y="0"/>
                    </a:cubicBezTo>
                    <a:cubicBezTo>
                      <a:pt x="21" y="0"/>
                      <a:pt x="27" y="6"/>
                      <a:pt x="27" y="13"/>
                    </a:cubicBezTo>
                    <a:cubicBezTo>
                      <a:pt x="27" y="202"/>
                      <a:pt x="27" y="202"/>
                      <a:pt x="27" y="202"/>
                    </a:cubicBezTo>
                    <a:cubicBezTo>
                      <a:pt x="27" y="209"/>
                      <a:pt x="21" y="215"/>
                      <a:pt x="14" y="215"/>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6" name="Freeform 1256">
                <a:extLst>
                  <a:ext uri="{FF2B5EF4-FFF2-40B4-BE49-F238E27FC236}">
                    <a16:creationId xmlns:a16="http://schemas.microsoft.com/office/drawing/2014/main" id="{9DF75867-26E2-4BBD-9FDE-FC5AD08EEFEB}"/>
                  </a:ext>
                </a:extLst>
              </p:cNvPr>
              <p:cNvSpPr>
                <a:spLocks/>
              </p:cNvSpPr>
              <p:nvPr/>
            </p:nvSpPr>
            <p:spPr bwMode="auto">
              <a:xfrm>
                <a:off x="1060" y="2149"/>
                <a:ext cx="161" cy="42"/>
              </a:xfrm>
              <a:custGeom>
                <a:avLst/>
                <a:gdLst>
                  <a:gd name="T0" fmla="*/ 0 w 236"/>
                  <a:gd name="T1" fmla="*/ 17 h 63"/>
                  <a:gd name="T2" fmla="*/ 5 w 236"/>
                  <a:gd name="T3" fmla="*/ 53 h 63"/>
                  <a:gd name="T4" fmla="*/ 28 w 236"/>
                  <a:gd name="T5" fmla="*/ 62 h 63"/>
                  <a:gd name="T6" fmla="*/ 139 w 236"/>
                  <a:gd name="T7" fmla="*/ 51 h 63"/>
                  <a:gd name="T8" fmla="*/ 213 w 236"/>
                  <a:gd name="T9" fmla="*/ 35 h 63"/>
                  <a:gd name="T10" fmla="*/ 218 w 236"/>
                  <a:gd name="T11" fmla="*/ 18 h 63"/>
                  <a:gd name="T12" fmla="*/ 112 w 236"/>
                  <a:gd name="T13" fmla="*/ 5 h 63"/>
                  <a:gd name="T14" fmla="*/ 0 w 236"/>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63">
                    <a:moveTo>
                      <a:pt x="0" y="17"/>
                    </a:moveTo>
                    <a:cubicBezTo>
                      <a:pt x="5" y="53"/>
                      <a:pt x="5" y="53"/>
                      <a:pt x="5" y="53"/>
                    </a:cubicBezTo>
                    <a:cubicBezTo>
                      <a:pt x="9" y="61"/>
                      <a:pt x="16" y="63"/>
                      <a:pt x="28" y="62"/>
                    </a:cubicBezTo>
                    <a:cubicBezTo>
                      <a:pt x="139" y="51"/>
                      <a:pt x="139" y="51"/>
                      <a:pt x="139" y="51"/>
                    </a:cubicBezTo>
                    <a:cubicBezTo>
                      <a:pt x="158" y="49"/>
                      <a:pt x="213" y="35"/>
                      <a:pt x="213" y="35"/>
                    </a:cubicBezTo>
                    <a:cubicBezTo>
                      <a:pt x="236" y="27"/>
                      <a:pt x="223" y="17"/>
                      <a:pt x="218" y="18"/>
                    </a:cubicBezTo>
                    <a:cubicBezTo>
                      <a:pt x="198" y="19"/>
                      <a:pt x="150" y="10"/>
                      <a:pt x="112" y="5"/>
                    </a:cubicBezTo>
                    <a:cubicBezTo>
                      <a:pt x="79"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7" name="Freeform 1257">
                <a:extLst>
                  <a:ext uri="{FF2B5EF4-FFF2-40B4-BE49-F238E27FC236}">
                    <a16:creationId xmlns:a16="http://schemas.microsoft.com/office/drawing/2014/main" id="{282D6F08-626F-4D80-AE46-6667E7A08238}"/>
                  </a:ext>
                </a:extLst>
              </p:cNvPr>
              <p:cNvSpPr>
                <a:spLocks/>
              </p:cNvSpPr>
              <p:nvPr/>
            </p:nvSpPr>
            <p:spPr bwMode="auto">
              <a:xfrm>
                <a:off x="1058" y="2133"/>
                <a:ext cx="107" cy="33"/>
              </a:xfrm>
              <a:custGeom>
                <a:avLst/>
                <a:gdLst>
                  <a:gd name="T0" fmla="*/ 1 w 157"/>
                  <a:gd name="T1" fmla="*/ 10 h 49"/>
                  <a:gd name="T2" fmla="*/ 2 w 157"/>
                  <a:gd name="T3" fmla="*/ 40 h 49"/>
                  <a:gd name="T4" fmla="*/ 136 w 157"/>
                  <a:gd name="T5" fmla="*/ 40 h 49"/>
                  <a:gd name="T6" fmla="*/ 150 w 157"/>
                  <a:gd name="T7" fmla="*/ 33 h 49"/>
                  <a:gd name="T8" fmla="*/ 50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2" y="21"/>
                      <a:pt x="0" y="33"/>
                      <a:pt x="2" y="40"/>
                    </a:cubicBezTo>
                    <a:cubicBezTo>
                      <a:pt x="4" y="49"/>
                      <a:pt x="136" y="40"/>
                      <a:pt x="136" y="40"/>
                    </a:cubicBezTo>
                    <a:cubicBezTo>
                      <a:pt x="139" y="40"/>
                      <a:pt x="157" y="34"/>
                      <a:pt x="150" y="33"/>
                    </a:cubicBezTo>
                    <a:cubicBezTo>
                      <a:pt x="117" y="29"/>
                      <a:pt x="50" y="13"/>
                      <a:pt x="50"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8" name="Freeform 1258">
                <a:extLst>
                  <a:ext uri="{FF2B5EF4-FFF2-40B4-BE49-F238E27FC236}">
                    <a16:creationId xmlns:a16="http://schemas.microsoft.com/office/drawing/2014/main" id="{22F2DD0B-11E2-44CA-B778-AC5766495143}"/>
                  </a:ext>
                </a:extLst>
              </p:cNvPr>
              <p:cNvSpPr>
                <a:spLocks/>
              </p:cNvSpPr>
              <p:nvPr/>
            </p:nvSpPr>
            <p:spPr bwMode="auto">
              <a:xfrm>
                <a:off x="825" y="1655"/>
                <a:ext cx="156" cy="194"/>
              </a:xfrm>
              <a:custGeom>
                <a:avLst/>
                <a:gdLst>
                  <a:gd name="T0" fmla="*/ 211 w 229"/>
                  <a:gd name="T1" fmla="*/ 275 h 287"/>
                  <a:gd name="T2" fmla="*/ 159 w 229"/>
                  <a:gd name="T3" fmla="*/ 269 h 287"/>
                  <a:gd name="T4" fmla="*/ 23 w 229"/>
                  <a:gd name="T5" fmla="*/ 94 h 287"/>
                  <a:gd name="T6" fmla="*/ 23 w 229"/>
                  <a:gd name="T7" fmla="*/ 94 h 287"/>
                  <a:gd name="T8" fmla="*/ 17 w 229"/>
                  <a:gd name="T9" fmla="*/ 88 h 287"/>
                  <a:gd name="T10" fmla="*/ 25 w 229"/>
                  <a:gd name="T11" fmla="*/ 18 h 287"/>
                  <a:gd name="T12" fmla="*/ 95 w 229"/>
                  <a:gd name="T13" fmla="*/ 26 h 287"/>
                  <a:gd name="T14" fmla="*/ 216 w 229"/>
                  <a:gd name="T15" fmla="*/ 223 h 287"/>
                  <a:gd name="T16" fmla="*/ 211 w 229"/>
                  <a:gd name="T17" fmla="*/ 27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87">
                    <a:moveTo>
                      <a:pt x="211" y="275"/>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5"/>
                      <a:pt x="25" y="18"/>
                    </a:cubicBezTo>
                    <a:cubicBezTo>
                      <a:pt x="47" y="0"/>
                      <a:pt x="78" y="4"/>
                      <a:pt x="95" y="26"/>
                    </a:cubicBezTo>
                    <a:cubicBezTo>
                      <a:pt x="216" y="223"/>
                      <a:pt x="216" y="223"/>
                      <a:pt x="216" y="223"/>
                    </a:cubicBezTo>
                    <a:cubicBezTo>
                      <a:pt x="229" y="239"/>
                      <a:pt x="227" y="262"/>
                      <a:pt x="211" y="275"/>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9" name="Freeform 1259">
                <a:extLst>
                  <a:ext uri="{FF2B5EF4-FFF2-40B4-BE49-F238E27FC236}">
                    <a16:creationId xmlns:a16="http://schemas.microsoft.com/office/drawing/2014/main" id="{EAC9E99A-53FD-468A-8524-909F35429D26}"/>
                  </a:ext>
                </a:extLst>
              </p:cNvPr>
              <p:cNvSpPr>
                <a:spLocks/>
              </p:cNvSpPr>
              <p:nvPr/>
            </p:nvSpPr>
            <p:spPr bwMode="auto">
              <a:xfrm>
                <a:off x="1036" y="1696"/>
                <a:ext cx="80" cy="106"/>
              </a:xfrm>
              <a:custGeom>
                <a:avLst/>
                <a:gdLst>
                  <a:gd name="T0" fmla="*/ 80 w 80"/>
                  <a:gd name="T1" fmla="*/ 7 h 106"/>
                  <a:gd name="T2" fmla="*/ 7 w 80"/>
                  <a:gd name="T3" fmla="*/ 106 h 106"/>
                  <a:gd name="T4" fmla="*/ 0 w 80"/>
                  <a:gd name="T5" fmla="*/ 104 h 106"/>
                  <a:gd name="T6" fmla="*/ 77 w 80"/>
                  <a:gd name="T7" fmla="*/ 0 h 106"/>
                  <a:gd name="T8" fmla="*/ 80 w 80"/>
                  <a:gd name="T9" fmla="*/ 7 h 106"/>
                </a:gdLst>
                <a:ahLst/>
                <a:cxnLst>
                  <a:cxn ang="0">
                    <a:pos x="T0" y="T1"/>
                  </a:cxn>
                  <a:cxn ang="0">
                    <a:pos x="T2" y="T3"/>
                  </a:cxn>
                  <a:cxn ang="0">
                    <a:pos x="T4" y="T5"/>
                  </a:cxn>
                  <a:cxn ang="0">
                    <a:pos x="T6" y="T7"/>
                  </a:cxn>
                  <a:cxn ang="0">
                    <a:pos x="T8" y="T9"/>
                  </a:cxn>
                </a:cxnLst>
                <a:rect l="0" t="0" r="r" b="b"/>
                <a:pathLst>
                  <a:path w="80" h="106">
                    <a:moveTo>
                      <a:pt x="80" y="7"/>
                    </a:moveTo>
                    <a:lnTo>
                      <a:pt x="7" y="106"/>
                    </a:lnTo>
                    <a:lnTo>
                      <a:pt x="0" y="104"/>
                    </a:lnTo>
                    <a:lnTo>
                      <a:pt x="77" y="0"/>
                    </a:lnTo>
                    <a:lnTo>
                      <a:pt x="80" y="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0" name="Freeform 1260">
                <a:extLst>
                  <a:ext uri="{FF2B5EF4-FFF2-40B4-BE49-F238E27FC236}">
                    <a16:creationId xmlns:a16="http://schemas.microsoft.com/office/drawing/2014/main" id="{A0FF1C07-3539-41F8-B36C-7D60661ADD96}"/>
                  </a:ext>
                </a:extLst>
              </p:cNvPr>
              <p:cNvSpPr>
                <a:spLocks/>
              </p:cNvSpPr>
              <p:nvPr/>
            </p:nvSpPr>
            <p:spPr bwMode="auto">
              <a:xfrm>
                <a:off x="866" y="1659"/>
                <a:ext cx="101" cy="139"/>
              </a:xfrm>
              <a:custGeom>
                <a:avLst/>
                <a:gdLst>
                  <a:gd name="T0" fmla="*/ 148 w 148"/>
                  <a:gd name="T1" fmla="*/ 204 h 205"/>
                  <a:gd name="T2" fmla="*/ 143 w 148"/>
                  <a:gd name="T3" fmla="*/ 205 h 205"/>
                  <a:gd name="T4" fmla="*/ 142 w 148"/>
                  <a:gd name="T5" fmla="*/ 202 h 205"/>
                  <a:gd name="T6" fmla="*/ 36 w 148"/>
                  <a:gd name="T7" fmla="*/ 25 h 205"/>
                  <a:gd name="T8" fmla="*/ 0 w 148"/>
                  <a:gd name="T9" fmla="*/ 0 h 205"/>
                  <a:gd name="T10" fmla="*/ 36 w 148"/>
                  <a:gd name="T11" fmla="*/ 19 h 205"/>
                  <a:gd name="T12" fmla="*/ 146 w 148"/>
                  <a:gd name="T13" fmla="*/ 202 h 205"/>
                  <a:gd name="T14" fmla="*/ 148 w 148"/>
                  <a:gd name="T15" fmla="*/ 204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05">
                    <a:moveTo>
                      <a:pt x="148" y="204"/>
                    </a:moveTo>
                    <a:cubicBezTo>
                      <a:pt x="143" y="205"/>
                      <a:pt x="143" y="205"/>
                      <a:pt x="143" y="205"/>
                    </a:cubicBezTo>
                    <a:cubicBezTo>
                      <a:pt x="142" y="202"/>
                      <a:pt x="142" y="202"/>
                      <a:pt x="142" y="202"/>
                    </a:cubicBezTo>
                    <a:cubicBezTo>
                      <a:pt x="142" y="202"/>
                      <a:pt x="66" y="66"/>
                      <a:pt x="36" y="25"/>
                    </a:cubicBezTo>
                    <a:cubicBezTo>
                      <a:pt x="23" y="8"/>
                      <a:pt x="15" y="2"/>
                      <a:pt x="0" y="0"/>
                    </a:cubicBezTo>
                    <a:cubicBezTo>
                      <a:pt x="14" y="0"/>
                      <a:pt x="27" y="7"/>
                      <a:pt x="36" y="19"/>
                    </a:cubicBezTo>
                    <a:cubicBezTo>
                      <a:pt x="65" y="57"/>
                      <a:pt x="146" y="202"/>
                      <a:pt x="146" y="202"/>
                    </a:cubicBezTo>
                    <a:lnTo>
                      <a:pt x="148" y="204"/>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1" name="Freeform 1261">
                <a:extLst>
                  <a:ext uri="{FF2B5EF4-FFF2-40B4-BE49-F238E27FC236}">
                    <a16:creationId xmlns:a16="http://schemas.microsoft.com/office/drawing/2014/main" id="{A624B14C-B31C-4AF5-BDB6-353E2E2C9A31}"/>
                  </a:ext>
                </a:extLst>
              </p:cNvPr>
              <p:cNvSpPr>
                <a:spLocks/>
              </p:cNvSpPr>
              <p:nvPr/>
            </p:nvSpPr>
            <p:spPr bwMode="auto">
              <a:xfrm>
                <a:off x="1087" y="1781"/>
                <a:ext cx="61" cy="47"/>
              </a:xfrm>
              <a:custGeom>
                <a:avLst/>
                <a:gdLst>
                  <a:gd name="T0" fmla="*/ 76 w 89"/>
                  <a:gd name="T1" fmla="*/ 68 h 69"/>
                  <a:gd name="T2" fmla="*/ 76 w 89"/>
                  <a:gd name="T3" fmla="*/ 68 h 69"/>
                  <a:gd name="T4" fmla="*/ 76 w 89"/>
                  <a:gd name="T5" fmla="*/ 68 h 69"/>
                  <a:gd name="T6" fmla="*/ 12 w 89"/>
                  <a:gd name="T7" fmla="*/ 69 h 69"/>
                  <a:gd name="T8" fmla="*/ 1 w 89"/>
                  <a:gd name="T9" fmla="*/ 29 h 69"/>
                  <a:gd name="T10" fmla="*/ 3 w 89"/>
                  <a:gd name="T11" fmla="*/ 23 h 69"/>
                  <a:gd name="T12" fmla="*/ 12 w 89"/>
                  <a:gd name="T13" fmla="*/ 11 h 69"/>
                  <a:gd name="T14" fmla="*/ 17 w 89"/>
                  <a:gd name="T15" fmla="*/ 7 h 69"/>
                  <a:gd name="T16" fmla="*/ 57 w 89"/>
                  <a:gd name="T17" fmla="*/ 0 h 69"/>
                  <a:gd name="T18" fmla="*/ 56 w 89"/>
                  <a:gd name="T19" fmla="*/ 11 h 69"/>
                  <a:gd name="T20" fmla="*/ 35 w 89"/>
                  <a:gd name="T21" fmla="*/ 13 h 69"/>
                  <a:gd name="T22" fmla="*/ 39 w 89"/>
                  <a:gd name="T23" fmla="*/ 13 h 69"/>
                  <a:gd name="T24" fmla="*/ 74 w 89"/>
                  <a:gd name="T25" fmla="*/ 9 h 69"/>
                  <a:gd name="T26" fmla="*/ 75 w 89"/>
                  <a:gd name="T27" fmla="*/ 10 h 69"/>
                  <a:gd name="T28" fmla="*/ 83 w 89"/>
                  <a:gd name="T29" fmla="*/ 18 h 69"/>
                  <a:gd name="T30" fmla="*/ 82 w 89"/>
                  <a:gd name="T31" fmla="*/ 23 h 69"/>
                  <a:gd name="T32" fmla="*/ 89 w 89"/>
                  <a:gd name="T33" fmla="*/ 31 h 69"/>
                  <a:gd name="T34" fmla="*/ 84 w 89"/>
                  <a:gd name="T35" fmla="*/ 39 h 69"/>
                  <a:gd name="T36" fmla="*/ 88 w 89"/>
                  <a:gd name="T37" fmla="*/ 46 h 69"/>
                  <a:gd name="T38" fmla="*/ 82 w 89"/>
                  <a:gd name="T39" fmla="*/ 54 h 69"/>
                  <a:gd name="T40" fmla="*/ 84 w 89"/>
                  <a:gd name="T41" fmla="*/ 59 h 69"/>
                  <a:gd name="T42" fmla="*/ 76 w 89"/>
                  <a:gd name="T43"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69">
                    <a:moveTo>
                      <a:pt x="76" y="68"/>
                    </a:moveTo>
                    <a:cubicBezTo>
                      <a:pt x="76" y="68"/>
                      <a:pt x="76" y="68"/>
                      <a:pt x="76" y="68"/>
                    </a:cubicBezTo>
                    <a:cubicBezTo>
                      <a:pt x="76" y="68"/>
                      <a:pt x="76" y="68"/>
                      <a:pt x="76" y="68"/>
                    </a:cubicBezTo>
                    <a:cubicBezTo>
                      <a:pt x="12" y="69"/>
                      <a:pt x="12" y="69"/>
                      <a:pt x="12" y="69"/>
                    </a:cubicBezTo>
                    <a:cubicBezTo>
                      <a:pt x="12" y="69"/>
                      <a:pt x="0" y="35"/>
                      <a:pt x="1" y="29"/>
                    </a:cubicBezTo>
                    <a:cubicBezTo>
                      <a:pt x="1" y="27"/>
                      <a:pt x="2" y="25"/>
                      <a:pt x="3" y="23"/>
                    </a:cubicBezTo>
                    <a:cubicBezTo>
                      <a:pt x="6" y="19"/>
                      <a:pt x="10" y="14"/>
                      <a:pt x="12" y="11"/>
                    </a:cubicBezTo>
                    <a:cubicBezTo>
                      <a:pt x="14" y="9"/>
                      <a:pt x="15" y="8"/>
                      <a:pt x="17" y="7"/>
                    </a:cubicBezTo>
                    <a:cubicBezTo>
                      <a:pt x="23" y="5"/>
                      <a:pt x="36" y="2"/>
                      <a:pt x="57" y="0"/>
                    </a:cubicBezTo>
                    <a:cubicBezTo>
                      <a:pt x="61" y="3"/>
                      <a:pt x="59" y="9"/>
                      <a:pt x="56" y="11"/>
                    </a:cubicBezTo>
                    <a:cubicBezTo>
                      <a:pt x="53" y="14"/>
                      <a:pt x="35" y="13"/>
                      <a:pt x="35" y="13"/>
                    </a:cubicBezTo>
                    <a:cubicBezTo>
                      <a:pt x="39" y="13"/>
                      <a:pt x="39" y="13"/>
                      <a:pt x="39" y="13"/>
                    </a:cubicBezTo>
                    <a:cubicBezTo>
                      <a:pt x="74" y="9"/>
                      <a:pt x="74" y="9"/>
                      <a:pt x="74" y="9"/>
                    </a:cubicBezTo>
                    <a:cubicBezTo>
                      <a:pt x="75" y="10"/>
                      <a:pt x="75" y="10"/>
                      <a:pt x="75" y="10"/>
                    </a:cubicBezTo>
                    <a:cubicBezTo>
                      <a:pt x="79" y="9"/>
                      <a:pt x="83" y="13"/>
                      <a:pt x="83" y="18"/>
                    </a:cubicBezTo>
                    <a:cubicBezTo>
                      <a:pt x="83" y="20"/>
                      <a:pt x="83" y="21"/>
                      <a:pt x="82" y="23"/>
                    </a:cubicBezTo>
                    <a:cubicBezTo>
                      <a:pt x="86" y="23"/>
                      <a:pt x="89" y="27"/>
                      <a:pt x="89" y="31"/>
                    </a:cubicBezTo>
                    <a:cubicBezTo>
                      <a:pt x="89" y="35"/>
                      <a:pt x="87" y="38"/>
                      <a:pt x="84" y="39"/>
                    </a:cubicBezTo>
                    <a:cubicBezTo>
                      <a:pt x="86" y="41"/>
                      <a:pt x="88" y="43"/>
                      <a:pt x="88" y="46"/>
                    </a:cubicBezTo>
                    <a:cubicBezTo>
                      <a:pt x="88" y="50"/>
                      <a:pt x="86" y="53"/>
                      <a:pt x="82" y="54"/>
                    </a:cubicBezTo>
                    <a:cubicBezTo>
                      <a:pt x="83" y="56"/>
                      <a:pt x="84" y="57"/>
                      <a:pt x="84" y="59"/>
                    </a:cubicBezTo>
                    <a:cubicBezTo>
                      <a:pt x="85" y="64"/>
                      <a:pt x="81" y="68"/>
                      <a:pt x="76" y="68"/>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2" name="Freeform 1262">
                <a:extLst>
                  <a:ext uri="{FF2B5EF4-FFF2-40B4-BE49-F238E27FC236}">
                    <a16:creationId xmlns:a16="http://schemas.microsoft.com/office/drawing/2014/main" id="{189DDA13-18EA-4990-9761-21DF3E98DB5A}"/>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 name="T8" fmla="*/ 34 w 41"/>
                  <a:gd name="T9" fmla="*/ 0 h 30"/>
                </a:gdLst>
                <a:ahLst/>
                <a:cxnLst>
                  <a:cxn ang="0">
                    <a:pos x="T0" y="T1"/>
                  </a:cxn>
                  <a:cxn ang="0">
                    <a:pos x="T2" y="T3"/>
                  </a:cxn>
                  <a:cxn ang="0">
                    <a:pos x="T4" y="T5"/>
                  </a:cxn>
                  <a:cxn ang="0">
                    <a:pos x="T6" y="T7"/>
                  </a:cxn>
                  <a:cxn ang="0">
                    <a:pos x="T8" y="T9"/>
                  </a:cxn>
                </a:cxnLst>
                <a:rect l="0" t="0" r="r" b="b"/>
                <a:pathLst>
                  <a:path w="41" h="30">
                    <a:moveTo>
                      <a:pt x="34" y="0"/>
                    </a:moveTo>
                    <a:lnTo>
                      <a:pt x="0" y="3"/>
                    </a:lnTo>
                    <a:lnTo>
                      <a:pt x="2" y="30"/>
                    </a:lnTo>
                    <a:lnTo>
                      <a:pt x="41" y="27"/>
                    </a:lnTo>
                    <a:lnTo>
                      <a:pt x="34"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3" name="Freeform 1263">
                <a:extLst>
                  <a:ext uri="{FF2B5EF4-FFF2-40B4-BE49-F238E27FC236}">
                    <a16:creationId xmlns:a16="http://schemas.microsoft.com/office/drawing/2014/main" id="{677D9C5D-7571-44E9-840F-4215305254C7}"/>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Lst>
                <a:ahLst/>
                <a:cxnLst>
                  <a:cxn ang="0">
                    <a:pos x="T0" y="T1"/>
                  </a:cxn>
                  <a:cxn ang="0">
                    <a:pos x="T2" y="T3"/>
                  </a:cxn>
                  <a:cxn ang="0">
                    <a:pos x="T4" y="T5"/>
                  </a:cxn>
                  <a:cxn ang="0">
                    <a:pos x="T6" y="T7"/>
                  </a:cxn>
                </a:cxnLst>
                <a:rect l="0" t="0" r="r" b="b"/>
                <a:pathLst>
                  <a:path w="41" h="30">
                    <a:moveTo>
                      <a:pt x="34" y="0"/>
                    </a:moveTo>
                    <a:lnTo>
                      <a:pt x="0" y="3"/>
                    </a:lnTo>
                    <a:lnTo>
                      <a:pt x="2" y="30"/>
                    </a:lnTo>
                    <a:lnTo>
                      <a:pt x="41"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4" name="Freeform 1264">
                <a:extLst>
                  <a:ext uri="{FF2B5EF4-FFF2-40B4-BE49-F238E27FC236}">
                    <a16:creationId xmlns:a16="http://schemas.microsoft.com/office/drawing/2014/main" id="{A543BA41-5618-4C4A-AD28-3E2961D3B6C4}"/>
                  </a:ext>
                </a:extLst>
              </p:cNvPr>
              <p:cNvSpPr>
                <a:spLocks/>
              </p:cNvSpPr>
              <p:nvPr/>
            </p:nvSpPr>
            <p:spPr bwMode="auto">
              <a:xfrm>
                <a:off x="1069" y="1797"/>
                <a:ext cx="15" cy="35"/>
              </a:xfrm>
              <a:custGeom>
                <a:avLst/>
                <a:gdLst>
                  <a:gd name="T0" fmla="*/ 12 w 15"/>
                  <a:gd name="T1" fmla="*/ 0 h 35"/>
                  <a:gd name="T2" fmla="*/ 15 w 15"/>
                  <a:gd name="T3" fmla="*/ 35 h 35"/>
                  <a:gd name="T4" fmla="*/ 3 w 15"/>
                  <a:gd name="T5" fmla="*/ 35 h 35"/>
                  <a:gd name="T6" fmla="*/ 2 w 15"/>
                  <a:gd name="T7" fmla="*/ 35 h 35"/>
                  <a:gd name="T8" fmla="*/ 0 w 15"/>
                  <a:gd name="T9" fmla="*/ 3 h 35"/>
                  <a:gd name="T10" fmla="*/ 0 w 15"/>
                  <a:gd name="T11" fmla="*/ 1 h 35"/>
                  <a:gd name="T12" fmla="*/ 12 w 15"/>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15" h="35">
                    <a:moveTo>
                      <a:pt x="12" y="0"/>
                    </a:moveTo>
                    <a:lnTo>
                      <a:pt x="15" y="35"/>
                    </a:lnTo>
                    <a:lnTo>
                      <a:pt x="3" y="35"/>
                    </a:lnTo>
                    <a:lnTo>
                      <a:pt x="2" y="35"/>
                    </a:lnTo>
                    <a:lnTo>
                      <a:pt x="0" y="3"/>
                    </a:lnTo>
                    <a:lnTo>
                      <a:pt x="0" y="1"/>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5" name="Freeform 1265">
                <a:extLst>
                  <a:ext uri="{FF2B5EF4-FFF2-40B4-BE49-F238E27FC236}">
                    <a16:creationId xmlns:a16="http://schemas.microsoft.com/office/drawing/2014/main" id="{1776628F-5D08-4CD5-9C27-FB5B01DD05F8}"/>
                  </a:ext>
                </a:extLst>
              </p:cNvPr>
              <p:cNvSpPr>
                <a:spLocks/>
              </p:cNvSpPr>
              <p:nvPr/>
            </p:nvSpPr>
            <p:spPr bwMode="auto">
              <a:xfrm>
                <a:off x="927" y="1796"/>
                <a:ext cx="145" cy="52"/>
              </a:xfrm>
              <a:custGeom>
                <a:avLst/>
                <a:gdLst>
                  <a:gd name="T0" fmla="*/ 209 w 213"/>
                  <a:gd name="T1" fmla="*/ 1 h 76"/>
                  <a:gd name="T2" fmla="*/ 209 w 213"/>
                  <a:gd name="T3" fmla="*/ 2 h 76"/>
                  <a:gd name="T4" fmla="*/ 209 w 213"/>
                  <a:gd name="T5" fmla="*/ 5 h 76"/>
                  <a:gd name="T6" fmla="*/ 213 w 213"/>
                  <a:gd name="T7" fmla="*/ 58 h 76"/>
                  <a:gd name="T8" fmla="*/ 43 w 213"/>
                  <a:gd name="T9" fmla="*/ 73 h 76"/>
                  <a:gd name="T10" fmla="*/ 2 w 213"/>
                  <a:gd name="T11" fmla="*/ 41 h 76"/>
                  <a:gd name="T12" fmla="*/ 34 w 213"/>
                  <a:gd name="T13" fmla="*/ 1 h 76"/>
                  <a:gd name="T14" fmla="*/ 35 w 213"/>
                  <a:gd name="T15" fmla="*/ 1 h 76"/>
                  <a:gd name="T16" fmla="*/ 40 w 213"/>
                  <a:gd name="T17" fmla="*/ 0 h 76"/>
                  <a:gd name="T18" fmla="*/ 209 w 213"/>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6">
                    <a:moveTo>
                      <a:pt x="209" y="1"/>
                    </a:moveTo>
                    <a:cubicBezTo>
                      <a:pt x="209" y="2"/>
                      <a:pt x="209" y="2"/>
                      <a:pt x="209" y="2"/>
                    </a:cubicBezTo>
                    <a:cubicBezTo>
                      <a:pt x="209" y="5"/>
                      <a:pt x="209" y="5"/>
                      <a:pt x="209" y="5"/>
                    </a:cubicBezTo>
                    <a:cubicBezTo>
                      <a:pt x="213" y="58"/>
                      <a:pt x="213" y="58"/>
                      <a:pt x="213" y="58"/>
                    </a:cubicBezTo>
                    <a:cubicBezTo>
                      <a:pt x="43" y="73"/>
                      <a:pt x="43" y="73"/>
                      <a:pt x="43" y="73"/>
                    </a:cubicBezTo>
                    <a:cubicBezTo>
                      <a:pt x="23" y="76"/>
                      <a:pt x="4" y="61"/>
                      <a:pt x="2" y="41"/>
                    </a:cubicBezTo>
                    <a:cubicBezTo>
                      <a:pt x="0" y="21"/>
                      <a:pt x="14" y="3"/>
                      <a:pt x="34" y="1"/>
                    </a:cubicBezTo>
                    <a:cubicBezTo>
                      <a:pt x="35" y="1"/>
                      <a:pt x="35" y="1"/>
                      <a:pt x="35" y="1"/>
                    </a:cubicBezTo>
                    <a:cubicBezTo>
                      <a:pt x="40" y="0"/>
                      <a:pt x="40" y="0"/>
                      <a:pt x="40" y="0"/>
                    </a:cubicBezTo>
                    <a:lnTo>
                      <a:pt x="209" y="1"/>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6" name="Freeform 1266">
                <a:extLst>
                  <a:ext uri="{FF2B5EF4-FFF2-40B4-BE49-F238E27FC236}">
                    <a16:creationId xmlns:a16="http://schemas.microsoft.com/office/drawing/2014/main" id="{EF520F0B-A5CF-46D6-A129-BA0866E02BE8}"/>
                  </a:ext>
                </a:extLst>
              </p:cNvPr>
              <p:cNvSpPr>
                <a:spLocks/>
              </p:cNvSpPr>
              <p:nvPr/>
            </p:nvSpPr>
            <p:spPr bwMode="auto">
              <a:xfrm>
                <a:off x="963" y="1796"/>
                <a:ext cx="106" cy="2"/>
              </a:xfrm>
              <a:custGeom>
                <a:avLst/>
                <a:gdLst>
                  <a:gd name="T0" fmla="*/ 106 w 106"/>
                  <a:gd name="T1" fmla="*/ 2 h 2"/>
                  <a:gd name="T2" fmla="*/ 104 w 106"/>
                  <a:gd name="T3" fmla="*/ 2 h 2"/>
                  <a:gd name="T4" fmla="*/ 4 w 106"/>
                  <a:gd name="T5" fmla="*/ 2 h 2"/>
                  <a:gd name="T6" fmla="*/ 1 w 106"/>
                  <a:gd name="T7" fmla="*/ 2 h 2"/>
                  <a:gd name="T8" fmla="*/ 0 w 106"/>
                  <a:gd name="T9" fmla="*/ 0 h 2"/>
                  <a:gd name="T10" fmla="*/ 3 w 106"/>
                  <a:gd name="T11" fmla="*/ 0 h 2"/>
                  <a:gd name="T12" fmla="*/ 106 w 106"/>
                  <a:gd name="T13" fmla="*/ 1 h 2"/>
                  <a:gd name="T14" fmla="*/ 106 w 106"/>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2">
                    <a:moveTo>
                      <a:pt x="106" y="2"/>
                    </a:moveTo>
                    <a:lnTo>
                      <a:pt x="104" y="2"/>
                    </a:lnTo>
                    <a:lnTo>
                      <a:pt x="4" y="2"/>
                    </a:lnTo>
                    <a:lnTo>
                      <a:pt x="1" y="2"/>
                    </a:lnTo>
                    <a:lnTo>
                      <a:pt x="0" y="0"/>
                    </a:lnTo>
                    <a:lnTo>
                      <a:pt x="3" y="0"/>
                    </a:lnTo>
                    <a:lnTo>
                      <a:pt x="106" y="1"/>
                    </a:lnTo>
                    <a:lnTo>
                      <a:pt x="106" y="2"/>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7" name="Freeform 1267">
                <a:extLst>
                  <a:ext uri="{FF2B5EF4-FFF2-40B4-BE49-F238E27FC236}">
                    <a16:creationId xmlns:a16="http://schemas.microsoft.com/office/drawing/2014/main" id="{D3263846-79B8-4CE7-A7BD-E42962EBAAF8}"/>
                  </a:ext>
                </a:extLst>
              </p:cNvPr>
              <p:cNvSpPr>
                <a:spLocks/>
              </p:cNvSpPr>
              <p:nvPr/>
            </p:nvSpPr>
            <p:spPr bwMode="auto">
              <a:xfrm>
                <a:off x="841" y="1719"/>
                <a:ext cx="231" cy="128"/>
              </a:xfrm>
              <a:custGeom>
                <a:avLst/>
                <a:gdLst>
                  <a:gd name="T0" fmla="*/ 0 w 339"/>
                  <a:gd name="T1" fmla="*/ 0 h 189"/>
                  <a:gd name="T2" fmla="*/ 145 w 339"/>
                  <a:gd name="T3" fmla="*/ 169 h 189"/>
                  <a:gd name="T4" fmla="*/ 151 w 339"/>
                  <a:gd name="T5" fmla="*/ 174 h 189"/>
                  <a:gd name="T6" fmla="*/ 174 w 339"/>
                  <a:gd name="T7" fmla="*/ 178 h 189"/>
                  <a:gd name="T8" fmla="*/ 338 w 339"/>
                  <a:gd name="T9" fmla="*/ 164 h 189"/>
                  <a:gd name="T10" fmla="*/ 338 w 339"/>
                  <a:gd name="T11" fmla="*/ 168 h 189"/>
                  <a:gd name="T12" fmla="*/ 338 w 339"/>
                  <a:gd name="T13" fmla="*/ 168 h 189"/>
                  <a:gd name="T14" fmla="*/ 339 w 339"/>
                  <a:gd name="T15" fmla="*/ 173 h 189"/>
                  <a:gd name="T16" fmla="*/ 169 w 339"/>
                  <a:gd name="T17" fmla="*/ 188 h 189"/>
                  <a:gd name="T18" fmla="*/ 147 w 339"/>
                  <a:gd name="T19" fmla="*/ 184 h 189"/>
                  <a:gd name="T20" fmla="*/ 143 w 339"/>
                  <a:gd name="T21" fmla="*/ 181 h 189"/>
                  <a:gd name="T22" fmla="*/ 70 w 339"/>
                  <a:gd name="T23" fmla="*/ 103 h 189"/>
                  <a:gd name="T24" fmla="*/ 0 w 339"/>
                  <a:gd name="T2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89">
                    <a:moveTo>
                      <a:pt x="0" y="0"/>
                    </a:moveTo>
                    <a:cubicBezTo>
                      <a:pt x="46" y="51"/>
                      <a:pt x="96" y="121"/>
                      <a:pt x="145" y="169"/>
                    </a:cubicBezTo>
                    <a:cubicBezTo>
                      <a:pt x="147" y="171"/>
                      <a:pt x="149" y="173"/>
                      <a:pt x="151" y="174"/>
                    </a:cubicBezTo>
                    <a:cubicBezTo>
                      <a:pt x="158" y="178"/>
                      <a:pt x="166" y="179"/>
                      <a:pt x="174" y="178"/>
                    </a:cubicBezTo>
                    <a:cubicBezTo>
                      <a:pt x="228" y="174"/>
                      <a:pt x="283" y="169"/>
                      <a:pt x="338" y="164"/>
                    </a:cubicBezTo>
                    <a:cubicBezTo>
                      <a:pt x="338" y="168"/>
                      <a:pt x="338" y="168"/>
                      <a:pt x="338" y="168"/>
                    </a:cubicBezTo>
                    <a:cubicBezTo>
                      <a:pt x="338" y="168"/>
                      <a:pt x="338" y="168"/>
                      <a:pt x="338" y="168"/>
                    </a:cubicBezTo>
                    <a:cubicBezTo>
                      <a:pt x="339" y="173"/>
                      <a:pt x="339" y="173"/>
                      <a:pt x="339" y="173"/>
                    </a:cubicBezTo>
                    <a:cubicBezTo>
                      <a:pt x="282" y="178"/>
                      <a:pt x="225" y="183"/>
                      <a:pt x="169" y="188"/>
                    </a:cubicBezTo>
                    <a:cubicBezTo>
                      <a:pt x="161" y="189"/>
                      <a:pt x="154" y="187"/>
                      <a:pt x="147" y="184"/>
                    </a:cubicBezTo>
                    <a:cubicBezTo>
                      <a:pt x="146" y="183"/>
                      <a:pt x="144" y="182"/>
                      <a:pt x="143" y="181"/>
                    </a:cubicBezTo>
                    <a:cubicBezTo>
                      <a:pt x="116" y="159"/>
                      <a:pt x="93" y="128"/>
                      <a:pt x="70" y="103"/>
                    </a:cubicBezTo>
                    <a:cubicBezTo>
                      <a:pt x="47" y="77"/>
                      <a:pt x="23" y="26"/>
                      <a:pt x="0" y="0"/>
                    </a:cubicBez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8" name="Freeform 1268">
                <a:extLst>
                  <a:ext uri="{FF2B5EF4-FFF2-40B4-BE49-F238E27FC236}">
                    <a16:creationId xmlns:a16="http://schemas.microsoft.com/office/drawing/2014/main" id="{235333D0-8CDE-40F4-88FB-350DAD3B70EB}"/>
                  </a:ext>
                </a:extLst>
              </p:cNvPr>
              <p:cNvSpPr>
                <a:spLocks/>
              </p:cNvSpPr>
              <p:nvPr/>
            </p:nvSpPr>
            <p:spPr bwMode="auto">
              <a:xfrm>
                <a:off x="1531" y="1346"/>
                <a:ext cx="54" cy="52"/>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9" name="Freeform 1269">
                <a:extLst>
                  <a:ext uri="{FF2B5EF4-FFF2-40B4-BE49-F238E27FC236}">
                    <a16:creationId xmlns:a16="http://schemas.microsoft.com/office/drawing/2014/main" id="{9740CDED-AC22-478E-86C8-BCE0F6910582}"/>
                  </a:ext>
                </a:extLst>
              </p:cNvPr>
              <p:cNvSpPr>
                <a:spLocks/>
              </p:cNvSpPr>
              <p:nvPr/>
            </p:nvSpPr>
            <p:spPr bwMode="auto">
              <a:xfrm>
                <a:off x="1534" y="1338"/>
                <a:ext cx="51" cy="36"/>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0" name="Freeform 1270">
                <a:extLst>
                  <a:ext uri="{FF2B5EF4-FFF2-40B4-BE49-F238E27FC236}">
                    <a16:creationId xmlns:a16="http://schemas.microsoft.com/office/drawing/2014/main" id="{E50D8B62-283B-491D-9773-A3F56D513D3D}"/>
                  </a:ext>
                </a:extLst>
              </p:cNvPr>
              <p:cNvSpPr>
                <a:spLocks/>
              </p:cNvSpPr>
              <p:nvPr/>
            </p:nvSpPr>
            <p:spPr bwMode="auto">
              <a:xfrm>
                <a:off x="1479" y="1259"/>
                <a:ext cx="143" cy="112"/>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1" name="Freeform 1271">
                <a:extLst>
                  <a:ext uri="{FF2B5EF4-FFF2-40B4-BE49-F238E27FC236}">
                    <a16:creationId xmlns:a16="http://schemas.microsoft.com/office/drawing/2014/main" id="{230AC93B-47C9-4708-AAFF-D664F26E1520}"/>
                  </a:ext>
                </a:extLst>
              </p:cNvPr>
              <p:cNvSpPr>
                <a:spLocks/>
              </p:cNvSpPr>
              <p:nvPr/>
            </p:nvSpPr>
            <p:spPr bwMode="auto">
              <a:xfrm>
                <a:off x="1508" y="1222"/>
                <a:ext cx="115" cy="121"/>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2" name="Freeform 1272">
                <a:extLst>
                  <a:ext uri="{FF2B5EF4-FFF2-40B4-BE49-F238E27FC236}">
                    <a16:creationId xmlns:a16="http://schemas.microsoft.com/office/drawing/2014/main" id="{828B9935-D8F4-422C-9AA3-B93FF9924A3C}"/>
                  </a:ext>
                </a:extLst>
              </p:cNvPr>
              <p:cNvSpPr>
                <a:spLocks/>
              </p:cNvSpPr>
              <p:nvPr/>
            </p:nvSpPr>
            <p:spPr bwMode="auto">
              <a:xfrm>
                <a:off x="1598" y="1301"/>
                <a:ext cx="8" cy="8"/>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3" name="Freeform 1273">
                <a:extLst>
                  <a:ext uri="{FF2B5EF4-FFF2-40B4-BE49-F238E27FC236}">
                    <a16:creationId xmlns:a16="http://schemas.microsoft.com/office/drawing/2014/main" id="{B2AC80F1-731A-4891-8C2C-02DE17D5D9B3}"/>
                  </a:ext>
                </a:extLst>
              </p:cNvPr>
              <p:cNvSpPr>
                <a:spLocks/>
              </p:cNvSpPr>
              <p:nvPr/>
            </p:nvSpPr>
            <p:spPr bwMode="auto">
              <a:xfrm>
                <a:off x="1583" y="1344"/>
                <a:ext cx="26" cy="12"/>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4" name="Freeform 1274">
                <a:extLst>
                  <a:ext uri="{FF2B5EF4-FFF2-40B4-BE49-F238E27FC236}">
                    <a16:creationId xmlns:a16="http://schemas.microsoft.com/office/drawing/2014/main" id="{55D83E16-A4BB-44CC-AAB4-A99C8D700166}"/>
                  </a:ext>
                </a:extLst>
              </p:cNvPr>
              <p:cNvSpPr>
                <a:spLocks/>
              </p:cNvSpPr>
              <p:nvPr/>
            </p:nvSpPr>
            <p:spPr bwMode="auto">
              <a:xfrm>
                <a:off x="1583" y="1344"/>
                <a:ext cx="26" cy="10"/>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5" name="Freeform 1275">
                <a:extLst>
                  <a:ext uri="{FF2B5EF4-FFF2-40B4-BE49-F238E27FC236}">
                    <a16:creationId xmlns:a16="http://schemas.microsoft.com/office/drawing/2014/main" id="{513CDEC7-E4F4-4A5C-90BE-D97B583B6F6D}"/>
                  </a:ext>
                </a:extLst>
              </p:cNvPr>
              <p:cNvSpPr>
                <a:spLocks/>
              </p:cNvSpPr>
              <p:nvPr/>
            </p:nvSpPr>
            <p:spPr bwMode="auto">
              <a:xfrm>
                <a:off x="1683" y="1483"/>
                <a:ext cx="46" cy="22"/>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6" name="Freeform 1276">
                <a:extLst>
                  <a:ext uri="{FF2B5EF4-FFF2-40B4-BE49-F238E27FC236}">
                    <a16:creationId xmlns:a16="http://schemas.microsoft.com/office/drawing/2014/main" id="{F4691D5A-E7AD-42CD-B45B-1E8FA9F0B6F8}"/>
                  </a:ext>
                </a:extLst>
              </p:cNvPr>
              <p:cNvSpPr>
                <a:spLocks/>
              </p:cNvSpPr>
              <p:nvPr/>
            </p:nvSpPr>
            <p:spPr bwMode="auto">
              <a:xfrm>
                <a:off x="1679" y="1511"/>
                <a:ext cx="40" cy="15"/>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7" name="Freeform 1277">
                <a:extLst>
                  <a:ext uri="{FF2B5EF4-FFF2-40B4-BE49-F238E27FC236}">
                    <a16:creationId xmlns:a16="http://schemas.microsoft.com/office/drawing/2014/main" id="{AB2B7262-BE6C-4902-B7EE-CB9D67BCDB70}"/>
                  </a:ext>
                </a:extLst>
              </p:cNvPr>
              <p:cNvSpPr>
                <a:spLocks/>
              </p:cNvSpPr>
              <p:nvPr/>
            </p:nvSpPr>
            <p:spPr bwMode="auto">
              <a:xfrm>
                <a:off x="1684" y="1522"/>
                <a:ext cx="31" cy="11"/>
              </a:xfrm>
              <a:custGeom>
                <a:avLst/>
                <a:gdLst>
                  <a:gd name="T0" fmla="*/ 0 w 45"/>
                  <a:gd name="T1" fmla="*/ 7 h 16"/>
                  <a:gd name="T2" fmla="*/ 8 w 45"/>
                  <a:gd name="T3" fmla="*/ 0 h 16"/>
                  <a:gd name="T4" fmla="*/ 37 w 45"/>
                  <a:gd name="T5" fmla="*/ 1 h 16"/>
                  <a:gd name="T6" fmla="*/ 45 w 45"/>
                  <a:gd name="T7" fmla="*/ 8 h 16"/>
                  <a:gd name="T8" fmla="*/ 37 w 45"/>
                  <a:gd name="T9" fmla="*/ 16 h 16"/>
                  <a:gd name="T10" fmla="*/ 8 w 45"/>
                  <a:gd name="T11" fmla="*/ 15 h 16"/>
                  <a:gd name="T12" fmla="*/ 0 w 45"/>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45" h="16">
                    <a:moveTo>
                      <a:pt x="0" y="7"/>
                    </a:moveTo>
                    <a:cubicBezTo>
                      <a:pt x="0" y="3"/>
                      <a:pt x="3" y="0"/>
                      <a:pt x="8" y="0"/>
                    </a:cubicBezTo>
                    <a:cubicBezTo>
                      <a:pt x="37" y="1"/>
                      <a:pt x="37" y="1"/>
                      <a:pt x="37" y="1"/>
                    </a:cubicBezTo>
                    <a:cubicBezTo>
                      <a:pt x="41" y="1"/>
                      <a:pt x="45" y="4"/>
                      <a:pt x="45" y="8"/>
                    </a:cubicBezTo>
                    <a:cubicBezTo>
                      <a:pt x="45" y="13"/>
                      <a:pt x="41" y="16"/>
                      <a:pt x="37" y="16"/>
                    </a:cubicBezTo>
                    <a:cubicBezTo>
                      <a:pt x="8" y="15"/>
                      <a:pt x="8" y="15"/>
                      <a:pt x="8" y="15"/>
                    </a:cubicBezTo>
                    <a:cubicBezTo>
                      <a:pt x="3" y="15"/>
                      <a:pt x="0" y="12"/>
                      <a:pt x="0" y="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8" name="Freeform 1278">
                <a:extLst>
                  <a:ext uri="{FF2B5EF4-FFF2-40B4-BE49-F238E27FC236}">
                    <a16:creationId xmlns:a16="http://schemas.microsoft.com/office/drawing/2014/main" id="{E2FAC57E-0EC2-4A90-8D6E-D12700F550D6}"/>
                  </a:ext>
                </a:extLst>
              </p:cNvPr>
              <p:cNvSpPr>
                <a:spLocks/>
              </p:cNvSpPr>
              <p:nvPr/>
            </p:nvSpPr>
            <p:spPr bwMode="auto">
              <a:xfrm>
                <a:off x="1675" y="1499"/>
                <a:ext cx="49" cy="18"/>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9" name="Freeform 1279">
                <a:extLst>
                  <a:ext uri="{FF2B5EF4-FFF2-40B4-BE49-F238E27FC236}">
                    <a16:creationId xmlns:a16="http://schemas.microsoft.com/office/drawing/2014/main" id="{55D98B14-A741-483A-9685-BC35B1CCB93F}"/>
                  </a:ext>
                </a:extLst>
              </p:cNvPr>
              <p:cNvSpPr>
                <a:spLocks/>
              </p:cNvSpPr>
              <p:nvPr/>
            </p:nvSpPr>
            <p:spPr bwMode="auto">
              <a:xfrm>
                <a:off x="1676" y="1490"/>
                <a:ext cx="40" cy="48"/>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10" name="Freeform 1280">
                <a:extLst>
                  <a:ext uri="{FF2B5EF4-FFF2-40B4-BE49-F238E27FC236}">
                    <a16:creationId xmlns:a16="http://schemas.microsoft.com/office/drawing/2014/main" id="{4BFF07AE-B732-4651-A03E-DC765934F179}"/>
                  </a:ext>
                </a:extLst>
              </p:cNvPr>
              <p:cNvSpPr>
                <a:spLocks/>
              </p:cNvSpPr>
              <p:nvPr/>
            </p:nvSpPr>
            <p:spPr bwMode="auto">
              <a:xfrm>
                <a:off x="1669" y="1484"/>
                <a:ext cx="29" cy="26"/>
              </a:xfrm>
              <a:custGeom>
                <a:avLst/>
                <a:gdLst>
                  <a:gd name="T0" fmla="*/ 43 w 43"/>
                  <a:gd name="T1" fmla="*/ 8 h 38"/>
                  <a:gd name="T2" fmla="*/ 0 w 43"/>
                  <a:gd name="T3" fmla="*/ 17 h 38"/>
                  <a:gd name="T4" fmla="*/ 13 w 43"/>
                  <a:gd name="T5" fmla="*/ 38 h 38"/>
                </a:gdLst>
                <a:ahLst/>
                <a:cxnLst>
                  <a:cxn ang="0">
                    <a:pos x="T0" y="T1"/>
                  </a:cxn>
                  <a:cxn ang="0">
                    <a:pos x="T2" y="T3"/>
                  </a:cxn>
                  <a:cxn ang="0">
                    <a:pos x="T4" y="T5"/>
                  </a:cxn>
                </a:cxnLst>
                <a:rect l="0" t="0" r="r" b="b"/>
                <a:pathLst>
                  <a:path w="43" h="38">
                    <a:moveTo>
                      <a:pt x="43" y="8"/>
                    </a:moveTo>
                    <a:cubicBezTo>
                      <a:pt x="33" y="0"/>
                      <a:pt x="10" y="6"/>
                      <a:pt x="0" y="17"/>
                    </a:cubicBezTo>
                    <a:cubicBezTo>
                      <a:pt x="3" y="32"/>
                      <a:pt x="13" y="38"/>
                      <a:pt x="13" y="38"/>
                    </a:cubicBezTo>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11" name="Freeform 1281">
                <a:extLst>
                  <a:ext uri="{FF2B5EF4-FFF2-40B4-BE49-F238E27FC236}">
                    <a16:creationId xmlns:a16="http://schemas.microsoft.com/office/drawing/2014/main" id="{8295EF62-B26D-440D-863B-8811A3EF04AF}"/>
                  </a:ext>
                </a:extLst>
              </p:cNvPr>
              <p:cNvSpPr>
                <a:spLocks/>
              </p:cNvSpPr>
              <p:nvPr/>
            </p:nvSpPr>
            <p:spPr bwMode="auto">
              <a:xfrm>
                <a:off x="1467" y="1407"/>
                <a:ext cx="197" cy="181"/>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26" name="Group 25">
              <a:extLst>
                <a:ext uri="{FF2B5EF4-FFF2-40B4-BE49-F238E27FC236}">
                  <a16:creationId xmlns:a16="http://schemas.microsoft.com/office/drawing/2014/main" id="{2E25FC2E-454C-4258-9BEA-CAA42606805A}"/>
                </a:ext>
              </a:extLst>
            </p:cNvPr>
            <p:cNvGrpSpPr/>
            <p:nvPr/>
          </p:nvGrpSpPr>
          <p:grpSpPr>
            <a:xfrm>
              <a:off x="9935567" y="3012185"/>
              <a:ext cx="1104966" cy="834190"/>
              <a:chOff x="16078200" y="-49704"/>
              <a:chExt cx="3128962" cy="2362200"/>
            </a:xfrm>
          </p:grpSpPr>
          <p:sp>
            <p:nvSpPr>
              <p:cNvPr id="27" name="Freeform 1287">
                <a:extLst>
                  <a:ext uri="{FF2B5EF4-FFF2-40B4-BE49-F238E27FC236}">
                    <a16:creationId xmlns:a16="http://schemas.microsoft.com/office/drawing/2014/main" id="{B0EF397B-C5F3-46C7-914B-BA1B195B3F6B}"/>
                  </a:ext>
                </a:extLst>
              </p:cNvPr>
              <p:cNvSpPr>
                <a:spLocks/>
              </p:cNvSpPr>
              <p:nvPr/>
            </p:nvSpPr>
            <p:spPr bwMode="auto">
              <a:xfrm>
                <a:off x="17532350" y="188421"/>
                <a:ext cx="1160462" cy="636587"/>
              </a:xfrm>
              <a:custGeom>
                <a:avLst/>
                <a:gdLst>
                  <a:gd name="T0" fmla="*/ 58 w 784"/>
                  <a:gd name="T1" fmla="*/ 317 h 432"/>
                  <a:gd name="T2" fmla="*/ 123 w 784"/>
                  <a:gd name="T3" fmla="*/ 317 h 432"/>
                  <a:gd name="T4" fmla="*/ 111 w 784"/>
                  <a:gd name="T5" fmla="*/ 263 h 432"/>
                  <a:gd name="T6" fmla="*/ 231 w 784"/>
                  <a:gd name="T7" fmla="*/ 142 h 432"/>
                  <a:gd name="T8" fmla="*/ 281 w 784"/>
                  <a:gd name="T9" fmla="*/ 153 h 432"/>
                  <a:gd name="T10" fmla="*/ 443 w 784"/>
                  <a:gd name="T11" fmla="*/ 0 h 432"/>
                  <a:gd name="T12" fmla="*/ 606 w 784"/>
                  <a:gd name="T13" fmla="*/ 162 h 432"/>
                  <a:gd name="T14" fmla="*/ 606 w 784"/>
                  <a:gd name="T15" fmla="*/ 162 h 432"/>
                  <a:gd name="T16" fmla="*/ 727 w 784"/>
                  <a:gd name="T17" fmla="*/ 283 h 432"/>
                  <a:gd name="T18" fmla="*/ 722 w 784"/>
                  <a:gd name="T19" fmla="*/ 317 h 432"/>
                  <a:gd name="T20" fmla="*/ 727 w 784"/>
                  <a:gd name="T21" fmla="*/ 317 h 432"/>
                  <a:gd name="T22" fmla="*/ 784 w 784"/>
                  <a:gd name="T23" fmla="*/ 374 h 432"/>
                  <a:gd name="T24" fmla="*/ 727 w 784"/>
                  <a:gd name="T25" fmla="*/ 432 h 432"/>
                  <a:gd name="T26" fmla="*/ 58 w 784"/>
                  <a:gd name="T27" fmla="*/ 432 h 432"/>
                  <a:gd name="T28" fmla="*/ 0 w 784"/>
                  <a:gd name="T29" fmla="*/ 374 h 432"/>
                  <a:gd name="T30" fmla="*/ 58 w 784"/>
                  <a:gd name="T31" fmla="*/ 31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4" h="432">
                    <a:moveTo>
                      <a:pt x="58" y="317"/>
                    </a:moveTo>
                    <a:cubicBezTo>
                      <a:pt x="123" y="317"/>
                      <a:pt x="123" y="317"/>
                      <a:pt x="123" y="317"/>
                    </a:cubicBezTo>
                    <a:cubicBezTo>
                      <a:pt x="115" y="300"/>
                      <a:pt x="111" y="282"/>
                      <a:pt x="111" y="263"/>
                    </a:cubicBezTo>
                    <a:cubicBezTo>
                      <a:pt x="111" y="196"/>
                      <a:pt x="165" y="142"/>
                      <a:pt x="231" y="142"/>
                    </a:cubicBezTo>
                    <a:cubicBezTo>
                      <a:pt x="249" y="142"/>
                      <a:pt x="266" y="146"/>
                      <a:pt x="281" y="153"/>
                    </a:cubicBezTo>
                    <a:cubicBezTo>
                      <a:pt x="286" y="67"/>
                      <a:pt x="357" y="0"/>
                      <a:pt x="443" y="0"/>
                    </a:cubicBezTo>
                    <a:cubicBezTo>
                      <a:pt x="533" y="0"/>
                      <a:pt x="606" y="72"/>
                      <a:pt x="606" y="162"/>
                    </a:cubicBezTo>
                    <a:cubicBezTo>
                      <a:pt x="606" y="162"/>
                      <a:pt x="606" y="162"/>
                      <a:pt x="606" y="162"/>
                    </a:cubicBezTo>
                    <a:cubicBezTo>
                      <a:pt x="673" y="162"/>
                      <a:pt x="727" y="216"/>
                      <a:pt x="727" y="283"/>
                    </a:cubicBezTo>
                    <a:cubicBezTo>
                      <a:pt x="727" y="295"/>
                      <a:pt x="725" y="306"/>
                      <a:pt x="722" y="317"/>
                    </a:cubicBezTo>
                    <a:cubicBezTo>
                      <a:pt x="727" y="317"/>
                      <a:pt x="727" y="317"/>
                      <a:pt x="727" y="317"/>
                    </a:cubicBezTo>
                    <a:cubicBezTo>
                      <a:pt x="758" y="317"/>
                      <a:pt x="784" y="342"/>
                      <a:pt x="784" y="374"/>
                    </a:cubicBezTo>
                    <a:cubicBezTo>
                      <a:pt x="784" y="406"/>
                      <a:pt x="758" y="432"/>
                      <a:pt x="727" y="432"/>
                    </a:cubicBezTo>
                    <a:cubicBezTo>
                      <a:pt x="58" y="432"/>
                      <a:pt x="58" y="432"/>
                      <a:pt x="58" y="432"/>
                    </a:cubicBezTo>
                    <a:cubicBezTo>
                      <a:pt x="26" y="432"/>
                      <a:pt x="0" y="406"/>
                      <a:pt x="0" y="374"/>
                    </a:cubicBezTo>
                    <a:cubicBezTo>
                      <a:pt x="0" y="342"/>
                      <a:pt x="26" y="317"/>
                      <a:pt x="58" y="317"/>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 name="Freeform 1288">
                <a:extLst>
                  <a:ext uri="{FF2B5EF4-FFF2-40B4-BE49-F238E27FC236}">
                    <a16:creationId xmlns:a16="http://schemas.microsoft.com/office/drawing/2014/main" id="{131B49DD-6DF6-4743-8660-4269C723B71C}"/>
                  </a:ext>
                </a:extLst>
              </p:cNvPr>
              <p:cNvSpPr>
                <a:spLocks/>
              </p:cNvSpPr>
              <p:nvPr/>
            </p:nvSpPr>
            <p:spPr bwMode="auto">
              <a:xfrm>
                <a:off x="17727613" y="239221"/>
                <a:ext cx="1069975" cy="585787"/>
              </a:xfrm>
              <a:custGeom>
                <a:avLst/>
                <a:gdLst>
                  <a:gd name="T0" fmla="*/ 53 w 722"/>
                  <a:gd name="T1" fmla="*/ 292 h 398"/>
                  <a:gd name="T2" fmla="*/ 114 w 722"/>
                  <a:gd name="T3" fmla="*/ 292 h 398"/>
                  <a:gd name="T4" fmla="*/ 102 w 722"/>
                  <a:gd name="T5" fmla="*/ 242 h 398"/>
                  <a:gd name="T6" fmla="*/ 213 w 722"/>
                  <a:gd name="T7" fmla="*/ 131 h 398"/>
                  <a:gd name="T8" fmla="*/ 259 w 722"/>
                  <a:gd name="T9" fmla="*/ 141 h 398"/>
                  <a:gd name="T10" fmla="*/ 408 w 722"/>
                  <a:gd name="T11" fmla="*/ 0 h 398"/>
                  <a:gd name="T12" fmla="*/ 558 w 722"/>
                  <a:gd name="T13" fmla="*/ 150 h 398"/>
                  <a:gd name="T14" fmla="*/ 558 w 722"/>
                  <a:gd name="T15" fmla="*/ 150 h 398"/>
                  <a:gd name="T16" fmla="*/ 669 w 722"/>
                  <a:gd name="T17" fmla="*/ 261 h 398"/>
                  <a:gd name="T18" fmla="*/ 665 w 722"/>
                  <a:gd name="T19" fmla="*/ 292 h 398"/>
                  <a:gd name="T20" fmla="*/ 669 w 722"/>
                  <a:gd name="T21" fmla="*/ 292 h 398"/>
                  <a:gd name="T22" fmla="*/ 722 w 722"/>
                  <a:gd name="T23" fmla="*/ 345 h 398"/>
                  <a:gd name="T24" fmla="*/ 669 w 722"/>
                  <a:gd name="T25" fmla="*/ 398 h 398"/>
                  <a:gd name="T26" fmla="*/ 53 w 722"/>
                  <a:gd name="T27" fmla="*/ 398 h 398"/>
                  <a:gd name="T28" fmla="*/ 0 w 722"/>
                  <a:gd name="T29" fmla="*/ 345 h 398"/>
                  <a:gd name="T30" fmla="*/ 53 w 722"/>
                  <a:gd name="T31" fmla="*/ 29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 h="398">
                    <a:moveTo>
                      <a:pt x="53" y="292"/>
                    </a:moveTo>
                    <a:cubicBezTo>
                      <a:pt x="114" y="292"/>
                      <a:pt x="114" y="292"/>
                      <a:pt x="114" y="292"/>
                    </a:cubicBezTo>
                    <a:cubicBezTo>
                      <a:pt x="106" y="277"/>
                      <a:pt x="102" y="260"/>
                      <a:pt x="102" y="242"/>
                    </a:cubicBezTo>
                    <a:cubicBezTo>
                      <a:pt x="102" y="181"/>
                      <a:pt x="152" y="131"/>
                      <a:pt x="213" y="131"/>
                    </a:cubicBezTo>
                    <a:cubicBezTo>
                      <a:pt x="229" y="131"/>
                      <a:pt x="245" y="135"/>
                      <a:pt x="259" y="141"/>
                    </a:cubicBezTo>
                    <a:cubicBezTo>
                      <a:pt x="263" y="62"/>
                      <a:pt x="328" y="0"/>
                      <a:pt x="408" y="0"/>
                    </a:cubicBezTo>
                    <a:cubicBezTo>
                      <a:pt x="491" y="0"/>
                      <a:pt x="558" y="67"/>
                      <a:pt x="558" y="150"/>
                    </a:cubicBezTo>
                    <a:cubicBezTo>
                      <a:pt x="558" y="150"/>
                      <a:pt x="558" y="150"/>
                      <a:pt x="558" y="150"/>
                    </a:cubicBezTo>
                    <a:cubicBezTo>
                      <a:pt x="619" y="150"/>
                      <a:pt x="669" y="199"/>
                      <a:pt x="669" y="261"/>
                    </a:cubicBezTo>
                    <a:cubicBezTo>
                      <a:pt x="669" y="272"/>
                      <a:pt x="667" y="282"/>
                      <a:pt x="665" y="292"/>
                    </a:cubicBezTo>
                    <a:cubicBezTo>
                      <a:pt x="669" y="292"/>
                      <a:pt x="669" y="292"/>
                      <a:pt x="669" y="292"/>
                    </a:cubicBezTo>
                    <a:cubicBezTo>
                      <a:pt x="698" y="292"/>
                      <a:pt x="722" y="316"/>
                      <a:pt x="722" y="345"/>
                    </a:cubicBezTo>
                    <a:cubicBezTo>
                      <a:pt x="722" y="374"/>
                      <a:pt x="698" y="398"/>
                      <a:pt x="669" y="398"/>
                    </a:cubicBezTo>
                    <a:cubicBezTo>
                      <a:pt x="53" y="398"/>
                      <a:pt x="53" y="398"/>
                      <a:pt x="53" y="398"/>
                    </a:cubicBezTo>
                    <a:cubicBezTo>
                      <a:pt x="24" y="398"/>
                      <a:pt x="0" y="374"/>
                      <a:pt x="0" y="345"/>
                    </a:cubicBezTo>
                    <a:cubicBezTo>
                      <a:pt x="0" y="316"/>
                      <a:pt x="24" y="292"/>
                      <a:pt x="53" y="2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 name="Oval 1290">
                <a:extLst>
                  <a:ext uri="{FF2B5EF4-FFF2-40B4-BE49-F238E27FC236}">
                    <a16:creationId xmlns:a16="http://schemas.microsoft.com/office/drawing/2014/main" id="{4EAF2069-7F44-4A53-A5A0-C73982C44618}"/>
                  </a:ext>
                </a:extLst>
              </p:cNvPr>
              <p:cNvSpPr>
                <a:spLocks noChangeArrowheads="1"/>
              </p:cNvSpPr>
              <p:nvPr/>
            </p:nvSpPr>
            <p:spPr bwMode="auto">
              <a:xfrm>
                <a:off x="18595975" y="1042496"/>
                <a:ext cx="34925" cy="3651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 name="Oval 1292">
                <a:extLst>
                  <a:ext uri="{FF2B5EF4-FFF2-40B4-BE49-F238E27FC236}">
                    <a16:creationId xmlns:a16="http://schemas.microsoft.com/office/drawing/2014/main" id="{01147BE0-52FA-405C-999F-991A6C7EDDF1}"/>
                  </a:ext>
                </a:extLst>
              </p:cNvPr>
              <p:cNvSpPr>
                <a:spLocks noChangeArrowheads="1"/>
              </p:cNvSpPr>
              <p:nvPr/>
            </p:nvSpPr>
            <p:spPr bwMode="auto">
              <a:xfrm>
                <a:off x="16751300" y="613871"/>
                <a:ext cx="50800"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1" name="Oval 1308">
                <a:extLst>
                  <a:ext uri="{FF2B5EF4-FFF2-40B4-BE49-F238E27FC236}">
                    <a16:creationId xmlns:a16="http://schemas.microsoft.com/office/drawing/2014/main" id="{CDDC8443-5D7A-495D-98DC-EFF6E9EBE5D3}"/>
                  </a:ext>
                </a:extLst>
              </p:cNvPr>
              <p:cNvSpPr>
                <a:spLocks noChangeArrowheads="1"/>
              </p:cNvSpPr>
              <p:nvPr/>
            </p:nvSpPr>
            <p:spPr bwMode="auto">
              <a:xfrm>
                <a:off x="16409988" y="2096596"/>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2" name="Oval 1310">
                <a:extLst>
                  <a:ext uri="{FF2B5EF4-FFF2-40B4-BE49-F238E27FC236}">
                    <a16:creationId xmlns:a16="http://schemas.microsoft.com/office/drawing/2014/main" id="{D1E54DE7-1D9D-4257-919E-E2F98CC40B9D}"/>
                  </a:ext>
                </a:extLst>
              </p:cNvPr>
              <p:cNvSpPr>
                <a:spLocks noChangeArrowheads="1"/>
              </p:cNvSpPr>
              <p:nvPr/>
            </p:nvSpPr>
            <p:spPr bwMode="auto">
              <a:xfrm>
                <a:off x="16078200" y="228109"/>
                <a:ext cx="28575" cy="2857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3" name="Oval 1311">
                <a:extLst>
                  <a:ext uri="{FF2B5EF4-FFF2-40B4-BE49-F238E27FC236}">
                    <a16:creationId xmlns:a16="http://schemas.microsoft.com/office/drawing/2014/main" id="{3590F8D5-E089-45C5-8EA0-FA20EA11ECE2}"/>
                  </a:ext>
                </a:extLst>
              </p:cNvPr>
              <p:cNvSpPr>
                <a:spLocks noChangeArrowheads="1"/>
              </p:cNvSpPr>
              <p:nvPr/>
            </p:nvSpPr>
            <p:spPr bwMode="auto">
              <a:xfrm>
                <a:off x="17584738" y="242396"/>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4" name="Oval 1312">
                <a:extLst>
                  <a:ext uri="{FF2B5EF4-FFF2-40B4-BE49-F238E27FC236}">
                    <a16:creationId xmlns:a16="http://schemas.microsoft.com/office/drawing/2014/main" id="{6B336F6D-5A98-41EB-9EAF-EE3006125268}"/>
                  </a:ext>
                </a:extLst>
              </p:cNvPr>
              <p:cNvSpPr>
                <a:spLocks noChangeArrowheads="1"/>
              </p:cNvSpPr>
              <p:nvPr/>
            </p:nvSpPr>
            <p:spPr bwMode="auto">
              <a:xfrm>
                <a:off x="18907125" y="385271"/>
                <a:ext cx="26987"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5" name="Oval 1314">
                <a:extLst>
                  <a:ext uri="{FF2B5EF4-FFF2-40B4-BE49-F238E27FC236}">
                    <a16:creationId xmlns:a16="http://schemas.microsoft.com/office/drawing/2014/main" id="{7AE69D62-566C-42F5-BC19-C838845169A4}"/>
                  </a:ext>
                </a:extLst>
              </p:cNvPr>
              <p:cNvSpPr>
                <a:spLocks noChangeArrowheads="1"/>
              </p:cNvSpPr>
              <p:nvPr/>
            </p:nvSpPr>
            <p:spPr bwMode="auto">
              <a:xfrm>
                <a:off x="18305463" y="1385396"/>
                <a:ext cx="42862" cy="4286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6" name="Freeform 1316">
                <a:extLst>
                  <a:ext uri="{FF2B5EF4-FFF2-40B4-BE49-F238E27FC236}">
                    <a16:creationId xmlns:a16="http://schemas.microsoft.com/office/drawing/2014/main" id="{6339B97D-2226-4300-8EA2-71433736472E}"/>
                  </a:ext>
                </a:extLst>
              </p:cNvPr>
              <p:cNvSpPr>
                <a:spLocks/>
              </p:cNvSpPr>
              <p:nvPr/>
            </p:nvSpPr>
            <p:spPr bwMode="auto">
              <a:xfrm>
                <a:off x="19078575" y="1128221"/>
                <a:ext cx="128587" cy="128587"/>
              </a:xfrm>
              <a:custGeom>
                <a:avLst/>
                <a:gdLst>
                  <a:gd name="T0" fmla="*/ 40 w 81"/>
                  <a:gd name="T1" fmla="*/ 0 h 81"/>
                  <a:gd name="T2" fmla="*/ 46 w 81"/>
                  <a:gd name="T3" fmla="*/ 35 h 81"/>
                  <a:gd name="T4" fmla="*/ 81 w 81"/>
                  <a:gd name="T5" fmla="*/ 41 h 81"/>
                  <a:gd name="T6" fmla="*/ 46 w 81"/>
                  <a:gd name="T7" fmla="*/ 46 h 81"/>
                  <a:gd name="T8" fmla="*/ 40 w 81"/>
                  <a:gd name="T9" fmla="*/ 81 h 81"/>
                  <a:gd name="T10" fmla="*/ 35 w 81"/>
                  <a:gd name="T11" fmla="*/ 46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6"/>
                    </a:lnTo>
                    <a:lnTo>
                      <a:pt x="40" y="81"/>
                    </a:lnTo>
                    <a:lnTo>
                      <a:pt x="35" y="46"/>
                    </a:lnTo>
                    <a:lnTo>
                      <a:pt x="0" y="41"/>
                    </a:lnTo>
                    <a:lnTo>
                      <a:pt x="35" y="35"/>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7" name="Freeform 1317">
                <a:extLst>
                  <a:ext uri="{FF2B5EF4-FFF2-40B4-BE49-F238E27FC236}">
                    <a16:creationId xmlns:a16="http://schemas.microsoft.com/office/drawing/2014/main" id="{401E5BB7-8B4D-4CAF-985A-D381B7079E45}"/>
                  </a:ext>
                </a:extLst>
              </p:cNvPr>
              <p:cNvSpPr>
                <a:spLocks/>
              </p:cNvSpPr>
              <p:nvPr/>
            </p:nvSpPr>
            <p:spPr bwMode="auto">
              <a:xfrm>
                <a:off x="17208500" y="442421"/>
                <a:ext cx="128587" cy="128587"/>
              </a:xfrm>
              <a:custGeom>
                <a:avLst/>
                <a:gdLst>
                  <a:gd name="T0" fmla="*/ 40 w 81"/>
                  <a:gd name="T1" fmla="*/ 0 h 81"/>
                  <a:gd name="T2" fmla="*/ 46 w 81"/>
                  <a:gd name="T3" fmla="*/ 35 h 81"/>
                  <a:gd name="T4" fmla="*/ 81 w 81"/>
                  <a:gd name="T5" fmla="*/ 41 h 81"/>
                  <a:gd name="T6" fmla="*/ 46 w 81"/>
                  <a:gd name="T7" fmla="*/ 45 h 81"/>
                  <a:gd name="T8" fmla="*/ 40 w 81"/>
                  <a:gd name="T9" fmla="*/ 81 h 81"/>
                  <a:gd name="T10" fmla="*/ 35 w 81"/>
                  <a:gd name="T11" fmla="*/ 45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5"/>
                    </a:lnTo>
                    <a:lnTo>
                      <a:pt x="40" y="81"/>
                    </a:lnTo>
                    <a:lnTo>
                      <a:pt x="35" y="45"/>
                    </a:lnTo>
                    <a:lnTo>
                      <a:pt x="0" y="41"/>
                    </a:lnTo>
                    <a:lnTo>
                      <a:pt x="35" y="35"/>
                    </a:lnTo>
                    <a:lnTo>
                      <a:pt x="40" y="0"/>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8" name="Oval 1319">
                <a:extLst>
                  <a:ext uri="{FF2B5EF4-FFF2-40B4-BE49-F238E27FC236}">
                    <a16:creationId xmlns:a16="http://schemas.microsoft.com/office/drawing/2014/main" id="{76DB93F1-94F8-4958-857D-3A548936D694}"/>
                  </a:ext>
                </a:extLst>
              </p:cNvPr>
              <p:cNvSpPr>
                <a:spLocks noChangeArrowheads="1"/>
              </p:cNvSpPr>
              <p:nvPr/>
            </p:nvSpPr>
            <p:spPr bwMode="auto">
              <a:xfrm>
                <a:off x="16827500" y="-49704"/>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9" name="Freeform 1320">
                <a:extLst>
                  <a:ext uri="{FF2B5EF4-FFF2-40B4-BE49-F238E27FC236}">
                    <a16:creationId xmlns:a16="http://schemas.microsoft.com/office/drawing/2014/main" id="{A6C83C10-1FC6-4788-BE1D-293BC570F881}"/>
                  </a:ext>
                </a:extLst>
              </p:cNvPr>
              <p:cNvSpPr>
                <a:spLocks/>
              </p:cNvSpPr>
              <p:nvPr/>
            </p:nvSpPr>
            <p:spPr bwMode="auto">
              <a:xfrm>
                <a:off x="16686213" y="913909"/>
                <a:ext cx="1212850" cy="503237"/>
              </a:xfrm>
              <a:custGeom>
                <a:avLst/>
                <a:gdLst>
                  <a:gd name="T0" fmla="*/ 803 w 820"/>
                  <a:gd name="T1" fmla="*/ 188 h 342"/>
                  <a:gd name="T2" fmla="*/ 803 w 820"/>
                  <a:gd name="T3" fmla="*/ 188 h 342"/>
                  <a:gd name="T4" fmla="*/ 804 w 820"/>
                  <a:gd name="T5" fmla="*/ 208 h 342"/>
                  <a:gd name="T6" fmla="*/ 789 w 820"/>
                  <a:gd name="T7" fmla="*/ 283 h 342"/>
                  <a:gd name="T8" fmla="*/ 764 w 820"/>
                  <a:gd name="T9" fmla="*/ 314 h 342"/>
                  <a:gd name="T10" fmla="*/ 718 w 820"/>
                  <a:gd name="T11" fmla="*/ 326 h 342"/>
                  <a:gd name="T12" fmla="*/ 669 w 820"/>
                  <a:gd name="T13" fmla="*/ 320 h 342"/>
                  <a:gd name="T14" fmla="*/ 403 w 820"/>
                  <a:gd name="T15" fmla="*/ 220 h 342"/>
                  <a:gd name="T16" fmla="*/ 123 w 820"/>
                  <a:gd name="T17" fmla="*/ 42 h 342"/>
                  <a:gd name="T18" fmla="*/ 77 w 820"/>
                  <a:gd name="T19" fmla="*/ 10 h 342"/>
                  <a:gd name="T20" fmla="*/ 40 w 820"/>
                  <a:gd name="T21" fmla="*/ 0 h 342"/>
                  <a:gd name="T22" fmla="*/ 23 w 820"/>
                  <a:gd name="T23" fmla="*/ 3 h 342"/>
                  <a:gd name="T24" fmla="*/ 6 w 820"/>
                  <a:gd name="T25" fmla="*/ 20 h 342"/>
                  <a:gd name="T26" fmla="*/ 0 w 820"/>
                  <a:gd name="T27" fmla="*/ 47 h 342"/>
                  <a:gd name="T28" fmla="*/ 11 w 820"/>
                  <a:gd name="T29" fmla="*/ 95 h 342"/>
                  <a:gd name="T30" fmla="*/ 68 w 820"/>
                  <a:gd name="T31" fmla="*/ 179 h 342"/>
                  <a:gd name="T32" fmla="*/ 178 w 820"/>
                  <a:gd name="T33" fmla="*/ 261 h 342"/>
                  <a:gd name="T34" fmla="*/ 186 w 820"/>
                  <a:gd name="T35" fmla="*/ 247 h 342"/>
                  <a:gd name="T36" fmla="*/ 56 w 820"/>
                  <a:gd name="T37" fmla="*/ 141 h 342"/>
                  <a:gd name="T38" fmla="*/ 26 w 820"/>
                  <a:gd name="T39" fmla="*/ 89 h 342"/>
                  <a:gd name="T40" fmla="*/ 16 w 820"/>
                  <a:gd name="T41" fmla="*/ 47 h 342"/>
                  <a:gd name="T42" fmla="*/ 22 w 820"/>
                  <a:gd name="T43" fmla="*/ 23 h 342"/>
                  <a:gd name="T44" fmla="*/ 30 w 820"/>
                  <a:gd name="T45" fmla="*/ 18 h 342"/>
                  <a:gd name="T46" fmla="*/ 40 w 820"/>
                  <a:gd name="T47" fmla="*/ 16 h 342"/>
                  <a:gd name="T48" fmla="*/ 70 w 820"/>
                  <a:gd name="T49" fmla="*/ 24 h 342"/>
                  <a:gd name="T50" fmla="*/ 112 w 820"/>
                  <a:gd name="T51" fmla="*/ 54 h 342"/>
                  <a:gd name="T52" fmla="*/ 439 w 820"/>
                  <a:gd name="T53" fmla="*/ 255 h 342"/>
                  <a:gd name="T54" fmla="*/ 600 w 820"/>
                  <a:gd name="T55" fmla="*/ 318 h 342"/>
                  <a:gd name="T56" fmla="*/ 666 w 820"/>
                  <a:gd name="T57" fmla="*/ 336 h 342"/>
                  <a:gd name="T58" fmla="*/ 718 w 820"/>
                  <a:gd name="T59" fmla="*/ 342 h 342"/>
                  <a:gd name="T60" fmla="*/ 773 w 820"/>
                  <a:gd name="T61" fmla="*/ 327 h 342"/>
                  <a:gd name="T62" fmla="*/ 798 w 820"/>
                  <a:gd name="T63" fmla="*/ 300 h 342"/>
                  <a:gd name="T64" fmla="*/ 816 w 820"/>
                  <a:gd name="T65" fmla="*/ 251 h 342"/>
                  <a:gd name="T66" fmla="*/ 820 w 820"/>
                  <a:gd name="T67" fmla="*/ 208 h 342"/>
                  <a:gd name="T68" fmla="*/ 819 w 820"/>
                  <a:gd name="T69" fmla="*/ 186 h 342"/>
                  <a:gd name="T70" fmla="*/ 803 w 820"/>
                  <a:gd name="T71" fmla="*/ 188 h 342"/>
                  <a:gd name="T72" fmla="*/ 803 w 820"/>
                  <a:gd name="T73" fmla="*/ 18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0" h="342">
                    <a:moveTo>
                      <a:pt x="803" y="188"/>
                    </a:moveTo>
                    <a:cubicBezTo>
                      <a:pt x="803" y="188"/>
                      <a:pt x="803" y="188"/>
                      <a:pt x="803" y="188"/>
                    </a:cubicBezTo>
                    <a:cubicBezTo>
                      <a:pt x="803" y="188"/>
                      <a:pt x="804" y="196"/>
                      <a:pt x="804" y="208"/>
                    </a:cubicBezTo>
                    <a:cubicBezTo>
                      <a:pt x="804" y="227"/>
                      <a:pt x="801" y="258"/>
                      <a:pt x="789" y="283"/>
                    </a:cubicBezTo>
                    <a:cubicBezTo>
                      <a:pt x="783" y="295"/>
                      <a:pt x="775" y="306"/>
                      <a:pt x="764" y="314"/>
                    </a:cubicBezTo>
                    <a:cubicBezTo>
                      <a:pt x="752" y="321"/>
                      <a:pt x="737" y="326"/>
                      <a:pt x="718" y="326"/>
                    </a:cubicBezTo>
                    <a:cubicBezTo>
                      <a:pt x="705" y="326"/>
                      <a:pt x="688" y="324"/>
                      <a:pt x="669" y="320"/>
                    </a:cubicBezTo>
                    <a:cubicBezTo>
                      <a:pt x="602" y="307"/>
                      <a:pt x="503" y="270"/>
                      <a:pt x="403" y="220"/>
                    </a:cubicBezTo>
                    <a:cubicBezTo>
                      <a:pt x="302" y="170"/>
                      <a:pt x="199" y="107"/>
                      <a:pt x="123" y="42"/>
                    </a:cubicBezTo>
                    <a:cubicBezTo>
                      <a:pt x="106" y="27"/>
                      <a:pt x="91" y="17"/>
                      <a:pt x="77" y="10"/>
                    </a:cubicBezTo>
                    <a:cubicBezTo>
                      <a:pt x="63" y="3"/>
                      <a:pt x="51" y="0"/>
                      <a:pt x="40" y="0"/>
                    </a:cubicBezTo>
                    <a:cubicBezTo>
                      <a:pt x="34" y="0"/>
                      <a:pt x="28" y="1"/>
                      <a:pt x="23" y="3"/>
                    </a:cubicBezTo>
                    <a:cubicBezTo>
                      <a:pt x="15" y="7"/>
                      <a:pt x="9" y="13"/>
                      <a:pt x="6" y="20"/>
                    </a:cubicBezTo>
                    <a:cubicBezTo>
                      <a:pt x="2" y="28"/>
                      <a:pt x="0" y="37"/>
                      <a:pt x="0" y="47"/>
                    </a:cubicBezTo>
                    <a:cubicBezTo>
                      <a:pt x="0" y="61"/>
                      <a:pt x="4" y="77"/>
                      <a:pt x="11" y="95"/>
                    </a:cubicBezTo>
                    <a:cubicBezTo>
                      <a:pt x="21" y="121"/>
                      <a:pt x="40" y="150"/>
                      <a:pt x="68" y="179"/>
                    </a:cubicBezTo>
                    <a:cubicBezTo>
                      <a:pt x="96" y="208"/>
                      <a:pt x="132" y="237"/>
                      <a:pt x="178" y="261"/>
                    </a:cubicBezTo>
                    <a:cubicBezTo>
                      <a:pt x="186" y="247"/>
                      <a:pt x="186" y="247"/>
                      <a:pt x="186" y="247"/>
                    </a:cubicBezTo>
                    <a:cubicBezTo>
                      <a:pt x="126" y="215"/>
                      <a:pt x="84" y="177"/>
                      <a:pt x="56" y="141"/>
                    </a:cubicBezTo>
                    <a:cubicBezTo>
                      <a:pt x="42" y="122"/>
                      <a:pt x="32" y="105"/>
                      <a:pt x="26" y="89"/>
                    </a:cubicBezTo>
                    <a:cubicBezTo>
                      <a:pt x="19" y="72"/>
                      <a:pt x="16" y="58"/>
                      <a:pt x="16" y="47"/>
                    </a:cubicBezTo>
                    <a:cubicBezTo>
                      <a:pt x="16" y="36"/>
                      <a:pt x="19" y="28"/>
                      <a:pt x="22" y="23"/>
                    </a:cubicBezTo>
                    <a:cubicBezTo>
                      <a:pt x="24" y="21"/>
                      <a:pt x="27" y="19"/>
                      <a:pt x="30" y="18"/>
                    </a:cubicBezTo>
                    <a:cubicBezTo>
                      <a:pt x="32" y="17"/>
                      <a:pt x="36" y="16"/>
                      <a:pt x="40" y="16"/>
                    </a:cubicBezTo>
                    <a:cubicBezTo>
                      <a:pt x="48" y="16"/>
                      <a:pt x="58" y="18"/>
                      <a:pt x="70" y="24"/>
                    </a:cubicBezTo>
                    <a:cubicBezTo>
                      <a:pt x="82" y="30"/>
                      <a:pt x="96" y="40"/>
                      <a:pt x="112" y="54"/>
                    </a:cubicBezTo>
                    <a:cubicBezTo>
                      <a:pt x="201" y="130"/>
                      <a:pt x="324" y="202"/>
                      <a:pt x="439" y="255"/>
                    </a:cubicBezTo>
                    <a:cubicBezTo>
                      <a:pt x="496" y="282"/>
                      <a:pt x="552" y="303"/>
                      <a:pt x="600" y="318"/>
                    </a:cubicBezTo>
                    <a:cubicBezTo>
                      <a:pt x="624" y="326"/>
                      <a:pt x="646" y="332"/>
                      <a:pt x="666" y="336"/>
                    </a:cubicBezTo>
                    <a:cubicBezTo>
                      <a:pt x="686" y="340"/>
                      <a:pt x="703" y="342"/>
                      <a:pt x="718" y="342"/>
                    </a:cubicBezTo>
                    <a:cubicBezTo>
                      <a:pt x="740" y="342"/>
                      <a:pt x="758" y="337"/>
                      <a:pt x="773" y="327"/>
                    </a:cubicBezTo>
                    <a:cubicBezTo>
                      <a:pt x="783" y="320"/>
                      <a:pt x="791" y="310"/>
                      <a:pt x="798" y="300"/>
                    </a:cubicBezTo>
                    <a:cubicBezTo>
                      <a:pt x="807" y="285"/>
                      <a:pt x="813" y="268"/>
                      <a:pt x="816" y="251"/>
                    </a:cubicBezTo>
                    <a:cubicBezTo>
                      <a:pt x="819" y="235"/>
                      <a:pt x="820" y="219"/>
                      <a:pt x="820" y="208"/>
                    </a:cubicBezTo>
                    <a:cubicBezTo>
                      <a:pt x="820" y="195"/>
                      <a:pt x="819" y="186"/>
                      <a:pt x="819" y="186"/>
                    </a:cubicBezTo>
                    <a:cubicBezTo>
                      <a:pt x="803" y="188"/>
                      <a:pt x="803" y="188"/>
                      <a:pt x="803" y="188"/>
                    </a:cubicBezTo>
                    <a:cubicBezTo>
                      <a:pt x="803" y="188"/>
                      <a:pt x="803" y="188"/>
                      <a:pt x="803" y="188"/>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0" name="Freeform 1321">
                <a:extLst>
                  <a:ext uri="{FF2B5EF4-FFF2-40B4-BE49-F238E27FC236}">
                    <a16:creationId xmlns:a16="http://schemas.microsoft.com/office/drawing/2014/main" id="{52C9B0F3-41EF-4C2C-8B46-73BBFDC3A802}"/>
                  </a:ext>
                </a:extLst>
              </p:cNvPr>
              <p:cNvSpPr>
                <a:spLocks/>
              </p:cNvSpPr>
              <p:nvPr/>
            </p:nvSpPr>
            <p:spPr bwMode="auto">
              <a:xfrm>
                <a:off x="16779875" y="1072659"/>
                <a:ext cx="388937" cy="527050"/>
              </a:xfrm>
              <a:custGeom>
                <a:avLst/>
                <a:gdLst>
                  <a:gd name="T0" fmla="*/ 75 w 263"/>
                  <a:gd name="T1" fmla="*/ 358 h 358"/>
                  <a:gd name="T2" fmla="*/ 263 w 263"/>
                  <a:gd name="T3" fmla="*/ 36 h 358"/>
                  <a:gd name="T4" fmla="*/ 244 w 263"/>
                  <a:gd name="T5" fmla="*/ 25 h 358"/>
                  <a:gd name="T6" fmla="*/ 220 w 263"/>
                  <a:gd name="T7" fmla="*/ 11 h 358"/>
                  <a:gd name="T8" fmla="*/ 219 w 263"/>
                  <a:gd name="T9" fmla="*/ 10 h 358"/>
                  <a:gd name="T10" fmla="*/ 169 w 263"/>
                  <a:gd name="T11" fmla="*/ 23 h 358"/>
                  <a:gd name="T12" fmla="*/ 0 w 263"/>
                  <a:gd name="T13" fmla="*/ 314 h 358"/>
                  <a:gd name="T14" fmla="*/ 75 w 263"/>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358">
                    <a:moveTo>
                      <a:pt x="75" y="358"/>
                    </a:moveTo>
                    <a:cubicBezTo>
                      <a:pt x="263" y="36"/>
                      <a:pt x="263" y="36"/>
                      <a:pt x="263" y="36"/>
                    </a:cubicBezTo>
                    <a:cubicBezTo>
                      <a:pt x="244" y="25"/>
                      <a:pt x="244" y="25"/>
                      <a:pt x="244" y="25"/>
                    </a:cubicBezTo>
                    <a:cubicBezTo>
                      <a:pt x="220" y="11"/>
                      <a:pt x="220" y="11"/>
                      <a:pt x="220" y="11"/>
                    </a:cubicBezTo>
                    <a:cubicBezTo>
                      <a:pt x="219" y="10"/>
                      <a:pt x="219" y="10"/>
                      <a:pt x="219" y="10"/>
                    </a:cubicBezTo>
                    <a:cubicBezTo>
                      <a:pt x="201" y="0"/>
                      <a:pt x="179" y="6"/>
                      <a:pt x="169" y="23"/>
                    </a:cubicBezTo>
                    <a:cubicBezTo>
                      <a:pt x="0" y="314"/>
                      <a:pt x="0" y="314"/>
                      <a:pt x="0" y="314"/>
                    </a:cubicBezTo>
                    <a:cubicBezTo>
                      <a:pt x="75" y="358"/>
                      <a:pt x="75" y="358"/>
                      <a:pt x="75" y="3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1" name="Freeform 1322">
                <a:extLst>
                  <a:ext uri="{FF2B5EF4-FFF2-40B4-BE49-F238E27FC236}">
                    <a16:creationId xmlns:a16="http://schemas.microsoft.com/office/drawing/2014/main" id="{4968E219-958B-4C5C-8D22-8996ED85ECEF}"/>
                  </a:ext>
                </a:extLst>
              </p:cNvPr>
              <p:cNvSpPr>
                <a:spLocks/>
              </p:cNvSpPr>
              <p:nvPr/>
            </p:nvSpPr>
            <p:spPr bwMode="auto">
              <a:xfrm>
                <a:off x="16860838" y="1764809"/>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 name="Line 1323">
                <a:extLst>
                  <a:ext uri="{FF2B5EF4-FFF2-40B4-BE49-F238E27FC236}">
                    <a16:creationId xmlns:a16="http://schemas.microsoft.com/office/drawing/2014/main" id="{EF3A68AF-C697-467D-A67B-AEC5EA2DB632}"/>
                  </a:ext>
                </a:extLst>
              </p:cNvPr>
              <p:cNvSpPr>
                <a:spLocks noChangeShapeType="1"/>
              </p:cNvSpPr>
              <p:nvPr/>
            </p:nvSpPr>
            <p:spPr bwMode="auto">
              <a:xfrm flipH="1">
                <a:off x="16860838" y="1764809"/>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3" name="Freeform 1324">
                <a:extLst>
                  <a:ext uri="{FF2B5EF4-FFF2-40B4-BE49-F238E27FC236}">
                    <a16:creationId xmlns:a16="http://schemas.microsoft.com/office/drawing/2014/main" id="{BF07C359-E4CF-42B7-BC9A-C937F9F72C05}"/>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4" name="Freeform 1325">
                <a:extLst>
                  <a:ext uri="{FF2B5EF4-FFF2-40B4-BE49-F238E27FC236}">
                    <a16:creationId xmlns:a16="http://schemas.microsoft.com/office/drawing/2014/main" id="{5B42F090-8006-46D7-B630-356BD866BE66}"/>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5" name="Freeform 1326">
                <a:extLst>
                  <a:ext uri="{FF2B5EF4-FFF2-40B4-BE49-F238E27FC236}">
                    <a16:creationId xmlns:a16="http://schemas.microsoft.com/office/drawing/2014/main" id="{EF58B3EA-EC7B-4621-8FF0-3845A4E62F3A}"/>
                  </a:ext>
                </a:extLst>
              </p:cNvPr>
              <p:cNvSpPr>
                <a:spLocks/>
              </p:cNvSpPr>
              <p:nvPr/>
            </p:nvSpPr>
            <p:spPr bwMode="auto">
              <a:xfrm>
                <a:off x="16824325" y="1809259"/>
                <a:ext cx="3175" cy="3175"/>
              </a:xfrm>
              <a:custGeom>
                <a:avLst/>
                <a:gdLst>
                  <a:gd name="T0" fmla="*/ 3 w 3"/>
                  <a:gd name="T1" fmla="*/ 0 h 2"/>
                  <a:gd name="T2" fmla="*/ 0 w 3"/>
                  <a:gd name="T3" fmla="*/ 1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1"/>
                      <a:pt x="0" y="1"/>
                    </a:cubicBezTo>
                    <a:cubicBezTo>
                      <a:pt x="0" y="2"/>
                      <a:pt x="0" y="2"/>
                      <a:pt x="0" y="2"/>
                    </a:cubicBezTo>
                    <a:cubicBezTo>
                      <a:pt x="3" y="0"/>
                      <a:pt x="3" y="0"/>
                      <a:pt x="3"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6" name="Freeform 1327">
                <a:extLst>
                  <a:ext uri="{FF2B5EF4-FFF2-40B4-BE49-F238E27FC236}">
                    <a16:creationId xmlns:a16="http://schemas.microsoft.com/office/drawing/2014/main" id="{F91E3C0B-BD3F-4916-8742-BC708EBDBE7D}"/>
                  </a:ext>
                </a:extLst>
              </p:cNvPr>
              <p:cNvSpPr>
                <a:spLocks/>
              </p:cNvSpPr>
              <p:nvPr/>
            </p:nvSpPr>
            <p:spPr bwMode="auto">
              <a:xfrm>
                <a:off x="16575088" y="1488584"/>
                <a:ext cx="530225" cy="431800"/>
              </a:xfrm>
              <a:custGeom>
                <a:avLst/>
                <a:gdLst>
                  <a:gd name="T0" fmla="*/ 358 w 358"/>
                  <a:gd name="T1" fmla="*/ 62 h 294"/>
                  <a:gd name="T2" fmla="*/ 206 w 358"/>
                  <a:gd name="T3" fmla="*/ 0 h 294"/>
                  <a:gd name="T4" fmla="*/ 32 w 358"/>
                  <a:gd name="T5" fmla="*/ 184 h 294"/>
                  <a:gd name="T6" fmla="*/ 32 w 358"/>
                  <a:gd name="T7" fmla="*/ 184 h 294"/>
                  <a:gd name="T8" fmla="*/ 32 w 358"/>
                  <a:gd name="T9" fmla="*/ 184 h 294"/>
                  <a:gd name="T10" fmla="*/ 73 w 358"/>
                  <a:gd name="T11" fmla="*/ 294 h 294"/>
                  <a:gd name="T12" fmla="*/ 358 w 358"/>
                  <a:gd name="T13" fmla="*/ 62 h 294"/>
                </a:gdLst>
                <a:ahLst/>
                <a:cxnLst>
                  <a:cxn ang="0">
                    <a:pos x="T0" y="T1"/>
                  </a:cxn>
                  <a:cxn ang="0">
                    <a:pos x="T2" y="T3"/>
                  </a:cxn>
                  <a:cxn ang="0">
                    <a:pos x="T4" y="T5"/>
                  </a:cxn>
                  <a:cxn ang="0">
                    <a:pos x="T6" y="T7"/>
                  </a:cxn>
                  <a:cxn ang="0">
                    <a:pos x="T8" y="T9"/>
                  </a:cxn>
                  <a:cxn ang="0">
                    <a:pos x="T10" y="T11"/>
                  </a:cxn>
                  <a:cxn ang="0">
                    <a:pos x="T12" y="T13"/>
                  </a:cxn>
                </a:cxnLst>
                <a:rect l="0" t="0" r="r" b="b"/>
                <a:pathLst>
                  <a:path w="358" h="294">
                    <a:moveTo>
                      <a:pt x="358" y="62"/>
                    </a:moveTo>
                    <a:cubicBezTo>
                      <a:pt x="206" y="0"/>
                      <a:pt x="206" y="0"/>
                      <a:pt x="206" y="0"/>
                    </a:cubicBezTo>
                    <a:cubicBezTo>
                      <a:pt x="32" y="184"/>
                      <a:pt x="32" y="184"/>
                      <a:pt x="32" y="184"/>
                    </a:cubicBezTo>
                    <a:cubicBezTo>
                      <a:pt x="32" y="184"/>
                      <a:pt x="32" y="184"/>
                      <a:pt x="32" y="184"/>
                    </a:cubicBezTo>
                    <a:cubicBezTo>
                      <a:pt x="32" y="184"/>
                      <a:pt x="32" y="184"/>
                      <a:pt x="32" y="184"/>
                    </a:cubicBezTo>
                    <a:cubicBezTo>
                      <a:pt x="29" y="190"/>
                      <a:pt x="0" y="255"/>
                      <a:pt x="73" y="294"/>
                    </a:cubicBezTo>
                    <a:cubicBezTo>
                      <a:pt x="358" y="62"/>
                      <a:pt x="358" y="62"/>
                      <a:pt x="358" y="6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7" name="Freeform 1328">
                <a:extLst>
                  <a:ext uri="{FF2B5EF4-FFF2-40B4-BE49-F238E27FC236}">
                    <a16:creationId xmlns:a16="http://schemas.microsoft.com/office/drawing/2014/main" id="{149AA11C-4499-43C2-BA06-99DD960BC11F}"/>
                  </a:ext>
                </a:extLst>
              </p:cNvPr>
              <p:cNvSpPr>
                <a:spLocks/>
              </p:cNvSpPr>
              <p:nvPr/>
            </p:nvSpPr>
            <p:spPr bwMode="auto">
              <a:xfrm>
                <a:off x="16179800" y="1556846"/>
                <a:ext cx="442912" cy="327025"/>
              </a:xfrm>
              <a:custGeom>
                <a:avLst/>
                <a:gdLst>
                  <a:gd name="T0" fmla="*/ 242 w 299"/>
                  <a:gd name="T1" fmla="*/ 222 h 222"/>
                  <a:gd name="T2" fmla="*/ 299 w 299"/>
                  <a:gd name="T3" fmla="*/ 137 h 222"/>
                  <a:gd name="T4" fmla="*/ 298 w 299"/>
                  <a:gd name="T5" fmla="*/ 137 h 222"/>
                  <a:gd name="T6" fmla="*/ 299 w 299"/>
                  <a:gd name="T7" fmla="*/ 137 h 222"/>
                  <a:gd name="T8" fmla="*/ 152 w 299"/>
                  <a:gd name="T9" fmla="*/ 36 h 222"/>
                  <a:gd name="T10" fmla="*/ 116 w 299"/>
                  <a:gd name="T11" fmla="*/ 8 h 222"/>
                  <a:gd name="T12" fmla="*/ 99 w 299"/>
                  <a:gd name="T13" fmla="*/ 10 h 222"/>
                  <a:gd name="T14" fmla="*/ 7 w 299"/>
                  <a:gd name="T15" fmla="*/ 130 h 222"/>
                  <a:gd name="T16" fmla="*/ 8 w 299"/>
                  <a:gd name="T17" fmla="*/ 143 h 222"/>
                  <a:gd name="T18" fmla="*/ 27 w 299"/>
                  <a:gd name="T19" fmla="*/ 158 h 222"/>
                  <a:gd name="T20" fmla="*/ 125 w 299"/>
                  <a:gd name="T21" fmla="*/ 113 h 222"/>
                  <a:gd name="T22" fmla="*/ 242 w 299"/>
                  <a:gd name="T23"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9" h="222">
                    <a:moveTo>
                      <a:pt x="242" y="222"/>
                    </a:moveTo>
                    <a:cubicBezTo>
                      <a:pt x="249" y="177"/>
                      <a:pt x="294" y="141"/>
                      <a:pt x="299" y="137"/>
                    </a:cubicBezTo>
                    <a:cubicBezTo>
                      <a:pt x="298" y="137"/>
                      <a:pt x="298" y="137"/>
                      <a:pt x="298" y="137"/>
                    </a:cubicBezTo>
                    <a:cubicBezTo>
                      <a:pt x="299" y="137"/>
                      <a:pt x="299" y="137"/>
                      <a:pt x="299" y="137"/>
                    </a:cubicBezTo>
                    <a:cubicBezTo>
                      <a:pt x="152" y="36"/>
                      <a:pt x="152" y="36"/>
                      <a:pt x="152" y="3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48" y="174"/>
                      <a:pt x="113" y="127"/>
                      <a:pt x="125" y="113"/>
                    </a:cubicBezTo>
                    <a:cubicBezTo>
                      <a:pt x="242" y="222"/>
                      <a:pt x="242" y="222"/>
                      <a:pt x="242"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8" name="Freeform 1329">
                <a:extLst>
                  <a:ext uri="{FF2B5EF4-FFF2-40B4-BE49-F238E27FC236}">
                    <a16:creationId xmlns:a16="http://schemas.microsoft.com/office/drawing/2014/main" id="{3C4A9818-20DC-41F0-85BE-99F629BC26FF}"/>
                  </a:ext>
                </a:extLst>
              </p:cNvPr>
              <p:cNvSpPr>
                <a:spLocks/>
              </p:cNvSpPr>
              <p:nvPr/>
            </p:nvSpPr>
            <p:spPr bwMode="auto">
              <a:xfrm>
                <a:off x="16179800" y="1556846"/>
                <a:ext cx="185737" cy="239712"/>
              </a:xfrm>
              <a:custGeom>
                <a:avLst/>
                <a:gdLst>
                  <a:gd name="T0" fmla="*/ 39 w 126"/>
                  <a:gd name="T1" fmla="*/ 143 h 163"/>
                  <a:gd name="T2" fmla="*/ 40 w 126"/>
                  <a:gd name="T3" fmla="*/ 143 h 163"/>
                  <a:gd name="T4" fmla="*/ 39 w 126"/>
                  <a:gd name="T5" fmla="*/ 143 h 163"/>
                  <a:gd name="T6" fmla="*/ 38 w 126"/>
                  <a:gd name="T7" fmla="*/ 130 h 163"/>
                  <a:gd name="T8" fmla="*/ 126 w 126"/>
                  <a:gd name="T9" fmla="*/ 16 h 163"/>
                  <a:gd name="T10" fmla="*/ 116 w 126"/>
                  <a:gd name="T11" fmla="*/ 8 h 163"/>
                  <a:gd name="T12" fmla="*/ 99 w 126"/>
                  <a:gd name="T13" fmla="*/ 10 h 163"/>
                  <a:gd name="T14" fmla="*/ 7 w 126"/>
                  <a:gd name="T15" fmla="*/ 130 h 163"/>
                  <a:gd name="T16" fmla="*/ 8 w 126"/>
                  <a:gd name="T17" fmla="*/ 143 h 163"/>
                  <a:gd name="T18" fmla="*/ 27 w 126"/>
                  <a:gd name="T19" fmla="*/ 158 h 163"/>
                  <a:gd name="T20" fmla="*/ 58 w 126"/>
                  <a:gd name="T21" fmla="*/ 157 h 163"/>
                  <a:gd name="T22" fmla="*/ 39 w 126"/>
                  <a:gd name="T23" fmla="*/ 14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63">
                    <a:moveTo>
                      <a:pt x="39" y="143"/>
                    </a:moveTo>
                    <a:cubicBezTo>
                      <a:pt x="40" y="143"/>
                      <a:pt x="40" y="143"/>
                      <a:pt x="40" y="143"/>
                    </a:cubicBezTo>
                    <a:cubicBezTo>
                      <a:pt x="39" y="143"/>
                      <a:pt x="39" y="143"/>
                      <a:pt x="39" y="143"/>
                    </a:cubicBezTo>
                    <a:cubicBezTo>
                      <a:pt x="31" y="136"/>
                      <a:pt x="38" y="130"/>
                      <a:pt x="38" y="130"/>
                    </a:cubicBezTo>
                    <a:cubicBezTo>
                      <a:pt x="126" y="16"/>
                      <a:pt x="126" y="16"/>
                      <a:pt x="126" y="1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34" y="163"/>
                      <a:pt x="45" y="162"/>
                      <a:pt x="58" y="157"/>
                    </a:cubicBezTo>
                    <a:cubicBezTo>
                      <a:pt x="39" y="143"/>
                      <a:pt x="39" y="143"/>
                      <a:pt x="39" y="143"/>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9" name="Freeform 1330">
                <a:extLst>
                  <a:ext uri="{FF2B5EF4-FFF2-40B4-BE49-F238E27FC236}">
                    <a16:creationId xmlns:a16="http://schemas.microsoft.com/office/drawing/2014/main" id="{38B0FC4A-6FFC-483B-960B-35370CFDF9E6}"/>
                  </a:ext>
                </a:extLst>
              </p:cNvPr>
              <p:cNvSpPr>
                <a:spLocks/>
              </p:cNvSpPr>
              <p:nvPr/>
            </p:nvSpPr>
            <p:spPr bwMode="auto">
              <a:xfrm>
                <a:off x="16670338" y="1723534"/>
                <a:ext cx="176212" cy="165100"/>
              </a:xfrm>
              <a:custGeom>
                <a:avLst/>
                <a:gdLst>
                  <a:gd name="T0" fmla="*/ 79 w 120"/>
                  <a:gd name="T1" fmla="*/ 0 h 112"/>
                  <a:gd name="T2" fmla="*/ 72 w 120"/>
                  <a:gd name="T3" fmla="*/ 2 h 112"/>
                  <a:gd name="T4" fmla="*/ 5 w 120"/>
                  <a:gd name="T5" fmla="*/ 56 h 112"/>
                  <a:gd name="T6" fmla="*/ 4 w 120"/>
                  <a:gd name="T7" fmla="*/ 72 h 112"/>
                  <a:gd name="T8" fmla="*/ 27 w 120"/>
                  <a:gd name="T9" fmla="*/ 102 h 112"/>
                  <a:gd name="T10" fmla="*/ 36 w 120"/>
                  <a:gd name="T11" fmla="*/ 112 h 112"/>
                  <a:gd name="T12" fmla="*/ 45 w 120"/>
                  <a:gd name="T13" fmla="*/ 104 h 112"/>
                  <a:gd name="T14" fmla="*/ 19 w 120"/>
                  <a:gd name="T15" fmla="*/ 71 h 112"/>
                  <a:gd name="T16" fmla="*/ 20 w 120"/>
                  <a:gd name="T17" fmla="*/ 57 h 112"/>
                  <a:gd name="T18" fmla="*/ 27 w 120"/>
                  <a:gd name="T19" fmla="*/ 55 h 112"/>
                  <a:gd name="T20" fmla="*/ 34 w 120"/>
                  <a:gd name="T21" fmla="*/ 59 h 112"/>
                  <a:gd name="T22" fmla="*/ 61 w 120"/>
                  <a:gd name="T23" fmla="*/ 92 h 112"/>
                  <a:gd name="T24" fmla="*/ 70 w 120"/>
                  <a:gd name="T25" fmla="*/ 84 h 112"/>
                  <a:gd name="T26" fmla="*/ 44 w 120"/>
                  <a:gd name="T27" fmla="*/ 51 h 112"/>
                  <a:gd name="T28" fmla="*/ 45 w 120"/>
                  <a:gd name="T29" fmla="*/ 37 h 112"/>
                  <a:gd name="T30" fmla="*/ 51 w 120"/>
                  <a:gd name="T31" fmla="*/ 35 h 112"/>
                  <a:gd name="T32" fmla="*/ 59 w 120"/>
                  <a:gd name="T33" fmla="*/ 39 h 112"/>
                  <a:gd name="T34" fmla="*/ 86 w 120"/>
                  <a:gd name="T35" fmla="*/ 72 h 112"/>
                  <a:gd name="T36" fmla="*/ 95 w 120"/>
                  <a:gd name="T37" fmla="*/ 64 h 112"/>
                  <a:gd name="T38" fmla="*/ 69 w 120"/>
                  <a:gd name="T39" fmla="*/ 31 h 112"/>
                  <a:gd name="T40" fmla="*/ 70 w 120"/>
                  <a:gd name="T41" fmla="*/ 17 h 112"/>
                  <a:gd name="T42" fmla="*/ 76 w 120"/>
                  <a:gd name="T43" fmla="*/ 15 h 112"/>
                  <a:gd name="T44" fmla="*/ 84 w 120"/>
                  <a:gd name="T45" fmla="*/ 19 h 112"/>
                  <a:gd name="T46" fmla="*/ 110 w 120"/>
                  <a:gd name="T47" fmla="*/ 51 h 112"/>
                  <a:gd name="T48" fmla="*/ 120 w 120"/>
                  <a:gd name="T49" fmla="*/ 44 h 112"/>
                  <a:gd name="T50" fmla="*/ 88 w 120"/>
                  <a:gd name="T51" fmla="*/ 4 h 112"/>
                  <a:gd name="T52" fmla="*/ 79 w 120"/>
                  <a:gd name="T5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12">
                    <a:moveTo>
                      <a:pt x="79" y="0"/>
                    </a:moveTo>
                    <a:cubicBezTo>
                      <a:pt x="77" y="0"/>
                      <a:pt x="74" y="1"/>
                      <a:pt x="72" y="2"/>
                    </a:cubicBezTo>
                    <a:cubicBezTo>
                      <a:pt x="5" y="56"/>
                      <a:pt x="5" y="56"/>
                      <a:pt x="5" y="56"/>
                    </a:cubicBezTo>
                    <a:cubicBezTo>
                      <a:pt x="0" y="60"/>
                      <a:pt x="0" y="67"/>
                      <a:pt x="4" y="72"/>
                    </a:cubicBezTo>
                    <a:cubicBezTo>
                      <a:pt x="27" y="102"/>
                      <a:pt x="27" y="102"/>
                      <a:pt x="27" y="102"/>
                    </a:cubicBezTo>
                    <a:cubicBezTo>
                      <a:pt x="36" y="112"/>
                      <a:pt x="36" y="112"/>
                      <a:pt x="36" y="112"/>
                    </a:cubicBezTo>
                    <a:cubicBezTo>
                      <a:pt x="45" y="104"/>
                      <a:pt x="45" y="104"/>
                      <a:pt x="45" y="104"/>
                    </a:cubicBezTo>
                    <a:cubicBezTo>
                      <a:pt x="19" y="71"/>
                      <a:pt x="19" y="71"/>
                      <a:pt x="19" y="71"/>
                    </a:cubicBezTo>
                    <a:cubicBezTo>
                      <a:pt x="15" y="67"/>
                      <a:pt x="16" y="61"/>
                      <a:pt x="20" y="57"/>
                    </a:cubicBezTo>
                    <a:cubicBezTo>
                      <a:pt x="22" y="56"/>
                      <a:pt x="24" y="55"/>
                      <a:pt x="27" y="55"/>
                    </a:cubicBezTo>
                    <a:cubicBezTo>
                      <a:pt x="30" y="55"/>
                      <a:pt x="32" y="56"/>
                      <a:pt x="34" y="59"/>
                    </a:cubicBezTo>
                    <a:cubicBezTo>
                      <a:pt x="61" y="92"/>
                      <a:pt x="61" y="92"/>
                      <a:pt x="61" y="92"/>
                    </a:cubicBezTo>
                    <a:cubicBezTo>
                      <a:pt x="70" y="84"/>
                      <a:pt x="70" y="84"/>
                      <a:pt x="70" y="84"/>
                    </a:cubicBezTo>
                    <a:cubicBezTo>
                      <a:pt x="44" y="51"/>
                      <a:pt x="44" y="51"/>
                      <a:pt x="44" y="51"/>
                    </a:cubicBezTo>
                    <a:cubicBezTo>
                      <a:pt x="40" y="47"/>
                      <a:pt x="41" y="41"/>
                      <a:pt x="45" y="37"/>
                    </a:cubicBezTo>
                    <a:cubicBezTo>
                      <a:pt x="47" y="36"/>
                      <a:pt x="49" y="35"/>
                      <a:pt x="51" y="35"/>
                    </a:cubicBezTo>
                    <a:cubicBezTo>
                      <a:pt x="54" y="35"/>
                      <a:pt x="57" y="36"/>
                      <a:pt x="59" y="39"/>
                    </a:cubicBezTo>
                    <a:cubicBezTo>
                      <a:pt x="86" y="72"/>
                      <a:pt x="86" y="72"/>
                      <a:pt x="86" y="72"/>
                    </a:cubicBezTo>
                    <a:cubicBezTo>
                      <a:pt x="95" y="64"/>
                      <a:pt x="95" y="64"/>
                      <a:pt x="95" y="64"/>
                    </a:cubicBezTo>
                    <a:cubicBezTo>
                      <a:pt x="69" y="31"/>
                      <a:pt x="69" y="31"/>
                      <a:pt x="69" y="31"/>
                    </a:cubicBezTo>
                    <a:cubicBezTo>
                      <a:pt x="65" y="27"/>
                      <a:pt x="66" y="21"/>
                      <a:pt x="70" y="17"/>
                    </a:cubicBezTo>
                    <a:cubicBezTo>
                      <a:pt x="72" y="16"/>
                      <a:pt x="74" y="15"/>
                      <a:pt x="76" y="15"/>
                    </a:cubicBezTo>
                    <a:cubicBezTo>
                      <a:pt x="79" y="15"/>
                      <a:pt x="82" y="16"/>
                      <a:pt x="84" y="19"/>
                    </a:cubicBezTo>
                    <a:cubicBezTo>
                      <a:pt x="110" y="51"/>
                      <a:pt x="110" y="51"/>
                      <a:pt x="110" y="51"/>
                    </a:cubicBezTo>
                    <a:cubicBezTo>
                      <a:pt x="120" y="44"/>
                      <a:pt x="120" y="44"/>
                      <a:pt x="120" y="44"/>
                    </a:cubicBezTo>
                    <a:cubicBezTo>
                      <a:pt x="88" y="4"/>
                      <a:pt x="88" y="4"/>
                      <a:pt x="88" y="4"/>
                    </a:cubicBezTo>
                    <a:cubicBezTo>
                      <a:pt x="86" y="1"/>
                      <a:pt x="82" y="0"/>
                      <a:pt x="79"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0" name="Freeform 1331">
                <a:extLst>
                  <a:ext uri="{FF2B5EF4-FFF2-40B4-BE49-F238E27FC236}">
                    <a16:creationId xmlns:a16="http://schemas.microsoft.com/office/drawing/2014/main" id="{A6597398-E965-4ED2-8E73-FF68313C18D8}"/>
                  </a:ext>
                </a:extLst>
              </p:cNvPr>
              <p:cNvSpPr>
                <a:spLocks/>
              </p:cNvSpPr>
              <p:nvPr/>
            </p:nvSpPr>
            <p:spPr bwMode="auto">
              <a:xfrm>
                <a:off x="16824325" y="1788621"/>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1" name="Line 1332">
                <a:extLst>
                  <a:ext uri="{FF2B5EF4-FFF2-40B4-BE49-F238E27FC236}">
                    <a16:creationId xmlns:a16="http://schemas.microsoft.com/office/drawing/2014/main" id="{5D65DD25-1FAD-4F31-92AB-D32F3E29A274}"/>
                  </a:ext>
                </a:extLst>
              </p:cNvPr>
              <p:cNvSpPr>
                <a:spLocks noChangeShapeType="1"/>
              </p:cNvSpPr>
              <p:nvPr/>
            </p:nvSpPr>
            <p:spPr bwMode="auto">
              <a:xfrm flipH="1">
                <a:off x="16824325" y="1788621"/>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2" name="Freeform 1333">
                <a:extLst>
                  <a:ext uri="{FF2B5EF4-FFF2-40B4-BE49-F238E27FC236}">
                    <a16:creationId xmlns:a16="http://schemas.microsoft.com/office/drawing/2014/main" id="{FBED9851-AFDA-4643-A046-CE8DBD1C4BEF}"/>
                  </a:ext>
                </a:extLst>
              </p:cNvPr>
              <p:cNvSpPr>
                <a:spLocks/>
              </p:cNvSpPr>
              <p:nvPr/>
            </p:nvSpPr>
            <p:spPr bwMode="auto">
              <a:xfrm>
                <a:off x="16787813" y="1817196"/>
                <a:ext cx="22225" cy="19050"/>
              </a:xfrm>
              <a:custGeom>
                <a:avLst/>
                <a:gdLst>
                  <a:gd name="T0" fmla="*/ 14 w 14"/>
                  <a:gd name="T1" fmla="*/ 0 h 12"/>
                  <a:gd name="T2" fmla="*/ 0 w 14"/>
                  <a:gd name="T3" fmla="*/ 12 h 12"/>
                  <a:gd name="T4" fmla="*/ 14 w 14"/>
                  <a:gd name="T5" fmla="*/ 0 h 12"/>
                </a:gdLst>
                <a:ahLst/>
                <a:cxnLst>
                  <a:cxn ang="0">
                    <a:pos x="T0" y="T1"/>
                  </a:cxn>
                  <a:cxn ang="0">
                    <a:pos x="T2" y="T3"/>
                  </a:cxn>
                  <a:cxn ang="0">
                    <a:pos x="T4" y="T5"/>
                  </a:cxn>
                </a:cxnLst>
                <a:rect l="0" t="0" r="r" b="b"/>
                <a:pathLst>
                  <a:path w="14" h="12">
                    <a:moveTo>
                      <a:pt x="14" y="0"/>
                    </a:moveTo>
                    <a:lnTo>
                      <a:pt x="0" y="12"/>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3" name="Line 1334">
                <a:extLst>
                  <a:ext uri="{FF2B5EF4-FFF2-40B4-BE49-F238E27FC236}">
                    <a16:creationId xmlns:a16="http://schemas.microsoft.com/office/drawing/2014/main" id="{1858B2B3-4181-41BB-A19A-C61D867F3B87}"/>
                  </a:ext>
                </a:extLst>
              </p:cNvPr>
              <p:cNvSpPr>
                <a:spLocks noChangeShapeType="1"/>
              </p:cNvSpPr>
              <p:nvPr/>
            </p:nvSpPr>
            <p:spPr bwMode="auto">
              <a:xfrm flipH="1">
                <a:off x="16787813" y="1817196"/>
                <a:ext cx="22225" cy="190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4" name="Freeform 1335">
                <a:extLst>
                  <a:ext uri="{FF2B5EF4-FFF2-40B4-BE49-F238E27FC236}">
                    <a16:creationId xmlns:a16="http://schemas.microsoft.com/office/drawing/2014/main" id="{F614A57B-E0D7-4477-9711-B08A8060D7D2}"/>
                  </a:ext>
                </a:extLst>
              </p:cNvPr>
              <p:cNvSpPr>
                <a:spLocks/>
              </p:cNvSpPr>
              <p:nvPr/>
            </p:nvSpPr>
            <p:spPr bwMode="auto">
              <a:xfrm>
                <a:off x="16538575" y="1758459"/>
                <a:ext cx="144462" cy="188912"/>
              </a:xfrm>
              <a:custGeom>
                <a:avLst/>
                <a:gdLst>
                  <a:gd name="T0" fmla="*/ 90 w 98"/>
                  <a:gd name="T1" fmla="*/ 117 h 128"/>
                  <a:gd name="T2" fmla="*/ 98 w 98"/>
                  <a:gd name="T3" fmla="*/ 110 h 128"/>
                  <a:gd name="T4" fmla="*/ 57 w 98"/>
                  <a:gd name="T5" fmla="*/ 0 h 128"/>
                  <a:gd name="T6" fmla="*/ 0 w 98"/>
                  <a:gd name="T7" fmla="*/ 85 h 128"/>
                  <a:gd name="T8" fmla="*/ 30 w 98"/>
                  <a:gd name="T9" fmla="*/ 113 h 128"/>
                  <a:gd name="T10" fmla="*/ 90 w 98"/>
                  <a:gd name="T11" fmla="*/ 117 h 128"/>
                </a:gdLst>
                <a:ahLst/>
                <a:cxnLst>
                  <a:cxn ang="0">
                    <a:pos x="T0" y="T1"/>
                  </a:cxn>
                  <a:cxn ang="0">
                    <a:pos x="T2" y="T3"/>
                  </a:cxn>
                  <a:cxn ang="0">
                    <a:pos x="T4" y="T5"/>
                  </a:cxn>
                  <a:cxn ang="0">
                    <a:pos x="T6" y="T7"/>
                  </a:cxn>
                  <a:cxn ang="0">
                    <a:pos x="T8" y="T9"/>
                  </a:cxn>
                  <a:cxn ang="0">
                    <a:pos x="T10" y="T11"/>
                  </a:cxn>
                </a:cxnLst>
                <a:rect l="0" t="0" r="r" b="b"/>
                <a:pathLst>
                  <a:path w="98" h="128">
                    <a:moveTo>
                      <a:pt x="90" y="117"/>
                    </a:moveTo>
                    <a:cubicBezTo>
                      <a:pt x="98" y="110"/>
                      <a:pt x="98" y="110"/>
                      <a:pt x="98" y="110"/>
                    </a:cubicBezTo>
                    <a:cubicBezTo>
                      <a:pt x="25" y="71"/>
                      <a:pt x="54" y="6"/>
                      <a:pt x="57" y="0"/>
                    </a:cubicBezTo>
                    <a:cubicBezTo>
                      <a:pt x="52" y="4"/>
                      <a:pt x="7" y="40"/>
                      <a:pt x="0" y="85"/>
                    </a:cubicBezTo>
                    <a:cubicBezTo>
                      <a:pt x="30" y="113"/>
                      <a:pt x="30" y="113"/>
                      <a:pt x="30" y="113"/>
                    </a:cubicBezTo>
                    <a:cubicBezTo>
                      <a:pt x="48" y="127"/>
                      <a:pt x="72" y="128"/>
                      <a:pt x="90" y="11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5" name="Freeform 1336">
                <a:extLst>
                  <a:ext uri="{FF2B5EF4-FFF2-40B4-BE49-F238E27FC236}">
                    <a16:creationId xmlns:a16="http://schemas.microsoft.com/office/drawing/2014/main" id="{434A3B1D-E9F8-4743-9748-22E6739BDCB2}"/>
                  </a:ext>
                </a:extLst>
              </p:cNvPr>
              <p:cNvSpPr>
                <a:spLocks noEditPoints="1"/>
              </p:cNvSpPr>
              <p:nvPr/>
            </p:nvSpPr>
            <p:spPr bwMode="auto">
              <a:xfrm>
                <a:off x="16186150" y="1723534"/>
                <a:ext cx="177800" cy="33337"/>
              </a:xfrm>
              <a:custGeom>
                <a:avLst/>
                <a:gdLst>
                  <a:gd name="T0" fmla="*/ 7 w 121"/>
                  <a:gd name="T1" fmla="*/ 11 h 23"/>
                  <a:gd name="T2" fmla="*/ 3 w 121"/>
                  <a:gd name="T3" fmla="*/ 17 h 23"/>
                  <a:gd name="T4" fmla="*/ 0 w 121"/>
                  <a:gd name="T5" fmla="*/ 23 h 23"/>
                  <a:gd name="T6" fmla="*/ 3 w 121"/>
                  <a:gd name="T7" fmla="*/ 17 h 23"/>
                  <a:gd name="T8" fmla="*/ 7 w 121"/>
                  <a:gd name="T9" fmla="*/ 11 h 23"/>
                  <a:gd name="T10" fmla="*/ 7 w 121"/>
                  <a:gd name="T11" fmla="*/ 11 h 23"/>
                  <a:gd name="T12" fmla="*/ 116 w 121"/>
                  <a:gd name="T13" fmla="*/ 5 h 23"/>
                  <a:gd name="T14" fmla="*/ 116 w 121"/>
                  <a:gd name="T15" fmla="*/ 5 h 23"/>
                  <a:gd name="T16" fmla="*/ 116 w 121"/>
                  <a:gd name="T17" fmla="*/ 5 h 23"/>
                  <a:gd name="T18" fmla="*/ 116 w 121"/>
                  <a:gd name="T19" fmla="*/ 5 h 23"/>
                  <a:gd name="T20" fmla="*/ 116 w 121"/>
                  <a:gd name="T21" fmla="*/ 5 h 23"/>
                  <a:gd name="T22" fmla="*/ 116 w 121"/>
                  <a:gd name="T23" fmla="*/ 5 h 23"/>
                  <a:gd name="T24" fmla="*/ 121 w 121"/>
                  <a:gd name="T25" fmla="*/ 1 h 23"/>
                  <a:gd name="T26" fmla="*/ 116 w 121"/>
                  <a:gd name="T27" fmla="*/ 5 h 23"/>
                  <a:gd name="T28" fmla="*/ 121 w 121"/>
                  <a:gd name="T29" fmla="*/ 1 h 23"/>
                  <a:gd name="T30" fmla="*/ 121 w 121"/>
                  <a:gd name="T31" fmla="*/ 0 h 23"/>
                  <a:gd name="T32" fmla="*/ 121 w 121"/>
                  <a:gd name="T33" fmla="*/ 1 h 23"/>
                  <a:gd name="T34" fmla="*/ 121 w 121"/>
                  <a:gd name="T35" fmla="*/ 0 h 23"/>
                  <a:gd name="T36" fmla="*/ 121 w 121"/>
                  <a:gd name="T37" fmla="*/ 0 h 23"/>
                  <a:gd name="T38" fmla="*/ 121 w 121"/>
                  <a:gd name="T39" fmla="*/ 0 h 23"/>
                  <a:gd name="T40" fmla="*/ 121 w 121"/>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23">
                    <a:moveTo>
                      <a:pt x="7" y="11"/>
                    </a:moveTo>
                    <a:cubicBezTo>
                      <a:pt x="3" y="17"/>
                      <a:pt x="3" y="17"/>
                      <a:pt x="3" y="17"/>
                    </a:cubicBezTo>
                    <a:cubicBezTo>
                      <a:pt x="3" y="17"/>
                      <a:pt x="0" y="19"/>
                      <a:pt x="0" y="23"/>
                    </a:cubicBezTo>
                    <a:cubicBezTo>
                      <a:pt x="0" y="19"/>
                      <a:pt x="3" y="17"/>
                      <a:pt x="3" y="17"/>
                    </a:cubicBezTo>
                    <a:cubicBezTo>
                      <a:pt x="7" y="11"/>
                      <a:pt x="7" y="11"/>
                      <a:pt x="7" y="11"/>
                    </a:cubicBezTo>
                    <a:cubicBezTo>
                      <a:pt x="7" y="11"/>
                      <a:pt x="7" y="11"/>
                      <a:pt x="7" y="11"/>
                    </a:cubicBezTo>
                    <a:moveTo>
                      <a:pt x="116" y="5"/>
                    </a:moveTo>
                    <a:cubicBezTo>
                      <a:pt x="116" y="5"/>
                      <a:pt x="116" y="5"/>
                      <a:pt x="116" y="5"/>
                    </a:cubicBezTo>
                    <a:cubicBezTo>
                      <a:pt x="116" y="5"/>
                      <a:pt x="116" y="5"/>
                      <a:pt x="116" y="5"/>
                    </a:cubicBezTo>
                    <a:moveTo>
                      <a:pt x="116" y="5"/>
                    </a:moveTo>
                    <a:cubicBezTo>
                      <a:pt x="116" y="5"/>
                      <a:pt x="116" y="5"/>
                      <a:pt x="116" y="5"/>
                    </a:cubicBezTo>
                    <a:cubicBezTo>
                      <a:pt x="116" y="5"/>
                      <a:pt x="116" y="5"/>
                      <a:pt x="116" y="5"/>
                    </a:cubicBezTo>
                    <a:moveTo>
                      <a:pt x="121" y="1"/>
                    </a:moveTo>
                    <a:cubicBezTo>
                      <a:pt x="120" y="2"/>
                      <a:pt x="118" y="3"/>
                      <a:pt x="116" y="5"/>
                    </a:cubicBezTo>
                    <a:cubicBezTo>
                      <a:pt x="118" y="3"/>
                      <a:pt x="120" y="2"/>
                      <a:pt x="121" y="1"/>
                    </a:cubicBezTo>
                    <a:moveTo>
                      <a:pt x="121" y="0"/>
                    </a:moveTo>
                    <a:cubicBezTo>
                      <a:pt x="121" y="0"/>
                      <a:pt x="121" y="1"/>
                      <a:pt x="121" y="1"/>
                    </a:cubicBezTo>
                    <a:cubicBezTo>
                      <a:pt x="121" y="1"/>
                      <a:pt x="121" y="0"/>
                      <a:pt x="121" y="0"/>
                    </a:cubicBezTo>
                    <a:moveTo>
                      <a:pt x="121" y="0"/>
                    </a:moveTo>
                    <a:cubicBezTo>
                      <a:pt x="121" y="0"/>
                      <a:pt x="121" y="0"/>
                      <a:pt x="121" y="0"/>
                    </a:cubicBezTo>
                    <a:cubicBezTo>
                      <a:pt x="121" y="0"/>
                      <a:pt x="121" y="0"/>
                      <a:pt x="12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6" name="Freeform 1337">
                <a:extLst>
                  <a:ext uri="{FF2B5EF4-FFF2-40B4-BE49-F238E27FC236}">
                    <a16:creationId xmlns:a16="http://schemas.microsoft.com/office/drawing/2014/main" id="{94CC0271-2E2E-4415-B1B5-03F42FA658FB}"/>
                  </a:ext>
                </a:extLst>
              </p:cNvPr>
              <p:cNvSpPr>
                <a:spLocks/>
              </p:cNvSpPr>
              <p:nvPr/>
            </p:nvSpPr>
            <p:spPr bwMode="auto">
              <a:xfrm>
                <a:off x="16232188" y="1690196"/>
                <a:ext cx="311150" cy="193675"/>
              </a:xfrm>
              <a:custGeom>
                <a:avLst/>
                <a:gdLst>
                  <a:gd name="T0" fmla="*/ 87 w 211"/>
                  <a:gd name="T1" fmla="*/ 0 h 132"/>
                  <a:gd name="T2" fmla="*/ 11 w 211"/>
                  <a:gd name="T3" fmla="*/ 46 h 132"/>
                  <a:gd name="T4" fmla="*/ 10 w 211"/>
                  <a:gd name="T5" fmla="*/ 47 h 132"/>
                  <a:gd name="T6" fmla="*/ 7 w 211"/>
                  <a:gd name="T7" fmla="*/ 47 h 132"/>
                  <a:gd name="T8" fmla="*/ 6 w 211"/>
                  <a:gd name="T9" fmla="*/ 47 h 132"/>
                  <a:gd name="T10" fmla="*/ 3 w 211"/>
                  <a:gd name="T11" fmla="*/ 48 h 132"/>
                  <a:gd name="T12" fmla="*/ 2 w 211"/>
                  <a:gd name="T13" fmla="*/ 48 h 132"/>
                  <a:gd name="T14" fmla="*/ 1 w 211"/>
                  <a:gd name="T15" fmla="*/ 48 h 132"/>
                  <a:gd name="T16" fmla="*/ 0 w 211"/>
                  <a:gd name="T17" fmla="*/ 48 h 132"/>
                  <a:gd name="T18" fmla="*/ 4 w 211"/>
                  <a:gd name="T19" fmla="*/ 53 h 132"/>
                  <a:gd name="T20" fmla="*/ 4 w 211"/>
                  <a:gd name="T21" fmla="*/ 53 h 132"/>
                  <a:gd name="T22" fmla="*/ 23 w 211"/>
                  <a:gd name="T23" fmla="*/ 67 h 132"/>
                  <a:gd name="T24" fmla="*/ 85 w 211"/>
                  <a:gd name="T25" fmla="*/ 28 h 132"/>
                  <a:gd name="T26" fmla="*/ 85 w 211"/>
                  <a:gd name="T27" fmla="*/ 28 h 132"/>
                  <a:gd name="T28" fmla="*/ 85 w 211"/>
                  <a:gd name="T29" fmla="*/ 28 h 132"/>
                  <a:gd name="T30" fmla="*/ 85 w 211"/>
                  <a:gd name="T31" fmla="*/ 28 h 132"/>
                  <a:gd name="T32" fmla="*/ 85 w 211"/>
                  <a:gd name="T33" fmla="*/ 28 h 132"/>
                  <a:gd name="T34" fmla="*/ 90 w 211"/>
                  <a:gd name="T35" fmla="*/ 24 h 132"/>
                  <a:gd name="T36" fmla="*/ 90 w 211"/>
                  <a:gd name="T37" fmla="*/ 24 h 132"/>
                  <a:gd name="T38" fmla="*/ 90 w 211"/>
                  <a:gd name="T39" fmla="*/ 23 h 132"/>
                  <a:gd name="T40" fmla="*/ 90 w 211"/>
                  <a:gd name="T41" fmla="*/ 23 h 132"/>
                  <a:gd name="T42" fmla="*/ 90 w 211"/>
                  <a:gd name="T43" fmla="*/ 23 h 132"/>
                  <a:gd name="T44" fmla="*/ 90 w 211"/>
                  <a:gd name="T45" fmla="*/ 23 h 132"/>
                  <a:gd name="T46" fmla="*/ 207 w 211"/>
                  <a:gd name="T47" fmla="*/ 132 h 132"/>
                  <a:gd name="T48" fmla="*/ 211 w 211"/>
                  <a:gd name="T49" fmla="*/ 115 h 132"/>
                  <a:gd name="T50" fmla="*/ 204 w 211"/>
                  <a:gd name="T51" fmla="*/ 109 h 132"/>
                  <a:gd name="T52" fmla="*/ 87 w 211"/>
                  <a:gd name="T5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132">
                    <a:moveTo>
                      <a:pt x="87" y="0"/>
                    </a:moveTo>
                    <a:cubicBezTo>
                      <a:pt x="78" y="10"/>
                      <a:pt x="39" y="40"/>
                      <a:pt x="11" y="46"/>
                    </a:cubicBezTo>
                    <a:cubicBezTo>
                      <a:pt x="10" y="47"/>
                      <a:pt x="10" y="47"/>
                      <a:pt x="10" y="47"/>
                    </a:cubicBezTo>
                    <a:cubicBezTo>
                      <a:pt x="9" y="47"/>
                      <a:pt x="8" y="47"/>
                      <a:pt x="7" y="47"/>
                    </a:cubicBezTo>
                    <a:cubicBezTo>
                      <a:pt x="6" y="47"/>
                      <a:pt x="6" y="47"/>
                      <a:pt x="6" y="47"/>
                    </a:cubicBezTo>
                    <a:cubicBezTo>
                      <a:pt x="5" y="47"/>
                      <a:pt x="4" y="48"/>
                      <a:pt x="3" y="48"/>
                    </a:cubicBezTo>
                    <a:cubicBezTo>
                      <a:pt x="2" y="48"/>
                      <a:pt x="2" y="48"/>
                      <a:pt x="2" y="48"/>
                    </a:cubicBezTo>
                    <a:cubicBezTo>
                      <a:pt x="2" y="48"/>
                      <a:pt x="1" y="48"/>
                      <a:pt x="1" y="48"/>
                    </a:cubicBezTo>
                    <a:cubicBezTo>
                      <a:pt x="1" y="48"/>
                      <a:pt x="1" y="48"/>
                      <a:pt x="0" y="48"/>
                    </a:cubicBezTo>
                    <a:cubicBezTo>
                      <a:pt x="1" y="49"/>
                      <a:pt x="2" y="51"/>
                      <a:pt x="4" y="53"/>
                    </a:cubicBezTo>
                    <a:cubicBezTo>
                      <a:pt x="4" y="53"/>
                      <a:pt x="4" y="53"/>
                      <a:pt x="4" y="53"/>
                    </a:cubicBezTo>
                    <a:cubicBezTo>
                      <a:pt x="4" y="53"/>
                      <a:pt x="7" y="55"/>
                      <a:pt x="23" y="67"/>
                    </a:cubicBezTo>
                    <a:cubicBezTo>
                      <a:pt x="45" y="59"/>
                      <a:pt x="73" y="39"/>
                      <a:pt x="85" y="28"/>
                    </a:cubicBezTo>
                    <a:cubicBezTo>
                      <a:pt x="85" y="28"/>
                      <a:pt x="85" y="28"/>
                      <a:pt x="85" y="28"/>
                    </a:cubicBezTo>
                    <a:cubicBezTo>
                      <a:pt x="85" y="28"/>
                      <a:pt x="85" y="28"/>
                      <a:pt x="85" y="28"/>
                    </a:cubicBezTo>
                    <a:cubicBezTo>
                      <a:pt x="85" y="28"/>
                      <a:pt x="85" y="28"/>
                      <a:pt x="85" y="28"/>
                    </a:cubicBezTo>
                    <a:cubicBezTo>
                      <a:pt x="85" y="28"/>
                      <a:pt x="85" y="28"/>
                      <a:pt x="85" y="28"/>
                    </a:cubicBezTo>
                    <a:cubicBezTo>
                      <a:pt x="87" y="26"/>
                      <a:pt x="89" y="25"/>
                      <a:pt x="90" y="24"/>
                    </a:cubicBezTo>
                    <a:cubicBezTo>
                      <a:pt x="90" y="24"/>
                      <a:pt x="90" y="24"/>
                      <a:pt x="90" y="24"/>
                    </a:cubicBezTo>
                    <a:cubicBezTo>
                      <a:pt x="90" y="24"/>
                      <a:pt x="90" y="23"/>
                      <a:pt x="90" y="23"/>
                    </a:cubicBezTo>
                    <a:cubicBezTo>
                      <a:pt x="90" y="23"/>
                      <a:pt x="90" y="23"/>
                      <a:pt x="90" y="23"/>
                    </a:cubicBezTo>
                    <a:cubicBezTo>
                      <a:pt x="90" y="23"/>
                      <a:pt x="90" y="23"/>
                      <a:pt x="90" y="23"/>
                    </a:cubicBezTo>
                    <a:cubicBezTo>
                      <a:pt x="90" y="23"/>
                      <a:pt x="90" y="23"/>
                      <a:pt x="90" y="23"/>
                    </a:cubicBezTo>
                    <a:cubicBezTo>
                      <a:pt x="207" y="132"/>
                      <a:pt x="207" y="132"/>
                      <a:pt x="207" y="132"/>
                    </a:cubicBezTo>
                    <a:cubicBezTo>
                      <a:pt x="208" y="127"/>
                      <a:pt x="210" y="121"/>
                      <a:pt x="211" y="115"/>
                    </a:cubicBezTo>
                    <a:cubicBezTo>
                      <a:pt x="204" y="109"/>
                      <a:pt x="204" y="109"/>
                      <a:pt x="204" y="109"/>
                    </a:cubicBezTo>
                    <a:cubicBezTo>
                      <a:pt x="87" y="0"/>
                      <a:pt x="87" y="0"/>
                      <a:pt x="8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7" name="Freeform 1338">
                <a:extLst>
                  <a:ext uri="{FF2B5EF4-FFF2-40B4-BE49-F238E27FC236}">
                    <a16:creationId xmlns:a16="http://schemas.microsoft.com/office/drawing/2014/main" id="{14AAFFBC-5E0C-45EB-91E3-9AB840F81B51}"/>
                  </a:ext>
                </a:extLst>
              </p:cNvPr>
              <p:cNvSpPr>
                <a:spLocks/>
              </p:cNvSpPr>
              <p:nvPr/>
            </p:nvSpPr>
            <p:spPr bwMode="auto">
              <a:xfrm>
                <a:off x="16186150" y="1739409"/>
                <a:ext cx="79375" cy="55562"/>
              </a:xfrm>
              <a:custGeom>
                <a:avLst/>
                <a:gdLst>
                  <a:gd name="T0" fmla="*/ 7 w 54"/>
                  <a:gd name="T1" fmla="*/ 0 h 37"/>
                  <a:gd name="T2" fmla="*/ 3 w 54"/>
                  <a:gd name="T3" fmla="*/ 6 h 37"/>
                  <a:gd name="T4" fmla="*/ 0 w 54"/>
                  <a:gd name="T5" fmla="*/ 12 h 37"/>
                  <a:gd name="T6" fmla="*/ 4 w 54"/>
                  <a:gd name="T7" fmla="*/ 19 h 37"/>
                  <a:gd name="T8" fmla="*/ 4 w 54"/>
                  <a:gd name="T9" fmla="*/ 19 h 37"/>
                  <a:gd name="T10" fmla="*/ 4 w 54"/>
                  <a:gd name="T11" fmla="*/ 19 h 37"/>
                  <a:gd name="T12" fmla="*/ 23 w 54"/>
                  <a:gd name="T13" fmla="*/ 34 h 37"/>
                  <a:gd name="T14" fmla="*/ 26 w 54"/>
                  <a:gd name="T15" fmla="*/ 35 h 37"/>
                  <a:gd name="T16" fmla="*/ 27 w 54"/>
                  <a:gd name="T17" fmla="*/ 36 h 37"/>
                  <a:gd name="T18" fmla="*/ 29 w 54"/>
                  <a:gd name="T19" fmla="*/ 36 h 37"/>
                  <a:gd name="T20" fmla="*/ 30 w 54"/>
                  <a:gd name="T21" fmla="*/ 37 h 37"/>
                  <a:gd name="T22" fmla="*/ 32 w 54"/>
                  <a:gd name="T23" fmla="*/ 37 h 37"/>
                  <a:gd name="T24" fmla="*/ 33 w 54"/>
                  <a:gd name="T25" fmla="*/ 37 h 37"/>
                  <a:gd name="T26" fmla="*/ 35 w 54"/>
                  <a:gd name="T27" fmla="*/ 37 h 37"/>
                  <a:gd name="T28" fmla="*/ 36 w 54"/>
                  <a:gd name="T29" fmla="*/ 37 h 37"/>
                  <a:gd name="T30" fmla="*/ 37 w 54"/>
                  <a:gd name="T31" fmla="*/ 37 h 37"/>
                  <a:gd name="T32" fmla="*/ 40 w 54"/>
                  <a:gd name="T33" fmla="*/ 37 h 37"/>
                  <a:gd name="T34" fmla="*/ 41 w 54"/>
                  <a:gd name="T35" fmla="*/ 37 h 37"/>
                  <a:gd name="T36" fmla="*/ 44 w 54"/>
                  <a:gd name="T37" fmla="*/ 36 h 37"/>
                  <a:gd name="T38" fmla="*/ 45 w 54"/>
                  <a:gd name="T39" fmla="*/ 36 h 37"/>
                  <a:gd name="T40" fmla="*/ 54 w 54"/>
                  <a:gd name="T41" fmla="*/ 33 h 37"/>
                  <a:gd name="T42" fmla="*/ 35 w 54"/>
                  <a:gd name="T43" fmla="*/ 19 h 37"/>
                  <a:gd name="T44" fmla="*/ 35 w 54"/>
                  <a:gd name="T45" fmla="*/ 19 h 37"/>
                  <a:gd name="T46" fmla="*/ 31 w 54"/>
                  <a:gd name="T47" fmla="*/ 14 h 37"/>
                  <a:gd name="T48" fmla="*/ 30 w 54"/>
                  <a:gd name="T49" fmla="*/ 14 h 37"/>
                  <a:gd name="T50" fmla="*/ 29 w 54"/>
                  <a:gd name="T51" fmla="*/ 13 h 37"/>
                  <a:gd name="T52" fmla="*/ 27 w 54"/>
                  <a:gd name="T53" fmla="*/ 13 h 37"/>
                  <a:gd name="T54" fmla="*/ 26 w 54"/>
                  <a:gd name="T55" fmla="*/ 13 h 37"/>
                  <a:gd name="T56" fmla="*/ 24 w 54"/>
                  <a:gd name="T57" fmla="*/ 12 h 37"/>
                  <a:gd name="T58" fmla="*/ 23 w 54"/>
                  <a:gd name="T59" fmla="*/ 12 h 37"/>
                  <a:gd name="T60" fmla="*/ 20 w 54"/>
                  <a:gd name="T61" fmla="*/ 10 h 37"/>
                  <a:gd name="T62" fmla="*/ 7 w 54"/>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7">
                    <a:moveTo>
                      <a:pt x="7" y="0"/>
                    </a:moveTo>
                    <a:cubicBezTo>
                      <a:pt x="3" y="6"/>
                      <a:pt x="3" y="6"/>
                      <a:pt x="3" y="6"/>
                    </a:cubicBezTo>
                    <a:cubicBezTo>
                      <a:pt x="3" y="6"/>
                      <a:pt x="0" y="8"/>
                      <a:pt x="0" y="12"/>
                    </a:cubicBezTo>
                    <a:cubicBezTo>
                      <a:pt x="0" y="14"/>
                      <a:pt x="1" y="16"/>
                      <a:pt x="4" y="19"/>
                    </a:cubicBezTo>
                    <a:cubicBezTo>
                      <a:pt x="4" y="19"/>
                      <a:pt x="4" y="19"/>
                      <a:pt x="4" y="19"/>
                    </a:cubicBezTo>
                    <a:cubicBezTo>
                      <a:pt x="4" y="19"/>
                      <a:pt x="4" y="19"/>
                      <a:pt x="4" y="19"/>
                    </a:cubicBezTo>
                    <a:cubicBezTo>
                      <a:pt x="4" y="19"/>
                      <a:pt x="7" y="21"/>
                      <a:pt x="23" y="34"/>
                    </a:cubicBezTo>
                    <a:cubicBezTo>
                      <a:pt x="24" y="35"/>
                      <a:pt x="25" y="35"/>
                      <a:pt x="26" y="35"/>
                    </a:cubicBezTo>
                    <a:cubicBezTo>
                      <a:pt x="27" y="36"/>
                      <a:pt x="27" y="36"/>
                      <a:pt x="27" y="36"/>
                    </a:cubicBezTo>
                    <a:cubicBezTo>
                      <a:pt x="27" y="36"/>
                      <a:pt x="28" y="36"/>
                      <a:pt x="29" y="36"/>
                    </a:cubicBezTo>
                    <a:cubicBezTo>
                      <a:pt x="30" y="37"/>
                      <a:pt x="30" y="37"/>
                      <a:pt x="30" y="37"/>
                    </a:cubicBezTo>
                    <a:cubicBezTo>
                      <a:pt x="30" y="37"/>
                      <a:pt x="31" y="37"/>
                      <a:pt x="32" y="37"/>
                    </a:cubicBezTo>
                    <a:cubicBezTo>
                      <a:pt x="33" y="37"/>
                      <a:pt x="33" y="37"/>
                      <a:pt x="33" y="37"/>
                    </a:cubicBezTo>
                    <a:cubicBezTo>
                      <a:pt x="34" y="37"/>
                      <a:pt x="34" y="37"/>
                      <a:pt x="35" y="37"/>
                    </a:cubicBezTo>
                    <a:cubicBezTo>
                      <a:pt x="36" y="37"/>
                      <a:pt x="36" y="37"/>
                      <a:pt x="36" y="37"/>
                    </a:cubicBezTo>
                    <a:cubicBezTo>
                      <a:pt x="37" y="37"/>
                      <a:pt x="37" y="37"/>
                      <a:pt x="37" y="37"/>
                    </a:cubicBezTo>
                    <a:cubicBezTo>
                      <a:pt x="38" y="37"/>
                      <a:pt x="39" y="37"/>
                      <a:pt x="40" y="37"/>
                    </a:cubicBezTo>
                    <a:cubicBezTo>
                      <a:pt x="41" y="37"/>
                      <a:pt x="41" y="37"/>
                      <a:pt x="41" y="37"/>
                    </a:cubicBezTo>
                    <a:cubicBezTo>
                      <a:pt x="42" y="37"/>
                      <a:pt x="43" y="36"/>
                      <a:pt x="44" y="36"/>
                    </a:cubicBezTo>
                    <a:cubicBezTo>
                      <a:pt x="45" y="36"/>
                      <a:pt x="45" y="36"/>
                      <a:pt x="45" y="36"/>
                    </a:cubicBezTo>
                    <a:cubicBezTo>
                      <a:pt x="48" y="35"/>
                      <a:pt x="51" y="34"/>
                      <a:pt x="54" y="33"/>
                    </a:cubicBezTo>
                    <a:cubicBezTo>
                      <a:pt x="38" y="21"/>
                      <a:pt x="35" y="19"/>
                      <a:pt x="35" y="19"/>
                    </a:cubicBezTo>
                    <a:cubicBezTo>
                      <a:pt x="35" y="19"/>
                      <a:pt x="35" y="19"/>
                      <a:pt x="35" y="19"/>
                    </a:cubicBezTo>
                    <a:cubicBezTo>
                      <a:pt x="33" y="17"/>
                      <a:pt x="32" y="15"/>
                      <a:pt x="31" y="14"/>
                    </a:cubicBezTo>
                    <a:cubicBezTo>
                      <a:pt x="31" y="14"/>
                      <a:pt x="30" y="14"/>
                      <a:pt x="30" y="14"/>
                    </a:cubicBezTo>
                    <a:cubicBezTo>
                      <a:pt x="29" y="13"/>
                      <a:pt x="29" y="13"/>
                      <a:pt x="29" y="13"/>
                    </a:cubicBezTo>
                    <a:cubicBezTo>
                      <a:pt x="28" y="13"/>
                      <a:pt x="27" y="13"/>
                      <a:pt x="27" y="13"/>
                    </a:cubicBezTo>
                    <a:cubicBezTo>
                      <a:pt x="26" y="13"/>
                      <a:pt x="26" y="13"/>
                      <a:pt x="26" y="13"/>
                    </a:cubicBezTo>
                    <a:cubicBezTo>
                      <a:pt x="25" y="13"/>
                      <a:pt x="24" y="12"/>
                      <a:pt x="24" y="12"/>
                    </a:cubicBezTo>
                    <a:cubicBezTo>
                      <a:pt x="23" y="12"/>
                      <a:pt x="23" y="12"/>
                      <a:pt x="23" y="12"/>
                    </a:cubicBezTo>
                    <a:cubicBezTo>
                      <a:pt x="22" y="11"/>
                      <a:pt x="21" y="11"/>
                      <a:pt x="20" y="10"/>
                    </a:cubicBezTo>
                    <a:cubicBezTo>
                      <a:pt x="15" y="5"/>
                      <a:pt x="10" y="2"/>
                      <a:pt x="7"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8" name="Freeform 1339">
                <a:extLst>
                  <a:ext uri="{FF2B5EF4-FFF2-40B4-BE49-F238E27FC236}">
                    <a16:creationId xmlns:a16="http://schemas.microsoft.com/office/drawing/2014/main" id="{58766708-83C4-45CA-9271-89FB23431444}"/>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1" y="1"/>
                      <a:pt x="1" y="1"/>
                    </a:cubicBezTo>
                    <a:cubicBezTo>
                      <a:pt x="1" y="1"/>
                      <a:pt x="1" y="1"/>
                      <a:pt x="1" y="1"/>
                    </a:cubicBezTo>
                    <a:cubicBezTo>
                      <a:pt x="1" y="1"/>
                      <a:pt x="0" y="1"/>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9" name="Freeform 1340">
                <a:extLst>
                  <a:ext uri="{FF2B5EF4-FFF2-40B4-BE49-F238E27FC236}">
                    <a16:creationId xmlns:a16="http://schemas.microsoft.com/office/drawing/2014/main" id="{6D7149C1-04AF-4081-8EEA-9F1347D64A4C}"/>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0" y="1"/>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0" name="Freeform 1341">
                <a:extLst>
                  <a:ext uri="{FF2B5EF4-FFF2-40B4-BE49-F238E27FC236}">
                    <a16:creationId xmlns:a16="http://schemas.microsoft.com/office/drawing/2014/main" id="{1D0A137D-5357-4EFC-8260-D7334138E01A}"/>
                  </a:ext>
                </a:extLst>
              </p:cNvPr>
              <p:cNvSpPr>
                <a:spLocks/>
              </p:cNvSpPr>
              <p:nvPr/>
            </p:nvSpPr>
            <p:spPr bwMode="auto">
              <a:xfrm>
                <a:off x="16681450" y="1920384"/>
                <a:ext cx="1587" cy="0"/>
              </a:xfrm>
              <a:custGeom>
                <a:avLst/>
                <a:gdLst>
                  <a:gd name="T0" fmla="*/ 0 w 1"/>
                  <a:gd name="T1" fmla="*/ 1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1" y="0"/>
                      <a:pt x="1" y="0"/>
                    </a:cubicBezTo>
                    <a:cubicBezTo>
                      <a:pt x="1" y="0"/>
                      <a:pt x="1" y="0"/>
                      <a:pt x="1" y="0"/>
                    </a:cubicBezTo>
                    <a:cubicBezTo>
                      <a:pt x="1" y="0"/>
                      <a:pt x="1"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1" name="Freeform 1342">
                <a:extLst>
                  <a:ext uri="{FF2B5EF4-FFF2-40B4-BE49-F238E27FC236}">
                    <a16:creationId xmlns:a16="http://schemas.microsoft.com/office/drawing/2014/main" id="{58146144-21C3-4187-9D01-F42A919D61C4}"/>
                  </a:ext>
                </a:extLst>
              </p:cNvPr>
              <p:cNvSpPr>
                <a:spLocks/>
              </p:cNvSpPr>
              <p:nvPr/>
            </p:nvSpPr>
            <p:spPr bwMode="auto">
              <a:xfrm>
                <a:off x="16681450" y="1920384"/>
                <a:ext cx="1587"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2" name="Freeform 1343">
                <a:extLst>
                  <a:ext uri="{FF2B5EF4-FFF2-40B4-BE49-F238E27FC236}">
                    <a16:creationId xmlns:a16="http://schemas.microsoft.com/office/drawing/2014/main" id="{F531F54E-9278-490D-B52F-F96C92E27994}"/>
                  </a:ext>
                </a:extLst>
              </p:cNvPr>
              <p:cNvSpPr>
                <a:spLocks/>
              </p:cNvSpPr>
              <p:nvPr/>
            </p:nvSpPr>
            <p:spPr bwMode="auto">
              <a:xfrm>
                <a:off x="16538575" y="1858471"/>
                <a:ext cx="144462" cy="84137"/>
              </a:xfrm>
              <a:custGeom>
                <a:avLst/>
                <a:gdLst>
                  <a:gd name="T0" fmla="*/ 4 w 98"/>
                  <a:gd name="T1" fmla="*/ 0 h 57"/>
                  <a:gd name="T2" fmla="*/ 0 w 98"/>
                  <a:gd name="T3" fmla="*/ 17 h 57"/>
                  <a:gd name="T4" fmla="*/ 30 w 98"/>
                  <a:gd name="T5" fmla="*/ 45 h 57"/>
                  <a:gd name="T6" fmla="*/ 63 w 98"/>
                  <a:gd name="T7" fmla="*/ 57 h 57"/>
                  <a:gd name="T8" fmla="*/ 90 w 98"/>
                  <a:gd name="T9" fmla="*/ 49 h 57"/>
                  <a:gd name="T10" fmla="*/ 98 w 98"/>
                  <a:gd name="T11" fmla="*/ 42 h 57"/>
                  <a:gd name="T12" fmla="*/ 97 w 98"/>
                  <a:gd name="T13" fmla="*/ 42 h 57"/>
                  <a:gd name="T14" fmla="*/ 81 w 98"/>
                  <a:gd name="T15" fmla="*/ 31 h 57"/>
                  <a:gd name="T16" fmla="*/ 80 w 98"/>
                  <a:gd name="T17" fmla="*/ 30 h 57"/>
                  <a:gd name="T18" fmla="*/ 62 w 98"/>
                  <a:gd name="T19" fmla="*/ 33 h 57"/>
                  <a:gd name="T20" fmla="*/ 27 w 98"/>
                  <a:gd name="T21" fmla="*/ 22 h 57"/>
                  <a:gd name="T22" fmla="*/ 4 w 98"/>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57">
                    <a:moveTo>
                      <a:pt x="4" y="0"/>
                    </a:moveTo>
                    <a:cubicBezTo>
                      <a:pt x="3" y="6"/>
                      <a:pt x="1" y="12"/>
                      <a:pt x="0" y="17"/>
                    </a:cubicBezTo>
                    <a:cubicBezTo>
                      <a:pt x="30" y="45"/>
                      <a:pt x="30" y="45"/>
                      <a:pt x="30" y="45"/>
                    </a:cubicBezTo>
                    <a:cubicBezTo>
                      <a:pt x="40" y="53"/>
                      <a:pt x="51" y="57"/>
                      <a:pt x="63" y="57"/>
                    </a:cubicBezTo>
                    <a:cubicBezTo>
                      <a:pt x="72" y="57"/>
                      <a:pt x="82" y="54"/>
                      <a:pt x="90" y="49"/>
                    </a:cubicBezTo>
                    <a:cubicBezTo>
                      <a:pt x="98" y="42"/>
                      <a:pt x="98" y="42"/>
                      <a:pt x="98" y="42"/>
                    </a:cubicBezTo>
                    <a:cubicBezTo>
                      <a:pt x="98" y="42"/>
                      <a:pt x="98" y="42"/>
                      <a:pt x="97" y="42"/>
                    </a:cubicBezTo>
                    <a:cubicBezTo>
                      <a:pt x="91" y="38"/>
                      <a:pt x="86" y="35"/>
                      <a:pt x="81" y="31"/>
                    </a:cubicBezTo>
                    <a:cubicBezTo>
                      <a:pt x="81" y="31"/>
                      <a:pt x="80" y="31"/>
                      <a:pt x="80" y="30"/>
                    </a:cubicBezTo>
                    <a:cubicBezTo>
                      <a:pt x="74" y="32"/>
                      <a:pt x="68" y="33"/>
                      <a:pt x="62" y="33"/>
                    </a:cubicBezTo>
                    <a:cubicBezTo>
                      <a:pt x="50" y="33"/>
                      <a:pt x="37" y="29"/>
                      <a:pt x="27" y="22"/>
                    </a:cubicBezTo>
                    <a:cubicBezTo>
                      <a:pt x="4" y="0"/>
                      <a:pt x="4" y="0"/>
                      <a:pt x="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3" name="Freeform 1344">
                <a:extLst>
                  <a:ext uri="{FF2B5EF4-FFF2-40B4-BE49-F238E27FC236}">
                    <a16:creationId xmlns:a16="http://schemas.microsoft.com/office/drawing/2014/main" id="{84C9DE90-4F82-4BE9-A1A0-0AA3B3AC50FC}"/>
                  </a:ext>
                </a:extLst>
              </p:cNvPr>
              <p:cNvSpPr>
                <a:spLocks/>
              </p:cNvSpPr>
              <p:nvPr/>
            </p:nvSpPr>
            <p:spPr bwMode="auto">
              <a:xfrm>
                <a:off x="16978313" y="1544146"/>
                <a:ext cx="225425" cy="527050"/>
              </a:xfrm>
              <a:custGeom>
                <a:avLst/>
                <a:gdLst>
                  <a:gd name="T0" fmla="*/ 149 w 152"/>
                  <a:gd name="T1" fmla="*/ 45 h 358"/>
                  <a:gd name="T2" fmla="*/ 0 w 152"/>
                  <a:gd name="T3" fmla="*/ 0 h 358"/>
                  <a:gd name="T4" fmla="*/ 40 w 152"/>
                  <a:gd name="T5" fmla="*/ 289 h 358"/>
                  <a:gd name="T6" fmla="*/ 40 w 152"/>
                  <a:gd name="T7" fmla="*/ 289 h 358"/>
                  <a:gd name="T8" fmla="*/ 40 w 152"/>
                  <a:gd name="T9" fmla="*/ 290 h 358"/>
                  <a:gd name="T10" fmla="*/ 152 w 152"/>
                  <a:gd name="T11" fmla="*/ 326 h 358"/>
                  <a:gd name="T12" fmla="*/ 149 w 152"/>
                  <a:gd name="T13" fmla="*/ 45 h 358"/>
                </a:gdLst>
                <a:ahLst/>
                <a:cxnLst>
                  <a:cxn ang="0">
                    <a:pos x="T0" y="T1"/>
                  </a:cxn>
                  <a:cxn ang="0">
                    <a:pos x="T2" y="T3"/>
                  </a:cxn>
                  <a:cxn ang="0">
                    <a:pos x="T4" y="T5"/>
                  </a:cxn>
                  <a:cxn ang="0">
                    <a:pos x="T6" y="T7"/>
                  </a:cxn>
                  <a:cxn ang="0">
                    <a:pos x="T8" y="T9"/>
                  </a:cxn>
                  <a:cxn ang="0">
                    <a:pos x="T10" y="T11"/>
                  </a:cxn>
                  <a:cxn ang="0">
                    <a:pos x="T12" y="T13"/>
                  </a:cxn>
                </a:cxnLst>
                <a:rect l="0" t="0" r="r" b="b"/>
                <a:pathLst>
                  <a:path w="152" h="358">
                    <a:moveTo>
                      <a:pt x="149" y="45"/>
                    </a:moveTo>
                    <a:cubicBezTo>
                      <a:pt x="0" y="0"/>
                      <a:pt x="0" y="0"/>
                      <a:pt x="0" y="0"/>
                    </a:cubicBezTo>
                    <a:cubicBezTo>
                      <a:pt x="40" y="289"/>
                      <a:pt x="40" y="289"/>
                      <a:pt x="40" y="289"/>
                    </a:cubicBezTo>
                    <a:cubicBezTo>
                      <a:pt x="40" y="289"/>
                      <a:pt x="40" y="289"/>
                      <a:pt x="40" y="289"/>
                    </a:cubicBezTo>
                    <a:cubicBezTo>
                      <a:pt x="40" y="290"/>
                      <a:pt x="40" y="290"/>
                      <a:pt x="40" y="290"/>
                    </a:cubicBezTo>
                    <a:cubicBezTo>
                      <a:pt x="43" y="296"/>
                      <a:pt x="75" y="358"/>
                      <a:pt x="152" y="326"/>
                    </a:cubicBezTo>
                    <a:cubicBezTo>
                      <a:pt x="149" y="45"/>
                      <a:pt x="149" y="45"/>
                      <a:pt x="149" y="45"/>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4" name="Freeform 1345">
                <a:extLst>
                  <a:ext uri="{FF2B5EF4-FFF2-40B4-BE49-F238E27FC236}">
                    <a16:creationId xmlns:a16="http://schemas.microsoft.com/office/drawing/2014/main" id="{A72E366F-0CE5-41FF-BFC9-D017970CF498}"/>
                  </a:ext>
                </a:extLst>
              </p:cNvPr>
              <p:cNvSpPr>
                <a:spLocks/>
              </p:cNvSpPr>
              <p:nvPr/>
            </p:nvSpPr>
            <p:spPr bwMode="auto">
              <a:xfrm>
                <a:off x="16702088" y="1969596"/>
                <a:ext cx="382587" cy="342900"/>
              </a:xfrm>
              <a:custGeom>
                <a:avLst/>
                <a:gdLst>
                  <a:gd name="T0" fmla="*/ 258 w 258"/>
                  <a:gd name="T1" fmla="*/ 98 h 233"/>
                  <a:gd name="T2" fmla="*/ 227 w 258"/>
                  <a:gd name="T3" fmla="*/ 1 h 233"/>
                  <a:gd name="T4" fmla="*/ 227 w 258"/>
                  <a:gd name="T5" fmla="*/ 1 h 233"/>
                  <a:gd name="T6" fmla="*/ 227 w 258"/>
                  <a:gd name="T7" fmla="*/ 0 h 233"/>
                  <a:gd name="T8" fmla="*/ 56 w 258"/>
                  <a:gd name="T9" fmla="*/ 51 h 233"/>
                  <a:gd name="T10" fmla="*/ 12 w 258"/>
                  <a:gd name="T11" fmla="*/ 62 h 233"/>
                  <a:gd name="T12" fmla="*/ 3 w 258"/>
                  <a:gd name="T13" fmla="*/ 77 h 233"/>
                  <a:gd name="T14" fmla="*/ 39 w 258"/>
                  <a:gd name="T15" fmla="*/ 223 h 233"/>
                  <a:gd name="T16" fmla="*/ 50 w 258"/>
                  <a:gd name="T17" fmla="*/ 230 h 233"/>
                  <a:gd name="T18" fmla="*/ 73 w 258"/>
                  <a:gd name="T19" fmla="*/ 225 h 233"/>
                  <a:gd name="T20" fmla="*/ 100 w 258"/>
                  <a:gd name="T21" fmla="*/ 121 h 233"/>
                  <a:gd name="T22" fmla="*/ 258 w 258"/>
                  <a:gd name="T23" fmla="*/ 9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233">
                    <a:moveTo>
                      <a:pt x="258" y="98"/>
                    </a:moveTo>
                    <a:cubicBezTo>
                      <a:pt x="227" y="64"/>
                      <a:pt x="227" y="7"/>
                      <a:pt x="227" y="1"/>
                    </a:cubicBezTo>
                    <a:cubicBezTo>
                      <a:pt x="227" y="1"/>
                      <a:pt x="227" y="1"/>
                      <a:pt x="227" y="1"/>
                    </a:cubicBezTo>
                    <a:cubicBezTo>
                      <a:pt x="227" y="0"/>
                      <a:pt x="227" y="0"/>
                      <a:pt x="227" y="0"/>
                    </a:cubicBezTo>
                    <a:cubicBezTo>
                      <a:pt x="56" y="51"/>
                      <a:pt x="56" y="51"/>
                      <a:pt x="56" y="51"/>
                    </a:cubicBezTo>
                    <a:cubicBezTo>
                      <a:pt x="12" y="62"/>
                      <a:pt x="12" y="62"/>
                      <a:pt x="12" y="62"/>
                    </a:cubicBezTo>
                    <a:cubicBezTo>
                      <a:pt x="12" y="62"/>
                      <a:pt x="0" y="64"/>
                      <a:pt x="3" y="77"/>
                    </a:cubicBezTo>
                    <a:cubicBezTo>
                      <a:pt x="39" y="223"/>
                      <a:pt x="39" y="223"/>
                      <a:pt x="39" y="223"/>
                    </a:cubicBezTo>
                    <a:cubicBezTo>
                      <a:pt x="39" y="223"/>
                      <a:pt x="39" y="233"/>
                      <a:pt x="50" y="230"/>
                    </a:cubicBezTo>
                    <a:cubicBezTo>
                      <a:pt x="49" y="230"/>
                      <a:pt x="50" y="230"/>
                      <a:pt x="73" y="225"/>
                    </a:cubicBezTo>
                    <a:cubicBezTo>
                      <a:pt x="99" y="219"/>
                      <a:pt x="103" y="138"/>
                      <a:pt x="100" y="121"/>
                    </a:cubicBezTo>
                    <a:cubicBezTo>
                      <a:pt x="258" y="98"/>
                      <a:pt x="258" y="98"/>
                      <a:pt x="258" y="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5" name="Freeform 1346">
                <a:extLst>
                  <a:ext uri="{FF2B5EF4-FFF2-40B4-BE49-F238E27FC236}">
                    <a16:creationId xmlns:a16="http://schemas.microsoft.com/office/drawing/2014/main" id="{CF7D40E3-24C1-416F-83D3-4BFEAA467253}"/>
                  </a:ext>
                </a:extLst>
              </p:cNvPr>
              <p:cNvSpPr>
                <a:spLocks/>
              </p:cNvSpPr>
              <p:nvPr/>
            </p:nvSpPr>
            <p:spPr bwMode="auto">
              <a:xfrm>
                <a:off x="16702088" y="2056909"/>
                <a:ext cx="136525" cy="255587"/>
              </a:xfrm>
              <a:custGeom>
                <a:avLst/>
                <a:gdLst>
                  <a:gd name="T0" fmla="*/ 69 w 92"/>
                  <a:gd name="T1" fmla="*/ 147 h 174"/>
                  <a:gd name="T2" fmla="*/ 70 w 92"/>
                  <a:gd name="T3" fmla="*/ 147 h 174"/>
                  <a:gd name="T4" fmla="*/ 69 w 92"/>
                  <a:gd name="T5" fmla="*/ 147 h 174"/>
                  <a:gd name="T6" fmla="*/ 58 w 92"/>
                  <a:gd name="T7" fmla="*/ 140 h 174"/>
                  <a:gd name="T8" fmla="*/ 24 w 92"/>
                  <a:gd name="T9" fmla="*/ 0 h 174"/>
                  <a:gd name="T10" fmla="*/ 12 w 92"/>
                  <a:gd name="T11" fmla="*/ 3 h 174"/>
                  <a:gd name="T12" fmla="*/ 3 w 92"/>
                  <a:gd name="T13" fmla="*/ 18 h 174"/>
                  <a:gd name="T14" fmla="*/ 39 w 92"/>
                  <a:gd name="T15" fmla="*/ 164 h 174"/>
                  <a:gd name="T16" fmla="*/ 50 w 92"/>
                  <a:gd name="T17" fmla="*/ 171 h 174"/>
                  <a:gd name="T18" fmla="*/ 73 w 92"/>
                  <a:gd name="T19" fmla="*/ 166 h 174"/>
                  <a:gd name="T20" fmla="*/ 92 w 92"/>
                  <a:gd name="T21" fmla="*/ 142 h 174"/>
                  <a:gd name="T22" fmla="*/ 69 w 92"/>
                  <a:gd name="T23" fmla="*/ 14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74">
                    <a:moveTo>
                      <a:pt x="69" y="147"/>
                    </a:moveTo>
                    <a:cubicBezTo>
                      <a:pt x="70" y="147"/>
                      <a:pt x="70" y="147"/>
                      <a:pt x="70" y="147"/>
                    </a:cubicBezTo>
                    <a:cubicBezTo>
                      <a:pt x="69" y="147"/>
                      <a:pt x="69" y="147"/>
                      <a:pt x="69" y="147"/>
                    </a:cubicBezTo>
                    <a:cubicBezTo>
                      <a:pt x="59" y="150"/>
                      <a:pt x="58" y="140"/>
                      <a:pt x="58" y="140"/>
                    </a:cubicBezTo>
                    <a:cubicBezTo>
                      <a:pt x="24" y="0"/>
                      <a:pt x="24" y="0"/>
                      <a:pt x="24" y="0"/>
                    </a:cubicBezTo>
                    <a:cubicBezTo>
                      <a:pt x="12" y="3"/>
                      <a:pt x="12" y="3"/>
                      <a:pt x="12" y="3"/>
                    </a:cubicBezTo>
                    <a:cubicBezTo>
                      <a:pt x="12" y="3"/>
                      <a:pt x="0" y="5"/>
                      <a:pt x="3" y="18"/>
                    </a:cubicBezTo>
                    <a:cubicBezTo>
                      <a:pt x="39" y="164"/>
                      <a:pt x="39" y="164"/>
                      <a:pt x="39" y="164"/>
                    </a:cubicBezTo>
                    <a:cubicBezTo>
                      <a:pt x="39" y="164"/>
                      <a:pt x="39" y="174"/>
                      <a:pt x="50" y="171"/>
                    </a:cubicBezTo>
                    <a:cubicBezTo>
                      <a:pt x="49" y="171"/>
                      <a:pt x="50" y="171"/>
                      <a:pt x="73" y="166"/>
                    </a:cubicBezTo>
                    <a:cubicBezTo>
                      <a:pt x="82" y="164"/>
                      <a:pt x="88" y="155"/>
                      <a:pt x="92" y="142"/>
                    </a:cubicBezTo>
                    <a:cubicBezTo>
                      <a:pt x="69" y="147"/>
                      <a:pt x="69" y="147"/>
                      <a:pt x="69" y="14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6" name="Freeform 1348">
                <a:extLst>
                  <a:ext uri="{FF2B5EF4-FFF2-40B4-BE49-F238E27FC236}">
                    <a16:creationId xmlns:a16="http://schemas.microsoft.com/office/drawing/2014/main" id="{1D5B29E4-3DF0-4861-A659-A1D49F42C786}"/>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7" name="Freeform 1349">
                <a:extLst>
                  <a:ext uri="{FF2B5EF4-FFF2-40B4-BE49-F238E27FC236}">
                    <a16:creationId xmlns:a16="http://schemas.microsoft.com/office/drawing/2014/main" id="{8BFF9747-4187-40E7-BC56-B6FC2AE9A8CF}"/>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8" name="Freeform 1350">
                <a:extLst>
                  <a:ext uri="{FF2B5EF4-FFF2-40B4-BE49-F238E27FC236}">
                    <a16:creationId xmlns:a16="http://schemas.microsoft.com/office/drawing/2014/main" id="{E8B71168-ED75-4CC2-AB58-88D63B18CC0D}"/>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9" name="Freeform 1351">
                <a:extLst>
                  <a:ext uri="{FF2B5EF4-FFF2-40B4-BE49-F238E27FC236}">
                    <a16:creationId xmlns:a16="http://schemas.microsoft.com/office/drawing/2014/main" id="{60F0E2BC-0867-4019-A4AE-72DEE616D36A}"/>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0" name="Freeform 1352">
                <a:extLst>
                  <a:ext uri="{FF2B5EF4-FFF2-40B4-BE49-F238E27FC236}">
                    <a16:creationId xmlns:a16="http://schemas.microsoft.com/office/drawing/2014/main" id="{62CCB479-3A4E-451A-8438-2136B502F058}"/>
                  </a:ext>
                </a:extLst>
              </p:cNvPr>
              <p:cNvSpPr>
                <a:spLocks/>
              </p:cNvSpPr>
              <p:nvPr/>
            </p:nvSpPr>
            <p:spPr bwMode="auto">
              <a:xfrm>
                <a:off x="16600488" y="1163146"/>
                <a:ext cx="509587" cy="382587"/>
              </a:xfrm>
              <a:custGeom>
                <a:avLst/>
                <a:gdLst>
                  <a:gd name="T0" fmla="*/ 156 w 345"/>
                  <a:gd name="T1" fmla="*/ 33 h 260"/>
                  <a:gd name="T2" fmla="*/ 169 w 345"/>
                  <a:gd name="T3" fmla="*/ 18 h 260"/>
                  <a:gd name="T4" fmla="*/ 178 w 345"/>
                  <a:gd name="T5" fmla="*/ 10 h 260"/>
                  <a:gd name="T6" fmla="*/ 198 w 345"/>
                  <a:gd name="T7" fmla="*/ 6 h 260"/>
                  <a:gd name="T8" fmla="*/ 345 w 345"/>
                  <a:gd name="T9" fmla="*/ 0 h 260"/>
                  <a:gd name="T10" fmla="*/ 272 w 345"/>
                  <a:gd name="T11" fmla="*/ 78 h 260"/>
                  <a:gd name="T12" fmla="*/ 212 w 345"/>
                  <a:gd name="T13" fmla="*/ 78 h 260"/>
                  <a:gd name="T14" fmla="*/ 118 w 345"/>
                  <a:gd name="T15" fmla="*/ 185 h 260"/>
                  <a:gd name="T16" fmla="*/ 119 w 345"/>
                  <a:gd name="T17" fmla="*/ 199 h 260"/>
                  <a:gd name="T18" fmla="*/ 100 w 345"/>
                  <a:gd name="T19" fmla="*/ 244 h 260"/>
                  <a:gd name="T20" fmla="*/ 97 w 345"/>
                  <a:gd name="T21" fmla="*/ 251 h 260"/>
                  <a:gd name="T22" fmla="*/ 88 w 345"/>
                  <a:gd name="T23" fmla="*/ 230 h 260"/>
                  <a:gd name="T24" fmla="*/ 89 w 345"/>
                  <a:gd name="T25" fmla="*/ 229 h 260"/>
                  <a:gd name="T26" fmla="*/ 89 w 345"/>
                  <a:gd name="T27" fmla="*/ 229 h 260"/>
                  <a:gd name="T28" fmla="*/ 95 w 345"/>
                  <a:gd name="T29" fmla="*/ 214 h 260"/>
                  <a:gd name="T30" fmla="*/ 61 w 345"/>
                  <a:gd name="T31" fmla="*/ 255 h 260"/>
                  <a:gd name="T32" fmla="*/ 61 w 345"/>
                  <a:gd name="T33" fmla="*/ 255 h 260"/>
                  <a:gd name="T34" fmla="*/ 46 w 345"/>
                  <a:gd name="T35" fmla="*/ 256 h 260"/>
                  <a:gd name="T36" fmla="*/ 42 w 345"/>
                  <a:gd name="T37" fmla="*/ 249 h 260"/>
                  <a:gd name="T38" fmla="*/ 27 w 345"/>
                  <a:gd name="T39" fmla="*/ 249 h 260"/>
                  <a:gd name="T40" fmla="*/ 25 w 345"/>
                  <a:gd name="T41" fmla="*/ 236 h 260"/>
                  <a:gd name="T42" fmla="*/ 15 w 345"/>
                  <a:gd name="T43" fmla="*/ 233 h 260"/>
                  <a:gd name="T44" fmla="*/ 12 w 345"/>
                  <a:gd name="T45" fmla="*/ 221 h 260"/>
                  <a:gd name="T46" fmla="*/ 5 w 345"/>
                  <a:gd name="T47" fmla="*/ 218 h 260"/>
                  <a:gd name="T48" fmla="*/ 4 w 345"/>
                  <a:gd name="T49" fmla="*/ 202 h 260"/>
                  <a:gd name="T50" fmla="*/ 5 w 345"/>
                  <a:gd name="T51" fmla="*/ 202 h 260"/>
                  <a:gd name="T52" fmla="*/ 5 w 345"/>
                  <a:gd name="T53" fmla="*/ 201 h 260"/>
                  <a:gd name="T54" fmla="*/ 34 w 345"/>
                  <a:gd name="T55" fmla="*/ 171 h 260"/>
                  <a:gd name="T56" fmla="*/ 156 w 345"/>
                  <a:gd name="T57" fmla="*/ 3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5" h="260">
                    <a:moveTo>
                      <a:pt x="156" y="33"/>
                    </a:moveTo>
                    <a:cubicBezTo>
                      <a:pt x="169" y="18"/>
                      <a:pt x="169" y="18"/>
                      <a:pt x="169" y="18"/>
                    </a:cubicBezTo>
                    <a:cubicBezTo>
                      <a:pt x="172" y="15"/>
                      <a:pt x="175" y="12"/>
                      <a:pt x="178" y="10"/>
                    </a:cubicBezTo>
                    <a:cubicBezTo>
                      <a:pt x="184" y="7"/>
                      <a:pt x="191" y="5"/>
                      <a:pt x="198" y="6"/>
                    </a:cubicBezTo>
                    <a:cubicBezTo>
                      <a:pt x="345" y="0"/>
                      <a:pt x="345" y="0"/>
                      <a:pt x="345" y="0"/>
                    </a:cubicBezTo>
                    <a:cubicBezTo>
                      <a:pt x="272" y="78"/>
                      <a:pt x="272" y="78"/>
                      <a:pt x="272" y="78"/>
                    </a:cubicBezTo>
                    <a:cubicBezTo>
                      <a:pt x="212" y="78"/>
                      <a:pt x="212" y="78"/>
                      <a:pt x="212" y="78"/>
                    </a:cubicBezTo>
                    <a:cubicBezTo>
                      <a:pt x="118" y="185"/>
                      <a:pt x="118" y="185"/>
                      <a:pt x="118" y="185"/>
                    </a:cubicBezTo>
                    <a:cubicBezTo>
                      <a:pt x="119" y="191"/>
                      <a:pt x="120" y="196"/>
                      <a:pt x="119" y="199"/>
                    </a:cubicBezTo>
                    <a:cubicBezTo>
                      <a:pt x="113" y="217"/>
                      <a:pt x="104" y="235"/>
                      <a:pt x="100" y="244"/>
                    </a:cubicBezTo>
                    <a:cubicBezTo>
                      <a:pt x="97" y="251"/>
                      <a:pt x="97" y="251"/>
                      <a:pt x="97" y="251"/>
                    </a:cubicBezTo>
                    <a:cubicBezTo>
                      <a:pt x="89" y="248"/>
                      <a:pt x="85" y="238"/>
                      <a:pt x="88" y="230"/>
                    </a:cubicBezTo>
                    <a:cubicBezTo>
                      <a:pt x="89" y="229"/>
                      <a:pt x="89" y="229"/>
                      <a:pt x="89" y="229"/>
                    </a:cubicBezTo>
                    <a:cubicBezTo>
                      <a:pt x="89" y="229"/>
                      <a:pt x="89" y="229"/>
                      <a:pt x="89" y="229"/>
                    </a:cubicBezTo>
                    <a:cubicBezTo>
                      <a:pt x="95" y="214"/>
                      <a:pt x="95" y="214"/>
                      <a:pt x="95" y="214"/>
                    </a:cubicBezTo>
                    <a:cubicBezTo>
                      <a:pt x="61" y="255"/>
                      <a:pt x="61" y="255"/>
                      <a:pt x="61" y="255"/>
                    </a:cubicBezTo>
                    <a:cubicBezTo>
                      <a:pt x="61" y="255"/>
                      <a:pt x="61" y="255"/>
                      <a:pt x="61" y="255"/>
                    </a:cubicBezTo>
                    <a:cubicBezTo>
                      <a:pt x="57" y="260"/>
                      <a:pt x="50" y="260"/>
                      <a:pt x="46" y="256"/>
                    </a:cubicBezTo>
                    <a:cubicBezTo>
                      <a:pt x="44" y="254"/>
                      <a:pt x="42" y="252"/>
                      <a:pt x="42" y="249"/>
                    </a:cubicBezTo>
                    <a:cubicBezTo>
                      <a:pt x="38" y="253"/>
                      <a:pt x="32" y="253"/>
                      <a:pt x="27" y="249"/>
                    </a:cubicBezTo>
                    <a:cubicBezTo>
                      <a:pt x="24" y="246"/>
                      <a:pt x="23" y="240"/>
                      <a:pt x="25" y="236"/>
                    </a:cubicBezTo>
                    <a:cubicBezTo>
                      <a:pt x="21" y="237"/>
                      <a:pt x="18" y="236"/>
                      <a:pt x="15" y="233"/>
                    </a:cubicBezTo>
                    <a:cubicBezTo>
                      <a:pt x="11" y="230"/>
                      <a:pt x="10" y="225"/>
                      <a:pt x="12" y="221"/>
                    </a:cubicBezTo>
                    <a:cubicBezTo>
                      <a:pt x="10" y="220"/>
                      <a:pt x="7" y="220"/>
                      <a:pt x="5" y="218"/>
                    </a:cubicBezTo>
                    <a:cubicBezTo>
                      <a:pt x="1" y="214"/>
                      <a:pt x="0" y="206"/>
                      <a:pt x="4" y="202"/>
                    </a:cubicBezTo>
                    <a:cubicBezTo>
                      <a:pt x="5" y="202"/>
                      <a:pt x="5" y="202"/>
                      <a:pt x="5" y="202"/>
                    </a:cubicBezTo>
                    <a:cubicBezTo>
                      <a:pt x="5" y="201"/>
                      <a:pt x="5" y="201"/>
                      <a:pt x="5" y="201"/>
                    </a:cubicBezTo>
                    <a:cubicBezTo>
                      <a:pt x="34" y="171"/>
                      <a:pt x="34" y="171"/>
                      <a:pt x="34" y="171"/>
                    </a:cubicBezTo>
                    <a:cubicBezTo>
                      <a:pt x="156" y="33"/>
                      <a:pt x="156" y="33"/>
                      <a:pt x="156" y="33"/>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1" name="Freeform 1353">
                <a:extLst>
                  <a:ext uri="{FF2B5EF4-FFF2-40B4-BE49-F238E27FC236}">
                    <a16:creationId xmlns:a16="http://schemas.microsoft.com/office/drawing/2014/main" id="{B36DF035-706A-49EE-B3AA-84AC8F831CC4}"/>
                  </a:ext>
                </a:extLst>
              </p:cNvPr>
              <p:cNvSpPr>
                <a:spLocks/>
              </p:cNvSpPr>
              <p:nvPr/>
            </p:nvSpPr>
            <p:spPr bwMode="auto">
              <a:xfrm>
                <a:off x="16600488" y="1358409"/>
                <a:ext cx="187325" cy="187325"/>
              </a:xfrm>
              <a:custGeom>
                <a:avLst/>
                <a:gdLst>
                  <a:gd name="T0" fmla="*/ 67 w 127"/>
                  <a:gd name="T1" fmla="*/ 0 h 127"/>
                  <a:gd name="T2" fmla="*/ 34 w 127"/>
                  <a:gd name="T3" fmla="*/ 38 h 127"/>
                  <a:gd name="T4" fmla="*/ 5 w 127"/>
                  <a:gd name="T5" fmla="*/ 68 h 127"/>
                  <a:gd name="T6" fmla="*/ 5 w 127"/>
                  <a:gd name="T7" fmla="*/ 69 h 127"/>
                  <a:gd name="T8" fmla="*/ 4 w 127"/>
                  <a:gd name="T9" fmla="*/ 69 h 127"/>
                  <a:gd name="T10" fmla="*/ 5 w 127"/>
                  <a:gd name="T11" fmla="*/ 85 h 127"/>
                  <a:gd name="T12" fmla="*/ 12 w 127"/>
                  <a:gd name="T13" fmla="*/ 88 h 127"/>
                  <a:gd name="T14" fmla="*/ 15 w 127"/>
                  <a:gd name="T15" fmla="*/ 100 h 127"/>
                  <a:gd name="T16" fmla="*/ 25 w 127"/>
                  <a:gd name="T17" fmla="*/ 103 h 127"/>
                  <a:gd name="T18" fmla="*/ 27 w 127"/>
                  <a:gd name="T19" fmla="*/ 116 h 127"/>
                  <a:gd name="T20" fmla="*/ 42 w 127"/>
                  <a:gd name="T21" fmla="*/ 116 h 127"/>
                  <a:gd name="T22" fmla="*/ 46 w 127"/>
                  <a:gd name="T23" fmla="*/ 123 h 127"/>
                  <a:gd name="T24" fmla="*/ 61 w 127"/>
                  <a:gd name="T25" fmla="*/ 122 h 127"/>
                  <a:gd name="T26" fmla="*/ 61 w 127"/>
                  <a:gd name="T27" fmla="*/ 122 h 127"/>
                  <a:gd name="T28" fmla="*/ 95 w 127"/>
                  <a:gd name="T29" fmla="*/ 81 h 127"/>
                  <a:gd name="T30" fmla="*/ 89 w 127"/>
                  <a:gd name="T31" fmla="*/ 96 h 127"/>
                  <a:gd name="T32" fmla="*/ 89 w 127"/>
                  <a:gd name="T33" fmla="*/ 96 h 127"/>
                  <a:gd name="T34" fmla="*/ 88 w 127"/>
                  <a:gd name="T35" fmla="*/ 97 h 127"/>
                  <a:gd name="T36" fmla="*/ 97 w 127"/>
                  <a:gd name="T37" fmla="*/ 118 h 127"/>
                  <a:gd name="T38" fmla="*/ 100 w 127"/>
                  <a:gd name="T39" fmla="*/ 111 h 127"/>
                  <a:gd name="T40" fmla="*/ 119 w 127"/>
                  <a:gd name="T41" fmla="*/ 66 h 127"/>
                  <a:gd name="T42" fmla="*/ 118 w 127"/>
                  <a:gd name="T43" fmla="*/ 52 h 127"/>
                  <a:gd name="T44" fmla="*/ 127 w 127"/>
                  <a:gd name="T45" fmla="*/ 41 h 127"/>
                  <a:gd name="T46" fmla="*/ 67 w 127"/>
                  <a:gd name="T4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 h="127">
                    <a:moveTo>
                      <a:pt x="67" y="0"/>
                    </a:moveTo>
                    <a:cubicBezTo>
                      <a:pt x="34" y="38"/>
                      <a:pt x="34" y="38"/>
                      <a:pt x="34" y="38"/>
                    </a:cubicBezTo>
                    <a:cubicBezTo>
                      <a:pt x="5" y="68"/>
                      <a:pt x="5" y="68"/>
                      <a:pt x="5" y="68"/>
                    </a:cubicBezTo>
                    <a:cubicBezTo>
                      <a:pt x="5" y="69"/>
                      <a:pt x="5" y="69"/>
                      <a:pt x="5" y="69"/>
                    </a:cubicBezTo>
                    <a:cubicBezTo>
                      <a:pt x="4" y="69"/>
                      <a:pt x="4" y="69"/>
                      <a:pt x="4" y="69"/>
                    </a:cubicBezTo>
                    <a:cubicBezTo>
                      <a:pt x="0" y="73"/>
                      <a:pt x="1" y="81"/>
                      <a:pt x="5" y="85"/>
                    </a:cubicBezTo>
                    <a:cubicBezTo>
                      <a:pt x="7" y="87"/>
                      <a:pt x="10" y="87"/>
                      <a:pt x="12" y="88"/>
                    </a:cubicBezTo>
                    <a:cubicBezTo>
                      <a:pt x="10" y="92"/>
                      <a:pt x="11" y="97"/>
                      <a:pt x="15" y="100"/>
                    </a:cubicBezTo>
                    <a:cubicBezTo>
                      <a:pt x="18" y="103"/>
                      <a:pt x="21" y="104"/>
                      <a:pt x="25" y="103"/>
                    </a:cubicBezTo>
                    <a:cubicBezTo>
                      <a:pt x="23" y="107"/>
                      <a:pt x="24" y="113"/>
                      <a:pt x="27" y="116"/>
                    </a:cubicBezTo>
                    <a:cubicBezTo>
                      <a:pt x="32" y="120"/>
                      <a:pt x="38" y="120"/>
                      <a:pt x="42" y="116"/>
                    </a:cubicBezTo>
                    <a:cubicBezTo>
                      <a:pt x="42" y="119"/>
                      <a:pt x="44" y="121"/>
                      <a:pt x="46" y="123"/>
                    </a:cubicBezTo>
                    <a:cubicBezTo>
                      <a:pt x="50" y="127"/>
                      <a:pt x="57" y="127"/>
                      <a:pt x="61" y="122"/>
                    </a:cubicBezTo>
                    <a:cubicBezTo>
                      <a:pt x="61" y="122"/>
                      <a:pt x="61" y="122"/>
                      <a:pt x="61" y="122"/>
                    </a:cubicBezTo>
                    <a:cubicBezTo>
                      <a:pt x="95" y="81"/>
                      <a:pt x="95" y="81"/>
                      <a:pt x="95" y="81"/>
                    </a:cubicBezTo>
                    <a:cubicBezTo>
                      <a:pt x="89" y="96"/>
                      <a:pt x="89" y="96"/>
                      <a:pt x="89" y="96"/>
                    </a:cubicBezTo>
                    <a:cubicBezTo>
                      <a:pt x="89" y="96"/>
                      <a:pt x="89" y="96"/>
                      <a:pt x="89" y="96"/>
                    </a:cubicBezTo>
                    <a:cubicBezTo>
                      <a:pt x="88" y="97"/>
                      <a:pt x="88" y="97"/>
                      <a:pt x="88" y="97"/>
                    </a:cubicBezTo>
                    <a:cubicBezTo>
                      <a:pt x="85" y="105"/>
                      <a:pt x="89" y="115"/>
                      <a:pt x="97" y="118"/>
                    </a:cubicBezTo>
                    <a:cubicBezTo>
                      <a:pt x="100" y="111"/>
                      <a:pt x="100" y="111"/>
                      <a:pt x="100" y="111"/>
                    </a:cubicBezTo>
                    <a:cubicBezTo>
                      <a:pt x="104" y="102"/>
                      <a:pt x="113" y="84"/>
                      <a:pt x="119" y="66"/>
                    </a:cubicBezTo>
                    <a:cubicBezTo>
                      <a:pt x="120" y="63"/>
                      <a:pt x="119" y="58"/>
                      <a:pt x="118" y="52"/>
                    </a:cubicBezTo>
                    <a:cubicBezTo>
                      <a:pt x="127" y="41"/>
                      <a:pt x="127" y="41"/>
                      <a:pt x="127" y="41"/>
                    </a:cubicBezTo>
                    <a:cubicBezTo>
                      <a:pt x="67" y="0"/>
                      <a:pt x="67" y="0"/>
                      <a:pt x="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2" name="Freeform 1354">
                <a:extLst>
                  <a:ext uri="{FF2B5EF4-FFF2-40B4-BE49-F238E27FC236}">
                    <a16:creationId xmlns:a16="http://schemas.microsoft.com/office/drawing/2014/main" id="{8DE91496-36E9-4C35-A21D-FFD2247A8081}"/>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3" name="Freeform 1355">
                <a:extLst>
                  <a:ext uri="{FF2B5EF4-FFF2-40B4-BE49-F238E27FC236}">
                    <a16:creationId xmlns:a16="http://schemas.microsoft.com/office/drawing/2014/main" id="{1E9A09D2-6A3B-4B04-AF45-BBB314F1A0DA}"/>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4" name="Freeform 1356">
                <a:extLst>
                  <a:ext uri="{FF2B5EF4-FFF2-40B4-BE49-F238E27FC236}">
                    <a16:creationId xmlns:a16="http://schemas.microsoft.com/office/drawing/2014/main" id="{89ED31FC-5128-44A6-A3CD-10368BA5CFC8}"/>
                  </a:ext>
                </a:extLst>
              </p:cNvPr>
              <p:cNvSpPr>
                <a:spLocks/>
              </p:cNvSpPr>
              <p:nvPr/>
            </p:nvSpPr>
            <p:spPr bwMode="auto">
              <a:xfrm>
                <a:off x="16868775" y="1137746"/>
                <a:ext cx="919162" cy="479425"/>
              </a:xfrm>
              <a:custGeom>
                <a:avLst/>
                <a:gdLst>
                  <a:gd name="T0" fmla="*/ 586 w 621"/>
                  <a:gd name="T1" fmla="*/ 39 h 326"/>
                  <a:gd name="T2" fmla="*/ 463 w 621"/>
                  <a:gd name="T3" fmla="*/ 116 h 326"/>
                  <a:gd name="T4" fmla="*/ 336 w 621"/>
                  <a:gd name="T5" fmla="*/ 70 h 326"/>
                  <a:gd name="T6" fmla="*/ 196 w 621"/>
                  <a:gd name="T7" fmla="*/ 0 h 326"/>
                  <a:gd name="T8" fmla="*/ 127 w 621"/>
                  <a:gd name="T9" fmla="*/ 32 h 326"/>
                  <a:gd name="T10" fmla="*/ 0 w 621"/>
                  <a:gd name="T11" fmla="*/ 232 h 326"/>
                  <a:gd name="T12" fmla="*/ 231 w 621"/>
                  <a:gd name="T13" fmla="*/ 326 h 326"/>
                  <a:gd name="T14" fmla="*/ 312 w 621"/>
                  <a:gd name="T15" fmla="*/ 163 h 326"/>
                  <a:gd name="T16" fmla="*/ 454 w 621"/>
                  <a:gd name="T17" fmla="*/ 195 h 326"/>
                  <a:gd name="T18" fmla="*/ 476 w 621"/>
                  <a:gd name="T19" fmla="*/ 197 h 326"/>
                  <a:gd name="T20" fmla="*/ 488 w 621"/>
                  <a:gd name="T21" fmla="*/ 192 h 326"/>
                  <a:gd name="T22" fmla="*/ 621 w 621"/>
                  <a:gd name="T23" fmla="*/ 109 h 326"/>
                  <a:gd name="T24" fmla="*/ 586 w 621"/>
                  <a:gd name="T25" fmla="*/ 3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1" h="326">
                    <a:moveTo>
                      <a:pt x="586" y="39"/>
                    </a:moveTo>
                    <a:cubicBezTo>
                      <a:pt x="463" y="116"/>
                      <a:pt x="463" y="116"/>
                      <a:pt x="463" y="116"/>
                    </a:cubicBezTo>
                    <a:cubicBezTo>
                      <a:pt x="336" y="70"/>
                      <a:pt x="336" y="70"/>
                      <a:pt x="336" y="70"/>
                    </a:cubicBezTo>
                    <a:cubicBezTo>
                      <a:pt x="263" y="52"/>
                      <a:pt x="233" y="55"/>
                      <a:pt x="196" y="0"/>
                    </a:cubicBezTo>
                    <a:cubicBezTo>
                      <a:pt x="177" y="12"/>
                      <a:pt x="147" y="8"/>
                      <a:pt x="127" y="32"/>
                    </a:cubicBezTo>
                    <a:cubicBezTo>
                      <a:pt x="78" y="89"/>
                      <a:pt x="53" y="179"/>
                      <a:pt x="0" y="232"/>
                    </a:cubicBezTo>
                    <a:cubicBezTo>
                      <a:pt x="37" y="242"/>
                      <a:pt x="191" y="320"/>
                      <a:pt x="231" y="326"/>
                    </a:cubicBezTo>
                    <a:cubicBezTo>
                      <a:pt x="247" y="286"/>
                      <a:pt x="268" y="230"/>
                      <a:pt x="312" y="163"/>
                    </a:cubicBezTo>
                    <a:cubicBezTo>
                      <a:pt x="454" y="195"/>
                      <a:pt x="454" y="195"/>
                      <a:pt x="454" y="195"/>
                    </a:cubicBezTo>
                    <a:cubicBezTo>
                      <a:pt x="461" y="198"/>
                      <a:pt x="469" y="198"/>
                      <a:pt x="476" y="197"/>
                    </a:cubicBezTo>
                    <a:cubicBezTo>
                      <a:pt x="480" y="196"/>
                      <a:pt x="484" y="194"/>
                      <a:pt x="488" y="192"/>
                    </a:cubicBezTo>
                    <a:cubicBezTo>
                      <a:pt x="621" y="109"/>
                      <a:pt x="621" y="109"/>
                      <a:pt x="621" y="109"/>
                    </a:cubicBezTo>
                    <a:cubicBezTo>
                      <a:pt x="586" y="39"/>
                      <a:pt x="586" y="39"/>
                      <a:pt x="586" y="3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5" name="Freeform 1357">
                <a:extLst>
                  <a:ext uri="{FF2B5EF4-FFF2-40B4-BE49-F238E27FC236}">
                    <a16:creationId xmlns:a16="http://schemas.microsoft.com/office/drawing/2014/main" id="{52BCAAB1-2A65-4089-A795-BBB30F745667}"/>
                  </a:ext>
                </a:extLst>
              </p:cNvPr>
              <p:cNvSpPr>
                <a:spLocks/>
              </p:cNvSpPr>
              <p:nvPr/>
            </p:nvSpPr>
            <p:spPr bwMode="auto">
              <a:xfrm>
                <a:off x="17329150" y="1280621"/>
                <a:ext cx="458787" cy="147637"/>
              </a:xfrm>
              <a:custGeom>
                <a:avLst/>
                <a:gdLst>
                  <a:gd name="T0" fmla="*/ 303 w 309"/>
                  <a:gd name="T1" fmla="*/ 0 h 101"/>
                  <a:gd name="T2" fmla="*/ 174 w 309"/>
                  <a:gd name="T3" fmla="*/ 80 h 101"/>
                  <a:gd name="T4" fmla="*/ 162 w 309"/>
                  <a:gd name="T5" fmla="*/ 85 h 101"/>
                  <a:gd name="T6" fmla="*/ 153 w 309"/>
                  <a:gd name="T7" fmla="*/ 86 h 101"/>
                  <a:gd name="T8" fmla="*/ 140 w 309"/>
                  <a:gd name="T9" fmla="*/ 84 h 101"/>
                  <a:gd name="T10" fmla="*/ 7 w 309"/>
                  <a:gd name="T11" fmla="*/ 54 h 101"/>
                  <a:gd name="T12" fmla="*/ 0 w 309"/>
                  <a:gd name="T13" fmla="*/ 66 h 101"/>
                  <a:gd name="T14" fmla="*/ 142 w 309"/>
                  <a:gd name="T15" fmla="*/ 98 h 101"/>
                  <a:gd name="T16" fmla="*/ 155 w 309"/>
                  <a:gd name="T17" fmla="*/ 101 h 101"/>
                  <a:gd name="T18" fmla="*/ 164 w 309"/>
                  <a:gd name="T19" fmla="*/ 100 h 101"/>
                  <a:gd name="T20" fmla="*/ 176 w 309"/>
                  <a:gd name="T21" fmla="*/ 95 h 101"/>
                  <a:gd name="T22" fmla="*/ 309 w 309"/>
                  <a:gd name="T23" fmla="*/ 12 h 101"/>
                  <a:gd name="T24" fmla="*/ 303 w 309"/>
                  <a:gd name="T2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101">
                    <a:moveTo>
                      <a:pt x="303" y="0"/>
                    </a:moveTo>
                    <a:cubicBezTo>
                      <a:pt x="174" y="80"/>
                      <a:pt x="174" y="80"/>
                      <a:pt x="174" y="80"/>
                    </a:cubicBezTo>
                    <a:cubicBezTo>
                      <a:pt x="170" y="83"/>
                      <a:pt x="166" y="84"/>
                      <a:pt x="162" y="85"/>
                    </a:cubicBezTo>
                    <a:cubicBezTo>
                      <a:pt x="159" y="86"/>
                      <a:pt x="156" y="86"/>
                      <a:pt x="153" y="86"/>
                    </a:cubicBezTo>
                    <a:cubicBezTo>
                      <a:pt x="149" y="86"/>
                      <a:pt x="144" y="85"/>
                      <a:pt x="140" y="84"/>
                    </a:cubicBezTo>
                    <a:cubicBezTo>
                      <a:pt x="7" y="54"/>
                      <a:pt x="7" y="54"/>
                      <a:pt x="7" y="54"/>
                    </a:cubicBezTo>
                    <a:cubicBezTo>
                      <a:pt x="0" y="66"/>
                      <a:pt x="0" y="66"/>
                      <a:pt x="0" y="66"/>
                    </a:cubicBezTo>
                    <a:cubicBezTo>
                      <a:pt x="142" y="98"/>
                      <a:pt x="142" y="98"/>
                      <a:pt x="142" y="98"/>
                    </a:cubicBezTo>
                    <a:cubicBezTo>
                      <a:pt x="147" y="100"/>
                      <a:pt x="151" y="101"/>
                      <a:pt x="155" y="101"/>
                    </a:cubicBezTo>
                    <a:cubicBezTo>
                      <a:pt x="158" y="101"/>
                      <a:pt x="161" y="100"/>
                      <a:pt x="164" y="100"/>
                    </a:cubicBezTo>
                    <a:cubicBezTo>
                      <a:pt x="168" y="99"/>
                      <a:pt x="172" y="97"/>
                      <a:pt x="176" y="95"/>
                    </a:cubicBezTo>
                    <a:cubicBezTo>
                      <a:pt x="309" y="12"/>
                      <a:pt x="309" y="12"/>
                      <a:pt x="309" y="12"/>
                    </a:cubicBezTo>
                    <a:cubicBezTo>
                      <a:pt x="303" y="0"/>
                      <a:pt x="303" y="0"/>
                      <a:pt x="30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6" name="Freeform 1358">
                <a:extLst>
                  <a:ext uri="{FF2B5EF4-FFF2-40B4-BE49-F238E27FC236}">
                    <a16:creationId xmlns:a16="http://schemas.microsoft.com/office/drawing/2014/main" id="{8277A565-56F3-41A6-9336-D7A364532D18}"/>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7" name="Freeform 1359">
                <a:extLst>
                  <a:ext uri="{FF2B5EF4-FFF2-40B4-BE49-F238E27FC236}">
                    <a16:creationId xmlns:a16="http://schemas.microsoft.com/office/drawing/2014/main" id="{25D4BE42-4668-49EF-A659-B07CDD0103FF}"/>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8" name="Freeform 1360">
                <a:extLst>
                  <a:ext uri="{FF2B5EF4-FFF2-40B4-BE49-F238E27FC236}">
                    <a16:creationId xmlns:a16="http://schemas.microsoft.com/office/drawing/2014/main" id="{FFDDDDB2-FE2B-42C7-8A69-9B8327A78FB1}"/>
                  </a:ext>
                </a:extLst>
              </p:cNvPr>
              <p:cNvSpPr>
                <a:spLocks/>
              </p:cNvSpPr>
              <p:nvPr/>
            </p:nvSpPr>
            <p:spPr bwMode="auto">
              <a:xfrm>
                <a:off x="17110075" y="1633046"/>
                <a:ext cx="93662" cy="401637"/>
              </a:xfrm>
              <a:custGeom>
                <a:avLst/>
                <a:gdLst>
                  <a:gd name="T0" fmla="*/ 41 w 64"/>
                  <a:gd name="T1" fmla="*/ 0 h 273"/>
                  <a:gd name="T2" fmla="*/ 42 w 64"/>
                  <a:gd name="T3" fmla="*/ 120 h 273"/>
                  <a:gd name="T4" fmla="*/ 51 w 64"/>
                  <a:gd name="T5" fmla="*/ 127 h 273"/>
                  <a:gd name="T6" fmla="*/ 49 w 64"/>
                  <a:gd name="T7" fmla="*/ 129 h 273"/>
                  <a:gd name="T8" fmla="*/ 41 w 64"/>
                  <a:gd name="T9" fmla="*/ 123 h 273"/>
                  <a:gd name="T10" fmla="*/ 12 w 64"/>
                  <a:gd name="T11" fmla="*/ 123 h 273"/>
                  <a:gd name="T12" fmla="*/ 0 w 64"/>
                  <a:gd name="T13" fmla="*/ 134 h 273"/>
                  <a:gd name="T14" fmla="*/ 0 w 64"/>
                  <a:gd name="T15" fmla="*/ 220 h 273"/>
                  <a:gd name="T16" fmla="*/ 12 w 64"/>
                  <a:gd name="T17" fmla="*/ 231 h 273"/>
                  <a:gd name="T18" fmla="*/ 43 w 64"/>
                  <a:gd name="T19" fmla="*/ 231 h 273"/>
                  <a:gd name="T20" fmla="*/ 43 w 64"/>
                  <a:gd name="T21" fmla="*/ 273 h 273"/>
                  <a:gd name="T22" fmla="*/ 43 w 64"/>
                  <a:gd name="T23" fmla="*/ 273 h 273"/>
                  <a:gd name="T24" fmla="*/ 43 w 64"/>
                  <a:gd name="T25" fmla="*/ 273 h 273"/>
                  <a:gd name="T26" fmla="*/ 64 w 64"/>
                  <a:gd name="T27" fmla="*/ 266 h 273"/>
                  <a:gd name="T28" fmla="*/ 63 w 64"/>
                  <a:gd name="T29" fmla="*/ 237 h 273"/>
                  <a:gd name="T30" fmla="*/ 63 w 64"/>
                  <a:gd name="T31" fmla="*/ 219 h 273"/>
                  <a:gd name="T32" fmla="*/ 21 w 64"/>
                  <a:gd name="T33" fmla="*/ 219 h 273"/>
                  <a:gd name="T34" fmla="*/ 11 w 64"/>
                  <a:gd name="T35" fmla="*/ 209 h 273"/>
                  <a:gd name="T36" fmla="*/ 21 w 64"/>
                  <a:gd name="T37" fmla="*/ 199 h 273"/>
                  <a:gd name="T38" fmla="*/ 63 w 64"/>
                  <a:gd name="T39" fmla="*/ 199 h 273"/>
                  <a:gd name="T40" fmla="*/ 63 w 64"/>
                  <a:gd name="T41" fmla="*/ 187 h 273"/>
                  <a:gd name="T42" fmla="*/ 21 w 64"/>
                  <a:gd name="T43" fmla="*/ 187 h 273"/>
                  <a:gd name="T44" fmla="*/ 11 w 64"/>
                  <a:gd name="T45" fmla="*/ 177 h 273"/>
                  <a:gd name="T46" fmla="*/ 21 w 64"/>
                  <a:gd name="T47" fmla="*/ 167 h 273"/>
                  <a:gd name="T48" fmla="*/ 63 w 64"/>
                  <a:gd name="T49" fmla="*/ 167 h 273"/>
                  <a:gd name="T50" fmla="*/ 63 w 64"/>
                  <a:gd name="T51" fmla="*/ 155 h 273"/>
                  <a:gd name="T52" fmla="*/ 21 w 64"/>
                  <a:gd name="T53" fmla="*/ 155 h 273"/>
                  <a:gd name="T54" fmla="*/ 11 w 64"/>
                  <a:gd name="T55" fmla="*/ 145 h 273"/>
                  <a:gd name="T56" fmla="*/ 21 w 64"/>
                  <a:gd name="T57" fmla="*/ 135 h 273"/>
                  <a:gd name="T58" fmla="*/ 59 w 64"/>
                  <a:gd name="T59" fmla="*/ 135 h 273"/>
                  <a:gd name="T60" fmla="*/ 56 w 64"/>
                  <a:gd name="T61" fmla="*/ 133 h 273"/>
                  <a:gd name="T62" fmla="*/ 57 w 64"/>
                  <a:gd name="T63" fmla="*/ 131 h 273"/>
                  <a:gd name="T64" fmla="*/ 62 w 64"/>
                  <a:gd name="T65" fmla="*/ 135 h 273"/>
                  <a:gd name="T66" fmla="*/ 62 w 64"/>
                  <a:gd name="T67" fmla="*/ 123 h 273"/>
                  <a:gd name="T68" fmla="*/ 61 w 64"/>
                  <a:gd name="T69" fmla="*/ 9 h 273"/>
                  <a:gd name="T70" fmla="*/ 61 w 64"/>
                  <a:gd name="T71" fmla="*/ 9 h 273"/>
                  <a:gd name="T72" fmla="*/ 41 w 64"/>
                  <a:gd name="T7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273">
                    <a:moveTo>
                      <a:pt x="41" y="0"/>
                    </a:moveTo>
                    <a:cubicBezTo>
                      <a:pt x="42" y="120"/>
                      <a:pt x="42" y="120"/>
                      <a:pt x="42" y="120"/>
                    </a:cubicBezTo>
                    <a:cubicBezTo>
                      <a:pt x="45" y="122"/>
                      <a:pt x="48" y="125"/>
                      <a:pt x="51" y="127"/>
                    </a:cubicBezTo>
                    <a:cubicBezTo>
                      <a:pt x="49" y="129"/>
                      <a:pt x="49" y="129"/>
                      <a:pt x="49" y="129"/>
                    </a:cubicBezTo>
                    <a:cubicBezTo>
                      <a:pt x="47" y="127"/>
                      <a:pt x="44" y="125"/>
                      <a:pt x="41" y="123"/>
                    </a:cubicBezTo>
                    <a:cubicBezTo>
                      <a:pt x="12" y="123"/>
                      <a:pt x="12" y="123"/>
                      <a:pt x="12" y="123"/>
                    </a:cubicBezTo>
                    <a:cubicBezTo>
                      <a:pt x="5" y="123"/>
                      <a:pt x="0" y="128"/>
                      <a:pt x="0" y="134"/>
                    </a:cubicBezTo>
                    <a:cubicBezTo>
                      <a:pt x="0" y="220"/>
                      <a:pt x="0" y="220"/>
                      <a:pt x="0" y="220"/>
                    </a:cubicBezTo>
                    <a:cubicBezTo>
                      <a:pt x="0" y="226"/>
                      <a:pt x="5" y="231"/>
                      <a:pt x="12" y="231"/>
                    </a:cubicBezTo>
                    <a:cubicBezTo>
                      <a:pt x="43" y="231"/>
                      <a:pt x="43" y="231"/>
                      <a:pt x="43" y="231"/>
                    </a:cubicBezTo>
                    <a:cubicBezTo>
                      <a:pt x="43" y="273"/>
                      <a:pt x="43" y="273"/>
                      <a:pt x="43" y="273"/>
                    </a:cubicBezTo>
                    <a:cubicBezTo>
                      <a:pt x="43" y="273"/>
                      <a:pt x="43" y="273"/>
                      <a:pt x="43" y="273"/>
                    </a:cubicBezTo>
                    <a:cubicBezTo>
                      <a:pt x="43" y="273"/>
                      <a:pt x="43" y="273"/>
                      <a:pt x="43" y="273"/>
                    </a:cubicBezTo>
                    <a:cubicBezTo>
                      <a:pt x="49" y="271"/>
                      <a:pt x="56" y="269"/>
                      <a:pt x="64" y="266"/>
                    </a:cubicBezTo>
                    <a:cubicBezTo>
                      <a:pt x="63" y="237"/>
                      <a:pt x="63" y="237"/>
                      <a:pt x="63" y="237"/>
                    </a:cubicBezTo>
                    <a:cubicBezTo>
                      <a:pt x="63" y="219"/>
                      <a:pt x="63" y="219"/>
                      <a:pt x="63" y="219"/>
                    </a:cubicBezTo>
                    <a:cubicBezTo>
                      <a:pt x="21" y="219"/>
                      <a:pt x="21" y="219"/>
                      <a:pt x="21" y="219"/>
                    </a:cubicBezTo>
                    <a:cubicBezTo>
                      <a:pt x="15" y="219"/>
                      <a:pt x="11" y="215"/>
                      <a:pt x="11" y="209"/>
                    </a:cubicBezTo>
                    <a:cubicBezTo>
                      <a:pt x="11" y="203"/>
                      <a:pt x="15" y="199"/>
                      <a:pt x="21" y="199"/>
                    </a:cubicBezTo>
                    <a:cubicBezTo>
                      <a:pt x="63" y="199"/>
                      <a:pt x="63" y="199"/>
                      <a:pt x="63" y="199"/>
                    </a:cubicBezTo>
                    <a:cubicBezTo>
                      <a:pt x="63" y="187"/>
                      <a:pt x="63" y="187"/>
                      <a:pt x="63" y="187"/>
                    </a:cubicBezTo>
                    <a:cubicBezTo>
                      <a:pt x="21" y="187"/>
                      <a:pt x="21" y="187"/>
                      <a:pt x="21" y="187"/>
                    </a:cubicBezTo>
                    <a:cubicBezTo>
                      <a:pt x="15" y="187"/>
                      <a:pt x="11" y="183"/>
                      <a:pt x="11" y="177"/>
                    </a:cubicBezTo>
                    <a:cubicBezTo>
                      <a:pt x="11" y="172"/>
                      <a:pt x="15" y="167"/>
                      <a:pt x="21" y="167"/>
                    </a:cubicBezTo>
                    <a:cubicBezTo>
                      <a:pt x="63" y="167"/>
                      <a:pt x="63" y="167"/>
                      <a:pt x="63" y="167"/>
                    </a:cubicBezTo>
                    <a:cubicBezTo>
                      <a:pt x="63" y="155"/>
                      <a:pt x="63" y="155"/>
                      <a:pt x="63" y="155"/>
                    </a:cubicBezTo>
                    <a:cubicBezTo>
                      <a:pt x="21" y="155"/>
                      <a:pt x="21" y="155"/>
                      <a:pt x="21" y="155"/>
                    </a:cubicBezTo>
                    <a:cubicBezTo>
                      <a:pt x="15" y="155"/>
                      <a:pt x="11" y="151"/>
                      <a:pt x="11" y="145"/>
                    </a:cubicBezTo>
                    <a:cubicBezTo>
                      <a:pt x="11" y="140"/>
                      <a:pt x="15" y="135"/>
                      <a:pt x="21" y="135"/>
                    </a:cubicBezTo>
                    <a:cubicBezTo>
                      <a:pt x="59" y="135"/>
                      <a:pt x="59" y="135"/>
                      <a:pt x="59" y="135"/>
                    </a:cubicBezTo>
                    <a:cubicBezTo>
                      <a:pt x="58" y="135"/>
                      <a:pt x="57" y="134"/>
                      <a:pt x="56" y="133"/>
                    </a:cubicBezTo>
                    <a:cubicBezTo>
                      <a:pt x="57" y="131"/>
                      <a:pt x="57" y="131"/>
                      <a:pt x="57" y="131"/>
                    </a:cubicBezTo>
                    <a:cubicBezTo>
                      <a:pt x="59" y="132"/>
                      <a:pt x="61" y="134"/>
                      <a:pt x="62" y="135"/>
                    </a:cubicBezTo>
                    <a:cubicBezTo>
                      <a:pt x="62" y="123"/>
                      <a:pt x="62" y="123"/>
                      <a:pt x="62" y="123"/>
                    </a:cubicBezTo>
                    <a:cubicBezTo>
                      <a:pt x="61" y="9"/>
                      <a:pt x="61" y="9"/>
                      <a:pt x="61" y="9"/>
                    </a:cubicBezTo>
                    <a:cubicBezTo>
                      <a:pt x="61" y="9"/>
                      <a:pt x="61" y="9"/>
                      <a:pt x="61" y="9"/>
                    </a:cubicBezTo>
                    <a:cubicBezTo>
                      <a:pt x="41" y="0"/>
                      <a:pt x="41" y="0"/>
                      <a:pt x="41"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9" name="Freeform 1361">
                <a:extLst>
                  <a:ext uri="{FF2B5EF4-FFF2-40B4-BE49-F238E27FC236}">
                    <a16:creationId xmlns:a16="http://schemas.microsoft.com/office/drawing/2014/main" id="{5BC56AF7-412F-4485-9E7D-D7B5E4965E70}"/>
                  </a:ext>
                </a:extLst>
              </p:cNvPr>
              <p:cNvSpPr>
                <a:spLocks/>
              </p:cNvSpPr>
              <p:nvPr/>
            </p:nvSpPr>
            <p:spPr bwMode="auto">
              <a:xfrm>
                <a:off x="17191038" y="1371109"/>
                <a:ext cx="138112" cy="223837"/>
              </a:xfrm>
              <a:custGeom>
                <a:avLst/>
                <a:gdLst>
                  <a:gd name="T0" fmla="*/ 74 w 94"/>
                  <a:gd name="T1" fmla="*/ 0 h 152"/>
                  <a:gd name="T2" fmla="*/ 0 w 94"/>
                  <a:gd name="T3" fmla="*/ 144 h 152"/>
                  <a:gd name="T4" fmla="*/ 19 w 94"/>
                  <a:gd name="T5" fmla="*/ 152 h 152"/>
                  <a:gd name="T6" fmla="*/ 94 w 94"/>
                  <a:gd name="T7" fmla="*/ 4 h 152"/>
                  <a:gd name="T8" fmla="*/ 74 w 94"/>
                  <a:gd name="T9" fmla="*/ 0 h 152"/>
                </a:gdLst>
                <a:ahLst/>
                <a:cxnLst>
                  <a:cxn ang="0">
                    <a:pos x="T0" y="T1"/>
                  </a:cxn>
                  <a:cxn ang="0">
                    <a:pos x="T2" y="T3"/>
                  </a:cxn>
                  <a:cxn ang="0">
                    <a:pos x="T4" y="T5"/>
                  </a:cxn>
                  <a:cxn ang="0">
                    <a:pos x="T6" y="T7"/>
                  </a:cxn>
                  <a:cxn ang="0">
                    <a:pos x="T8" y="T9"/>
                  </a:cxn>
                </a:cxnLst>
                <a:rect l="0" t="0" r="r" b="b"/>
                <a:pathLst>
                  <a:path w="94" h="152">
                    <a:moveTo>
                      <a:pt x="74" y="0"/>
                    </a:moveTo>
                    <a:cubicBezTo>
                      <a:pt x="36" y="57"/>
                      <a:pt x="15" y="106"/>
                      <a:pt x="0" y="144"/>
                    </a:cubicBezTo>
                    <a:cubicBezTo>
                      <a:pt x="19" y="152"/>
                      <a:pt x="19" y="152"/>
                      <a:pt x="19" y="152"/>
                    </a:cubicBezTo>
                    <a:cubicBezTo>
                      <a:pt x="34" y="113"/>
                      <a:pt x="55" y="63"/>
                      <a:pt x="94" y="4"/>
                    </a:cubicBezTo>
                    <a:cubicBezTo>
                      <a:pt x="74" y="0"/>
                      <a:pt x="74" y="0"/>
                      <a:pt x="74"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0" name="Freeform 1362">
                <a:extLst>
                  <a:ext uri="{FF2B5EF4-FFF2-40B4-BE49-F238E27FC236}">
                    <a16:creationId xmlns:a16="http://schemas.microsoft.com/office/drawing/2014/main" id="{5D5863E3-4196-487F-9C7A-E16F2AB9CB4C}"/>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1" name="Freeform 1363">
                <a:extLst>
                  <a:ext uri="{FF2B5EF4-FFF2-40B4-BE49-F238E27FC236}">
                    <a16:creationId xmlns:a16="http://schemas.microsoft.com/office/drawing/2014/main" id="{E661B0F4-37B6-4365-8D93-5140714A218C}"/>
                  </a:ext>
                </a:extLst>
              </p:cNvPr>
              <p:cNvSpPr>
                <a:spLocks/>
              </p:cNvSpPr>
              <p:nvPr/>
            </p:nvSpPr>
            <p:spPr bwMode="auto">
              <a:xfrm>
                <a:off x="17738725" y="1080596"/>
                <a:ext cx="204787" cy="207962"/>
              </a:xfrm>
              <a:custGeom>
                <a:avLst/>
                <a:gdLst>
                  <a:gd name="T0" fmla="*/ 133 w 139"/>
                  <a:gd name="T1" fmla="*/ 60 h 142"/>
                  <a:gd name="T2" fmla="*/ 129 w 139"/>
                  <a:gd name="T3" fmla="*/ 53 h 142"/>
                  <a:gd name="T4" fmla="*/ 129 w 139"/>
                  <a:gd name="T5" fmla="*/ 53 h 142"/>
                  <a:gd name="T6" fmla="*/ 137 w 139"/>
                  <a:gd name="T7" fmla="*/ 37 h 142"/>
                  <a:gd name="T8" fmla="*/ 126 w 139"/>
                  <a:gd name="T9" fmla="*/ 29 h 142"/>
                  <a:gd name="T10" fmla="*/ 126 w 139"/>
                  <a:gd name="T11" fmla="*/ 21 h 142"/>
                  <a:gd name="T12" fmla="*/ 110 w 139"/>
                  <a:gd name="T13" fmla="*/ 13 h 142"/>
                  <a:gd name="T14" fmla="*/ 92 w 139"/>
                  <a:gd name="T15" fmla="*/ 20 h 142"/>
                  <a:gd name="T16" fmla="*/ 88 w 139"/>
                  <a:gd name="T17" fmla="*/ 21 h 142"/>
                  <a:gd name="T18" fmla="*/ 85 w 139"/>
                  <a:gd name="T19" fmla="*/ 21 h 142"/>
                  <a:gd name="T20" fmla="*/ 47 w 139"/>
                  <a:gd name="T21" fmla="*/ 14 h 142"/>
                  <a:gd name="T22" fmla="*/ 32 w 139"/>
                  <a:gd name="T23" fmla="*/ 58 h 142"/>
                  <a:gd name="T24" fmla="*/ 32 w 139"/>
                  <a:gd name="T25" fmla="*/ 59 h 142"/>
                  <a:gd name="T26" fmla="*/ 0 w 139"/>
                  <a:gd name="T27" fmla="*/ 77 h 142"/>
                  <a:gd name="T28" fmla="*/ 43 w 139"/>
                  <a:gd name="T29" fmla="*/ 142 h 142"/>
                  <a:gd name="T30" fmla="*/ 95 w 139"/>
                  <a:gd name="T31" fmla="*/ 107 h 142"/>
                  <a:gd name="T32" fmla="*/ 95 w 139"/>
                  <a:gd name="T33" fmla="*/ 107 h 142"/>
                  <a:gd name="T34" fmla="*/ 95 w 139"/>
                  <a:gd name="T35" fmla="*/ 107 h 142"/>
                  <a:gd name="T36" fmla="*/ 96 w 139"/>
                  <a:gd name="T37" fmla="*/ 106 h 142"/>
                  <a:gd name="T38" fmla="*/ 123 w 139"/>
                  <a:gd name="T39" fmla="*/ 97 h 142"/>
                  <a:gd name="T40" fmla="*/ 131 w 139"/>
                  <a:gd name="T41" fmla="*/ 80 h 142"/>
                  <a:gd name="T42" fmla="*/ 127 w 139"/>
                  <a:gd name="T43" fmla="*/ 75 h 142"/>
                  <a:gd name="T44" fmla="*/ 133 w 139"/>
                  <a:gd name="T45" fmla="*/ 6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42">
                    <a:moveTo>
                      <a:pt x="133" y="60"/>
                    </a:moveTo>
                    <a:cubicBezTo>
                      <a:pt x="132" y="57"/>
                      <a:pt x="131" y="55"/>
                      <a:pt x="129" y="53"/>
                    </a:cubicBezTo>
                    <a:cubicBezTo>
                      <a:pt x="129" y="53"/>
                      <a:pt x="129" y="53"/>
                      <a:pt x="129" y="53"/>
                    </a:cubicBezTo>
                    <a:cubicBezTo>
                      <a:pt x="135" y="51"/>
                      <a:pt x="139" y="44"/>
                      <a:pt x="137" y="37"/>
                    </a:cubicBezTo>
                    <a:cubicBezTo>
                      <a:pt x="135" y="33"/>
                      <a:pt x="131" y="30"/>
                      <a:pt x="126" y="29"/>
                    </a:cubicBezTo>
                    <a:cubicBezTo>
                      <a:pt x="127" y="26"/>
                      <a:pt x="127" y="24"/>
                      <a:pt x="126" y="21"/>
                    </a:cubicBezTo>
                    <a:cubicBezTo>
                      <a:pt x="124" y="15"/>
                      <a:pt x="116" y="11"/>
                      <a:pt x="110" y="13"/>
                    </a:cubicBezTo>
                    <a:cubicBezTo>
                      <a:pt x="92" y="20"/>
                      <a:pt x="92" y="20"/>
                      <a:pt x="92" y="20"/>
                    </a:cubicBezTo>
                    <a:cubicBezTo>
                      <a:pt x="88" y="21"/>
                      <a:pt x="88" y="21"/>
                      <a:pt x="88" y="21"/>
                    </a:cubicBezTo>
                    <a:cubicBezTo>
                      <a:pt x="85" y="21"/>
                      <a:pt x="85" y="21"/>
                      <a:pt x="85" y="21"/>
                    </a:cubicBezTo>
                    <a:cubicBezTo>
                      <a:pt x="85" y="21"/>
                      <a:pt x="61" y="0"/>
                      <a:pt x="47" y="14"/>
                    </a:cubicBezTo>
                    <a:cubicBezTo>
                      <a:pt x="32" y="27"/>
                      <a:pt x="30" y="48"/>
                      <a:pt x="32" y="58"/>
                    </a:cubicBezTo>
                    <a:cubicBezTo>
                      <a:pt x="32" y="59"/>
                      <a:pt x="32" y="59"/>
                      <a:pt x="32" y="59"/>
                    </a:cubicBezTo>
                    <a:cubicBezTo>
                      <a:pt x="0" y="77"/>
                      <a:pt x="0" y="77"/>
                      <a:pt x="0" y="77"/>
                    </a:cubicBezTo>
                    <a:cubicBezTo>
                      <a:pt x="43" y="142"/>
                      <a:pt x="43" y="142"/>
                      <a:pt x="43" y="142"/>
                    </a:cubicBezTo>
                    <a:cubicBezTo>
                      <a:pt x="95" y="107"/>
                      <a:pt x="95" y="107"/>
                      <a:pt x="95" y="107"/>
                    </a:cubicBezTo>
                    <a:cubicBezTo>
                      <a:pt x="95" y="107"/>
                      <a:pt x="95" y="107"/>
                      <a:pt x="95" y="107"/>
                    </a:cubicBezTo>
                    <a:cubicBezTo>
                      <a:pt x="95" y="107"/>
                      <a:pt x="95" y="107"/>
                      <a:pt x="95" y="107"/>
                    </a:cubicBezTo>
                    <a:cubicBezTo>
                      <a:pt x="96" y="106"/>
                      <a:pt x="96" y="106"/>
                      <a:pt x="96" y="106"/>
                    </a:cubicBezTo>
                    <a:cubicBezTo>
                      <a:pt x="123" y="97"/>
                      <a:pt x="123" y="97"/>
                      <a:pt x="123" y="97"/>
                    </a:cubicBezTo>
                    <a:cubicBezTo>
                      <a:pt x="130" y="94"/>
                      <a:pt x="133" y="87"/>
                      <a:pt x="131" y="80"/>
                    </a:cubicBezTo>
                    <a:cubicBezTo>
                      <a:pt x="130" y="78"/>
                      <a:pt x="129" y="76"/>
                      <a:pt x="127" y="75"/>
                    </a:cubicBezTo>
                    <a:cubicBezTo>
                      <a:pt x="133" y="72"/>
                      <a:pt x="135" y="66"/>
                      <a:pt x="133"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2" name="Freeform 1364">
                <a:extLst>
                  <a:ext uri="{FF2B5EF4-FFF2-40B4-BE49-F238E27FC236}">
                    <a16:creationId xmlns:a16="http://schemas.microsoft.com/office/drawing/2014/main" id="{8684A53F-C2A8-4AA7-8C9E-D3E36E3D1429}"/>
                  </a:ext>
                </a:extLst>
              </p:cNvPr>
              <p:cNvSpPr>
                <a:spLocks/>
              </p:cNvSpPr>
              <p:nvPr/>
            </p:nvSpPr>
            <p:spPr bwMode="auto">
              <a:xfrm>
                <a:off x="17848263" y="1125046"/>
                <a:ext cx="79375" cy="65087"/>
              </a:xfrm>
              <a:custGeom>
                <a:avLst/>
                <a:gdLst>
                  <a:gd name="T0" fmla="*/ 0 w 50"/>
                  <a:gd name="T1" fmla="*/ 39 h 41"/>
                  <a:gd name="T2" fmla="*/ 48 w 50"/>
                  <a:gd name="T3" fmla="*/ 41 h 41"/>
                  <a:gd name="T4" fmla="*/ 50 w 50"/>
                  <a:gd name="T5" fmla="*/ 2 h 41"/>
                  <a:gd name="T6" fmla="*/ 2 w 50"/>
                  <a:gd name="T7" fmla="*/ 0 h 41"/>
                  <a:gd name="T8" fmla="*/ 0 w 50"/>
                  <a:gd name="T9" fmla="*/ 39 h 41"/>
                </a:gdLst>
                <a:ahLst/>
                <a:cxnLst>
                  <a:cxn ang="0">
                    <a:pos x="T0" y="T1"/>
                  </a:cxn>
                  <a:cxn ang="0">
                    <a:pos x="T2" y="T3"/>
                  </a:cxn>
                  <a:cxn ang="0">
                    <a:pos x="T4" y="T5"/>
                  </a:cxn>
                  <a:cxn ang="0">
                    <a:pos x="T6" y="T7"/>
                  </a:cxn>
                  <a:cxn ang="0">
                    <a:pos x="T8" y="T9"/>
                  </a:cxn>
                </a:cxnLst>
                <a:rect l="0" t="0" r="r" b="b"/>
                <a:pathLst>
                  <a:path w="50" h="41">
                    <a:moveTo>
                      <a:pt x="0" y="39"/>
                    </a:moveTo>
                    <a:lnTo>
                      <a:pt x="48" y="41"/>
                    </a:lnTo>
                    <a:lnTo>
                      <a:pt x="50" y="2"/>
                    </a:lnTo>
                    <a:lnTo>
                      <a:pt x="2" y="0"/>
                    </a:lnTo>
                    <a:lnTo>
                      <a:pt x="0" y="39"/>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3" name="Freeform 1365">
                <a:extLst>
                  <a:ext uri="{FF2B5EF4-FFF2-40B4-BE49-F238E27FC236}">
                    <a16:creationId xmlns:a16="http://schemas.microsoft.com/office/drawing/2014/main" id="{358E7692-F446-4D61-AFA3-595163A23C52}"/>
                  </a:ext>
                </a:extLst>
              </p:cNvPr>
              <p:cNvSpPr>
                <a:spLocks/>
              </p:cNvSpPr>
              <p:nvPr/>
            </p:nvSpPr>
            <p:spPr bwMode="auto">
              <a:xfrm>
                <a:off x="17789525" y="1286971"/>
                <a:ext cx="12700" cy="9525"/>
              </a:xfrm>
              <a:custGeom>
                <a:avLst/>
                <a:gdLst>
                  <a:gd name="T0" fmla="*/ 8 w 8"/>
                  <a:gd name="T1" fmla="*/ 0 h 6"/>
                  <a:gd name="T2" fmla="*/ 0 w 8"/>
                  <a:gd name="T3" fmla="*/ 6 h 6"/>
                  <a:gd name="T4" fmla="*/ 8 w 8"/>
                  <a:gd name="T5" fmla="*/ 1 h 6"/>
                  <a:gd name="T6" fmla="*/ 8 w 8"/>
                  <a:gd name="T7" fmla="*/ 0 h 6"/>
                </a:gdLst>
                <a:ahLst/>
                <a:cxnLst>
                  <a:cxn ang="0">
                    <a:pos x="T0" y="T1"/>
                  </a:cxn>
                  <a:cxn ang="0">
                    <a:pos x="T2" y="T3"/>
                  </a:cxn>
                  <a:cxn ang="0">
                    <a:pos x="T4" y="T5"/>
                  </a:cxn>
                  <a:cxn ang="0">
                    <a:pos x="T6" y="T7"/>
                  </a:cxn>
                </a:cxnLst>
                <a:rect l="0" t="0" r="r" b="b"/>
                <a:pathLst>
                  <a:path w="8" h="6">
                    <a:moveTo>
                      <a:pt x="8" y="0"/>
                    </a:moveTo>
                    <a:lnTo>
                      <a:pt x="0" y="6"/>
                    </a:lnTo>
                    <a:lnTo>
                      <a:pt x="8" y="1"/>
                    </a:lnTo>
                    <a:lnTo>
                      <a:pt x="8" y="0"/>
                    </a:lnTo>
                    <a:close/>
                  </a:path>
                </a:pathLst>
              </a:custGeom>
              <a:solidFill>
                <a:srgbClr val="C2D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4" name="Freeform 1366">
                <a:extLst>
                  <a:ext uri="{FF2B5EF4-FFF2-40B4-BE49-F238E27FC236}">
                    <a16:creationId xmlns:a16="http://schemas.microsoft.com/office/drawing/2014/main" id="{594B02F8-1DDE-4704-A048-2B36454B2C92}"/>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5" name="Freeform 1367">
                <a:extLst>
                  <a:ext uri="{FF2B5EF4-FFF2-40B4-BE49-F238E27FC236}">
                    <a16:creationId xmlns:a16="http://schemas.microsoft.com/office/drawing/2014/main" id="{9B04B25D-98DE-4155-8AA5-6954E93EF859}"/>
                  </a:ext>
                </a:extLst>
              </p:cNvPr>
              <p:cNvSpPr>
                <a:spLocks/>
              </p:cNvSpPr>
              <p:nvPr/>
            </p:nvSpPr>
            <p:spPr bwMode="auto">
              <a:xfrm>
                <a:off x="16848138" y="1455246"/>
                <a:ext cx="384175" cy="193675"/>
              </a:xfrm>
              <a:custGeom>
                <a:avLst/>
                <a:gdLst>
                  <a:gd name="T0" fmla="*/ 252 w 259"/>
                  <a:gd name="T1" fmla="*/ 122 h 131"/>
                  <a:gd name="T2" fmla="*/ 237 w 259"/>
                  <a:gd name="T3" fmla="*/ 129 h 131"/>
                  <a:gd name="T4" fmla="*/ 9 w 259"/>
                  <a:gd name="T5" fmla="*/ 36 h 131"/>
                  <a:gd name="T6" fmla="*/ 3 w 259"/>
                  <a:gd name="T7" fmla="*/ 21 h 131"/>
                  <a:gd name="T8" fmla="*/ 7 w 259"/>
                  <a:gd name="T9" fmla="*/ 9 h 131"/>
                  <a:gd name="T10" fmla="*/ 22 w 259"/>
                  <a:gd name="T11" fmla="*/ 2 h 131"/>
                  <a:gd name="T12" fmla="*/ 251 w 259"/>
                  <a:gd name="T13" fmla="*/ 95 h 131"/>
                  <a:gd name="T14" fmla="*/ 257 w 259"/>
                  <a:gd name="T15" fmla="*/ 110 h 131"/>
                  <a:gd name="T16" fmla="*/ 252 w 259"/>
                  <a:gd name="T17" fmla="*/ 12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131">
                    <a:moveTo>
                      <a:pt x="252" y="122"/>
                    </a:moveTo>
                    <a:cubicBezTo>
                      <a:pt x="250" y="128"/>
                      <a:pt x="243" y="131"/>
                      <a:pt x="237" y="129"/>
                    </a:cubicBezTo>
                    <a:cubicBezTo>
                      <a:pt x="9" y="36"/>
                      <a:pt x="9" y="36"/>
                      <a:pt x="9" y="36"/>
                    </a:cubicBezTo>
                    <a:cubicBezTo>
                      <a:pt x="3" y="33"/>
                      <a:pt x="0" y="26"/>
                      <a:pt x="3" y="21"/>
                    </a:cubicBezTo>
                    <a:cubicBezTo>
                      <a:pt x="7" y="9"/>
                      <a:pt x="7" y="9"/>
                      <a:pt x="7" y="9"/>
                    </a:cubicBezTo>
                    <a:cubicBezTo>
                      <a:pt x="10" y="3"/>
                      <a:pt x="17" y="0"/>
                      <a:pt x="22" y="2"/>
                    </a:cubicBezTo>
                    <a:cubicBezTo>
                      <a:pt x="251" y="95"/>
                      <a:pt x="251" y="95"/>
                      <a:pt x="251" y="95"/>
                    </a:cubicBezTo>
                    <a:cubicBezTo>
                      <a:pt x="256" y="98"/>
                      <a:pt x="259" y="105"/>
                      <a:pt x="257" y="110"/>
                    </a:cubicBezTo>
                    <a:cubicBezTo>
                      <a:pt x="252" y="122"/>
                      <a:pt x="252" y="122"/>
                      <a:pt x="252" y="122"/>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6" name="Rectangle 1368">
                <a:extLst>
                  <a:ext uri="{FF2B5EF4-FFF2-40B4-BE49-F238E27FC236}">
                    <a16:creationId xmlns:a16="http://schemas.microsoft.com/office/drawing/2014/main" id="{628E4B94-62A6-4CCA-B91A-F8273A753B6C}"/>
                  </a:ext>
                </a:extLst>
              </p:cNvPr>
              <p:cNvSpPr>
                <a:spLocks noChangeArrowheads="1"/>
              </p:cNvSpPr>
              <p:nvPr/>
            </p:nvSpPr>
            <p:spPr bwMode="auto">
              <a:xfrm>
                <a:off x="16675100" y="1542559"/>
                <a:ext cx="1587" cy="158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7" name="Freeform 1369">
                <a:extLst>
                  <a:ext uri="{FF2B5EF4-FFF2-40B4-BE49-F238E27FC236}">
                    <a16:creationId xmlns:a16="http://schemas.microsoft.com/office/drawing/2014/main" id="{9A99028C-3AD6-4A5F-B75C-8DBF0ABC7223}"/>
                  </a:ext>
                </a:extLst>
              </p:cNvPr>
              <p:cNvSpPr>
                <a:spLocks/>
              </p:cNvSpPr>
              <p:nvPr/>
            </p:nvSpPr>
            <p:spPr bwMode="auto">
              <a:xfrm>
                <a:off x="16675100" y="154255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8" name="Freeform 1370">
                <a:extLst>
                  <a:ext uri="{FF2B5EF4-FFF2-40B4-BE49-F238E27FC236}">
                    <a16:creationId xmlns:a16="http://schemas.microsoft.com/office/drawing/2014/main" id="{3CD9AB9F-8ECD-4218-B979-9F88F63F0E0B}"/>
                  </a:ext>
                </a:extLst>
              </p:cNvPr>
              <p:cNvSpPr>
                <a:spLocks/>
              </p:cNvSpPr>
              <p:nvPr/>
            </p:nvSpPr>
            <p:spPr bwMode="auto">
              <a:xfrm>
                <a:off x="17873663" y="1188546"/>
                <a:ext cx="25400" cy="74612"/>
              </a:xfrm>
              <a:custGeom>
                <a:avLst/>
                <a:gdLst>
                  <a:gd name="T0" fmla="*/ 1 w 17"/>
                  <a:gd name="T1" fmla="*/ 0 h 50"/>
                  <a:gd name="T2" fmla="*/ 1 w 17"/>
                  <a:gd name="T3" fmla="*/ 3 h 50"/>
                  <a:gd name="T4" fmla="*/ 1 w 17"/>
                  <a:gd name="T5" fmla="*/ 11 h 50"/>
                  <a:gd name="T6" fmla="*/ 0 w 17"/>
                  <a:gd name="T7" fmla="*/ 49 h 50"/>
                  <a:gd name="T8" fmla="*/ 16 w 17"/>
                  <a:gd name="T9" fmla="*/ 50 h 50"/>
                  <a:gd name="T10" fmla="*/ 17 w 17"/>
                  <a:gd name="T11" fmla="*/ 11 h 50"/>
                  <a:gd name="T12" fmla="*/ 17 w 17"/>
                  <a:gd name="T13" fmla="*/ 0 h 50"/>
                  <a:gd name="T14" fmla="*/ 1 w 17"/>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0">
                    <a:moveTo>
                      <a:pt x="1" y="0"/>
                    </a:moveTo>
                    <a:cubicBezTo>
                      <a:pt x="1" y="0"/>
                      <a:pt x="1" y="1"/>
                      <a:pt x="1" y="3"/>
                    </a:cubicBezTo>
                    <a:cubicBezTo>
                      <a:pt x="1" y="5"/>
                      <a:pt x="1" y="8"/>
                      <a:pt x="1" y="11"/>
                    </a:cubicBezTo>
                    <a:cubicBezTo>
                      <a:pt x="1" y="21"/>
                      <a:pt x="1" y="37"/>
                      <a:pt x="0" y="49"/>
                    </a:cubicBezTo>
                    <a:cubicBezTo>
                      <a:pt x="16" y="50"/>
                      <a:pt x="16" y="50"/>
                      <a:pt x="16" y="50"/>
                    </a:cubicBezTo>
                    <a:cubicBezTo>
                      <a:pt x="17" y="37"/>
                      <a:pt x="17" y="21"/>
                      <a:pt x="17" y="11"/>
                    </a:cubicBezTo>
                    <a:cubicBezTo>
                      <a:pt x="17" y="4"/>
                      <a:pt x="17" y="0"/>
                      <a:pt x="17" y="0"/>
                    </a:cubicBezTo>
                    <a:cubicBezTo>
                      <a:pt x="1" y="0"/>
                      <a:pt x="1" y="0"/>
                      <a:pt x="1" y="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9" name="Freeform 1371">
                <a:extLst>
                  <a:ext uri="{FF2B5EF4-FFF2-40B4-BE49-F238E27FC236}">
                    <a16:creationId xmlns:a16="http://schemas.microsoft.com/office/drawing/2014/main" id="{5514C502-4DCF-44F0-B017-C76D7A82CF97}"/>
                  </a:ext>
                </a:extLst>
              </p:cNvPr>
              <p:cNvSpPr>
                <a:spLocks/>
              </p:cNvSpPr>
              <p:nvPr/>
            </p:nvSpPr>
            <p:spPr bwMode="auto">
              <a:xfrm>
                <a:off x="17914938" y="898034"/>
                <a:ext cx="31750"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3" y="149"/>
                      <a:pt x="8" y="149"/>
                    </a:cubicBezTo>
                    <a:cubicBezTo>
                      <a:pt x="13" y="149"/>
                      <a:pt x="17" y="145"/>
                      <a:pt x="17" y="141"/>
                    </a:cubicBezTo>
                    <a:cubicBezTo>
                      <a:pt x="22" y="9"/>
                      <a:pt x="22" y="9"/>
                      <a:pt x="22" y="9"/>
                    </a:cubicBezTo>
                    <a:cubicBezTo>
                      <a:pt x="22" y="4"/>
                      <a:pt x="19" y="0"/>
                      <a:pt x="14" y="0"/>
                    </a:cubicBezTo>
                    <a:cubicBezTo>
                      <a:pt x="9" y="0"/>
                      <a:pt x="5"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0" name="Freeform 1372">
                <a:extLst>
                  <a:ext uri="{FF2B5EF4-FFF2-40B4-BE49-F238E27FC236}">
                    <a16:creationId xmlns:a16="http://schemas.microsoft.com/office/drawing/2014/main" id="{8BB5377E-F000-41DB-BCC3-5193309B1241}"/>
                  </a:ext>
                </a:extLst>
              </p:cNvPr>
              <p:cNvSpPr>
                <a:spLocks/>
              </p:cNvSpPr>
              <p:nvPr/>
            </p:nvSpPr>
            <p:spPr bwMode="auto">
              <a:xfrm>
                <a:off x="17840325" y="894859"/>
                <a:ext cx="33337"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4" y="149"/>
                      <a:pt x="8" y="149"/>
                    </a:cubicBezTo>
                    <a:cubicBezTo>
                      <a:pt x="13" y="149"/>
                      <a:pt x="17" y="145"/>
                      <a:pt x="17" y="141"/>
                    </a:cubicBezTo>
                    <a:cubicBezTo>
                      <a:pt x="22" y="9"/>
                      <a:pt x="22" y="9"/>
                      <a:pt x="22" y="9"/>
                    </a:cubicBezTo>
                    <a:cubicBezTo>
                      <a:pt x="22" y="4"/>
                      <a:pt x="19" y="0"/>
                      <a:pt x="14" y="0"/>
                    </a:cubicBezTo>
                    <a:cubicBezTo>
                      <a:pt x="10" y="0"/>
                      <a:pt x="6"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1" name="Freeform 1373">
                <a:extLst>
                  <a:ext uri="{FF2B5EF4-FFF2-40B4-BE49-F238E27FC236}">
                    <a16:creationId xmlns:a16="http://schemas.microsoft.com/office/drawing/2014/main" id="{E13115AC-48FD-4F45-ADE2-E2DD98279437}"/>
                  </a:ext>
                </a:extLst>
              </p:cNvPr>
              <p:cNvSpPr>
                <a:spLocks/>
              </p:cNvSpPr>
              <p:nvPr/>
            </p:nvSpPr>
            <p:spPr bwMode="auto">
              <a:xfrm>
                <a:off x="17797463" y="988521"/>
                <a:ext cx="188912" cy="187325"/>
              </a:xfrm>
              <a:custGeom>
                <a:avLst/>
                <a:gdLst>
                  <a:gd name="T0" fmla="*/ 65 w 127"/>
                  <a:gd name="T1" fmla="*/ 2 h 127"/>
                  <a:gd name="T2" fmla="*/ 65 w 127"/>
                  <a:gd name="T3" fmla="*/ 2 h 127"/>
                  <a:gd name="T4" fmla="*/ 127 w 127"/>
                  <a:gd name="T5" fmla="*/ 5 h 127"/>
                  <a:gd name="T6" fmla="*/ 125 w 127"/>
                  <a:gd name="T7" fmla="*/ 67 h 127"/>
                  <a:gd name="T8" fmla="*/ 125 w 127"/>
                  <a:gd name="T9" fmla="*/ 67 h 127"/>
                  <a:gd name="T10" fmla="*/ 61 w 127"/>
                  <a:gd name="T11" fmla="*/ 126 h 127"/>
                  <a:gd name="T12" fmla="*/ 60 w 127"/>
                  <a:gd name="T13" fmla="*/ 126 h 127"/>
                  <a:gd name="T14" fmla="*/ 60 w 127"/>
                  <a:gd name="T15" fmla="*/ 126 h 127"/>
                  <a:gd name="T16" fmla="*/ 60 w 127"/>
                  <a:gd name="T17" fmla="*/ 126 h 127"/>
                  <a:gd name="T18" fmla="*/ 1 w 127"/>
                  <a:gd name="T19" fmla="*/ 62 h 127"/>
                  <a:gd name="T20" fmla="*/ 4 w 127"/>
                  <a:gd name="T21" fmla="*/ 0 h 127"/>
                  <a:gd name="T22" fmla="*/ 65 w 127"/>
                  <a:gd name="T23" fmla="*/ 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27">
                    <a:moveTo>
                      <a:pt x="65" y="2"/>
                    </a:moveTo>
                    <a:cubicBezTo>
                      <a:pt x="65" y="2"/>
                      <a:pt x="65" y="2"/>
                      <a:pt x="65" y="2"/>
                    </a:cubicBezTo>
                    <a:cubicBezTo>
                      <a:pt x="127" y="5"/>
                      <a:pt x="127" y="5"/>
                      <a:pt x="127" y="5"/>
                    </a:cubicBezTo>
                    <a:cubicBezTo>
                      <a:pt x="125" y="67"/>
                      <a:pt x="125" y="67"/>
                      <a:pt x="125" y="67"/>
                    </a:cubicBezTo>
                    <a:cubicBezTo>
                      <a:pt x="125" y="67"/>
                      <a:pt x="125" y="67"/>
                      <a:pt x="125" y="67"/>
                    </a:cubicBezTo>
                    <a:cubicBezTo>
                      <a:pt x="123" y="101"/>
                      <a:pt x="94" y="127"/>
                      <a:pt x="61" y="126"/>
                    </a:cubicBezTo>
                    <a:cubicBezTo>
                      <a:pt x="60" y="126"/>
                      <a:pt x="60" y="126"/>
                      <a:pt x="60" y="126"/>
                    </a:cubicBezTo>
                    <a:cubicBezTo>
                      <a:pt x="60" y="126"/>
                      <a:pt x="60" y="126"/>
                      <a:pt x="60" y="126"/>
                    </a:cubicBezTo>
                    <a:cubicBezTo>
                      <a:pt x="60" y="126"/>
                      <a:pt x="60" y="126"/>
                      <a:pt x="60" y="126"/>
                    </a:cubicBezTo>
                    <a:cubicBezTo>
                      <a:pt x="27" y="124"/>
                      <a:pt x="0" y="96"/>
                      <a:pt x="1" y="62"/>
                    </a:cubicBezTo>
                    <a:cubicBezTo>
                      <a:pt x="4" y="0"/>
                      <a:pt x="4" y="0"/>
                      <a:pt x="4" y="0"/>
                    </a:cubicBezTo>
                    <a:cubicBezTo>
                      <a:pt x="65" y="2"/>
                      <a:pt x="65" y="2"/>
                      <a:pt x="65" y="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2" name="Freeform 1374">
                <a:extLst>
                  <a:ext uri="{FF2B5EF4-FFF2-40B4-BE49-F238E27FC236}">
                    <a16:creationId xmlns:a16="http://schemas.microsoft.com/office/drawing/2014/main" id="{D4D09D67-C699-4B0C-A37D-E207071E727A}"/>
                  </a:ext>
                </a:extLst>
              </p:cNvPr>
              <p:cNvSpPr>
                <a:spLocks/>
              </p:cNvSpPr>
              <p:nvPr/>
            </p:nvSpPr>
            <p:spPr bwMode="auto">
              <a:xfrm>
                <a:off x="17784763" y="966296"/>
                <a:ext cx="220662" cy="34925"/>
              </a:xfrm>
              <a:custGeom>
                <a:avLst/>
                <a:gdLst>
                  <a:gd name="T0" fmla="*/ 8 w 149"/>
                  <a:gd name="T1" fmla="*/ 17 h 23"/>
                  <a:gd name="T2" fmla="*/ 140 w 149"/>
                  <a:gd name="T3" fmla="*/ 23 h 23"/>
                  <a:gd name="T4" fmla="*/ 149 w 149"/>
                  <a:gd name="T5" fmla="*/ 15 h 23"/>
                  <a:gd name="T6" fmla="*/ 141 w 149"/>
                  <a:gd name="T7" fmla="*/ 6 h 23"/>
                  <a:gd name="T8" fmla="*/ 9 w 149"/>
                  <a:gd name="T9" fmla="*/ 1 h 23"/>
                  <a:gd name="T10" fmla="*/ 0 w 149"/>
                  <a:gd name="T11" fmla="*/ 9 h 23"/>
                  <a:gd name="T12" fmla="*/ 8 w 149"/>
                  <a:gd name="T13" fmla="*/ 17 h 23"/>
                </a:gdLst>
                <a:ahLst/>
                <a:cxnLst>
                  <a:cxn ang="0">
                    <a:pos x="T0" y="T1"/>
                  </a:cxn>
                  <a:cxn ang="0">
                    <a:pos x="T2" y="T3"/>
                  </a:cxn>
                  <a:cxn ang="0">
                    <a:pos x="T4" y="T5"/>
                  </a:cxn>
                  <a:cxn ang="0">
                    <a:pos x="T6" y="T7"/>
                  </a:cxn>
                  <a:cxn ang="0">
                    <a:pos x="T8" y="T9"/>
                  </a:cxn>
                  <a:cxn ang="0">
                    <a:pos x="T10" y="T11"/>
                  </a:cxn>
                  <a:cxn ang="0">
                    <a:pos x="T12" y="T13"/>
                  </a:cxn>
                </a:cxnLst>
                <a:rect l="0" t="0" r="r" b="b"/>
                <a:pathLst>
                  <a:path w="149" h="23">
                    <a:moveTo>
                      <a:pt x="8" y="17"/>
                    </a:moveTo>
                    <a:cubicBezTo>
                      <a:pt x="140" y="23"/>
                      <a:pt x="140" y="23"/>
                      <a:pt x="140" y="23"/>
                    </a:cubicBezTo>
                    <a:cubicBezTo>
                      <a:pt x="145" y="23"/>
                      <a:pt x="149" y="19"/>
                      <a:pt x="149" y="15"/>
                    </a:cubicBezTo>
                    <a:cubicBezTo>
                      <a:pt x="149" y="10"/>
                      <a:pt x="146" y="6"/>
                      <a:pt x="141" y="6"/>
                    </a:cubicBezTo>
                    <a:cubicBezTo>
                      <a:pt x="9" y="1"/>
                      <a:pt x="9" y="1"/>
                      <a:pt x="9" y="1"/>
                    </a:cubicBezTo>
                    <a:cubicBezTo>
                      <a:pt x="4" y="0"/>
                      <a:pt x="1" y="4"/>
                      <a:pt x="0" y="9"/>
                    </a:cubicBezTo>
                    <a:cubicBezTo>
                      <a:pt x="0" y="13"/>
                      <a:pt x="4" y="17"/>
                      <a:pt x="8" y="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3" name="Freeform 1375">
                <a:extLst>
                  <a:ext uri="{FF2B5EF4-FFF2-40B4-BE49-F238E27FC236}">
                    <a16:creationId xmlns:a16="http://schemas.microsoft.com/office/drawing/2014/main" id="{F924F9D7-6AA0-4C0F-AC56-4D7FEB5A5788}"/>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close/>
                    <a:moveTo>
                      <a:pt x="1" y="0"/>
                    </a:moveTo>
                    <a:lnTo>
                      <a:pt x="0" y="10"/>
                    </a:lnTo>
                    <a:lnTo>
                      <a:pt x="0" y="10"/>
                    </a:lnTo>
                    <a:lnTo>
                      <a:pt x="1"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4" name="Freeform 1376">
                <a:extLst>
                  <a:ext uri="{FF2B5EF4-FFF2-40B4-BE49-F238E27FC236}">
                    <a16:creationId xmlns:a16="http://schemas.microsoft.com/office/drawing/2014/main" id="{30C9E673-2394-42D8-B2C6-3CC406484B97}"/>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moveTo>
                      <a:pt x="1" y="0"/>
                    </a:moveTo>
                    <a:lnTo>
                      <a:pt x="0" y="10"/>
                    </a:lnTo>
                    <a:lnTo>
                      <a:pt x="0" y="1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5" name="Freeform 1377">
                <a:extLst>
                  <a:ext uri="{FF2B5EF4-FFF2-40B4-BE49-F238E27FC236}">
                    <a16:creationId xmlns:a16="http://schemas.microsoft.com/office/drawing/2014/main" id="{7D2432E3-F099-4113-B849-9B80C1DFC141}"/>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close/>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6" name="Freeform 1378">
                <a:extLst>
                  <a:ext uri="{FF2B5EF4-FFF2-40B4-BE49-F238E27FC236}">
                    <a16:creationId xmlns:a16="http://schemas.microsoft.com/office/drawing/2014/main" id="{4019CBA2-BB5D-4D31-B4EC-73003BE5C4B1}"/>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7" name="Freeform 1379">
                <a:extLst>
                  <a:ext uri="{FF2B5EF4-FFF2-40B4-BE49-F238E27FC236}">
                    <a16:creationId xmlns:a16="http://schemas.microsoft.com/office/drawing/2014/main" id="{9CA5B7E1-31F6-44F0-B949-E9382AD602E5}"/>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8" name="Freeform 1380">
                <a:extLst>
                  <a:ext uri="{FF2B5EF4-FFF2-40B4-BE49-F238E27FC236}">
                    <a16:creationId xmlns:a16="http://schemas.microsoft.com/office/drawing/2014/main" id="{6D511584-DC2A-4272-932E-D6CAA094CF1A}"/>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9" name="Freeform 1381">
                <a:extLst>
                  <a:ext uri="{FF2B5EF4-FFF2-40B4-BE49-F238E27FC236}">
                    <a16:creationId xmlns:a16="http://schemas.microsoft.com/office/drawing/2014/main" id="{CF4EF091-E09E-44B3-9116-E6107F147CCC}"/>
                  </a:ext>
                </a:extLst>
              </p:cNvPr>
              <p:cNvSpPr>
                <a:spLocks/>
              </p:cNvSpPr>
              <p:nvPr/>
            </p:nvSpPr>
            <p:spPr bwMode="auto">
              <a:xfrm>
                <a:off x="17748250" y="1052021"/>
                <a:ext cx="119062" cy="188912"/>
              </a:xfrm>
              <a:custGeom>
                <a:avLst/>
                <a:gdLst>
                  <a:gd name="T0" fmla="*/ 62 w 80"/>
                  <a:gd name="T1" fmla="*/ 0 h 128"/>
                  <a:gd name="T2" fmla="*/ 35 w 80"/>
                  <a:gd name="T3" fmla="*/ 34 h 128"/>
                  <a:gd name="T4" fmla="*/ 0 w 80"/>
                  <a:gd name="T5" fmla="*/ 97 h 128"/>
                  <a:gd name="T6" fmla="*/ 41 w 80"/>
                  <a:gd name="T7" fmla="*/ 109 h 128"/>
                  <a:gd name="T8" fmla="*/ 52 w 80"/>
                  <a:gd name="T9" fmla="*/ 53 h 128"/>
                  <a:gd name="T10" fmla="*/ 62 w 80"/>
                  <a:gd name="T11" fmla="*/ 38 h 128"/>
                  <a:gd name="T12" fmla="*/ 62 w 80"/>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80" h="128">
                    <a:moveTo>
                      <a:pt x="62" y="0"/>
                    </a:moveTo>
                    <a:cubicBezTo>
                      <a:pt x="48" y="22"/>
                      <a:pt x="35" y="34"/>
                      <a:pt x="35" y="34"/>
                    </a:cubicBezTo>
                    <a:cubicBezTo>
                      <a:pt x="0" y="97"/>
                      <a:pt x="0" y="97"/>
                      <a:pt x="0" y="97"/>
                    </a:cubicBezTo>
                    <a:cubicBezTo>
                      <a:pt x="0" y="97"/>
                      <a:pt x="25" y="128"/>
                      <a:pt x="41" y="109"/>
                    </a:cubicBezTo>
                    <a:cubicBezTo>
                      <a:pt x="57" y="91"/>
                      <a:pt x="52" y="53"/>
                      <a:pt x="52" y="53"/>
                    </a:cubicBezTo>
                    <a:cubicBezTo>
                      <a:pt x="52" y="53"/>
                      <a:pt x="56" y="44"/>
                      <a:pt x="62" y="38"/>
                    </a:cubicBezTo>
                    <a:cubicBezTo>
                      <a:pt x="80" y="25"/>
                      <a:pt x="74" y="2"/>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0" name="Freeform 1382">
                <a:extLst>
                  <a:ext uri="{FF2B5EF4-FFF2-40B4-BE49-F238E27FC236}">
                    <a16:creationId xmlns:a16="http://schemas.microsoft.com/office/drawing/2014/main" id="{E849DBB1-40AC-489A-8D5B-837ADF4FA5E6}"/>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close/>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1" name="Freeform 1383">
                <a:extLst>
                  <a:ext uri="{FF2B5EF4-FFF2-40B4-BE49-F238E27FC236}">
                    <a16:creationId xmlns:a16="http://schemas.microsoft.com/office/drawing/2014/main" id="{EDC833F5-9D2D-4ED3-A94C-E06D2818FA32}"/>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2" name="Freeform 1384">
                <a:extLst>
                  <a:ext uri="{FF2B5EF4-FFF2-40B4-BE49-F238E27FC236}">
                    <a16:creationId xmlns:a16="http://schemas.microsoft.com/office/drawing/2014/main" id="{F0808F3A-6E31-4A2C-9455-B77AB4A2ADC5}"/>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3" name="Freeform 1385">
                <a:extLst>
                  <a:ext uri="{FF2B5EF4-FFF2-40B4-BE49-F238E27FC236}">
                    <a16:creationId xmlns:a16="http://schemas.microsoft.com/office/drawing/2014/main" id="{46B7DA48-E108-4352-922D-62A0A364306C}"/>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4" name="Freeform 1386">
                <a:extLst>
                  <a:ext uri="{FF2B5EF4-FFF2-40B4-BE49-F238E27FC236}">
                    <a16:creationId xmlns:a16="http://schemas.microsoft.com/office/drawing/2014/main" id="{095D8D3E-62DA-413C-ACF0-2FE2BD21ECA8}"/>
                  </a:ext>
                </a:extLst>
              </p:cNvPr>
              <p:cNvSpPr>
                <a:spLocks/>
              </p:cNvSpPr>
              <p:nvPr/>
            </p:nvSpPr>
            <p:spPr bwMode="auto">
              <a:xfrm>
                <a:off x="17376775" y="1245696"/>
                <a:ext cx="58737" cy="20637"/>
              </a:xfrm>
              <a:custGeom>
                <a:avLst/>
                <a:gdLst>
                  <a:gd name="T0" fmla="*/ 0 w 39"/>
                  <a:gd name="T1" fmla="*/ 0 h 14"/>
                  <a:gd name="T2" fmla="*/ 0 w 39"/>
                  <a:gd name="T3" fmla="*/ 0 h 14"/>
                  <a:gd name="T4" fmla="*/ 39 w 39"/>
                  <a:gd name="T5" fmla="*/ 14 h 14"/>
                  <a:gd name="T6" fmla="*/ 39 w 39"/>
                  <a:gd name="T7" fmla="*/ 14 h 14"/>
                  <a:gd name="T8" fmla="*/ 0 w 39"/>
                  <a:gd name="T9" fmla="*/ 0 h 14"/>
                </a:gdLst>
                <a:ahLst/>
                <a:cxnLst>
                  <a:cxn ang="0">
                    <a:pos x="T0" y="T1"/>
                  </a:cxn>
                  <a:cxn ang="0">
                    <a:pos x="T2" y="T3"/>
                  </a:cxn>
                  <a:cxn ang="0">
                    <a:pos x="T4" y="T5"/>
                  </a:cxn>
                  <a:cxn ang="0">
                    <a:pos x="T6" y="T7"/>
                  </a:cxn>
                  <a:cxn ang="0">
                    <a:pos x="T8" y="T9"/>
                  </a:cxn>
                </a:cxnLst>
                <a:rect l="0" t="0" r="r" b="b"/>
                <a:pathLst>
                  <a:path w="39" h="14">
                    <a:moveTo>
                      <a:pt x="0" y="0"/>
                    </a:moveTo>
                    <a:cubicBezTo>
                      <a:pt x="0" y="0"/>
                      <a:pt x="0" y="0"/>
                      <a:pt x="0" y="0"/>
                    </a:cubicBezTo>
                    <a:cubicBezTo>
                      <a:pt x="39" y="14"/>
                      <a:pt x="39" y="14"/>
                      <a:pt x="39" y="14"/>
                    </a:cubicBezTo>
                    <a:cubicBezTo>
                      <a:pt x="39" y="14"/>
                      <a:pt x="39" y="14"/>
                      <a:pt x="39" y="14"/>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5" name="Freeform 1387">
                <a:extLst>
                  <a:ext uri="{FF2B5EF4-FFF2-40B4-BE49-F238E27FC236}">
                    <a16:creationId xmlns:a16="http://schemas.microsoft.com/office/drawing/2014/main" id="{524F7AC6-EF04-4596-82F1-6FD35475F6C0}"/>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6" name="Freeform 1388">
                <a:extLst>
                  <a:ext uri="{FF2B5EF4-FFF2-40B4-BE49-F238E27FC236}">
                    <a16:creationId xmlns:a16="http://schemas.microsoft.com/office/drawing/2014/main" id="{DFE31E95-5D44-4BB6-B22E-CF4C90330802}"/>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7" name="Rectangle 1389">
                <a:extLst>
                  <a:ext uri="{FF2B5EF4-FFF2-40B4-BE49-F238E27FC236}">
                    <a16:creationId xmlns:a16="http://schemas.microsoft.com/office/drawing/2014/main" id="{207F37B3-2F45-43D7-99F3-B8A3014EC237}"/>
                  </a:ext>
                </a:extLst>
              </p:cNvPr>
              <p:cNvSpPr>
                <a:spLocks noChangeArrowheads="1"/>
              </p:cNvSpPr>
              <p:nvPr/>
            </p:nvSpPr>
            <p:spPr bwMode="auto">
              <a:xfrm>
                <a:off x="16616363" y="1448896"/>
                <a:ext cx="1587" cy="1587"/>
              </a:xfrm>
              <a:prstGeom prst="rect">
                <a:avLst/>
              </a:prstGeom>
              <a:solidFill>
                <a:srgbClr val="D0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8" name="Freeform 1390">
                <a:extLst>
                  <a:ext uri="{FF2B5EF4-FFF2-40B4-BE49-F238E27FC236}">
                    <a16:creationId xmlns:a16="http://schemas.microsoft.com/office/drawing/2014/main" id="{77D567E5-7D89-41BC-B26E-77C5C7D146A7}"/>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9" name="Freeform 1391">
                <a:extLst>
                  <a:ext uri="{FF2B5EF4-FFF2-40B4-BE49-F238E27FC236}">
                    <a16:creationId xmlns:a16="http://schemas.microsoft.com/office/drawing/2014/main" id="{58961321-6D84-4CC6-ACE3-FFB57B842EB3}"/>
                  </a:ext>
                </a:extLst>
              </p:cNvPr>
              <p:cNvSpPr>
                <a:spLocks/>
              </p:cNvSpPr>
              <p:nvPr/>
            </p:nvSpPr>
            <p:spPr bwMode="auto">
              <a:xfrm>
                <a:off x="17038638" y="1971184"/>
                <a:ext cx="165100" cy="142875"/>
              </a:xfrm>
              <a:custGeom>
                <a:avLst/>
                <a:gdLst>
                  <a:gd name="T0" fmla="*/ 112 w 112"/>
                  <a:gd name="T1" fmla="*/ 47 h 97"/>
                  <a:gd name="T2" fmla="*/ 112 w 112"/>
                  <a:gd name="T3" fmla="*/ 36 h 97"/>
                  <a:gd name="T4" fmla="*/ 0 w 112"/>
                  <a:gd name="T5" fmla="*/ 0 h 97"/>
                  <a:gd name="T6" fmla="*/ 31 w 112"/>
                  <a:gd name="T7" fmla="*/ 97 h 97"/>
                  <a:gd name="T8" fmla="*/ 72 w 112"/>
                  <a:gd name="T9" fmla="*/ 91 h 97"/>
                  <a:gd name="T10" fmla="*/ 112 w 112"/>
                  <a:gd name="T11" fmla="*/ 47 h 97"/>
                </a:gdLst>
                <a:ahLst/>
                <a:cxnLst>
                  <a:cxn ang="0">
                    <a:pos x="T0" y="T1"/>
                  </a:cxn>
                  <a:cxn ang="0">
                    <a:pos x="T2" y="T3"/>
                  </a:cxn>
                  <a:cxn ang="0">
                    <a:pos x="T4" y="T5"/>
                  </a:cxn>
                  <a:cxn ang="0">
                    <a:pos x="T6" y="T7"/>
                  </a:cxn>
                  <a:cxn ang="0">
                    <a:pos x="T8" y="T9"/>
                  </a:cxn>
                  <a:cxn ang="0">
                    <a:pos x="T10" y="T11"/>
                  </a:cxn>
                </a:cxnLst>
                <a:rect l="0" t="0" r="r" b="b"/>
                <a:pathLst>
                  <a:path w="112" h="97">
                    <a:moveTo>
                      <a:pt x="112" y="47"/>
                    </a:moveTo>
                    <a:cubicBezTo>
                      <a:pt x="112" y="36"/>
                      <a:pt x="112" y="36"/>
                      <a:pt x="112" y="36"/>
                    </a:cubicBezTo>
                    <a:cubicBezTo>
                      <a:pt x="35" y="68"/>
                      <a:pt x="3" y="6"/>
                      <a:pt x="0" y="0"/>
                    </a:cubicBezTo>
                    <a:cubicBezTo>
                      <a:pt x="0" y="6"/>
                      <a:pt x="0" y="63"/>
                      <a:pt x="31" y="97"/>
                    </a:cubicBezTo>
                    <a:cubicBezTo>
                      <a:pt x="72" y="91"/>
                      <a:pt x="72" y="91"/>
                      <a:pt x="72" y="91"/>
                    </a:cubicBezTo>
                    <a:cubicBezTo>
                      <a:pt x="94" y="86"/>
                      <a:pt x="109" y="68"/>
                      <a:pt x="112" y="4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0" name="Freeform 1392">
                <a:extLst>
                  <a:ext uri="{FF2B5EF4-FFF2-40B4-BE49-F238E27FC236}">
                    <a16:creationId xmlns:a16="http://schemas.microsoft.com/office/drawing/2014/main" id="{8361FB17-7400-4ADF-AA20-4AF836C666F3}"/>
                  </a:ext>
                </a:extLst>
              </p:cNvPr>
              <p:cNvSpPr>
                <a:spLocks noEditPoints="1"/>
              </p:cNvSpPr>
              <p:nvPr/>
            </p:nvSpPr>
            <p:spPr bwMode="auto">
              <a:xfrm>
                <a:off x="17173575" y="2023571"/>
                <a:ext cx="30162" cy="11112"/>
              </a:xfrm>
              <a:custGeom>
                <a:avLst/>
                <a:gdLst>
                  <a:gd name="T0" fmla="*/ 1 w 21"/>
                  <a:gd name="T1" fmla="*/ 7 h 7"/>
                  <a:gd name="T2" fmla="*/ 0 w 21"/>
                  <a:gd name="T3" fmla="*/ 7 h 7"/>
                  <a:gd name="T4" fmla="*/ 0 w 21"/>
                  <a:gd name="T5" fmla="*/ 7 h 7"/>
                  <a:gd name="T6" fmla="*/ 0 w 21"/>
                  <a:gd name="T7" fmla="*/ 7 h 7"/>
                  <a:gd name="T8" fmla="*/ 1 w 21"/>
                  <a:gd name="T9" fmla="*/ 7 h 7"/>
                  <a:gd name="T10" fmla="*/ 21 w 21"/>
                  <a:gd name="T11" fmla="*/ 0 h 7"/>
                  <a:gd name="T12" fmla="*/ 21 w 21"/>
                  <a:gd name="T13" fmla="*/ 0 h 7"/>
                  <a:gd name="T14" fmla="*/ 21 w 2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7"/>
                    </a:moveTo>
                    <a:cubicBezTo>
                      <a:pt x="1" y="7"/>
                      <a:pt x="0" y="7"/>
                      <a:pt x="0" y="7"/>
                    </a:cubicBezTo>
                    <a:cubicBezTo>
                      <a:pt x="0" y="7"/>
                      <a:pt x="0" y="7"/>
                      <a:pt x="0" y="7"/>
                    </a:cubicBezTo>
                    <a:cubicBezTo>
                      <a:pt x="0" y="7"/>
                      <a:pt x="0" y="7"/>
                      <a:pt x="0" y="7"/>
                    </a:cubicBezTo>
                    <a:cubicBezTo>
                      <a:pt x="0" y="7"/>
                      <a:pt x="1" y="7"/>
                      <a:pt x="1" y="7"/>
                    </a:cubicBezTo>
                    <a:moveTo>
                      <a:pt x="21" y="0"/>
                    </a:moveTo>
                    <a:cubicBezTo>
                      <a:pt x="21" y="0"/>
                      <a:pt x="21" y="0"/>
                      <a:pt x="21" y="0"/>
                    </a:cubicBezTo>
                    <a:cubicBezTo>
                      <a:pt x="21" y="0"/>
                      <a:pt x="21" y="0"/>
                      <a:pt x="21"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1" name="Freeform 1393">
                <a:extLst>
                  <a:ext uri="{FF2B5EF4-FFF2-40B4-BE49-F238E27FC236}">
                    <a16:creationId xmlns:a16="http://schemas.microsoft.com/office/drawing/2014/main" id="{D2B1F93F-090A-478C-9491-4D22862889A4}"/>
                  </a:ext>
                </a:extLst>
              </p:cNvPr>
              <p:cNvSpPr>
                <a:spLocks noEditPoints="1"/>
              </p:cNvSpPr>
              <p:nvPr/>
            </p:nvSpPr>
            <p:spPr bwMode="auto">
              <a:xfrm>
                <a:off x="16810038" y="2147396"/>
                <a:ext cx="39687" cy="153987"/>
              </a:xfrm>
              <a:custGeom>
                <a:avLst/>
                <a:gdLst>
                  <a:gd name="T0" fmla="*/ 1 w 27"/>
                  <a:gd name="T1" fmla="*/ 104 h 104"/>
                  <a:gd name="T2" fmla="*/ 1 w 27"/>
                  <a:gd name="T3" fmla="*/ 104 h 104"/>
                  <a:gd name="T4" fmla="*/ 0 w 27"/>
                  <a:gd name="T5" fmla="*/ 104 h 104"/>
                  <a:gd name="T6" fmla="*/ 0 w 27"/>
                  <a:gd name="T7" fmla="*/ 104 h 104"/>
                  <a:gd name="T8" fmla="*/ 1 w 27"/>
                  <a:gd name="T9" fmla="*/ 104 h 104"/>
                  <a:gd name="T10" fmla="*/ 1 w 27"/>
                  <a:gd name="T11" fmla="*/ 104 h 104"/>
                  <a:gd name="T12" fmla="*/ 1 w 27"/>
                  <a:gd name="T13" fmla="*/ 104 h 104"/>
                  <a:gd name="T14" fmla="*/ 1 w 27"/>
                  <a:gd name="T15" fmla="*/ 104 h 104"/>
                  <a:gd name="T16" fmla="*/ 1 w 27"/>
                  <a:gd name="T17" fmla="*/ 104 h 104"/>
                  <a:gd name="T18" fmla="*/ 27 w 27"/>
                  <a:gd name="T19" fmla="*/ 0 h 104"/>
                  <a:gd name="T20" fmla="*/ 27 w 27"/>
                  <a:gd name="T21" fmla="*/ 0 h 104"/>
                  <a:gd name="T22" fmla="*/ 27 w 27"/>
                  <a:gd name="T23" fmla="*/ 0 h 104"/>
                  <a:gd name="T24" fmla="*/ 27 w 27"/>
                  <a:gd name="T25" fmla="*/ 0 h 104"/>
                  <a:gd name="T26" fmla="*/ 27 w 27"/>
                  <a:gd name="T27" fmla="*/ 0 h 104"/>
                  <a:gd name="T28" fmla="*/ 27 w 27"/>
                  <a:gd name="T29" fmla="*/ 0 h 104"/>
                  <a:gd name="T30" fmla="*/ 27 w 27"/>
                  <a:gd name="T31" fmla="*/ 0 h 104"/>
                  <a:gd name="T32" fmla="*/ 27 w 27"/>
                  <a:gd name="T33" fmla="*/ 0 h 104"/>
                  <a:gd name="T34" fmla="*/ 27 w 27"/>
                  <a:gd name="T35" fmla="*/ 0 h 104"/>
                  <a:gd name="T36" fmla="*/ 27 w 27"/>
                  <a:gd name="T37" fmla="*/ 0 h 104"/>
                  <a:gd name="T38" fmla="*/ 27 w 27"/>
                  <a:gd name="T39" fmla="*/ 0 h 104"/>
                  <a:gd name="T40" fmla="*/ 27 w 27"/>
                  <a:gd name="T41" fmla="*/ 0 h 104"/>
                  <a:gd name="T42" fmla="*/ 27 w 27"/>
                  <a:gd name="T43" fmla="*/ 0 h 104"/>
                  <a:gd name="T44" fmla="*/ 27 w 27"/>
                  <a:gd name="T45" fmla="*/ 0 h 104"/>
                  <a:gd name="T46" fmla="*/ 27 w 27"/>
                  <a:gd name="T4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04">
                    <a:moveTo>
                      <a:pt x="1" y="104"/>
                    </a:moveTo>
                    <a:cubicBezTo>
                      <a:pt x="1" y="104"/>
                      <a:pt x="1" y="104"/>
                      <a:pt x="1" y="104"/>
                    </a:cubicBezTo>
                    <a:cubicBezTo>
                      <a:pt x="0" y="104"/>
                      <a:pt x="0" y="104"/>
                      <a:pt x="0" y="104"/>
                    </a:cubicBezTo>
                    <a:cubicBezTo>
                      <a:pt x="0" y="104"/>
                      <a:pt x="0" y="104"/>
                      <a:pt x="0" y="104"/>
                    </a:cubicBezTo>
                    <a:cubicBezTo>
                      <a:pt x="0" y="104"/>
                      <a:pt x="0" y="104"/>
                      <a:pt x="1" y="104"/>
                    </a:cubicBezTo>
                    <a:moveTo>
                      <a:pt x="1" y="104"/>
                    </a:moveTo>
                    <a:cubicBezTo>
                      <a:pt x="1" y="104"/>
                      <a:pt x="1" y="104"/>
                      <a:pt x="1" y="104"/>
                    </a:cubicBezTo>
                    <a:cubicBezTo>
                      <a:pt x="1" y="104"/>
                      <a:pt x="1" y="104"/>
                      <a:pt x="1" y="104"/>
                    </a:cubicBezTo>
                    <a:cubicBezTo>
                      <a:pt x="1" y="104"/>
                      <a:pt x="1" y="104"/>
                      <a:pt x="1" y="104"/>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2" name="Freeform 1394">
                <a:extLst>
                  <a:ext uri="{FF2B5EF4-FFF2-40B4-BE49-F238E27FC236}">
                    <a16:creationId xmlns:a16="http://schemas.microsoft.com/office/drawing/2014/main" id="{DACFFE9F-C7A3-4B58-9C64-8444DD055FD4}"/>
                  </a:ext>
                </a:extLst>
              </p:cNvPr>
              <p:cNvSpPr>
                <a:spLocks noEditPoints="1"/>
              </p:cNvSpPr>
              <p:nvPr/>
            </p:nvSpPr>
            <p:spPr bwMode="auto">
              <a:xfrm>
                <a:off x="16795750" y="2093421"/>
                <a:ext cx="288925" cy="207962"/>
              </a:xfrm>
              <a:custGeom>
                <a:avLst/>
                <a:gdLst>
                  <a:gd name="T0" fmla="*/ 10 w 195"/>
                  <a:gd name="T1" fmla="*/ 141 h 141"/>
                  <a:gd name="T2" fmla="*/ 10 w 195"/>
                  <a:gd name="T3" fmla="*/ 141 h 141"/>
                  <a:gd name="T4" fmla="*/ 10 w 195"/>
                  <a:gd name="T5" fmla="*/ 141 h 141"/>
                  <a:gd name="T6" fmla="*/ 10 w 195"/>
                  <a:gd name="T7" fmla="*/ 141 h 141"/>
                  <a:gd name="T8" fmla="*/ 11 w 195"/>
                  <a:gd name="T9" fmla="*/ 141 h 141"/>
                  <a:gd name="T10" fmla="*/ 11 w 195"/>
                  <a:gd name="T11" fmla="*/ 141 h 141"/>
                  <a:gd name="T12" fmla="*/ 11 w 195"/>
                  <a:gd name="T13" fmla="*/ 141 h 141"/>
                  <a:gd name="T14" fmla="*/ 11 w 195"/>
                  <a:gd name="T15" fmla="*/ 141 h 141"/>
                  <a:gd name="T16" fmla="*/ 11 w 195"/>
                  <a:gd name="T17" fmla="*/ 141 h 141"/>
                  <a:gd name="T18" fmla="*/ 185 w 195"/>
                  <a:gd name="T19" fmla="*/ 0 h 141"/>
                  <a:gd name="T20" fmla="*/ 175 w 195"/>
                  <a:gd name="T21" fmla="*/ 1 h 141"/>
                  <a:gd name="T22" fmla="*/ 16 w 195"/>
                  <a:gd name="T23" fmla="*/ 24 h 141"/>
                  <a:gd name="T24" fmla="*/ 5 w 195"/>
                  <a:gd name="T25" fmla="*/ 113 h 141"/>
                  <a:gd name="T26" fmla="*/ 5 w 195"/>
                  <a:gd name="T27" fmla="*/ 114 h 141"/>
                  <a:gd name="T28" fmla="*/ 3 w 195"/>
                  <a:gd name="T29" fmla="*/ 117 h 141"/>
                  <a:gd name="T30" fmla="*/ 3 w 195"/>
                  <a:gd name="T31" fmla="*/ 117 h 141"/>
                  <a:gd name="T32" fmla="*/ 1 w 195"/>
                  <a:gd name="T33" fmla="*/ 120 h 141"/>
                  <a:gd name="T34" fmla="*/ 1 w 195"/>
                  <a:gd name="T35" fmla="*/ 120 h 141"/>
                  <a:gd name="T36" fmla="*/ 0 w 195"/>
                  <a:gd name="T37" fmla="*/ 122 h 141"/>
                  <a:gd name="T38" fmla="*/ 3 w 195"/>
                  <a:gd name="T39" fmla="*/ 123 h 141"/>
                  <a:gd name="T40" fmla="*/ 6 w 195"/>
                  <a:gd name="T41" fmla="*/ 122 h 141"/>
                  <a:gd name="T42" fmla="*/ 6 w 195"/>
                  <a:gd name="T43" fmla="*/ 122 h 141"/>
                  <a:gd name="T44" fmla="*/ 29 w 195"/>
                  <a:gd name="T45" fmla="*/ 117 h 141"/>
                  <a:gd name="T46" fmla="*/ 37 w 195"/>
                  <a:gd name="T47" fmla="*/ 37 h 141"/>
                  <a:gd name="T48" fmla="*/ 37 w 195"/>
                  <a:gd name="T49" fmla="*/ 37 h 141"/>
                  <a:gd name="T50" fmla="*/ 37 w 195"/>
                  <a:gd name="T51" fmla="*/ 37 h 141"/>
                  <a:gd name="T52" fmla="*/ 37 w 195"/>
                  <a:gd name="T53" fmla="*/ 37 h 141"/>
                  <a:gd name="T54" fmla="*/ 37 w 195"/>
                  <a:gd name="T55" fmla="*/ 37 h 141"/>
                  <a:gd name="T56" fmla="*/ 37 w 195"/>
                  <a:gd name="T57" fmla="*/ 37 h 141"/>
                  <a:gd name="T58" fmla="*/ 37 w 195"/>
                  <a:gd name="T59" fmla="*/ 37 h 141"/>
                  <a:gd name="T60" fmla="*/ 37 w 195"/>
                  <a:gd name="T61" fmla="*/ 37 h 141"/>
                  <a:gd name="T62" fmla="*/ 37 w 195"/>
                  <a:gd name="T63" fmla="*/ 37 h 141"/>
                  <a:gd name="T64" fmla="*/ 37 w 195"/>
                  <a:gd name="T65" fmla="*/ 37 h 141"/>
                  <a:gd name="T66" fmla="*/ 37 w 195"/>
                  <a:gd name="T67" fmla="*/ 37 h 141"/>
                  <a:gd name="T68" fmla="*/ 37 w 195"/>
                  <a:gd name="T69" fmla="*/ 37 h 141"/>
                  <a:gd name="T70" fmla="*/ 37 w 195"/>
                  <a:gd name="T71" fmla="*/ 37 h 141"/>
                  <a:gd name="T72" fmla="*/ 195 w 195"/>
                  <a:gd name="T73" fmla="*/ 14 h 141"/>
                  <a:gd name="T74" fmla="*/ 185 w 195"/>
                  <a:gd name="T75"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5" h="141">
                    <a:moveTo>
                      <a:pt x="10" y="141"/>
                    </a:moveTo>
                    <a:cubicBezTo>
                      <a:pt x="10" y="141"/>
                      <a:pt x="10" y="141"/>
                      <a:pt x="10" y="141"/>
                    </a:cubicBezTo>
                    <a:cubicBezTo>
                      <a:pt x="10" y="141"/>
                      <a:pt x="10" y="141"/>
                      <a:pt x="10" y="141"/>
                    </a:cubicBezTo>
                    <a:cubicBezTo>
                      <a:pt x="10" y="141"/>
                      <a:pt x="10" y="141"/>
                      <a:pt x="10" y="141"/>
                    </a:cubicBezTo>
                    <a:moveTo>
                      <a:pt x="11" y="141"/>
                    </a:moveTo>
                    <a:cubicBezTo>
                      <a:pt x="11" y="141"/>
                      <a:pt x="11" y="141"/>
                      <a:pt x="11" y="141"/>
                    </a:cubicBezTo>
                    <a:cubicBezTo>
                      <a:pt x="11" y="141"/>
                      <a:pt x="11" y="141"/>
                      <a:pt x="11" y="141"/>
                    </a:cubicBezTo>
                    <a:cubicBezTo>
                      <a:pt x="11" y="141"/>
                      <a:pt x="11" y="141"/>
                      <a:pt x="11" y="141"/>
                    </a:cubicBezTo>
                    <a:cubicBezTo>
                      <a:pt x="11" y="141"/>
                      <a:pt x="11" y="141"/>
                      <a:pt x="11" y="141"/>
                    </a:cubicBezTo>
                    <a:moveTo>
                      <a:pt x="185" y="0"/>
                    </a:moveTo>
                    <a:cubicBezTo>
                      <a:pt x="175" y="1"/>
                      <a:pt x="175" y="1"/>
                      <a:pt x="175" y="1"/>
                    </a:cubicBezTo>
                    <a:cubicBezTo>
                      <a:pt x="16" y="24"/>
                      <a:pt x="16" y="24"/>
                      <a:pt x="16" y="24"/>
                    </a:cubicBezTo>
                    <a:cubicBezTo>
                      <a:pt x="19" y="38"/>
                      <a:pt x="17" y="87"/>
                      <a:pt x="5" y="113"/>
                    </a:cubicBezTo>
                    <a:cubicBezTo>
                      <a:pt x="5" y="114"/>
                      <a:pt x="5" y="114"/>
                      <a:pt x="5" y="114"/>
                    </a:cubicBezTo>
                    <a:cubicBezTo>
                      <a:pt x="4" y="115"/>
                      <a:pt x="4" y="116"/>
                      <a:pt x="3" y="117"/>
                    </a:cubicBezTo>
                    <a:cubicBezTo>
                      <a:pt x="3" y="117"/>
                      <a:pt x="3" y="117"/>
                      <a:pt x="3" y="117"/>
                    </a:cubicBezTo>
                    <a:cubicBezTo>
                      <a:pt x="2" y="118"/>
                      <a:pt x="2" y="119"/>
                      <a:pt x="1" y="120"/>
                    </a:cubicBezTo>
                    <a:cubicBezTo>
                      <a:pt x="1" y="120"/>
                      <a:pt x="1" y="120"/>
                      <a:pt x="1" y="120"/>
                    </a:cubicBezTo>
                    <a:cubicBezTo>
                      <a:pt x="0" y="121"/>
                      <a:pt x="0" y="121"/>
                      <a:pt x="0" y="122"/>
                    </a:cubicBezTo>
                    <a:cubicBezTo>
                      <a:pt x="1" y="122"/>
                      <a:pt x="2" y="123"/>
                      <a:pt x="3" y="123"/>
                    </a:cubicBezTo>
                    <a:cubicBezTo>
                      <a:pt x="4" y="123"/>
                      <a:pt x="5" y="122"/>
                      <a:pt x="6" y="122"/>
                    </a:cubicBezTo>
                    <a:cubicBezTo>
                      <a:pt x="6" y="122"/>
                      <a:pt x="6" y="122"/>
                      <a:pt x="6" y="122"/>
                    </a:cubicBezTo>
                    <a:cubicBezTo>
                      <a:pt x="6" y="122"/>
                      <a:pt x="8" y="122"/>
                      <a:pt x="29" y="117"/>
                    </a:cubicBezTo>
                    <a:cubicBezTo>
                      <a:pt x="38" y="91"/>
                      <a:pt x="39" y="50"/>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195" y="14"/>
                      <a:pt x="195" y="14"/>
                      <a:pt x="195" y="14"/>
                    </a:cubicBezTo>
                    <a:cubicBezTo>
                      <a:pt x="191" y="9"/>
                      <a:pt x="188" y="5"/>
                      <a:pt x="18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3" name="Freeform 1395">
                <a:extLst>
                  <a:ext uri="{FF2B5EF4-FFF2-40B4-BE49-F238E27FC236}">
                    <a16:creationId xmlns:a16="http://schemas.microsoft.com/office/drawing/2014/main" id="{0018501B-C0C5-4732-B251-2B6D4332CC33}"/>
                  </a:ext>
                </a:extLst>
              </p:cNvPr>
              <p:cNvSpPr>
                <a:spLocks/>
              </p:cNvSpPr>
              <p:nvPr/>
            </p:nvSpPr>
            <p:spPr bwMode="auto">
              <a:xfrm>
                <a:off x="16757650" y="2264871"/>
                <a:ext cx="80962" cy="44450"/>
              </a:xfrm>
              <a:custGeom>
                <a:avLst/>
                <a:gdLst>
                  <a:gd name="T0" fmla="*/ 55 w 55"/>
                  <a:gd name="T1" fmla="*/ 0 h 30"/>
                  <a:gd name="T2" fmla="*/ 32 w 55"/>
                  <a:gd name="T3" fmla="*/ 5 h 30"/>
                  <a:gd name="T4" fmla="*/ 32 w 55"/>
                  <a:gd name="T5" fmla="*/ 5 h 30"/>
                  <a:gd name="T6" fmla="*/ 29 w 55"/>
                  <a:gd name="T7" fmla="*/ 6 h 30"/>
                  <a:gd name="T8" fmla="*/ 26 w 55"/>
                  <a:gd name="T9" fmla="*/ 5 h 30"/>
                  <a:gd name="T10" fmla="*/ 25 w 55"/>
                  <a:gd name="T11" fmla="*/ 6 h 30"/>
                  <a:gd name="T12" fmla="*/ 24 w 55"/>
                  <a:gd name="T13" fmla="*/ 7 h 30"/>
                  <a:gd name="T14" fmla="*/ 22 w 55"/>
                  <a:gd name="T15" fmla="*/ 8 h 30"/>
                  <a:gd name="T16" fmla="*/ 21 w 55"/>
                  <a:gd name="T17" fmla="*/ 9 h 30"/>
                  <a:gd name="T18" fmla="*/ 20 w 55"/>
                  <a:gd name="T19" fmla="*/ 10 h 30"/>
                  <a:gd name="T20" fmla="*/ 19 w 55"/>
                  <a:gd name="T21" fmla="*/ 10 h 30"/>
                  <a:gd name="T22" fmla="*/ 16 w 55"/>
                  <a:gd name="T23" fmla="*/ 11 h 30"/>
                  <a:gd name="T24" fmla="*/ 0 w 55"/>
                  <a:gd name="T25" fmla="*/ 15 h 30"/>
                  <a:gd name="T26" fmla="*/ 2 w 55"/>
                  <a:gd name="T27" fmla="*/ 22 h 30"/>
                  <a:gd name="T28" fmla="*/ 10 w 55"/>
                  <a:gd name="T29" fmla="*/ 30 h 30"/>
                  <a:gd name="T30" fmla="*/ 13 w 55"/>
                  <a:gd name="T31" fmla="*/ 29 h 30"/>
                  <a:gd name="T32" fmla="*/ 13 w 55"/>
                  <a:gd name="T33" fmla="*/ 29 h 30"/>
                  <a:gd name="T34" fmla="*/ 13 w 55"/>
                  <a:gd name="T35" fmla="*/ 29 h 30"/>
                  <a:gd name="T36" fmla="*/ 36 w 55"/>
                  <a:gd name="T37" fmla="*/ 24 h 30"/>
                  <a:gd name="T38" fmla="*/ 36 w 55"/>
                  <a:gd name="T39" fmla="*/ 24 h 30"/>
                  <a:gd name="T40" fmla="*/ 36 w 55"/>
                  <a:gd name="T41" fmla="*/ 24 h 30"/>
                  <a:gd name="T42" fmla="*/ 37 w 55"/>
                  <a:gd name="T43" fmla="*/ 24 h 30"/>
                  <a:gd name="T44" fmla="*/ 37 w 55"/>
                  <a:gd name="T45" fmla="*/ 24 h 30"/>
                  <a:gd name="T46" fmla="*/ 37 w 55"/>
                  <a:gd name="T47" fmla="*/ 24 h 30"/>
                  <a:gd name="T48" fmla="*/ 39 w 55"/>
                  <a:gd name="T49" fmla="*/ 23 h 30"/>
                  <a:gd name="T50" fmla="*/ 40 w 55"/>
                  <a:gd name="T51" fmla="*/ 22 h 30"/>
                  <a:gd name="T52" fmla="*/ 42 w 55"/>
                  <a:gd name="T53" fmla="*/ 21 h 30"/>
                  <a:gd name="T54" fmla="*/ 42 w 55"/>
                  <a:gd name="T55" fmla="*/ 21 h 30"/>
                  <a:gd name="T56" fmla="*/ 44 w 55"/>
                  <a:gd name="T57" fmla="*/ 19 h 30"/>
                  <a:gd name="T58" fmla="*/ 45 w 55"/>
                  <a:gd name="T59" fmla="*/ 19 h 30"/>
                  <a:gd name="T60" fmla="*/ 47 w 55"/>
                  <a:gd name="T61" fmla="*/ 16 h 30"/>
                  <a:gd name="T62" fmla="*/ 47 w 55"/>
                  <a:gd name="T63" fmla="*/ 16 h 30"/>
                  <a:gd name="T64" fmla="*/ 49 w 55"/>
                  <a:gd name="T65" fmla="*/ 13 h 30"/>
                  <a:gd name="T66" fmla="*/ 50 w 55"/>
                  <a:gd name="T67" fmla="*/ 12 h 30"/>
                  <a:gd name="T68" fmla="*/ 51 w 55"/>
                  <a:gd name="T69" fmla="*/ 9 h 30"/>
                  <a:gd name="T70" fmla="*/ 51 w 55"/>
                  <a:gd name="T71" fmla="*/ 8 h 30"/>
                  <a:gd name="T72" fmla="*/ 55 w 55"/>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30">
                    <a:moveTo>
                      <a:pt x="55" y="0"/>
                    </a:moveTo>
                    <a:cubicBezTo>
                      <a:pt x="34" y="5"/>
                      <a:pt x="32" y="5"/>
                      <a:pt x="32" y="5"/>
                    </a:cubicBezTo>
                    <a:cubicBezTo>
                      <a:pt x="32" y="5"/>
                      <a:pt x="32" y="5"/>
                      <a:pt x="32" y="5"/>
                    </a:cubicBezTo>
                    <a:cubicBezTo>
                      <a:pt x="31" y="5"/>
                      <a:pt x="30" y="6"/>
                      <a:pt x="29" y="6"/>
                    </a:cubicBezTo>
                    <a:cubicBezTo>
                      <a:pt x="28" y="6"/>
                      <a:pt x="27" y="5"/>
                      <a:pt x="26" y="5"/>
                    </a:cubicBezTo>
                    <a:cubicBezTo>
                      <a:pt x="25" y="5"/>
                      <a:pt x="25" y="6"/>
                      <a:pt x="25" y="6"/>
                    </a:cubicBezTo>
                    <a:cubicBezTo>
                      <a:pt x="24" y="7"/>
                      <a:pt x="24" y="7"/>
                      <a:pt x="24" y="7"/>
                    </a:cubicBezTo>
                    <a:cubicBezTo>
                      <a:pt x="23" y="7"/>
                      <a:pt x="23" y="8"/>
                      <a:pt x="22" y="8"/>
                    </a:cubicBezTo>
                    <a:cubicBezTo>
                      <a:pt x="21" y="9"/>
                      <a:pt x="21" y="9"/>
                      <a:pt x="21" y="9"/>
                    </a:cubicBezTo>
                    <a:cubicBezTo>
                      <a:pt x="21" y="9"/>
                      <a:pt x="20" y="10"/>
                      <a:pt x="20" y="10"/>
                    </a:cubicBezTo>
                    <a:cubicBezTo>
                      <a:pt x="19" y="10"/>
                      <a:pt x="19" y="10"/>
                      <a:pt x="19" y="10"/>
                    </a:cubicBezTo>
                    <a:cubicBezTo>
                      <a:pt x="18" y="11"/>
                      <a:pt x="17" y="11"/>
                      <a:pt x="16" y="11"/>
                    </a:cubicBezTo>
                    <a:cubicBezTo>
                      <a:pt x="9" y="13"/>
                      <a:pt x="3" y="14"/>
                      <a:pt x="0" y="15"/>
                    </a:cubicBezTo>
                    <a:cubicBezTo>
                      <a:pt x="2" y="22"/>
                      <a:pt x="2" y="22"/>
                      <a:pt x="2" y="22"/>
                    </a:cubicBezTo>
                    <a:cubicBezTo>
                      <a:pt x="2" y="22"/>
                      <a:pt x="2" y="30"/>
                      <a:pt x="10" y="30"/>
                    </a:cubicBezTo>
                    <a:cubicBezTo>
                      <a:pt x="11" y="30"/>
                      <a:pt x="12" y="30"/>
                      <a:pt x="13" y="29"/>
                    </a:cubicBezTo>
                    <a:cubicBezTo>
                      <a:pt x="13" y="29"/>
                      <a:pt x="13" y="29"/>
                      <a:pt x="13" y="29"/>
                    </a:cubicBezTo>
                    <a:cubicBezTo>
                      <a:pt x="13" y="29"/>
                      <a:pt x="13" y="29"/>
                      <a:pt x="13" y="29"/>
                    </a:cubicBezTo>
                    <a:cubicBezTo>
                      <a:pt x="13" y="29"/>
                      <a:pt x="16" y="28"/>
                      <a:pt x="36" y="24"/>
                    </a:cubicBezTo>
                    <a:cubicBezTo>
                      <a:pt x="36" y="24"/>
                      <a:pt x="36" y="24"/>
                      <a:pt x="36" y="24"/>
                    </a:cubicBezTo>
                    <a:cubicBezTo>
                      <a:pt x="36" y="24"/>
                      <a:pt x="36" y="24"/>
                      <a:pt x="36" y="24"/>
                    </a:cubicBezTo>
                    <a:cubicBezTo>
                      <a:pt x="36" y="24"/>
                      <a:pt x="36" y="24"/>
                      <a:pt x="37" y="24"/>
                    </a:cubicBezTo>
                    <a:cubicBezTo>
                      <a:pt x="37" y="24"/>
                      <a:pt x="37" y="24"/>
                      <a:pt x="37" y="24"/>
                    </a:cubicBezTo>
                    <a:cubicBezTo>
                      <a:pt x="37" y="24"/>
                      <a:pt x="37" y="24"/>
                      <a:pt x="37" y="24"/>
                    </a:cubicBezTo>
                    <a:cubicBezTo>
                      <a:pt x="37" y="24"/>
                      <a:pt x="38" y="23"/>
                      <a:pt x="39" y="23"/>
                    </a:cubicBezTo>
                    <a:cubicBezTo>
                      <a:pt x="40" y="22"/>
                      <a:pt x="40" y="22"/>
                      <a:pt x="40" y="22"/>
                    </a:cubicBezTo>
                    <a:cubicBezTo>
                      <a:pt x="41" y="22"/>
                      <a:pt x="41" y="22"/>
                      <a:pt x="42" y="21"/>
                    </a:cubicBezTo>
                    <a:cubicBezTo>
                      <a:pt x="42" y="21"/>
                      <a:pt x="42" y="21"/>
                      <a:pt x="42" y="21"/>
                    </a:cubicBezTo>
                    <a:cubicBezTo>
                      <a:pt x="43" y="20"/>
                      <a:pt x="44" y="20"/>
                      <a:pt x="44" y="19"/>
                    </a:cubicBezTo>
                    <a:cubicBezTo>
                      <a:pt x="45" y="19"/>
                      <a:pt x="45" y="19"/>
                      <a:pt x="45" y="19"/>
                    </a:cubicBezTo>
                    <a:cubicBezTo>
                      <a:pt x="46" y="18"/>
                      <a:pt x="46" y="17"/>
                      <a:pt x="47" y="16"/>
                    </a:cubicBezTo>
                    <a:cubicBezTo>
                      <a:pt x="47" y="16"/>
                      <a:pt x="47" y="16"/>
                      <a:pt x="47" y="16"/>
                    </a:cubicBezTo>
                    <a:cubicBezTo>
                      <a:pt x="48" y="15"/>
                      <a:pt x="48" y="14"/>
                      <a:pt x="49" y="13"/>
                    </a:cubicBezTo>
                    <a:cubicBezTo>
                      <a:pt x="50" y="12"/>
                      <a:pt x="50" y="12"/>
                      <a:pt x="50" y="12"/>
                    </a:cubicBezTo>
                    <a:cubicBezTo>
                      <a:pt x="50" y="11"/>
                      <a:pt x="51" y="10"/>
                      <a:pt x="51" y="9"/>
                    </a:cubicBezTo>
                    <a:cubicBezTo>
                      <a:pt x="51" y="8"/>
                      <a:pt x="51" y="8"/>
                      <a:pt x="51" y="8"/>
                    </a:cubicBezTo>
                    <a:cubicBezTo>
                      <a:pt x="53" y="6"/>
                      <a:pt x="54" y="3"/>
                      <a:pt x="55"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4" name="Freeform 1396">
                <a:extLst>
                  <a:ext uri="{FF2B5EF4-FFF2-40B4-BE49-F238E27FC236}">
                    <a16:creationId xmlns:a16="http://schemas.microsoft.com/office/drawing/2014/main" id="{906F190C-9DCB-4195-BEF8-8BD552934091}"/>
                  </a:ext>
                </a:extLst>
              </p:cNvPr>
              <p:cNvSpPr>
                <a:spLocks/>
              </p:cNvSpPr>
              <p:nvPr/>
            </p:nvSpPr>
            <p:spPr bwMode="auto">
              <a:xfrm>
                <a:off x="17068800" y="2023571"/>
                <a:ext cx="134937" cy="90487"/>
              </a:xfrm>
              <a:custGeom>
                <a:avLst/>
                <a:gdLst>
                  <a:gd name="T0" fmla="*/ 91 w 91"/>
                  <a:gd name="T1" fmla="*/ 0 h 61"/>
                  <a:gd name="T2" fmla="*/ 91 w 91"/>
                  <a:gd name="T3" fmla="*/ 0 h 61"/>
                  <a:gd name="T4" fmla="*/ 91 w 91"/>
                  <a:gd name="T5" fmla="*/ 0 h 61"/>
                  <a:gd name="T6" fmla="*/ 71 w 91"/>
                  <a:gd name="T7" fmla="*/ 7 h 61"/>
                  <a:gd name="T8" fmla="*/ 70 w 91"/>
                  <a:gd name="T9" fmla="*/ 7 h 61"/>
                  <a:gd name="T10" fmla="*/ 31 w 91"/>
                  <a:gd name="T11" fmla="*/ 42 h 61"/>
                  <a:gd name="T12" fmla="*/ 0 w 91"/>
                  <a:gd name="T13" fmla="*/ 47 h 61"/>
                  <a:gd name="T14" fmla="*/ 10 w 91"/>
                  <a:gd name="T15" fmla="*/ 61 h 61"/>
                  <a:gd name="T16" fmla="*/ 10 w 91"/>
                  <a:gd name="T17" fmla="*/ 61 h 61"/>
                  <a:gd name="T18" fmla="*/ 51 w 91"/>
                  <a:gd name="T19" fmla="*/ 55 h 61"/>
                  <a:gd name="T20" fmla="*/ 91 w 91"/>
                  <a:gd name="T21" fmla="*/ 11 h 61"/>
                  <a:gd name="T22" fmla="*/ 91 w 91"/>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61">
                    <a:moveTo>
                      <a:pt x="91" y="0"/>
                    </a:moveTo>
                    <a:cubicBezTo>
                      <a:pt x="91" y="0"/>
                      <a:pt x="91" y="0"/>
                      <a:pt x="91" y="0"/>
                    </a:cubicBezTo>
                    <a:cubicBezTo>
                      <a:pt x="91" y="0"/>
                      <a:pt x="91" y="0"/>
                      <a:pt x="91" y="0"/>
                    </a:cubicBezTo>
                    <a:cubicBezTo>
                      <a:pt x="83" y="3"/>
                      <a:pt x="78" y="5"/>
                      <a:pt x="71" y="7"/>
                    </a:cubicBezTo>
                    <a:cubicBezTo>
                      <a:pt x="71" y="7"/>
                      <a:pt x="70" y="7"/>
                      <a:pt x="70" y="7"/>
                    </a:cubicBezTo>
                    <a:cubicBezTo>
                      <a:pt x="64" y="24"/>
                      <a:pt x="49" y="38"/>
                      <a:pt x="31" y="42"/>
                    </a:cubicBezTo>
                    <a:cubicBezTo>
                      <a:pt x="0" y="47"/>
                      <a:pt x="0" y="47"/>
                      <a:pt x="0" y="47"/>
                    </a:cubicBezTo>
                    <a:cubicBezTo>
                      <a:pt x="3" y="52"/>
                      <a:pt x="6" y="56"/>
                      <a:pt x="10" y="61"/>
                    </a:cubicBezTo>
                    <a:cubicBezTo>
                      <a:pt x="10" y="61"/>
                      <a:pt x="10" y="61"/>
                      <a:pt x="10" y="61"/>
                    </a:cubicBezTo>
                    <a:cubicBezTo>
                      <a:pt x="51" y="55"/>
                      <a:pt x="51" y="55"/>
                      <a:pt x="51" y="55"/>
                    </a:cubicBezTo>
                    <a:cubicBezTo>
                      <a:pt x="73" y="50"/>
                      <a:pt x="88" y="32"/>
                      <a:pt x="91" y="11"/>
                    </a:cubicBezTo>
                    <a:cubicBezTo>
                      <a:pt x="91" y="0"/>
                      <a:pt x="91" y="0"/>
                      <a:pt x="91"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5" name="Freeform 1397">
                <a:extLst>
                  <a:ext uri="{FF2B5EF4-FFF2-40B4-BE49-F238E27FC236}">
                    <a16:creationId xmlns:a16="http://schemas.microsoft.com/office/drawing/2014/main" id="{D71CA4D4-22A6-4CC9-A5C6-B7ED27B37710}"/>
                  </a:ext>
                </a:extLst>
              </p:cNvPr>
              <p:cNvSpPr>
                <a:spLocks noEditPoints="1"/>
              </p:cNvSpPr>
              <p:nvPr/>
            </p:nvSpPr>
            <p:spPr bwMode="auto">
              <a:xfrm>
                <a:off x="16606838" y="1166321"/>
                <a:ext cx="387350" cy="317500"/>
              </a:xfrm>
              <a:custGeom>
                <a:avLst/>
                <a:gdLst>
                  <a:gd name="T0" fmla="*/ 0 w 261"/>
                  <a:gd name="T1" fmla="*/ 215 h 215"/>
                  <a:gd name="T2" fmla="*/ 1 w 261"/>
                  <a:gd name="T3" fmla="*/ 215 h 215"/>
                  <a:gd name="T4" fmla="*/ 0 w 261"/>
                  <a:gd name="T5" fmla="*/ 215 h 215"/>
                  <a:gd name="T6" fmla="*/ 0 w 261"/>
                  <a:gd name="T7" fmla="*/ 215 h 215"/>
                  <a:gd name="T8" fmla="*/ 0 w 261"/>
                  <a:gd name="T9" fmla="*/ 215 h 215"/>
                  <a:gd name="T10" fmla="*/ 0 w 261"/>
                  <a:gd name="T11" fmla="*/ 215 h 215"/>
                  <a:gd name="T12" fmla="*/ 0 w 261"/>
                  <a:gd name="T13" fmla="*/ 215 h 215"/>
                  <a:gd name="T14" fmla="*/ 0 w 261"/>
                  <a:gd name="T15" fmla="*/ 215 h 215"/>
                  <a:gd name="T16" fmla="*/ 0 w 261"/>
                  <a:gd name="T17" fmla="*/ 215 h 215"/>
                  <a:gd name="T18" fmla="*/ 191 w 261"/>
                  <a:gd name="T19" fmla="*/ 3 h 215"/>
                  <a:gd name="T20" fmla="*/ 173 w 261"/>
                  <a:gd name="T21" fmla="*/ 7 h 215"/>
                  <a:gd name="T22" fmla="*/ 164 w 261"/>
                  <a:gd name="T23" fmla="*/ 15 h 215"/>
                  <a:gd name="T24" fmla="*/ 159 w 261"/>
                  <a:gd name="T25" fmla="*/ 21 h 215"/>
                  <a:gd name="T26" fmla="*/ 159 w 261"/>
                  <a:gd name="T27" fmla="*/ 21 h 215"/>
                  <a:gd name="T28" fmla="*/ 164 w 261"/>
                  <a:gd name="T29" fmla="*/ 15 h 215"/>
                  <a:gd name="T30" fmla="*/ 173 w 261"/>
                  <a:gd name="T31" fmla="*/ 7 h 215"/>
                  <a:gd name="T32" fmla="*/ 191 w 261"/>
                  <a:gd name="T33" fmla="*/ 3 h 215"/>
                  <a:gd name="T34" fmla="*/ 191 w 261"/>
                  <a:gd name="T35" fmla="*/ 3 h 215"/>
                  <a:gd name="T36" fmla="*/ 191 w 261"/>
                  <a:gd name="T37" fmla="*/ 3 h 215"/>
                  <a:gd name="T38" fmla="*/ 191 w 261"/>
                  <a:gd name="T39" fmla="*/ 3 h 215"/>
                  <a:gd name="T40" fmla="*/ 191 w 261"/>
                  <a:gd name="T41" fmla="*/ 3 h 215"/>
                  <a:gd name="T42" fmla="*/ 261 w 261"/>
                  <a:gd name="T43" fmla="*/ 0 h 215"/>
                  <a:gd name="T44" fmla="*/ 193 w 261"/>
                  <a:gd name="T45" fmla="*/ 3 h 215"/>
                  <a:gd name="T46" fmla="*/ 193 w 261"/>
                  <a:gd name="T47" fmla="*/ 3 h 215"/>
                  <a:gd name="T48" fmla="*/ 193 w 261"/>
                  <a:gd name="T49" fmla="*/ 3 h 215"/>
                  <a:gd name="T50" fmla="*/ 261 w 261"/>
                  <a:gd name="T5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1" h="215">
                    <a:moveTo>
                      <a:pt x="0" y="215"/>
                    </a:moveTo>
                    <a:cubicBezTo>
                      <a:pt x="0" y="215"/>
                      <a:pt x="1" y="215"/>
                      <a:pt x="1" y="215"/>
                    </a:cubicBezTo>
                    <a:cubicBezTo>
                      <a:pt x="1" y="215"/>
                      <a:pt x="0" y="215"/>
                      <a:pt x="0" y="215"/>
                    </a:cubicBezTo>
                    <a:moveTo>
                      <a:pt x="0" y="215"/>
                    </a:moveTo>
                    <a:cubicBezTo>
                      <a:pt x="0" y="215"/>
                      <a:pt x="0" y="215"/>
                      <a:pt x="0" y="215"/>
                    </a:cubicBezTo>
                    <a:cubicBezTo>
                      <a:pt x="0" y="215"/>
                      <a:pt x="0" y="215"/>
                      <a:pt x="0" y="215"/>
                    </a:cubicBezTo>
                    <a:moveTo>
                      <a:pt x="0" y="215"/>
                    </a:moveTo>
                    <a:cubicBezTo>
                      <a:pt x="0" y="215"/>
                      <a:pt x="0" y="215"/>
                      <a:pt x="0" y="215"/>
                    </a:cubicBezTo>
                    <a:cubicBezTo>
                      <a:pt x="0" y="215"/>
                      <a:pt x="0" y="215"/>
                      <a:pt x="0" y="215"/>
                    </a:cubicBezTo>
                    <a:moveTo>
                      <a:pt x="191" y="3"/>
                    </a:moveTo>
                    <a:cubicBezTo>
                      <a:pt x="185" y="3"/>
                      <a:pt x="179" y="4"/>
                      <a:pt x="173" y="7"/>
                    </a:cubicBezTo>
                    <a:cubicBezTo>
                      <a:pt x="170" y="9"/>
                      <a:pt x="167" y="12"/>
                      <a:pt x="164" y="15"/>
                    </a:cubicBezTo>
                    <a:cubicBezTo>
                      <a:pt x="159" y="21"/>
                      <a:pt x="159" y="21"/>
                      <a:pt x="159" y="21"/>
                    </a:cubicBezTo>
                    <a:cubicBezTo>
                      <a:pt x="159" y="21"/>
                      <a:pt x="159" y="21"/>
                      <a:pt x="159" y="21"/>
                    </a:cubicBezTo>
                    <a:cubicBezTo>
                      <a:pt x="164" y="15"/>
                      <a:pt x="164" y="15"/>
                      <a:pt x="164" y="15"/>
                    </a:cubicBezTo>
                    <a:cubicBezTo>
                      <a:pt x="167" y="12"/>
                      <a:pt x="170" y="9"/>
                      <a:pt x="173" y="7"/>
                    </a:cubicBezTo>
                    <a:cubicBezTo>
                      <a:pt x="179" y="4"/>
                      <a:pt x="185" y="3"/>
                      <a:pt x="191" y="3"/>
                    </a:cubicBezTo>
                    <a:moveTo>
                      <a:pt x="191" y="3"/>
                    </a:moveTo>
                    <a:cubicBezTo>
                      <a:pt x="191" y="3"/>
                      <a:pt x="191" y="3"/>
                      <a:pt x="191" y="3"/>
                    </a:cubicBezTo>
                    <a:cubicBezTo>
                      <a:pt x="191" y="3"/>
                      <a:pt x="191" y="3"/>
                      <a:pt x="191" y="3"/>
                    </a:cubicBezTo>
                    <a:cubicBezTo>
                      <a:pt x="191" y="3"/>
                      <a:pt x="191" y="3"/>
                      <a:pt x="191" y="3"/>
                    </a:cubicBezTo>
                    <a:moveTo>
                      <a:pt x="261" y="0"/>
                    </a:moveTo>
                    <a:cubicBezTo>
                      <a:pt x="193" y="3"/>
                      <a:pt x="193" y="3"/>
                      <a:pt x="193" y="3"/>
                    </a:cubicBezTo>
                    <a:cubicBezTo>
                      <a:pt x="193" y="3"/>
                      <a:pt x="193" y="3"/>
                      <a:pt x="193" y="3"/>
                    </a:cubicBezTo>
                    <a:cubicBezTo>
                      <a:pt x="193" y="3"/>
                      <a:pt x="193" y="3"/>
                      <a:pt x="193" y="3"/>
                    </a:cubicBezTo>
                    <a:cubicBezTo>
                      <a:pt x="261" y="0"/>
                      <a:pt x="261" y="0"/>
                      <a:pt x="26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6" name="Freeform 1398">
                <a:extLst>
                  <a:ext uri="{FF2B5EF4-FFF2-40B4-BE49-F238E27FC236}">
                    <a16:creationId xmlns:a16="http://schemas.microsoft.com/office/drawing/2014/main" id="{843660A0-7D22-42C5-93E5-578D9F2CB45F}"/>
                  </a:ext>
                </a:extLst>
              </p:cNvPr>
              <p:cNvSpPr>
                <a:spLocks noEditPoints="1"/>
              </p:cNvSpPr>
              <p:nvPr/>
            </p:nvSpPr>
            <p:spPr bwMode="auto">
              <a:xfrm>
                <a:off x="16649700" y="1164734"/>
                <a:ext cx="433387" cy="249237"/>
              </a:xfrm>
              <a:custGeom>
                <a:avLst/>
                <a:gdLst>
                  <a:gd name="T0" fmla="*/ 33 w 292"/>
                  <a:gd name="T1" fmla="*/ 133 h 170"/>
                  <a:gd name="T2" fmla="*/ 0 w 292"/>
                  <a:gd name="T3" fmla="*/ 170 h 170"/>
                  <a:gd name="T4" fmla="*/ 33 w 292"/>
                  <a:gd name="T5" fmla="*/ 133 h 170"/>
                  <a:gd name="T6" fmla="*/ 33 w 292"/>
                  <a:gd name="T7" fmla="*/ 133 h 170"/>
                  <a:gd name="T8" fmla="*/ 292 w 292"/>
                  <a:gd name="T9" fmla="*/ 0 h 170"/>
                  <a:gd name="T10" fmla="*/ 232 w 292"/>
                  <a:gd name="T11" fmla="*/ 2 h 170"/>
                  <a:gd name="T12" fmla="*/ 164 w 292"/>
                  <a:gd name="T13" fmla="*/ 5 h 170"/>
                  <a:gd name="T14" fmla="*/ 164 w 292"/>
                  <a:gd name="T15" fmla="*/ 5 h 170"/>
                  <a:gd name="T16" fmla="*/ 162 w 292"/>
                  <a:gd name="T17" fmla="*/ 5 h 170"/>
                  <a:gd name="T18" fmla="*/ 162 w 292"/>
                  <a:gd name="T19" fmla="*/ 5 h 170"/>
                  <a:gd name="T20" fmla="*/ 162 w 292"/>
                  <a:gd name="T21" fmla="*/ 5 h 170"/>
                  <a:gd name="T22" fmla="*/ 144 w 292"/>
                  <a:gd name="T23" fmla="*/ 9 h 170"/>
                  <a:gd name="T24" fmla="*/ 135 w 292"/>
                  <a:gd name="T25" fmla="*/ 17 h 170"/>
                  <a:gd name="T26" fmla="*/ 130 w 292"/>
                  <a:gd name="T27" fmla="*/ 23 h 170"/>
                  <a:gd name="T28" fmla="*/ 122 w 292"/>
                  <a:gd name="T29" fmla="*/ 32 h 170"/>
                  <a:gd name="T30" fmla="*/ 119 w 292"/>
                  <a:gd name="T31" fmla="*/ 35 h 170"/>
                  <a:gd name="T32" fmla="*/ 46 w 292"/>
                  <a:gd name="T33" fmla="*/ 118 h 170"/>
                  <a:gd name="T34" fmla="*/ 61 w 292"/>
                  <a:gd name="T35" fmla="*/ 128 h 170"/>
                  <a:gd name="T36" fmla="*/ 131 w 292"/>
                  <a:gd name="T37" fmla="*/ 48 h 170"/>
                  <a:gd name="T38" fmla="*/ 144 w 292"/>
                  <a:gd name="T39" fmla="*/ 33 h 170"/>
                  <a:gd name="T40" fmla="*/ 153 w 292"/>
                  <a:gd name="T41" fmla="*/ 25 h 170"/>
                  <a:gd name="T42" fmla="*/ 171 w 292"/>
                  <a:gd name="T43" fmla="*/ 21 h 170"/>
                  <a:gd name="T44" fmla="*/ 173 w 292"/>
                  <a:gd name="T45" fmla="*/ 21 h 170"/>
                  <a:gd name="T46" fmla="*/ 271 w 292"/>
                  <a:gd name="T47" fmla="*/ 17 h 170"/>
                  <a:gd name="T48" fmla="*/ 274 w 292"/>
                  <a:gd name="T49" fmla="*/ 14 h 170"/>
                  <a:gd name="T50" fmla="*/ 292 w 292"/>
                  <a:gd name="T5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2" h="170">
                    <a:moveTo>
                      <a:pt x="33" y="133"/>
                    </a:moveTo>
                    <a:cubicBezTo>
                      <a:pt x="0" y="170"/>
                      <a:pt x="0" y="170"/>
                      <a:pt x="0" y="170"/>
                    </a:cubicBezTo>
                    <a:cubicBezTo>
                      <a:pt x="33" y="133"/>
                      <a:pt x="33" y="133"/>
                      <a:pt x="33" y="133"/>
                    </a:cubicBezTo>
                    <a:cubicBezTo>
                      <a:pt x="33" y="133"/>
                      <a:pt x="33" y="133"/>
                      <a:pt x="33" y="133"/>
                    </a:cubicBezTo>
                    <a:moveTo>
                      <a:pt x="292" y="0"/>
                    </a:moveTo>
                    <a:cubicBezTo>
                      <a:pt x="232" y="2"/>
                      <a:pt x="232" y="2"/>
                      <a:pt x="232" y="2"/>
                    </a:cubicBezTo>
                    <a:cubicBezTo>
                      <a:pt x="164" y="5"/>
                      <a:pt x="164" y="5"/>
                      <a:pt x="164" y="5"/>
                    </a:cubicBezTo>
                    <a:cubicBezTo>
                      <a:pt x="164" y="5"/>
                      <a:pt x="164" y="5"/>
                      <a:pt x="164" y="5"/>
                    </a:cubicBezTo>
                    <a:cubicBezTo>
                      <a:pt x="163" y="5"/>
                      <a:pt x="163" y="5"/>
                      <a:pt x="162" y="5"/>
                    </a:cubicBezTo>
                    <a:cubicBezTo>
                      <a:pt x="162" y="5"/>
                      <a:pt x="162" y="5"/>
                      <a:pt x="162" y="5"/>
                    </a:cubicBezTo>
                    <a:cubicBezTo>
                      <a:pt x="162" y="5"/>
                      <a:pt x="162" y="5"/>
                      <a:pt x="162" y="5"/>
                    </a:cubicBezTo>
                    <a:cubicBezTo>
                      <a:pt x="156" y="5"/>
                      <a:pt x="150" y="6"/>
                      <a:pt x="144" y="9"/>
                    </a:cubicBezTo>
                    <a:cubicBezTo>
                      <a:pt x="141" y="11"/>
                      <a:pt x="138" y="14"/>
                      <a:pt x="135" y="17"/>
                    </a:cubicBezTo>
                    <a:cubicBezTo>
                      <a:pt x="130" y="23"/>
                      <a:pt x="130" y="23"/>
                      <a:pt x="130" y="23"/>
                    </a:cubicBezTo>
                    <a:cubicBezTo>
                      <a:pt x="122" y="32"/>
                      <a:pt x="122" y="32"/>
                      <a:pt x="122" y="32"/>
                    </a:cubicBezTo>
                    <a:cubicBezTo>
                      <a:pt x="119" y="35"/>
                      <a:pt x="119" y="35"/>
                      <a:pt x="119" y="35"/>
                    </a:cubicBezTo>
                    <a:cubicBezTo>
                      <a:pt x="46" y="118"/>
                      <a:pt x="46" y="118"/>
                      <a:pt x="46" y="118"/>
                    </a:cubicBezTo>
                    <a:cubicBezTo>
                      <a:pt x="61" y="128"/>
                      <a:pt x="61" y="128"/>
                      <a:pt x="61" y="128"/>
                    </a:cubicBezTo>
                    <a:cubicBezTo>
                      <a:pt x="131" y="48"/>
                      <a:pt x="131" y="48"/>
                      <a:pt x="131" y="48"/>
                    </a:cubicBezTo>
                    <a:cubicBezTo>
                      <a:pt x="144" y="33"/>
                      <a:pt x="144" y="33"/>
                      <a:pt x="144" y="33"/>
                    </a:cubicBezTo>
                    <a:cubicBezTo>
                      <a:pt x="147" y="30"/>
                      <a:pt x="150" y="27"/>
                      <a:pt x="153" y="25"/>
                    </a:cubicBezTo>
                    <a:cubicBezTo>
                      <a:pt x="159" y="22"/>
                      <a:pt x="165" y="21"/>
                      <a:pt x="171" y="21"/>
                    </a:cubicBezTo>
                    <a:cubicBezTo>
                      <a:pt x="172" y="21"/>
                      <a:pt x="173" y="21"/>
                      <a:pt x="173" y="21"/>
                    </a:cubicBezTo>
                    <a:cubicBezTo>
                      <a:pt x="271" y="17"/>
                      <a:pt x="271" y="17"/>
                      <a:pt x="271" y="17"/>
                    </a:cubicBezTo>
                    <a:cubicBezTo>
                      <a:pt x="272" y="16"/>
                      <a:pt x="273" y="15"/>
                      <a:pt x="274" y="14"/>
                    </a:cubicBezTo>
                    <a:cubicBezTo>
                      <a:pt x="279" y="7"/>
                      <a:pt x="286" y="3"/>
                      <a:pt x="292"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7" name="Freeform 1399">
                <a:extLst>
                  <a:ext uri="{FF2B5EF4-FFF2-40B4-BE49-F238E27FC236}">
                    <a16:creationId xmlns:a16="http://schemas.microsoft.com/office/drawing/2014/main" id="{777FF72C-559B-444B-AE01-BC9414F29FE9}"/>
                  </a:ext>
                </a:extLst>
              </p:cNvPr>
              <p:cNvSpPr>
                <a:spLocks noEditPoints="1"/>
              </p:cNvSpPr>
              <p:nvPr/>
            </p:nvSpPr>
            <p:spPr bwMode="auto">
              <a:xfrm>
                <a:off x="16603663" y="1359996"/>
                <a:ext cx="115887" cy="128587"/>
              </a:xfrm>
              <a:custGeom>
                <a:avLst/>
                <a:gdLst>
                  <a:gd name="T0" fmla="*/ 9 w 79"/>
                  <a:gd name="T1" fmla="*/ 61 h 87"/>
                  <a:gd name="T2" fmla="*/ 9 w 79"/>
                  <a:gd name="T3" fmla="*/ 61 h 87"/>
                  <a:gd name="T4" fmla="*/ 9 w 79"/>
                  <a:gd name="T5" fmla="*/ 61 h 87"/>
                  <a:gd name="T6" fmla="*/ 9 w 79"/>
                  <a:gd name="T7" fmla="*/ 61 h 87"/>
                  <a:gd name="T8" fmla="*/ 65 w 79"/>
                  <a:gd name="T9" fmla="*/ 0 h 87"/>
                  <a:gd name="T10" fmla="*/ 32 w 79"/>
                  <a:gd name="T11" fmla="*/ 37 h 87"/>
                  <a:gd name="T12" fmla="*/ 3 w 79"/>
                  <a:gd name="T13" fmla="*/ 67 h 87"/>
                  <a:gd name="T14" fmla="*/ 3 w 79"/>
                  <a:gd name="T15" fmla="*/ 68 h 87"/>
                  <a:gd name="T16" fmla="*/ 2 w 79"/>
                  <a:gd name="T17" fmla="*/ 68 h 87"/>
                  <a:gd name="T18" fmla="*/ 0 w 79"/>
                  <a:gd name="T19" fmla="*/ 75 h 87"/>
                  <a:gd name="T20" fmla="*/ 3 w 79"/>
                  <a:gd name="T21" fmla="*/ 84 h 87"/>
                  <a:gd name="T22" fmla="*/ 3 w 79"/>
                  <a:gd name="T23" fmla="*/ 84 h 87"/>
                  <a:gd name="T24" fmla="*/ 3 w 79"/>
                  <a:gd name="T25" fmla="*/ 84 h 87"/>
                  <a:gd name="T26" fmla="*/ 3 w 79"/>
                  <a:gd name="T27" fmla="*/ 84 h 87"/>
                  <a:gd name="T28" fmla="*/ 3 w 79"/>
                  <a:gd name="T29" fmla="*/ 84 h 87"/>
                  <a:gd name="T30" fmla="*/ 3 w 79"/>
                  <a:gd name="T31" fmla="*/ 84 h 87"/>
                  <a:gd name="T32" fmla="*/ 4 w 79"/>
                  <a:gd name="T33" fmla="*/ 84 h 87"/>
                  <a:gd name="T34" fmla="*/ 10 w 79"/>
                  <a:gd name="T35" fmla="*/ 87 h 87"/>
                  <a:gd name="T36" fmla="*/ 11 w 79"/>
                  <a:gd name="T37" fmla="*/ 84 h 87"/>
                  <a:gd name="T38" fmla="*/ 12 w 79"/>
                  <a:gd name="T39" fmla="*/ 84 h 87"/>
                  <a:gd name="T40" fmla="*/ 12 w 79"/>
                  <a:gd name="T41" fmla="*/ 83 h 87"/>
                  <a:gd name="T42" fmla="*/ 41 w 79"/>
                  <a:gd name="T43" fmla="*/ 53 h 87"/>
                  <a:gd name="T44" fmla="*/ 57 w 79"/>
                  <a:gd name="T45" fmla="*/ 35 h 87"/>
                  <a:gd name="T46" fmla="*/ 48 w 79"/>
                  <a:gd name="T47" fmla="*/ 26 h 87"/>
                  <a:gd name="T48" fmla="*/ 48 w 79"/>
                  <a:gd name="T49" fmla="*/ 26 h 87"/>
                  <a:gd name="T50" fmla="*/ 50 w 79"/>
                  <a:gd name="T51" fmla="*/ 24 h 87"/>
                  <a:gd name="T52" fmla="*/ 59 w 79"/>
                  <a:gd name="T53" fmla="*/ 33 h 87"/>
                  <a:gd name="T54" fmla="*/ 79 w 79"/>
                  <a:gd name="T55" fmla="*/ 10 h 87"/>
                  <a:gd name="T56" fmla="*/ 65 w 79"/>
                  <a:gd name="T5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87">
                    <a:moveTo>
                      <a:pt x="9" y="61"/>
                    </a:moveTo>
                    <a:cubicBezTo>
                      <a:pt x="9" y="61"/>
                      <a:pt x="9" y="61"/>
                      <a:pt x="9" y="61"/>
                    </a:cubicBezTo>
                    <a:cubicBezTo>
                      <a:pt x="9" y="61"/>
                      <a:pt x="9" y="61"/>
                      <a:pt x="9" y="61"/>
                    </a:cubicBezTo>
                    <a:cubicBezTo>
                      <a:pt x="9" y="61"/>
                      <a:pt x="9" y="61"/>
                      <a:pt x="9" y="61"/>
                    </a:cubicBezTo>
                    <a:moveTo>
                      <a:pt x="65" y="0"/>
                    </a:moveTo>
                    <a:cubicBezTo>
                      <a:pt x="32" y="37"/>
                      <a:pt x="32" y="37"/>
                      <a:pt x="32" y="37"/>
                    </a:cubicBezTo>
                    <a:cubicBezTo>
                      <a:pt x="3" y="67"/>
                      <a:pt x="3" y="67"/>
                      <a:pt x="3" y="67"/>
                    </a:cubicBezTo>
                    <a:cubicBezTo>
                      <a:pt x="3" y="68"/>
                      <a:pt x="3" y="68"/>
                      <a:pt x="3" y="68"/>
                    </a:cubicBezTo>
                    <a:cubicBezTo>
                      <a:pt x="2" y="68"/>
                      <a:pt x="2" y="68"/>
                      <a:pt x="2" y="68"/>
                    </a:cubicBezTo>
                    <a:cubicBezTo>
                      <a:pt x="1" y="70"/>
                      <a:pt x="0" y="73"/>
                      <a:pt x="0" y="75"/>
                    </a:cubicBezTo>
                    <a:cubicBezTo>
                      <a:pt x="0" y="78"/>
                      <a:pt x="1" y="82"/>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4" y="84"/>
                      <a:pt x="4" y="84"/>
                    </a:cubicBezTo>
                    <a:cubicBezTo>
                      <a:pt x="5" y="86"/>
                      <a:pt x="8" y="86"/>
                      <a:pt x="10" y="87"/>
                    </a:cubicBezTo>
                    <a:cubicBezTo>
                      <a:pt x="10" y="86"/>
                      <a:pt x="11" y="85"/>
                      <a:pt x="11" y="84"/>
                    </a:cubicBezTo>
                    <a:cubicBezTo>
                      <a:pt x="12" y="84"/>
                      <a:pt x="12" y="84"/>
                      <a:pt x="12" y="84"/>
                    </a:cubicBezTo>
                    <a:cubicBezTo>
                      <a:pt x="12" y="83"/>
                      <a:pt x="12" y="83"/>
                      <a:pt x="12" y="83"/>
                    </a:cubicBezTo>
                    <a:cubicBezTo>
                      <a:pt x="41" y="53"/>
                      <a:pt x="41" y="53"/>
                      <a:pt x="41" y="53"/>
                    </a:cubicBezTo>
                    <a:cubicBezTo>
                      <a:pt x="57" y="35"/>
                      <a:pt x="57" y="35"/>
                      <a:pt x="57" y="35"/>
                    </a:cubicBezTo>
                    <a:cubicBezTo>
                      <a:pt x="54" y="32"/>
                      <a:pt x="51" y="29"/>
                      <a:pt x="48" y="26"/>
                    </a:cubicBezTo>
                    <a:cubicBezTo>
                      <a:pt x="48" y="26"/>
                      <a:pt x="48" y="26"/>
                      <a:pt x="48" y="26"/>
                    </a:cubicBezTo>
                    <a:cubicBezTo>
                      <a:pt x="50" y="24"/>
                      <a:pt x="50" y="24"/>
                      <a:pt x="50" y="24"/>
                    </a:cubicBezTo>
                    <a:cubicBezTo>
                      <a:pt x="53" y="27"/>
                      <a:pt x="56" y="30"/>
                      <a:pt x="59" y="33"/>
                    </a:cubicBezTo>
                    <a:cubicBezTo>
                      <a:pt x="79" y="10"/>
                      <a:pt x="79" y="10"/>
                      <a:pt x="79" y="10"/>
                    </a:cubicBezTo>
                    <a:cubicBezTo>
                      <a:pt x="65" y="0"/>
                      <a:pt x="65" y="0"/>
                      <a:pt x="6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8" name="Freeform 1400">
                <a:extLst>
                  <a:ext uri="{FF2B5EF4-FFF2-40B4-BE49-F238E27FC236}">
                    <a16:creationId xmlns:a16="http://schemas.microsoft.com/office/drawing/2014/main" id="{3A16DEEF-77E2-4C1D-A1F6-E22FEB12E06D}"/>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9" name="Freeform 1401">
                <a:extLst>
                  <a:ext uri="{FF2B5EF4-FFF2-40B4-BE49-F238E27FC236}">
                    <a16:creationId xmlns:a16="http://schemas.microsoft.com/office/drawing/2014/main" id="{4D0960D7-2B10-40F6-BD8B-F56B78ED3BBE}"/>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0" name="Freeform 1402">
                <a:extLst>
                  <a:ext uri="{FF2B5EF4-FFF2-40B4-BE49-F238E27FC236}">
                    <a16:creationId xmlns:a16="http://schemas.microsoft.com/office/drawing/2014/main" id="{38823687-B3B8-4AB6-9F9A-F6291687B274}"/>
                  </a:ext>
                </a:extLst>
              </p:cNvPr>
              <p:cNvSpPr>
                <a:spLocks/>
              </p:cNvSpPr>
              <p:nvPr/>
            </p:nvSpPr>
            <p:spPr bwMode="auto">
              <a:xfrm>
                <a:off x="17051338" y="1163146"/>
                <a:ext cx="58737" cy="25400"/>
              </a:xfrm>
              <a:custGeom>
                <a:avLst/>
                <a:gdLst>
                  <a:gd name="T0" fmla="*/ 40 w 40"/>
                  <a:gd name="T1" fmla="*/ 0 h 18"/>
                  <a:gd name="T2" fmla="*/ 21 w 40"/>
                  <a:gd name="T3" fmla="*/ 1 h 18"/>
                  <a:gd name="T4" fmla="*/ 21 w 40"/>
                  <a:gd name="T5" fmla="*/ 1 h 18"/>
                  <a:gd name="T6" fmla="*/ 3 w 40"/>
                  <a:gd name="T7" fmla="*/ 15 h 18"/>
                  <a:gd name="T8" fmla="*/ 0 w 40"/>
                  <a:gd name="T9" fmla="*/ 18 h 18"/>
                  <a:gd name="T10" fmla="*/ 24 w 40"/>
                  <a:gd name="T11" fmla="*/ 17 h 18"/>
                  <a:gd name="T12" fmla="*/ 40 w 4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0" h="18">
                    <a:moveTo>
                      <a:pt x="40" y="0"/>
                    </a:moveTo>
                    <a:cubicBezTo>
                      <a:pt x="21" y="1"/>
                      <a:pt x="21" y="1"/>
                      <a:pt x="21" y="1"/>
                    </a:cubicBezTo>
                    <a:cubicBezTo>
                      <a:pt x="21" y="1"/>
                      <a:pt x="21" y="1"/>
                      <a:pt x="21" y="1"/>
                    </a:cubicBezTo>
                    <a:cubicBezTo>
                      <a:pt x="15" y="4"/>
                      <a:pt x="8" y="8"/>
                      <a:pt x="3" y="15"/>
                    </a:cubicBezTo>
                    <a:cubicBezTo>
                      <a:pt x="2" y="16"/>
                      <a:pt x="1" y="17"/>
                      <a:pt x="0" y="18"/>
                    </a:cubicBezTo>
                    <a:cubicBezTo>
                      <a:pt x="24" y="17"/>
                      <a:pt x="24" y="17"/>
                      <a:pt x="24" y="17"/>
                    </a:cubicBezTo>
                    <a:cubicBezTo>
                      <a:pt x="40" y="0"/>
                      <a:pt x="40" y="0"/>
                      <a:pt x="4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1" name="Rectangle 1403">
                <a:extLst>
                  <a:ext uri="{FF2B5EF4-FFF2-40B4-BE49-F238E27FC236}">
                    <a16:creationId xmlns:a16="http://schemas.microsoft.com/office/drawing/2014/main" id="{BC370C59-2962-4C71-998D-F56D021826A0}"/>
                  </a:ext>
                </a:extLst>
              </p:cNvPr>
              <p:cNvSpPr>
                <a:spLocks noChangeArrowheads="1"/>
              </p:cNvSpPr>
              <p:nvPr/>
            </p:nvSpPr>
            <p:spPr bwMode="auto">
              <a:xfrm>
                <a:off x="16616363" y="1448896"/>
                <a:ext cx="1587" cy="1587"/>
              </a:xfrm>
              <a:prstGeom prst="rect">
                <a:avLst/>
              </a:prstGeom>
              <a:solidFill>
                <a:srgbClr val="BBBB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2" name="Freeform 1404">
                <a:extLst>
                  <a:ext uri="{FF2B5EF4-FFF2-40B4-BE49-F238E27FC236}">
                    <a16:creationId xmlns:a16="http://schemas.microsoft.com/office/drawing/2014/main" id="{E1E0D8C5-5A25-499A-9579-33A0BC986E27}"/>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3" name="Freeform 1405">
                <a:extLst>
                  <a:ext uri="{FF2B5EF4-FFF2-40B4-BE49-F238E27FC236}">
                    <a16:creationId xmlns:a16="http://schemas.microsoft.com/office/drawing/2014/main" id="{59E3C99F-33FA-4F3C-8639-BA13D1C1FAF7}"/>
                  </a:ext>
                </a:extLst>
              </p:cNvPr>
              <p:cNvSpPr>
                <a:spLocks/>
              </p:cNvSpPr>
              <p:nvPr/>
            </p:nvSpPr>
            <p:spPr bwMode="auto">
              <a:xfrm>
                <a:off x="16946563" y="1175846"/>
                <a:ext cx="312737" cy="555625"/>
              </a:xfrm>
              <a:custGeom>
                <a:avLst/>
                <a:gdLst>
                  <a:gd name="T0" fmla="*/ 199 w 211"/>
                  <a:gd name="T1" fmla="*/ 0 h 377"/>
                  <a:gd name="T2" fmla="*/ 198 w 211"/>
                  <a:gd name="T3" fmla="*/ 3 h 377"/>
                  <a:gd name="T4" fmla="*/ 129 w 211"/>
                  <a:gd name="T5" fmla="*/ 157 h 377"/>
                  <a:gd name="T6" fmla="*/ 67 w 211"/>
                  <a:gd name="T7" fmla="*/ 271 h 377"/>
                  <a:gd name="T8" fmla="*/ 0 w 211"/>
                  <a:gd name="T9" fmla="*/ 369 h 377"/>
                  <a:gd name="T10" fmla="*/ 9 w 211"/>
                  <a:gd name="T11" fmla="*/ 377 h 377"/>
                  <a:gd name="T12" fmla="*/ 82 w 211"/>
                  <a:gd name="T13" fmla="*/ 270 h 377"/>
                  <a:gd name="T14" fmla="*/ 211 w 211"/>
                  <a:gd name="T15" fmla="*/ 5 h 377"/>
                  <a:gd name="T16" fmla="*/ 199 w 211"/>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377">
                    <a:moveTo>
                      <a:pt x="199" y="0"/>
                    </a:moveTo>
                    <a:cubicBezTo>
                      <a:pt x="199" y="0"/>
                      <a:pt x="199" y="1"/>
                      <a:pt x="198" y="3"/>
                    </a:cubicBezTo>
                    <a:cubicBezTo>
                      <a:pt x="192" y="18"/>
                      <a:pt x="166" y="83"/>
                      <a:pt x="129" y="157"/>
                    </a:cubicBezTo>
                    <a:cubicBezTo>
                      <a:pt x="110" y="195"/>
                      <a:pt x="89" y="234"/>
                      <a:pt x="67" y="271"/>
                    </a:cubicBezTo>
                    <a:cubicBezTo>
                      <a:pt x="45" y="308"/>
                      <a:pt x="22" y="343"/>
                      <a:pt x="0" y="369"/>
                    </a:cubicBezTo>
                    <a:cubicBezTo>
                      <a:pt x="9" y="377"/>
                      <a:pt x="9" y="377"/>
                      <a:pt x="9" y="377"/>
                    </a:cubicBezTo>
                    <a:cubicBezTo>
                      <a:pt x="33" y="348"/>
                      <a:pt x="58" y="310"/>
                      <a:pt x="82" y="270"/>
                    </a:cubicBezTo>
                    <a:cubicBezTo>
                      <a:pt x="153" y="149"/>
                      <a:pt x="211" y="5"/>
                      <a:pt x="211" y="5"/>
                    </a:cubicBezTo>
                    <a:cubicBezTo>
                      <a:pt x="199" y="0"/>
                      <a:pt x="199" y="0"/>
                      <a:pt x="199"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4" name="Freeform 1406">
                <a:extLst>
                  <a:ext uri="{FF2B5EF4-FFF2-40B4-BE49-F238E27FC236}">
                    <a16:creationId xmlns:a16="http://schemas.microsoft.com/office/drawing/2014/main" id="{199AF9B8-8404-413A-B6A1-B64DDE76A41A}"/>
                  </a:ext>
                </a:extLst>
              </p:cNvPr>
              <p:cNvSpPr>
                <a:spLocks/>
              </p:cNvSpPr>
              <p:nvPr/>
            </p:nvSpPr>
            <p:spPr bwMode="auto">
              <a:xfrm>
                <a:off x="17264063" y="1010746"/>
                <a:ext cx="187325" cy="173037"/>
              </a:xfrm>
              <a:custGeom>
                <a:avLst/>
                <a:gdLst>
                  <a:gd name="T0" fmla="*/ 117 w 126"/>
                  <a:gd name="T1" fmla="*/ 44 h 118"/>
                  <a:gd name="T2" fmla="*/ 97 w 126"/>
                  <a:gd name="T3" fmla="*/ 10 h 118"/>
                  <a:gd name="T4" fmla="*/ 96 w 126"/>
                  <a:gd name="T5" fmla="*/ 4 h 118"/>
                  <a:gd name="T6" fmla="*/ 96 w 126"/>
                  <a:gd name="T7" fmla="*/ 4 h 118"/>
                  <a:gd name="T8" fmla="*/ 61 w 126"/>
                  <a:gd name="T9" fmla="*/ 0 h 118"/>
                  <a:gd name="T10" fmla="*/ 47 w 126"/>
                  <a:gd name="T11" fmla="*/ 24 h 118"/>
                  <a:gd name="T12" fmla="*/ 48 w 126"/>
                  <a:gd name="T13" fmla="*/ 37 h 118"/>
                  <a:gd name="T14" fmla="*/ 39 w 126"/>
                  <a:gd name="T15" fmla="*/ 37 h 118"/>
                  <a:gd name="T16" fmla="*/ 22 w 126"/>
                  <a:gd name="T17" fmla="*/ 25 h 118"/>
                  <a:gd name="T18" fmla="*/ 16 w 126"/>
                  <a:gd name="T19" fmla="*/ 59 h 118"/>
                  <a:gd name="T20" fmla="*/ 19 w 126"/>
                  <a:gd name="T21" fmla="*/ 65 h 118"/>
                  <a:gd name="T22" fmla="*/ 19 w 126"/>
                  <a:gd name="T23" fmla="*/ 65 h 118"/>
                  <a:gd name="T24" fmla="*/ 19 w 126"/>
                  <a:gd name="T25" fmla="*/ 65 h 118"/>
                  <a:gd name="T26" fmla="*/ 0 w 126"/>
                  <a:gd name="T27" fmla="*/ 99 h 118"/>
                  <a:gd name="T28" fmla="*/ 0 w 126"/>
                  <a:gd name="T29" fmla="*/ 99 h 118"/>
                  <a:gd name="T30" fmla="*/ 0 w 126"/>
                  <a:gd name="T31" fmla="*/ 99 h 118"/>
                  <a:gd name="T32" fmla="*/ 0 w 126"/>
                  <a:gd name="T33" fmla="*/ 99 h 118"/>
                  <a:gd name="T34" fmla="*/ 0 w 126"/>
                  <a:gd name="T35" fmla="*/ 99 h 118"/>
                  <a:gd name="T36" fmla="*/ 80 w 126"/>
                  <a:gd name="T37" fmla="*/ 117 h 118"/>
                  <a:gd name="T38" fmla="*/ 99 w 126"/>
                  <a:gd name="T39" fmla="*/ 109 h 118"/>
                  <a:gd name="T40" fmla="*/ 105 w 126"/>
                  <a:gd name="T41" fmla="*/ 57 h 118"/>
                  <a:gd name="T42" fmla="*/ 117 w 126"/>
                  <a:gd name="T43" fmla="*/ 4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118">
                    <a:moveTo>
                      <a:pt x="117" y="44"/>
                    </a:moveTo>
                    <a:cubicBezTo>
                      <a:pt x="116" y="42"/>
                      <a:pt x="97" y="16"/>
                      <a:pt x="97" y="10"/>
                    </a:cubicBezTo>
                    <a:cubicBezTo>
                      <a:pt x="97" y="8"/>
                      <a:pt x="96" y="6"/>
                      <a:pt x="96" y="4"/>
                    </a:cubicBezTo>
                    <a:cubicBezTo>
                      <a:pt x="96" y="4"/>
                      <a:pt x="96" y="4"/>
                      <a:pt x="96" y="4"/>
                    </a:cubicBezTo>
                    <a:cubicBezTo>
                      <a:pt x="81" y="8"/>
                      <a:pt x="70" y="5"/>
                      <a:pt x="61" y="0"/>
                    </a:cubicBezTo>
                    <a:cubicBezTo>
                      <a:pt x="53" y="8"/>
                      <a:pt x="49" y="18"/>
                      <a:pt x="47" y="24"/>
                    </a:cubicBezTo>
                    <a:cubicBezTo>
                      <a:pt x="47" y="30"/>
                      <a:pt x="48" y="35"/>
                      <a:pt x="48" y="37"/>
                    </a:cubicBezTo>
                    <a:cubicBezTo>
                      <a:pt x="47" y="44"/>
                      <a:pt x="39" y="37"/>
                      <a:pt x="39" y="37"/>
                    </a:cubicBezTo>
                    <a:cubicBezTo>
                      <a:pt x="39" y="37"/>
                      <a:pt x="30" y="29"/>
                      <a:pt x="22" y="25"/>
                    </a:cubicBezTo>
                    <a:cubicBezTo>
                      <a:pt x="14" y="31"/>
                      <a:pt x="15" y="51"/>
                      <a:pt x="16" y="59"/>
                    </a:cubicBezTo>
                    <a:cubicBezTo>
                      <a:pt x="17" y="63"/>
                      <a:pt x="19" y="65"/>
                      <a:pt x="19" y="65"/>
                    </a:cubicBezTo>
                    <a:cubicBezTo>
                      <a:pt x="19" y="65"/>
                      <a:pt x="19" y="65"/>
                      <a:pt x="19" y="65"/>
                    </a:cubicBezTo>
                    <a:cubicBezTo>
                      <a:pt x="19" y="65"/>
                      <a:pt x="19" y="65"/>
                      <a:pt x="19" y="65"/>
                    </a:cubicBezTo>
                    <a:cubicBezTo>
                      <a:pt x="19" y="65"/>
                      <a:pt x="19" y="95"/>
                      <a:pt x="0" y="99"/>
                    </a:cubicBezTo>
                    <a:cubicBezTo>
                      <a:pt x="0" y="99"/>
                      <a:pt x="0" y="99"/>
                      <a:pt x="0" y="99"/>
                    </a:cubicBezTo>
                    <a:cubicBezTo>
                      <a:pt x="0" y="99"/>
                      <a:pt x="0" y="99"/>
                      <a:pt x="0" y="99"/>
                    </a:cubicBezTo>
                    <a:cubicBezTo>
                      <a:pt x="0" y="99"/>
                      <a:pt x="0" y="99"/>
                      <a:pt x="0" y="99"/>
                    </a:cubicBezTo>
                    <a:cubicBezTo>
                      <a:pt x="0" y="99"/>
                      <a:pt x="0" y="99"/>
                      <a:pt x="0" y="99"/>
                    </a:cubicBezTo>
                    <a:cubicBezTo>
                      <a:pt x="27" y="118"/>
                      <a:pt x="63" y="116"/>
                      <a:pt x="80" y="117"/>
                    </a:cubicBezTo>
                    <a:cubicBezTo>
                      <a:pt x="98" y="117"/>
                      <a:pt x="99" y="109"/>
                      <a:pt x="99" y="109"/>
                    </a:cubicBezTo>
                    <a:cubicBezTo>
                      <a:pt x="105" y="57"/>
                      <a:pt x="105" y="57"/>
                      <a:pt x="105" y="57"/>
                    </a:cubicBezTo>
                    <a:cubicBezTo>
                      <a:pt x="126" y="54"/>
                      <a:pt x="119" y="47"/>
                      <a:pt x="117" y="44"/>
                    </a:cubicBezTo>
                  </a:path>
                </a:pathLst>
              </a:custGeom>
              <a:solidFill>
                <a:srgbClr val="FF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5" name="Freeform 1407">
                <a:extLst>
                  <a:ext uri="{FF2B5EF4-FFF2-40B4-BE49-F238E27FC236}">
                    <a16:creationId xmlns:a16="http://schemas.microsoft.com/office/drawing/2014/main" id="{5D57F51E-B894-480E-BE6E-B7E8D5A4FAFB}"/>
                  </a:ext>
                </a:extLst>
              </p:cNvPr>
              <p:cNvSpPr>
                <a:spLocks/>
              </p:cNvSpPr>
              <p:nvPr/>
            </p:nvSpPr>
            <p:spPr bwMode="auto">
              <a:xfrm>
                <a:off x="17154525" y="890096"/>
                <a:ext cx="273050" cy="266700"/>
              </a:xfrm>
              <a:custGeom>
                <a:avLst/>
                <a:gdLst>
                  <a:gd name="T0" fmla="*/ 143 w 184"/>
                  <a:gd name="T1" fmla="*/ 19 h 181"/>
                  <a:gd name="T2" fmla="*/ 81 w 184"/>
                  <a:gd name="T3" fmla="*/ 3 h 181"/>
                  <a:gd name="T4" fmla="*/ 43 w 184"/>
                  <a:gd name="T5" fmla="*/ 16 h 181"/>
                  <a:gd name="T6" fmla="*/ 4 w 184"/>
                  <a:gd name="T7" fmla="*/ 71 h 181"/>
                  <a:gd name="T8" fmla="*/ 2 w 184"/>
                  <a:gd name="T9" fmla="*/ 103 h 181"/>
                  <a:gd name="T10" fmla="*/ 73 w 184"/>
                  <a:gd name="T11" fmla="*/ 181 h 181"/>
                  <a:gd name="T12" fmla="*/ 75 w 184"/>
                  <a:gd name="T13" fmla="*/ 181 h 181"/>
                  <a:gd name="T14" fmla="*/ 93 w 184"/>
                  <a:gd name="T15" fmla="*/ 147 h 181"/>
                  <a:gd name="T16" fmla="*/ 93 w 184"/>
                  <a:gd name="T17" fmla="*/ 147 h 181"/>
                  <a:gd name="T18" fmla="*/ 93 w 184"/>
                  <a:gd name="T19" fmla="*/ 147 h 181"/>
                  <a:gd name="T20" fmla="*/ 90 w 184"/>
                  <a:gd name="T21" fmla="*/ 141 h 181"/>
                  <a:gd name="T22" fmla="*/ 86 w 184"/>
                  <a:gd name="T23" fmla="*/ 129 h 181"/>
                  <a:gd name="T24" fmla="*/ 85 w 184"/>
                  <a:gd name="T25" fmla="*/ 109 h 181"/>
                  <a:gd name="T26" fmla="*/ 96 w 184"/>
                  <a:gd name="T27" fmla="*/ 107 h 181"/>
                  <a:gd name="T28" fmla="*/ 113 w 184"/>
                  <a:gd name="T29" fmla="*/ 119 h 181"/>
                  <a:gd name="T30" fmla="*/ 122 w 184"/>
                  <a:gd name="T31" fmla="*/ 119 h 181"/>
                  <a:gd name="T32" fmla="*/ 118 w 184"/>
                  <a:gd name="T33" fmla="*/ 67 h 181"/>
                  <a:gd name="T34" fmla="*/ 118 w 184"/>
                  <a:gd name="T35" fmla="*/ 67 h 181"/>
                  <a:gd name="T36" fmla="*/ 135 w 184"/>
                  <a:gd name="T37" fmla="*/ 82 h 181"/>
                  <a:gd name="T38" fmla="*/ 170 w 184"/>
                  <a:gd name="T39" fmla="*/ 86 h 181"/>
                  <a:gd name="T40" fmla="*/ 170 w 184"/>
                  <a:gd name="T41" fmla="*/ 86 h 181"/>
                  <a:gd name="T42" fmla="*/ 182 w 184"/>
                  <a:gd name="T43" fmla="*/ 53 h 181"/>
                  <a:gd name="T44" fmla="*/ 143 w 184"/>
                  <a:gd name="T45" fmla="*/ 1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81">
                    <a:moveTo>
                      <a:pt x="143" y="19"/>
                    </a:moveTo>
                    <a:cubicBezTo>
                      <a:pt x="126" y="6"/>
                      <a:pt x="104" y="0"/>
                      <a:pt x="81" y="3"/>
                    </a:cubicBezTo>
                    <a:cubicBezTo>
                      <a:pt x="67" y="4"/>
                      <a:pt x="54" y="9"/>
                      <a:pt x="43" y="16"/>
                    </a:cubicBezTo>
                    <a:cubicBezTo>
                      <a:pt x="13" y="36"/>
                      <a:pt x="4" y="71"/>
                      <a:pt x="4" y="71"/>
                    </a:cubicBezTo>
                    <a:cubicBezTo>
                      <a:pt x="4" y="71"/>
                      <a:pt x="0" y="92"/>
                      <a:pt x="2" y="103"/>
                    </a:cubicBezTo>
                    <a:cubicBezTo>
                      <a:pt x="6" y="143"/>
                      <a:pt x="36" y="173"/>
                      <a:pt x="73" y="181"/>
                    </a:cubicBezTo>
                    <a:cubicBezTo>
                      <a:pt x="74" y="181"/>
                      <a:pt x="74" y="181"/>
                      <a:pt x="75" y="181"/>
                    </a:cubicBezTo>
                    <a:cubicBezTo>
                      <a:pt x="93" y="176"/>
                      <a:pt x="93" y="147"/>
                      <a:pt x="93" y="147"/>
                    </a:cubicBezTo>
                    <a:cubicBezTo>
                      <a:pt x="93" y="147"/>
                      <a:pt x="93" y="147"/>
                      <a:pt x="93" y="147"/>
                    </a:cubicBezTo>
                    <a:cubicBezTo>
                      <a:pt x="93" y="147"/>
                      <a:pt x="93" y="147"/>
                      <a:pt x="93" y="147"/>
                    </a:cubicBezTo>
                    <a:cubicBezTo>
                      <a:pt x="93" y="147"/>
                      <a:pt x="91" y="145"/>
                      <a:pt x="90" y="141"/>
                    </a:cubicBezTo>
                    <a:cubicBezTo>
                      <a:pt x="89" y="138"/>
                      <a:pt x="87" y="134"/>
                      <a:pt x="86" y="129"/>
                    </a:cubicBezTo>
                    <a:cubicBezTo>
                      <a:pt x="84" y="122"/>
                      <a:pt x="82" y="114"/>
                      <a:pt x="85" y="109"/>
                    </a:cubicBezTo>
                    <a:cubicBezTo>
                      <a:pt x="87" y="106"/>
                      <a:pt x="91" y="106"/>
                      <a:pt x="96" y="107"/>
                    </a:cubicBezTo>
                    <a:cubicBezTo>
                      <a:pt x="104" y="111"/>
                      <a:pt x="113" y="119"/>
                      <a:pt x="113" y="119"/>
                    </a:cubicBezTo>
                    <a:cubicBezTo>
                      <a:pt x="113" y="119"/>
                      <a:pt x="121" y="126"/>
                      <a:pt x="122" y="119"/>
                    </a:cubicBezTo>
                    <a:cubicBezTo>
                      <a:pt x="118" y="67"/>
                      <a:pt x="118" y="67"/>
                      <a:pt x="118" y="67"/>
                    </a:cubicBezTo>
                    <a:cubicBezTo>
                      <a:pt x="118" y="67"/>
                      <a:pt x="118" y="67"/>
                      <a:pt x="118" y="67"/>
                    </a:cubicBezTo>
                    <a:cubicBezTo>
                      <a:pt x="119" y="69"/>
                      <a:pt x="125" y="77"/>
                      <a:pt x="135" y="82"/>
                    </a:cubicBezTo>
                    <a:cubicBezTo>
                      <a:pt x="144" y="87"/>
                      <a:pt x="155" y="90"/>
                      <a:pt x="170" y="86"/>
                    </a:cubicBezTo>
                    <a:cubicBezTo>
                      <a:pt x="170" y="86"/>
                      <a:pt x="170" y="86"/>
                      <a:pt x="170" y="86"/>
                    </a:cubicBezTo>
                    <a:cubicBezTo>
                      <a:pt x="179" y="78"/>
                      <a:pt x="184" y="66"/>
                      <a:pt x="182" y="53"/>
                    </a:cubicBezTo>
                    <a:cubicBezTo>
                      <a:pt x="180" y="33"/>
                      <a:pt x="163" y="18"/>
                      <a:pt x="143" y="1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6" name="Freeform 1408">
                <a:extLst>
                  <a:ext uri="{FF2B5EF4-FFF2-40B4-BE49-F238E27FC236}">
                    <a16:creationId xmlns:a16="http://schemas.microsoft.com/office/drawing/2014/main" id="{DA7C5C1A-BD29-4C5C-8878-C94B6995649D}"/>
                  </a:ext>
                </a:extLst>
              </p:cNvPr>
              <p:cNvSpPr>
                <a:spLocks/>
              </p:cNvSpPr>
              <p:nvPr/>
            </p:nvSpPr>
            <p:spPr bwMode="auto">
              <a:xfrm>
                <a:off x="17372013" y="1110759"/>
                <a:ext cx="42862" cy="33337"/>
              </a:xfrm>
              <a:custGeom>
                <a:avLst/>
                <a:gdLst>
                  <a:gd name="T0" fmla="*/ 5 w 29"/>
                  <a:gd name="T1" fmla="*/ 0 h 23"/>
                  <a:gd name="T2" fmla="*/ 0 w 29"/>
                  <a:gd name="T3" fmla="*/ 0 h 23"/>
                  <a:gd name="T4" fmla="*/ 29 w 29"/>
                  <a:gd name="T5" fmla="*/ 23 h 23"/>
                  <a:gd name="T6" fmla="*/ 29 w 29"/>
                  <a:gd name="T7" fmla="*/ 20 h 23"/>
                  <a:gd name="T8" fmla="*/ 5 w 29"/>
                  <a:gd name="T9" fmla="*/ 0 h 23"/>
                </a:gdLst>
                <a:ahLst/>
                <a:cxnLst>
                  <a:cxn ang="0">
                    <a:pos x="T0" y="T1"/>
                  </a:cxn>
                  <a:cxn ang="0">
                    <a:pos x="T2" y="T3"/>
                  </a:cxn>
                  <a:cxn ang="0">
                    <a:pos x="T4" y="T5"/>
                  </a:cxn>
                  <a:cxn ang="0">
                    <a:pos x="T6" y="T7"/>
                  </a:cxn>
                  <a:cxn ang="0">
                    <a:pos x="T8" y="T9"/>
                  </a:cxn>
                </a:cxnLst>
                <a:rect l="0" t="0" r="r" b="b"/>
                <a:pathLst>
                  <a:path w="29" h="23">
                    <a:moveTo>
                      <a:pt x="5" y="0"/>
                    </a:moveTo>
                    <a:cubicBezTo>
                      <a:pt x="0" y="0"/>
                      <a:pt x="0" y="0"/>
                      <a:pt x="0" y="0"/>
                    </a:cubicBezTo>
                    <a:cubicBezTo>
                      <a:pt x="0" y="0"/>
                      <a:pt x="14" y="19"/>
                      <a:pt x="29" y="23"/>
                    </a:cubicBezTo>
                    <a:cubicBezTo>
                      <a:pt x="29" y="20"/>
                      <a:pt x="29" y="20"/>
                      <a:pt x="29" y="20"/>
                    </a:cubicBezTo>
                    <a:cubicBezTo>
                      <a:pt x="16" y="14"/>
                      <a:pt x="7" y="2"/>
                      <a:pt x="5" y="0"/>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7" name="Freeform 1409">
                <a:extLst>
                  <a:ext uri="{FF2B5EF4-FFF2-40B4-BE49-F238E27FC236}">
                    <a16:creationId xmlns:a16="http://schemas.microsoft.com/office/drawing/2014/main" id="{06CA2C76-7119-4ED8-BB99-712E211A3F8D}"/>
                  </a:ext>
                </a:extLst>
              </p:cNvPr>
              <p:cNvSpPr>
                <a:spLocks/>
              </p:cNvSpPr>
              <p:nvPr/>
            </p:nvSpPr>
            <p:spPr bwMode="auto">
              <a:xfrm>
                <a:off x="17378363" y="1110759"/>
                <a:ext cx="38100" cy="30162"/>
              </a:xfrm>
              <a:custGeom>
                <a:avLst/>
                <a:gdLst>
                  <a:gd name="T0" fmla="*/ 24 w 26"/>
                  <a:gd name="T1" fmla="*/ 20 h 20"/>
                  <a:gd name="T2" fmla="*/ 26 w 26"/>
                  <a:gd name="T3" fmla="*/ 3 h 20"/>
                  <a:gd name="T4" fmla="*/ 0 w 26"/>
                  <a:gd name="T5" fmla="*/ 0 h 20"/>
                  <a:gd name="T6" fmla="*/ 24 w 26"/>
                  <a:gd name="T7" fmla="*/ 20 h 20"/>
                </a:gdLst>
                <a:ahLst/>
                <a:cxnLst>
                  <a:cxn ang="0">
                    <a:pos x="T0" y="T1"/>
                  </a:cxn>
                  <a:cxn ang="0">
                    <a:pos x="T2" y="T3"/>
                  </a:cxn>
                  <a:cxn ang="0">
                    <a:pos x="T4" y="T5"/>
                  </a:cxn>
                  <a:cxn ang="0">
                    <a:pos x="T6" y="T7"/>
                  </a:cxn>
                </a:cxnLst>
                <a:rect l="0" t="0" r="r" b="b"/>
                <a:pathLst>
                  <a:path w="26" h="20">
                    <a:moveTo>
                      <a:pt x="24" y="20"/>
                    </a:moveTo>
                    <a:cubicBezTo>
                      <a:pt x="26" y="3"/>
                      <a:pt x="26" y="3"/>
                      <a:pt x="26" y="3"/>
                    </a:cubicBezTo>
                    <a:cubicBezTo>
                      <a:pt x="0" y="0"/>
                      <a:pt x="0" y="0"/>
                      <a:pt x="0" y="0"/>
                    </a:cubicBezTo>
                    <a:cubicBezTo>
                      <a:pt x="2" y="2"/>
                      <a:pt x="11" y="14"/>
                      <a:pt x="24"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8" name="Freeform 1410">
                <a:extLst>
                  <a:ext uri="{FF2B5EF4-FFF2-40B4-BE49-F238E27FC236}">
                    <a16:creationId xmlns:a16="http://schemas.microsoft.com/office/drawing/2014/main" id="{5041AFCF-81E4-455E-8FB6-7CA496A0D1B5}"/>
                  </a:ext>
                </a:extLst>
              </p:cNvPr>
              <p:cNvSpPr>
                <a:spLocks/>
              </p:cNvSpPr>
              <p:nvPr/>
            </p:nvSpPr>
            <p:spPr bwMode="auto">
              <a:xfrm>
                <a:off x="17306925" y="1072659"/>
                <a:ext cx="60325" cy="58737"/>
              </a:xfrm>
              <a:custGeom>
                <a:avLst/>
                <a:gdLst>
                  <a:gd name="T0" fmla="*/ 39 w 40"/>
                  <a:gd name="T1" fmla="*/ 18 h 40"/>
                  <a:gd name="T2" fmla="*/ 22 w 40"/>
                  <a:gd name="T3" fmla="*/ 39 h 40"/>
                  <a:gd name="T4" fmla="*/ 1 w 40"/>
                  <a:gd name="T5" fmla="*/ 22 h 40"/>
                  <a:gd name="T6" fmla="*/ 18 w 40"/>
                  <a:gd name="T7" fmla="*/ 2 h 40"/>
                  <a:gd name="T8" fmla="*/ 39 w 40"/>
                  <a:gd name="T9" fmla="*/ 18 h 40"/>
                </a:gdLst>
                <a:ahLst/>
                <a:cxnLst>
                  <a:cxn ang="0">
                    <a:pos x="T0" y="T1"/>
                  </a:cxn>
                  <a:cxn ang="0">
                    <a:pos x="T2" y="T3"/>
                  </a:cxn>
                  <a:cxn ang="0">
                    <a:pos x="T4" y="T5"/>
                  </a:cxn>
                  <a:cxn ang="0">
                    <a:pos x="T6" y="T7"/>
                  </a:cxn>
                  <a:cxn ang="0">
                    <a:pos x="T8" y="T9"/>
                  </a:cxn>
                </a:cxnLst>
                <a:rect l="0" t="0" r="r" b="b"/>
                <a:pathLst>
                  <a:path w="40" h="40">
                    <a:moveTo>
                      <a:pt x="39" y="18"/>
                    </a:moveTo>
                    <a:cubicBezTo>
                      <a:pt x="40" y="29"/>
                      <a:pt x="33" y="38"/>
                      <a:pt x="22" y="39"/>
                    </a:cubicBezTo>
                    <a:cubicBezTo>
                      <a:pt x="12" y="40"/>
                      <a:pt x="3" y="33"/>
                      <a:pt x="1" y="22"/>
                    </a:cubicBezTo>
                    <a:cubicBezTo>
                      <a:pt x="0" y="12"/>
                      <a:pt x="8" y="3"/>
                      <a:pt x="18" y="2"/>
                    </a:cubicBezTo>
                    <a:cubicBezTo>
                      <a:pt x="29" y="0"/>
                      <a:pt x="38" y="8"/>
                      <a:pt x="39" y="18"/>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9" name="Freeform 1411">
                <a:extLst>
                  <a:ext uri="{FF2B5EF4-FFF2-40B4-BE49-F238E27FC236}">
                    <a16:creationId xmlns:a16="http://schemas.microsoft.com/office/drawing/2014/main" id="{72CA7442-2092-460E-9DB3-3A1CBD232730}"/>
                  </a:ext>
                </a:extLst>
              </p:cNvPr>
              <p:cNvSpPr>
                <a:spLocks/>
              </p:cNvSpPr>
              <p:nvPr/>
            </p:nvSpPr>
            <p:spPr bwMode="auto">
              <a:xfrm>
                <a:off x="17329150" y="988521"/>
                <a:ext cx="25400" cy="57150"/>
              </a:xfrm>
              <a:custGeom>
                <a:avLst/>
                <a:gdLst>
                  <a:gd name="T0" fmla="*/ 0 w 17"/>
                  <a:gd name="T1" fmla="*/ 0 h 39"/>
                  <a:gd name="T2" fmla="*/ 2 w 17"/>
                  <a:gd name="T3" fmla="*/ 19 h 39"/>
                  <a:gd name="T4" fmla="*/ 2 w 17"/>
                  <a:gd name="T5" fmla="*/ 21 h 39"/>
                  <a:gd name="T6" fmla="*/ 3 w 17"/>
                  <a:gd name="T7" fmla="*/ 39 h 39"/>
                  <a:gd name="T8" fmla="*/ 17 w 17"/>
                  <a:gd name="T9" fmla="*/ 15 h 39"/>
                  <a:gd name="T10" fmla="*/ 0 w 17"/>
                  <a:gd name="T11" fmla="*/ 0 h 39"/>
                  <a:gd name="T12" fmla="*/ 0 w 1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7" h="39">
                    <a:moveTo>
                      <a:pt x="0" y="0"/>
                    </a:moveTo>
                    <a:cubicBezTo>
                      <a:pt x="2" y="19"/>
                      <a:pt x="2" y="19"/>
                      <a:pt x="2" y="19"/>
                    </a:cubicBezTo>
                    <a:cubicBezTo>
                      <a:pt x="2" y="21"/>
                      <a:pt x="2" y="21"/>
                      <a:pt x="2" y="21"/>
                    </a:cubicBezTo>
                    <a:cubicBezTo>
                      <a:pt x="2" y="24"/>
                      <a:pt x="2" y="32"/>
                      <a:pt x="3" y="39"/>
                    </a:cubicBezTo>
                    <a:cubicBezTo>
                      <a:pt x="5" y="33"/>
                      <a:pt x="9" y="23"/>
                      <a:pt x="17" y="15"/>
                    </a:cubicBezTo>
                    <a:cubicBezTo>
                      <a:pt x="7" y="10"/>
                      <a:pt x="1" y="2"/>
                      <a:pt x="0" y="0"/>
                    </a:cubicBezTo>
                    <a:cubicBezTo>
                      <a:pt x="0" y="0"/>
                      <a:pt x="0" y="0"/>
                      <a:pt x="0" y="0"/>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0" name="Freeform 1412">
                <a:extLst>
                  <a:ext uri="{FF2B5EF4-FFF2-40B4-BE49-F238E27FC236}">
                    <a16:creationId xmlns:a16="http://schemas.microsoft.com/office/drawing/2014/main" id="{12A7A3E1-96AD-4B2E-A462-61687032FF4C}"/>
                  </a:ext>
                </a:extLst>
              </p:cNvPr>
              <p:cNvSpPr>
                <a:spLocks/>
              </p:cNvSpPr>
              <p:nvPr/>
            </p:nvSpPr>
            <p:spPr bwMode="auto">
              <a:xfrm>
                <a:off x="17276763" y="1045671"/>
                <a:ext cx="20637" cy="52387"/>
              </a:xfrm>
              <a:custGeom>
                <a:avLst/>
                <a:gdLst>
                  <a:gd name="T0" fmla="*/ 14 w 14"/>
                  <a:gd name="T1" fmla="*/ 1 h 35"/>
                  <a:gd name="T2" fmla="*/ 3 w 14"/>
                  <a:gd name="T3" fmla="*/ 3 h 35"/>
                  <a:gd name="T4" fmla="*/ 4 w 14"/>
                  <a:gd name="T5" fmla="*/ 23 h 35"/>
                  <a:gd name="T6" fmla="*/ 8 w 14"/>
                  <a:gd name="T7" fmla="*/ 35 h 35"/>
                  <a:gd name="T8" fmla="*/ 14 w 14"/>
                  <a:gd name="T9" fmla="*/ 1 h 35"/>
                </a:gdLst>
                <a:ahLst/>
                <a:cxnLst>
                  <a:cxn ang="0">
                    <a:pos x="T0" y="T1"/>
                  </a:cxn>
                  <a:cxn ang="0">
                    <a:pos x="T2" y="T3"/>
                  </a:cxn>
                  <a:cxn ang="0">
                    <a:pos x="T4" y="T5"/>
                  </a:cxn>
                  <a:cxn ang="0">
                    <a:pos x="T6" y="T7"/>
                  </a:cxn>
                  <a:cxn ang="0">
                    <a:pos x="T8" y="T9"/>
                  </a:cxn>
                </a:cxnLst>
                <a:rect l="0" t="0" r="r" b="b"/>
                <a:pathLst>
                  <a:path w="14" h="35">
                    <a:moveTo>
                      <a:pt x="14" y="1"/>
                    </a:moveTo>
                    <a:cubicBezTo>
                      <a:pt x="9" y="0"/>
                      <a:pt x="5" y="0"/>
                      <a:pt x="3" y="3"/>
                    </a:cubicBezTo>
                    <a:cubicBezTo>
                      <a:pt x="0" y="8"/>
                      <a:pt x="2" y="16"/>
                      <a:pt x="4" y="23"/>
                    </a:cubicBezTo>
                    <a:cubicBezTo>
                      <a:pt x="5" y="28"/>
                      <a:pt x="7" y="32"/>
                      <a:pt x="8" y="35"/>
                    </a:cubicBezTo>
                    <a:cubicBezTo>
                      <a:pt x="7" y="27"/>
                      <a:pt x="6" y="7"/>
                      <a:pt x="14" y="1"/>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1" name="Rectangle 1413">
                <a:extLst>
                  <a:ext uri="{FF2B5EF4-FFF2-40B4-BE49-F238E27FC236}">
                    <a16:creationId xmlns:a16="http://schemas.microsoft.com/office/drawing/2014/main" id="{18D63FEF-F536-427B-96C0-57954C706D4A}"/>
                  </a:ext>
                </a:extLst>
              </p:cNvPr>
              <p:cNvSpPr>
                <a:spLocks noChangeArrowheads="1"/>
              </p:cNvSpPr>
              <p:nvPr/>
            </p:nvSpPr>
            <p:spPr bwMode="auto">
              <a:xfrm>
                <a:off x="17276763" y="1156796"/>
                <a:ext cx="1587" cy="1587"/>
              </a:xfrm>
              <a:prstGeom prst="rect">
                <a:avLst/>
              </a:prstGeom>
              <a:solidFill>
                <a:srgbClr val="7441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2" name="Freeform 1414">
                <a:extLst>
                  <a:ext uri="{FF2B5EF4-FFF2-40B4-BE49-F238E27FC236}">
                    <a16:creationId xmlns:a16="http://schemas.microsoft.com/office/drawing/2014/main" id="{1AE55F04-1FC8-47F5-A3C5-A367185D6C87}"/>
                  </a:ext>
                </a:extLst>
              </p:cNvPr>
              <p:cNvSpPr>
                <a:spLocks/>
              </p:cNvSpPr>
              <p:nvPr/>
            </p:nvSpPr>
            <p:spPr bwMode="auto">
              <a:xfrm>
                <a:off x="17345025" y="1017096"/>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0"/>
                      <a:pt x="0" y="2"/>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3" name="Freeform 1415">
                <a:extLst>
                  <a:ext uri="{FF2B5EF4-FFF2-40B4-BE49-F238E27FC236}">
                    <a16:creationId xmlns:a16="http://schemas.microsoft.com/office/drawing/2014/main" id="{95C8BCE6-0CDA-40E7-AC8B-55B88F5FE48F}"/>
                  </a:ext>
                </a:extLst>
              </p:cNvPr>
              <p:cNvSpPr>
                <a:spLocks/>
              </p:cNvSpPr>
              <p:nvPr/>
            </p:nvSpPr>
            <p:spPr bwMode="auto">
              <a:xfrm>
                <a:off x="17079913" y="851996"/>
                <a:ext cx="390525" cy="430212"/>
              </a:xfrm>
              <a:custGeom>
                <a:avLst/>
                <a:gdLst>
                  <a:gd name="T0" fmla="*/ 192 w 264"/>
                  <a:gd name="T1" fmla="*/ 24 h 292"/>
                  <a:gd name="T2" fmla="*/ 183 w 264"/>
                  <a:gd name="T3" fmla="*/ 21 h 292"/>
                  <a:gd name="T4" fmla="*/ 20 w 264"/>
                  <a:gd name="T5" fmla="*/ 110 h 292"/>
                  <a:gd name="T6" fmla="*/ 110 w 264"/>
                  <a:gd name="T7" fmla="*/ 274 h 292"/>
                  <a:gd name="T8" fmla="*/ 264 w 264"/>
                  <a:gd name="T9" fmla="*/ 207 h 292"/>
                  <a:gd name="T10" fmla="*/ 116 w 264"/>
                  <a:gd name="T11" fmla="*/ 164 h 292"/>
                  <a:gd name="T12" fmla="*/ 192 w 264"/>
                  <a:gd name="T13" fmla="*/ 24 h 292"/>
                </a:gdLst>
                <a:ahLst/>
                <a:cxnLst>
                  <a:cxn ang="0">
                    <a:pos x="T0" y="T1"/>
                  </a:cxn>
                  <a:cxn ang="0">
                    <a:pos x="T2" y="T3"/>
                  </a:cxn>
                  <a:cxn ang="0">
                    <a:pos x="T4" y="T5"/>
                  </a:cxn>
                  <a:cxn ang="0">
                    <a:pos x="T6" y="T7"/>
                  </a:cxn>
                  <a:cxn ang="0">
                    <a:pos x="T8" y="T9"/>
                  </a:cxn>
                  <a:cxn ang="0">
                    <a:pos x="T10" y="T11"/>
                  </a:cxn>
                  <a:cxn ang="0">
                    <a:pos x="T12" y="T13"/>
                  </a:cxn>
                </a:cxnLst>
                <a:rect l="0" t="0" r="r" b="b"/>
                <a:pathLst>
                  <a:path w="264" h="292">
                    <a:moveTo>
                      <a:pt x="192" y="24"/>
                    </a:moveTo>
                    <a:cubicBezTo>
                      <a:pt x="190" y="23"/>
                      <a:pt x="187" y="22"/>
                      <a:pt x="183" y="21"/>
                    </a:cubicBezTo>
                    <a:cubicBezTo>
                      <a:pt x="114" y="0"/>
                      <a:pt x="41" y="41"/>
                      <a:pt x="20" y="110"/>
                    </a:cubicBezTo>
                    <a:cubicBezTo>
                      <a:pt x="0" y="180"/>
                      <a:pt x="40" y="253"/>
                      <a:pt x="110" y="274"/>
                    </a:cubicBezTo>
                    <a:cubicBezTo>
                      <a:pt x="172" y="292"/>
                      <a:pt x="236" y="262"/>
                      <a:pt x="264" y="207"/>
                    </a:cubicBezTo>
                    <a:cubicBezTo>
                      <a:pt x="116" y="164"/>
                      <a:pt x="116" y="164"/>
                      <a:pt x="116" y="164"/>
                    </a:cubicBezTo>
                    <a:cubicBezTo>
                      <a:pt x="192" y="24"/>
                      <a:pt x="192" y="24"/>
                      <a:pt x="192"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4" name="Freeform 1416">
                <a:extLst>
                  <a:ext uri="{FF2B5EF4-FFF2-40B4-BE49-F238E27FC236}">
                    <a16:creationId xmlns:a16="http://schemas.microsoft.com/office/drawing/2014/main" id="{E70AE849-6B24-4FC6-877B-15E9C64C84E4}"/>
                  </a:ext>
                </a:extLst>
              </p:cNvPr>
              <p:cNvSpPr>
                <a:spLocks/>
              </p:cNvSpPr>
              <p:nvPr/>
            </p:nvSpPr>
            <p:spPr bwMode="auto">
              <a:xfrm>
                <a:off x="17079913" y="886921"/>
                <a:ext cx="338137" cy="385762"/>
              </a:xfrm>
              <a:custGeom>
                <a:avLst/>
                <a:gdLst>
                  <a:gd name="T0" fmla="*/ 145 w 229"/>
                  <a:gd name="T1" fmla="*/ 230 h 262"/>
                  <a:gd name="T2" fmla="*/ 55 w 229"/>
                  <a:gd name="T3" fmla="*/ 67 h 262"/>
                  <a:gd name="T4" fmla="*/ 99 w 229"/>
                  <a:gd name="T5" fmla="*/ 0 h 262"/>
                  <a:gd name="T6" fmla="*/ 20 w 229"/>
                  <a:gd name="T7" fmla="*/ 86 h 262"/>
                  <a:gd name="T8" fmla="*/ 110 w 229"/>
                  <a:gd name="T9" fmla="*/ 250 h 262"/>
                  <a:gd name="T10" fmla="*/ 229 w 229"/>
                  <a:gd name="T11" fmla="*/ 226 h 262"/>
                  <a:gd name="T12" fmla="*/ 145 w 229"/>
                  <a:gd name="T13" fmla="*/ 230 h 262"/>
                </a:gdLst>
                <a:ahLst/>
                <a:cxnLst>
                  <a:cxn ang="0">
                    <a:pos x="T0" y="T1"/>
                  </a:cxn>
                  <a:cxn ang="0">
                    <a:pos x="T2" y="T3"/>
                  </a:cxn>
                  <a:cxn ang="0">
                    <a:pos x="T4" y="T5"/>
                  </a:cxn>
                  <a:cxn ang="0">
                    <a:pos x="T6" y="T7"/>
                  </a:cxn>
                  <a:cxn ang="0">
                    <a:pos x="T8" y="T9"/>
                  </a:cxn>
                  <a:cxn ang="0">
                    <a:pos x="T10" y="T11"/>
                  </a:cxn>
                  <a:cxn ang="0">
                    <a:pos x="T12" y="T13"/>
                  </a:cxn>
                </a:cxnLst>
                <a:rect l="0" t="0" r="r" b="b"/>
                <a:pathLst>
                  <a:path w="229" h="262">
                    <a:moveTo>
                      <a:pt x="145" y="230"/>
                    </a:moveTo>
                    <a:cubicBezTo>
                      <a:pt x="75" y="209"/>
                      <a:pt x="35" y="136"/>
                      <a:pt x="55" y="67"/>
                    </a:cubicBezTo>
                    <a:cubicBezTo>
                      <a:pt x="63" y="39"/>
                      <a:pt x="79" y="17"/>
                      <a:pt x="99" y="0"/>
                    </a:cubicBezTo>
                    <a:cubicBezTo>
                      <a:pt x="62" y="15"/>
                      <a:pt x="32" y="45"/>
                      <a:pt x="20" y="86"/>
                    </a:cubicBezTo>
                    <a:cubicBezTo>
                      <a:pt x="0" y="156"/>
                      <a:pt x="40" y="229"/>
                      <a:pt x="110" y="250"/>
                    </a:cubicBezTo>
                    <a:cubicBezTo>
                      <a:pt x="153" y="262"/>
                      <a:pt x="196" y="252"/>
                      <a:pt x="229" y="226"/>
                    </a:cubicBezTo>
                    <a:cubicBezTo>
                      <a:pt x="203" y="236"/>
                      <a:pt x="173" y="238"/>
                      <a:pt x="145" y="230"/>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5" name="Freeform 1417">
                <a:extLst>
                  <a:ext uri="{FF2B5EF4-FFF2-40B4-BE49-F238E27FC236}">
                    <a16:creationId xmlns:a16="http://schemas.microsoft.com/office/drawing/2014/main" id="{7FD42977-D0A0-460E-901F-7344BFC96ECF}"/>
                  </a:ext>
                </a:extLst>
              </p:cNvPr>
              <p:cNvSpPr>
                <a:spLocks noEditPoints="1"/>
              </p:cNvSpPr>
              <p:nvPr/>
            </p:nvSpPr>
            <p:spPr bwMode="auto">
              <a:xfrm>
                <a:off x="17287875" y="890096"/>
                <a:ext cx="223837" cy="261937"/>
              </a:xfrm>
              <a:custGeom>
                <a:avLst/>
                <a:gdLst>
                  <a:gd name="T0" fmla="*/ 29 w 151"/>
                  <a:gd name="T1" fmla="*/ 122 h 178"/>
                  <a:gd name="T2" fmla="*/ 29 w 151"/>
                  <a:gd name="T3" fmla="*/ 122 h 178"/>
                  <a:gd name="T4" fmla="*/ 32 w 151"/>
                  <a:gd name="T5" fmla="*/ 119 h 178"/>
                  <a:gd name="T6" fmla="*/ 32 w 151"/>
                  <a:gd name="T7" fmla="*/ 119 h 178"/>
                  <a:gd name="T8" fmla="*/ 0 w 151"/>
                  <a:gd name="T9" fmla="*/ 121 h 178"/>
                  <a:gd name="T10" fmla="*/ 6 w 151"/>
                  <a:gd name="T11" fmla="*/ 107 h 178"/>
                  <a:gd name="T12" fmla="*/ 29 w 151"/>
                  <a:gd name="T13" fmla="*/ 122 h 178"/>
                  <a:gd name="T14" fmla="*/ 6 w 151"/>
                  <a:gd name="T15" fmla="*/ 107 h 178"/>
                  <a:gd name="T16" fmla="*/ 6 w 151"/>
                  <a:gd name="T17" fmla="*/ 107 h 178"/>
                  <a:gd name="T18" fmla="*/ 6 w 151"/>
                  <a:gd name="T19" fmla="*/ 107 h 178"/>
                  <a:gd name="T20" fmla="*/ 5 w 151"/>
                  <a:gd name="T21" fmla="*/ 107 h 178"/>
                  <a:gd name="T22" fmla="*/ 1 w 151"/>
                  <a:gd name="T23" fmla="*/ 106 h 178"/>
                  <a:gd name="T24" fmla="*/ 1 w 151"/>
                  <a:gd name="T25" fmla="*/ 106 h 178"/>
                  <a:gd name="T26" fmla="*/ 66 w 151"/>
                  <a:gd name="T27" fmla="*/ 88 h 178"/>
                  <a:gd name="T28" fmla="*/ 66 w 151"/>
                  <a:gd name="T29" fmla="*/ 88 h 178"/>
                  <a:gd name="T30" fmla="*/ 79 w 151"/>
                  <a:gd name="T31" fmla="*/ 86 h 178"/>
                  <a:gd name="T32" fmla="*/ 79 w 151"/>
                  <a:gd name="T33" fmla="*/ 86 h 178"/>
                  <a:gd name="T34" fmla="*/ 66 w 151"/>
                  <a:gd name="T35" fmla="*/ 88 h 178"/>
                  <a:gd name="T36" fmla="*/ 46 w 151"/>
                  <a:gd name="T37" fmla="*/ 83 h 178"/>
                  <a:gd name="T38" fmla="*/ 46 w 151"/>
                  <a:gd name="T39" fmla="*/ 83 h 178"/>
                  <a:gd name="T40" fmla="*/ 32 w 151"/>
                  <a:gd name="T41" fmla="*/ 119 h 178"/>
                  <a:gd name="T42" fmla="*/ 45 w 151"/>
                  <a:gd name="T43" fmla="*/ 82 h 178"/>
                  <a:gd name="T44" fmla="*/ 45 w 151"/>
                  <a:gd name="T45" fmla="*/ 82 h 178"/>
                  <a:gd name="T46" fmla="*/ 31 w 151"/>
                  <a:gd name="T47" fmla="*/ 106 h 178"/>
                  <a:gd name="T48" fmla="*/ 30 w 151"/>
                  <a:gd name="T49" fmla="*/ 86 h 178"/>
                  <a:gd name="T50" fmla="*/ 56 w 151"/>
                  <a:gd name="T51" fmla="*/ 0 h 178"/>
                  <a:gd name="T52" fmla="*/ 53 w 151"/>
                  <a:gd name="T53" fmla="*/ 19 h 178"/>
                  <a:gd name="T54" fmla="*/ 92 w 151"/>
                  <a:gd name="T55" fmla="*/ 53 h 178"/>
                  <a:gd name="T56" fmla="*/ 80 w 151"/>
                  <a:gd name="T57" fmla="*/ 86 h 178"/>
                  <a:gd name="T58" fmla="*/ 80 w 151"/>
                  <a:gd name="T59" fmla="*/ 86 h 178"/>
                  <a:gd name="T60" fmla="*/ 81 w 151"/>
                  <a:gd name="T61" fmla="*/ 92 h 178"/>
                  <a:gd name="T62" fmla="*/ 89 w 151"/>
                  <a:gd name="T63" fmla="*/ 139 h 178"/>
                  <a:gd name="T64" fmla="*/ 87 w 151"/>
                  <a:gd name="T65" fmla="*/ 153 h 178"/>
                  <a:gd name="T66" fmla="*/ 124 w 151"/>
                  <a:gd name="T67" fmla="*/ 178 h 178"/>
                  <a:gd name="T68" fmla="*/ 132 w 151"/>
                  <a:gd name="T69" fmla="*/ 15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178">
                    <a:moveTo>
                      <a:pt x="29" y="122"/>
                    </a:moveTo>
                    <a:cubicBezTo>
                      <a:pt x="29" y="122"/>
                      <a:pt x="29" y="122"/>
                      <a:pt x="29" y="122"/>
                    </a:cubicBezTo>
                    <a:cubicBezTo>
                      <a:pt x="29" y="122"/>
                      <a:pt x="29" y="122"/>
                      <a:pt x="29" y="122"/>
                    </a:cubicBezTo>
                    <a:cubicBezTo>
                      <a:pt x="29" y="122"/>
                      <a:pt x="29" y="122"/>
                      <a:pt x="29" y="122"/>
                    </a:cubicBezTo>
                    <a:moveTo>
                      <a:pt x="32" y="119"/>
                    </a:moveTo>
                    <a:cubicBezTo>
                      <a:pt x="32" y="119"/>
                      <a:pt x="32" y="119"/>
                      <a:pt x="32" y="119"/>
                    </a:cubicBezTo>
                    <a:cubicBezTo>
                      <a:pt x="32" y="119"/>
                      <a:pt x="32" y="119"/>
                      <a:pt x="32" y="119"/>
                    </a:cubicBezTo>
                    <a:cubicBezTo>
                      <a:pt x="32" y="119"/>
                      <a:pt x="32" y="119"/>
                      <a:pt x="32" y="119"/>
                    </a:cubicBezTo>
                    <a:moveTo>
                      <a:pt x="6" y="107"/>
                    </a:moveTo>
                    <a:cubicBezTo>
                      <a:pt x="2" y="110"/>
                      <a:pt x="1" y="115"/>
                      <a:pt x="0" y="121"/>
                    </a:cubicBezTo>
                    <a:cubicBezTo>
                      <a:pt x="0" y="121"/>
                      <a:pt x="0" y="121"/>
                      <a:pt x="0" y="121"/>
                    </a:cubicBezTo>
                    <a:cubicBezTo>
                      <a:pt x="1" y="115"/>
                      <a:pt x="2" y="110"/>
                      <a:pt x="6" y="107"/>
                    </a:cubicBezTo>
                    <a:cubicBezTo>
                      <a:pt x="14" y="111"/>
                      <a:pt x="23" y="119"/>
                      <a:pt x="23" y="119"/>
                    </a:cubicBezTo>
                    <a:cubicBezTo>
                      <a:pt x="23" y="119"/>
                      <a:pt x="26" y="122"/>
                      <a:pt x="29" y="122"/>
                    </a:cubicBezTo>
                    <a:cubicBezTo>
                      <a:pt x="26" y="122"/>
                      <a:pt x="23" y="119"/>
                      <a:pt x="23" y="119"/>
                    </a:cubicBezTo>
                    <a:cubicBezTo>
                      <a:pt x="23" y="119"/>
                      <a:pt x="14" y="111"/>
                      <a:pt x="6" y="107"/>
                    </a:cubicBezTo>
                    <a:cubicBezTo>
                      <a:pt x="6" y="107"/>
                      <a:pt x="6" y="107"/>
                      <a:pt x="6" y="107"/>
                    </a:cubicBezTo>
                    <a:moveTo>
                      <a:pt x="6" y="107"/>
                    </a:moveTo>
                    <a:cubicBezTo>
                      <a:pt x="6" y="107"/>
                      <a:pt x="6" y="107"/>
                      <a:pt x="6" y="107"/>
                    </a:cubicBezTo>
                    <a:cubicBezTo>
                      <a:pt x="6" y="107"/>
                      <a:pt x="6" y="107"/>
                      <a:pt x="6" y="107"/>
                    </a:cubicBezTo>
                    <a:moveTo>
                      <a:pt x="1" y="106"/>
                    </a:moveTo>
                    <a:cubicBezTo>
                      <a:pt x="2" y="106"/>
                      <a:pt x="4" y="107"/>
                      <a:pt x="5" y="107"/>
                    </a:cubicBezTo>
                    <a:cubicBezTo>
                      <a:pt x="4" y="107"/>
                      <a:pt x="2" y="106"/>
                      <a:pt x="1" y="106"/>
                    </a:cubicBezTo>
                    <a:moveTo>
                      <a:pt x="1" y="106"/>
                    </a:moveTo>
                    <a:cubicBezTo>
                      <a:pt x="0" y="106"/>
                      <a:pt x="0" y="106"/>
                      <a:pt x="0" y="106"/>
                    </a:cubicBezTo>
                    <a:cubicBezTo>
                      <a:pt x="0" y="106"/>
                      <a:pt x="0" y="106"/>
                      <a:pt x="1" y="106"/>
                    </a:cubicBezTo>
                    <a:cubicBezTo>
                      <a:pt x="1" y="106"/>
                      <a:pt x="1" y="106"/>
                      <a:pt x="1" y="106"/>
                    </a:cubicBezTo>
                    <a:moveTo>
                      <a:pt x="66" y="88"/>
                    </a:moveTo>
                    <a:cubicBezTo>
                      <a:pt x="66" y="88"/>
                      <a:pt x="66" y="88"/>
                      <a:pt x="66" y="88"/>
                    </a:cubicBezTo>
                    <a:cubicBezTo>
                      <a:pt x="66" y="88"/>
                      <a:pt x="66" y="88"/>
                      <a:pt x="66" y="88"/>
                    </a:cubicBezTo>
                    <a:cubicBezTo>
                      <a:pt x="66" y="88"/>
                      <a:pt x="66" y="88"/>
                      <a:pt x="66" y="88"/>
                    </a:cubicBezTo>
                    <a:moveTo>
                      <a:pt x="79" y="86"/>
                    </a:moveTo>
                    <a:cubicBezTo>
                      <a:pt x="79" y="86"/>
                      <a:pt x="79" y="86"/>
                      <a:pt x="79" y="86"/>
                    </a:cubicBezTo>
                    <a:cubicBezTo>
                      <a:pt x="79" y="86"/>
                      <a:pt x="79" y="86"/>
                      <a:pt x="79" y="86"/>
                    </a:cubicBezTo>
                    <a:moveTo>
                      <a:pt x="46" y="83"/>
                    </a:moveTo>
                    <a:cubicBezTo>
                      <a:pt x="51" y="86"/>
                      <a:pt x="58" y="88"/>
                      <a:pt x="66" y="88"/>
                    </a:cubicBezTo>
                    <a:cubicBezTo>
                      <a:pt x="58" y="88"/>
                      <a:pt x="51" y="86"/>
                      <a:pt x="46" y="83"/>
                    </a:cubicBezTo>
                    <a:moveTo>
                      <a:pt x="46" y="83"/>
                    </a:moveTo>
                    <a:cubicBezTo>
                      <a:pt x="46" y="83"/>
                      <a:pt x="46" y="83"/>
                      <a:pt x="46" y="83"/>
                    </a:cubicBezTo>
                    <a:cubicBezTo>
                      <a:pt x="46" y="83"/>
                      <a:pt x="46" y="83"/>
                      <a:pt x="46" y="83"/>
                    </a:cubicBezTo>
                    <a:moveTo>
                      <a:pt x="28" y="67"/>
                    </a:moveTo>
                    <a:cubicBezTo>
                      <a:pt x="32" y="119"/>
                      <a:pt x="32" y="119"/>
                      <a:pt x="32" y="119"/>
                    </a:cubicBezTo>
                    <a:cubicBezTo>
                      <a:pt x="32" y="117"/>
                      <a:pt x="31" y="112"/>
                      <a:pt x="31" y="106"/>
                    </a:cubicBezTo>
                    <a:cubicBezTo>
                      <a:pt x="33" y="100"/>
                      <a:pt x="37" y="90"/>
                      <a:pt x="45" y="82"/>
                    </a:cubicBezTo>
                    <a:cubicBezTo>
                      <a:pt x="45" y="82"/>
                      <a:pt x="45" y="82"/>
                      <a:pt x="45" y="83"/>
                    </a:cubicBezTo>
                    <a:cubicBezTo>
                      <a:pt x="45" y="82"/>
                      <a:pt x="45" y="82"/>
                      <a:pt x="45" y="82"/>
                    </a:cubicBezTo>
                    <a:cubicBezTo>
                      <a:pt x="45" y="82"/>
                      <a:pt x="45" y="82"/>
                      <a:pt x="45" y="82"/>
                    </a:cubicBezTo>
                    <a:cubicBezTo>
                      <a:pt x="37" y="90"/>
                      <a:pt x="33" y="100"/>
                      <a:pt x="31" y="106"/>
                    </a:cubicBezTo>
                    <a:cubicBezTo>
                      <a:pt x="30" y="99"/>
                      <a:pt x="30" y="91"/>
                      <a:pt x="30" y="88"/>
                    </a:cubicBezTo>
                    <a:cubicBezTo>
                      <a:pt x="30" y="86"/>
                      <a:pt x="30" y="86"/>
                      <a:pt x="30" y="86"/>
                    </a:cubicBezTo>
                    <a:cubicBezTo>
                      <a:pt x="28" y="67"/>
                      <a:pt x="28" y="67"/>
                      <a:pt x="28" y="67"/>
                    </a:cubicBezTo>
                    <a:moveTo>
                      <a:pt x="56" y="0"/>
                    </a:moveTo>
                    <a:cubicBezTo>
                      <a:pt x="48" y="15"/>
                      <a:pt x="48" y="15"/>
                      <a:pt x="48" y="15"/>
                    </a:cubicBezTo>
                    <a:cubicBezTo>
                      <a:pt x="50" y="16"/>
                      <a:pt x="52" y="18"/>
                      <a:pt x="53" y="19"/>
                    </a:cubicBezTo>
                    <a:cubicBezTo>
                      <a:pt x="54" y="19"/>
                      <a:pt x="54" y="19"/>
                      <a:pt x="55" y="19"/>
                    </a:cubicBezTo>
                    <a:cubicBezTo>
                      <a:pt x="74" y="19"/>
                      <a:pt x="90" y="33"/>
                      <a:pt x="92" y="53"/>
                    </a:cubicBezTo>
                    <a:cubicBezTo>
                      <a:pt x="94" y="66"/>
                      <a:pt x="89" y="78"/>
                      <a:pt x="80" y="86"/>
                    </a:cubicBezTo>
                    <a:cubicBezTo>
                      <a:pt x="80" y="86"/>
                      <a:pt x="80" y="86"/>
                      <a:pt x="80" y="86"/>
                    </a:cubicBezTo>
                    <a:cubicBezTo>
                      <a:pt x="80" y="86"/>
                      <a:pt x="80" y="86"/>
                      <a:pt x="79" y="86"/>
                    </a:cubicBezTo>
                    <a:cubicBezTo>
                      <a:pt x="80" y="86"/>
                      <a:pt x="80" y="86"/>
                      <a:pt x="80" y="86"/>
                    </a:cubicBezTo>
                    <a:cubicBezTo>
                      <a:pt x="80" y="86"/>
                      <a:pt x="80" y="86"/>
                      <a:pt x="80" y="86"/>
                    </a:cubicBezTo>
                    <a:cubicBezTo>
                      <a:pt x="80" y="88"/>
                      <a:pt x="81" y="90"/>
                      <a:pt x="81" y="92"/>
                    </a:cubicBezTo>
                    <a:cubicBezTo>
                      <a:pt x="81" y="98"/>
                      <a:pt x="100" y="124"/>
                      <a:pt x="101" y="126"/>
                    </a:cubicBezTo>
                    <a:cubicBezTo>
                      <a:pt x="103" y="129"/>
                      <a:pt x="110" y="136"/>
                      <a:pt x="89" y="139"/>
                    </a:cubicBezTo>
                    <a:cubicBezTo>
                      <a:pt x="87" y="153"/>
                      <a:pt x="87" y="153"/>
                      <a:pt x="87" y="153"/>
                    </a:cubicBezTo>
                    <a:cubicBezTo>
                      <a:pt x="87" y="153"/>
                      <a:pt x="87" y="153"/>
                      <a:pt x="87" y="153"/>
                    </a:cubicBezTo>
                    <a:cubicBezTo>
                      <a:pt x="85" y="166"/>
                      <a:pt x="85" y="166"/>
                      <a:pt x="85" y="166"/>
                    </a:cubicBezTo>
                    <a:cubicBezTo>
                      <a:pt x="124" y="178"/>
                      <a:pt x="124" y="178"/>
                      <a:pt x="124" y="178"/>
                    </a:cubicBezTo>
                    <a:cubicBezTo>
                      <a:pt x="124" y="178"/>
                      <a:pt x="124" y="178"/>
                      <a:pt x="125" y="178"/>
                    </a:cubicBezTo>
                    <a:cubicBezTo>
                      <a:pt x="128" y="172"/>
                      <a:pt x="130" y="165"/>
                      <a:pt x="132" y="158"/>
                    </a:cubicBezTo>
                    <a:cubicBezTo>
                      <a:pt x="151" y="93"/>
                      <a:pt x="117" y="25"/>
                      <a:pt x="56"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6" name="Freeform 1418">
                <a:extLst>
                  <a:ext uri="{FF2B5EF4-FFF2-40B4-BE49-F238E27FC236}">
                    <a16:creationId xmlns:a16="http://schemas.microsoft.com/office/drawing/2014/main" id="{2CB07C27-3A4E-4DA6-8408-04C6F4B58233}"/>
                  </a:ext>
                </a:extLst>
              </p:cNvPr>
              <p:cNvSpPr>
                <a:spLocks/>
              </p:cNvSpPr>
              <p:nvPr/>
            </p:nvSpPr>
            <p:spPr bwMode="auto">
              <a:xfrm>
                <a:off x="17287875" y="1010746"/>
                <a:ext cx="163512" cy="117475"/>
              </a:xfrm>
              <a:custGeom>
                <a:avLst/>
                <a:gdLst>
                  <a:gd name="T0" fmla="*/ 45 w 110"/>
                  <a:gd name="T1" fmla="*/ 0 h 80"/>
                  <a:gd name="T2" fmla="*/ 31 w 110"/>
                  <a:gd name="T3" fmla="*/ 24 h 80"/>
                  <a:gd name="T4" fmla="*/ 32 w 110"/>
                  <a:gd name="T5" fmla="*/ 37 h 80"/>
                  <a:gd name="T6" fmla="*/ 32 w 110"/>
                  <a:gd name="T7" fmla="*/ 37 h 80"/>
                  <a:gd name="T8" fmla="*/ 32 w 110"/>
                  <a:gd name="T9" fmla="*/ 37 h 80"/>
                  <a:gd name="T10" fmla="*/ 32 w 110"/>
                  <a:gd name="T11" fmla="*/ 37 h 80"/>
                  <a:gd name="T12" fmla="*/ 32 w 110"/>
                  <a:gd name="T13" fmla="*/ 37 h 80"/>
                  <a:gd name="T14" fmla="*/ 29 w 110"/>
                  <a:gd name="T15" fmla="*/ 40 h 80"/>
                  <a:gd name="T16" fmla="*/ 29 w 110"/>
                  <a:gd name="T17" fmla="*/ 40 h 80"/>
                  <a:gd name="T18" fmla="*/ 29 w 110"/>
                  <a:gd name="T19" fmla="*/ 40 h 80"/>
                  <a:gd name="T20" fmla="*/ 29 w 110"/>
                  <a:gd name="T21" fmla="*/ 40 h 80"/>
                  <a:gd name="T22" fmla="*/ 29 w 110"/>
                  <a:gd name="T23" fmla="*/ 40 h 80"/>
                  <a:gd name="T24" fmla="*/ 23 w 110"/>
                  <a:gd name="T25" fmla="*/ 37 h 80"/>
                  <a:gd name="T26" fmla="*/ 6 w 110"/>
                  <a:gd name="T27" fmla="*/ 25 h 80"/>
                  <a:gd name="T28" fmla="*/ 0 w 110"/>
                  <a:gd name="T29" fmla="*/ 39 h 80"/>
                  <a:gd name="T30" fmla="*/ 7 w 110"/>
                  <a:gd name="T31" fmla="*/ 58 h 80"/>
                  <a:gd name="T32" fmla="*/ 6 w 110"/>
                  <a:gd name="T33" fmla="*/ 60 h 80"/>
                  <a:gd name="T34" fmla="*/ 14 w 110"/>
                  <a:gd name="T35" fmla="*/ 63 h 80"/>
                  <a:gd name="T36" fmla="*/ 31 w 110"/>
                  <a:gd name="T37" fmla="*/ 44 h 80"/>
                  <a:gd name="T38" fmla="*/ 33 w 110"/>
                  <a:gd name="T39" fmla="*/ 43 h 80"/>
                  <a:gd name="T40" fmla="*/ 52 w 110"/>
                  <a:gd name="T41" fmla="*/ 60 h 80"/>
                  <a:gd name="T42" fmla="*/ 49 w 110"/>
                  <a:gd name="T43" fmla="*/ 73 h 80"/>
                  <a:gd name="T44" fmla="*/ 65 w 110"/>
                  <a:gd name="T45" fmla="*/ 78 h 80"/>
                  <a:gd name="T46" fmla="*/ 56 w 110"/>
                  <a:gd name="T47" fmla="*/ 68 h 80"/>
                  <a:gd name="T48" fmla="*/ 61 w 110"/>
                  <a:gd name="T49" fmla="*/ 68 h 80"/>
                  <a:gd name="T50" fmla="*/ 73 w 110"/>
                  <a:gd name="T51" fmla="*/ 80 h 80"/>
                  <a:gd name="T52" fmla="*/ 73 w 110"/>
                  <a:gd name="T53" fmla="*/ 80 h 80"/>
                  <a:gd name="T54" fmla="*/ 61 w 110"/>
                  <a:gd name="T55" fmla="*/ 68 h 80"/>
                  <a:gd name="T56" fmla="*/ 87 w 110"/>
                  <a:gd name="T57" fmla="*/ 71 h 80"/>
                  <a:gd name="T58" fmla="*/ 89 w 110"/>
                  <a:gd name="T59" fmla="*/ 57 h 80"/>
                  <a:gd name="T60" fmla="*/ 101 w 110"/>
                  <a:gd name="T61" fmla="*/ 44 h 80"/>
                  <a:gd name="T62" fmla="*/ 81 w 110"/>
                  <a:gd name="T63" fmla="*/ 10 h 80"/>
                  <a:gd name="T64" fmla="*/ 80 w 110"/>
                  <a:gd name="T65" fmla="*/ 4 h 80"/>
                  <a:gd name="T66" fmla="*/ 80 w 110"/>
                  <a:gd name="T67" fmla="*/ 4 h 80"/>
                  <a:gd name="T68" fmla="*/ 79 w 110"/>
                  <a:gd name="T69" fmla="*/ 4 h 80"/>
                  <a:gd name="T70" fmla="*/ 79 w 110"/>
                  <a:gd name="T71" fmla="*/ 4 h 80"/>
                  <a:gd name="T72" fmla="*/ 79 w 110"/>
                  <a:gd name="T73" fmla="*/ 4 h 80"/>
                  <a:gd name="T74" fmla="*/ 66 w 110"/>
                  <a:gd name="T75" fmla="*/ 6 h 80"/>
                  <a:gd name="T76" fmla="*/ 66 w 110"/>
                  <a:gd name="T77" fmla="*/ 6 h 80"/>
                  <a:gd name="T78" fmla="*/ 66 w 110"/>
                  <a:gd name="T79" fmla="*/ 6 h 80"/>
                  <a:gd name="T80" fmla="*/ 66 w 110"/>
                  <a:gd name="T81" fmla="*/ 6 h 80"/>
                  <a:gd name="T82" fmla="*/ 66 w 110"/>
                  <a:gd name="T83" fmla="*/ 6 h 80"/>
                  <a:gd name="T84" fmla="*/ 46 w 110"/>
                  <a:gd name="T85" fmla="*/ 1 h 80"/>
                  <a:gd name="T86" fmla="*/ 46 w 110"/>
                  <a:gd name="T87" fmla="*/ 1 h 80"/>
                  <a:gd name="T88" fmla="*/ 46 w 110"/>
                  <a:gd name="T89" fmla="*/ 1 h 80"/>
                  <a:gd name="T90" fmla="*/ 45 w 110"/>
                  <a:gd name="T91" fmla="*/ 1 h 80"/>
                  <a:gd name="T92" fmla="*/ 45 w 110"/>
                  <a:gd name="T9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0">
                    <a:moveTo>
                      <a:pt x="45" y="0"/>
                    </a:moveTo>
                    <a:cubicBezTo>
                      <a:pt x="37" y="8"/>
                      <a:pt x="33" y="18"/>
                      <a:pt x="31" y="24"/>
                    </a:cubicBezTo>
                    <a:cubicBezTo>
                      <a:pt x="31" y="30"/>
                      <a:pt x="32" y="35"/>
                      <a:pt x="32" y="37"/>
                    </a:cubicBezTo>
                    <a:cubicBezTo>
                      <a:pt x="32" y="37"/>
                      <a:pt x="32" y="37"/>
                      <a:pt x="32" y="37"/>
                    </a:cubicBezTo>
                    <a:cubicBezTo>
                      <a:pt x="32" y="37"/>
                      <a:pt x="32" y="37"/>
                      <a:pt x="32" y="37"/>
                    </a:cubicBezTo>
                    <a:cubicBezTo>
                      <a:pt x="32" y="37"/>
                      <a:pt x="32" y="37"/>
                      <a:pt x="32" y="37"/>
                    </a:cubicBezTo>
                    <a:cubicBezTo>
                      <a:pt x="32" y="37"/>
                      <a:pt x="32" y="37"/>
                      <a:pt x="32" y="37"/>
                    </a:cubicBezTo>
                    <a:cubicBezTo>
                      <a:pt x="31" y="39"/>
                      <a:pt x="30" y="40"/>
                      <a:pt x="29" y="40"/>
                    </a:cubicBezTo>
                    <a:cubicBezTo>
                      <a:pt x="29" y="40"/>
                      <a:pt x="29" y="40"/>
                      <a:pt x="29" y="40"/>
                    </a:cubicBezTo>
                    <a:cubicBezTo>
                      <a:pt x="29" y="40"/>
                      <a:pt x="29" y="40"/>
                      <a:pt x="29" y="40"/>
                    </a:cubicBezTo>
                    <a:cubicBezTo>
                      <a:pt x="29" y="40"/>
                      <a:pt x="29" y="40"/>
                      <a:pt x="29" y="40"/>
                    </a:cubicBezTo>
                    <a:cubicBezTo>
                      <a:pt x="29" y="40"/>
                      <a:pt x="29" y="40"/>
                      <a:pt x="29" y="40"/>
                    </a:cubicBezTo>
                    <a:cubicBezTo>
                      <a:pt x="26" y="40"/>
                      <a:pt x="23" y="37"/>
                      <a:pt x="23" y="37"/>
                    </a:cubicBezTo>
                    <a:cubicBezTo>
                      <a:pt x="23" y="37"/>
                      <a:pt x="14" y="29"/>
                      <a:pt x="6" y="25"/>
                    </a:cubicBezTo>
                    <a:cubicBezTo>
                      <a:pt x="2" y="28"/>
                      <a:pt x="1" y="33"/>
                      <a:pt x="0" y="39"/>
                    </a:cubicBezTo>
                    <a:cubicBezTo>
                      <a:pt x="4" y="44"/>
                      <a:pt x="6" y="51"/>
                      <a:pt x="7" y="58"/>
                    </a:cubicBezTo>
                    <a:cubicBezTo>
                      <a:pt x="7" y="59"/>
                      <a:pt x="7" y="59"/>
                      <a:pt x="6" y="60"/>
                    </a:cubicBezTo>
                    <a:cubicBezTo>
                      <a:pt x="14" y="63"/>
                      <a:pt x="14" y="63"/>
                      <a:pt x="14" y="63"/>
                    </a:cubicBezTo>
                    <a:cubicBezTo>
                      <a:pt x="14" y="53"/>
                      <a:pt x="21" y="45"/>
                      <a:pt x="31" y="44"/>
                    </a:cubicBezTo>
                    <a:cubicBezTo>
                      <a:pt x="32" y="43"/>
                      <a:pt x="33" y="43"/>
                      <a:pt x="33" y="43"/>
                    </a:cubicBezTo>
                    <a:cubicBezTo>
                      <a:pt x="43" y="43"/>
                      <a:pt x="51" y="51"/>
                      <a:pt x="52" y="60"/>
                    </a:cubicBezTo>
                    <a:cubicBezTo>
                      <a:pt x="52" y="65"/>
                      <a:pt x="51" y="69"/>
                      <a:pt x="49" y="73"/>
                    </a:cubicBezTo>
                    <a:cubicBezTo>
                      <a:pt x="65" y="78"/>
                      <a:pt x="65" y="78"/>
                      <a:pt x="65" y="78"/>
                    </a:cubicBezTo>
                    <a:cubicBezTo>
                      <a:pt x="60" y="72"/>
                      <a:pt x="56" y="68"/>
                      <a:pt x="56" y="68"/>
                    </a:cubicBezTo>
                    <a:cubicBezTo>
                      <a:pt x="61" y="68"/>
                      <a:pt x="61" y="68"/>
                      <a:pt x="61" y="68"/>
                    </a:cubicBezTo>
                    <a:cubicBezTo>
                      <a:pt x="62" y="69"/>
                      <a:pt x="66" y="75"/>
                      <a:pt x="73" y="80"/>
                    </a:cubicBezTo>
                    <a:cubicBezTo>
                      <a:pt x="73" y="80"/>
                      <a:pt x="73" y="80"/>
                      <a:pt x="73" y="80"/>
                    </a:cubicBezTo>
                    <a:cubicBezTo>
                      <a:pt x="66" y="75"/>
                      <a:pt x="62" y="69"/>
                      <a:pt x="61" y="68"/>
                    </a:cubicBezTo>
                    <a:cubicBezTo>
                      <a:pt x="87" y="71"/>
                      <a:pt x="87" y="71"/>
                      <a:pt x="87" y="71"/>
                    </a:cubicBezTo>
                    <a:cubicBezTo>
                      <a:pt x="89" y="57"/>
                      <a:pt x="89" y="57"/>
                      <a:pt x="89" y="57"/>
                    </a:cubicBezTo>
                    <a:cubicBezTo>
                      <a:pt x="110" y="54"/>
                      <a:pt x="103" y="47"/>
                      <a:pt x="101" y="44"/>
                    </a:cubicBezTo>
                    <a:cubicBezTo>
                      <a:pt x="100" y="42"/>
                      <a:pt x="81" y="16"/>
                      <a:pt x="81" y="10"/>
                    </a:cubicBezTo>
                    <a:cubicBezTo>
                      <a:pt x="81" y="8"/>
                      <a:pt x="80" y="6"/>
                      <a:pt x="80" y="4"/>
                    </a:cubicBezTo>
                    <a:cubicBezTo>
                      <a:pt x="80" y="4"/>
                      <a:pt x="80" y="4"/>
                      <a:pt x="80" y="4"/>
                    </a:cubicBezTo>
                    <a:cubicBezTo>
                      <a:pt x="80" y="4"/>
                      <a:pt x="80" y="4"/>
                      <a:pt x="79" y="4"/>
                    </a:cubicBezTo>
                    <a:cubicBezTo>
                      <a:pt x="79" y="4"/>
                      <a:pt x="79" y="4"/>
                      <a:pt x="79" y="4"/>
                    </a:cubicBezTo>
                    <a:cubicBezTo>
                      <a:pt x="79" y="4"/>
                      <a:pt x="79" y="4"/>
                      <a:pt x="79" y="4"/>
                    </a:cubicBezTo>
                    <a:cubicBezTo>
                      <a:pt x="74" y="5"/>
                      <a:pt x="70" y="6"/>
                      <a:pt x="66" y="6"/>
                    </a:cubicBezTo>
                    <a:cubicBezTo>
                      <a:pt x="66" y="6"/>
                      <a:pt x="66" y="6"/>
                      <a:pt x="66" y="6"/>
                    </a:cubicBezTo>
                    <a:cubicBezTo>
                      <a:pt x="66" y="6"/>
                      <a:pt x="66" y="6"/>
                      <a:pt x="66" y="6"/>
                    </a:cubicBezTo>
                    <a:cubicBezTo>
                      <a:pt x="66" y="6"/>
                      <a:pt x="66" y="6"/>
                      <a:pt x="66" y="6"/>
                    </a:cubicBezTo>
                    <a:cubicBezTo>
                      <a:pt x="66" y="6"/>
                      <a:pt x="66" y="6"/>
                      <a:pt x="66" y="6"/>
                    </a:cubicBezTo>
                    <a:cubicBezTo>
                      <a:pt x="58" y="6"/>
                      <a:pt x="51" y="4"/>
                      <a:pt x="46" y="1"/>
                    </a:cubicBezTo>
                    <a:cubicBezTo>
                      <a:pt x="46" y="1"/>
                      <a:pt x="46" y="1"/>
                      <a:pt x="46" y="1"/>
                    </a:cubicBezTo>
                    <a:cubicBezTo>
                      <a:pt x="46" y="1"/>
                      <a:pt x="46" y="1"/>
                      <a:pt x="46" y="1"/>
                    </a:cubicBezTo>
                    <a:cubicBezTo>
                      <a:pt x="45" y="1"/>
                      <a:pt x="45" y="1"/>
                      <a:pt x="45" y="1"/>
                    </a:cubicBezTo>
                    <a:cubicBezTo>
                      <a:pt x="45" y="0"/>
                      <a:pt x="45" y="0"/>
                      <a:pt x="45" y="0"/>
                    </a:cubicBezTo>
                  </a:path>
                </a:pathLst>
              </a:custGeom>
              <a:solidFill>
                <a:srgbClr val="FFE1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7" name="Freeform 1419">
                <a:extLst>
                  <a:ext uri="{FF2B5EF4-FFF2-40B4-BE49-F238E27FC236}">
                    <a16:creationId xmlns:a16="http://schemas.microsoft.com/office/drawing/2014/main" id="{B12F7C06-0EAE-4A46-A6E4-CB1BF83DB4EE}"/>
                  </a:ext>
                </a:extLst>
              </p:cNvPr>
              <p:cNvSpPr>
                <a:spLocks/>
              </p:cNvSpPr>
              <p:nvPr/>
            </p:nvSpPr>
            <p:spPr bwMode="auto">
              <a:xfrm>
                <a:off x="17284700" y="912321"/>
                <a:ext cx="142875" cy="157162"/>
              </a:xfrm>
              <a:custGeom>
                <a:avLst/>
                <a:gdLst>
                  <a:gd name="T0" fmla="*/ 50 w 96"/>
                  <a:gd name="T1" fmla="*/ 0 h 107"/>
                  <a:gd name="T2" fmla="*/ 0 w 96"/>
                  <a:gd name="T3" fmla="*/ 92 h 107"/>
                  <a:gd name="T4" fmla="*/ 2 w 96"/>
                  <a:gd name="T5" fmla="*/ 91 h 107"/>
                  <a:gd name="T6" fmla="*/ 3 w 96"/>
                  <a:gd name="T7" fmla="*/ 91 h 107"/>
                  <a:gd name="T8" fmla="*/ 3 w 96"/>
                  <a:gd name="T9" fmla="*/ 91 h 107"/>
                  <a:gd name="T10" fmla="*/ 3 w 96"/>
                  <a:gd name="T11" fmla="*/ 91 h 107"/>
                  <a:gd name="T12" fmla="*/ 3 w 96"/>
                  <a:gd name="T13" fmla="*/ 91 h 107"/>
                  <a:gd name="T14" fmla="*/ 7 w 96"/>
                  <a:gd name="T15" fmla="*/ 92 h 107"/>
                  <a:gd name="T16" fmla="*/ 8 w 96"/>
                  <a:gd name="T17" fmla="*/ 92 h 107"/>
                  <a:gd name="T18" fmla="*/ 8 w 96"/>
                  <a:gd name="T19" fmla="*/ 92 h 107"/>
                  <a:gd name="T20" fmla="*/ 8 w 96"/>
                  <a:gd name="T21" fmla="*/ 92 h 107"/>
                  <a:gd name="T22" fmla="*/ 8 w 96"/>
                  <a:gd name="T23" fmla="*/ 92 h 107"/>
                  <a:gd name="T24" fmla="*/ 8 w 96"/>
                  <a:gd name="T25" fmla="*/ 92 h 107"/>
                  <a:gd name="T26" fmla="*/ 25 w 96"/>
                  <a:gd name="T27" fmla="*/ 104 h 107"/>
                  <a:gd name="T28" fmla="*/ 31 w 96"/>
                  <a:gd name="T29" fmla="*/ 107 h 107"/>
                  <a:gd name="T30" fmla="*/ 31 w 96"/>
                  <a:gd name="T31" fmla="*/ 107 h 107"/>
                  <a:gd name="T32" fmla="*/ 31 w 96"/>
                  <a:gd name="T33" fmla="*/ 107 h 107"/>
                  <a:gd name="T34" fmla="*/ 31 w 96"/>
                  <a:gd name="T35" fmla="*/ 107 h 107"/>
                  <a:gd name="T36" fmla="*/ 34 w 96"/>
                  <a:gd name="T37" fmla="*/ 104 h 107"/>
                  <a:gd name="T38" fmla="*/ 34 w 96"/>
                  <a:gd name="T39" fmla="*/ 104 h 107"/>
                  <a:gd name="T40" fmla="*/ 34 w 96"/>
                  <a:gd name="T41" fmla="*/ 104 h 107"/>
                  <a:gd name="T42" fmla="*/ 30 w 96"/>
                  <a:gd name="T43" fmla="*/ 52 h 107"/>
                  <a:gd name="T44" fmla="*/ 30 w 96"/>
                  <a:gd name="T45" fmla="*/ 52 h 107"/>
                  <a:gd name="T46" fmla="*/ 47 w 96"/>
                  <a:gd name="T47" fmla="*/ 67 h 107"/>
                  <a:gd name="T48" fmla="*/ 47 w 96"/>
                  <a:gd name="T49" fmla="*/ 67 h 107"/>
                  <a:gd name="T50" fmla="*/ 47 w 96"/>
                  <a:gd name="T51" fmla="*/ 67 h 107"/>
                  <a:gd name="T52" fmla="*/ 47 w 96"/>
                  <a:gd name="T53" fmla="*/ 68 h 107"/>
                  <a:gd name="T54" fmla="*/ 48 w 96"/>
                  <a:gd name="T55" fmla="*/ 68 h 107"/>
                  <a:gd name="T56" fmla="*/ 48 w 96"/>
                  <a:gd name="T57" fmla="*/ 68 h 107"/>
                  <a:gd name="T58" fmla="*/ 48 w 96"/>
                  <a:gd name="T59" fmla="*/ 68 h 107"/>
                  <a:gd name="T60" fmla="*/ 68 w 96"/>
                  <a:gd name="T61" fmla="*/ 73 h 107"/>
                  <a:gd name="T62" fmla="*/ 68 w 96"/>
                  <a:gd name="T63" fmla="*/ 73 h 107"/>
                  <a:gd name="T64" fmla="*/ 68 w 96"/>
                  <a:gd name="T65" fmla="*/ 73 h 107"/>
                  <a:gd name="T66" fmla="*/ 68 w 96"/>
                  <a:gd name="T67" fmla="*/ 73 h 107"/>
                  <a:gd name="T68" fmla="*/ 81 w 96"/>
                  <a:gd name="T69" fmla="*/ 71 h 107"/>
                  <a:gd name="T70" fmla="*/ 81 w 96"/>
                  <a:gd name="T71" fmla="*/ 71 h 107"/>
                  <a:gd name="T72" fmla="*/ 81 w 96"/>
                  <a:gd name="T73" fmla="*/ 71 h 107"/>
                  <a:gd name="T74" fmla="*/ 82 w 96"/>
                  <a:gd name="T75" fmla="*/ 71 h 107"/>
                  <a:gd name="T76" fmla="*/ 82 w 96"/>
                  <a:gd name="T77" fmla="*/ 71 h 107"/>
                  <a:gd name="T78" fmla="*/ 94 w 96"/>
                  <a:gd name="T79" fmla="*/ 38 h 107"/>
                  <a:gd name="T80" fmla="*/ 57 w 96"/>
                  <a:gd name="T81" fmla="*/ 4 h 107"/>
                  <a:gd name="T82" fmla="*/ 55 w 96"/>
                  <a:gd name="T83" fmla="*/ 4 h 107"/>
                  <a:gd name="T84" fmla="*/ 50 w 96"/>
                  <a:gd name="T8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107">
                    <a:moveTo>
                      <a:pt x="50" y="0"/>
                    </a:moveTo>
                    <a:cubicBezTo>
                      <a:pt x="0" y="92"/>
                      <a:pt x="0" y="92"/>
                      <a:pt x="0" y="92"/>
                    </a:cubicBezTo>
                    <a:cubicBezTo>
                      <a:pt x="1" y="91"/>
                      <a:pt x="2" y="91"/>
                      <a:pt x="2" y="91"/>
                    </a:cubicBezTo>
                    <a:cubicBezTo>
                      <a:pt x="2" y="91"/>
                      <a:pt x="2" y="91"/>
                      <a:pt x="3" y="91"/>
                    </a:cubicBezTo>
                    <a:cubicBezTo>
                      <a:pt x="3" y="91"/>
                      <a:pt x="3" y="91"/>
                      <a:pt x="3" y="91"/>
                    </a:cubicBezTo>
                    <a:cubicBezTo>
                      <a:pt x="3" y="91"/>
                      <a:pt x="3" y="91"/>
                      <a:pt x="3" y="91"/>
                    </a:cubicBezTo>
                    <a:cubicBezTo>
                      <a:pt x="3" y="91"/>
                      <a:pt x="3" y="91"/>
                      <a:pt x="3" y="91"/>
                    </a:cubicBezTo>
                    <a:cubicBezTo>
                      <a:pt x="4" y="91"/>
                      <a:pt x="6" y="92"/>
                      <a:pt x="7" y="92"/>
                    </a:cubicBezTo>
                    <a:cubicBezTo>
                      <a:pt x="7" y="92"/>
                      <a:pt x="8" y="92"/>
                      <a:pt x="8" y="92"/>
                    </a:cubicBezTo>
                    <a:cubicBezTo>
                      <a:pt x="8" y="92"/>
                      <a:pt x="8" y="92"/>
                      <a:pt x="8" y="92"/>
                    </a:cubicBezTo>
                    <a:cubicBezTo>
                      <a:pt x="8" y="92"/>
                      <a:pt x="8" y="92"/>
                      <a:pt x="8" y="92"/>
                    </a:cubicBezTo>
                    <a:cubicBezTo>
                      <a:pt x="8" y="92"/>
                      <a:pt x="8" y="92"/>
                      <a:pt x="8" y="92"/>
                    </a:cubicBezTo>
                    <a:cubicBezTo>
                      <a:pt x="8" y="92"/>
                      <a:pt x="8" y="92"/>
                      <a:pt x="8" y="92"/>
                    </a:cubicBezTo>
                    <a:cubicBezTo>
                      <a:pt x="16" y="96"/>
                      <a:pt x="25" y="104"/>
                      <a:pt x="25" y="104"/>
                    </a:cubicBezTo>
                    <a:cubicBezTo>
                      <a:pt x="25" y="104"/>
                      <a:pt x="28" y="107"/>
                      <a:pt x="31" y="107"/>
                    </a:cubicBezTo>
                    <a:cubicBezTo>
                      <a:pt x="31" y="107"/>
                      <a:pt x="31" y="107"/>
                      <a:pt x="31" y="107"/>
                    </a:cubicBezTo>
                    <a:cubicBezTo>
                      <a:pt x="31" y="107"/>
                      <a:pt x="31" y="107"/>
                      <a:pt x="31" y="107"/>
                    </a:cubicBezTo>
                    <a:cubicBezTo>
                      <a:pt x="31" y="107"/>
                      <a:pt x="31" y="107"/>
                      <a:pt x="31" y="107"/>
                    </a:cubicBezTo>
                    <a:cubicBezTo>
                      <a:pt x="32" y="107"/>
                      <a:pt x="33" y="106"/>
                      <a:pt x="34" y="104"/>
                    </a:cubicBezTo>
                    <a:cubicBezTo>
                      <a:pt x="34" y="104"/>
                      <a:pt x="34" y="104"/>
                      <a:pt x="34" y="104"/>
                    </a:cubicBezTo>
                    <a:cubicBezTo>
                      <a:pt x="34" y="104"/>
                      <a:pt x="34" y="104"/>
                      <a:pt x="34" y="104"/>
                    </a:cubicBezTo>
                    <a:cubicBezTo>
                      <a:pt x="30" y="52"/>
                      <a:pt x="30" y="52"/>
                      <a:pt x="30" y="52"/>
                    </a:cubicBezTo>
                    <a:cubicBezTo>
                      <a:pt x="30" y="52"/>
                      <a:pt x="30" y="52"/>
                      <a:pt x="30" y="52"/>
                    </a:cubicBezTo>
                    <a:cubicBezTo>
                      <a:pt x="31" y="54"/>
                      <a:pt x="37" y="62"/>
                      <a:pt x="47" y="67"/>
                    </a:cubicBezTo>
                    <a:cubicBezTo>
                      <a:pt x="47" y="67"/>
                      <a:pt x="47" y="67"/>
                      <a:pt x="47" y="67"/>
                    </a:cubicBezTo>
                    <a:cubicBezTo>
                      <a:pt x="47" y="67"/>
                      <a:pt x="47" y="67"/>
                      <a:pt x="47" y="67"/>
                    </a:cubicBezTo>
                    <a:cubicBezTo>
                      <a:pt x="47" y="67"/>
                      <a:pt x="47" y="67"/>
                      <a:pt x="47" y="68"/>
                    </a:cubicBezTo>
                    <a:cubicBezTo>
                      <a:pt x="47" y="68"/>
                      <a:pt x="47" y="68"/>
                      <a:pt x="48" y="68"/>
                    </a:cubicBezTo>
                    <a:cubicBezTo>
                      <a:pt x="48" y="68"/>
                      <a:pt x="48" y="68"/>
                      <a:pt x="48" y="68"/>
                    </a:cubicBezTo>
                    <a:cubicBezTo>
                      <a:pt x="48" y="68"/>
                      <a:pt x="48" y="68"/>
                      <a:pt x="48" y="68"/>
                    </a:cubicBezTo>
                    <a:cubicBezTo>
                      <a:pt x="53" y="71"/>
                      <a:pt x="60" y="73"/>
                      <a:pt x="68" y="73"/>
                    </a:cubicBezTo>
                    <a:cubicBezTo>
                      <a:pt x="68" y="73"/>
                      <a:pt x="68" y="73"/>
                      <a:pt x="68" y="73"/>
                    </a:cubicBezTo>
                    <a:cubicBezTo>
                      <a:pt x="68" y="73"/>
                      <a:pt x="68" y="73"/>
                      <a:pt x="68" y="73"/>
                    </a:cubicBezTo>
                    <a:cubicBezTo>
                      <a:pt x="68" y="73"/>
                      <a:pt x="68" y="73"/>
                      <a:pt x="68" y="73"/>
                    </a:cubicBezTo>
                    <a:cubicBezTo>
                      <a:pt x="72" y="73"/>
                      <a:pt x="76" y="72"/>
                      <a:pt x="81" y="71"/>
                    </a:cubicBezTo>
                    <a:cubicBezTo>
                      <a:pt x="81" y="71"/>
                      <a:pt x="81" y="71"/>
                      <a:pt x="81" y="71"/>
                    </a:cubicBezTo>
                    <a:cubicBezTo>
                      <a:pt x="81" y="71"/>
                      <a:pt x="81" y="71"/>
                      <a:pt x="81" y="71"/>
                    </a:cubicBezTo>
                    <a:cubicBezTo>
                      <a:pt x="82" y="71"/>
                      <a:pt x="82" y="71"/>
                      <a:pt x="82" y="71"/>
                    </a:cubicBezTo>
                    <a:cubicBezTo>
                      <a:pt x="82" y="71"/>
                      <a:pt x="82" y="71"/>
                      <a:pt x="82" y="71"/>
                    </a:cubicBezTo>
                    <a:cubicBezTo>
                      <a:pt x="91" y="63"/>
                      <a:pt x="96" y="51"/>
                      <a:pt x="94" y="38"/>
                    </a:cubicBezTo>
                    <a:cubicBezTo>
                      <a:pt x="92" y="18"/>
                      <a:pt x="76" y="4"/>
                      <a:pt x="57" y="4"/>
                    </a:cubicBezTo>
                    <a:cubicBezTo>
                      <a:pt x="56" y="4"/>
                      <a:pt x="56" y="4"/>
                      <a:pt x="55" y="4"/>
                    </a:cubicBezTo>
                    <a:cubicBezTo>
                      <a:pt x="54" y="3"/>
                      <a:pt x="52" y="1"/>
                      <a:pt x="5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8" name="Freeform 1420">
                <a:extLst>
                  <a:ext uri="{FF2B5EF4-FFF2-40B4-BE49-F238E27FC236}">
                    <a16:creationId xmlns:a16="http://schemas.microsoft.com/office/drawing/2014/main" id="{9F9F3BC5-0979-4118-8FEA-3E71A6863108}"/>
                  </a:ext>
                </a:extLst>
              </p:cNvPr>
              <p:cNvSpPr>
                <a:spLocks/>
              </p:cNvSpPr>
              <p:nvPr/>
            </p:nvSpPr>
            <p:spPr bwMode="auto">
              <a:xfrm>
                <a:off x="17372013" y="1110759"/>
                <a:ext cx="23812" cy="17462"/>
              </a:xfrm>
              <a:custGeom>
                <a:avLst/>
                <a:gdLst>
                  <a:gd name="T0" fmla="*/ 0 w 17"/>
                  <a:gd name="T1" fmla="*/ 0 h 12"/>
                  <a:gd name="T2" fmla="*/ 9 w 17"/>
                  <a:gd name="T3" fmla="*/ 10 h 12"/>
                  <a:gd name="T4" fmla="*/ 17 w 17"/>
                  <a:gd name="T5" fmla="*/ 12 h 12"/>
                  <a:gd name="T6" fmla="*/ 5 w 17"/>
                  <a:gd name="T7" fmla="*/ 0 h 12"/>
                  <a:gd name="T8" fmla="*/ 0 w 17"/>
                  <a:gd name="T9" fmla="*/ 0 h 12"/>
                </a:gdLst>
                <a:ahLst/>
                <a:cxnLst>
                  <a:cxn ang="0">
                    <a:pos x="T0" y="T1"/>
                  </a:cxn>
                  <a:cxn ang="0">
                    <a:pos x="T2" y="T3"/>
                  </a:cxn>
                  <a:cxn ang="0">
                    <a:pos x="T4" y="T5"/>
                  </a:cxn>
                  <a:cxn ang="0">
                    <a:pos x="T6" y="T7"/>
                  </a:cxn>
                  <a:cxn ang="0">
                    <a:pos x="T8" y="T9"/>
                  </a:cxn>
                </a:cxnLst>
                <a:rect l="0" t="0" r="r" b="b"/>
                <a:pathLst>
                  <a:path w="17" h="12">
                    <a:moveTo>
                      <a:pt x="0" y="0"/>
                    </a:moveTo>
                    <a:cubicBezTo>
                      <a:pt x="0" y="0"/>
                      <a:pt x="4" y="4"/>
                      <a:pt x="9" y="10"/>
                    </a:cubicBezTo>
                    <a:cubicBezTo>
                      <a:pt x="17" y="12"/>
                      <a:pt x="17" y="12"/>
                      <a:pt x="17" y="12"/>
                    </a:cubicBezTo>
                    <a:cubicBezTo>
                      <a:pt x="10" y="7"/>
                      <a:pt x="6" y="1"/>
                      <a:pt x="5" y="0"/>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9" name="Freeform 1421">
                <a:extLst>
                  <a:ext uri="{FF2B5EF4-FFF2-40B4-BE49-F238E27FC236}">
                    <a16:creationId xmlns:a16="http://schemas.microsoft.com/office/drawing/2014/main" id="{FD0A8493-B084-49D9-9005-7227940F8C61}"/>
                  </a:ext>
                </a:extLst>
              </p:cNvPr>
              <p:cNvSpPr>
                <a:spLocks/>
              </p:cNvSpPr>
              <p:nvPr/>
            </p:nvSpPr>
            <p:spPr bwMode="auto">
              <a:xfrm>
                <a:off x="17378363" y="1110759"/>
                <a:ext cx="38100" cy="23812"/>
              </a:xfrm>
              <a:custGeom>
                <a:avLst/>
                <a:gdLst>
                  <a:gd name="T0" fmla="*/ 0 w 26"/>
                  <a:gd name="T1" fmla="*/ 0 h 16"/>
                  <a:gd name="T2" fmla="*/ 12 w 26"/>
                  <a:gd name="T3" fmla="*/ 12 h 16"/>
                  <a:gd name="T4" fmla="*/ 24 w 26"/>
                  <a:gd name="T5" fmla="*/ 16 h 16"/>
                  <a:gd name="T6" fmla="*/ 26 w 26"/>
                  <a:gd name="T7" fmla="*/ 3 h 16"/>
                  <a:gd name="T8" fmla="*/ 26 w 26"/>
                  <a:gd name="T9" fmla="*/ 3 h 16"/>
                  <a:gd name="T10" fmla="*/ 0 w 26"/>
                  <a:gd name="T11" fmla="*/ 0 h 16"/>
                </a:gdLst>
                <a:ahLst/>
                <a:cxnLst>
                  <a:cxn ang="0">
                    <a:pos x="T0" y="T1"/>
                  </a:cxn>
                  <a:cxn ang="0">
                    <a:pos x="T2" y="T3"/>
                  </a:cxn>
                  <a:cxn ang="0">
                    <a:pos x="T4" y="T5"/>
                  </a:cxn>
                  <a:cxn ang="0">
                    <a:pos x="T6" y="T7"/>
                  </a:cxn>
                  <a:cxn ang="0">
                    <a:pos x="T8" y="T9"/>
                  </a:cxn>
                  <a:cxn ang="0">
                    <a:pos x="T10" y="T11"/>
                  </a:cxn>
                </a:cxnLst>
                <a:rect l="0" t="0" r="r" b="b"/>
                <a:pathLst>
                  <a:path w="26" h="16">
                    <a:moveTo>
                      <a:pt x="0" y="0"/>
                    </a:moveTo>
                    <a:cubicBezTo>
                      <a:pt x="1" y="1"/>
                      <a:pt x="5" y="7"/>
                      <a:pt x="12" y="12"/>
                    </a:cubicBezTo>
                    <a:cubicBezTo>
                      <a:pt x="24" y="16"/>
                      <a:pt x="24" y="16"/>
                      <a:pt x="24" y="16"/>
                    </a:cubicBezTo>
                    <a:cubicBezTo>
                      <a:pt x="26" y="3"/>
                      <a:pt x="26" y="3"/>
                      <a:pt x="26" y="3"/>
                    </a:cubicBezTo>
                    <a:cubicBezTo>
                      <a:pt x="26" y="3"/>
                      <a:pt x="26" y="3"/>
                      <a:pt x="26" y="3"/>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0" name="Freeform 1422">
                <a:extLst>
                  <a:ext uri="{FF2B5EF4-FFF2-40B4-BE49-F238E27FC236}">
                    <a16:creationId xmlns:a16="http://schemas.microsoft.com/office/drawing/2014/main" id="{EA946D1B-26A2-450F-B74A-51E4C5CE3647}"/>
                  </a:ext>
                </a:extLst>
              </p:cNvPr>
              <p:cNvSpPr>
                <a:spLocks/>
              </p:cNvSpPr>
              <p:nvPr/>
            </p:nvSpPr>
            <p:spPr bwMode="auto">
              <a:xfrm>
                <a:off x="17308513" y="1074246"/>
                <a:ext cx="57150" cy="44450"/>
              </a:xfrm>
              <a:custGeom>
                <a:avLst/>
                <a:gdLst>
                  <a:gd name="T0" fmla="*/ 19 w 38"/>
                  <a:gd name="T1" fmla="*/ 0 h 30"/>
                  <a:gd name="T2" fmla="*/ 17 w 38"/>
                  <a:gd name="T3" fmla="*/ 1 h 30"/>
                  <a:gd name="T4" fmla="*/ 0 w 38"/>
                  <a:gd name="T5" fmla="*/ 20 h 30"/>
                  <a:gd name="T6" fmla="*/ 35 w 38"/>
                  <a:gd name="T7" fmla="*/ 30 h 30"/>
                  <a:gd name="T8" fmla="*/ 38 w 38"/>
                  <a:gd name="T9" fmla="*/ 17 h 30"/>
                  <a:gd name="T10" fmla="*/ 19 w 38"/>
                  <a:gd name="T11" fmla="*/ 0 h 30"/>
                </a:gdLst>
                <a:ahLst/>
                <a:cxnLst>
                  <a:cxn ang="0">
                    <a:pos x="T0" y="T1"/>
                  </a:cxn>
                  <a:cxn ang="0">
                    <a:pos x="T2" y="T3"/>
                  </a:cxn>
                  <a:cxn ang="0">
                    <a:pos x="T4" y="T5"/>
                  </a:cxn>
                  <a:cxn ang="0">
                    <a:pos x="T6" y="T7"/>
                  </a:cxn>
                  <a:cxn ang="0">
                    <a:pos x="T8" y="T9"/>
                  </a:cxn>
                  <a:cxn ang="0">
                    <a:pos x="T10" y="T11"/>
                  </a:cxn>
                </a:cxnLst>
                <a:rect l="0" t="0" r="r" b="b"/>
                <a:pathLst>
                  <a:path w="38" h="30">
                    <a:moveTo>
                      <a:pt x="19" y="0"/>
                    </a:moveTo>
                    <a:cubicBezTo>
                      <a:pt x="19" y="0"/>
                      <a:pt x="18" y="0"/>
                      <a:pt x="17" y="1"/>
                    </a:cubicBezTo>
                    <a:cubicBezTo>
                      <a:pt x="7" y="2"/>
                      <a:pt x="0" y="10"/>
                      <a:pt x="0" y="20"/>
                    </a:cubicBezTo>
                    <a:cubicBezTo>
                      <a:pt x="35" y="30"/>
                      <a:pt x="35" y="30"/>
                      <a:pt x="35" y="30"/>
                    </a:cubicBezTo>
                    <a:cubicBezTo>
                      <a:pt x="37" y="26"/>
                      <a:pt x="38" y="22"/>
                      <a:pt x="38" y="17"/>
                    </a:cubicBezTo>
                    <a:cubicBezTo>
                      <a:pt x="37" y="8"/>
                      <a:pt x="29" y="0"/>
                      <a:pt x="19"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1" name="Freeform 1423">
                <a:extLst>
                  <a:ext uri="{FF2B5EF4-FFF2-40B4-BE49-F238E27FC236}">
                    <a16:creationId xmlns:a16="http://schemas.microsoft.com/office/drawing/2014/main" id="{6911F95F-853C-4A0D-916D-030B1094AF4D}"/>
                  </a:ext>
                </a:extLst>
              </p:cNvPr>
              <p:cNvSpPr>
                <a:spLocks noEditPoints="1"/>
              </p:cNvSpPr>
              <p:nvPr/>
            </p:nvSpPr>
            <p:spPr bwMode="auto">
              <a:xfrm>
                <a:off x="17329150" y="988521"/>
                <a:ext cx="25400" cy="57150"/>
              </a:xfrm>
              <a:custGeom>
                <a:avLst/>
                <a:gdLst>
                  <a:gd name="T0" fmla="*/ 10 w 17"/>
                  <a:gd name="T1" fmla="*/ 19 h 39"/>
                  <a:gd name="T2" fmla="*/ 10 w 17"/>
                  <a:gd name="T3" fmla="*/ 19 h 39"/>
                  <a:gd name="T4" fmla="*/ 10 w 17"/>
                  <a:gd name="T5" fmla="*/ 19 h 39"/>
                  <a:gd name="T6" fmla="*/ 10 w 17"/>
                  <a:gd name="T7" fmla="*/ 21 h 39"/>
                  <a:gd name="T8" fmla="*/ 10 w 17"/>
                  <a:gd name="T9" fmla="*/ 19 h 39"/>
                  <a:gd name="T10" fmla="*/ 0 w 17"/>
                  <a:gd name="T11" fmla="*/ 0 h 39"/>
                  <a:gd name="T12" fmla="*/ 0 w 17"/>
                  <a:gd name="T13" fmla="*/ 0 h 39"/>
                  <a:gd name="T14" fmla="*/ 2 w 17"/>
                  <a:gd name="T15" fmla="*/ 19 h 39"/>
                  <a:gd name="T16" fmla="*/ 2 w 17"/>
                  <a:gd name="T17" fmla="*/ 21 h 39"/>
                  <a:gd name="T18" fmla="*/ 3 w 17"/>
                  <a:gd name="T19" fmla="*/ 39 h 39"/>
                  <a:gd name="T20" fmla="*/ 17 w 17"/>
                  <a:gd name="T21" fmla="*/ 15 h 39"/>
                  <a:gd name="T22" fmla="*/ 17 w 17"/>
                  <a:gd name="T23" fmla="*/ 15 h 39"/>
                  <a:gd name="T24" fmla="*/ 0 w 17"/>
                  <a:gd name="T25" fmla="*/ 0 h 39"/>
                  <a:gd name="T26" fmla="*/ 0 w 17"/>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0" y="19"/>
                    </a:moveTo>
                    <a:cubicBezTo>
                      <a:pt x="10" y="19"/>
                      <a:pt x="10" y="19"/>
                      <a:pt x="10" y="19"/>
                    </a:cubicBezTo>
                    <a:cubicBezTo>
                      <a:pt x="10" y="19"/>
                      <a:pt x="10" y="19"/>
                      <a:pt x="10" y="19"/>
                    </a:cubicBezTo>
                    <a:cubicBezTo>
                      <a:pt x="10" y="19"/>
                      <a:pt x="10" y="19"/>
                      <a:pt x="10" y="21"/>
                    </a:cubicBezTo>
                    <a:cubicBezTo>
                      <a:pt x="10" y="19"/>
                      <a:pt x="10" y="19"/>
                      <a:pt x="10" y="19"/>
                    </a:cubicBezTo>
                    <a:moveTo>
                      <a:pt x="0" y="0"/>
                    </a:moveTo>
                    <a:cubicBezTo>
                      <a:pt x="0" y="0"/>
                      <a:pt x="0" y="0"/>
                      <a:pt x="0" y="0"/>
                    </a:cubicBezTo>
                    <a:cubicBezTo>
                      <a:pt x="2" y="19"/>
                      <a:pt x="2" y="19"/>
                      <a:pt x="2" y="19"/>
                    </a:cubicBezTo>
                    <a:cubicBezTo>
                      <a:pt x="2" y="21"/>
                      <a:pt x="2" y="21"/>
                      <a:pt x="2" y="21"/>
                    </a:cubicBezTo>
                    <a:cubicBezTo>
                      <a:pt x="2" y="24"/>
                      <a:pt x="2" y="32"/>
                      <a:pt x="3" y="39"/>
                    </a:cubicBezTo>
                    <a:cubicBezTo>
                      <a:pt x="5" y="33"/>
                      <a:pt x="9" y="23"/>
                      <a:pt x="17" y="15"/>
                    </a:cubicBezTo>
                    <a:cubicBezTo>
                      <a:pt x="17" y="15"/>
                      <a:pt x="17" y="15"/>
                      <a:pt x="17" y="15"/>
                    </a:cubicBezTo>
                    <a:cubicBezTo>
                      <a:pt x="7" y="10"/>
                      <a:pt x="1" y="2"/>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2" name="Freeform 1424">
                <a:extLst>
                  <a:ext uri="{FF2B5EF4-FFF2-40B4-BE49-F238E27FC236}">
                    <a16:creationId xmlns:a16="http://schemas.microsoft.com/office/drawing/2014/main" id="{D3CF0196-901C-4B15-BA6F-A5BAD49F73B1}"/>
                  </a:ext>
                </a:extLst>
              </p:cNvPr>
              <p:cNvSpPr>
                <a:spLocks/>
              </p:cNvSpPr>
              <p:nvPr/>
            </p:nvSpPr>
            <p:spPr bwMode="auto">
              <a:xfrm>
                <a:off x="17279938" y="1045671"/>
                <a:ext cx="17462" cy="22225"/>
              </a:xfrm>
              <a:custGeom>
                <a:avLst/>
                <a:gdLst>
                  <a:gd name="T0" fmla="*/ 7 w 12"/>
                  <a:gd name="T1" fmla="*/ 0 h 15"/>
                  <a:gd name="T2" fmla="*/ 7 w 12"/>
                  <a:gd name="T3" fmla="*/ 0 h 15"/>
                  <a:gd name="T4" fmla="*/ 6 w 12"/>
                  <a:gd name="T5" fmla="*/ 0 h 15"/>
                  <a:gd name="T6" fmla="*/ 4 w 12"/>
                  <a:gd name="T7" fmla="*/ 1 h 15"/>
                  <a:gd name="T8" fmla="*/ 0 w 12"/>
                  <a:gd name="T9" fmla="*/ 9 h 15"/>
                  <a:gd name="T10" fmla="*/ 6 w 12"/>
                  <a:gd name="T11" fmla="*/ 15 h 15"/>
                  <a:gd name="T12" fmla="*/ 12 w 12"/>
                  <a:gd name="T13" fmla="*/ 1 h 15"/>
                  <a:gd name="T14" fmla="*/ 12 w 12"/>
                  <a:gd name="T15" fmla="*/ 1 h 15"/>
                  <a:gd name="T16" fmla="*/ 12 w 12"/>
                  <a:gd name="T17" fmla="*/ 1 h 15"/>
                  <a:gd name="T18" fmla="*/ 12 w 12"/>
                  <a:gd name="T19" fmla="*/ 1 h 15"/>
                  <a:gd name="T20" fmla="*/ 11 w 12"/>
                  <a:gd name="T21" fmla="*/ 1 h 15"/>
                  <a:gd name="T22" fmla="*/ 7 w 12"/>
                  <a:gd name="T23" fmla="*/ 0 h 15"/>
                  <a:gd name="T24" fmla="*/ 7 w 12"/>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5">
                    <a:moveTo>
                      <a:pt x="7" y="0"/>
                    </a:moveTo>
                    <a:cubicBezTo>
                      <a:pt x="7" y="0"/>
                      <a:pt x="7" y="0"/>
                      <a:pt x="7" y="0"/>
                    </a:cubicBezTo>
                    <a:cubicBezTo>
                      <a:pt x="6" y="0"/>
                      <a:pt x="6" y="0"/>
                      <a:pt x="6" y="0"/>
                    </a:cubicBezTo>
                    <a:cubicBezTo>
                      <a:pt x="6" y="0"/>
                      <a:pt x="5" y="0"/>
                      <a:pt x="4" y="1"/>
                    </a:cubicBezTo>
                    <a:cubicBezTo>
                      <a:pt x="0" y="9"/>
                      <a:pt x="0" y="9"/>
                      <a:pt x="0" y="9"/>
                    </a:cubicBezTo>
                    <a:cubicBezTo>
                      <a:pt x="2" y="11"/>
                      <a:pt x="4" y="13"/>
                      <a:pt x="6" y="15"/>
                    </a:cubicBezTo>
                    <a:cubicBezTo>
                      <a:pt x="7" y="9"/>
                      <a:pt x="8" y="4"/>
                      <a:pt x="12" y="1"/>
                    </a:cubicBezTo>
                    <a:cubicBezTo>
                      <a:pt x="12" y="1"/>
                      <a:pt x="12" y="1"/>
                      <a:pt x="12" y="1"/>
                    </a:cubicBezTo>
                    <a:cubicBezTo>
                      <a:pt x="12" y="1"/>
                      <a:pt x="12" y="1"/>
                      <a:pt x="12" y="1"/>
                    </a:cubicBezTo>
                    <a:cubicBezTo>
                      <a:pt x="12" y="1"/>
                      <a:pt x="12" y="1"/>
                      <a:pt x="12" y="1"/>
                    </a:cubicBezTo>
                    <a:cubicBezTo>
                      <a:pt x="12" y="1"/>
                      <a:pt x="11" y="1"/>
                      <a:pt x="11" y="1"/>
                    </a:cubicBezTo>
                    <a:cubicBezTo>
                      <a:pt x="10" y="1"/>
                      <a:pt x="8" y="0"/>
                      <a:pt x="7" y="0"/>
                    </a:cubicBezTo>
                    <a:cubicBezTo>
                      <a:pt x="7" y="0"/>
                      <a:pt x="7" y="0"/>
                      <a:pt x="7"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3" name="Freeform 1425">
                <a:extLst>
                  <a:ext uri="{FF2B5EF4-FFF2-40B4-BE49-F238E27FC236}">
                    <a16:creationId xmlns:a16="http://schemas.microsoft.com/office/drawing/2014/main" id="{95ABBE2C-4585-4B9D-B171-420871C01183}"/>
                  </a:ext>
                </a:extLst>
              </p:cNvPr>
              <p:cNvSpPr>
                <a:spLocks noEditPoints="1"/>
              </p:cNvSpPr>
              <p:nvPr/>
            </p:nvSpPr>
            <p:spPr bwMode="auto">
              <a:xfrm>
                <a:off x="17345025" y="1017096"/>
                <a:ext cx="0" cy="3175"/>
              </a:xfrm>
              <a:custGeom>
                <a:avLst/>
                <a:gdLst>
                  <a:gd name="T0" fmla="*/ 0 h 2"/>
                  <a:gd name="T1" fmla="*/ 2 h 2"/>
                  <a:gd name="T2" fmla="*/ 0 h 2"/>
                  <a:gd name="T3" fmla="*/ 0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2"/>
                      <a:pt x="0" y="2"/>
                      <a:pt x="0" y="2"/>
                    </a:cubicBezTo>
                    <a:cubicBezTo>
                      <a:pt x="0" y="0"/>
                      <a:pt x="0" y="0"/>
                      <a:pt x="0" y="0"/>
                    </a:cubicBezTo>
                    <a:moveTo>
                      <a:pt x="0" y="0"/>
                    </a:moveTo>
                    <a:cubicBezTo>
                      <a:pt x="0" y="0"/>
                      <a:pt x="0" y="0"/>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4" name="Freeform 1426">
                <a:extLst>
                  <a:ext uri="{FF2B5EF4-FFF2-40B4-BE49-F238E27FC236}">
                    <a16:creationId xmlns:a16="http://schemas.microsoft.com/office/drawing/2014/main" id="{EF7DBEB4-3267-458A-82F9-539C77287C26}"/>
                  </a:ext>
                </a:extLst>
              </p:cNvPr>
              <p:cNvSpPr>
                <a:spLocks/>
              </p:cNvSpPr>
              <p:nvPr/>
            </p:nvSpPr>
            <p:spPr bwMode="auto">
              <a:xfrm>
                <a:off x="17238663" y="871046"/>
                <a:ext cx="241300" cy="298450"/>
              </a:xfrm>
              <a:custGeom>
                <a:avLst/>
                <a:gdLst>
                  <a:gd name="T0" fmla="*/ 81 w 163"/>
                  <a:gd name="T1" fmla="*/ 4 h 203"/>
                  <a:gd name="T2" fmla="*/ 0 w 163"/>
                  <a:gd name="T3" fmla="*/ 155 h 203"/>
                  <a:gd name="T4" fmla="*/ 155 w 163"/>
                  <a:gd name="T5" fmla="*/ 202 h 203"/>
                  <a:gd name="T6" fmla="*/ 162 w 163"/>
                  <a:gd name="T7" fmla="*/ 198 h 203"/>
                  <a:gd name="T8" fmla="*/ 158 w 163"/>
                  <a:gd name="T9" fmla="*/ 191 h 203"/>
                  <a:gd name="T10" fmla="*/ 17 w 163"/>
                  <a:gd name="T11" fmla="*/ 148 h 203"/>
                  <a:gd name="T12" fmla="*/ 92 w 163"/>
                  <a:gd name="T13" fmla="*/ 9 h 203"/>
                  <a:gd name="T14" fmla="*/ 89 w 163"/>
                  <a:gd name="T15" fmla="*/ 1 h 203"/>
                  <a:gd name="T16" fmla="*/ 81 w 163"/>
                  <a:gd name="T17" fmla="*/ 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81" y="4"/>
                    </a:moveTo>
                    <a:cubicBezTo>
                      <a:pt x="0" y="155"/>
                      <a:pt x="0" y="155"/>
                      <a:pt x="0" y="155"/>
                    </a:cubicBezTo>
                    <a:cubicBezTo>
                      <a:pt x="155" y="202"/>
                      <a:pt x="155" y="202"/>
                      <a:pt x="155" y="202"/>
                    </a:cubicBezTo>
                    <a:cubicBezTo>
                      <a:pt x="158" y="203"/>
                      <a:pt x="161" y="201"/>
                      <a:pt x="162" y="198"/>
                    </a:cubicBezTo>
                    <a:cubicBezTo>
                      <a:pt x="163" y="195"/>
                      <a:pt x="162" y="192"/>
                      <a:pt x="158" y="191"/>
                    </a:cubicBezTo>
                    <a:cubicBezTo>
                      <a:pt x="17" y="148"/>
                      <a:pt x="17" y="148"/>
                      <a:pt x="17" y="148"/>
                    </a:cubicBezTo>
                    <a:cubicBezTo>
                      <a:pt x="92" y="9"/>
                      <a:pt x="92" y="9"/>
                      <a:pt x="92" y="9"/>
                    </a:cubicBezTo>
                    <a:cubicBezTo>
                      <a:pt x="93" y="7"/>
                      <a:pt x="92" y="3"/>
                      <a:pt x="89" y="1"/>
                    </a:cubicBezTo>
                    <a:cubicBezTo>
                      <a:pt x="86" y="0"/>
                      <a:pt x="83" y="1"/>
                      <a:pt x="81" y="4"/>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5" name="Freeform 1427">
                <a:extLst>
                  <a:ext uri="{FF2B5EF4-FFF2-40B4-BE49-F238E27FC236}">
                    <a16:creationId xmlns:a16="http://schemas.microsoft.com/office/drawing/2014/main" id="{B4A2D9DB-C51F-4EEE-BFE6-478057E9DC15}"/>
                  </a:ext>
                </a:extLst>
              </p:cNvPr>
              <p:cNvSpPr>
                <a:spLocks/>
              </p:cNvSpPr>
              <p:nvPr/>
            </p:nvSpPr>
            <p:spPr bwMode="auto">
              <a:xfrm>
                <a:off x="17202150" y="1048846"/>
                <a:ext cx="96837" cy="95250"/>
              </a:xfrm>
              <a:custGeom>
                <a:avLst/>
                <a:gdLst>
                  <a:gd name="T0" fmla="*/ 65 w 65"/>
                  <a:gd name="T1" fmla="*/ 32 h 65"/>
                  <a:gd name="T2" fmla="*/ 33 w 65"/>
                  <a:gd name="T3" fmla="*/ 65 h 65"/>
                  <a:gd name="T4" fmla="*/ 0 w 65"/>
                  <a:gd name="T5" fmla="*/ 33 h 65"/>
                  <a:gd name="T6" fmla="*/ 32 w 65"/>
                  <a:gd name="T7" fmla="*/ 0 h 65"/>
                  <a:gd name="T8" fmla="*/ 65 w 65"/>
                  <a:gd name="T9" fmla="*/ 32 h 65"/>
                </a:gdLst>
                <a:ahLst/>
                <a:cxnLst>
                  <a:cxn ang="0">
                    <a:pos x="T0" y="T1"/>
                  </a:cxn>
                  <a:cxn ang="0">
                    <a:pos x="T2" y="T3"/>
                  </a:cxn>
                  <a:cxn ang="0">
                    <a:pos x="T4" y="T5"/>
                  </a:cxn>
                  <a:cxn ang="0">
                    <a:pos x="T6" y="T7"/>
                  </a:cxn>
                  <a:cxn ang="0">
                    <a:pos x="T8" y="T9"/>
                  </a:cxn>
                </a:cxnLst>
                <a:rect l="0" t="0" r="r" b="b"/>
                <a:pathLst>
                  <a:path w="65" h="65">
                    <a:moveTo>
                      <a:pt x="65" y="32"/>
                    </a:moveTo>
                    <a:cubicBezTo>
                      <a:pt x="65" y="50"/>
                      <a:pt x="51" y="64"/>
                      <a:pt x="33" y="65"/>
                    </a:cubicBezTo>
                    <a:cubicBezTo>
                      <a:pt x="15" y="65"/>
                      <a:pt x="0" y="51"/>
                      <a:pt x="0" y="33"/>
                    </a:cubicBezTo>
                    <a:cubicBezTo>
                      <a:pt x="0" y="15"/>
                      <a:pt x="14" y="0"/>
                      <a:pt x="32" y="0"/>
                    </a:cubicBezTo>
                    <a:cubicBezTo>
                      <a:pt x="50" y="0"/>
                      <a:pt x="64" y="14"/>
                      <a:pt x="65" y="3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6" name="Freeform 1428">
                <a:extLst>
                  <a:ext uri="{FF2B5EF4-FFF2-40B4-BE49-F238E27FC236}">
                    <a16:creationId xmlns:a16="http://schemas.microsoft.com/office/drawing/2014/main" id="{A66F6C98-9DB2-4B26-AE9A-785639D2EE82}"/>
                  </a:ext>
                </a:extLst>
              </p:cNvPr>
              <p:cNvSpPr>
                <a:spLocks/>
              </p:cNvSpPr>
              <p:nvPr/>
            </p:nvSpPr>
            <p:spPr bwMode="auto">
              <a:xfrm>
                <a:off x="17216438" y="1061546"/>
                <a:ext cx="68262" cy="68262"/>
              </a:xfrm>
              <a:custGeom>
                <a:avLst/>
                <a:gdLst>
                  <a:gd name="T0" fmla="*/ 46 w 46"/>
                  <a:gd name="T1" fmla="*/ 23 h 46"/>
                  <a:gd name="T2" fmla="*/ 24 w 46"/>
                  <a:gd name="T3" fmla="*/ 46 h 46"/>
                  <a:gd name="T4" fmla="*/ 0 w 46"/>
                  <a:gd name="T5" fmla="*/ 24 h 46"/>
                  <a:gd name="T6" fmla="*/ 23 w 46"/>
                  <a:gd name="T7" fmla="*/ 1 h 46"/>
                  <a:gd name="T8" fmla="*/ 46 w 46"/>
                  <a:gd name="T9" fmla="*/ 23 h 46"/>
                </a:gdLst>
                <a:ahLst/>
                <a:cxnLst>
                  <a:cxn ang="0">
                    <a:pos x="T0" y="T1"/>
                  </a:cxn>
                  <a:cxn ang="0">
                    <a:pos x="T2" y="T3"/>
                  </a:cxn>
                  <a:cxn ang="0">
                    <a:pos x="T4" y="T5"/>
                  </a:cxn>
                  <a:cxn ang="0">
                    <a:pos x="T6" y="T7"/>
                  </a:cxn>
                  <a:cxn ang="0">
                    <a:pos x="T8" y="T9"/>
                  </a:cxn>
                </a:cxnLst>
                <a:rect l="0" t="0" r="r" b="b"/>
                <a:pathLst>
                  <a:path w="46" h="46">
                    <a:moveTo>
                      <a:pt x="46" y="23"/>
                    </a:moveTo>
                    <a:cubicBezTo>
                      <a:pt x="46" y="36"/>
                      <a:pt x="36" y="46"/>
                      <a:pt x="24" y="46"/>
                    </a:cubicBezTo>
                    <a:cubicBezTo>
                      <a:pt x="11" y="46"/>
                      <a:pt x="1" y="36"/>
                      <a:pt x="0" y="24"/>
                    </a:cubicBezTo>
                    <a:cubicBezTo>
                      <a:pt x="0" y="11"/>
                      <a:pt x="10" y="1"/>
                      <a:pt x="23" y="1"/>
                    </a:cubicBezTo>
                    <a:cubicBezTo>
                      <a:pt x="35" y="0"/>
                      <a:pt x="46" y="10"/>
                      <a:pt x="46"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7" name="Freeform 1429">
                <a:extLst>
                  <a:ext uri="{FF2B5EF4-FFF2-40B4-BE49-F238E27FC236}">
                    <a16:creationId xmlns:a16="http://schemas.microsoft.com/office/drawing/2014/main" id="{0D4A9BFB-0C09-4C51-B9E6-675A93784303}"/>
                  </a:ext>
                </a:extLst>
              </p:cNvPr>
              <p:cNvSpPr>
                <a:spLocks noEditPoints="1"/>
              </p:cNvSpPr>
              <p:nvPr/>
            </p:nvSpPr>
            <p:spPr bwMode="auto">
              <a:xfrm>
                <a:off x="17249775" y="1129809"/>
                <a:ext cx="1587" cy="0"/>
              </a:xfrm>
              <a:custGeom>
                <a:avLst/>
                <a:gdLst>
                  <a:gd name="T0" fmla="*/ 0 w 1"/>
                  <a:gd name="T1" fmla="*/ 0 w 1"/>
                  <a:gd name="T2" fmla="*/ 0 w 1"/>
                  <a:gd name="T3" fmla="*/ 0 w 1"/>
                  <a:gd name="T4" fmla="*/ 1 w 1"/>
                  <a:gd name="T5" fmla="*/ 1 w 1"/>
                  <a:gd name="T6" fmla="*/ 1 w 1"/>
                  <a:gd name="T7" fmla="*/ 1 w 1"/>
                  <a:gd name="T8" fmla="*/ 1 w 1"/>
                  <a:gd name="T9" fmla="*/ 1 w 1"/>
                  <a:gd name="T10" fmla="*/ 1 w 1"/>
                  <a:gd name="T11" fmla="*/ 1 w 1"/>
                  <a:gd name="T12" fmla="*/ 1 w 1"/>
                  <a:gd name="T13" fmla="*/ 1 w 1"/>
                  <a:gd name="T14" fmla="*/ 1 w 1"/>
                  <a:gd name="T15" fmla="*/ 1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0" y="0"/>
                    </a:moveTo>
                    <a:cubicBezTo>
                      <a:pt x="0" y="0"/>
                      <a:pt x="0" y="0"/>
                      <a:pt x="0" y="0"/>
                    </a:cubicBez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8" name="Freeform 1430">
                <a:extLst>
                  <a:ext uri="{FF2B5EF4-FFF2-40B4-BE49-F238E27FC236}">
                    <a16:creationId xmlns:a16="http://schemas.microsoft.com/office/drawing/2014/main" id="{13D25FE8-3EAB-4965-8D30-2670DA5C006F}"/>
                  </a:ext>
                </a:extLst>
              </p:cNvPr>
              <p:cNvSpPr>
                <a:spLocks/>
              </p:cNvSpPr>
              <p:nvPr/>
            </p:nvSpPr>
            <p:spPr bwMode="auto">
              <a:xfrm>
                <a:off x="17216438" y="1074246"/>
                <a:ext cx="57150" cy="55562"/>
              </a:xfrm>
              <a:custGeom>
                <a:avLst/>
                <a:gdLst>
                  <a:gd name="T0" fmla="*/ 7 w 39"/>
                  <a:gd name="T1" fmla="*/ 0 h 38"/>
                  <a:gd name="T2" fmla="*/ 0 w 39"/>
                  <a:gd name="T3" fmla="*/ 16 h 38"/>
                  <a:gd name="T4" fmla="*/ 23 w 39"/>
                  <a:gd name="T5" fmla="*/ 38 h 38"/>
                  <a:gd name="T6" fmla="*/ 23 w 39"/>
                  <a:gd name="T7" fmla="*/ 38 h 38"/>
                  <a:gd name="T8" fmla="*/ 24 w 39"/>
                  <a:gd name="T9" fmla="*/ 38 h 38"/>
                  <a:gd name="T10" fmla="*/ 24 w 39"/>
                  <a:gd name="T11" fmla="*/ 38 h 38"/>
                  <a:gd name="T12" fmla="*/ 24 w 39"/>
                  <a:gd name="T13" fmla="*/ 38 h 38"/>
                  <a:gd name="T14" fmla="*/ 24 w 39"/>
                  <a:gd name="T15" fmla="*/ 38 h 38"/>
                  <a:gd name="T16" fmla="*/ 24 w 39"/>
                  <a:gd name="T17" fmla="*/ 38 h 38"/>
                  <a:gd name="T18" fmla="*/ 24 w 39"/>
                  <a:gd name="T19" fmla="*/ 38 h 38"/>
                  <a:gd name="T20" fmla="*/ 24 w 39"/>
                  <a:gd name="T21" fmla="*/ 38 h 38"/>
                  <a:gd name="T22" fmla="*/ 24 w 39"/>
                  <a:gd name="T23" fmla="*/ 38 h 38"/>
                  <a:gd name="T24" fmla="*/ 24 w 39"/>
                  <a:gd name="T25" fmla="*/ 38 h 38"/>
                  <a:gd name="T26" fmla="*/ 24 w 39"/>
                  <a:gd name="T27" fmla="*/ 38 h 38"/>
                  <a:gd name="T28" fmla="*/ 24 w 39"/>
                  <a:gd name="T29" fmla="*/ 38 h 38"/>
                  <a:gd name="T30" fmla="*/ 39 w 39"/>
                  <a:gd name="T31" fmla="*/ 32 h 38"/>
                  <a:gd name="T32" fmla="*/ 7 w 39"/>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8">
                    <a:moveTo>
                      <a:pt x="7" y="0"/>
                    </a:moveTo>
                    <a:cubicBezTo>
                      <a:pt x="3" y="4"/>
                      <a:pt x="0" y="9"/>
                      <a:pt x="0" y="16"/>
                    </a:cubicBezTo>
                    <a:cubicBezTo>
                      <a:pt x="1" y="28"/>
                      <a:pt x="11" y="38"/>
                      <a:pt x="23" y="38"/>
                    </a:cubicBezTo>
                    <a:cubicBezTo>
                      <a:pt x="23" y="38"/>
                      <a:pt x="23" y="38"/>
                      <a:pt x="23" y="38"/>
                    </a:cubicBezTo>
                    <a:cubicBezTo>
                      <a:pt x="23" y="38"/>
                      <a:pt x="23"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30" y="38"/>
                      <a:pt x="35" y="35"/>
                      <a:pt x="39" y="32"/>
                    </a:cubicBezTo>
                    <a:cubicBezTo>
                      <a:pt x="7" y="0"/>
                      <a:pt x="7" y="0"/>
                      <a:pt x="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9" name="Freeform 1431">
                <a:extLst>
                  <a:ext uri="{FF2B5EF4-FFF2-40B4-BE49-F238E27FC236}">
                    <a16:creationId xmlns:a16="http://schemas.microsoft.com/office/drawing/2014/main" id="{AFB2416F-630A-41C3-B53B-CD43D0D9A150}"/>
                  </a:ext>
                </a:extLst>
              </p:cNvPr>
              <p:cNvSpPr>
                <a:spLocks/>
              </p:cNvSpPr>
              <p:nvPr/>
            </p:nvSpPr>
            <p:spPr bwMode="auto">
              <a:xfrm>
                <a:off x="17373600" y="1042496"/>
                <a:ext cx="20637" cy="20637"/>
              </a:xfrm>
              <a:custGeom>
                <a:avLst/>
                <a:gdLst>
                  <a:gd name="T0" fmla="*/ 6 w 15"/>
                  <a:gd name="T1" fmla="*/ 1 h 15"/>
                  <a:gd name="T2" fmla="*/ 4 w 15"/>
                  <a:gd name="T3" fmla="*/ 2 h 15"/>
                  <a:gd name="T4" fmla="*/ 1 w 15"/>
                  <a:gd name="T5" fmla="*/ 9 h 15"/>
                  <a:gd name="T6" fmla="*/ 2 w 15"/>
                  <a:gd name="T7" fmla="*/ 12 h 15"/>
                  <a:gd name="T8" fmla="*/ 9 w 15"/>
                  <a:gd name="T9" fmla="*/ 14 h 15"/>
                  <a:gd name="T10" fmla="*/ 14 w 15"/>
                  <a:gd name="T11" fmla="*/ 6 h 15"/>
                  <a:gd name="T12" fmla="*/ 6 w 15"/>
                  <a:gd name="T13" fmla="*/ 1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6" y="1"/>
                    </a:moveTo>
                    <a:cubicBezTo>
                      <a:pt x="5" y="1"/>
                      <a:pt x="5" y="1"/>
                      <a:pt x="4" y="2"/>
                    </a:cubicBezTo>
                    <a:cubicBezTo>
                      <a:pt x="2" y="3"/>
                      <a:pt x="0" y="6"/>
                      <a:pt x="1" y="9"/>
                    </a:cubicBezTo>
                    <a:cubicBezTo>
                      <a:pt x="1" y="10"/>
                      <a:pt x="2" y="11"/>
                      <a:pt x="2" y="12"/>
                    </a:cubicBezTo>
                    <a:cubicBezTo>
                      <a:pt x="4" y="14"/>
                      <a:pt x="6" y="15"/>
                      <a:pt x="9" y="14"/>
                    </a:cubicBezTo>
                    <a:cubicBezTo>
                      <a:pt x="13" y="13"/>
                      <a:pt x="15" y="10"/>
                      <a:pt x="14" y="6"/>
                    </a:cubicBezTo>
                    <a:cubicBezTo>
                      <a:pt x="14" y="2"/>
                      <a:pt x="10" y="0"/>
                      <a:pt x="6"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0" name="Freeform 1432">
                <a:extLst>
                  <a:ext uri="{FF2B5EF4-FFF2-40B4-BE49-F238E27FC236}">
                    <a16:creationId xmlns:a16="http://schemas.microsoft.com/office/drawing/2014/main" id="{C113E6AA-5ED0-4534-9FA3-50C926EED5F7}"/>
                  </a:ext>
                </a:extLst>
              </p:cNvPr>
              <p:cNvSpPr>
                <a:spLocks noEditPoints="1"/>
              </p:cNvSpPr>
              <p:nvPr/>
            </p:nvSpPr>
            <p:spPr bwMode="auto">
              <a:xfrm>
                <a:off x="16495713" y="1131396"/>
                <a:ext cx="1138237" cy="909637"/>
              </a:xfrm>
              <a:custGeom>
                <a:avLst/>
                <a:gdLst>
                  <a:gd name="T0" fmla="*/ 524 w 769"/>
                  <a:gd name="T1" fmla="*/ 319 h 618"/>
                  <a:gd name="T2" fmla="*/ 530 w 769"/>
                  <a:gd name="T3" fmla="*/ 324 h 618"/>
                  <a:gd name="T4" fmla="*/ 548 w 769"/>
                  <a:gd name="T5" fmla="*/ 340 h 618"/>
                  <a:gd name="T6" fmla="*/ 564 w 769"/>
                  <a:gd name="T7" fmla="*/ 357 h 618"/>
                  <a:gd name="T8" fmla="*/ 594 w 769"/>
                  <a:gd name="T9" fmla="*/ 385 h 618"/>
                  <a:gd name="T10" fmla="*/ 613 w 769"/>
                  <a:gd name="T11" fmla="*/ 399 h 618"/>
                  <a:gd name="T12" fmla="*/ 630 w 769"/>
                  <a:gd name="T13" fmla="*/ 416 h 618"/>
                  <a:gd name="T14" fmla="*/ 664 w 769"/>
                  <a:gd name="T15" fmla="*/ 450 h 618"/>
                  <a:gd name="T16" fmla="*/ 669 w 769"/>
                  <a:gd name="T17" fmla="*/ 456 h 618"/>
                  <a:gd name="T18" fmla="*/ 686 w 769"/>
                  <a:gd name="T19" fmla="*/ 474 h 618"/>
                  <a:gd name="T20" fmla="*/ 700 w 769"/>
                  <a:gd name="T21" fmla="*/ 493 h 618"/>
                  <a:gd name="T22" fmla="*/ 725 w 769"/>
                  <a:gd name="T23" fmla="*/ 524 h 618"/>
                  <a:gd name="T24" fmla="*/ 742 w 769"/>
                  <a:gd name="T25" fmla="*/ 542 h 618"/>
                  <a:gd name="T26" fmla="*/ 765 w 769"/>
                  <a:gd name="T27" fmla="*/ 584 h 618"/>
                  <a:gd name="T28" fmla="*/ 769 w 769"/>
                  <a:gd name="T29" fmla="*/ 600 h 618"/>
                  <a:gd name="T30" fmla="*/ 746 w 769"/>
                  <a:gd name="T31" fmla="*/ 618 h 618"/>
                  <a:gd name="T32" fmla="*/ 746 w 769"/>
                  <a:gd name="T33" fmla="*/ 618 h 618"/>
                  <a:gd name="T34" fmla="*/ 699 w 769"/>
                  <a:gd name="T35" fmla="*/ 606 h 618"/>
                  <a:gd name="T36" fmla="*/ 691 w 769"/>
                  <a:gd name="T37" fmla="*/ 604 h 618"/>
                  <a:gd name="T38" fmla="*/ 670 w 769"/>
                  <a:gd name="T39" fmla="*/ 592 h 618"/>
                  <a:gd name="T40" fmla="*/ 635 w 769"/>
                  <a:gd name="T41" fmla="*/ 574 h 618"/>
                  <a:gd name="T42" fmla="*/ 612 w 769"/>
                  <a:gd name="T43" fmla="*/ 564 h 618"/>
                  <a:gd name="T44" fmla="*/ 592 w 769"/>
                  <a:gd name="T45" fmla="*/ 552 h 618"/>
                  <a:gd name="T46" fmla="*/ 551 w 769"/>
                  <a:gd name="T47" fmla="*/ 527 h 618"/>
                  <a:gd name="T48" fmla="*/ 531 w 769"/>
                  <a:gd name="T49" fmla="*/ 514 h 618"/>
                  <a:gd name="T50" fmla="*/ 524 w 769"/>
                  <a:gd name="T51" fmla="*/ 509 h 618"/>
                  <a:gd name="T52" fmla="*/ 505 w 769"/>
                  <a:gd name="T53" fmla="*/ 494 h 618"/>
                  <a:gd name="T54" fmla="*/ 472 w 769"/>
                  <a:gd name="T55" fmla="*/ 471 h 618"/>
                  <a:gd name="T56" fmla="*/ 451 w 769"/>
                  <a:gd name="T57" fmla="*/ 459 h 618"/>
                  <a:gd name="T58" fmla="*/ 432 w 769"/>
                  <a:gd name="T59" fmla="*/ 445 h 618"/>
                  <a:gd name="T60" fmla="*/ 393 w 769"/>
                  <a:gd name="T61" fmla="*/ 417 h 618"/>
                  <a:gd name="T62" fmla="*/ 387 w 769"/>
                  <a:gd name="T63" fmla="*/ 412 h 618"/>
                  <a:gd name="T64" fmla="*/ 369 w 769"/>
                  <a:gd name="T65" fmla="*/ 395 h 618"/>
                  <a:gd name="T66" fmla="*/ 351 w 769"/>
                  <a:gd name="T67" fmla="*/ 380 h 618"/>
                  <a:gd name="T68" fmla="*/ 332 w 769"/>
                  <a:gd name="T69" fmla="*/ 366 h 618"/>
                  <a:gd name="T70" fmla="*/ 301 w 769"/>
                  <a:gd name="T71" fmla="*/ 340 h 618"/>
                  <a:gd name="T72" fmla="*/ 281 w 769"/>
                  <a:gd name="T73" fmla="*/ 327 h 618"/>
                  <a:gd name="T74" fmla="*/ 244 w 769"/>
                  <a:gd name="T75" fmla="*/ 296 h 618"/>
                  <a:gd name="T76" fmla="*/ 238 w 769"/>
                  <a:gd name="T77" fmla="*/ 290 h 618"/>
                  <a:gd name="T78" fmla="*/ 222 w 769"/>
                  <a:gd name="T79" fmla="*/ 273 h 618"/>
                  <a:gd name="T80" fmla="*/ 204 w 769"/>
                  <a:gd name="T81" fmla="*/ 257 h 618"/>
                  <a:gd name="T82" fmla="*/ 186 w 769"/>
                  <a:gd name="T83" fmla="*/ 241 h 618"/>
                  <a:gd name="T84" fmla="*/ 157 w 769"/>
                  <a:gd name="T85" fmla="*/ 213 h 618"/>
                  <a:gd name="T86" fmla="*/ 138 w 769"/>
                  <a:gd name="T87" fmla="*/ 198 h 618"/>
                  <a:gd name="T88" fmla="*/ 121 w 769"/>
                  <a:gd name="T89" fmla="*/ 181 h 618"/>
                  <a:gd name="T90" fmla="*/ 88 w 769"/>
                  <a:gd name="T91" fmla="*/ 146 h 618"/>
                  <a:gd name="T92" fmla="*/ 82 w 769"/>
                  <a:gd name="T93" fmla="*/ 141 h 618"/>
                  <a:gd name="T94" fmla="*/ 68 w 769"/>
                  <a:gd name="T95" fmla="*/ 121 h 618"/>
                  <a:gd name="T96" fmla="*/ 43 w 769"/>
                  <a:gd name="T97" fmla="*/ 90 h 618"/>
                  <a:gd name="T98" fmla="*/ 27 w 769"/>
                  <a:gd name="T99" fmla="*/ 72 h 618"/>
                  <a:gd name="T100" fmla="*/ 14 w 769"/>
                  <a:gd name="T101" fmla="*/ 52 h 618"/>
                  <a:gd name="T102" fmla="*/ 2 w 769"/>
                  <a:gd name="T103" fmla="*/ 6 h 618"/>
                  <a:gd name="T104" fmla="*/ 2 w 769"/>
                  <a:gd name="T105" fmla="*/ 6 h 618"/>
                  <a:gd name="T106" fmla="*/ 25 w 769"/>
                  <a:gd name="T107" fmla="*/ 3 h 618"/>
                  <a:gd name="T108" fmla="*/ 49 w 769"/>
                  <a:gd name="T109" fmla="*/ 6 h 618"/>
                  <a:gd name="T110" fmla="*/ 94 w 769"/>
                  <a:gd name="T111" fmla="*/ 23 h 618"/>
                  <a:gd name="T112" fmla="*/ 101 w 769"/>
                  <a:gd name="T113" fmla="*/ 26 h 618"/>
                  <a:gd name="T114" fmla="*/ 122 w 769"/>
                  <a:gd name="T115" fmla="*/ 38 h 618"/>
                  <a:gd name="T116" fmla="*/ 158 w 769"/>
                  <a:gd name="T117" fmla="*/ 56 h 618"/>
                  <a:gd name="T118" fmla="*/ 180 w 769"/>
                  <a:gd name="T119" fmla="*/ 6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9" h="618">
                    <a:moveTo>
                      <a:pt x="506" y="303"/>
                    </a:moveTo>
                    <a:cubicBezTo>
                      <a:pt x="499" y="296"/>
                      <a:pt x="499" y="296"/>
                      <a:pt x="499" y="296"/>
                    </a:cubicBezTo>
                    <a:cubicBezTo>
                      <a:pt x="498" y="298"/>
                      <a:pt x="498" y="298"/>
                      <a:pt x="498" y="298"/>
                    </a:cubicBezTo>
                    <a:cubicBezTo>
                      <a:pt x="504" y="304"/>
                      <a:pt x="504" y="304"/>
                      <a:pt x="504" y="304"/>
                    </a:cubicBezTo>
                    <a:cubicBezTo>
                      <a:pt x="506" y="303"/>
                      <a:pt x="506" y="303"/>
                      <a:pt x="506" y="303"/>
                    </a:cubicBezTo>
                    <a:moveTo>
                      <a:pt x="524" y="319"/>
                    </a:moveTo>
                    <a:cubicBezTo>
                      <a:pt x="520" y="315"/>
                      <a:pt x="516" y="312"/>
                      <a:pt x="512" y="308"/>
                    </a:cubicBezTo>
                    <a:cubicBezTo>
                      <a:pt x="510" y="310"/>
                      <a:pt x="510" y="310"/>
                      <a:pt x="510" y="310"/>
                    </a:cubicBezTo>
                    <a:cubicBezTo>
                      <a:pt x="514" y="313"/>
                      <a:pt x="518" y="317"/>
                      <a:pt x="522" y="320"/>
                    </a:cubicBezTo>
                    <a:cubicBezTo>
                      <a:pt x="524" y="319"/>
                      <a:pt x="524" y="319"/>
                      <a:pt x="524" y="319"/>
                    </a:cubicBezTo>
                    <a:moveTo>
                      <a:pt x="542" y="334"/>
                    </a:moveTo>
                    <a:cubicBezTo>
                      <a:pt x="538" y="331"/>
                      <a:pt x="534" y="327"/>
                      <a:pt x="530" y="324"/>
                    </a:cubicBezTo>
                    <a:cubicBezTo>
                      <a:pt x="528" y="326"/>
                      <a:pt x="528" y="326"/>
                      <a:pt x="528" y="326"/>
                    </a:cubicBezTo>
                    <a:cubicBezTo>
                      <a:pt x="532" y="329"/>
                      <a:pt x="536" y="333"/>
                      <a:pt x="540" y="336"/>
                    </a:cubicBezTo>
                    <a:cubicBezTo>
                      <a:pt x="542" y="334"/>
                      <a:pt x="542" y="334"/>
                      <a:pt x="542" y="334"/>
                    </a:cubicBezTo>
                    <a:cubicBezTo>
                      <a:pt x="542" y="334"/>
                      <a:pt x="542" y="334"/>
                      <a:pt x="542" y="334"/>
                    </a:cubicBezTo>
                    <a:moveTo>
                      <a:pt x="560" y="350"/>
                    </a:moveTo>
                    <a:cubicBezTo>
                      <a:pt x="556" y="347"/>
                      <a:pt x="552" y="343"/>
                      <a:pt x="548" y="340"/>
                    </a:cubicBezTo>
                    <a:cubicBezTo>
                      <a:pt x="546" y="341"/>
                      <a:pt x="546" y="341"/>
                      <a:pt x="546" y="341"/>
                    </a:cubicBezTo>
                    <a:cubicBezTo>
                      <a:pt x="550" y="345"/>
                      <a:pt x="554" y="349"/>
                      <a:pt x="558" y="352"/>
                    </a:cubicBezTo>
                    <a:cubicBezTo>
                      <a:pt x="560" y="350"/>
                      <a:pt x="560" y="350"/>
                      <a:pt x="560" y="350"/>
                    </a:cubicBezTo>
                    <a:moveTo>
                      <a:pt x="578" y="366"/>
                    </a:moveTo>
                    <a:cubicBezTo>
                      <a:pt x="574" y="363"/>
                      <a:pt x="570" y="359"/>
                      <a:pt x="566" y="356"/>
                    </a:cubicBezTo>
                    <a:cubicBezTo>
                      <a:pt x="564" y="357"/>
                      <a:pt x="564" y="357"/>
                      <a:pt x="564" y="357"/>
                    </a:cubicBezTo>
                    <a:cubicBezTo>
                      <a:pt x="568" y="361"/>
                      <a:pt x="572" y="365"/>
                      <a:pt x="576" y="368"/>
                    </a:cubicBezTo>
                    <a:cubicBezTo>
                      <a:pt x="578" y="366"/>
                      <a:pt x="578" y="366"/>
                      <a:pt x="578" y="366"/>
                    </a:cubicBezTo>
                    <a:moveTo>
                      <a:pt x="595" y="383"/>
                    </a:moveTo>
                    <a:cubicBezTo>
                      <a:pt x="591" y="379"/>
                      <a:pt x="588" y="376"/>
                      <a:pt x="584" y="372"/>
                    </a:cubicBezTo>
                    <a:cubicBezTo>
                      <a:pt x="582" y="374"/>
                      <a:pt x="582" y="374"/>
                      <a:pt x="582" y="374"/>
                    </a:cubicBezTo>
                    <a:cubicBezTo>
                      <a:pt x="586" y="377"/>
                      <a:pt x="590" y="381"/>
                      <a:pt x="594" y="385"/>
                    </a:cubicBezTo>
                    <a:cubicBezTo>
                      <a:pt x="595" y="383"/>
                      <a:pt x="595" y="383"/>
                      <a:pt x="595" y="383"/>
                    </a:cubicBezTo>
                    <a:moveTo>
                      <a:pt x="613" y="399"/>
                    </a:moveTo>
                    <a:cubicBezTo>
                      <a:pt x="609" y="396"/>
                      <a:pt x="605" y="392"/>
                      <a:pt x="601" y="388"/>
                    </a:cubicBezTo>
                    <a:cubicBezTo>
                      <a:pt x="600" y="390"/>
                      <a:pt x="600" y="390"/>
                      <a:pt x="600" y="390"/>
                    </a:cubicBezTo>
                    <a:cubicBezTo>
                      <a:pt x="603" y="394"/>
                      <a:pt x="607" y="397"/>
                      <a:pt x="611" y="401"/>
                    </a:cubicBezTo>
                    <a:cubicBezTo>
                      <a:pt x="613" y="399"/>
                      <a:pt x="613" y="399"/>
                      <a:pt x="613" y="399"/>
                    </a:cubicBezTo>
                    <a:moveTo>
                      <a:pt x="630" y="416"/>
                    </a:moveTo>
                    <a:cubicBezTo>
                      <a:pt x="626" y="412"/>
                      <a:pt x="622" y="409"/>
                      <a:pt x="619" y="405"/>
                    </a:cubicBezTo>
                    <a:cubicBezTo>
                      <a:pt x="617" y="407"/>
                      <a:pt x="617" y="407"/>
                      <a:pt x="617" y="407"/>
                    </a:cubicBezTo>
                    <a:cubicBezTo>
                      <a:pt x="621" y="410"/>
                      <a:pt x="625" y="414"/>
                      <a:pt x="628" y="418"/>
                    </a:cubicBezTo>
                    <a:cubicBezTo>
                      <a:pt x="630" y="416"/>
                      <a:pt x="630" y="416"/>
                      <a:pt x="630" y="416"/>
                    </a:cubicBezTo>
                    <a:cubicBezTo>
                      <a:pt x="630" y="416"/>
                      <a:pt x="630" y="416"/>
                      <a:pt x="630" y="416"/>
                    </a:cubicBezTo>
                    <a:moveTo>
                      <a:pt x="647" y="433"/>
                    </a:moveTo>
                    <a:cubicBezTo>
                      <a:pt x="643" y="429"/>
                      <a:pt x="640" y="426"/>
                      <a:pt x="636" y="422"/>
                    </a:cubicBezTo>
                    <a:cubicBezTo>
                      <a:pt x="634" y="423"/>
                      <a:pt x="634" y="423"/>
                      <a:pt x="634" y="423"/>
                    </a:cubicBezTo>
                    <a:cubicBezTo>
                      <a:pt x="638" y="427"/>
                      <a:pt x="642" y="431"/>
                      <a:pt x="645" y="435"/>
                    </a:cubicBezTo>
                    <a:cubicBezTo>
                      <a:pt x="647" y="433"/>
                      <a:pt x="647" y="433"/>
                      <a:pt x="647" y="433"/>
                    </a:cubicBezTo>
                    <a:moveTo>
                      <a:pt x="664" y="450"/>
                    </a:moveTo>
                    <a:cubicBezTo>
                      <a:pt x="660" y="446"/>
                      <a:pt x="656" y="443"/>
                      <a:pt x="653" y="439"/>
                    </a:cubicBezTo>
                    <a:cubicBezTo>
                      <a:pt x="651" y="440"/>
                      <a:pt x="651" y="440"/>
                      <a:pt x="651" y="440"/>
                    </a:cubicBezTo>
                    <a:cubicBezTo>
                      <a:pt x="655" y="444"/>
                      <a:pt x="658" y="448"/>
                      <a:pt x="662" y="452"/>
                    </a:cubicBezTo>
                    <a:cubicBezTo>
                      <a:pt x="664" y="450"/>
                      <a:pt x="664" y="450"/>
                      <a:pt x="664" y="450"/>
                    </a:cubicBezTo>
                    <a:moveTo>
                      <a:pt x="680" y="468"/>
                    </a:moveTo>
                    <a:cubicBezTo>
                      <a:pt x="677" y="464"/>
                      <a:pt x="673" y="460"/>
                      <a:pt x="669" y="456"/>
                    </a:cubicBezTo>
                    <a:cubicBezTo>
                      <a:pt x="668" y="458"/>
                      <a:pt x="668" y="458"/>
                      <a:pt x="668" y="458"/>
                    </a:cubicBezTo>
                    <a:cubicBezTo>
                      <a:pt x="671" y="462"/>
                      <a:pt x="675" y="466"/>
                      <a:pt x="678" y="469"/>
                    </a:cubicBezTo>
                    <a:cubicBezTo>
                      <a:pt x="680" y="468"/>
                      <a:pt x="680" y="468"/>
                      <a:pt x="680" y="468"/>
                    </a:cubicBezTo>
                    <a:cubicBezTo>
                      <a:pt x="680" y="468"/>
                      <a:pt x="680" y="468"/>
                      <a:pt x="680" y="468"/>
                    </a:cubicBezTo>
                    <a:moveTo>
                      <a:pt x="696" y="486"/>
                    </a:moveTo>
                    <a:cubicBezTo>
                      <a:pt x="693" y="482"/>
                      <a:pt x="689" y="478"/>
                      <a:pt x="686" y="474"/>
                    </a:cubicBezTo>
                    <a:cubicBezTo>
                      <a:pt x="684" y="475"/>
                      <a:pt x="684" y="475"/>
                      <a:pt x="684" y="475"/>
                    </a:cubicBezTo>
                    <a:cubicBezTo>
                      <a:pt x="688" y="479"/>
                      <a:pt x="691" y="483"/>
                      <a:pt x="695" y="487"/>
                    </a:cubicBezTo>
                    <a:cubicBezTo>
                      <a:pt x="696" y="486"/>
                      <a:pt x="696" y="486"/>
                      <a:pt x="696" y="486"/>
                    </a:cubicBezTo>
                    <a:moveTo>
                      <a:pt x="712" y="504"/>
                    </a:moveTo>
                    <a:cubicBezTo>
                      <a:pt x="709" y="500"/>
                      <a:pt x="705" y="496"/>
                      <a:pt x="702" y="492"/>
                    </a:cubicBezTo>
                    <a:cubicBezTo>
                      <a:pt x="700" y="493"/>
                      <a:pt x="700" y="493"/>
                      <a:pt x="700" y="493"/>
                    </a:cubicBezTo>
                    <a:cubicBezTo>
                      <a:pt x="703" y="497"/>
                      <a:pt x="707" y="501"/>
                      <a:pt x="710" y="505"/>
                    </a:cubicBezTo>
                    <a:cubicBezTo>
                      <a:pt x="712" y="504"/>
                      <a:pt x="712" y="504"/>
                      <a:pt x="712" y="504"/>
                    </a:cubicBezTo>
                    <a:moveTo>
                      <a:pt x="727" y="522"/>
                    </a:moveTo>
                    <a:cubicBezTo>
                      <a:pt x="724" y="518"/>
                      <a:pt x="721" y="514"/>
                      <a:pt x="717" y="510"/>
                    </a:cubicBezTo>
                    <a:cubicBezTo>
                      <a:pt x="715" y="511"/>
                      <a:pt x="715" y="511"/>
                      <a:pt x="715" y="511"/>
                    </a:cubicBezTo>
                    <a:cubicBezTo>
                      <a:pt x="719" y="516"/>
                      <a:pt x="722" y="520"/>
                      <a:pt x="725" y="524"/>
                    </a:cubicBezTo>
                    <a:cubicBezTo>
                      <a:pt x="727" y="522"/>
                      <a:pt x="727" y="522"/>
                      <a:pt x="727" y="522"/>
                    </a:cubicBezTo>
                    <a:moveTo>
                      <a:pt x="742" y="542"/>
                    </a:moveTo>
                    <a:cubicBezTo>
                      <a:pt x="739" y="538"/>
                      <a:pt x="735" y="533"/>
                      <a:pt x="732" y="529"/>
                    </a:cubicBezTo>
                    <a:cubicBezTo>
                      <a:pt x="730" y="530"/>
                      <a:pt x="730" y="530"/>
                      <a:pt x="730" y="530"/>
                    </a:cubicBezTo>
                    <a:cubicBezTo>
                      <a:pt x="734" y="535"/>
                      <a:pt x="737" y="539"/>
                      <a:pt x="740" y="543"/>
                    </a:cubicBezTo>
                    <a:cubicBezTo>
                      <a:pt x="742" y="542"/>
                      <a:pt x="742" y="542"/>
                      <a:pt x="742" y="542"/>
                    </a:cubicBezTo>
                    <a:moveTo>
                      <a:pt x="755" y="562"/>
                    </a:moveTo>
                    <a:cubicBezTo>
                      <a:pt x="752" y="558"/>
                      <a:pt x="749" y="553"/>
                      <a:pt x="746" y="548"/>
                    </a:cubicBezTo>
                    <a:cubicBezTo>
                      <a:pt x="744" y="550"/>
                      <a:pt x="744" y="550"/>
                      <a:pt x="744" y="550"/>
                    </a:cubicBezTo>
                    <a:cubicBezTo>
                      <a:pt x="747" y="554"/>
                      <a:pt x="750" y="559"/>
                      <a:pt x="753" y="563"/>
                    </a:cubicBezTo>
                    <a:cubicBezTo>
                      <a:pt x="755" y="562"/>
                      <a:pt x="755" y="562"/>
                      <a:pt x="755" y="562"/>
                    </a:cubicBezTo>
                    <a:moveTo>
                      <a:pt x="765" y="584"/>
                    </a:moveTo>
                    <a:cubicBezTo>
                      <a:pt x="764" y="579"/>
                      <a:pt x="761" y="574"/>
                      <a:pt x="759" y="569"/>
                    </a:cubicBezTo>
                    <a:cubicBezTo>
                      <a:pt x="756" y="570"/>
                      <a:pt x="756" y="570"/>
                      <a:pt x="756" y="570"/>
                    </a:cubicBezTo>
                    <a:cubicBezTo>
                      <a:pt x="759" y="575"/>
                      <a:pt x="761" y="580"/>
                      <a:pt x="763" y="585"/>
                    </a:cubicBezTo>
                    <a:cubicBezTo>
                      <a:pt x="765" y="584"/>
                      <a:pt x="765" y="584"/>
                      <a:pt x="765" y="584"/>
                    </a:cubicBezTo>
                    <a:moveTo>
                      <a:pt x="767" y="608"/>
                    </a:moveTo>
                    <a:cubicBezTo>
                      <a:pt x="768" y="606"/>
                      <a:pt x="769" y="603"/>
                      <a:pt x="769" y="600"/>
                    </a:cubicBezTo>
                    <a:cubicBezTo>
                      <a:pt x="769" y="597"/>
                      <a:pt x="768" y="595"/>
                      <a:pt x="768" y="592"/>
                    </a:cubicBezTo>
                    <a:cubicBezTo>
                      <a:pt x="765" y="592"/>
                      <a:pt x="765" y="592"/>
                      <a:pt x="765" y="592"/>
                    </a:cubicBezTo>
                    <a:cubicBezTo>
                      <a:pt x="766" y="595"/>
                      <a:pt x="766" y="598"/>
                      <a:pt x="766" y="600"/>
                    </a:cubicBezTo>
                    <a:cubicBezTo>
                      <a:pt x="766" y="603"/>
                      <a:pt x="766" y="605"/>
                      <a:pt x="765" y="607"/>
                    </a:cubicBezTo>
                    <a:cubicBezTo>
                      <a:pt x="767" y="608"/>
                      <a:pt x="767" y="608"/>
                      <a:pt x="767" y="608"/>
                    </a:cubicBezTo>
                    <a:moveTo>
                      <a:pt x="746" y="618"/>
                    </a:moveTo>
                    <a:cubicBezTo>
                      <a:pt x="746" y="618"/>
                      <a:pt x="746" y="618"/>
                      <a:pt x="746" y="618"/>
                    </a:cubicBezTo>
                    <a:cubicBezTo>
                      <a:pt x="753" y="618"/>
                      <a:pt x="758" y="617"/>
                      <a:pt x="762" y="615"/>
                    </a:cubicBezTo>
                    <a:cubicBezTo>
                      <a:pt x="760" y="613"/>
                      <a:pt x="760" y="613"/>
                      <a:pt x="760" y="613"/>
                    </a:cubicBezTo>
                    <a:cubicBezTo>
                      <a:pt x="757" y="615"/>
                      <a:pt x="752" y="616"/>
                      <a:pt x="746" y="616"/>
                    </a:cubicBezTo>
                    <a:cubicBezTo>
                      <a:pt x="746" y="616"/>
                      <a:pt x="746" y="616"/>
                      <a:pt x="746" y="616"/>
                    </a:cubicBezTo>
                    <a:cubicBezTo>
                      <a:pt x="746" y="618"/>
                      <a:pt x="746" y="618"/>
                      <a:pt x="746" y="618"/>
                    </a:cubicBezTo>
                    <a:moveTo>
                      <a:pt x="722" y="614"/>
                    </a:moveTo>
                    <a:cubicBezTo>
                      <a:pt x="727" y="616"/>
                      <a:pt x="733" y="617"/>
                      <a:pt x="737" y="617"/>
                    </a:cubicBezTo>
                    <a:cubicBezTo>
                      <a:pt x="738" y="615"/>
                      <a:pt x="738" y="615"/>
                      <a:pt x="738" y="615"/>
                    </a:cubicBezTo>
                    <a:cubicBezTo>
                      <a:pt x="733" y="614"/>
                      <a:pt x="728" y="613"/>
                      <a:pt x="722" y="612"/>
                    </a:cubicBezTo>
                    <a:cubicBezTo>
                      <a:pt x="722" y="614"/>
                      <a:pt x="722" y="614"/>
                      <a:pt x="722" y="614"/>
                    </a:cubicBezTo>
                    <a:moveTo>
                      <a:pt x="699" y="606"/>
                    </a:moveTo>
                    <a:cubicBezTo>
                      <a:pt x="704" y="609"/>
                      <a:pt x="709" y="610"/>
                      <a:pt x="714" y="612"/>
                    </a:cubicBezTo>
                    <a:cubicBezTo>
                      <a:pt x="715" y="610"/>
                      <a:pt x="715" y="610"/>
                      <a:pt x="715" y="610"/>
                    </a:cubicBezTo>
                    <a:cubicBezTo>
                      <a:pt x="710" y="608"/>
                      <a:pt x="705" y="606"/>
                      <a:pt x="700" y="604"/>
                    </a:cubicBezTo>
                    <a:cubicBezTo>
                      <a:pt x="699" y="606"/>
                      <a:pt x="699" y="606"/>
                      <a:pt x="699" y="606"/>
                    </a:cubicBezTo>
                    <a:moveTo>
                      <a:pt x="677" y="597"/>
                    </a:moveTo>
                    <a:cubicBezTo>
                      <a:pt x="682" y="599"/>
                      <a:pt x="687" y="602"/>
                      <a:pt x="691" y="604"/>
                    </a:cubicBezTo>
                    <a:cubicBezTo>
                      <a:pt x="692" y="601"/>
                      <a:pt x="692" y="601"/>
                      <a:pt x="692" y="601"/>
                    </a:cubicBezTo>
                    <a:cubicBezTo>
                      <a:pt x="687" y="599"/>
                      <a:pt x="683" y="597"/>
                      <a:pt x="678" y="595"/>
                    </a:cubicBezTo>
                    <a:cubicBezTo>
                      <a:pt x="677" y="597"/>
                      <a:pt x="677" y="597"/>
                      <a:pt x="677" y="597"/>
                    </a:cubicBezTo>
                    <a:moveTo>
                      <a:pt x="655" y="587"/>
                    </a:moveTo>
                    <a:cubicBezTo>
                      <a:pt x="660" y="589"/>
                      <a:pt x="665" y="592"/>
                      <a:pt x="669" y="594"/>
                    </a:cubicBezTo>
                    <a:cubicBezTo>
                      <a:pt x="670" y="592"/>
                      <a:pt x="670" y="592"/>
                      <a:pt x="670" y="592"/>
                    </a:cubicBezTo>
                    <a:cubicBezTo>
                      <a:pt x="666" y="589"/>
                      <a:pt x="661" y="587"/>
                      <a:pt x="656" y="585"/>
                    </a:cubicBezTo>
                    <a:cubicBezTo>
                      <a:pt x="655" y="587"/>
                      <a:pt x="655" y="587"/>
                      <a:pt x="655" y="587"/>
                    </a:cubicBezTo>
                    <a:moveTo>
                      <a:pt x="634" y="576"/>
                    </a:moveTo>
                    <a:cubicBezTo>
                      <a:pt x="638" y="578"/>
                      <a:pt x="643" y="581"/>
                      <a:pt x="648" y="583"/>
                    </a:cubicBezTo>
                    <a:cubicBezTo>
                      <a:pt x="649" y="581"/>
                      <a:pt x="649" y="581"/>
                      <a:pt x="649" y="581"/>
                    </a:cubicBezTo>
                    <a:cubicBezTo>
                      <a:pt x="644" y="579"/>
                      <a:pt x="639" y="576"/>
                      <a:pt x="635" y="574"/>
                    </a:cubicBezTo>
                    <a:cubicBezTo>
                      <a:pt x="634" y="576"/>
                      <a:pt x="634" y="576"/>
                      <a:pt x="634" y="576"/>
                    </a:cubicBezTo>
                    <a:moveTo>
                      <a:pt x="612" y="564"/>
                    </a:moveTo>
                    <a:cubicBezTo>
                      <a:pt x="617" y="567"/>
                      <a:pt x="622" y="569"/>
                      <a:pt x="626" y="572"/>
                    </a:cubicBezTo>
                    <a:cubicBezTo>
                      <a:pt x="628" y="570"/>
                      <a:pt x="628" y="570"/>
                      <a:pt x="628" y="570"/>
                    </a:cubicBezTo>
                    <a:cubicBezTo>
                      <a:pt x="623" y="567"/>
                      <a:pt x="618" y="565"/>
                      <a:pt x="614" y="562"/>
                    </a:cubicBezTo>
                    <a:cubicBezTo>
                      <a:pt x="612" y="564"/>
                      <a:pt x="612" y="564"/>
                      <a:pt x="612" y="564"/>
                    </a:cubicBezTo>
                    <a:moveTo>
                      <a:pt x="592" y="552"/>
                    </a:moveTo>
                    <a:cubicBezTo>
                      <a:pt x="596" y="555"/>
                      <a:pt x="601" y="557"/>
                      <a:pt x="606" y="560"/>
                    </a:cubicBezTo>
                    <a:cubicBezTo>
                      <a:pt x="607" y="558"/>
                      <a:pt x="607" y="558"/>
                      <a:pt x="607" y="558"/>
                    </a:cubicBezTo>
                    <a:cubicBezTo>
                      <a:pt x="602" y="555"/>
                      <a:pt x="598" y="553"/>
                      <a:pt x="593" y="550"/>
                    </a:cubicBezTo>
                    <a:cubicBezTo>
                      <a:pt x="592" y="552"/>
                      <a:pt x="592" y="552"/>
                      <a:pt x="592" y="552"/>
                    </a:cubicBezTo>
                    <a:cubicBezTo>
                      <a:pt x="592" y="552"/>
                      <a:pt x="592" y="552"/>
                      <a:pt x="592" y="552"/>
                    </a:cubicBezTo>
                    <a:moveTo>
                      <a:pt x="571" y="540"/>
                    </a:moveTo>
                    <a:cubicBezTo>
                      <a:pt x="576" y="542"/>
                      <a:pt x="580" y="545"/>
                      <a:pt x="585" y="548"/>
                    </a:cubicBezTo>
                    <a:cubicBezTo>
                      <a:pt x="586" y="546"/>
                      <a:pt x="586" y="546"/>
                      <a:pt x="586" y="546"/>
                    </a:cubicBezTo>
                    <a:cubicBezTo>
                      <a:pt x="582" y="543"/>
                      <a:pt x="577" y="540"/>
                      <a:pt x="572" y="537"/>
                    </a:cubicBezTo>
                    <a:cubicBezTo>
                      <a:pt x="571" y="540"/>
                      <a:pt x="571" y="540"/>
                      <a:pt x="571" y="540"/>
                    </a:cubicBezTo>
                    <a:moveTo>
                      <a:pt x="551" y="527"/>
                    </a:moveTo>
                    <a:cubicBezTo>
                      <a:pt x="555" y="530"/>
                      <a:pt x="560" y="533"/>
                      <a:pt x="564" y="535"/>
                    </a:cubicBezTo>
                    <a:cubicBezTo>
                      <a:pt x="566" y="533"/>
                      <a:pt x="566" y="533"/>
                      <a:pt x="566" y="533"/>
                    </a:cubicBezTo>
                    <a:cubicBezTo>
                      <a:pt x="561" y="530"/>
                      <a:pt x="557" y="528"/>
                      <a:pt x="552" y="525"/>
                    </a:cubicBezTo>
                    <a:cubicBezTo>
                      <a:pt x="551" y="527"/>
                      <a:pt x="551" y="527"/>
                      <a:pt x="551" y="527"/>
                    </a:cubicBezTo>
                    <a:cubicBezTo>
                      <a:pt x="551" y="527"/>
                      <a:pt x="551" y="527"/>
                      <a:pt x="551" y="527"/>
                    </a:cubicBezTo>
                    <a:moveTo>
                      <a:pt x="531" y="514"/>
                    </a:moveTo>
                    <a:cubicBezTo>
                      <a:pt x="535" y="517"/>
                      <a:pt x="540" y="520"/>
                      <a:pt x="544" y="522"/>
                    </a:cubicBezTo>
                    <a:cubicBezTo>
                      <a:pt x="545" y="520"/>
                      <a:pt x="545" y="520"/>
                      <a:pt x="545" y="520"/>
                    </a:cubicBezTo>
                    <a:cubicBezTo>
                      <a:pt x="541" y="518"/>
                      <a:pt x="536" y="515"/>
                      <a:pt x="532" y="512"/>
                    </a:cubicBezTo>
                    <a:cubicBezTo>
                      <a:pt x="531" y="514"/>
                      <a:pt x="531" y="514"/>
                      <a:pt x="531" y="514"/>
                    </a:cubicBezTo>
                    <a:moveTo>
                      <a:pt x="511" y="500"/>
                    </a:moveTo>
                    <a:cubicBezTo>
                      <a:pt x="515" y="503"/>
                      <a:pt x="520" y="506"/>
                      <a:pt x="524" y="509"/>
                    </a:cubicBezTo>
                    <a:cubicBezTo>
                      <a:pt x="525" y="507"/>
                      <a:pt x="525" y="507"/>
                      <a:pt x="525" y="507"/>
                    </a:cubicBezTo>
                    <a:cubicBezTo>
                      <a:pt x="521" y="504"/>
                      <a:pt x="516" y="501"/>
                      <a:pt x="512" y="498"/>
                    </a:cubicBezTo>
                    <a:cubicBezTo>
                      <a:pt x="511" y="500"/>
                      <a:pt x="511" y="500"/>
                      <a:pt x="511" y="500"/>
                    </a:cubicBezTo>
                    <a:moveTo>
                      <a:pt x="491" y="487"/>
                    </a:moveTo>
                    <a:cubicBezTo>
                      <a:pt x="495" y="490"/>
                      <a:pt x="500" y="493"/>
                      <a:pt x="504" y="496"/>
                    </a:cubicBezTo>
                    <a:cubicBezTo>
                      <a:pt x="505" y="494"/>
                      <a:pt x="505" y="494"/>
                      <a:pt x="505" y="494"/>
                    </a:cubicBezTo>
                    <a:cubicBezTo>
                      <a:pt x="501" y="491"/>
                      <a:pt x="497" y="488"/>
                      <a:pt x="492" y="485"/>
                    </a:cubicBezTo>
                    <a:cubicBezTo>
                      <a:pt x="491" y="487"/>
                      <a:pt x="491" y="487"/>
                      <a:pt x="491" y="487"/>
                    </a:cubicBezTo>
                    <a:moveTo>
                      <a:pt x="471" y="473"/>
                    </a:moveTo>
                    <a:cubicBezTo>
                      <a:pt x="475" y="476"/>
                      <a:pt x="480" y="479"/>
                      <a:pt x="484" y="482"/>
                    </a:cubicBezTo>
                    <a:cubicBezTo>
                      <a:pt x="485" y="480"/>
                      <a:pt x="485" y="480"/>
                      <a:pt x="485" y="480"/>
                    </a:cubicBezTo>
                    <a:cubicBezTo>
                      <a:pt x="481" y="477"/>
                      <a:pt x="477" y="474"/>
                      <a:pt x="472" y="471"/>
                    </a:cubicBezTo>
                    <a:cubicBezTo>
                      <a:pt x="471" y="473"/>
                      <a:pt x="471" y="473"/>
                      <a:pt x="471" y="473"/>
                    </a:cubicBezTo>
                    <a:moveTo>
                      <a:pt x="451" y="459"/>
                    </a:moveTo>
                    <a:cubicBezTo>
                      <a:pt x="456" y="462"/>
                      <a:pt x="460" y="466"/>
                      <a:pt x="464" y="469"/>
                    </a:cubicBezTo>
                    <a:cubicBezTo>
                      <a:pt x="466" y="467"/>
                      <a:pt x="466" y="467"/>
                      <a:pt x="466" y="467"/>
                    </a:cubicBezTo>
                    <a:cubicBezTo>
                      <a:pt x="462" y="464"/>
                      <a:pt x="457" y="461"/>
                      <a:pt x="453" y="457"/>
                    </a:cubicBezTo>
                    <a:cubicBezTo>
                      <a:pt x="451" y="459"/>
                      <a:pt x="451" y="459"/>
                      <a:pt x="451" y="459"/>
                    </a:cubicBezTo>
                    <a:cubicBezTo>
                      <a:pt x="451" y="459"/>
                      <a:pt x="451" y="459"/>
                      <a:pt x="451" y="459"/>
                    </a:cubicBezTo>
                    <a:moveTo>
                      <a:pt x="432" y="445"/>
                    </a:moveTo>
                    <a:cubicBezTo>
                      <a:pt x="436" y="448"/>
                      <a:pt x="441" y="452"/>
                      <a:pt x="445" y="455"/>
                    </a:cubicBezTo>
                    <a:cubicBezTo>
                      <a:pt x="446" y="453"/>
                      <a:pt x="446" y="453"/>
                      <a:pt x="446" y="453"/>
                    </a:cubicBezTo>
                    <a:cubicBezTo>
                      <a:pt x="442" y="450"/>
                      <a:pt x="438" y="447"/>
                      <a:pt x="433" y="443"/>
                    </a:cubicBezTo>
                    <a:cubicBezTo>
                      <a:pt x="432" y="445"/>
                      <a:pt x="432" y="445"/>
                      <a:pt x="432" y="445"/>
                    </a:cubicBezTo>
                    <a:moveTo>
                      <a:pt x="413" y="431"/>
                    </a:moveTo>
                    <a:cubicBezTo>
                      <a:pt x="417" y="434"/>
                      <a:pt x="421" y="437"/>
                      <a:pt x="426" y="441"/>
                    </a:cubicBezTo>
                    <a:cubicBezTo>
                      <a:pt x="427" y="439"/>
                      <a:pt x="427" y="439"/>
                      <a:pt x="427" y="439"/>
                    </a:cubicBezTo>
                    <a:cubicBezTo>
                      <a:pt x="423" y="435"/>
                      <a:pt x="418" y="432"/>
                      <a:pt x="414" y="429"/>
                    </a:cubicBezTo>
                    <a:cubicBezTo>
                      <a:pt x="413" y="431"/>
                      <a:pt x="413" y="431"/>
                      <a:pt x="413" y="431"/>
                    </a:cubicBezTo>
                    <a:moveTo>
                      <a:pt x="393" y="417"/>
                    </a:moveTo>
                    <a:cubicBezTo>
                      <a:pt x="398" y="420"/>
                      <a:pt x="402" y="423"/>
                      <a:pt x="406" y="426"/>
                    </a:cubicBezTo>
                    <a:cubicBezTo>
                      <a:pt x="408" y="424"/>
                      <a:pt x="408" y="424"/>
                      <a:pt x="408" y="424"/>
                    </a:cubicBezTo>
                    <a:cubicBezTo>
                      <a:pt x="403" y="421"/>
                      <a:pt x="399" y="418"/>
                      <a:pt x="395" y="415"/>
                    </a:cubicBezTo>
                    <a:cubicBezTo>
                      <a:pt x="393" y="417"/>
                      <a:pt x="393" y="417"/>
                      <a:pt x="393" y="417"/>
                    </a:cubicBezTo>
                    <a:moveTo>
                      <a:pt x="374" y="402"/>
                    </a:moveTo>
                    <a:cubicBezTo>
                      <a:pt x="379" y="405"/>
                      <a:pt x="383" y="409"/>
                      <a:pt x="387" y="412"/>
                    </a:cubicBezTo>
                    <a:cubicBezTo>
                      <a:pt x="389" y="410"/>
                      <a:pt x="389" y="410"/>
                      <a:pt x="389" y="410"/>
                    </a:cubicBezTo>
                    <a:cubicBezTo>
                      <a:pt x="384" y="407"/>
                      <a:pt x="380" y="403"/>
                      <a:pt x="376" y="400"/>
                    </a:cubicBezTo>
                    <a:cubicBezTo>
                      <a:pt x="374" y="402"/>
                      <a:pt x="374" y="402"/>
                      <a:pt x="374" y="402"/>
                    </a:cubicBezTo>
                    <a:moveTo>
                      <a:pt x="355" y="387"/>
                    </a:moveTo>
                    <a:cubicBezTo>
                      <a:pt x="360" y="391"/>
                      <a:pt x="364" y="394"/>
                      <a:pt x="368" y="397"/>
                    </a:cubicBezTo>
                    <a:cubicBezTo>
                      <a:pt x="369" y="395"/>
                      <a:pt x="369" y="395"/>
                      <a:pt x="369" y="395"/>
                    </a:cubicBezTo>
                    <a:cubicBezTo>
                      <a:pt x="365" y="392"/>
                      <a:pt x="361" y="389"/>
                      <a:pt x="357" y="385"/>
                    </a:cubicBezTo>
                    <a:cubicBezTo>
                      <a:pt x="355" y="387"/>
                      <a:pt x="355" y="387"/>
                      <a:pt x="355" y="387"/>
                    </a:cubicBezTo>
                    <a:moveTo>
                      <a:pt x="337" y="372"/>
                    </a:moveTo>
                    <a:cubicBezTo>
                      <a:pt x="338" y="374"/>
                      <a:pt x="340" y="375"/>
                      <a:pt x="342" y="377"/>
                    </a:cubicBezTo>
                    <a:cubicBezTo>
                      <a:pt x="344" y="379"/>
                      <a:pt x="347" y="380"/>
                      <a:pt x="349" y="382"/>
                    </a:cubicBezTo>
                    <a:cubicBezTo>
                      <a:pt x="351" y="380"/>
                      <a:pt x="351" y="380"/>
                      <a:pt x="351" y="380"/>
                    </a:cubicBezTo>
                    <a:cubicBezTo>
                      <a:pt x="348" y="379"/>
                      <a:pt x="346" y="377"/>
                      <a:pt x="343" y="375"/>
                    </a:cubicBezTo>
                    <a:cubicBezTo>
                      <a:pt x="342" y="373"/>
                      <a:pt x="340" y="372"/>
                      <a:pt x="338" y="371"/>
                    </a:cubicBezTo>
                    <a:cubicBezTo>
                      <a:pt x="337" y="372"/>
                      <a:pt x="337" y="372"/>
                      <a:pt x="337" y="372"/>
                    </a:cubicBezTo>
                    <a:moveTo>
                      <a:pt x="318" y="357"/>
                    </a:moveTo>
                    <a:cubicBezTo>
                      <a:pt x="322" y="361"/>
                      <a:pt x="326" y="364"/>
                      <a:pt x="330" y="367"/>
                    </a:cubicBezTo>
                    <a:cubicBezTo>
                      <a:pt x="332" y="366"/>
                      <a:pt x="332" y="366"/>
                      <a:pt x="332" y="366"/>
                    </a:cubicBezTo>
                    <a:cubicBezTo>
                      <a:pt x="328" y="362"/>
                      <a:pt x="323" y="359"/>
                      <a:pt x="319" y="355"/>
                    </a:cubicBezTo>
                    <a:cubicBezTo>
                      <a:pt x="318" y="357"/>
                      <a:pt x="318" y="357"/>
                      <a:pt x="318" y="357"/>
                    </a:cubicBezTo>
                    <a:moveTo>
                      <a:pt x="299" y="342"/>
                    </a:moveTo>
                    <a:cubicBezTo>
                      <a:pt x="303" y="346"/>
                      <a:pt x="307" y="349"/>
                      <a:pt x="312" y="352"/>
                    </a:cubicBezTo>
                    <a:cubicBezTo>
                      <a:pt x="313" y="350"/>
                      <a:pt x="313" y="350"/>
                      <a:pt x="313" y="350"/>
                    </a:cubicBezTo>
                    <a:cubicBezTo>
                      <a:pt x="309" y="347"/>
                      <a:pt x="305" y="344"/>
                      <a:pt x="301" y="340"/>
                    </a:cubicBezTo>
                    <a:cubicBezTo>
                      <a:pt x="299" y="342"/>
                      <a:pt x="299" y="342"/>
                      <a:pt x="299" y="342"/>
                    </a:cubicBezTo>
                    <a:moveTo>
                      <a:pt x="281" y="327"/>
                    </a:moveTo>
                    <a:cubicBezTo>
                      <a:pt x="285" y="330"/>
                      <a:pt x="289" y="334"/>
                      <a:pt x="293" y="337"/>
                    </a:cubicBezTo>
                    <a:cubicBezTo>
                      <a:pt x="295" y="335"/>
                      <a:pt x="295" y="335"/>
                      <a:pt x="295" y="335"/>
                    </a:cubicBezTo>
                    <a:cubicBezTo>
                      <a:pt x="290" y="332"/>
                      <a:pt x="286" y="328"/>
                      <a:pt x="282" y="325"/>
                    </a:cubicBezTo>
                    <a:cubicBezTo>
                      <a:pt x="281" y="327"/>
                      <a:pt x="281" y="327"/>
                      <a:pt x="281" y="327"/>
                    </a:cubicBezTo>
                    <a:moveTo>
                      <a:pt x="262" y="311"/>
                    </a:moveTo>
                    <a:cubicBezTo>
                      <a:pt x="266" y="315"/>
                      <a:pt x="271" y="318"/>
                      <a:pt x="275" y="322"/>
                    </a:cubicBezTo>
                    <a:cubicBezTo>
                      <a:pt x="276" y="320"/>
                      <a:pt x="276" y="320"/>
                      <a:pt x="276" y="320"/>
                    </a:cubicBezTo>
                    <a:cubicBezTo>
                      <a:pt x="272" y="316"/>
                      <a:pt x="268" y="313"/>
                      <a:pt x="264" y="310"/>
                    </a:cubicBezTo>
                    <a:cubicBezTo>
                      <a:pt x="262" y="311"/>
                      <a:pt x="262" y="311"/>
                      <a:pt x="262" y="311"/>
                    </a:cubicBezTo>
                    <a:moveTo>
                      <a:pt x="244" y="296"/>
                    </a:moveTo>
                    <a:cubicBezTo>
                      <a:pt x="248" y="299"/>
                      <a:pt x="252" y="303"/>
                      <a:pt x="256" y="306"/>
                    </a:cubicBezTo>
                    <a:cubicBezTo>
                      <a:pt x="258" y="304"/>
                      <a:pt x="258" y="304"/>
                      <a:pt x="258" y="304"/>
                    </a:cubicBezTo>
                    <a:cubicBezTo>
                      <a:pt x="254" y="301"/>
                      <a:pt x="250" y="297"/>
                      <a:pt x="246" y="294"/>
                    </a:cubicBezTo>
                    <a:cubicBezTo>
                      <a:pt x="244" y="296"/>
                      <a:pt x="244" y="296"/>
                      <a:pt x="244" y="296"/>
                    </a:cubicBezTo>
                    <a:moveTo>
                      <a:pt x="226" y="280"/>
                    </a:moveTo>
                    <a:cubicBezTo>
                      <a:pt x="230" y="283"/>
                      <a:pt x="234" y="287"/>
                      <a:pt x="238" y="290"/>
                    </a:cubicBezTo>
                    <a:cubicBezTo>
                      <a:pt x="240" y="289"/>
                      <a:pt x="240" y="289"/>
                      <a:pt x="240" y="289"/>
                    </a:cubicBezTo>
                    <a:cubicBezTo>
                      <a:pt x="236" y="285"/>
                      <a:pt x="232" y="282"/>
                      <a:pt x="228" y="278"/>
                    </a:cubicBezTo>
                    <a:cubicBezTo>
                      <a:pt x="226" y="280"/>
                      <a:pt x="226" y="280"/>
                      <a:pt x="226" y="280"/>
                    </a:cubicBezTo>
                    <a:moveTo>
                      <a:pt x="208" y="264"/>
                    </a:moveTo>
                    <a:cubicBezTo>
                      <a:pt x="212" y="267"/>
                      <a:pt x="216" y="271"/>
                      <a:pt x="220" y="275"/>
                    </a:cubicBezTo>
                    <a:cubicBezTo>
                      <a:pt x="222" y="273"/>
                      <a:pt x="222" y="273"/>
                      <a:pt x="222" y="273"/>
                    </a:cubicBezTo>
                    <a:cubicBezTo>
                      <a:pt x="218" y="269"/>
                      <a:pt x="214" y="266"/>
                      <a:pt x="210" y="262"/>
                    </a:cubicBezTo>
                    <a:cubicBezTo>
                      <a:pt x="208" y="264"/>
                      <a:pt x="208" y="264"/>
                      <a:pt x="208" y="264"/>
                    </a:cubicBezTo>
                    <a:cubicBezTo>
                      <a:pt x="208" y="264"/>
                      <a:pt x="208" y="264"/>
                      <a:pt x="208" y="264"/>
                    </a:cubicBezTo>
                    <a:moveTo>
                      <a:pt x="190" y="248"/>
                    </a:moveTo>
                    <a:cubicBezTo>
                      <a:pt x="194" y="251"/>
                      <a:pt x="198" y="255"/>
                      <a:pt x="202" y="259"/>
                    </a:cubicBezTo>
                    <a:cubicBezTo>
                      <a:pt x="204" y="257"/>
                      <a:pt x="204" y="257"/>
                      <a:pt x="204" y="257"/>
                    </a:cubicBezTo>
                    <a:cubicBezTo>
                      <a:pt x="200" y="253"/>
                      <a:pt x="196" y="250"/>
                      <a:pt x="192" y="246"/>
                    </a:cubicBezTo>
                    <a:cubicBezTo>
                      <a:pt x="190" y="248"/>
                      <a:pt x="190" y="248"/>
                      <a:pt x="190" y="248"/>
                    </a:cubicBezTo>
                    <a:cubicBezTo>
                      <a:pt x="190" y="248"/>
                      <a:pt x="190" y="248"/>
                      <a:pt x="190" y="248"/>
                    </a:cubicBezTo>
                    <a:moveTo>
                      <a:pt x="173" y="231"/>
                    </a:moveTo>
                    <a:cubicBezTo>
                      <a:pt x="177" y="235"/>
                      <a:pt x="181" y="239"/>
                      <a:pt x="185" y="242"/>
                    </a:cubicBezTo>
                    <a:cubicBezTo>
                      <a:pt x="186" y="241"/>
                      <a:pt x="186" y="241"/>
                      <a:pt x="186" y="241"/>
                    </a:cubicBezTo>
                    <a:cubicBezTo>
                      <a:pt x="182" y="237"/>
                      <a:pt x="178" y="233"/>
                      <a:pt x="174" y="230"/>
                    </a:cubicBezTo>
                    <a:cubicBezTo>
                      <a:pt x="173" y="231"/>
                      <a:pt x="173" y="231"/>
                      <a:pt x="173" y="231"/>
                    </a:cubicBezTo>
                    <a:moveTo>
                      <a:pt x="155" y="215"/>
                    </a:moveTo>
                    <a:cubicBezTo>
                      <a:pt x="159" y="219"/>
                      <a:pt x="163" y="222"/>
                      <a:pt x="167" y="226"/>
                    </a:cubicBezTo>
                    <a:cubicBezTo>
                      <a:pt x="169" y="224"/>
                      <a:pt x="169" y="224"/>
                      <a:pt x="169" y="224"/>
                    </a:cubicBezTo>
                    <a:cubicBezTo>
                      <a:pt x="165" y="220"/>
                      <a:pt x="161" y="217"/>
                      <a:pt x="157" y="213"/>
                    </a:cubicBezTo>
                    <a:cubicBezTo>
                      <a:pt x="155" y="215"/>
                      <a:pt x="155" y="215"/>
                      <a:pt x="155" y="215"/>
                    </a:cubicBezTo>
                    <a:moveTo>
                      <a:pt x="138" y="198"/>
                    </a:moveTo>
                    <a:cubicBezTo>
                      <a:pt x="142" y="202"/>
                      <a:pt x="146" y="206"/>
                      <a:pt x="150" y="209"/>
                    </a:cubicBezTo>
                    <a:cubicBezTo>
                      <a:pt x="151" y="208"/>
                      <a:pt x="151" y="208"/>
                      <a:pt x="151" y="208"/>
                    </a:cubicBezTo>
                    <a:cubicBezTo>
                      <a:pt x="147" y="204"/>
                      <a:pt x="144" y="200"/>
                      <a:pt x="140" y="196"/>
                    </a:cubicBezTo>
                    <a:cubicBezTo>
                      <a:pt x="138" y="198"/>
                      <a:pt x="138" y="198"/>
                      <a:pt x="138" y="198"/>
                    </a:cubicBezTo>
                    <a:moveTo>
                      <a:pt x="121" y="181"/>
                    </a:moveTo>
                    <a:cubicBezTo>
                      <a:pt x="125" y="185"/>
                      <a:pt x="129" y="189"/>
                      <a:pt x="132" y="193"/>
                    </a:cubicBezTo>
                    <a:cubicBezTo>
                      <a:pt x="134" y="191"/>
                      <a:pt x="134" y="191"/>
                      <a:pt x="134" y="191"/>
                    </a:cubicBezTo>
                    <a:cubicBezTo>
                      <a:pt x="130" y="187"/>
                      <a:pt x="127" y="183"/>
                      <a:pt x="123" y="179"/>
                    </a:cubicBezTo>
                    <a:cubicBezTo>
                      <a:pt x="121" y="181"/>
                      <a:pt x="121" y="181"/>
                      <a:pt x="121" y="181"/>
                    </a:cubicBezTo>
                    <a:cubicBezTo>
                      <a:pt x="121" y="181"/>
                      <a:pt x="121" y="181"/>
                      <a:pt x="121" y="181"/>
                    </a:cubicBezTo>
                    <a:moveTo>
                      <a:pt x="104" y="164"/>
                    </a:moveTo>
                    <a:cubicBezTo>
                      <a:pt x="108" y="168"/>
                      <a:pt x="112" y="172"/>
                      <a:pt x="116" y="175"/>
                    </a:cubicBezTo>
                    <a:cubicBezTo>
                      <a:pt x="117" y="174"/>
                      <a:pt x="117" y="174"/>
                      <a:pt x="117" y="174"/>
                    </a:cubicBezTo>
                    <a:cubicBezTo>
                      <a:pt x="113" y="170"/>
                      <a:pt x="110" y="166"/>
                      <a:pt x="106" y="162"/>
                    </a:cubicBezTo>
                    <a:cubicBezTo>
                      <a:pt x="104" y="164"/>
                      <a:pt x="104" y="164"/>
                      <a:pt x="104" y="164"/>
                    </a:cubicBezTo>
                    <a:moveTo>
                      <a:pt x="88" y="146"/>
                    </a:moveTo>
                    <a:cubicBezTo>
                      <a:pt x="91" y="150"/>
                      <a:pt x="95" y="154"/>
                      <a:pt x="99" y="158"/>
                    </a:cubicBezTo>
                    <a:cubicBezTo>
                      <a:pt x="101" y="157"/>
                      <a:pt x="101" y="157"/>
                      <a:pt x="101" y="157"/>
                    </a:cubicBezTo>
                    <a:cubicBezTo>
                      <a:pt x="97" y="153"/>
                      <a:pt x="93" y="149"/>
                      <a:pt x="90" y="145"/>
                    </a:cubicBezTo>
                    <a:cubicBezTo>
                      <a:pt x="88" y="146"/>
                      <a:pt x="88" y="146"/>
                      <a:pt x="88" y="146"/>
                    </a:cubicBezTo>
                    <a:moveTo>
                      <a:pt x="72" y="129"/>
                    </a:moveTo>
                    <a:cubicBezTo>
                      <a:pt x="75" y="133"/>
                      <a:pt x="79" y="137"/>
                      <a:pt x="82" y="141"/>
                    </a:cubicBezTo>
                    <a:cubicBezTo>
                      <a:pt x="84" y="139"/>
                      <a:pt x="84" y="139"/>
                      <a:pt x="84" y="139"/>
                    </a:cubicBezTo>
                    <a:cubicBezTo>
                      <a:pt x="81" y="135"/>
                      <a:pt x="77" y="131"/>
                      <a:pt x="74" y="127"/>
                    </a:cubicBezTo>
                    <a:cubicBezTo>
                      <a:pt x="72" y="129"/>
                      <a:pt x="72" y="129"/>
                      <a:pt x="72" y="129"/>
                    </a:cubicBezTo>
                    <a:moveTo>
                      <a:pt x="56" y="110"/>
                    </a:moveTo>
                    <a:cubicBezTo>
                      <a:pt x="59" y="114"/>
                      <a:pt x="63" y="118"/>
                      <a:pt x="67" y="123"/>
                    </a:cubicBezTo>
                    <a:cubicBezTo>
                      <a:pt x="68" y="121"/>
                      <a:pt x="68" y="121"/>
                      <a:pt x="68" y="121"/>
                    </a:cubicBezTo>
                    <a:cubicBezTo>
                      <a:pt x="65" y="117"/>
                      <a:pt x="61" y="113"/>
                      <a:pt x="58" y="109"/>
                    </a:cubicBezTo>
                    <a:cubicBezTo>
                      <a:pt x="56" y="110"/>
                      <a:pt x="56" y="110"/>
                      <a:pt x="56" y="110"/>
                    </a:cubicBezTo>
                    <a:moveTo>
                      <a:pt x="41" y="92"/>
                    </a:moveTo>
                    <a:cubicBezTo>
                      <a:pt x="44" y="96"/>
                      <a:pt x="48" y="100"/>
                      <a:pt x="51" y="104"/>
                    </a:cubicBezTo>
                    <a:cubicBezTo>
                      <a:pt x="53" y="103"/>
                      <a:pt x="53" y="103"/>
                      <a:pt x="53" y="103"/>
                    </a:cubicBezTo>
                    <a:cubicBezTo>
                      <a:pt x="49" y="98"/>
                      <a:pt x="46" y="94"/>
                      <a:pt x="43" y="90"/>
                    </a:cubicBezTo>
                    <a:cubicBezTo>
                      <a:pt x="41" y="92"/>
                      <a:pt x="41" y="92"/>
                      <a:pt x="41" y="92"/>
                    </a:cubicBezTo>
                    <a:moveTo>
                      <a:pt x="27" y="72"/>
                    </a:moveTo>
                    <a:cubicBezTo>
                      <a:pt x="30" y="76"/>
                      <a:pt x="33" y="81"/>
                      <a:pt x="36" y="85"/>
                    </a:cubicBezTo>
                    <a:cubicBezTo>
                      <a:pt x="38" y="84"/>
                      <a:pt x="38" y="84"/>
                      <a:pt x="38" y="84"/>
                    </a:cubicBezTo>
                    <a:cubicBezTo>
                      <a:pt x="35" y="79"/>
                      <a:pt x="32" y="75"/>
                      <a:pt x="29" y="71"/>
                    </a:cubicBezTo>
                    <a:cubicBezTo>
                      <a:pt x="27" y="72"/>
                      <a:pt x="27" y="72"/>
                      <a:pt x="27" y="72"/>
                    </a:cubicBezTo>
                    <a:cubicBezTo>
                      <a:pt x="27" y="72"/>
                      <a:pt x="27" y="72"/>
                      <a:pt x="27" y="72"/>
                    </a:cubicBezTo>
                    <a:moveTo>
                      <a:pt x="14" y="52"/>
                    </a:moveTo>
                    <a:cubicBezTo>
                      <a:pt x="16" y="56"/>
                      <a:pt x="19" y="61"/>
                      <a:pt x="22" y="66"/>
                    </a:cubicBezTo>
                    <a:cubicBezTo>
                      <a:pt x="24" y="64"/>
                      <a:pt x="24" y="64"/>
                      <a:pt x="24" y="64"/>
                    </a:cubicBezTo>
                    <a:cubicBezTo>
                      <a:pt x="21" y="60"/>
                      <a:pt x="18" y="55"/>
                      <a:pt x="16" y="51"/>
                    </a:cubicBezTo>
                    <a:cubicBezTo>
                      <a:pt x="14" y="52"/>
                      <a:pt x="14" y="52"/>
                      <a:pt x="14" y="52"/>
                    </a:cubicBezTo>
                    <a:moveTo>
                      <a:pt x="3" y="30"/>
                    </a:moveTo>
                    <a:cubicBezTo>
                      <a:pt x="5" y="35"/>
                      <a:pt x="7" y="40"/>
                      <a:pt x="10" y="45"/>
                    </a:cubicBezTo>
                    <a:cubicBezTo>
                      <a:pt x="12" y="44"/>
                      <a:pt x="12" y="44"/>
                      <a:pt x="12" y="44"/>
                    </a:cubicBezTo>
                    <a:cubicBezTo>
                      <a:pt x="9" y="39"/>
                      <a:pt x="7" y="34"/>
                      <a:pt x="6" y="29"/>
                    </a:cubicBezTo>
                    <a:cubicBezTo>
                      <a:pt x="3" y="30"/>
                      <a:pt x="3" y="30"/>
                      <a:pt x="3" y="30"/>
                    </a:cubicBezTo>
                    <a:moveTo>
                      <a:pt x="2" y="6"/>
                    </a:moveTo>
                    <a:cubicBezTo>
                      <a:pt x="1" y="9"/>
                      <a:pt x="0" y="12"/>
                      <a:pt x="0" y="15"/>
                    </a:cubicBezTo>
                    <a:cubicBezTo>
                      <a:pt x="0" y="17"/>
                      <a:pt x="1" y="20"/>
                      <a:pt x="1" y="22"/>
                    </a:cubicBezTo>
                    <a:cubicBezTo>
                      <a:pt x="3" y="22"/>
                      <a:pt x="3" y="22"/>
                      <a:pt x="3" y="22"/>
                    </a:cubicBezTo>
                    <a:cubicBezTo>
                      <a:pt x="3" y="19"/>
                      <a:pt x="3" y="17"/>
                      <a:pt x="3" y="15"/>
                    </a:cubicBezTo>
                    <a:cubicBezTo>
                      <a:pt x="3" y="12"/>
                      <a:pt x="3" y="9"/>
                      <a:pt x="4" y="7"/>
                    </a:cubicBezTo>
                    <a:cubicBezTo>
                      <a:pt x="2" y="6"/>
                      <a:pt x="2" y="6"/>
                      <a:pt x="2" y="6"/>
                    </a:cubicBezTo>
                    <a:moveTo>
                      <a:pt x="26" y="0"/>
                    </a:moveTo>
                    <a:cubicBezTo>
                      <a:pt x="22" y="0"/>
                      <a:pt x="20" y="0"/>
                      <a:pt x="17" y="0"/>
                    </a:cubicBezTo>
                    <a:cubicBezTo>
                      <a:pt x="14" y="0"/>
                      <a:pt x="11" y="0"/>
                      <a:pt x="9" y="1"/>
                    </a:cubicBezTo>
                    <a:cubicBezTo>
                      <a:pt x="10" y="3"/>
                      <a:pt x="10" y="3"/>
                      <a:pt x="10" y="3"/>
                    </a:cubicBezTo>
                    <a:cubicBezTo>
                      <a:pt x="12" y="2"/>
                      <a:pt x="14" y="2"/>
                      <a:pt x="17" y="2"/>
                    </a:cubicBezTo>
                    <a:cubicBezTo>
                      <a:pt x="19" y="2"/>
                      <a:pt x="22" y="2"/>
                      <a:pt x="25" y="3"/>
                    </a:cubicBezTo>
                    <a:cubicBezTo>
                      <a:pt x="26" y="0"/>
                      <a:pt x="26" y="0"/>
                      <a:pt x="26" y="0"/>
                    </a:cubicBezTo>
                    <a:moveTo>
                      <a:pt x="49" y="6"/>
                    </a:moveTo>
                    <a:cubicBezTo>
                      <a:pt x="43" y="4"/>
                      <a:pt x="38" y="3"/>
                      <a:pt x="34" y="2"/>
                    </a:cubicBezTo>
                    <a:cubicBezTo>
                      <a:pt x="33" y="4"/>
                      <a:pt x="33" y="4"/>
                      <a:pt x="33" y="4"/>
                    </a:cubicBezTo>
                    <a:cubicBezTo>
                      <a:pt x="38" y="5"/>
                      <a:pt x="43" y="7"/>
                      <a:pt x="48" y="8"/>
                    </a:cubicBezTo>
                    <a:cubicBezTo>
                      <a:pt x="49" y="6"/>
                      <a:pt x="49" y="6"/>
                      <a:pt x="49" y="6"/>
                    </a:cubicBezTo>
                    <a:moveTo>
                      <a:pt x="72" y="14"/>
                    </a:moveTo>
                    <a:cubicBezTo>
                      <a:pt x="67" y="12"/>
                      <a:pt x="62" y="10"/>
                      <a:pt x="57" y="8"/>
                    </a:cubicBezTo>
                    <a:cubicBezTo>
                      <a:pt x="56" y="11"/>
                      <a:pt x="56" y="11"/>
                      <a:pt x="56" y="11"/>
                    </a:cubicBezTo>
                    <a:cubicBezTo>
                      <a:pt x="61" y="12"/>
                      <a:pt x="66" y="14"/>
                      <a:pt x="71" y="16"/>
                    </a:cubicBezTo>
                    <a:cubicBezTo>
                      <a:pt x="72" y="14"/>
                      <a:pt x="72" y="14"/>
                      <a:pt x="72" y="14"/>
                    </a:cubicBezTo>
                    <a:moveTo>
                      <a:pt x="94" y="23"/>
                    </a:moveTo>
                    <a:cubicBezTo>
                      <a:pt x="89" y="21"/>
                      <a:pt x="84" y="19"/>
                      <a:pt x="79" y="17"/>
                    </a:cubicBezTo>
                    <a:cubicBezTo>
                      <a:pt x="78" y="19"/>
                      <a:pt x="78" y="19"/>
                      <a:pt x="78" y="19"/>
                    </a:cubicBezTo>
                    <a:cubicBezTo>
                      <a:pt x="83" y="21"/>
                      <a:pt x="88" y="23"/>
                      <a:pt x="93" y="25"/>
                    </a:cubicBezTo>
                    <a:cubicBezTo>
                      <a:pt x="94" y="23"/>
                      <a:pt x="94" y="23"/>
                      <a:pt x="94" y="23"/>
                    </a:cubicBezTo>
                    <a:moveTo>
                      <a:pt x="116" y="33"/>
                    </a:moveTo>
                    <a:cubicBezTo>
                      <a:pt x="111" y="31"/>
                      <a:pt x="106" y="28"/>
                      <a:pt x="101" y="26"/>
                    </a:cubicBezTo>
                    <a:cubicBezTo>
                      <a:pt x="100" y="28"/>
                      <a:pt x="100" y="28"/>
                      <a:pt x="100" y="28"/>
                    </a:cubicBezTo>
                    <a:cubicBezTo>
                      <a:pt x="105" y="31"/>
                      <a:pt x="110" y="33"/>
                      <a:pt x="115" y="35"/>
                    </a:cubicBezTo>
                    <a:cubicBezTo>
                      <a:pt x="116" y="33"/>
                      <a:pt x="116" y="33"/>
                      <a:pt x="116" y="33"/>
                    </a:cubicBezTo>
                    <a:moveTo>
                      <a:pt x="138" y="43"/>
                    </a:moveTo>
                    <a:cubicBezTo>
                      <a:pt x="133" y="41"/>
                      <a:pt x="128" y="39"/>
                      <a:pt x="123" y="36"/>
                    </a:cubicBezTo>
                    <a:cubicBezTo>
                      <a:pt x="122" y="38"/>
                      <a:pt x="122" y="38"/>
                      <a:pt x="122" y="38"/>
                    </a:cubicBezTo>
                    <a:cubicBezTo>
                      <a:pt x="127" y="41"/>
                      <a:pt x="132" y="43"/>
                      <a:pt x="137" y="45"/>
                    </a:cubicBezTo>
                    <a:cubicBezTo>
                      <a:pt x="138" y="43"/>
                      <a:pt x="138" y="43"/>
                      <a:pt x="138" y="43"/>
                    </a:cubicBezTo>
                    <a:moveTo>
                      <a:pt x="159" y="54"/>
                    </a:moveTo>
                    <a:cubicBezTo>
                      <a:pt x="154" y="52"/>
                      <a:pt x="150" y="49"/>
                      <a:pt x="145" y="47"/>
                    </a:cubicBezTo>
                    <a:cubicBezTo>
                      <a:pt x="144" y="49"/>
                      <a:pt x="144" y="49"/>
                      <a:pt x="144" y="49"/>
                    </a:cubicBezTo>
                    <a:cubicBezTo>
                      <a:pt x="148" y="51"/>
                      <a:pt x="153" y="54"/>
                      <a:pt x="158" y="56"/>
                    </a:cubicBezTo>
                    <a:cubicBezTo>
                      <a:pt x="159" y="54"/>
                      <a:pt x="159" y="54"/>
                      <a:pt x="159" y="54"/>
                    </a:cubicBezTo>
                    <a:moveTo>
                      <a:pt x="180" y="65"/>
                    </a:moveTo>
                    <a:cubicBezTo>
                      <a:pt x="176" y="63"/>
                      <a:pt x="171" y="60"/>
                      <a:pt x="166" y="58"/>
                    </a:cubicBezTo>
                    <a:cubicBezTo>
                      <a:pt x="165" y="60"/>
                      <a:pt x="165" y="60"/>
                      <a:pt x="165" y="60"/>
                    </a:cubicBezTo>
                    <a:cubicBezTo>
                      <a:pt x="170" y="62"/>
                      <a:pt x="175" y="65"/>
                      <a:pt x="179" y="67"/>
                    </a:cubicBezTo>
                    <a:cubicBezTo>
                      <a:pt x="180" y="65"/>
                      <a:pt x="180" y="65"/>
                      <a:pt x="180" y="65"/>
                    </a:cubicBezTo>
                    <a:moveTo>
                      <a:pt x="202" y="77"/>
                    </a:moveTo>
                    <a:cubicBezTo>
                      <a:pt x="197" y="74"/>
                      <a:pt x="192" y="72"/>
                      <a:pt x="187" y="69"/>
                    </a:cubicBezTo>
                    <a:cubicBezTo>
                      <a:pt x="186" y="71"/>
                      <a:pt x="186" y="71"/>
                      <a:pt x="186" y="71"/>
                    </a:cubicBezTo>
                    <a:cubicBezTo>
                      <a:pt x="191" y="74"/>
                      <a:pt x="196" y="76"/>
                      <a:pt x="200" y="79"/>
                    </a:cubicBezTo>
                    <a:cubicBezTo>
                      <a:pt x="202" y="77"/>
                      <a:pt x="202" y="77"/>
                      <a:pt x="202" y="7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1" name="Freeform 1433">
                <a:extLst>
                  <a:ext uri="{FF2B5EF4-FFF2-40B4-BE49-F238E27FC236}">
                    <a16:creationId xmlns:a16="http://schemas.microsoft.com/office/drawing/2014/main" id="{0B5F06CC-C59B-4A75-BC53-DAEC07555B91}"/>
                  </a:ext>
                </a:extLst>
              </p:cNvPr>
              <p:cNvSpPr>
                <a:spLocks noEditPoints="1"/>
              </p:cNvSpPr>
              <p:nvPr/>
            </p:nvSpPr>
            <p:spPr bwMode="auto">
              <a:xfrm>
                <a:off x="16368713" y="1421909"/>
                <a:ext cx="1350962" cy="277812"/>
              </a:xfrm>
              <a:custGeom>
                <a:avLst/>
                <a:gdLst>
                  <a:gd name="T0" fmla="*/ 277 w 912"/>
                  <a:gd name="T1" fmla="*/ 3 h 189"/>
                  <a:gd name="T2" fmla="*/ 269 w 912"/>
                  <a:gd name="T3" fmla="*/ 3 h 189"/>
                  <a:gd name="T4" fmla="*/ 245 w 912"/>
                  <a:gd name="T5" fmla="*/ 0 h 189"/>
                  <a:gd name="T6" fmla="*/ 209 w 912"/>
                  <a:gd name="T7" fmla="*/ 2 h 189"/>
                  <a:gd name="T8" fmla="*/ 205 w 912"/>
                  <a:gd name="T9" fmla="*/ 2 h 189"/>
                  <a:gd name="T10" fmla="*/ 157 w 912"/>
                  <a:gd name="T11" fmla="*/ 4 h 189"/>
                  <a:gd name="T12" fmla="*/ 149 w 912"/>
                  <a:gd name="T13" fmla="*/ 4 h 189"/>
                  <a:gd name="T14" fmla="*/ 125 w 912"/>
                  <a:gd name="T15" fmla="*/ 3 h 189"/>
                  <a:gd name="T16" fmla="*/ 85 w 912"/>
                  <a:gd name="T17" fmla="*/ 7 h 189"/>
                  <a:gd name="T18" fmla="*/ 62 w 912"/>
                  <a:gd name="T19" fmla="*/ 14 h 189"/>
                  <a:gd name="T20" fmla="*/ 17 w 912"/>
                  <a:gd name="T21" fmla="*/ 28 h 189"/>
                  <a:gd name="T22" fmla="*/ 3 w 912"/>
                  <a:gd name="T23" fmla="*/ 44 h 189"/>
                  <a:gd name="T24" fmla="*/ 0 w 912"/>
                  <a:gd name="T25" fmla="*/ 45 h 189"/>
                  <a:gd name="T26" fmla="*/ 14 w 912"/>
                  <a:gd name="T27" fmla="*/ 64 h 189"/>
                  <a:gd name="T28" fmla="*/ 55 w 912"/>
                  <a:gd name="T29" fmla="*/ 87 h 189"/>
                  <a:gd name="T30" fmla="*/ 62 w 912"/>
                  <a:gd name="T31" fmla="*/ 91 h 189"/>
                  <a:gd name="T32" fmla="*/ 84 w 912"/>
                  <a:gd name="T33" fmla="*/ 101 h 189"/>
                  <a:gd name="T34" fmla="*/ 122 w 912"/>
                  <a:gd name="T35" fmla="*/ 114 h 189"/>
                  <a:gd name="T36" fmla="*/ 146 w 912"/>
                  <a:gd name="T37" fmla="*/ 118 h 189"/>
                  <a:gd name="T38" fmla="*/ 192 w 912"/>
                  <a:gd name="T39" fmla="*/ 129 h 189"/>
                  <a:gd name="T40" fmla="*/ 200 w 912"/>
                  <a:gd name="T41" fmla="*/ 131 h 189"/>
                  <a:gd name="T42" fmla="*/ 223 w 912"/>
                  <a:gd name="T43" fmla="*/ 139 h 189"/>
                  <a:gd name="T44" fmla="*/ 262 w 912"/>
                  <a:gd name="T45" fmla="*/ 147 h 189"/>
                  <a:gd name="T46" fmla="*/ 286 w 912"/>
                  <a:gd name="T47" fmla="*/ 149 h 189"/>
                  <a:gd name="T48" fmla="*/ 334 w 912"/>
                  <a:gd name="T49" fmla="*/ 156 h 189"/>
                  <a:gd name="T50" fmla="*/ 342 w 912"/>
                  <a:gd name="T51" fmla="*/ 158 h 189"/>
                  <a:gd name="T52" fmla="*/ 365 w 912"/>
                  <a:gd name="T53" fmla="*/ 164 h 189"/>
                  <a:gd name="T54" fmla="*/ 405 w 912"/>
                  <a:gd name="T55" fmla="*/ 169 h 189"/>
                  <a:gd name="T56" fmla="*/ 429 w 912"/>
                  <a:gd name="T57" fmla="*/ 169 h 189"/>
                  <a:gd name="T58" fmla="*/ 452 w 912"/>
                  <a:gd name="T59" fmla="*/ 174 h 189"/>
                  <a:gd name="T60" fmla="*/ 476 w 912"/>
                  <a:gd name="T61" fmla="*/ 175 h 189"/>
                  <a:gd name="T62" fmla="*/ 524 w 912"/>
                  <a:gd name="T63" fmla="*/ 179 h 189"/>
                  <a:gd name="T64" fmla="*/ 532 w 912"/>
                  <a:gd name="T65" fmla="*/ 179 h 189"/>
                  <a:gd name="T66" fmla="*/ 556 w 912"/>
                  <a:gd name="T67" fmla="*/ 184 h 189"/>
                  <a:gd name="T68" fmla="*/ 596 w 912"/>
                  <a:gd name="T69" fmla="*/ 186 h 189"/>
                  <a:gd name="T70" fmla="*/ 620 w 912"/>
                  <a:gd name="T71" fmla="*/ 185 h 189"/>
                  <a:gd name="T72" fmla="*/ 668 w 912"/>
                  <a:gd name="T73" fmla="*/ 186 h 189"/>
                  <a:gd name="T74" fmla="*/ 676 w 912"/>
                  <a:gd name="T75" fmla="*/ 186 h 189"/>
                  <a:gd name="T76" fmla="*/ 700 w 912"/>
                  <a:gd name="T77" fmla="*/ 189 h 189"/>
                  <a:gd name="T78" fmla="*/ 740 w 912"/>
                  <a:gd name="T79" fmla="*/ 188 h 189"/>
                  <a:gd name="T80" fmla="*/ 764 w 912"/>
                  <a:gd name="T81" fmla="*/ 184 h 189"/>
                  <a:gd name="T82" fmla="*/ 812 w 912"/>
                  <a:gd name="T83" fmla="*/ 181 h 189"/>
                  <a:gd name="T84" fmla="*/ 820 w 912"/>
                  <a:gd name="T85" fmla="*/ 180 h 189"/>
                  <a:gd name="T86" fmla="*/ 844 w 912"/>
                  <a:gd name="T87" fmla="*/ 178 h 189"/>
                  <a:gd name="T88" fmla="*/ 883 w 912"/>
                  <a:gd name="T89" fmla="*/ 169 h 189"/>
                  <a:gd name="T90" fmla="*/ 903 w 912"/>
                  <a:gd name="T91" fmla="*/ 156 h 189"/>
                  <a:gd name="T92" fmla="*/ 910 w 912"/>
                  <a:gd name="T93" fmla="*/ 151 h 189"/>
                  <a:gd name="T94" fmla="*/ 887 w 912"/>
                  <a:gd name="T95" fmla="*/ 124 h 189"/>
                  <a:gd name="T96" fmla="*/ 880 w 912"/>
                  <a:gd name="T97" fmla="*/ 120 h 189"/>
                  <a:gd name="T98" fmla="*/ 858 w 912"/>
                  <a:gd name="T99" fmla="*/ 108 h 189"/>
                  <a:gd name="T100" fmla="*/ 821 w 912"/>
                  <a:gd name="T101" fmla="*/ 95 h 189"/>
                  <a:gd name="T102" fmla="*/ 797 w 912"/>
                  <a:gd name="T103" fmla="*/ 90 h 189"/>
                  <a:gd name="T104" fmla="*/ 751 w 912"/>
                  <a:gd name="T105" fmla="*/ 76 h 189"/>
                  <a:gd name="T106" fmla="*/ 743 w 912"/>
                  <a:gd name="T107" fmla="*/ 74 h 189"/>
                  <a:gd name="T108" fmla="*/ 721 w 912"/>
                  <a:gd name="T109" fmla="*/ 65 h 189"/>
                  <a:gd name="T110" fmla="*/ 682 w 912"/>
                  <a:gd name="T111" fmla="*/ 55 h 189"/>
                  <a:gd name="T112" fmla="*/ 658 w 912"/>
                  <a:gd name="T113" fmla="*/ 52 h 189"/>
                  <a:gd name="T114" fmla="*/ 651 w 912"/>
                  <a:gd name="T115" fmla="*/ 48 h 189"/>
                  <a:gd name="T116" fmla="*/ 612 w 912"/>
                  <a:gd name="T117" fmla="*/ 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2" h="189">
                    <a:moveTo>
                      <a:pt x="301" y="3"/>
                    </a:moveTo>
                    <a:cubicBezTo>
                      <a:pt x="315" y="3"/>
                      <a:pt x="315" y="3"/>
                      <a:pt x="315" y="3"/>
                    </a:cubicBezTo>
                    <a:cubicBezTo>
                      <a:pt x="315" y="1"/>
                      <a:pt x="315" y="1"/>
                      <a:pt x="315" y="1"/>
                    </a:cubicBezTo>
                    <a:cubicBezTo>
                      <a:pt x="301" y="1"/>
                      <a:pt x="301" y="1"/>
                      <a:pt x="301" y="1"/>
                    </a:cubicBezTo>
                    <a:lnTo>
                      <a:pt x="301" y="3"/>
                    </a:lnTo>
                    <a:close/>
                    <a:moveTo>
                      <a:pt x="277" y="3"/>
                    </a:moveTo>
                    <a:cubicBezTo>
                      <a:pt x="293" y="3"/>
                      <a:pt x="293" y="3"/>
                      <a:pt x="293" y="3"/>
                    </a:cubicBezTo>
                    <a:cubicBezTo>
                      <a:pt x="293" y="1"/>
                      <a:pt x="293" y="1"/>
                      <a:pt x="293" y="1"/>
                    </a:cubicBezTo>
                    <a:cubicBezTo>
                      <a:pt x="277" y="1"/>
                      <a:pt x="277" y="1"/>
                      <a:pt x="277" y="1"/>
                    </a:cubicBezTo>
                    <a:lnTo>
                      <a:pt x="277" y="3"/>
                    </a:lnTo>
                    <a:close/>
                    <a:moveTo>
                      <a:pt x="253" y="3"/>
                    </a:moveTo>
                    <a:cubicBezTo>
                      <a:pt x="269" y="3"/>
                      <a:pt x="269" y="3"/>
                      <a:pt x="269" y="3"/>
                    </a:cubicBezTo>
                    <a:cubicBezTo>
                      <a:pt x="269" y="1"/>
                      <a:pt x="269" y="1"/>
                      <a:pt x="269" y="1"/>
                    </a:cubicBezTo>
                    <a:cubicBezTo>
                      <a:pt x="253" y="0"/>
                      <a:pt x="253" y="0"/>
                      <a:pt x="253" y="0"/>
                    </a:cubicBezTo>
                    <a:lnTo>
                      <a:pt x="253" y="3"/>
                    </a:lnTo>
                    <a:close/>
                    <a:moveTo>
                      <a:pt x="229" y="3"/>
                    </a:moveTo>
                    <a:cubicBezTo>
                      <a:pt x="245" y="3"/>
                      <a:pt x="245" y="3"/>
                      <a:pt x="245" y="3"/>
                    </a:cubicBezTo>
                    <a:cubicBezTo>
                      <a:pt x="245" y="0"/>
                      <a:pt x="245" y="0"/>
                      <a:pt x="245" y="0"/>
                    </a:cubicBezTo>
                    <a:cubicBezTo>
                      <a:pt x="229" y="0"/>
                      <a:pt x="229" y="0"/>
                      <a:pt x="229" y="0"/>
                    </a:cubicBezTo>
                    <a:lnTo>
                      <a:pt x="229" y="3"/>
                    </a:lnTo>
                    <a:close/>
                    <a:moveTo>
                      <a:pt x="205" y="2"/>
                    </a:moveTo>
                    <a:cubicBezTo>
                      <a:pt x="206" y="2"/>
                      <a:pt x="207" y="2"/>
                      <a:pt x="209" y="2"/>
                    </a:cubicBezTo>
                    <a:cubicBezTo>
                      <a:pt x="209" y="1"/>
                      <a:pt x="209" y="1"/>
                      <a:pt x="209" y="1"/>
                    </a:cubicBezTo>
                    <a:cubicBezTo>
                      <a:pt x="209" y="2"/>
                      <a:pt x="209" y="2"/>
                      <a:pt x="209" y="2"/>
                    </a:cubicBezTo>
                    <a:cubicBezTo>
                      <a:pt x="221" y="2"/>
                      <a:pt x="221" y="2"/>
                      <a:pt x="221" y="2"/>
                    </a:cubicBezTo>
                    <a:cubicBezTo>
                      <a:pt x="221" y="0"/>
                      <a:pt x="221" y="0"/>
                      <a:pt x="221" y="0"/>
                    </a:cubicBezTo>
                    <a:cubicBezTo>
                      <a:pt x="209" y="0"/>
                      <a:pt x="209" y="0"/>
                      <a:pt x="209" y="0"/>
                    </a:cubicBezTo>
                    <a:cubicBezTo>
                      <a:pt x="209" y="0"/>
                      <a:pt x="209" y="0"/>
                      <a:pt x="209" y="0"/>
                    </a:cubicBezTo>
                    <a:cubicBezTo>
                      <a:pt x="207" y="0"/>
                      <a:pt x="206" y="0"/>
                      <a:pt x="205" y="0"/>
                    </a:cubicBezTo>
                    <a:cubicBezTo>
                      <a:pt x="205" y="2"/>
                      <a:pt x="205" y="2"/>
                      <a:pt x="205" y="2"/>
                    </a:cubicBezTo>
                    <a:close/>
                    <a:moveTo>
                      <a:pt x="181" y="3"/>
                    </a:moveTo>
                    <a:cubicBezTo>
                      <a:pt x="186" y="3"/>
                      <a:pt x="192" y="3"/>
                      <a:pt x="197" y="2"/>
                    </a:cubicBezTo>
                    <a:cubicBezTo>
                      <a:pt x="197" y="0"/>
                      <a:pt x="197" y="0"/>
                      <a:pt x="197" y="0"/>
                    </a:cubicBezTo>
                    <a:cubicBezTo>
                      <a:pt x="192" y="0"/>
                      <a:pt x="186" y="0"/>
                      <a:pt x="181" y="0"/>
                    </a:cubicBezTo>
                    <a:cubicBezTo>
                      <a:pt x="181" y="3"/>
                      <a:pt x="181" y="3"/>
                      <a:pt x="181" y="3"/>
                    </a:cubicBezTo>
                    <a:close/>
                    <a:moveTo>
                      <a:pt x="157" y="4"/>
                    </a:moveTo>
                    <a:cubicBezTo>
                      <a:pt x="162" y="3"/>
                      <a:pt x="168" y="3"/>
                      <a:pt x="173" y="3"/>
                    </a:cubicBezTo>
                    <a:cubicBezTo>
                      <a:pt x="173" y="1"/>
                      <a:pt x="173" y="1"/>
                      <a:pt x="173" y="1"/>
                    </a:cubicBezTo>
                    <a:cubicBezTo>
                      <a:pt x="168" y="1"/>
                      <a:pt x="162" y="1"/>
                      <a:pt x="157" y="1"/>
                    </a:cubicBezTo>
                    <a:cubicBezTo>
                      <a:pt x="157" y="4"/>
                      <a:pt x="157" y="4"/>
                      <a:pt x="157" y="4"/>
                    </a:cubicBezTo>
                    <a:close/>
                    <a:moveTo>
                      <a:pt x="133" y="5"/>
                    </a:moveTo>
                    <a:cubicBezTo>
                      <a:pt x="138" y="5"/>
                      <a:pt x="144" y="4"/>
                      <a:pt x="149" y="4"/>
                    </a:cubicBezTo>
                    <a:cubicBezTo>
                      <a:pt x="149" y="2"/>
                      <a:pt x="149" y="2"/>
                      <a:pt x="149" y="2"/>
                    </a:cubicBezTo>
                    <a:cubicBezTo>
                      <a:pt x="144" y="2"/>
                      <a:pt x="138" y="2"/>
                      <a:pt x="133" y="3"/>
                    </a:cubicBezTo>
                    <a:cubicBezTo>
                      <a:pt x="133" y="5"/>
                      <a:pt x="133" y="5"/>
                      <a:pt x="133" y="5"/>
                    </a:cubicBezTo>
                    <a:close/>
                    <a:moveTo>
                      <a:pt x="109" y="7"/>
                    </a:moveTo>
                    <a:cubicBezTo>
                      <a:pt x="114" y="7"/>
                      <a:pt x="120" y="6"/>
                      <a:pt x="125" y="6"/>
                    </a:cubicBezTo>
                    <a:cubicBezTo>
                      <a:pt x="125" y="3"/>
                      <a:pt x="125" y="3"/>
                      <a:pt x="125" y="3"/>
                    </a:cubicBezTo>
                    <a:cubicBezTo>
                      <a:pt x="120" y="4"/>
                      <a:pt x="114" y="4"/>
                      <a:pt x="109" y="5"/>
                    </a:cubicBezTo>
                    <a:cubicBezTo>
                      <a:pt x="109" y="7"/>
                      <a:pt x="109" y="7"/>
                      <a:pt x="109" y="7"/>
                    </a:cubicBezTo>
                    <a:close/>
                    <a:moveTo>
                      <a:pt x="85" y="10"/>
                    </a:moveTo>
                    <a:cubicBezTo>
                      <a:pt x="91" y="9"/>
                      <a:pt x="96" y="8"/>
                      <a:pt x="101" y="8"/>
                    </a:cubicBezTo>
                    <a:cubicBezTo>
                      <a:pt x="101" y="5"/>
                      <a:pt x="101" y="5"/>
                      <a:pt x="101" y="5"/>
                    </a:cubicBezTo>
                    <a:cubicBezTo>
                      <a:pt x="96" y="6"/>
                      <a:pt x="90" y="7"/>
                      <a:pt x="85" y="7"/>
                    </a:cubicBezTo>
                    <a:lnTo>
                      <a:pt x="85" y="10"/>
                    </a:lnTo>
                    <a:close/>
                    <a:moveTo>
                      <a:pt x="62" y="14"/>
                    </a:moveTo>
                    <a:cubicBezTo>
                      <a:pt x="67" y="13"/>
                      <a:pt x="72" y="12"/>
                      <a:pt x="78" y="11"/>
                    </a:cubicBezTo>
                    <a:cubicBezTo>
                      <a:pt x="77" y="9"/>
                      <a:pt x="77" y="9"/>
                      <a:pt x="77" y="9"/>
                    </a:cubicBezTo>
                    <a:cubicBezTo>
                      <a:pt x="72" y="9"/>
                      <a:pt x="66" y="10"/>
                      <a:pt x="61" y="11"/>
                    </a:cubicBezTo>
                    <a:cubicBezTo>
                      <a:pt x="62" y="14"/>
                      <a:pt x="62" y="14"/>
                      <a:pt x="62" y="14"/>
                    </a:cubicBezTo>
                    <a:close/>
                    <a:moveTo>
                      <a:pt x="39" y="19"/>
                    </a:moveTo>
                    <a:cubicBezTo>
                      <a:pt x="43" y="18"/>
                      <a:pt x="49" y="17"/>
                      <a:pt x="54" y="15"/>
                    </a:cubicBezTo>
                    <a:cubicBezTo>
                      <a:pt x="54" y="13"/>
                      <a:pt x="54" y="13"/>
                      <a:pt x="54" y="13"/>
                    </a:cubicBezTo>
                    <a:cubicBezTo>
                      <a:pt x="48" y="14"/>
                      <a:pt x="43" y="16"/>
                      <a:pt x="38" y="17"/>
                    </a:cubicBezTo>
                    <a:lnTo>
                      <a:pt x="39" y="19"/>
                    </a:lnTo>
                    <a:close/>
                    <a:moveTo>
                      <a:pt x="17" y="28"/>
                    </a:moveTo>
                    <a:cubicBezTo>
                      <a:pt x="21" y="26"/>
                      <a:pt x="26" y="24"/>
                      <a:pt x="31" y="22"/>
                    </a:cubicBezTo>
                    <a:cubicBezTo>
                      <a:pt x="30" y="20"/>
                      <a:pt x="30" y="20"/>
                      <a:pt x="30" y="20"/>
                    </a:cubicBezTo>
                    <a:cubicBezTo>
                      <a:pt x="25" y="22"/>
                      <a:pt x="20" y="24"/>
                      <a:pt x="16" y="26"/>
                    </a:cubicBezTo>
                    <a:cubicBezTo>
                      <a:pt x="17" y="28"/>
                      <a:pt x="17" y="28"/>
                      <a:pt x="17" y="28"/>
                    </a:cubicBezTo>
                    <a:close/>
                    <a:moveTo>
                      <a:pt x="3" y="45"/>
                    </a:moveTo>
                    <a:cubicBezTo>
                      <a:pt x="3" y="44"/>
                      <a:pt x="3" y="44"/>
                      <a:pt x="3" y="44"/>
                    </a:cubicBezTo>
                    <a:cubicBezTo>
                      <a:pt x="3" y="44"/>
                      <a:pt x="3" y="44"/>
                      <a:pt x="3" y="44"/>
                    </a:cubicBezTo>
                    <a:cubicBezTo>
                      <a:pt x="3" y="40"/>
                      <a:pt x="6" y="36"/>
                      <a:pt x="10" y="32"/>
                    </a:cubicBezTo>
                    <a:cubicBezTo>
                      <a:pt x="9" y="31"/>
                      <a:pt x="9" y="31"/>
                      <a:pt x="9" y="31"/>
                    </a:cubicBezTo>
                    <a:cubicBezTo>
                      <a:pt x="4" y="35"/>
                      <a:pt x="1" y="39"/>
                      <a:pt x="0" y="44"/>
                    </a:cubicBezTo>
                    <a:cubicBezTo>
                      <a:pt x="0" y="44"/>
                      <a:pt x="0" y="44"/>
                      <a:pt x="0" y="44"/>
                    </a:cubicBezTo>
                    <a:cubicBezTo>
                      <a:pt x="0" y="45"/>
                      <a:pt x="0" y="45"/>
                      <a:pt x="0" y="45"/>
                    </a:cubicBezTo>
                    <a:lnTo>
                      <a:pt x="3" y="45"/>
                    </a:lnTo>
                    <a:close/>
                    <a:moveTo>
                      <a:pt x="14" y="64"/>
                    </a:moveTo>
                    <a:cubicBezTo>
                      <a:pt x="9" y="60"/>
                      <a:pt x="6" y="56"/>
                      <a:pt x="4" y="52"/>
                    </a:cubicBezTo>
                    <a:cubicBezTo>
                      <a:pt x="2" y="53"/>
                      <a:pt x="2" y="53"/>
                      <a:pt x="2" y="53"/>
                    </a:cubicBezTo>
                    <a:cubicBezTo>
                      <a:pt x="4" y="57"/>
                      <a:pt x="7" y="61"/>
                      <a:pt x="12" y="66"/>
                    </a:cubicBezTo>
                    <a:cubicBezTo>
                      <a:pt x="14" y="64"/>
                      <a:pt x="14" y="64"/>
                      <a:pt x="14" y="64"/>
                    </a:cubicBezTo>
                    <a:close/>
                    <a:moveTo>
                      <a:pt x="33" y="77"/>
                    </a:moveTo>
                    <a:cubicBezTo>
                      <a:pt x="28" y="74"/>
                      <a:pt x="24" y="71"/>
                      <a:pt x="20" y="69"/>
                    </a:cubicBezTo>
                    <a:cubicBezTo>
                      <a:pt x="19" y="71"/>
                      <a:pt x="19" y="71"/>
                      <a:pt x="19" y="71"/>
                    </a:cubicBezTo>
                    <a:cubicBezTo>
                      <a:pt x="23" y="73"/>
                      <a:pt x="27" y="76"/>
                      <a:pt x="32" y="79"/>
                    </a:cubicBezTo>
                    <a:cubicBezTo>
                      <a:pt x="33" y="77"/>
                      <a:pt x="33" y="77"/>
                      <a:pt x="33" y="77"/>
                    </a:cubicBezTo>
                    <a:close/>
                    <a:moveTo>
                      <a:pt x="55" y="87"/>
                    </a:moveTo>
                    <a:cubicBezTo>
                      <a:pt x="50" y="85"/>
                      <a:pt x="45" y="83"/>
                      <a:pt x="40" y="81"/>
                    </a:cubicBezTo>
                    <a:cubicBezTo>
                      <a:pt x="39" y="83"/>
                      <a:pt x="39" y="83"/>
                      <a:pt x="39" y="83"/>
                    </a:cubicBezTo>
                    <a:cubicBezTo>
                      <a:pt x="44" y="85"/>
                      <a:pt x="49" y="87"/>
                      <a:pt x="54" y="90"/>
                    </a:cubicBezTo>
                    <a:lnTo>
                      <a:pt x="55" y="87"/>
                    </a:lnTo>
                    <a:close/>
                    <a:moveTo>
                      <a:pt x="77" y="96"/>
                    </a:moveTo>
                    <a:cubicBezTo>
                      <a:pt x="72" y="94"/>
                      <a:pt x="67" y="92"/>
                      <a:pt x="62" y="91"/>
                    </a:cubicBezTo>
                    <a:cubicBezTo>
                      <a:pt x="61" y="93"/>
                      <a:pt x="61" y="93"/>
                      <a:pt x="61" y="93"/>
                    </a:cubicBezTo>
                    <a:cubicBezTo>
                      <a:pt x="66" y="95"/>
                      <a:pt x="71" y="97"/>
                      <a:pt x="76" y="99"/>
                    </a:cubicBezTo>
                    <a:cubicBezTo>
                      <a:pt x="77" y="96"/>
                      <a:pt x="77" y="96"/>
                      <a:pt x="77" y="96"/>
                    </a:cubicBezTo>
                    <a:close/>
                    <a:moveTo>
                      <a:pt x="100" y="104"/>
                    </a:moveTo>
                    <a:cubicBezTo>
                      <a:pt x="95" y="102"/>
                      <a:pt x="89" y="101"/>
                      <a:pt x="85" y="99"/>
                    </a:cubicBezTo>
                    <a:cubicBezTo>
                      <a:pt x="84" y="101"/>
                      <a:pt x="84" y="101"/>
                      <a:pt x="84" y="101"/>
                    </a:cubicBezTo>
                    <a:cubicBezTo>
                      <a:pt x="89" y="103"/>
                      <a:pt x="94" y="105"/>
                      <a:pt x="99" y="106"/>
                    </a:cubicBezTo>
                    <a:cubicBezTo>
                      <a:pt x="100" y="104"/>
                      <a:pt x="100" y="104"/>
                      <a:pt x="100" y="104"/>
                    </a:cubicBezTo>
                    <a:close/>
                    <a:moveTo>
                      <a:pt x="123" y="111"/>
                    </a:moveTo>
                    <a:cubicBezTo>
                      <a:pt x="117" y="110"/>
                      <a:pt x="112" y="108"/>
                      <a:pt x="107" y="107"/>
                    </a:cubicBezTo>
                    <a:cubicBezTo>
                      <a:pt x="107" y="109"/>
                      <a:pt x="107" y="109"/>
                      <a:pt x="107" y="109"/>
                    </a:cubicBezTo>
                    <a:cubicBezTo>
                      <a:pt x="112" y="110"/>
                      <a:pt x="117" y="112"/>
                      <a:pt x="122" y="114"/>
                    </a:cubicBezTo>
                    <a:lnTo>
                      <a:pt x="123" y="111"/>
                    </a:lnTo>
                    <a:close/>
                    <a:moveTo>
                      <a:pt x="146" y="118"/>
                    </a:moveTo>
                    <a:cubicBezTo>
                      <a:pt x="140" y="116"/>
                      <a:pt x="135" y="115"/>
                      <a:pt x="130" y="114"/>
                    </a:cubicBezTo>
                    <a:cubicBezTo>
                      <a:pt x="130" y="116"/>
                      <a:pt x="130" y="116"/>
                      <a:pt x="130" y="116"/>
                    </a:cubicBezTo>
                    <a:cubicBezTo>
                      <a:pt x="135" y="117"/>
                      <a:pt x="140" y="119"/>
                      <a:pt x="145" y="120"/>
                    </a:cubicBezTo>
                    <a:cubicBezTo>
                      <a:pt x="146" y="118"/>
                      <a:pt x="146" y="118"/>
                      <a:pt x="146" y="118"/>
                    </a:cubicBezTo>
                    <a:close/>
                    <a:moveTo>
                      <a:pt x="169" y="124"/>
                    </a:moveTo>
                    <a:cubicBezTo>
                      <a:pt x="164" y="123"/>
                      <a:pt x="159" y="121"/>
                      <a:pt x="153" y="120"/>
                    </a:cubicBezTo>
                    <a:cubicBezTo>
                      <a:pt x="153" y="122"/>
                      <a:pt x="153" y="122"/>
                      <a:pt x="153" y="122"/>
                    </a:cubicBezTo>
                    <a:cubicBezTo>
                      <a:pt x="158" y="124"/>
                      <a:pt x="163" y="125"/>
                      <a:pt x="168" y="126"/>
                    </a:cubicBezTo>
                    <a:cubicBezTo>
                      <a:pt x="169" y="124"/>
                      <a:pt x="169" y="124"/>
                      <a:pt x="169" y="124"/>
                    </a:cubicBezTo>
                    <a:close/>
                    <a:moveTo>
                      <a:pt x="192" y="129"/>
                    </a:moveTo>
                    <a:cubicBezTo>
                      <a:pt x="187" y="128"/>
                      <a:pt x="182" y="127"/>
                      <a:pt x="177" y="126"/>
                    </a:cubicBezTo>
                    <a:cubicBezTo>
                      <a:pt x="176" y="128"/>
                      <a:pt x="176" y="128"/>
                      <a:pt x="176" y="128"/>
                    </a:cubicBezTo>
                    <a:cubicBezTo>
                      <a:pt x="181" y="129"/>
                      <a:pt x="186" y="131"/>
                      <a:pt x="192" y="132"/>
                    </a:cubicBezTo>
                    <a:cubicBezTo>
                      <a:pt x="192" y="129"/>
                      <a:pt x="192" y="129"/>
                      <a:pt x="192" y="129"/>
                    </a:cubicBezTo>
                    <a:close/>
                    <a:moveTo>
                      <a:pt x="216" y="135"/>
                    </a:moveTo>
                    <a:cubicBezTo>
                      <a:pt x="210" y="134"/>
                      <a:pt x="205" y="132"/>
                      <a:pt x="200" y="131"/>
                    </a:cubicBezTo>
                    <a:cubicBezTo>
                      <a:pt x="200" y="134"/>
                      <a:pt x="200" y="134"/>
                      <a:pt x="200" y="134"/>
                    </a:cubicBezTo>
                    <a:cubicBezTo>
                      <a:pt x="205" y="135"/>
                      <a:pt x="210" y="136"/>
                      <a:pt x="215" y="137"/>
                    </a:cubicBezTo>
                    <a:cubicBezTo>
                      <a:pt x="216" y="135"/>
                      <a:pt x="216" y="135"/>
                      <a:pt x="216" y="135"/>
                    </a:cubicBezTo>
                    <a:close/>
                    <a:moveTo>
                      <a:pt x="239" y="140"/>
                    </a:moveTo>
                    <a:cubicBezTo>
                      <a:pt x="234" y="139"/>
                      <a:pt x="229" y="137"/>
                      <a:pt x="223" y="136"/>
                    </a:cubicBezTo>
                    <a:cubicBezTo>
                      <a:pt x="223" y="139"/>
                      <a:pt x="223" y="139"/>
                      <a:pt x="223" y="139"/>
                    </a:cubicBezTo>
                    <a:cubicBezTo>
                      <a:pt x="228" y="140"/>
                      <a:pt x="233" y="141"/>
                      <a:pt x="239" y="142"/>
                    </a:cubicBezTo>
                    <a:cubicBezTo>
                      <a:pt x="239" y="140"/>
                      <a:pt x="239" y="140"/>
                      <a:pt x="239" y="140"/>
                    </a:cubicBezTo>
                    <a:close/>
                    <a:moveTo>
                      <a:pt x="263" y="144"/>
                    </a:moveTo>
                    <a:cubicBezTo>
                      <a:pt x="257" y="143"/>
                      <a:pt x="252" y="142"/>
                      <a:pt x="247" y="141"/>
                    </a:cubicBezTo>
                    <a:cubicBezTo>
                      <a:pt x="247" y="144"/>
                      <a:pt x="247" y="144"/>
                      <a:pt x="247" y="144"/>
                    </a:cubicBezTo>
                    <a:cubicBezTo>
                      <a:pt x="252" y="145"/>
                      <a:pt x="257" y="146"/>
                      <a:pt x="262" y="147"/>
                    </a:cubicBezTo>
                    <a:lnTo>
                      <a:pt x="263" y="144"/>
                    </a:lnTo>
                    <a:close/>
                    <a:moveTo>
                      <a:pt x="286" y="149"/>
                    </a:moveTo>
                    <a:cubicBezTo>
                      <a:pt x="281" y="148"/>
                      <a:pt x="276" y="147"/>
                      <a:pt x="271" y="146"/>
                    </a:cubicBezTo>
                    <a:cubicBezTo>
                      <a:pt x="270" y="148"/>
                      <a:pt x="270" y="148"/>
                      <a:pt x="270" y="148"/>
                    </a:cubicBezTo>
                    <a:cubicBezTo>
                      <a:pt x="275" y="149"/>
                      <a:pt x="281" y="150"/>
                      <a:pt x="286" y="151"/>
                    </a:cubicBezTo>
                    <a:cubicBezTo>
                      <a:pt x="286" y="149"/>
                      <a:pt x="286" y="149"/>
                      <a:pt x="286" y="149"/>
                    </a:cubicBezTo>
                    <a:close/>
                    <a:moveTo>
                      <a:pt x="310" y="153"/>
                    </a:moveTo>
                    <a:cubicBezTo>
                      <a:pt x="305" y="152"/>
                      <a:pt x="299" y="151"/>
                      <a:pt x="294" y="150"/>
                    </a:cubicBezTo>
                    <a:cubicBezTo>
                      <a:pt x="294" y="152"/>
                      <a:pt x="294" y="152"/>
                      <a:pt x="294" y="152"/>
                    </a:cubicBezTo>
                    <a:cubicBezTo>
                      <a:pt x="299" y="153"/>
                      <a:pt x="304" y="154"/>
                      <a:pt x="310" y="155"/>
                    </a:cubicBezTo>
                    <a:cubicBezTo>
                      <a:pt x="310" y="153"/>
                      <a:pt x="310" y="153"/>
                      <a:pt x="310" y="153"/>
                    </a:cubicBezTo>
                    <a:close/>
                    <a:moveTo>
                      <a:pt x="334" y="156"/>
                    </a:moveTo>
                    <a:cubicBezTo>
                      <a:pt x="328" y="156"/>
                      <a:pt x="323" y="155"/>
                      <a:pt x="318" y="154"/>
                    </a:cubicBezTo>
                    <a:cubicBezTo>
                      <a:pt x="317" y="156"/>
                      <a:pt x="317" y="156"/>
                      <a:pt x="317" y="156"/>
                    </a:cubicBezTo>
                    <a:cubicBezTo>
                      <a:pt x="323" y="157"/>
                      <a:pt x="328" y="158"/>
                      <a:pt x="333" y="159"/>
                    </a:cubicBezTo>
                    <a:cubicBezTo>
                      <a:pt x="334" y="156"/>
                      <a:pt x="334" y="156"/>
                      <a:pt x="334" y="156"/>
                    </a:cubicBezTo>
                    <a:close/>
                    <a:moveTo>
                      <a:pt x="357" y="160"/>
                    </a:moveTo>
                    <a:cubicBezTo>
                      <a:pt x="352" y="159"/>
                      <a:pt x="347" y="158"/>
                      <a:pt x="342" y="158"/>
                    </a:cubicBezTo>
                    <a:cubicBezTo>
                      <a:pt x="341" y="160"/>
                      <a:pt x="341" y="160"/>
                      <a:pt x="341" y="160"/>
                    </a:cubicBezTo>
                    <a:cubicBezTo>
                      <a:pt x="346" y="161"/>
                      <a:pt x="352" y="162"/>
                      <a:pt x="357" y="162"/>
                    </a:cubicBezTo>
                    <a:cubicBezTo>
                      <a:pt x="357" y="160"/>
                      <a:pt x="357" y="160"/>
                      <a:pt x="357" y="160"/>
                    </a:cubicBezTo>
                    <a:close/>
                    <a:moveTo>
                      <a:pt x="381" y="163"/>
                    </a:moveTo>
                    <a:cubicBezTo>
                      <a:pt x="376" y="163"/>
                      <a:pt x="371" y="162"/>
                      <a:pt x="365" y="161"/>
                    </a:cubicBezTo>
                    <a:cubicBezTo>
                      <a:pt x="365" y="164"/>
                      <a:pt x="365" y="164"/>
                      <a:pt x="365" y="164"/>
                    </a:cubicBezTo>
                    <a:cubicBezTo>
                      <a:pt x="370" y="164"/>
                      <a:pt x="375" y="165"/>
                      <a:pt x="381" y="166"/>
                    </a:cubicBezTo>
                    <a:cubicBezTo>
                      <a:pt x="381" y="163"/>
                      <a:pt x="381" y="163"/>
                      <a:pt x="381" y="163"/>
                    </a:cubicBezTo>
                    <a:close/>
                    <a:moveTo>
                      <a:pt x="405" y="166"/>
                    </a:moveTo>
                    <a:cubicBezTo>
                      <a:pt x="400" y="166"/>
                      <a:pt x="394" y="165"/>
                      <a:pt x="389" y="164"/>
                    </a:cubicBezTo>
                    <a:cubicBezTo>
                      <a:pt x="389" y="167"/>
                      <a:pt x="389" y="167"/>
                      <a:pt x="389" y="167"/>
                    </a:cubicBezTo>
                    <a:cubicBezTo>
                      <a:pt x="394" y="167"/>
                      <a:pt x="399" y="168"/>
                      <a:pt x="405" y="169"/>
                    </a:cubicBezTo>
                    <a:cubicBezTo>
                      <a:pt x="405" y="166"/>
                      <a:pt x="405" y="166"/>
                      <a:pt x="405" y="166"/>
                    </a:cubicBezTo>
                    <a:close/>
                    <a:moveTo>
                      <a:pt x="429" y="169"/>
                    </a:moveTo>
                    <a:cubicBezTo>
                      <a:pt x="423" y="169"/>
                      <a:pt x="418" y="168"/>
                      <a:pt x="413" y="167"/>
                    </a:cubicBezTo>
                    <a:cubicBezTo>
                      <a:pt x="413" y="170"/>
                      <a:pt x="413" y="170"/>
                      <a:pt x="413" y="170"/>
                    </a:cubicBezTo>
                    <a:cubicBezTo>
                      <a:pt x="418" y="170"/>
                      <a:pt x="423" y="171"/>
                      <a:pt x="428" y="172"/>
                    </a:cubicBezTo>
                    <a:cubicBezTo>
                      <a:pt x="429" y="169"/>
                      <a:pt x="429" y="169"/>
                      <a:pt x="429" y="169"/>
                    </a:cubicBezTo>
                    <a:close/>
                    <a:moveTo>
                      <a:pt x="453" y="172"/>
                    </a:moveTo>
                    <a:cubicBezTo>
                      <a:pt x="451" y="172"/>
                      <a:pt x="449" y="172"/>
                      <a:pt x="448" y="172"/>
                    </a:cubicBezTo>
                    <a:cubicBezTo>
                      <a:pt x="444" y="171"/>
                      <a:pt x="440" y="171"/>
                      <a:pt x="437" y="170"/>
                    </a:cubicBezTo>
                    <a:cubicBezTo>
                      <a:pt x="436" y="173"/>
                      <a:pt x="436" y="173"/>
                      <a:pt x="436" y="173"/>
                    </a:cubicBezTo>
                    <a:cubicBezTo>
                      <a:pt x="440" y="173"/>
                      <a:pt x="444" y="174"/>
                      <a:pt x="448" y="174"/>
                    </a:cubicBezTo>
                    <a:cubicBezTo>
                      <a:pt x="449" y="174"/>
                      <a:pt x="451" y="174"/>
                      <a:pt x="452" y="174"/>
                    </a:cubicBezTo>
                    <a:cubicBezTo>
                      <a:pt x="453" y="172"/>
                      <a:pt x="453" y="172"/>
                      <a:pt x="453" y="172"/>
                    </a:cubicBezTo>
                    <a:close/>
                    <a:moveTo>
                      <a:pt x="476" y="175"/>
                    </a:moveTo>
                    <a:cubicBezTo>
                      <a:pt x="471" y="174"/>
                      <a:pt x="466" y="173"/>
                      <a:pt x="461" y="173"/>
                    </a:cubicBezTo>
                    <a:cubicBezTo>
                      <a:pt x="460" y="175"/>
                      <a:pt x="460" y="175"/>
                      <a:pt x="460" y="175"/>
                    </a:cubicBezTo>
                    <a:cubicBezTo>
                      <a:pt x="466" y="176"/>
                      <a:pt x="471" y="176"/>
                      <a:pt x="476" y="177"/>
                    </a:cubicBezTo>
                    <a:lnTo>
                      <a:pt x="476" y="175"/>
                    </a:lnTo>
                    <a:close/>
                    <a:moveTo>
                      <a:pt x="500" y="177"/>
                    </a:moveTo>
                    <a:cubicBezTo>
                      <a:pt x="495" y="176"/>
                      <a:pt x="490" y="176"/>
                      <a:pt x="484" y="175"/>
                    </a:cubicBezTo>
                    <a:cubicBezTo>
                      <a:pt x="484" y="178"/>
                      <a:pt x="484" y="178"/>
                      <a:pt x="484" y="178"/>
                    </a:cubicBezTo>
                    <a:cubicBezTo>
                      <a:pt x="489" y="178"/>
                      <a:pt x="495" y="179"/>
                      <a:pt x="500" y="179"/>
                    </a:cubicBezTo>
                    <a:lnTo>
                      <a:pt x="500" y="177"/>
                    </a:lnTo>
                    <a:close/>
                    <a:moveTo>
                      <a:pt x="524" y="179"/>
                    </a:moveTo>
                    <a:cubicBezTo>
                      <a:pt x="519" y="178"/>
                      <a:pt x="514" y="178"/>
                      <a:pt x="508" y="178"/>
                    </a:cubicBezTo>
                    <a:cubicBezTo>
                      <a:pt x="508" y="180"/>
                      <a:pt x="508" y="180"/>
                      <a:pt x="508" y="180"/>
                    </a:cubicBezTo>
                    <a:cubicBezTo>
                      <a:pt x="513" y="180"/>
                      <a:pt x="519" y="181"/>
                      <a:pt x="524" y="181"/>
                    </a:cubicBezTo>
                    <a:cubicBezTo>
                      <a:pt x="524" y="179"/>
                      <a:pt x="524" y="179"/>
                      <a:pt x="524" y="179"/>
                    </a:cubicBezTo>
                    <a:close/>
                    <a:moveTo>
                      <a:pt x="548" y="181"/>
                    </a:moveTo>
                    <a:cubicBezTo>
                      <a:pt x="543" y="180"/>
                      <a:pt x="538" y="180"/>
                      <a:pt x="532" y="179"/>
                    </a:cubicBezTo>
                    <a:cubicBezTo>
                      <a:pt x="532" y="182"/>
                      <a:pt x="532" y="182"/>
                      <a:pt x="532" y="182"/>
                    </a:cubicBezTo>
                    <a:cubicBezTo>
                      <a:pt x="537" y="182"/>
                      <a:pt x="543" y="183"/>
                      <a:pt x="548" y="183"/>
                    </a:cubicBezTo>
                    <a:cubicBezTo>
                      <a:pt x="548" y="181"/>
                      <a:pt x="548" y="181"/>
                      <a:pt x="548" y="181"/>
                    </a:cubicBezTo>
                    <a:close/>
                    <a:moveTo>
                      <a:pt x="572" y="182"/>
                    </a:moveTo>
                    <a:cubicBezTo>
                      <a:pt x="567" y="182"/>
                      <a:pt x="561" y="182"/>
                      <a:pt x="556" y="181"/>
                    </a:cubicBezTo>
                    <a:cubicBezTo>
                      <a:pt x="556" y="184"/>
                      <a:pt x="556" y="184"/>
                      <a:pt x="556" y="184"/>
                    </a:cubicBezTo>
                    <a:cubicBezTo>
                      <a:pt x="561" y="184"/>
                      <a:pt x="567" y="184"/>
                      <a:pt x="572" y="185"/>
                    </a:cubicBezTo>
                    <a:cubicBezTo>
                      <a:pt x="572" y="182"/>
                      <a:pt x="572" y="182"/>
                      <a:pt x="572" y="182"/>
                    </a:cubicBezTo>
                    <a:close/>
                    <a:moveTo>
                      <a:pt x="596" y="184"/>
                    </a:moveTo>
                    <a:cubicBezTo>
                      <a:pt x="591" y="183"/>
                      <a:pt x="585" y="183"/>
                      <a:pt x="580" y="183"/>
                    </a:cubicBezTo>
                    <a:cubicBezTo>
                      <a:pt x="580" y="185"/>
                      <a:pt x="580" y="185"/>
                      <a:pt x="580" y="185"/>
                    </a:cubicBezTo>
                    <a:cubicBezTo>
                      <a:pt x="585" y="185"/>
                      <a:pt x="591" y="186"/>
                      <a:pt x="596" y="186"/>
                    </a:cubicBezTo>
                    <a:lnTo>
                      <a:pt x="596" y="184"/>
                    </a:lnTo>
                    <a:close/>
                    <a:moveTo>
                      <a:pt x="620" y="185"/>
                    </a:moveTo>
                    <a:cubicBezTo>
                      <a:pt x="615" y="184"/>
                      <a:pt x="609" y="184"/>
                      <a:pt x="604" y="184"/>
                    </a:cubicBezTo>
                    <a:cubicBezTo>
                      <a:pt x="604" y="186"/>
                      <a:pt x="604" y="186"/>
                      <a:pt x="604" y="186"/>
                    </a:cubicBezTo>
                    <a:cubicBezTo>
                      <a:pt x="609" y="187"/>
                      <a:pt x="615" y="187"/>
                      <a:pt x="620" y="187"/>
                    </a:cubicBezTo>
                    <a:lnTo>
                      <a:pt x="620" y="185"/>
                    </a:lnTo>
                    <a:close/>
                    <a:moveTo>
                      <a:pt x="644" y="185"/>
                    </a:moveTo>
                    <a:cubicBezTo>
                      <a:pt x="639" y="185"/>
                      <a:pt x="633" y="185"/>
                      <a:pt x="628" y="185"/>
                    </a:cubicBezTo>
                    <a:cubicBezTo>
                      <a:pt x="628" y="187"/>
                      <a:pt x="628" y="187"/>
                      <a:pt x="628" y="187"/>
                    </a:cubicBezTo>
                    <a:cubicBezTo>
                      <a:pt x="633" y="188"/>
                      <a:pt x="639" y="188"/>
                      <a:pt x="644" y="188"/>
                    </a:cubicBezTo>
                    <a:cubicBezTo>
                      <a:pt x="644" y="185"/>
                      <a:pt x="644" y="185"/>
                      <a:pt x="644" y="185"/>
                    </a:cubicBezTo>
                    <a:close/>
                    <a:moveTo>
                      <a:pt x="668" y="186"/>
                    </a:moveTo>
                    <a:cubicBezTo>
                      <a:pt x="663" y="186"/>
                      <a:pt x="657" y="186"/>
                      <a:pt x="652" y="186"/>
                    </a:cubicBezTo>
                    <a:cubicBezTo>
                      <a:pt x="652" y="188"/>
                      <a:pt x="652" y="188"/>
                      <a:pt x="652" y="188"/>
                    </a:cubicBezTo>
                    <a:cubicBezTo>
                      <a:pt x="657" y="188"/>
                      <a:pt x="663" y="188"/>
                      <a:pt x="668" y="188"/>
                    </a:cubicBezTo>
                    <a:cubicBezTo>
                      <a:pt x="668" y="186"/>
                      <a:pt x="668" y="186"/>
                      <a:pt x="668" y="186"/>
                    </a:cubicBezTo>
                    <a:close/>
                    <a:moveTo>
                      <a:pt x="692" y="186"/>
                    </a:moveTo>
                    <a:cubicBezTo>
                      <a:pt x="687" y="186"/>
                      <a:pt x="681" y="186"/>
                      <a:pt x="676" y="186"/>
                    </a:cubicBezTo>
                    <a:cubicBezTo>
                      <a:pt x="676" y="188"/>
                      <a:pt x="676" y="188"/>
                      <a:pt x="676" y="188"/>
                    </a:cubicBezTo>
                    <a:cubicBezTo>
                      <a:pt x="681" y="189"/>
                      <a:pt x="687" y="189"/>
                      <a:pt x="692" y="189"/>
                    </a:cubicBezTo>
                    <a:lnTo>
                      <a:pt x="692" y="186"/>
                    </a:lnTo>
                    <a:close/>
                    <a:moveTo>
                      <a:pt x="716" y="186"/>
                    </a:moveTo>
                    <a:cubicBezTo>
                      <a:pt x="711" y="186"/>
                      <a:pt x="705" y="186"/>
                      <a:pt x="700" y="186"/>
                    </a:cubicBezTo>
                    <a:cubicBezTo>
                      <a:pt x="700" y="189"/>
                      <a:pt x="700" y="189"/>
                      <a:pt x="700" y="189"/>
                    </a:cubicBezTo>
                    <a:cubicBezTo>
                      <a:pt x="705" y="189"/>
                      <a:pt x="711" y="188"/>
                      <a:pt x="716" y="188"/>
                    </a:cubicBezTo>
                    <a:cubicBezTo>
                      <a:pt x="716" y="186"/>
                      <a:pt x="716" y="186"/>
                      <a:pt x="716" y="186"/>
                    </a:cubicBezTo>
                    <a:close/>
                    <a:moveTo>
                      <a:pt x="740" y="185"/>
                    </a:moveTo>
                    <a:cubicBezTo>
                      <a:pt x="735" y="186"/>
                      <a:pt x="729" y="186"/>
                      <a:pt x="724" y="186"/>
                    </a:cubicBezTo>
                    <a:cubicBezTo>
                      <a:pt x="724" y="188"/>
                      <a:pt x="724" y="188"/>
                      <a:pt x="724" y="188"/>
                    </a:cubicBezTo>
                    <a:cubicBezTo>
                      <a:pt x="729" y="188"/>
                      <a:pt x="735" y="188"/>
                      <a:pt x="740" y="188"/>
                    </a:cubicBezTo>
                    <a:cubicBezTo>
                      <a:pt x="740" y="185"/>
                      <a:pt x="740" y="185"/>
                      <a:pt x="740" y="185"/>
                    </a:cubicBezTo>
                    <a:close/>
                    <a:moveTo>
                      <a:pt x="764" y="184"/>
                    </a:moveTo>
                    <a:cubicBezTo>
                      <a:pt x="759" y="185"/>
                      <a:pt x="753" y="185"/>
                      <a:pt x="748" y="185"/>
                    </a:cubicBezTo>
                    <a:cubicBezTo>
                      <a:pt x="748" y="188"/>
                      <a:pt x="748" y="188"/>
                      <a:pt x="748" y="188"/>
                    </a:cubicBezTo>
                    <a:cubicBezTo>
                      <a:pt x="753" y="187"/>
                      <a:pt x="759" y="187"/>
                      <a:pt x="764" y="187"/>
                    </a:cubicBezTo>
                    <a:cubicBezTo>
                      <a:pt x="764" y="184"/>
                      <a:pt x="764" y="184"/>
                      <a:pt x="764" y="184"/>
                    </a:cubicBezTo>
                    <a:close/>
                    <a:moveTo>
                      <a:pt x="788" y="183"/>
                    </a:moveTo>
                    <a:cubicBezTo>
                      <a:pt x="783" y="183"/>
                      <a:pt x="777" y="184"/>
                      <a:pt x="772" y="184"/>
                    </a:cubicBezTo>
                    <a:cubicBezTo>
                      <a:pt x="772" y="186"/>
                      <a:pt x="772" y="186"/>
                      <a:pt x="772" y="186"/>
                    </a:cubicBezTo>
                    <a:cubicBezTo>
                      <a:pt x="777" y="186"/>
                      <a:pt x="783" y="186"/>
                      <a:pt x="788" y="185"/>
                    </a:cubicBezTo>
                    <a:cubicBezTo>
                      <a:pt x="788" y="183"/>
                      <a:pt x="788" y="183"/>
                      <a:pt x="788" y="183"/>
                    </a:cubicBezTo>
                    <a:close/>
                    <a:moveTo>
                      <a:pt x="812" y="181"/>
                    </a:moveTo>
                    <a:cubicBezTo>
                      <a:pt x="806" y="181"/>
                      <a:pt x="801" y="182"/>
                      <a:pt x="796" y="182"/>
                    </a:cubicBezTo>
                    <a:cubicBezTo>
                      <a:pt x="796" y="185"/>
                      <a:pt x="796" y="185"/>
                      <a:pt x="796" y="185"/>
                    </a:cubicBezTo>
                    <a:cubicBezTo>
                      <a:pt x="801" y="184"/>
                      <a:pt x="807" y="184"/>
                      <a:pt x="812" y="183"/>
                    </a:cubicBezTo>
                    <a:cubicBezTo>
                      <a:pt x="812" y="181"/>
                      <a:pt x="812" y="181"/>
                      <a:pt x="812" y="181"/>
                    </a:cubicBezTo>
                    <a:close/>
                    <a:moveTo>
                      <a:pt x="835" y="177"/>
                    </a:moveTo>
                    <a:cubicBezTo>
                      <a:pt x="830" y="178"/>
                      <a:pt x="825" y="179"/>
                      <a:pt x="820" y="180"/>
                    </a:cubicBezTo>
                    <a:cubicBezTo>
                      <a:pt x="820" y="182"/>
                      <a:pt x="820" y="182"/>
                      <a:pt x="820" y="182"/>
                    </a:cubicBezTo>
                    <a:cubicBezTo>
                      <a:pt x="825" y="181"/>
                      <a:pt x="831" y="181"/>
                      <a:pt x="836" y="180"/>
                    </a:cubicBezTo>
                    <a:cubicBezTo>
                      <a:pt x="835" y="177"/>
                      <a:pt x="835" y="177"/>
                      <a:pt x="835" y="177"/>
                    </a:cubicBezTo>
                    <a:close/>
                    <a:moveTo>
                      <a:pt x="859" y="173"/>
                    </a:moveTo>
                    <a:cubicBezTo>
                      <a:pt x="854" y="174"/>
                      <a:pt x="849" y="175"/>
                      <a:pt x="843" y="176"/>
                    </a:cubicBezTo>
                    <a:cubicBezTo>
                      <a:pt x="844" y="178"/>
                      <a:pt x="844" y="178"/>
                      <a:pt x="844" y="178"/>
                    </a:cubicBezTo>
                    <a:cubicBezTo>
                      <a:pt x="849" y="177"/>
                      <a:pt x="854" y="176"/>
                      <a:pt x="859" y="175"/>
                    </a:cubicBezTo>
                    <a:lnTo>
                      <a:pt x="859" y="173"/>
                    </a:lnTo>
                    <a:close/>
                    <a:moveTo>
                      <a:pt x="882" y="166"/>
                    </a:moveTo>
                    <a:cubicBezTo>
                      <a:pt x="877" y="168"/>
                      <a:pt x="872" y="170"/>
                      <a:pt x="867" y="171"/>
                    </a:cubicBezTo>
                    <a:cubicBezTo>
                      <a:pt x="867" y="173"/>
                      <a:pt x="867" y="173"/>
                      <a:pt x="867" y="173"/>
                    </a:cubicBezTo>
                    <a:cubicBezTo>
                      <a:pt x="873" y="172"/>
                      <a:pt x="878" y="170"/>
                      <a:pt x="883" y="169"/>
                    </a:cubicBezTo>
                    <a:cubicBezTo>
                      <a:pt x="882" y="166"/>
                      <a:pt x="882" y="166"/>
                      <a:pt x="882" y="166"/>
                    </a:cubicBezTo>
                    <a:close/>
                    <a:moveTo>
                      <a:pt x="903" y="156"/>
                    </a:moveTo>
                    <a:cubicBezTo>
                      <a:pt x="899" y="158"/>
                      <a:pt x="895" y="161"/>
                      <a:pt x="889" y="164"/>
                    </a:cubicBezTo>
                    <a:cubicBezTo>
                      <a:pt x="890" y="166"/>
                      <a:pt x="890" y="166"/>
                      <a:pt x="890" y="166"/>
                    </a:cubicBezTo>
                    <a:cubicBezTo>
                      <a:pt x="896" y="163"/>
                      <a:pt x="901" y="160"/>
                      <a:pt x="904" y="157"/>
                    </a:cubicBezTo>
                    <a:cubicBezTo>
                      <a:pt x="903" y="156"/>
                      <a:pt x="903" y="156"/>
                      <a:pt x="903" y="156"/>
                    </a:cubicBezTo>
                    <a:close/>
                    <a:moveTo>
                      <a:pt x="906" y="137"/>
                    </a:moveTo>
                    <a:cubicBezTo>
                      <a:pt x="908" y="139"/>
                      <a:pt x="909" y="142"/>
                      <a:pt x="909" y="144"/>
                    </a:cubicBezTo>
                    <a:cubicBezTo>
                      <a:pt x="909" y="144"/>
                      <a:pt x="909" y="144"/>
                      <a:pt x="909" y="144"/>
                    </a:cubicBezTo>
                    <a:cubicBezTo>
                      <a:pt x="909" y="144"/>
                      <a:pt x="909" y="144"/>
                      <a:pt x="909" y="144"/>
                    </a:cubicBezTo>
                    <a:cubicBezTo>
                      <a:pt x="909" y="146"/>
                      <a:pt x="909" y="148"/>
                      <a:pt x="907" y="150"/>
                    </a:cubicBezTo>
                    <a:cubicBezTo>
                      <a:pt x="910" y="151"/>
                      <a:pt x="910" y="151"/>
                      <a:pt x="910" y="151"/>
                    </a:cubicBezTo>
                    <a:cubicBezTo>
                      <a:pt x="911" y="149"/>
                      <a:pt x="912" y="147"/>
                      <a:pt x="912" y="144"/>
                    </a:cubicBezTo>
                    <a:cubicBezTo>
                      <a:pt x="912" y="144"/>
                      <a:pt x="912" y="144"/>
                      <a:pt x="912" y="144"/>
                    </a:cubicBezTo>
                    <a:cubicBezTo>
                      <a:pt x="912" y="144"/>
                      <a:pt x="912" y="144"/>
                      <a:pt x="912" y="144"/>
                    </a:cubicBezTo>
                    <a:cubicBezTo>
                      <a:pt x="912" y="141"/>
                      <a:pt x="910" y="138"/>
                      <a:pt x="908" y="135"/>
                    </a:cubicBezTo>
                    <a:cubicBezTo>
                      <a:pt x="906" y="137"/>
                      <a:pt x="906" y="137"/>
                      <a:pt x="906" y="137"/>
                    </a:cubicBezTo>
                    <a:close/>
                    <a:moveTo>
                      <a:pt x="887" y="124"/>
                    </a:moveTo>
                    <a:cubicBezTo>
                      <a:pt x="892" y="126"/>
                      <a:pt x="897" y="129"/>
                      <a:pt x="900" y="132"/>
                    </a:cubicBezTo>
                    <a:cubicBezTo>
                      <a:pt x="902" y="130"/>
                      <a:pt x="902" y="130"/>
                      <a:pt x="902" y="130"/>
                    </a:cubicBezTo>
                    <a:cubicBezTo>
                      <a:pt x="898" y="127"/>
                      <a:pt x="893" y="124"/>
                      <a:pt x="888" y="121"/>
                    </a:cubicBezTo>
                    <a:cubicBezTo>
                      <a:pt x="887" y="124"/>
                      <a:pt x="887" y="124"/>
                      <a:pt x="887" y="124"/>
                    </a:cubicBezTo>
                    <a:close/>
                    <a:moveTo>
                      <a:pt x="865" y="114"/>
                    </a:moveTo>
                    <a:cubicBezTo>
                      <a:pt x="870" y="116"/>
                      <a:pt x="875" y="118"/>
                      <a:pt x="880" y="120"/>
                    </a:cubicBezTo>
                    <a:cubicBezTo>
                      <a:pt x="881" y="118"/>
                      <a:pt x="881" y="118"/>
                      <a:pt x="881" y="118"/>
                    </a:cubicBezTo>
                    <a:cubicBezTo>
                      <a:pt x="876" y="116"/>
                      <a:pt x="871" y="114"/>
                      <a:pt x="866" y="111"/>
                    </a:cubicBezTo>
                    <a:cubicBezTo>
                      <a:pt x="865" y="114"/>
                      <a:pt x="865" y="114"/>
                      <a:pt x="865" y="114"/>
                    </a:cubicBezTo>
                    <a:close/>
                    <a:moveTo>
                      <a:pt x="843" y="105"/>
                    </a:moveTo>
                    <a:cubicBezTo>
                      <a:pt x="848" y="107"/>
                      <a:pt x="853" y="109"/>
                      <a:pt x="858" y="111"/>
                    </a:cubicBezTo>
                    <a:cubicBezTo>
                      <a:pt x="858" y="108"/>
                      <a:pt x="858" y="108"/>
                      <a:pt x="858" y="108"/>
                    </a:cubicBezTo>
                    <a:cubicBezTo>
                      <a:pt x="854" y="106"/>
                      <a:pt x="849" y="105"/>
                      <a:pt x="843" y="103"/>
                    </a:cubicBezTo>
                    <a:cubicBezTo>
                      <a:pt x="843" y="105"/>
                      <a:pt x="843" y="105"/>
                      <a:pt x="843" y="105"/>
                    </a:cubicBezTo>
                    <a:close/>
                    <a:moveTo>
                      <a:pt x="820" y="97"/>
                    </a:moveTo>
                    <a:cubicBezTo>
                      <a:pt x="825" y="99"/>
                      <a:pt x="830" y="101"/>
                      <a:pt x="835" y="102"/>
                    </a:cubicBezTo>
                    <a:cubicBezTo>
                      <a:pt x="836" y="100"/>
                      <a:pt x="836" y="100"/>
                      <a:pt x="836" y="100"/>
                    </a:cubicBezTo>
                    <a:cubicBezTo>
                      <a:pt x="831" y="98"/>
                      <a:pt x="826" y="97"/>
                      <a:pt x="821" y="95"/>
                    </a:cubicBezTo>
                    <a:cubicBezTo>
                      <a:pt x="820" y="97"/>
                      <a:pt x="820" y="97"/>
                      <a:pt x="820" y="97"/>
                    </a:cubicBezTo>
                    <a:close/>
                    <a:moveTo>
                      <a:pt x="797" y="90"/>
                    </a:moveTo>
                    <a:cubicBezTo>
                      <a:pt x="802" y="91"/>
                      <a:pt x="807" y="93"/>
                      <a:pt x="812" y="95"/>
                    </a:cubicBezTo>
                    <a:cubicBezTo>
                      <a:pt x="813" y="92"/>
                      <a:pt x="813" y="92"/>
                      <a:pt x="813" y="92"/>
                    </a:cubicBezTo>
                    <a:cubicBezTo>
                      <a:pt x="808" y="91"/>
                      <a:pt x="803" y="89"/>
                      <a:pt x="798" y="87"/>
                    </a:cubicBezTo>
                    <a:cubicBezTo>
                      <a:pt x="797" y="90"/>
                      <a:pt x="797" y="90"/>
                      <a:pt x="797" y="90"/>
                    </a:cubicBezTo>
                    <a:close/>
                    <a:moveTo>
                      <a:pt x="774" y="83"/>
                    </a:moveTo>
                    <a:cubicBezTo>
                      <a:pt x="779" y="84"/>
                      <a:pt x="784" y="86"/>
                      <a:pt x="790" y="87"/>
                    </a:cubicBezTo>
                    <a:cubicBezTo>
                      <a:pt x="790" y="85"/>
                      <a:pt x="790" y="85"/>
                      <a:pt x="790" y="85"/>
                    </a:cubicBezTo>
                    <a:cubicBezTo>
                      <a:pt x="785" y="83"/>
                      <a:pt x="780" y="82"/>
                      <a:pt x="775" y="80"/>
                    </a:cubicBezTo>
                    <a:cubicBezTo>
                      <a:pt x="774" y="83"/>
                      <a:pt x="774" y="83"/>
                      <a:pt x="774" y="83"/>
                    </a:cubicBezTo>
                    <a:close/>
                    <a:moveTo>
                      <a:pt x="751" y="76"/>
                    </a:moveTo>
                    <a:cubicBezTo>
                      <a:pt x="756" y="78"/>
                      <a:pt x="761" y="79"/>
                      <a:pt x="766" y="80"/>
                    </a:cubicBezTo>
                    <a:cubicBezTo>
                      <a:pt x="767" y="78"/>
                      <a:pt x="767" y="78"/>
                      <a:pt x="767" y="78"/>
                    </a:cubicBezTo>
                    <a:cubicBezTo>
                      <a:pt x="762" y="77"/>
                      <a:pt x="757" y="75"/>
                      <a:pt x="752" y="74"/>
                    </a:cubicBezTo>
                    <a:cubicBezTo>
                      <a:pt x="751" y="76"/>
                      <a:pt x="751" y="76"/>
                      <a:pt x="751" y="76"/>
                    </a:cubicBezTo>
                    <a:close/>
                    <a:moveTo>
                      <a:pt x="728" y="70"/>
                    </a:moveTo>
                    <a:cubicBezTo>
                      <a:pt x="733" y="71"/>
                      <a:pt x="738" y="73"/>
                      <a:pt x="743" y="74"/>
                    </a:cubicBezTo>
                    <a:cubicBezTo>
                      <a:pt x="744" y="72"/>
                      <a:pt x="744" y="72"/>
                      <a:pt x="744" y="72"/>
                    </a:cubicBezTo>
                    <a:cubicBezTo>
                      <a:pt x="739" y="70"/>
                      <a:pt x="734" y="69"/>
                      <a:pt x="729" y="67"/>
                    </a:cubicBezTo>
                    <a:cubicBezTo>
                      <a:pt x="728" y="70"/>
                      <a:pt x="728" y="70"/>
                      <a:pt x="728" y="70"/>
                    </a:cubicBezTo>
                    <a:close/>
                    <a:moveTo>
                      <a:pt x="705" y="64"/>
                    </a:moveTo>
                    <a:cubicBezTo>
                      <a:pt x="710" y="65"/>
                      <a:pt x="715" y="66"/>
                      <a:pt x="720" y="68"/>
                    </a:cubicBezTo>
                    <a:cubicBezTo>
                      <a:pt x="721" y="65"/>
                      <a:pt x="721" y="65"/>
                      <a:pt x="721" y="65"/>
                    </a:cubicBezTo>
                    <a:cubicBezTo>
                      <a:pt x="716" y="64"/>
                      <a:pt x="710" y="63"/>
                      <a:pt x="705" y="61"/>
                    </a:cubicBezTo>
                    <a:lnTo>
                      <a:pt x="705" y="64"/>
                    </a:lnTo>
                    <a:close/>
                    <a:moveTo>
                      <a:pt x="681" y="58"/>
                    </a:moveTo>
                    <a:cubicBezTo>
                      <a:pt x="687" y="59"/>
                      <a:pt x="692" y="60"/>
                      <a:pt x="697" y="62"/>
                    </a:cubicBezTo>
                    <a:cubicBezTo>
                      <a:pt x="698" y="59"/>
                      <a:pt x="698" y="59"/>
                      <a:pt x="698" y="59"/>
                    </a:cubicBezTo>
                    <a:cubicBezTo>
                      <a:pt x="692" y="58"/>
                      <a:pt x="687" y="57"/>
                      <a:pt x="682" y="55"/>
                    </a:cubicBezTo>
                    <a:cubicBezTo>
                      <a:pt x="681" y="58"/>
                      <a:pt x="681" y="58"/>
                      <a:pt x="681" y="58"/>
                    </a:cubicBezTo>
                    <a:close/>
                    <a:moveTo>
                      <a:pt x="658" y="52"/>
                    </a:moveTo>
                    <a:cubicBezTo>
                      <a:pt x="663" y="53"/>
                      <a:pt x="668" y="54"/>
                      <a:pt x="674" y="56"/>
                    </a:cubicBezTo>
                    <a:cubicBezTo>
                      <a:pt x="674" y="53"/>
                      <a:pt x="674" y="53"/>
                      <a:pt x="674" y="53"/>
                    </a:cubicBezTo>
                    <a:cubicBezTo>
                      <a:pt x="669" y="52"/>
                      <a:pt x="664" y="51"/>
                      <a:pt x="659" y="49"/>
                    </a:cubicBezTo>
                    <a:lnTo>
                      <a:pt x="658" y="52"/>
                    </a:lnTo>
                    <a:close/>
                    <a:moveTo>
                      <a:pt x="635" y="46"/>
                    </a:moveTo>
                    <a:cubicBezTo>
                      <a:pt x="639" y="47"/>
                      <a:pt x="639" y="47"/>
                      <a:pt x="639" y="47"/>
                    </a:cubicBezTo>
                    <a:cubicBezTo>
                      <a:pt x="639" y="47"/>
                      <a:pt x="639" y="47"/>
                      <a:pt x="639" y="47"/>
                    </a:cubicBezTo>
                    <a:cubicBezTo>
                      <a:pt x="639" y="47"/>
                      <a:pt x="639" y="47"/>
                      <a:pt x="639" y="47"/>
                    </a:cubicBezTo>
                    <a:cubicBezTo>
                      <a:pt x="643" y="48"/>
                      <a:pt x="647" y="49"/>
                      <a:pt x="650" y="50"/>
                    </a:cubicBezTo>
                    <a:cubicBezTo>
                      <a:pt x="651" y="48"/>
                      <a:pt x="651" y="48"/>
                      <a:pt x="651" y="48"/>
                    </a:cubicBezTo>
                    <a:cubicBezTo>
                      <a:pt x="647" y="47"/>
                      <a:pt x="643" y="46"/>
                      <a:pt x="640" y="45"/>
                    </a:cubicBezTo>
                    <a:cubicBezTo>
                      <a:pt x="639" y="46"/>
                      <a:pt x="639" y="46"/>
                      <a:pt x="639" y="46"/>
                    </a:cubicBezTo>
                    <a:cubicBezTo>
                      <a:pt x="640" y="45"/>
                      <a:pt x="640" y="45"/>
                      <a:pt x="640" y="45"/>
                    </a:cubicBezTo>
                    <a:cubicBezTo>
                      <a:pt x="635" y="44"/>
                      <a:pt x="635" y="44"/>
                      <a:pt x="635" y="44"/>
                    </a:cubicBezTo>
                    <a:cubicBezTo>
                      <a:pt x="635" y="46"/>
                      <a:pt x="635" y="46"/>
                      <a:pt x="635" y="46"/>
                    </a:cubicBezTo>
                    <a:close/>
                    <a:moveTo>
                      <a:pt x="612" y="40"/>
                    </a:moveTo>
                    <a:cubicBezTo>
                      <a:pt x="627" y="44"/>
                      <a:pt x="627" y="44"/>
                      <a:pt x="627" y="44"/>
                    </a:cubicBezTo>
                    <a:cubicBezTo>
                      <a:pt x="628" y="42"/>
                      <a:pt x="628" y="42"/>
                      <a:pt x="628" y="42"/>
                    </a:cubicBezTo>
                    <a:cubicBezTo>
                      <a:pt x="612" y="38"/>
                      <a:pt x="612" y="38"/>
                      <a:pt x="612" y="38"/>
                    </a:cubicBezTo>
                    <a:lnTo>
                      <a:pt x="61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2" name="Freeform 1434">
                <a:extLst>
                  <a:ext uri="{FF2B5EF4-FFF2-40B4-BE49-F238E27FC236}">
                    <a16:creationId xmlns:a16="http://schemas.microsoft.com/office/drawing/2014/main" id="{938B4EC8-04BD-49AC-8392-335B80E40395}"/>
                  </a:ext>
                </a:extLst>
              </p:cNvPr>
              <p:cNvSpPr>
                <a:spLocks/>
              </p:cNvSpPr>
              <p:nvPr/>
            </p:nvSpPr>
            <p:spPr bwMode="auto">
              <a:xfrm>
                <a:off x="17581563" y="1515571"/>
                <a:ext cx="222250" cy="242887"/>
              </a:xfrm>
              <a:custGeom>
                <a:avLst/>
                <a:gdLst>
                  <a:gd name="T0" fmla="*/ 147 w 150"/>
                  <a:gd name="T1" fmla="*/ 115 h 165"/>
                  <a:gd name="T2" fmla="*/ 125 w 150"/>
                  <a:gd name="T3" fmla="*/ 55 h 165"/>
                  <a:gd name="T4" fmla="*/ 131 w 150"/>
                  <a:gd name="T5" fmla="*/ 53 h 165"/>
                  <a:gd name="T6" fmla="*/ 135 w 150"/>
                  <a:gd name="T7" fmla="*/ 44 h 165"/>
                  <a:gd name="T8" fmla="*/ 121 w 150"/>
                  <a:gd name="T9" fmla="*/ 7 h 165"/>
                  <a:gd name="T10" fmla="*/ 112 w 150"/>
                  <a:gd name="T11" fmla="*/ 3 h 165"/>
                  <a:gd name="T12" fmla="*/ 105 w 150"/>
                  <a:gd name="T13" fmla="*/ 6 h 165"/>
                  <a:gd name="T14" fmla="*/ 90 w 150"/>
                  <a:gd name="T15" fmla="*/ 2 h 165"/>
                  <a:gd name="T16" fmla="*/ 10 w 150"/>
                  <a:gd name="T17" fmla="*/ 32 h 165"/>
                  <a:gd name="T18" fmla="*/ 2 w 150"/>
                  <a:gd name="T19" fmla="*/ 49 h 165"/>
                  <a:gd name="T20" fmla="*/ 42 w 150"/>
                  <a:gd name="T21" fmla="*/ 155 h 165"/>
                  <a:gd name="T22" fmla="*/ 59 w 150"/>
                  <a:gd name="T23" fmla="*/ 163 h 165"/>
                  <a:gd name="T24" fmla="*/ 140 w 150"/>
                  <a:gd name="T25" fmla="*/ 132 h 165"/>
                  <a:gd name="T26" fmla="*/ 147 w 150"/>
                  <a:gd name="T27" fmla="*/ 11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65">
                    <a:moveTo>
                      <a:pt x="147" y="115"/>
                    </a:moveTo>
                    <a:cubicBezTo>
                      <a:pt x="125" y="55"/>
                      <a:pt x="125" y="55"/>
                      <a:pt x="125" y="55"/>
                    </a:cubicBezTo>
                    <a:cubicBezTo>
                      <a:pt x="131" y="53"/>
                      <a:pt x="131" y="53"/>
                      <a:pt x="131" y="53"/>
                    </a:cubicBezTo>
                    <a:cubicBezTo>
                      <a:pt x="134" y="52"/>
                      <a:pt x="136" y="48"/>
                      <a:pt x="135" y="44"/>
                    </a:cubicBezTo>
                    <a:cubicBezTo>
                      <a:pt x="121" y="7"/>
                      <a:pt x="121" y="7"/>
                      <a:pt x="121" y="7"/>
                    </a:cubicBezTo>
                    <a:cubicBezTo>
                      <a:pt x="119" y="4"/>
                      <a:pt x="115" y="2"/>
                      <a:pt x="112" y="3"/>
                    </a:cubicBezTo>
                    <a:cubicBezTo>
                      <a:pt x="105" y="6"/>
                      <a:pt x="105" y="6"/>
                      <a:pt x="105" y="6"/>
                    </a:cubicBezTo>
                    <a:cubicBezTo>
                      <a:pt x="102" y="1"/>
                      <a:pt x="96" y="0"/>
                      <a:pt x="90" y="2"/>
                    </a:cubicBezTo>
                    <a:cubicBezTo>
                      <a:pt x="10" y="32"/>
                      <a:pt x="10" y="32"/>
                      <a:pt x="10" y="32"/>
                    </a:cubicBezTo>
                    <a:cubicBezTo>
                      <a:pt x="3" y="34"/>
                      <a:pt x="0" y="42"/>
                      <a:pt x="2" y="49"/>
                    </a:cubicBezTo>
                    <a:cubicBezTo>
                      <a:pt x="42" y="155"/>
                      <a:pt x="42" y="155"/>
                      <a:pt x="42" y="155"/>
                    </a:cubicBezTo>
                    <a:cubicBezTo>
                      <a:pt x="45" y="162"/>
                      <a:pt x="53" y="165"/>
                      <a:pt x="59" y="163"/>
                    </a:cubicBezTo>
                    <a:cubicBezTo>
                      <a:pt x="140" y="132"/>
                      <a:pt x="140" y="132"/>
                      <a:pt x="140" y="132"/>
                    </a:cubicBezTo>
                    <a:cubicBezTo>
                      <a:pt x="147" y="130"/>
                      <a:pt x="150" y="122"/>
                      <a:pt x="147" y="115"/>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3" name="Freeform 1435">
                <a:extLst>
                  <a:ext uri="{FF2B5EF4-FFF2-40B4-BE49-F238E27FC236}">
                    <a16:creationId xmlns:a16="http://schemas.microsoft.com/office/drawing/2014/main" id="{163CBA31-348E-4A85-BD30-5B965EA9F069}"/>
                  </a:ext>
                </a:extLst>
              </p:cNvPr>
              <p:cNvSpPr>
                <a:spLocks/>
              </p:cNvSpPr>
              <p:nvPr/>
            </p:nvSpPr>
            <p:spPr bwMode="auto">
              <a:xfrm>
                <a:off x="17608550" y="1531446"/>
                <a:ext cx="180975" cy="206375"/>
              </a:xfrm>
              <a:custGeom>
                <a:avLst/>
                <a:gdLst>
                  <a:gd name="T0" fmla="*/ 74 w 114"/>
                  <a:gd name="T1" fmla="*/ 0 h 130"/>
                  <a:gd name="T2" fmla="*/ 0 w 114"/>
                  <a:gd name="T3" fmla="*/ 27 h 130"/>
                  <a:gd name="T4" fmla="*/ 39 w 114"/>
                  <a:gd name="T5" fmla="*/ 130 h 130"/>
                  <a:gd name="T6" fmla="*/ 114 w 114"/>
                  <a:gd name="T7" fmla="*/ 102 h 130"/>
                  <a:gd name="T8" fmla="*/ 74 w 114"/>
                  <a:gd name="T9" fmla="*/ 0 h 130"/>
                </a:gdLst>
                <a:ahLst/>
                <a:cxnLst>
                  <a:cxn ang="0">
                    <a:pos x="T0" y="T1"/>
                  </a:cxn>
                  <a:cxn ang="0">
                    <a:pos x="T2" y="T3"/>
                  </a:cxn>
                  <a:cxn ang="0">
                    <a:pos x="T4" y="T5"/>
                  </a:cxn>
                  <a:cxn ang="0">
                    <a:pos x="T6" y="T7"/>
                  </a:cxn>
                  <a:cxn ang="0">
                    <a:pos x="T8" y="T9"/>
                  </a:cxn>
                </a:cxnLst>
                <a:rect l="0" t="0" r="r" b="b"/>
                <a:pathLst>
                  <a:path w="114" h="130">
                    <a:moveTo>
                      <a:pt x="74" y="0"/>
                    </a:moveTo>
                    <a:lnTo>
                      <a:pt x="0" y="27"/>
                    </a:lnTo>
                    <a:lnTo>
                      <a:pt x="39" y="130"/>
                    </a:lnTo>
                    <a:lnTo>
                      <a:pt x="114" y="102"/>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4" name="Freeform 1436">
                <a:extLst>
                  <a:ext uri="{FF2B5EF4-FFF2-40B4-BE49-F238E27FC236}">
                    <a16:creationId xmlns:a16="http://schemas.microsoft.com/office/drawing/2014/main" id="{4BF5873B-9580-491D-A973-01D670668929}"/>
                  </a:ext>
                </a:extLst>
              </p:cNvPr>
              <p:cNvSpPr>
                <a:spLocks/>
              </p:cNvSpPr>
              <p:nvPr/>
            </p:nvSpPr>
            <p:spPr bwMode="auto">
              <a:xfrm>
                <a:off x="17581563" y="1550496"/>
                <a:ext cx="211137" cy="209550"/>
              </a:xfrm>
              <a:custGeom>
                <a:avLst/>
                <a:gdLst>
                  <a:gd name="T0" fmla="*/ 60 w 143"/>
                  <a:gd name="T1" fmla="*/ 142 h 143"/>
                  <a:gd name="T2" fmla="*/ 42 w 143"/>
                  <a:gd name="T3" fmla="*/ 131 h 143"/>
                  <a:gd name="T4" fmla="*/ 2 w 143"/>
                  <a:gd name="T5" fmla="*/ 25 h 143"/>
                  <a:gd name="T6" fmla="*/ 11 w 143"/>
                  <a:gd name="T7" fmla="*/ 11 h 143"/>
                  <a:gd name="T8" fmla="*/ 83 w 143"/>
                  <a:gd name="T9" fmla="*/ 1 h 143"/>
                  <a:gd name="T10" fmla="*/ 101 w 143"/>
                  <a:gd name="T11" fmla="*/ 11 h 143"/>
                  <a:gd name="T12" fmla="*/ 141 w 143"/>
                  <a:gd name="T13" fmla="*/ 117 h 143"/>
                  <a:gd name="T14" fmla="*/ 132 w 143"/>
                  <a:gd name="T15" fmla="*/ 132 h 143"/>
                  <a:gd name="T16" fmla="*/ 60 w 143"/>
                  <a:gd name="T17" fmla="*/ 1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60" y="142"/>
                    </a:moveTo>
                    <a:cubicBezTo>
                      <a:pt x="53" y="143"/>
                      <a:pt x="45" y="138"/>
                      <a:pt x="42" y="131"/>
                    </a:cubicBezTo>
                    <a:cubicBezTo>
                      <a:pt x="2" y="25"/>
                      <a:pt x="2" y="25"/>
                      <a:pt x="2" y="25"/>
                    </a:cubicBezTo>
                    <a:cubicBezTo>
                      <a:pt x="0" y="18"/>
                      <a:pt x="3" y="12"/>
                      <a:pt x="11" y="11"/>
                    </a:cubicBezTo>
                    <a:cubicBezTo>
                      <a:pt x="83" y="1"/>
                      <a:pt x="83" y="1"/>
                      <a:pt x="83" y="1"/>
                    </a:cubicBezTo>
                    <a:cubicBezTo>
                      <a:pt x="90" y="0"/>
                      <a:pt x="98" y="5"/>
                      <a:pt x="101" y="11"/>
                    </a:cubicBezTo>
                    <a:cubicBezTo>
                      <a:pt x="141" y="117"/>
                      <a:pt x="141" y="117"/>
                      <a:pt x="141" y="117"/>
                    </a:cubicBezTo>
                    <a:cubicBezTo>
                      <a:pt x="143" y="124"/>
                      <a:pt x="139" y="131"/>
                      <a:pt x="132" y="132"/>
                    </a:cubicBezTo>
                    <a:lnTo>
                      <a:pt x="60" y="142"/>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5" name="Freeform 1437">
                <a:extLst>
                  <a:ext uri="{FF2B5EF4-FFF2-40B4-BE49-F238E27FC236}">
                    <a16:creationId xmlns:a16="http://schemas.microsoft.com/office/drawing/2014/main" id="{78499400-CCF3-4811-A9B3-8FA68CDFCAEB}"/>
                  </a:ext>
                </a:extLst>
              </p:cNvPr>
              <p:cNvSpPr>
                <a:spLocks/>
              </p:cNvSpPr>
              <p:nvPr/>
            </p:nvSpPr>
            <p:spPr bwMode="auto">
              <a:xfrm>
                <a:off x="17305338" y="1894984"/>
                <a:ext cx="271462" cy="192087"/>
              </a:xfrm>
              <a:custGeom>
                <a:avLst/>
                <a:gdLst>
                  <a:gd name="T0" fmla="*/ 164 w 184"/>
                  <a:gd name="T1" fmla="*/ 126 h 131"/>
                  <a:gd name="T2" fmla="*/ 157 w 184"/>
                  <a:gd name="T3" fmla="*/ 130 h 131"/>
                  <a:gd name="T4" fmla="*/ 5 w 184"/>
                  <a:gd name="T5" fmla="*/ 94 h 131"/>
                  <a:gd name="T6" fmla="*/ 1 w 184"/>
                  <a:gd name="T7" fmla="*/ 87 h 131"/>
                  <a:gd name="T8" fmla="*/ 20 w 184"/>
                  <a:gd name="T9" fmla="*/ 5 h 131"/>
                  <a:gd name="T10" fmla="*/ 28 w 184"/>
                  <a:gd name="T11" fmla="*/ 0 h 131"/>
                  <a:gd name="T12" fmla="*/ 179 w 184"/>
                  <a:gd name="T13" fmla="*/ 37 h 131"/>
                  <a:gd name="T14" fmla="*/ 184 w 184"/>
                  <a:gd name="T15" fmla="*/ 44 h 131"/>
                  <a:gd name="T16" fmla="*/ 164 w 184"/>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131">
                    <a:moveTo>
                      <a:pt x="164" y="126"/>
                    </a:moveTo>
                    <a:cubicBezTo>
                      <a:pt x="163" y="129"/>
                      <a:pt x="160" y="131"/>
                      <a:pt x="157" y="130"/>
                    </a:cubicBezTo>
                    <a:cubicBezTo>
                      <a:pt x="5" y="94"/>
                      <a:pt x="5" y="94"/>
                      <a:pt x="5" y="94"/>
                    </a:cubicBezTo>
                    <a:cubicBezTo>
                      <a:pt x="2" y="93"/>
                      <a:pt x="0" y="90"/>
                      <a:pt x="1" y="87"/>
                    </a:cubicBezTo>
                    <a:cubicBezTo>
                      <a:pt x="20" y="5"/>
                      <a:pt x="20" y="5"/>
                      <a:pt x="20" y="5"/>
                    </a:cubicBezTo>
                    <a:cubicBezTo>
                      <a:pt x="21" y="2"/>
                      <a:pt x="24" y="0"/>
                      <a:pt x="28" y="0"/>
                    </a:cubicBezTo>
                    <a:cubicBezTo>
                      <a:pt x="179" y="37"/>
                      <a:pt x="179" y="37"/>
                      <a:pt x="179" y="37"/>
                    </a:cubicBezTo>
                    <a:cubicBezTo>
                      <a:pt x="182" y="38"/>
                      <a:pt x="184" y="41"/>
                      <a:pt x="184" y="44"/>
                    </a:cubicBezTo>
                    <a:cubicBezTo>
                      <a:pt x="164" y="126"/>
                      <a:pt x="164" y="126"/>
                      <a:pt x="164" y="126"/>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6" name="Freeform 1438">
                <a:extLst>
                  <a:ext uri="{FF2B5EF4-FFF2-40B4-BE49-F238E27FC236}">
                    <a16:creationId xmlns:a16="http://schemas.microsoft.com/office/drawing/2014/main" id="{CBD8CA43-9ECB-4C5C-9AD1-DC0E096CDCFA}"/>
                  </a:ext>
                </a:extLst>
              </p:cNvPr>
              <p:cNvSpPr>
                <a:spLocks/>
              </p:cNvSpPr>
              <p:nvPr/>
            </p:nvSpPr>
            <p:spPr bwMode="auto">
              <a:xfrm>
                <a:off x="17403763" y="1933084"/>
                <a:ext cx="131762" cy="130175"/>
              </a:xfrm>
              <a:custGeom>
                <a:avLst/>
                <a:gdLst>
                  <a:gd name="T0" fmla="*/ 6 w 89"/>
                  <a:gd name="T1" fmla="*/ 34 h 89"/>
                  <a:gd name="T2" fmla="*/ 55 w 89"/>
                  <a:gd name="T3" fmla="*/ 5 h 89"/>
                  <a:gd name="T4" fmla="*/ 84 w 89"/>
                  <a:gd name="T5" fmla="*/ 54 h 89"/>
                  <a:gd name="T6" fmla="*/ 35 w 89"/>
                  <a:gd name="T7" fmla="*/ 83 h 89"/>
                  <a:gd name="T8" fmla="*/ 6 w 89"/>
                  <a:gd name="T9" fmla="*/ 34 h 89"/>
                </a:gdLst>
                <a:ahLst/>
                <a:cxnLst>
                  <a:cxn ang="0">
                    <a:pos x="T0" y="T1"/>
                  </a:cxn>
                  <a:cxn ang="0">
                    <a:pos x="T2" y="T3"/>
                  </a:cxn>
                  <a:cxn ang="0">
                    <a:pos x="T4" y="T5"/>
                  </a:cxn>
                  <a:cxn ang="0">
                    <a:pos x="T6" y="T7"/>
                  </a:cxn>
                  <a:cxn ang="0">
                    <a:pos x="T8" y="T9"/>
                  </a:cxn>
                </a:cxnLst>
                <a:rect l="0" t="0" r="r" b="b"/>
                <a:pathLst>
                  <a:path w="89" h="89">
                    <a:moveTo>
                      <a:pt x="6" y="34"/>
                    </a:moveTo>
                    <a:cubicBezTo>
                      <a:pt x="11" y="13"/>
                      <a:pt x="33" y="0"/>
                      <a:pt x="55" y="5"/>
                    </a:cubicBezTo>
                    <a:cubicBezTo>
                      <a:pt x="76" y="11"/>
                      <a:pt x="89" y="33"/>
                      <a:pt x="84" y="54"/>
                    </a:cubicBezTo>
                    <a:cubicBezTo>
                      <a:pt x="78" y="76"/>
                      <a:pt x="56" y="89"/>
                      <a:pt x="35" y="83"/>
                    </a:cubicBezTo>
                    <a:cubicBezTo>
                      <a:pt x="13" y="78"/>
                      <a:pt x="0" y="56"/>
                      <a:pt x="6"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7" name="Freeform 1439">
                <a:extLst>
                  <a:ext uri="{FF2B5EF4-FFF2-40B4-BE49-F238E27FC236}">
                    <a16:creationId xmlns:a16="http://schemas.microsoft.com/office/drawing/2014/main" id="{99EBA70B-8100-417D-B893-CFAC24F72044}"/>
                  </a:ext>
                </a:extLst>
              </p:cNvPr>
              <p:cNvSpPr>
                <a:spLocks/>
              </p:cNvSpPr>
              <p:nvPr/>
            </p:nvSpPr>
            <p:spPr bwMode="auto">
              <a:xfrm>
                <a:off x="17411700" y="1937846"/>
                <a:ext cx="115887" cy="119062"/>
              </a:xfrm>
              <a:custGeom>
                <a:avLst/>
                <a:gdLst>
                  <a:gd name="T0" fmla="*/ 5 w 79"/>
                  <a:gd name="T1" fmla="*/ 31 h 80"/>
                  <a:gd name="T2" fmla="*/ 49 w 79"/>
                  <a:gd name="T3" fmla="*/ 5 h 80"/>
                  <a:gd name="T4" fmla="*/ 74 w 79"/>
                  <a:gd name="T5" fmla="*/ 49 h 80"/>
                  <a:gd name="T6" fmla="*/ 31 w 79"/>
                  <a:gd name="T7" fmla="*/ 75 h 80"/>
                  <a:gd name="T8" fmla="*/ 5 w 79"/>
                  <a:gd name="T9" fmla="*/ 31 h 80"/>
                </a:gdLst>
                <a:ahLst/>
                <a:cxnLst>
                  <a:cxn ang="0">
                    <a:pos x="T0" y="T1"/>
                  </a:cxn>
                  <a:cxn ang="0">
                    <a:pos x="T2" y="T3"/>
                  </a:cxn>
                  <a:cxn ang="0">
                    <a:pos x="T4" y="T5"/>
                  </a:cxn>
                  <a:cxn ang="0">
                    <a:pos x="T6" y="T7"/>
                  </a:cxn>
                  <a:cxn ang="0">
                    <a:pos x="T8" y="T9"/>
                  </a:cxn>
                </a:cxnLst>
                <a:rect l="0" t="0" r="r" b="b"/>
                <a:pathLst>
                  <a:path w="79" h="80">
                    <a:moveTo>
                      <a:pt x="5" y="31"/>
                    </a:moveTo>
                    <a:cubicBezTo>
                      <a:pt x="10" y="12"/>
                      <a:pt x="29" y="0"/>
                      <a:pt x="49" y="5"/>
                    </a:cubicBezTo>
                    <a:cubicBezTo>
                      <a:pt x="68" y="10"/>
                      <a:pt x="79" y="30"/>
                      <a:pt x="74" y="49"/>
                    </a:cubicBezTo>
                    <a:cubicBezTo>
                      <a:pt x="70" y="68"/>
                      <a:pt x="50" y="80"/>
                      <a:pt x="31" y="75"/>
                    </a:cubicBezTo>
                    <a:cubicBezTo>
                      <a:pt x="12" y="70"/>
                      <a:pt x="0" y="50"/>
                      <a:pt x="5" y="31"/>
                    </a:cubicBezTo>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8" name="Freeform 1440">
                <a:extLst>
                  <a:ext uri="{FF2B5EF4-FFF2-40B4-BE49-F238E27FC236}">
                    <a16:creationId xmlns:a16="http://schemas.microsoft.com/office/drawing/2014/main" id="{D542ED57-8658-4493-B07A-C640FAA1CA8A}"/>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9" name="Freeform 1441">
                <a:extLst>
                  <a:ext uri="{FF2B5EF4-FFF2-40B4-BE49-F238E27FC236}">
                    <a16:creationId xmlns:a16="http://schemas.microsoft.com/office/drawing/2014/main" id="{D684C539-42E6-4F40-BDE3-092EFBD43CE0}"/>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0" name="Freeform 1442">
                <a:extLst>
                  <a:ext uri="{FF2B5EF4-FFF2-40B4-BE49-F238E27FC236}">
                    <a16:creationId xmlns:a16="http://schemas.microsoft.com/office/drawing/2014/main" id="{343DF2CC-5026-47F4-A3DC-FA22086878BF}"/>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1" name="Freeform 1443">
                <a:extLst>
                  <a:ext uri="{FF2B5EF4-FFF2-40B4-BE49-F238E27FC236}">
                    <a16:creationId xmlns:a16="http://schemas.microsoft.com/office/drawing/2014/main" id="{2555F297-EA63-4379-87A6-585005B970BA}"/>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2" name="Freeform 1444">
                <a:extLst>
                  <a:ext uri="{FF2B5EF4-FFF2-40B4-BE49-F238E27FC236}">
                    <a16:creationId xmlns:a16="http://schemas.microsoft.com/office/drawing/2014/main" id="{C638EBAC-C436-49EA-8F84-52ED1C28BE32}"/>
                  </a:ext>
                </a:extLst>
              </p:cNvPr>
              <p:cNvSpPr>
                <a:spLocks/>
              </p:cNvSpPr>
              <p:nvPr/>
            </p:nvSpPr>
            <p:spPr bwMode="auto">
              <a:xfrm>
                <a:off x="17429163" y="1958484"/>
                <a:ext cx="80962" cy="79375"/>
              </a:xfrm>
              <a:custGeom>
                <a:avLst/>
                <a:gdLst>
                  <a:gd name="T0" fmla="*/ 4 w 55"/>
                  <a:gd name="T1" fmla="*/ 21 h 54"/>
                  <a:gd name="T2" fmla="*/ 34 w 55"/>
                  <a:gd name="T3" fmla="*/ 3 h 54"/>
                  <a:gd name="T4" fmla="*/ 52 w 55"/>
                  <a:gd name="T5" fmla="*/ 33 h 54"/>
                  <a:gd name="T6" fmla="*/ 22 w 55"/>
                  <a:gd name="T7" fmla="*/ 51 h 54"/>
                  <a:gd name="T8" fmla="*/ 4 w 55"/>
                  <a:gd name="T9" fmla="*/ 21 h 54"/>
                </a:gdLst>
                <a:ahLst/>
                <a:cxnLst>
                  <a:cxn ang="0">
                    <a:pos x="T0" y="T1"/>
                  </a:cxn>
                  <a:cxn ang="0">
                    <a:pos x="T2" y="T3"/>
                  </a:cxn>
                  <a:cxn ang="0">
                    <a:pos x="T4" y="T5"/>
                  </a:cxn>
                  <a:cxn ang="0">
                    <a:pos x="T6" y="T7"/>
                  </a:cxn>
                  <a:cxn ang="0">
                    <a:pos x="T8" y="T9"/>
                  </a:cxn>
                </a:cxnLst>
                <a:rect l="0" t="0" r="r" b="b"/>
                <a:pathLst>
                  <a:path w="55" h="54">
                    <a:moveTo>
                      <a:pt x="4" y="21"/>
                    </a:moveTo>
                    <a:cubicBezTo>
                      <a:pt x="7" y="8"/>
                      <a:pt x="21" y="0"/>
                      <a:pt x="34" y="3"/>
                    </a:cubicBezTo>
                    <a:cubicBezTo>
                      <a:pt x="47" y="6"/>
                      <a:pt x="55" y="20"/>
                      <a:pt x="52" y="33"/>
                    </a:cubicBezTo>
                    <a:cubicBezTo>
                      <a:pt x="48" y="46"/>
                      <a:pt x="35" y="54"/>
                      <a:pt x="22" y="51"/>
                    </a:cubicBezTo>
                    <a:cubicBezTo>
                      <a:pt x="8" y="48"/>
                      <a:pt x="0" y="34"/>
                      <a:pt x="4" y="21"/>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3" name="Freeform 1445">
                <a:extLst>
                  <a:ext uri="{FF2B5EF4-FFF2-40B4-BE49-F238E27FC236}">
                    <a16:creationId xmlns:a16="http://schemas.microsoft.com/office/drawing/2014/main" id="{309C8974-B7CE-4450-8181-D9837D958B87}"/>
                  </a:ext>
                </a:extLst>
              </p:cNvPr>
              <p:cNvSpPr>
                <a:spLocks/>
              </p:cNvSpPr>
              <p:nvPr/>
            </p:nvSpPr>
            <p:spPr bwMode="auto">
              <a:xfrm>
                <a:off x="17483138" y="1977534"/>
                <a:ext cx="14287" cy="12700"/>
              </a:xfrm>
              <a:custGeom>
                <a:avLst/>
                <a:gdLst>
                  <a:gd name="T0" fmla="*/ 0 w 9"/>
                  <a:gd name="T1" fmla="*/ 4 h 9"/>
                  <a:gd name="T2" fmla="*/ 6 w 9"/>
                  <a:gd name="T3" fmla="*/ 0 h 9"/>
                  <a:gd name="T4" fmla="*/ 9 w 9"/>
                  <a:gd name="T5" fmla="*/ 6 h 9"/>
                  <a:gd name="T6" fmla="*/ 3 w 9"/>
                  <a:gd name="T7" fmla="*/ 9 h 9"/>
                  <a:gd name="T8" fmla="*/ 0 w 9"/>
                  <a:gd name="T9" fmla="*/ 4 h 9"/>
                </a:gdLst>
                <a:ahLst/>
                <a:cxnLst>
                  <a:cxn ang="0">
                    <a:pos x="T0" y="T1"/>
                  </a:cxn>
                  <a:cxn ang="0">
                    <a:pos x="T2" y="T3"/>
                  </a:cxn>
                  <a:cxn ang="0">
                    <a:pos x="T4" y="T5"/>
                  </a:cxn>
                  <a:cxn ang="0">
                    <a:pos x="T6" y="T7"/>
                  </a:cxn>
                  <a:cxn ang="0">
                    <a:pos x="T8" y="T9"/>
                  </a:cxn>
                </a:cxnLst>
                <a:rect l="0" t="0" r="r" b="b"/>
                <a:pathLst>
                  <a:path w="9" h="9">
                    <a:moveTo>
                      <a:pt x="0" y="4"/>
                    </a:moveTo>
                    <a:cubicBezTo>
                      <a:pt x="1" y="1"/>
                      <a:pt x="3" y="0"/>
                      <a:pt x="6" y="0"/>
                    </a:cubicBezTo>
                    <a:cubicBezTo>
                      <a:pt x="8" y="1"/>
                      <a:pt x="9" y="3"/>
                      <a:pt x="9" y="6"/>
                    </a:cubicBezTo>
                    <a:cubicBezTo>
                      <a:pt x="8" y="8"/>
                      <a:pt x="6" y="9"/>
                      <a:pt x="3" y="9"/>
                    </a:cubicBezTo>
                    <a:cubicBezTo>
                      <a:pt x="1" y="8"/>
                      <a:pt x="0" y="6"/>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4" name="Freeform 1446">
                <a:extLst>
                  <a:ext uri="{FF2B5EF4-FFF2-40B4-BE49-F238E27FC236}">
                    <a16:creationId xmlns:a16="http://schemas.microsoft.com/office/drawing/2014/main" id="{A4C28764-FFCE-4C74-9451-A9904C812DBE}"/>
                  </a:ext>
                </a:extLst>
              </p:cNvPr>
              <p:cNvSpPr>
                <a:spLocks noEditPoints="1"/>
              </p:cNvSpPr>
              <p:nvPr/>
            </p:nvSpPr>
            <p:spPr bwMode="auto">
              <a:xfrm>
                <a:off x="17330738" y="1894984"/>
                <a:ext cx="12700" cy="22225"/>
              </a:xfrm>
              <a:custGeom>
                <a:avLst/>
                <a:gdLst>
                  <a:gd name="T0" fmla="*/ 8 w 8"/>
                  <a:gd name="T1" fmla="*/ 0 h 15"/>
                  <a:gd name="T2" fmla="*/ 2 w 8"/>
                  <a:gd name="T3" fmla="*/ 5 h 15"/>
                  <a:gd name="T4" fmla="*/ 0 w 8"/>
                  <a:gd name="T5" fmla="*/ 15 h 15"/>
                  <a:gd name="T6" fmla="*/ 0 w 8"/>
                  <a:gd name="T7" fmla="*/ 15 h 15"/>
                  <a:gd name="T8" fmla="*/ 2 w 8"/>
                  <a:gd name="T9" fmla="*/ 5 h 15"/>
                  <a:gd name="T10" fmla="*/ 8 w 8"/>
                  <a:gd name="T11" fmla="*/ 0 h 15"/>
                  <a:gd name="T12" fmla="*/ 8 w 8"/>
                  <a:gd name="T13" fmla="*/ 0 h 15"/>
                  <a:gd name="T14" fmla="*/ 8 w 8"/>
                  <a:gd name="T15" fmla="*/ 0 h 15"/>
                  <a:gd name="T16" fmla="*/ 8 w 8"/>
                  <a:gd name="T17" fmla="*/ 0 h 15"/>
                  <a:gd name="T18" fmla="*/ 8 w 8"/>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5">
                    <a:moveTo>
                      <a:pt x="8" y="0"/>
                    </a:moveTo>
                    <a:cubicBezTo>
                      <a:pt x="5" y="0"/>
                      <a:pt x="3" y="2"/>
                      <a:pt x="2" y="5"/>
                    </a:cubicBezTo>
                    <a:cubicBezTo>
                      <a:pt x="0" y="15"/>
                      <a:pt x="0" y="15"/>
                      <a:pt x="0" y="15"/>
                    </a:cubicBezTo>
                    <a:cubicBezTo>
                      <a:pt x="0" y="15"/>
                      <a:pt x="0" y="15"/>
                      <a:pt x="0" y="15"/>
                    </a:cubicBezTo>
                    <a:cubicBezTo>
                      <a:pt x="2" y="5"/>
                      <a:pt x="2" y="5"/>
                      <a:pt x="2" y="5"/>
                    </a:cubicBezTo>
                    <a:cubicBezTo>
                      <a:pt x="3" y="2"/>
                      <a:pt x="5" y="0"/>
                      <a:pt x="8" y="0"/>
                    </a:cubicBezTo>
                    <a:moveTo>
                      <a:pt x="8" y="0"/>
                    </a:moveTo>
                    <a:cubicBezTo>
                      <a:pt x="8" y="0"/>
                      <a:pt x="8" y="0"/>
                      <a:pt x="8" y="0"/>
                    </a:cubicBezTo>
                    <a:cubicBezTo>
                      <a:pt x="8" y="0"/>
                      <a:pt x="8" y="0"/>
                      <a:pt x="8" y="0"/>
                    </a:cubicBezTo>
                    <a:cubicBezTo>
                      <a:pt x="8" y="0"/>
                      <a:pt x="8" y="0"/>
                      <a:pt x="8"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5" name="Freeform 1447">
                <a:extLst>
                  <a:ext uri="{FF2B5EF4-FFF2-40B4-BE49-F238E27FC236}">
                    <a16:creationId xmlns:a16="http://schemas.microsoft.com/office/drawing/2014/main" id="{1523CF3B-4D1E-45E5-ABA3-039D6A9BE98B}"/>
                  </a:ext>
                </a:extLst>
              </p:cNvPr>
              <p:cNvSpPr>
                <a:spLocks/>
              </p:cNvSpPr>
              <p:nvPr/>
            </p:nvSpPr>
            <p:spPr bwMode="auto">
              <a:xfrm>
                <a:off x="17537113" y="20854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6" name="Freeform 1448">
                <a:extLst>
                  <a:ext uri="{FF2B5EF4-FFF2-40B4-BE49-F238E27FC236}">
                    <a16:creationId xmlns:a16="http://schemas.microsoft.com/office/drawing/2014/main" id="{CEDD9A68-D3EB-4057-A9FB-F7BF3ED38C2D}"/>
                  </a:ext>
                </a:extLst>
              </p:cNvPr>
              <p:cNvSpPr>
                <a:spLocks noEditPoints="1"/>
              </p:cNvSpPr>
              <p:nvPr/>
            </p:nvSpPr>
            <p:spPr bwMode="auto">
              <a:xfrm>
                <a:off x="17305338" y="1894984"/>
                <a:ext cx="233362" cy="190500"/>
              </a:xfrm>
              <a:custGeom>
                <a:avLst/>
                <a:gdLst>
                  <a:gd name="T0" fmla="*/ 62 w 158"/>
                  <a:gd name="T1" fmla="*/ 39 h 130"/>
                  <a:gd name="T2" fmla="*/ 37 w 158"/>
                  <a:gd name="T3" fmla="*/ 32 h 130"/>
                  <a:gd name="T4" fmla="*/ 40 w 158"/>
                  <a:gd name="T5" fmla="*/ 18 h 130"/>
                  <a:gd name="T6" fmla="*/ 66 w 158"/>
                  <a:gd name="T7" fmla="*/ 24 h 130"/>
                  <a:gd name="T8" fmla="*/ 62 w 158"/>
                  <a:gd name="T9" fmla="*/ 39 h 130"/>
                  <a:gd name="T10" fmla="*/ 26 w 158"/>
                  <a:gd name="T11" fmla="*/ 0 h 130"/>
                  <a:gd name="T12" fmla="*/ 26 w 158"/>
                  <a:gd name="T13" fmla="*/ 0 h 130"/>
                  <a:gd name="T14" fmla="*/ 20 w 158"/>
                  <a:gd name="T15" fmla="*/ 5 h 130"/>
                  <a:gd name="T16" fmla="*/ 18 w 158"/>
                  <a:gd name="T17" fmla="*/ 15 h 130"/>
                  <a:gd name="T18" fmla="*/ 17 w 158"/>
                  <a:gd name="T19" fmla="*/ 17 h 130"/>
                  <a:gd name="T20" fmla="*/ 1 w 158"/>
                  <a:gd name="T21" fmla="*/ 87 h 130"/>
                  <a:gd name="T22" fmla="*/ 0 w 158"/>
                  <a:gd name="T23" fmla="*/ 88 h 130"/>
                  <a:gd name="T24" fmla="*/ 5 w 158"/>
                  <a:gd name="T25" fmla="*/ 94 h 130"/>
                  <a:gd name="T26" fmla="*/ 157 w 158"/>
                  <a:gd name="T27" fmla="*/ 130 h 130"/>
                  <a:gd name="T28" fmla="*/ 157 w 158"/>
                  <a:gd name="T29" fmla="*/ 130 h 130"/>
                  <a:gd name="T30" fmla="*/ 157 w 158"/>
                  <a:gd name="T31" fmla="*/ 130 h 130"/>
                  <a:gd name="T32" fmla="*/ 158 w 158"/>
                  <a:gd name="T33" fmla="*/ 130 h 130"/>
                  <a:gd name="T34" fmla="*/ 158 w 158"/>
                  <a:gd name="T35" fmla="*/ 130 h 130"/>
                  <a:gd name="T36" fmla="*/ 136 w 158"/>
                  <a:gd name="T37" fmla="*/ 102 h 130"/>
                  <a:gd name="T38" fmla="*/ 112 w 158"/>
                  <a:gd name="T39" fmla="*/ 110 h 130"/>
                  <a:gd name="T40" fmla="*/ 102 w 158"/>
                  <a:gd name="T41" fmla="*/ 109 h 130"/>
                  <a:gd name="T42" fmla="*/ 73 w 158"/>
                  <a:gd name="T43" fmla="*/ 60 h 130"/>
                  <a:gd name="T44" fmla="*/ 88 w 158"/>
                  <a:gd name="T45" fmla="*/ 38 h 130"/>
                  <a:gd name="T46" fmla="*/ 66 w 158"/>
                  <a:gd name="T47" fmla="*/ 10 h 130"/>
                  <a:gd name="T48" fmla="*/ 28 w 158"/>
                  <a:gd name="T49" fmla="*/ 0 h 130"/>
                  <a:gd name="T50" fmla="*/ 28 w 158"/>
                  <a:gd name="T51" fmla="*/ 0 h 130"/>
                  <a:gd name="T52" fmla="*/ 26 w 158"/>
                  <a:gd name="T53" fmla="*/ 0 h 130"/>
                  <a:gd name="T54" fmla="*/ 26 w 158"/>
                  <a:gd name="T5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8" h="130">
                    <a:moveTo>
                      <a:pt x="62" y="39"/>
                    </a:moveTo>
                    <a:cubicBezTo>
                      <a:pt x="37" y="32"/>
                      <a:pt x="37" y="32"/>
                      <a:pt x="37" y="32"/>
                    </a:cubicBezTo>
                    <a:cubicBezTo>
                      <a:pt x="40" y="18"/>
                      <a:pt x="40" y="18"/>
                      <a:pt x="40" y="18"/>
                    </a:cubicBezTo>
                    <a:cubicBezTo>
                      <a:pt x="66" y="24"/>
                      <a:pt x="66" y="24"/>
                      <a:pt x="66" y="24"/>
                    </a:cubicBezTo>
                    <a:cubicBezTo>
                      <a:pt x="62" y="39"/>
                      <a:pt x="62" y="39"/>
                      <a:pt x="62" y="39"/>
                    </a:cubicBezTo>
                    <a:moveTo>
                      <a:pt x="26" y="0"/>
                    </a:moveTo>
                    <a:cubicBezTo>
                      <a:pt x="26" y="0"/>
                      <a:pt x="26" y="0"/>
                      <a:pt x="26" y="0"/>
                    </a:cubicBezTo>
                    <a:cubicBezTo>
                      <a:pt x="23" y="0"/>
                      <a:pt x="21" y="2"/>
                      <a:pt x="20" y="5"/>
                    </a:cubicBezTo>
                    <a:cubicBezTo>
                      <a:pt x="18" y="15"/>
                      <a:pt x="18" y="15"/>
                      <a:pt x="18" y="15"/>
                    </a:cubicBezTo>
                    <a:cubicBezTo>
                      <a:pt x="17" y="17"/>
                      <a:pt x="17" y="17"/>
                      <a:pt x="17" y="17"/>
                    </a:cubicBezTo>
                    <a:cubicBezTo>
                      <a:pt x="1" y="87"/>
                      <a:pt x="1" y="87"/>
                      <a:pt x="1" y="87"/>
                    </a:cubicBezTo>
                    <a:cubicBezTo>
                      <a:pt x="1" y="87"/>
                      <a:pt x="0" y="88"/>
                      <a:pt x="0" y="88"/>
                    </a:cubicBezTo>
                    <a:cubicBezTo>
                      <a:pt x="0" y="91"/>
                      <a:pt x="2" y="93"/>
                      <a:pt x="5" y="94"/>
                    </a:cubicBezTo>
                    <a:cubicBezTo>
                      <a:pt x="157" y="130"/>
                      <a:pt x="157" y="130"/>
                      <a:pt x="157" y="130"/>
                    </a:cubicBezTo>
                    <a:cubicBezTo>
                      <a:pt x="157" y="130"/>
                      <a:pt x="157" y="130"/>
                      <a:pt x="157" y="130"/>
                    </a:cubicBezTo>
                    <a:cubicBezTo>
                      <a:pt x="157" y="130"/>
                      <a:pt x="157" y="130"/>
                      <a:pt x="157" y="130"/>
                    </a:cubicBezTo>
                    <a:cubicBezTo>
                      <a:pt x="157" y="130"/>
                      <a:pt x="158" y="130"/>
                      <a:pt x="158" y="130"/>
                    </a:cubicBezTo>
                    <a:cubicBezTo>
                      <a:pt x="158" y="130"/>
                      <a:pt x="158" y="130"/>
                      <a:pt x="158" y="130"/>
                    </a:cubicBezTo>
                    <a:cubicBezTo>
                      <a:pt x="136" y="102"/>
                      <a:pt x="136" y="102"/>
                      <a:pt x="136" y="102"/>
                    </a:cubicBezTo>
                    <a:cubicBezTo>
                      <a:pt x="129" y="107"/>
                      <a:pt x="121" y="110"/>
                      <a:pt x="112" y="110"/>
                    </a:cubicBezTo>
                    <a:cubicBezTo>
                      <a:pt x="108" y="110"/>
                      <a:pt x="105" y="110"/>
                      <a:pt x="102" y="109"/>
                    </a:cubicBezTo>
                    <a:cubicBezTo>
                      <a:pt x="80" y="104"/>
                      <a:pt x="67" y="82"/>
                      <a:pt x="73" y="60"/>
                    </a:cubicBezTo>
                    <a:cubicBezTo>
                      <a:pt x="75" y="51"/>
                      <a:pt x="80" y="43"/>
                      <a:pt x="88" y="38"/>
                    </a:cubicBezTo>
                    <a:cubicBezTo>
                      <a:pt x="66" y="10"/>
                      <a:pt x="66" y="10"/>
                      <a:pt x="66" y="10"/>
                    </a:cubicBezTo>
                    <a:cubicBezTo>
                      <a:pt x="28" y="0"/>
                      <a:pt x="28" y="0"/>
                      <a:pt x="28" y="0"/>
                    </a:cubicBezTo>
                    <a:cubicBezTo>
                      <a:pt x="28" y="0"/>
                      <a:pt x="28" y="0"/>
                      <a:pt x="28" y="0"/>
                    </a:cubicBezTo>
                    <a:cubicBezTo>
                      <a:pt x="27" y="0"/>
                      <a:pt x="27" y="0"/>
                      <a:pt x="26" y="0"/>
                    </a:cubicBezTo>
                    <a:cubicBezTo>
                      <a:pt x="26" y="0"/>
                      <a:pt x="26" y="0"/>
                      <a:pt x="26"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7" name="Freeform 1449">
                <a:extLst>
                  <a:ext uri="{FF2B5EF4-FFF2-40B4-BE49-F238E27FC236}">
                    <a16:creationId xmlns:a16="http://schemas.microsoft.com/office/drawing/2014/main" id="{C6E96A9C-5CF8-4A44-AED3-A1473458144E}"/>
                  </a:ext>
                </a:extLst>
              </p:cNvPr>
              <p:cNvSpPr>
                <a:spLocks/>
              </p:cNvSpPr>
              <p:nvPr/>
            </p:nvSpPr>
            <p:spPr bwMode="auto">
              <a:xfrm>
                <a:off x="17403763" y="1950546"/>
                <a:ext cx="101600" cy="106362"/>
              </a:xfrm>
              <a:custGeom>
                <a:avLst/>
                <a:gdLst>
                  <a:gd name="T0" fmla="*/ 21 w 69"/>
                  <a:gd name="T1" fmla="*/ 0 h 72"/>
                  <a:gd name="T2" fmla="*/ 6 w 69"/>
                  <a:gd name="T3" fmla="*/ 22 h 72"/>
                  <a:gd name="T4" fmla="*/ 35 w 69"/>
                  <a:gd name="T5" fmla="*/ 71 h 72"/>
                  <a:gd name="T6" fmla="*/ 45 w 69"/>
                  <a:gd name="T7" fmla="*/ 72 h 72"/>
                  <a:gd name="T8" fmla="*/ 69 w 69"/>
                  <a:gd name="T9" fmla="*/ 64 h 72"/>
                  <a:gd name="T10" fmla="*/ 67 w 69"/>
                  <a:gd name="T11" fmla="*/ 60 h 72"/>
                  <a:gd name="T12" fmla="*/ 45 w 69"/>
                  <a:gd name="T13" fmla="*/ 68 h 72"/>
                  <a:gd name="T14" fmla="*/ 36 w 69"/>
                  <a:gd name="T15" fmla="*/ 67 h 72"/>
                  <a:gd name="T16" fmla="*/ 10 w 69"/>
                  <a:gd name="T17" fmla="*/ 23 h 72"/>
                  <a:gd name="T18" fmla="*/ 23 w 69"/>
                  <a:gd name="T19" fmla="*/ 3 h 72"/>
                  <a:gd name="T20" fmla="*/ 21 w 69"/>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72">
                    <a:moveTo>
                      <a:pt x="21" y="0"/>
                    </a:moveTo>
                    <a:cubicBezTo>
                      <a:pt x="13" y="5"/>
                      <a:pt x="8" y="13"/>
                      <a:pt x="6" y="22"/>
                    </a:cubicBezTo>
                    <a:cubicBezTo>
                      <a:pt x="0" y="44"/>
                      <a:pt x="13" y="66"/>
                      <a:pt x="35" y="71"/>
                    </a:cubicBezTo>
                    <a:cubicBezTo>
                      <a:pt x="38" y="72"/>
                      <a:pt x="41" y="72"/>
                      <a:pt x="45" y="72"/>
                    </a:cubicBezTo>
                    <a:cubicBezTo>
                      <a:pt x="54" y="72"/>
                      <a:pt x="62" y="69"/>
                      <a:pt x="69" y="64"/>
                    </a:cubicBezTo>
                    <a:cubicBezTo>
                      <a:pt x="67" y="60"/>
                      <a:pt x="67" y="60"/>
                      <a:pt x="67" y="60"/>
                    </a:cubicBezTo>
                    <a:cubicBezTo>
                      <a:pt x="61" y="65"/>
                      <a:pt x="53" y="68"/>
                      <a:pt x="45" y="68"/>
                    </a:cubicBezTo>
                    <a:cubicBezTo>
                      <a:pt x="42" y="68"/>
                      <a:pt x="39" y="68"/>
                      <a:pt x="36" y="67"/>
                    </a:cubicBezTo>
                    <a:cubicBezTo>
                      <a:pt x="17" y="62"/>
                      <a:pt x="5" y="42"/>
                      <a:pt x="10" y="23"/>
                    </a:cubicBezTo>
                    <a:cubicBezTo>
                      <a:pt x="12" y="15"/>
                      <a:pt x="17" y="8"/>
                      <a:pt x="23" y="3"/>
                    </a:cubicBezTo>
                    <a:cubicBezTo>
                      <a:pt x="21" y="0"/>
                      <a:pt x="21" y="0"/>
                      <a:pt x="2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8" name="Freeform 1450">
                <a:extLst>
                  <a:ext uri="{FF2B5EF4-FFF2-40B4-BE49-F238E27FC236}">
                    <a16:creationId xmlns:a16="http://schemas.microsoft.com/office/drawing/2014/main" id="{D1EB8721-9D0E-4662-B1D9-3EA388EE72F3}"/>
                  </a:ext>
                </a:extLst>
              </p:cNvPr>
              <p:cNvSpPr>
                <a:spLocks/>
              </p:cNvSpPr>
              <p:nvPr/>
            </p:nvSpPr>
            <p:spPr bwMode="auto">
              <a:xfrm>
                <a:off x="17411700" y="1955309"/>
                <a:ext cx="92075" cy="95250"/>
              </a:xfrm>
              <a:custGeom>
                <a:avLst/>
                <a:gdLst>
                  <a:gd name="T0" fmla="*/ 18 w 62"/>
                  <a:gd name="T1" fmla="*/ 0 h 65"/>
                  <a:gd name="T2" fmla="*/ 5 w 62"/>
                  <a:gd name="T3" fmla="*/ 20 h 65"/>
                  <a:gd name="T4" fmla="*/ 31 w 62"/>
                  <a:gd name="T5" fmla="*/ 64 h 65"/>
                  <a:gd name="T6" fmla="*/ 40 w 62"/>
                  <a:gd name="T7" fmla="*/ 65 h 65"/>
                  <a:gd name="T8" fmla="*/ 62 w 62"/>
                  <a:gd name="T9" fmla="*/ 57 h 65"/>
                  <a:gd name="T10" fmla="*/ 55 w 62"/>
                  <a:gd name="T11" fmla="*/ 49 h 65"/>
                  <a:gd name="T12" fmla="*/ 40 w 62"/>
                  <a:gd name="T13" fmla="*/ 54 h 65"/>
                  <a:gd name="T14" fmla="*/ 34 w 62"/>
                  <a:gd name="T15" fmla="*/ 53 h 65"/>
                  <a:gd name="T16" fmla="*/ 16 w 62"/>
                  <a:gd name="T17" fmla="*/ 23 h 65"/>
                  <a:gd name="T18" fmla="*/ 25 w 62"/>
                  <a:gd name="T19" fmla="*/ 9 h 65"/>
                  <a:gd name="T20" fmla="*/ 18 w 62"/>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5">
                    <a:moveTo>
                      <a:pt x="18" y="0"/>
                    </a:moveTo>
                    <a:cubicBezTo>
                      <a:pt x="12" y="5"/>
                      <a:pt x="7" y="12"/>
                      <a:pt x="5" y="20"/>
                    </a:cubicBezTo>
                    <a:cubicBezTo>
                      <a:pt x="0" y="39"/>
                      <a:pt x="12" y="59"/>
                      <a:pt x="31" y="64"/>
                    </a:cubicBezTo>
                    <a:cubicBezTo>
                      <a:pt x="34" y="65"/>
                      <a:pt x="37" y="65"/>
                      <a:pt x="40" y="65"/>
                    </a:cubicBezTo>
                    <a:cubicBezTo>
                      <a:pt x="48" y="65"/>
                      <a:pt x="56" y="62"/>
                      <a:pt x="62" y="57"/>
                    </a:cubicBezTo>
                    <a:cubicBezTo>
                      <a:pt x="55" y="49"/>
                      <a:pt x="55" y="49"/>
                      <a:pt x="55" y="49"/>
                    </a:cubicBezTo>
                    <a:cubicBezTo>
                      <a:pt x="51" y="52"/>
                      <a:pt x="45" y="54"/>
                      <a:pt x="40" y="54"/>
                    </a:cubicBezTo>
                    <a:cubicBezTo>
                      <a:pt x="38" y="54"/>
                      <a:pt x="36" y="54"/>
                      <a:pt x="34" y="53"/>
                    </a:cubicBezTo>
                    <a:cubicBezTo>
                      <a:pt x="20" y="50"/>
                      <a:pt x="12" y="36"/>
                      <a:pt x="16" y="23"/>
                    </a:cubicBezTo>
                    <a:cubicBezTo>
                      <a:pt x="17" y="17"/>
                      <a:pt x="21" y="12"/>
                      <a:pt x="25" y="9"/>
                    </a:cubicBezTo>
                    <a:cubicBezTo>
                      <a:pt x="18" y="0"/>
                      <a:pt x="18" y="0"/>
                      <a:pt x="18" y="0"/>
                    </a:cubicBezTo>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9" name="Freeform 1451">
                <a:extLst>
                  <a:ext uri="{FF2B5EF4-FFF2-40B4-BE49-F238E27FC236}">
                    <a16:creationId xmlns:a16="http://schemas.microsoft.com/office/drawing/2014/main" id="{71A646CA-A3BA-4D2F-9DAE-4186428BF286}"/>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close/>
                  </a:path>
                </a:pathLst>
              </a:custGeom>
              <a:solidFill>
                <a:srgbClr val="610E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0" name="Freeform 1452">
                <a:extLst>
                  <a:ext uri="{FF2B5EF4-FFF2-40B4-BE49-F238E27FC236}">
                    <a16:creationId xmlns:a16="http://schemas.microsoft.com/office/drawing/2014/main" id="{D98A9A1F-62E3-4CB0-AF21-C5476B5B9401}"/>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1" name="Freeform 1453">
                <a:extLst>
                  <a:ext uri="{FF2B5EF4-FFF2-40B4-BE49-F238E27FC236}">
                    <a16:creationId xmlns:a16="http://schemas.microsoft.com/office/drawing/2014/main" id="{92278467-25EE-4783-8E24-FA5A9080662B}"/>
                  </a:ext>
                </a:extLst>
              </p:cNvPr>
              <p:cNvSpPr>
                <a:spLocks/>
              </p:cNvSpPr>
              <p:nvPr/>
            </p:nvSpPr>
            <p:spPr bwMode="auto">
              <a:xfrm>
                <a:off x="17429163" y="1968009"/>
                <a:ext cx="63500" cy="66675"/>
              </a:xfrm>
              <a:custGeom>
                <a:avLst/>
                <a:gdLst>
                  <a:gd name="T0" fmla="*/ 13 w 43"/>
                  <a:gd name="T1" fmla="*/ 0 h 45"/>
                  <a:gd name="T2" fmla="*/ 4 w 43"/>
                  <a:gd name="T3" fmla="*/ 14 h 45"/>
                  <a:gd name="T4" fmla="*/ 22 w 43"/>
                  <a:gd name="T5" fmla="*/ 44 h 45"/>
                  <a:gd name="T6" fmla="*/ 28 w 43"/>
                  <a:gd name="T7" fmla="*/ 45 h 45"/>
                  <a:gd name="T8" fmla="*/ 43 w 43"/>
                  <a:gd name="T9" fmla="*/ 40 h 45"/>
                  <a:gd name="T10" fmla="*/ 13 w 43"/>
                  <a:gd name="T11" fmla="*/ 0 h 45"/>
                </a:gdLst>
                <a:ahLst/>
                <a:cxnLst>
                  <a:cxn ang="0">
                    <a:pos x="T0" y="T1"/>
                  </a:cxn>
                  <a:cxn ang="0">
                    <a:pos x="T2" y="T3"/>
                  </a:cxn>
                  <a:cxn ang="0">
                    <a:pos x="T4" y="T5"/>
                  </a:cxn>
                  <a:cxn ang="0">
                    <a:pos x="T6" y="T7"/>
                  </a:cxn>
                  <a:cxn ang="0">
                    <a:pos x="T8" y="T9"/>
                  </a:cxn>
                  <a:cxn ang="0">
                    <a:pos x="T10" y="T11"/>
                  </a:cxn>
                </a:cxnLst>
                <a:rect l="0" t="0" r="r" b="b"/>
                <a:pathLst>
                  <a:path w="43" h="45">
                    <a:moveTo>
                      <a:pt x="13" y="0"/>
                    </a:moveTo>
                    <a:cubicBezTo>
                      <a:pt x="9" y="3"/>
                      <a:pt x="5" y="8"/>
                      <a:pt x="4" y="14"/>
                    </a:cubicBezTo>
                    <a:cubicBezTo>
                      <a:pt x="0" y="27"/>
                      <a:pt x="8" y="41"/>
                      <a:pt x="22" y="44"/>
                    </a:cubicBezTo>
                    <a:cubicBezTo>
                      <a:pt x="24" y="45"/>
                      <a:pt x="26" y="45"/>
                      <a:pt x="28" y="45"/>
                    </a:cubicBezTo>
                    <a:cubicBezTo>
                      <a:pt x="33" y="45"/>
                      <a:pt x="39" y="43"/>
                      <a:pt x="43" y="40"/>
                    </a:cubicBezTo>
                    <a:cubicBezTo>
                      <a:pt x="13" y="0"/>
                      <a:pt x="13" y="0"/>
                      <a:pt x="1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2" name="Freeform 1454">
                <a:extLst>
                  <a:ext uri="{FF2B5EF4-FFF2-40B4-BE49-F238E27FC236}">
                    <a16:creationId xmlns:a16="http://schemas.microsoft.com/office/drawing/2014/main" id="{A992A4A3-8AB1-4A02-9FF1-BE95C8720715}"/>
                  </a:ext>
                </a:extLst>
              </p:cNvPr>
              <p:cNvSpPr>
                <a:spLocks/>
              </p:cNvSpPr>
              <p:nvPr/>
            </p:nvSpPr>
            <p:spPr bwMode="auto">
              <a:xfrm>
                <a:off x="16330613" y="1158384"/>
                <a:ext cx="280987" cy="225425"/>
              </a:xfrm>
              <a:custGeom>
                <a:avLst/>
                <a:gdLst>
                  <a:gd name="T0" fmla="*/ 188 w 190"/>
                  <a:gd name="T1" fmla="*/ 117 h 153"/>
                  <a:gd name="T2" fmla="*/ 182 w 190"/>
                  <a:gd name="T3" fmla="*/ 44 h 153"/>
                  <a:gd name="T4" fmla="*/ 152 w 190"/>
                  <a:gd name="T5" fmla="*/ 22 h 153"/>
                  <a:gd name="T6" fmla="*/ 124 w 190"/>
                  <a:gd name="T7" fmla="*/ 16 h 153"/>
                  <a:gd name="T8" fmla="*/ 123 w 190"/>
                  <a:gd name="T9" fmla="*/ 16 h 153"/>
                  <a:gd name="T10" fmla="*/ 122 w 190"/>
                  <a:gd name="T11" fmla="*/ 15 h 153"/>
                  <a:gd name="T12" fmla="*/ 94 w 190"/>
                  <a:gd name="T13" fmla="*/ 7 h 153"/>
                  <a:gd name="T14" fmla="*/ 58 w 190"/>
                  <a:gd name="T15" fmla="*/ 10 h 153"/>
                  <a:gd name="T16" fmla="*/ 16 w 190"/>
                  <a:gd name="T17" fmla="*/ 71 h 153"/>
                  <a:gd name="T18" fmla="*/ 22 w 190"/>
                  <a:gd name="T19" fmla="*/ 113 h 153"/>
                  <a:gd name="T20" fmla="*/ 57 w 190"/>
                  <a:gd name="T21" fmla="*/ 88 h 153"/>
                  <a:gd name="T22" fmla="*/ 74 w 190"/>
                  <a:gd name="T23" fmla="*/ 85 h 153"/>
                  <a:gd name="T24" fmla="*/ 101 w 190"/>
                  <a:gd name="T25" fmla="*/ 92 h 153"/>
                  <a:gd name="T26" fmla="*/ 104 w 190"/>
                  <a:gd name="T27" fmla="*/ 93 h 153"/>
                  <a:gd name="T28" fmla="*/ 131 w 190"/>
                  <a:gd name="T29" fmla="*/ 100 h 153"/>
                  <a:gd name="T30" fmla="*/ 143 w 190"/>
                  <a:gd name="T31" fmla="*/ 111 h 153"/>
                  <a:gd name="T32" fmla="*/ 162 w 190"/>
                  <a:gd name="T33" fmla="*/ 151 h 153"/>
                  <a:gd name="T34" fmla="*/ 188 w 190"/>
                  <a:gd name="T35" fmla="*/ 1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53">
                    <a:moveTo>
                      <a:pt x="188" y="117"/>
                    </a:moveTo>
                    <a:cubicBezTo>
                      <a:pt x="190" y="82"/>
                      <a:pt x="183" y="49"/>
                      <a:pt x="182" y="44"/>
                    </a:cubicBezTo>
                    <a:cubicBezTo>
                      <a:pt x="178" y="38"/>
                      <a:pt x="169" y="24"/>
                      <a:pt x="152" y="22"/>
                    </a:cubicBezTo>
                    <a:cubicBezTo>
                      <a:pt x="149" y="23"/>
                      <a:pt x="146" y="22"/>
                      <a:pt x="124" y="16"/>
                    </a:cubicBezTo>
                    <a:cubicBezTo>
                      <a:pt x="124" y="16"/>
                      <a:pt x="124" y="16"/>
                      <a:pt x="123" y="16"/>
                    </a:cubicBezTo>
                    <a:cubicBezTo>
                      <a:pt x="123" y="15"/>
                      <a:pt x="122" y="15"/>
                      <a:pt x="122" y="15"/>
                    </a:cubicBezTo>
                    <a:cubicBezTo>
                      <a:pt x="100" y="9"/>
                      <a:pt x="97" y="9"/>
                      <a:pt x="94" y="7"/>
                    </a:cubicBezTo>
                    <a:cubicBezTo>
                      <a:pt x="79" y="0"/>
                      <a:pt x="64" y="7"/>
                      <a:pt x="58" y="10"/>
                    </a:cubicBezTo>
                    <a:cubicBezTo>
                      <a:pt x="54" y="14"/>
                      <a:pt x="31" y="39"/>
                      <a:pt x="16" y="71"/>
                    </a:cubicBezTo>
                    <a:cubicBezTo>
                      <a:pt x="0" y="103"/>
                      <a:pt x="22" y="113"/>
                      <a:pt x="22" y="113"/>
                    </a:cubicBezTo>
                    <a:cubicBezTo>
                      <a:pt x="33" y="116"/>
                      <a:pt x="51" y="95"/>
                      <a:pt x="57" y="88"/>
                    </a:cubicBezTo>
                    <a:cubicBezTo>
                      <a:pt x="64" y="82"/>
                      <a:pt x="74" y="85"/>
                      <a:pt x="74" y="85"/>
                    </a:cubicBezTo>
                    <a:cubicBezTo>
                      <a:pt x="101" y="92"/>
                      <a:pt x="101" y="92"/>
                      <a:pt x="101" y="92"/>
                    </a:cubicBezTo>
                    <a:cubicBezTo>
                      <a:pt x="104" y="93"/>
                      <a:pt x="104" y="93"/>
                      <a:pt x="104" y="93"/>
                    </a:cubicBezTo>
                    <a:cubicBezTo>
                      <a:pt x="131" y="100"/>
                      <a:pt x="131" y="100"/>
                      <a:pt x="131" y="100"/>
                    </a:cubicBezTo>
                    <a:cubicBezTo>
                      <a:pt x="131" y="100"/>
                      <a:pt x="141" y="102"/>
                      <a:pt x="143" y="111"/>
                    </a:cubicBezTo>
                    <a:cubicBezTo>
                      <a:pt x="146" y="121"/>
                      <a:pt x="150" y="148"/>
                      <a:pt x="162" y="151"/>
                    </a:cubicBezTo>
                    <a:cubicBezTo>
                      <a:pt x="162" y="151"/>
                      <a:pt x="185" y="153"/>
                      <a:pt x="188" y="1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3" name="Freeform 1455">
                <a:extLst>
                  <a:ext uri="{FF2B5EF4-FFF2-40B4-BE49-F238E27FC236}">
                    <a16:creationId xmlns:a16="http://schemas.microsoft.com/office/drawing/2014/main" id="{F10F5637-20F0-465E-BD2C-66629A6027B7}"/>
                  </a:ext>
                </a:extLst>
              </p:cNvPr>
              <p:cNvSpPr>
                <a:spLocks/>
              </p:cNvSpPr>
              <p:nvPr/>
            </p:nvSpPr>
            <p:spPr bwMode="auto">
              <a:xfrm>
                <a:off x="16425863" y="1177434"/>
                <a:ext cx="36512" cy="36512"/>
              </a:xfrm>
              <a:custGeom>
                <a:avLst/>
                <a:gdLst>
                  <a:gd name="T0" fmla="*/ 23 w 25"/>
                  <a:gd name="T1" fmla="*/ 16 h 25"/>
                  <a:gd name="T2" fmla="*/ 10 w 25"/>
                  <a:gd name="T3" fmla="*/ 23 h 25"/>
                  <a:gd name="T4" fmla="*/ 2 w 25"/>
                  <a:gd name="T5" fmla="*/ 10 h 25"/>
                  <a:gd name="T6" fmla="*/ 15 w 25"/>
                  <a:gd name="T7" fmla="*/ 2 h 25"/>
                  <a:gd name="T8" fmla="*/ 23 w 25"/>
                  <a:gd name="T9" fmla="*/ 16 h 25"/>
                </a:gdLst>
                <a:ahLst/>
                <a:cxnLst>
                  <a:cxn ang="0">
                    <a:pos x="T0" y="T1"/>
                  </a:cxn>
                  <a:cxn ang="0">
                    <a:pos x="T2" y="T3"/>
                  </a:cxn>
                  <a:cxn ang="0">
                    <a:pos x="T4" y="T5"/>
                  </a:cxn>
                  <a:cxn ang="0">
                    <a:pos x="T6" y="T7"/>
                  </a:cxn>
                  <a:cxn ang="0">
                    <a:pos x="T8" y="T9"/>
                  </a:cxn>
                </a:cxnLst>
                <a:rect l="0" t="0" r="r" b="b"/>
                <a:pathLst>
                  <a:path w="25" h="25">
                    <a:moveTo>
                      <a:pt x="23" y="16"/>
                    </a:moveTo>
                    <a:cubicBezTo>
                      <a:pt x="22" y="21"/>
                      <a:pt x="16" y="25"/>
                      <a:pt x="10" y="23"/>
                    </a:cubicBezTo>
                    <a:cubicBezTo>
                      <a:pt x="4" y="22"/>
                      <a:pt x="0" y="16"/>
                      <a:pt x="2" y="10"/>
                    </a:cubicBezTo>
                    <a:cubicBezTo>
                      <a:pt x="4" y="4"/>
                      <a:pt x="10" y="0"/>
                      <a:pt x="15" y="2"/>
                    </a:cubicBezTo>
                    <a:cubicBezTo>
                      <a:pt x="21" y="4"/>
                      <a:pt x="25" y="10"/>
                      <a:pt x="23" y="16"/>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4" name="Freeform 1456">
                <a:extLst>
                  <a:ext uri="{FF2B5EF4-FFF2-40B4-BE49-F238E27FC236}">
                    <a16:creationId xmlns:a16="http://schemas.microsoft.com/office/drawing/2014/main" id="{47E4F78C-4F92-4DDB-9EC2-43DE240E7E84}"/>
                  </a:ext>
                </a:extLst>
              </p:cNvPr>
              <p:cNvSpPr>
                <a:spLocks/>
              </p:cNvSpPr>
              <p:nvPr/>
            </p:nvSpPr>
            <p:spPr bwMode="auto">
              <a:xfrm>
                <a:off x="16502063" y="1237759"/>
                <a:ext cx="36512" cy="34925"/>
              </a:xfrm>
              <a:custGeom>
                <a:avLst/>
                <a:gdLst>
                  <a:gd name="T0" fmla="*/ 23 w 24"/>
                  <a:gd name="T1" fmla="*/ 15 h 24"/>
                  <a:gd name="T2" fmla="*/ 9 w 24"/>
                  <a:gd name="T3" fmla="*/ 23 h 24"/>
                  <a:gd name="T4" fmla="*/ 2 w 24"/>
                  <a:gd name="T5" fmla="*/ 9 h 24"/>
                  <a:gd name="T6" fmla="*/ 15 w 24"/>
                  <a:gd name="T7" fmla="*/ 1 h 24"/>
                  <a:gd name="T8" fmla="*/ 23 w 24"/>
                  <a:gd name="T9" fmla="*/ 15 h 24"/>
                </a:gdLst>
                <a:ahLst/>
                <a:cxnLst>
                  <a:cxn ang="0">
                    <a:pos x="T0" y="T1"/>
                  </a:cxn>
                  <a:cxn ang="0">
                    <a:pos x="T2" y="T3"/>
                  </a:cxn>
                  <a:cxn ang="0">
                    <a:pos x="T4" y="T5"/>
                  </a:cxn>
                  <a:cxn ang="0">
                    <a:pos x="T6" y="T7"/>
                  </a:cxn>
                  <a:cxn ang="0">
                    <a:pos x="T8" y="T9"/>
                  </a:cxn>
                </a:cxnLst>
                <a:rect l="0" t="0" r="r" b="b"/>
                <a:pathLst>
                  <a:path w="24" h="24">
                    <a:moveTo>
                      <a:pt x="23" y="15"/>
                    </a:moveTo>
                    <a:cubicBezTo>
                      <a:pt x="21" y="21"/>
                      <a:pt x="15" y="24"/>
                      <a:pt x="9" y="23"/>
                    </a:cubicBezTo>
                    <a:cubicBezTo>
                      <a:pt x="3" y="21"/>
                      <a:pt x="0" y="15"/>
                      <a:pt x="2" y="9"/>
                    </a:cubicBezTo>
                    <a:cubicBezTo>
                      <a:pt x="3" y="3"/>
                      <a:pt x="9" y="0"/>
                      <a:pt x="15" y="1"/>
                    </a:cubicBezTo>
                    <a:cubicBezTo>
                      <a:pt x="21" y="3"/>
                      <a:pt x="24" y="9"/>
                      <a:pt x="2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5" name="Freeform 1457">
                <a:extLst>
                  <a:ext uri="{FF2B5EF4-FFF2-40B4-BE49-F238E27FC236}">
                    <a16:creationId xmlns:a16="http://schemas.microsoft.com/office/drawing/2014/main" id="{63D0112E-806E-4118-9927-5482366342CB}"/>
                  </a:ext>
                </a:extLst>
              </p:cNvPr>
              <p:cNvSpPr>
                <a:spLocks/>
              </p:cNvSpPr>
              <p:nvPr/>
            </p:nvSpPr>
            <p:spPr bwMode="auto">
              <a:xfrm>
                <a:off x="16552863" y="1204421"/>
                <a:ext cx="15875" cy="15875"/>
              </a:xfrm>
              <a:custGeom>
                <a:avLst/>
                <a:gdLst>
                  <a:gd name="T0" fmla="*/ 4 w 11"/>
                  <a:gd name="T1" fmla="*/ 11 h 11"/>
                  <a:gd name="T2" fmla="*/ 11 w 11"/>
                  <a:gd name="T3" fmla="*/ 7 h 11"/>
                  <a:gd name="T4" fmla="*/ 7 w 11"/>
                  <a:gd name="T5" fmla="*/ 1 h 11"/>
                  <a:gd name="T6" fmla="*/ 0 w 11"/>
                  <a:gd name="T7" fmla="*/ 4 h 11"/>
                  <a:gd name="T8" fmla="*/ 4 w 11"/>
                  <a:gd name="T9" fmla="*/ 11 h 11"/>
                </a:gdLst>
                <a:ahLst/>
                <a:cxnLst>
                  <a:cxn ang="0">
                    <a:pos x="T0" y="T1"/>
                  </a:cxn>
                  <a:cxn ang="0">
                    <a:pos x="T2" y="T3"/>
                  </a:cxn>
                  <a:cxn ang="0">
                    <a:pos x="T4" y="T5"/>
                  </a:cxn>
                  <a:cxn ang="0">
                    <a:pos x="T6" y="T7"/>
                  </a:cxn>
                  <a:cxn ang="0">
                    <a:pos x="T8" y="T9"/>
                  </a:cxn>
                </a:cxnLst>
                <a:rect l="0" t="0" r="r" b="b"/>
                <a:pathLst>
                  <a:path w="11" h="11">
                    <a:moveTo>
                      <a:pt x="4" y="11"/>
                    </a:moveTo>
                    <a:cubicBezTo>
                      <a:pt x="7" y="11"/>
                      <a:pt x="10" y="10"/>
                      <a:pt x="11" y="7"/>
                    </a:cubicBezTo>
                    <a:cubicBezTo>
                      <a:pt x="11" y="4"/>
                      <a:pt x="10" y="1"/>
                      <a:pt x="7" y="1"/>
                    </a:cubicBezTo>
                    <a:cubicBezTo>
                      <a:pt x="4" y="0"/>
                      <a:pt x="1" y="1"/>
                      <a:pt x="0" y="4"/>
                    </a:cubicBezTo>
                    <a:cubicBezTo>
                      <a:pt x="0" y="7"/>
                      <a:pt x="1" y="10"/>
                      <a:pt x="4"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6" name="Freeform 1458">
                <a:extLst>
                  <a:ext uri="{FF2B5EF4-FFF2-40B4-BE49-F238E27FC236}">
                    <a16:creationId xmlns:a16="http://schemas.microsoft.com/office/drawing/2014/main" id="{2B80CE75-DD0D-4D71-92B4-F6F8D4475D9B}"/>
                  </a:ext>
                </a:extLst>
              </p:cNvPr>
              <p:cNvSpPr>
                <a:spLocks/>
              </p:cNvSpPr>
              <p:nvPr/>
            </p:nvSpPr>
            <p:spPr bwMode="auto">
              <a:xfrm>
                <a:off x="16541750" y="1236171"/>
                <a:ext cx="19050" cy="15875"/>
              </a:xfrm>
              <a:custGeom>
                <a:avLst/>
                <a:gdLst>
                  <a:gd name="T0" fmla="*/ 4 w 12"/>
                  <a:gd name="T1" fmla="*/ 11 h 11"/>
                  <a:gd name="T2" fmla="*/ 11 w 12"/>
                  <a:gd name="T3" fmla="*/ 7 h 11"/>
                  <a:gd name="T4" fmla="*/ 7 w 12"/>
                  <a:gd name="T5" fmla="*/ 1 h 11"/>
                  <a:gd name="T6" fmla="*/ 1 w 12"/>
                  <a:gd name="T7" fmla="*/ 4 h 11"/>
                  <a:gd name="T8" fmla="*/ 4 w 12"/>
                  <a:gd name="T9" fmla="*/ 11 h 11"/>
                </a:gdLst>
                <a:ahLst/>
                <a:cxnLst>
                  <a:cxn ang="0">
                    <a:pos x="T0" y="T1"/>
                  </a:cxn>
                  <a:cxn ang="0">
                    <a:pos x="T2" y="T3"/>
                  </a:cxn>
                  <a:cxn ang="0">
                    <a:pos x="T4" y="T5"/>
                  </a:cxn>
                  <a:cxn ang="0">
                    <a:pos x="T6" y="T7"/>
                  </a:cxn>
                  <a:cxn ang="0">
                    <a:pos x="T8" y="T9"/>
                  </a:cxn>
                </a:cxnLst>
                <a:rect l="0" t="0" r="r" b="b"/>
                <a:pathLst>
                  <a:path w="12" h="11">
                    <a:moveTo>
                      <a:pt x="4" y="11"/>
                    </a:moveTo>
                    <a:cubicBezTo>
                      <a:pt x="7" y="11"/>
                      <a:pt x="10" y="10"/>
                      <a:pt x="11" y="7"/>
                    </a:cubicBezTo>
                    <a:cubicBezTo>
                      <a:pt x="12" y="4"/>
                      <a:pt x="10" y="1"/>
                      <a:pt x="7" y="1"/>
                    </a:cubicBezTo>
                    <a:cubicBezTo>
                      <a:pt x="5" y="0"/>
                      <a:pt x="2" y="1"/>
                      <a:pt x="1" y="4"/>
                    </a:cubicBezTo>
                    <a:cubicBezTo>
                      <a:pt x="0" y="7"/>
                      <a:pt x="2" y="10"/>
                      <a:pt x="4" y="11"/>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7" name="Freeform 1459">
                <a:extLst>
                  <a:ext uri="{FF2B5EF4-FFF2-40B4-BE49-F238E27FC236}">
                    <a16:creationId xmlns:a16="http://schemas.microsoft.com/office/drawing/2014/main" id="{ABA133E0-3867-40B5-81EA-35F9F034457D}"/>
                  </a:ext>
                </a:extLst>
              </p:cNvPr>
              <p:cNvSpPr>
                <a:spLocks/>
              </p:cNvSpPr>
              <p:nvPr/>
            </p:nvSpPr>
            <p:spPr bwMode="auto">
              <a:xfrm>
                <a:off x="16530638" y="1213946"/>
                <a:ext cx="17462" cy="17462"/>
              </a:xfrm>
              <a:custGeom>
                <a:avLst/>
                <a:gdLst>
                  <a:gd name="T0" fmla="*/ 11 w 12"/>
                  <a:gd name="T1" fmla="*/ 8 h 12"/>
                  <a:gd name="T2" fmla="*/ 8 w 12"/>
                  <a:gd name="T3" fmla="*/ 1 h 12"/>
                  <a:gd name="T4" fmla="*/ 1 w 12"/>
                  <a:gd name="T5" fmla="*/ 5 h 12"/>
                  <a:gd name="T6" fmla="*/ 5 w 12"/>
                  <a:gd name="T7" fmla="*/ 11 h 12"/>
                  <a:gd name="T8" fmla="*/ 11 w 12"/>
                  <a:gd name="T9" fmla="*/ 8 h 12"/>
                </a:gdLst>
                <a:ahLst/>
                <a:cxnLst>
                  <a:cxn ang="0">
                    <a:pos x="T0" y="T1"/>
                  </a:cxn>
                  <a:cxn ang="0">
                    <a:pos x="T2" y="T3"/>
                  </a:cxn>
                  <a:cxn ang="0">
                    <a:pos x="T4" y="T5"/>
                  </a:cxn>
                  <a:cxn ang="0">
                    <a:pos x="T6" y="T7"/>
                  </a:cxn>
                  <a:cxn ang="0">
                    <a:pos x="T8" y="T9"/>
                  </a:cxn>
                </a:cxnLst>
                <a:rect l="0" t="0" r="r" b="b"/>
                <a:pathLst>
                  <a:path w="12" h="12">
                    <a:moveTo>
                      <a:pt x="11" y="8"/>
                    </a:moveTo>
                    <a:cubicBezTo>
                      <a:pt x="12" y="5"/>
                      <a:pt x="10" y="2"/>
                      <a:pt x="8" y="1"/>
                    </a:cubicBezTo>
                    <a:cubicBezTo>
                      <a:pt x="5" y="0"/>
                      <a:pt x="2" y="2"/>
                      <a:pt x="1" y="5"/>
                    </a:cubicBezTo>
                    <a:cubicBezTo>
                      <a:pt x="0" y="8"/>
                      <a:pt x="2" y="10"/>
                      <a:pt x="5" y="11"/>
                    </a:cubicBezTo>
                    <a:cubicBezTo>
                      <a:pt x="7" y="12"/>
                      <a:pt x="10" y="11"/>
                      <a:pt x="11" y="8"/>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8" name="Freeform 1460">
                <a:extLst>
                  <a:ext uri="{FF2B5EF4-FFF2-40B4-BE49-F238E27FC236}">
                    <a16:creationId xmlns:a16="http://schemas.microsoft.com/office/drawing/2014/main" id="{CBCCB437-0FF2-4F2B-914A-2A5CB4245986}"/>
                  </a:ext>
                </a:extLst>
              </p:cNvPr>
              <p:cNvSpPr>
                <a:spLocks/>
              </p:cNvSpPr>
              <p:nvPr/>
            </p:nvSpPr>
            <p:spPr bwMode="auto">
              <a:xfrm>
                <a:off x="16562388" y="1225059"/>
                <a:ext cx="19050" cy="17462"/>
              </a:xfrm>
              <a:custGeom>
                <a:avLst/>
                <a:gdLst>
                  <a:gd name="T0" fmla="*/ 11 w 12"/>
                  <a:gd name="T1" fmla="*/ 7 h 12"/>
                  <a:gd name="T2" fmla="*/ 8 w 12"/>
                  <a:gd name="T3" fmla="*/ 1 h 12"/>
                  <a:gd name="T4" fmla="*/ 1 w 12"/>
                  <a:gd name="T5" fmla="*/ 4 h 12"/>
                  <a:gd name="T6" fmla="*/ 5 w 12"/>
                  <a:gd name="T7" fmla="*/ 11 h 12"/>
                  <a:gd name="T8" fmla="*/ 11 w 12"/>
                  <a:gd name="T9" fmla="*/ 7 h 12"/>
                </a:gdLst>
                <a:ahLst/>
                <a:cxnLst>
                  <a:cxn ang="0">
                    <a:pos x="T0" y="T1"/>
                  </a:cxn>
                  <a:cxn ang="0">
                    <a:pos x="T2" y="T3"/>
                  </a:cxn>
                  <a:cxn ang="0">
                    <a:pos x="T4" y="T5"/>
                  </a:cxn>
                  <a:cxn ang="0">
                    <a:pos x="T6" y="T7"/>
                  </a:cxn>
                  <a:cxn ang="0">
                    <a:pos x="T8" y="T9"/>
                  </a:cxn>
                </a:cxnLst>
                <a:rect l="0" t="0" r="r" b="b"/>
                <a:pathLst>
                  <a:path w="12" h="12">
                    <a:moveTo>
                      <a:pt x="11" y="7"/>
                    </a:moveTo>
                    <a:cubicBezTo>
                      <a:pt x="12" y="5"/>
                      <a:pt x="10" y="2"/>
                      <a:pt x="8" y="1"/>
                    </a:cubicBezTo>
                    <a:cubicBezTo>
                      <a:pt x="5" y="0"/>
                      <a:pt x="2" y="2"/>
                      <a:pt x="1" y="4"/>
                    </a:cubicBezTo>
                    <a:cubicBezTo>
                      <a:pt x="0" y="7"/>
                      <a:pt x="2" y="10"/>
                      <a:pt x="5" y="11"/>
                    </a:cubicBezTo>
                    <a:cubicBezTo>
                      <a:pt x="7" y="12"/>
                      <a:pt x="10" y="10"/>
                      <a:pt x="11" y="7"/>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9" name="Freeform 1461">
                <a:extLst>
                  <a:ext uri="{FF2B5EF4-FFF2-40B4-BE49-F238E27FC236}">
                    <a16:creationId xmlns:a16="http://schemas.microsoft.com/office/drawing/2014/main" id="{C0F1A1F0-45C0-496E-A666-39353CF8257B}"/>
                  </a:ext>
                </a:extLst>
              </p:cNvPr>
              <p:cNvSpPr>
                <a:spLocks/>
              </p:cNvSpPr>
              <p:nvPr/>
            </p:nvSpPr>
            <p:spPr bwMode="auto">
              <a:xfrm>
                <a:off x="16438563" y="1223471"/>
                <a:ext cx="42862" cy="42862"/>
              </a:xfrm>
              <a:custGeom>
                <a:avLst/>
                <a:gdLst>
                  <a:gd name="T0" fmla="*/ 28 w 29"/>
                  <a:gd name="T1" fmla="*/ 15 h 29"/>
                  <a:gd name="T2" fmla="*/ 27 w 29"/>
                  <a:gd name="T3" fmla="*/ 13 h 29"/>
                  <a:gd name="T4" fmla="*/ 22 w 29"/>
                  <a:gd name="T5" fmla="*/ 11 h 29"/>
                  <a:gd name="T6" fmla="*/ 21 w 29"/>
                  <a:gd name="T7" fmla="*/ 9 h 29"/>
                  <a:gd name="T8" fmla="*/ 22 w 29"/>
                  <a:gd name="T9" fmla="*/ 4 h 29"/>
                  <a:gd name="T10" fmla="*/ 21 w 29"/>
                  <a:gd name="T11" fmla="*/ 2 h 29"/>
                  <a:gd name="T12" fmla="*/ 15 w 29"/>
                  <a:gd name="T13" fmla="*/ 0 h 29"/>
                  <a:gd name="T14" fmla="*/ 13 w 29"/>
                  <a:gd name="T15" fmla="*/ 1 h 29"/>
                  <a:gd name="T16" fmla="*/ 11 w 29"/>
                  <a:gd name="T17" fmla="*/ 7 h 29"/>
                  <a:gd name="T18" fmla="*/ 9 w 29"/>
                  <a:gd name="T19" fmla="*/ 8 h 29"/>
                  <a:gd name="T20" fmla="*/ 4 w 29"/>
                  <a:gd name="T21" fmla="*/ 6 h 29"/>
                  <a:gd name="T22" fmla="*/ 2 w 29"/>
                  <a:gd name="T23" fmla="*/ 8 h 29"/>
                  <a:gd name="T24" fmla="*/ 0 w 29"/>
                  <a:gd name="T25" fmla="*/ 14 h 29"/>
                  <a:gd name="T26" fmla="*/ 1 w 29"/>
                  <a:gd name="T27" fmla="*/ 16 h 29"/>
                  <a:gd name="T28" fmla="*/ 7 w 29"/>
                  <a:gd name="T29" fmla="*/ 17 h 29"/>
                  <a:gd name="T30" fmla="*/ 8 w 29"/>
                  <a:gd name="T31" fmla="*/ 19 h 29"/>
                  <a:gd name="T32" fmla="*/ 6 w 29"/>
                  <a:gd name="T33" fmla="*/ 25 h 29"/>
                  <a:gd name="T34" fmla="*/ 7 w 29"/>
                  <a:gd name="T35" fmla="*/ 27 h 29"/>
                  <a:gd name="T36" fmla="*/ 14 w 29"/>
                  <a:gd name="T37" fmla="*/ 28 h 29"/>
                  <a:gd name="T38" fmla="*/ 16 w 29"/>
                  <a:gd name="T39" fmla="*/ 27 h 29"/>
                  <a:gd name="T40" fmla="*/ 17 w 29"/>
                  <a:gd name="T41" fmla="*/ 22 h 29"/>
                  <a:gd name="T42" fmla="*/ 19 w 29"/>
                  <a:gd name="T43" fmla="*/ 21 h 29"/>
                  <a:gd name="T44" fmla="*/ 25 w 29"/>
                  <a:gd name="T45" fmla="*/ 22 h 29"/>
                  <a:gd name="T46" fmla="*/ 27 w 29"/>
                  <a:gd name="T47" fmla="*/ 21 h 29"/>
                  <a:gd name="T48" fmla="*/ 28 w 29"/>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29">
                    <a:moveTo>
                      <a:pt x="28" y="15"/>
                    </a:moveTo>
                    <a:cubicBezTo>
                      <a:pt x="29" y="14"/>
                      <a:pt x="28" y="13"/>
                      <a:pt x="27" y="13"/>
                    </a:cubicBezTo>
                    <a:cubicBezTo>
                      <a:pt x="22" y="11"/>
                      <a:pt x="22" y="11"/>
                      <a:pt x="22" y="11"/>
                    </a:cubicBezTo>
                    <a:cubicBezTo>
                      <a:pt x="21" y="11"/>
                      <a:pt x="20" y="10"/>
                      <a:pt x="21" y="9"/>
                    </a:cubicBezTo>
                    <a:cubicBezTo>
                      <a:pt x="22" y="4"/>
                      <a:pt x="22" y="4"/>
                      <a:pt x="22" y="4"/>
                    </a:cubicBezTo>
                    <a:cubicBezTo>
                      <a:pt x="22" y="3"/>
                      <a:pt x="22" y="2"/>
                      <a:pt x="21" y="2"/>
                    </a:cubicBezTo>
                    <a:cubicBezTo>
                      <a:pt x="15" y="0"/>
                      <a:pt x="15" y="0"/>
                      <a:pt x="15" y="0"/>
                    </a:cubicBezTo>
                    <a:cubicBezTo>
                      <a:pt x="14" y="0"/>
                      <a:pt x="13" y="0"/>
                      <a:pt x="13" y="1"/>
                    </a:cubicBezTo>
                    <a:cubicBezTo>
                      <a:pt x="11" y="7"/>
                      <a:pt x="11" y="7"/>
                      <a:pt x="11" y="7"/>
                    </a:cubicBezTo>
                    <a:cubicBezTo>
                      <a:pt x="11" y="8"/>
                      <a:pt x="10" y="8"/>
                      <a:pt x="9" y="8"/>
                    </a:cubicBezTo>
                    <a:cubicBezTo>
                      <a:pt x="4" y="6"/>
                      <a:pt x="4" y="6"/>
                      <a:pt x="4" y="6"/>
                    </a:cubicBezTo>
                    <a:cubicBezTo>
                      <a:pt x="3" y="6"/>
                      <a:pt x="2" y="7"/>
                      <a:pt x="2" y="8"/>
                    </a:cubicBezTo>
                    <a:cubicBezTo>
                      <a:pt x="0" y="14"/>
                      <a:pt x="0" y="14"/>
                      <a:pt x="0" y="14"/>
                    </a:cubicBezTo>
                    <a:cubicBezTo>
                      <a:pt x="0" y="15"/>
                      <a:pt x="0" y="16"/>
                      <a:pt x="1" y="16"/>
                    </a:cubicBezTo>
                    <a:cubicBezTo>
                      <a:pt x="7" y="17"/>
                      <a:pt x="7" y="17"/>
                      <a:pt x="7" y="17"/>
                    </a:cubicBezTo>
                    <a:cubicBezTo>
                      <a:pt x="8" y="18"/>
                      <a:pt x="8" y="18"/>
                      <a:pt x="8" y="19"/>
                    </a:cubicBezTo>
                    <a:cubicBezTo>
                      <a:pt x="6" y="25"/>
                      <a:pt x="6" y="25"/>
                      <a:pt x="6" y="25"/>
                    </a:cubicBezTo>
                    <a:cubicBezTo>
                      <a:pt x="6" y="26"/>
                      <a:pt x="7" y="26"/>
                      <a:pt x="7" y="27"/>
                    </a:cubicBezTo>
                    <a:cubicBezTo>
                      <a:pt x="14" y="28"/>
                      <a:pt x="14" y="28"/>
                      <a:pt x="14" y="28"/>
                    </a:cubicBezTo>
                    <a:cubicBezTo>
                      <a:pt x="15" y="29"/>
                      <a:pt x="16" y="28"/>
                      <a:pt x="16" y="27"/>
                    </a:cubicBezTo>
                    <a:cubicBezTo>
                      <a:pt x="17" y="22"/>
                      <a:pt x="17" y="22"/>
                      <a:pt x="17" y="22"/>
                    </a:cubicBezTo>
                    <a:cubicBezTo>
                      <a:pt x="18" y="21"/>
                      <a:pt x="18" y="20"/>
                      <a:pt x="19" y="21"/>
                    </a:cubicBezTo>
                    <a:cubicBezTo>
                      <a:pt x="25" y="22"/>
                      <a:pt x="25" y="22"/>
                      <a:pt x="25" y="22"/>
                    </a:cubicBezTo>
                    <a:cubicBezTo>
                      <a:pt x="26" y="22"/>
                      <a:pt x="26" y="22"/>
                      <a:pt x="27" y="21"/>
                    </a:cubicBezTo>
                    <a:lnTo>
                      <a:pt x="28" y="15"/>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0" name="Freeform 1462">
                <a:extLst>
                  <a:ext uri="{FF2B5EF4-FFF2-40B4-BE49-F238E27FC236}">
                    <a16:creationId xmlns:a16="http://schemas.microsoft.com/office/drawing/2014/main" id="{BFFD9DDB-992F-44C7-B15F-66D8655192C3}"/>
                  </a:ext>
                </a:extLst>
              </p:cNvPr>
              <p:cNvSpPr>
                <a:spLocks noEditPoints="1"/>
              </p:cNvSpPr>
              <p:nvPr/>
            </p:nvSpPr>
            <p:spPr bwMode="auto">
              <a:xfrm>
                <a:off x="16462375" y="1164734"/>
                <a:ext cx="87312" cy="25400"/>
              </a:xfrm>
              <a:custGeom>
                <a:avLst/>
                <a:gdLst>
                  <a:gd name="T0" fmla="*/ 29 w 59"/>
                  <a:gd name="T1" fmla="*/ 9 h 17"/>
                  <a:gd name="T2" fmla="*/ 29 w 59"/>
                  <a:gd name="T3" fmla="*/ 9 h 17"/>
                  <a:gd name="T4" fmla="*/ 33 w 59"/>
                  <a:gd name="T5" fmla="*/ 10 h 17"/>
                  <a:gd name="T6" fmla="*/ 34 w 59"/>
                  <a:gd name="T7" fmla="*/ 11 h 17"/>
                  <a:gd name="T8" fmla="*/ 35 w 59"/>
                  <a:gd name="T9" fmla="*/ 11 h 17"/>
                  <a:gd name="T10" fmla="*/ 59 w 59"/>
                  <a:gd name="T11" fmla="*/ 17 h 17"/>
                  <a:gd name="T12" fmla="*/ 58 w 59"/>
                  <a:gd name="T13" fmla="*/ 17 h 17"/>
                  <a:gd name="T14" fmla="*/ 34 w 59"/>
                  <a:gd name="T15" fmla="*/ 10 h 17"/>
                  <a:gd name="T16" fmla="*/ 29 w 59"/>
                  <a:gd name="T17" fmla="*/ 9 h 17"/>
                  <a:gd name="T18" fmla="*/ 9 w 59"/>
                  <a:gd name="T19" fmla="*/ 4 h 17"/>
                  <a:gd name="T20" fmla="*/ 26 w 59"/>
                  <a:gd name="T21" fmla="*/ 8 h 17"/>
                  <a:gd name="T22" fmla="*/ 26 w 59"/>
                  <a:gd name="T23" fmla="*/ 8 h 17"/>
                  <a:gd name="T24" fmla="*/ 10 w 59"/>
                  <a:gd name="T25" fmla="*/ 4 h 17"/>
                  <a:gd name="T26" fmla="*/ 9 w 59"/>
                  <a:gd name="T27" fmla="*/ 4 h 17"/>
                  <a:gd name="T28" fmla="*/ 0 w 59"/>
                  <a:gd name="T29" fmla="*/ 0 h 17"/>
                  <a:gd name="T30" fmla="*/ 4 w 59"/>
                  <a:gd name="T31" fmla="*/ 1 h 17"/>
                  <a:gd name="T32" fmla="*/ 0 w 59"/>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17">
                    <a:moveTo>
                      <a:pt x="29" y="9"/>
                    </a:moveTo>
                    <a:cubicBezTo>
                      <a:pt x="29" y="9"/>
                      <a:pt x="29" y="9"/>
                      <a:pt x="29" y="9"/>
                    </a:cubicBezTo>
                    <a:cubicBezTo>
                      <a:pt x="30" y="9"/>
                      <a:pt x="31" y="10"/>
                      <a:pt x="33" y="10"/>
                    </a:cubicBezTo>
                    <a:cubicBezTo>
                      <a:pt x="33" y="10"/>
                      <a:pt x="34" y="10"/>
                      <a:pt x="34" y="11"/>
                    </a:cubicBezTo>
                    <a:cubicBezTo>
                      <a:pt x="35" y="11"/>
                      <a:pt x="35" y="11"/>
                      <a:pt x="35" y="11"/>
                    </a:cubicBezTo>
                    <a:cubicBezTo>
                      <a:pt x="50" y="15"/>
                      <a:pt x="55" y="17"/>
                      <a:pt x="59" y="17"/>
                    </a:cubicBezTo>
                    <a:cubicBezTo>
                      <a:pt x="58" y="17"/>
                      <a:pt x="58" y="17"/>
                      <a:pt x="58" y="17"/>
                    </a:cubicBezTo>
                    <a:cubicBezTo>
                      <a:pt x="34" y="10"/>
                      <a:pt x="34" y="10"/>
                      <a:pt x="34" y="10"/>
                    </a:cubicBezTo>
                    <a:cubicBezTo>
                      <a:pt x="29" y="9"/>
                      <a:pt x="29" y="9"/>
                      <a:pt x="29" y="9"/>
                    </a:cubicBezTo>
                    <a:moveTo>
                      <a:pt x="9" y="4"/>
                    </a:moveTo>
                    <a:cubicBezTo>
                      <a:pt x="12" y="5"/>
                      <a:pt x="16" y="6"/>
                      <a:pt x="26" y="8"/>
                    </a:cubicBezTo>
                    <a:cubicBezTo>
                      <a:pt x="26" y="8"/>
                      <a:pt x="26" y="8"/>
                      <a:pt x="26" y="8"/>
                    </a:cubicBezTo>
                    <a:cubicBezTo>
                      <a:pt x="10" y="4"/>
                      <a:pt x="10" y="4"/>
                      <a:pt x="10" y="4"/>
                    </a:cubicBezTo>
                    <a:cubicBezTo>
                      <a:pt x="10" y="4"/>
                      <a:pt x="10" y="4"/>
                      <a:pt x="9" y="4"/>
                    </a:cubicBezTo>
                    <a:moveTo>
                      <a:pt x="0" y="0"/>
                    </a:moveTo>
                    <a:cubicBezTo>
                      <a:pt x="1" y="0"/>
                      <a:pt x="3" y="1"/>
                      <a:pt x="4" y="1"/>
                    </a:cubicBezTo>
                    <a:cubicBezTo>
                      <a:pt x="3" y="1"/>
                      <a:pt x="2"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1" name="Freeform 1463">
                <a:extLst>
                  <a:ext uri="{FF2B5EF4-FFF2-40B4-BE49-F238E27FC236}">
                    <a16:creationId xmlns:a16="http://schemas.microsoft.com/office/drawing/2014/main" id="{B81CAA2D-6E31-4949-BD5D-8B9CB0FC7452}"/>
                  </a:ext>
                </a:extLst>
              </p:cNvPr>
              <p:cNvSpPr>
                <a:spLocks/>
              </p:cNvSpPr>
              <p:nvPr/>
            </p:nvSpPr>
            <p:spPr bwMode="auto">
              <a:xfrm>
                <a:off x="16500475" y="1177434"/>
                <a:ext cx="4762" cy="1587"/>
              </a:xfrm>
              <a:custGeom>
                <a:avLst/>
                <a:gdLst>
                  <a:gd name="T0" fmla="*/ 0 w 3"/>
                  <a:gd name="T1" fmla="*/ 0 h 1"/>
                  <a:gd name="T2" fmla="*/ 0 w 3"/>
                  <a:gd name="T3" fmla="*/ 0 h 1"/>
                  <a:gd name="T4" fmla="*/ 3 w 3"/>
                  <a:gd name="T5" fmla="*/ 1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1"/>
                      <a:pt x="2" y="1"/>
                      <a:pt x="3" y="1"/>
                    </a:cubicBezTo>
                    <a:cubicBezTo>
                      <a:pt x="3" y="1"/>
                      <a:pt x="3" y="1"/>
                      <a:pt x="3" y="1"/>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2" name="Freeform 1464">
                <a:extLst>
                  <a:ext uri="{FF2B5EF4-FFF2-40B4-BE49-F238E27FC236}">
                    <a16:creationId xmlns:a16="http://schemas.microsoft.com/office/drawing/2014/main" id="{37C13005-6E4F-4801-86BF-3D73B0B54709}"/>
                  </a:ext>
                </a:extLst>
              </p:cNvPr>
              <p:cNvSpPr>
                <a:spLocks/>
              </p:cNvSpPr>
              <p:nvPr/>
            </p:nvSpPr>
            <p:spPr bwMode="auto">
              <a:xfrm>
                <a:off x="16559213" y="1190134"/>
                <a:ext cx="4762" cy="1587"/>
              </a:xfrm>
              <a:custGeom>
                <a:avLst/>
                <a:gdLst>
                  <a:gd name="T0" fmla="*/ 0 w 4"/>
                  <a:gd name="T1" fmla="*/ 0 h 1"/>
                  <a:gd name="T2" fmla="*/ 0 w 4"/>
                  <a:gd name="T3" fmla="*/ 1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cubicBezTo>
                      <a:pt x="0" y="0"/>
                      <a:pt x="0" y="0"/>
                      <a:pt x="0" y="1"/>
                    </a:cubicBezTo>
                    <a:cubicBezTo>
                      <a:pt x="1" y="1"/>
                      <a:pt x="3" y="1"/>
                      <a:pt x="4" y="1"/>
                    </a:cubicBezTo>
                    <a:cubicBezTo>
                      <a:pt x="2" y="1"/>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3" name="Freeform 1465">
                <a:extLst>
                  <a:ext uri="{FF2B5EF4-FFF2-40B4-BE49-F238E27FC236}">
                    <a16:creationId xmlns:a16="http://schemas.microsoft.com/office/drawing/2014/main" id="{5010BD34-A4FA-47B8-967C-BDEDE92B12DE}"/>
                  </a:ext>
                </a:extLst>
              </p:cNvPr>
              <p:cNvSpPr>
                <a:spLocks/>
              </p:cNvSpPr>
              <p:nvPr/>
            </p:nvSpPr>
            <p:spPr bwMode="auto">
              <a:xfrm>
                <a:off x="16462375" y="1164734"/>
                <a:ext cx="101600" cy="41275"/>
              </a:xfrm>
              <a:custGeom>
                <a:avLst/>
                <a:gdLst>
                  <a:gd name="T0" fmla="*/ 0 w 69"/>
                  <a:gd name="T1" fmla="*/ 0 h 28"/>
                  <a:gd name="T2" fmla="*/ 11 w 69"/>
                  <a:gd name="T3" fmla="*/ 17 h 28"/>
                  <a:gd name="T4" fmla="*/ 51 w 69"/>
                  <a:gd name="T5" fmla="*/ 28 h 28"/>
                  <a:gd name="T6" fmla="*/ 51 w 69"/>
                  <a:gd name="T7" fmla="*/ 28 h 28"/>
                  <a:gd name="T8" fmla="*/ 69 w 69"/>
                  <a:gd name="T9" fmla="*/ 19 h 28"/>
                  <a:gd name="T10" fmla="*/ 69 w 69"/>
                  <a:gd name="T11" fmla="*/ 18 h 28"/>
                  <a:gd name="T12" fmla="*/ 65 w 69"/>
                  <a:gd name="T13" fmla="*/ 18 h 28"/>
                  <a:gd name="T14" fmla="*/ 65 w 69"/>
                  <a:gd name="T15" fmla="*/ 18 h 28"/>
                  <a:gd name="T16" fmla="*/ 63 w 69"/>
                  <a:gd name="T17" fmla="*/ 18 h 28"/>
                  <a:gd name="T18" fmla="*/ 59 w 69"/>
                  <a:gd name="T19" fmla="*/ 17 h 28"/>
                  <a:gd name="T20" fmla="*/ 35 w 69"/>
                  <a:gd name="T21" fmla="*/ 11 h 28"/>
                  <a:gd name="T22" fmla="*/ 34 w 69"/>
                  <a:gd name="T23" fmla="*/ 11 h 28"/>
                  <a:gd name="T24" fmla="*/ 33 w 69"/>
                  <a:gd name="T25" fmla="*/ 10 h 28"/>
                  <a:gd name="T26" fmla="*/ 29 w 69"/>
                  <a:gd name="T27" fmla="*/ 9 h 28"/>
                  <a:gd name="T28" fmla="*/ 26 w 69"/>
                  <a:gd name="T29" fmla="*/ 8 h 28"/>
                  <a:gd name="T30" fmla="*/ 9 w 69"/>
                  <a:gd name="T31" fmla="*/ 4 h 28"/>
                  <a:gd name="T32" fmla="*/ 4 w 69"/>
                  <a:gd name="T33" fmla="*/ 1 h 28"/>
                  <a:gd name="T34" fmla="*/ 4 w 69"/>
                  <a:gd name="T35" fmla="*/ 1 h 28"/>
                  <a:gd name="T36" fmla="*/ 0 w 69"/>
                  <a:gd name="T37" fmla="*/ 0 h 28"/>
                  <a:gd name="T38" fmla="*/ 0 w 69"/>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28">
                    <a:moveTo>
                      <a:pt x="0" y="0"/>
                    </a:moveTo>
                    <a:cubicBezTo>
                      <a:pt x="3" y="7"/>
                      <a:pt x="8" y="16"/>
                      <a:pt x="11" y="17"/>
                    </a:cubicBezTo>
                    <a:cubicBezTo>
                      <a:pt x="15" y="20"/>
                      <a:pt x="45" y="28"/>
                      <a:pt x="51" y="28"/>
                    </a:cubicBezTo>
                    <a:cubicBezTo>
                      <a:pt x="51" y="28"/>
                      <a:pt x="51" y="28"/>
                      <a:pt x="51" y="28"/>
                    </a:cubicBezTo>
                    <a:cubicBezTo>
                      <a:pt x="54" y="28"/>
                      <a:pt x="63" y="23"/>
                      <a:pt x="69" y="19"/>
                    </a:cubicBezTo>
                    <a:cubicBezTo>
                      <a:pt x="69" y="19"/>
                      <a:pt x="69" y="19"/>
                      <a:pt x="69" y="18"/>
                    </a:cubicBezTo>
                    <a:cubicBezTo>
                      <a:pt x="68" y="18"/>
                      <a:pt x="66" y="18"/>
                      <a:pt x="65" y="18"/>
                    </a:cubicBezTo>
                    <a:cubicBezTo>
                      <a:pt x="65" y="18"/>
                      <a:pt x="65" y="18"/>
                      <a:pt x="65" y="18"/>
                    </a:cubicBezTo>
                    <a:cubicBezTo>
                      <a:pt x="64" y="18"/>
                      <a:pt x="63" y="18"/>
                      <a:pt x="63" y="18"/>
                    </a:cubicBezTo>
                    <a:cubicBezTo>
                      <a:pt x="61" y="18"/>
                      <a:pt x="60" y="17"/>
                      <a:pt x="59" y="17"/>
                    </a:cubicBezTo>
                    <a:cubicBezTo>
                      <a:pt x="55" y="17"/>
                      <a:pt x="50" y="15"/>
                      <a:pt x="35" y="11"/>
                    </a:cubicBezTo>
                    <a:cubicBezTo>
                      <a:pt x="35" y="11"/>
                      <a:pt x="35" y="11"/>
                      <a:pt x="34" y="11"/>
                    </a:cubicBezTo>
                    <a:cubicBezTo>
                      <a:pt x="34" y="10"/>
                      <a:pt x="33" y="10"/>
                      <a:pt x="33" y="10"/>
                    </a:cubicBezTo>
                    <a:cubicBezTo>
                      <a:pt x="31" y="10"/>
                      <a:pt x="30" y="9"/>
                      <a:pt x="29" y="9"/>
                    </a:cubicBezTo>
                    <a:cubicBezTo>
                      <a:pt x="28" y="9"/>
                      <a:pt x="27" y="9"/>
                      <a:pt x="26" y="8"/>
                    </a:cubicBezTo>
                    <a:cubicBezTo>
                      <a:pt x="16" y="6"/>
                      <a:pt x="12" y="5"/>
                      <a:pt x="9" y="4"/>
                    </a:cubicBezTo>
                    <a:cubicBezTo>
                      <a:pt x="8" y="3"/>
                      <a:pt x="6" y="3"/>
                      <a:pt x="4" y="1"/>
                    </a:cubicBezTo>
                    <a:cubicBezTo>
                      <a:pt x="4" y="1"/>
                      <a:pt x="4" y="1"/>
                      <a:pt x="4" y="1"/>
                    </a:cubicBezTo>
                    <a:cubicBezTo>
                      <a:pt x="3" y="1"/>
                      <a:pt x="1" y="0"/>
                      <a:pt x="0" y="0"/>
                    </a:cubicBezTo>
                    <a:cubicBezTo>
                      <a:pt x="0" y="0"/>
                      <a:pt x="0" y="0"/>
                      <a:pt x="0"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4" name="Freeform 1466">
                <a:extLst>
                  <a:ext uri="{FF2B5EF4-FFF2-40B4-BE49-F238E27FC236}">
                    <a16:creationId xmlns:a16="http://schemas.microsoft.com/office/drawing/2014/main" id="{A143DB35-724C-4319-A690-48C9AA314DAD}"/>
                  </a:ext>
                </a:extLst>
              </p:cNvPr>
              <p:cNvSpPr>
                <a:spLocks noEditPoints="1"/>
              </p:cNvSpPr>
              <p:nvPr/>
            </p:nvSpPr>
            <p:spPr bwMode="auto">
              <a:xfrm>
                <a:off x="16362363" y="1325071"/>
                <a:ext cx="207962" cy="55562"/>
              </a:xfrm>
              <a:custGeom>
                <a:avLst/>
                <a:gdLst>
                  <a:gd name="T0" fmla="*/ 141 w 141"/>
                  <a:gd name="T1" fmla="*/ 38 h 38"/>
                  <a:gd name="T2" fmla="*/ 141 w 141"/>
                  <a:gd name="T3" fmla="*/ 38 h 38"/>
                  <a:gd name="T4" fmla="*/ 141 w 141"/>
                  <a:gd name="T5" fmla="*/ 38 h 38"/>
                  <a:gd name="T6" fmla="*/ 141 w 141"/>
                  <a:gd name="T7" fmla="*/ 38 h 38"/>
                  <a:gd name="T8" fmla="*/ 0 w 141"/>
                  <a:gd name="T9" fmla="*/ 0 h 38"/>
                  <a:gd name="T10" fmla="*/ 0 w 141"/>
                  <a:gd name="T11" fmla="*/ 0 h 38"/>
                  <a:gd name="T12" fmla="*/ 1 w 141"/>
                  <a:gd name="T13" fmla="*/ 0 h 38"/>
                  <a:gd name="T14" fmla="*/ 0 w 14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38">
                    <a:moveTo>
                      <a:pt x="141" y="38"/>
                    </a:moveTo>
                    <a:cubicBezTo>
                      <a:pt x="141" y="38"/>
                      <a:pt x="141" y="38"/>
                      <a:pt x="141" y="38"/>
                    </a:cubicBezTo>
                    <a:cubicBezTo>
                      <a:pt x="141" y="38"/>
                      <a:pt x="141" y="38"/>
                      <a:pt x="141" y="38"/>
                    </a:cubicBezTo>
                    <a:cubicBezTo>
                      <a:pt x="141" y="38"/>
                      <a:pt x="141" y="38"/>
                      <a:pt x="141" y="38"/>
                    </a:cubicBezTo>
                    <a:moveTo>
                      <a:pt x="0" y="0"/>
                    </a:moveTo>
                    <a:cubicBezTo>
                      <a:pt x="0" y="0"/>
                      <a:pt x="0" y="0"/>
                      <a:pt x="0" y="0"/>
                    </a:cubicBezTo>
                    <a:cubicBezTo>
                      <a:pt x="1" y="0"/>
                      <a:pt x="1" y="0"/>
                      <a:pt x="1" y="0"/>
                    </a:cubicBezTo>
                    <a:cubicBezTo>
                      <a:pt x="1" y="0"/>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5" name="Freeform 1467">
                <a:extLst>
                  <a:ext uri="{FF2B5EF4-FFF2-40B4-BE49-F238E27FC236}">
                    <a16:creationId xmlns:a16="http://schemas.microsoft.com/office/drawing/2014/main" id="{B3DA3904-57D6-405C-A06F-26ADDCE6DDA7}"/>
                  </a:ext>
                </a:extLst>
              </p:cNvPr>
              <p:cNvSpPr>
                <a:spLocks/>
              </p:cNvSpPr>
              <p:nvPr/>
            </p:nvSpPr>
            <p:spPr bwMode="auto">
              <a:xfrm>
                <a:off x="16362363" y="1275859"/>
                <a:ext cx="209550" cy="104775"/>
              </a:xfrm>
              <a:custGeom>
                <a:avLst/>
                <a:gdLst>
                  <a:gd name="T0" fmla="*/ 48 w 142"/>
                  <a:gd name="T1" fmla="*/ 0 h 71"/>
                  <a:gd name="T2" fmla="*/ 23 w 142"/>
                  <a:gd name="T3" fmla="*/ 13 h 71"/>
                  <a:gd name="T4" fmla="*/ 0 w 142"/>
                  <a:gd name="T5" fmla="*/ 33 h 71"/>
                  <a:gd name="T6" fmla="*/ 1 w 142"/>
                  <a:gd name="T7" fmla="*/ 33 h 71"/>
                  <a:gd name="T8" fmla="*/ 1 w 142"/>
                  <a:gd name="T9" fmla="*/ 33 h 71"/>
                  <a:gd name="T10" fmla="*/ 3 w 142"/>
                  <a:gd name="T11" fmla="*/ 33 h 71"/>
                  <a:gd name="T12" fmla="*/ 36 w 142"/>
                  <a:gd name="T13" fmla="*/ 8 h 71"/>
                  <a:gd name="T14" fmla="*/ 48 w 142"/>
                  <a:gd name="T15" fmla="*/ 4 h 71"/>
                  <a:gd name="T16" fmla="*/ 53 w 142"/>
                  <a:gd name="T17" fmla="*/ 5 h 71"/>
                  <a:gd name="T18" fmla="*/ 80 w 142"/>
                  <a:gd name="T19" fmla="*/ 12 h 71"/>
                  <a:gd name="T20" fmla="*/ 83 w 142"/>
                  <a:gd name="T21" fmla="*/ 13 h 71"/>
                  <a:gd name="T22" fmla="*/ 110 w 142"/>
                  <a:gd name="T23" fmla="*/ 20 h 71"/>
                  <a:gd name="T24" fmla="*/ 122 w 142"/>
                  <a:gd name="T25" fmla="*/ 31 h 71"/>
                  <a:gd name="T26" fmla="*/ 141 w 142"/>
                  <a:gd name="T27" fmla="*/ 71 h 71"/>
                  <a:gd name="T28" fmla="*/ 141 w 142"/>
                  <a:gd name="T29" fmla="*/ 71 h 71"/>
                  <a:gd name="T30" fmla="*/ 141 w 142"/>
                  <a:gd name="T31" fmla="*/ 71 h 71"/>
                  <a:gd name="T32" fmla="*/ 132 w 142"/>
                  <a:gd name="T33" fmla="*/ 42 h 71"/>
                  <a:gd name="T34" fmla="*/ 108 w 142"/>
                  <a:gd name="T35" fmla="*/ 15 h 71"/>
                  <a:gd name="T36" fmla="*/ 57 w 142"/>
                  <a:gd name="T37" fmla="*/ 2 h 71"/>
                  <a:gd name="T38" fmla="*/ 48 w 142"/>
                  <a:gd name="T3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71">
                    <a:moveTo>
                      <a:pt x="48" y="0"/>
                    </a:moveTo>
                    <a:cubicBezTo>
                      <a:pt x="41" y="0"/>
                      <a:pt x="37" y="4"/>
                      <a:pt x="23" y="13"/>
                    </a:cubicBezTo>
                    <a:cubicBezTo>
                      <a:pt x="5" y="23"/>
                      <a:pt x="1" y="31"/>
                      <a:pt x="0" y="33"/>
                    </a:cubicBezTo>
                    <a:cubicBezTo>
                      <a:pt x="1" y="33"/>
                      <a:pt x="1" y="33"/>
                      <a:pt x="1" y="33"/>
                    </a:cubicBezTo>
                    <a:cubicBezTo>
                      <a:pt x="1" y="33"/>
                      <a:pt x="1" y="33"/>
                      <a:pt x="1" y="33"/>
                    </a:cubicBezTo>
                    <a:cubicBezTo>
                      <a:pt x="1" y="33"/>
                      <a:pt x="2" y="33"/>
                      <a:pt x="3" y="33"/>
                    </a:cubicBezTo>
                    <a:cubicBezTo>
                      <a:pt x="14" y="33"/>
                      <a:pt x="30" y="14"/>
                      <a:pt x="36" y="8"/>
                    </a:cubicBezTo>
                    <a:cubicBezTo>
                      <a:pt x="40" y="5"/>
                      <a:pt x="44" y="4"/>
                      <a:pt x="48" y="4"/>
                    </a:cubicBezTo>
                    <a:cubicBezTo>
                      <a:pt x="50" y="4"/>
                      <a:pt x="53" y="5"/>
                      <a:pt x="53" y="5"/>
                    </a:cubicBezTo>
                    <a:cubicBezTo>
                      <a:pt x="80" y="12"/>
                      <a:pt x="80" y="12"/>
                      <a:pt x="80" y="12"/>
                    </a:cubicBezTo>
                    <a:cubicBezTo>
                      <a:pt x="83" y="13"/>
                      <a:pt x="83" y="13"/>
                      <a:pt x="83" y="13"/>
                    </a:cubicBezTo>
                    <a:cubicBezTo>
                      <a:pt x="110" y="20"/>
                      <a:pt x="110" y="20"/>
                      <a:pt x="110" y="20"/>
                    </a:cubicBezTo>
                    <a:cubicBezTo>
                      <a:pt x="110" y="20"/>
                      <a:pt x="120" y="22"/>
                      <a:pt x="122" y="31"/>
                    </a:cubicBezTo>
                    <a:cubicBezTo>
                      <a:pt x="125" y="41"/>
                      <a:pt x="129" y="68"/>
                      <a:pt x="141" y="71"/>
                    </a:cubicBezTo>
                    <a:cubicBezTo>
                      <a:pt x="141" y="71"/>
                      <a:pt x="141" y="71"/>
                      <a:pt x="141" y="71"/>
                    </a:cubicBezTo>
                    <a:cubicBezTo>
                      <a:pt x="141" y="71"/>
                      <a:pt x="141" y="71"/>
                      <a:pt x="141" y="71"/>
                    </a:cubicBezTo>
                    <a:cubicBezTo>
                      <a:pt x="141" y="69"/>
                      <a:pt x="142" y="60"/>
                      <a:pt x="132" y="42"/>
                    </a:cubicBezTo>
                    <a:cubicBezTo>
                      <a:pt x="121" y="22"/>
                      <a:pt x="121" y="19"/>
                      <a:pt x="108" y="15"/>
                    </a:cubicBezTo>
                    <a:cubicBezTo>
                      <a:pt x="98" y="13"/>
                      <a:pt x="66" y="4"/>
                      <a:pt x="57" y="2"/>
                    </a:cubicBezTo>
                    <a:cubicBezTo>
                      <a:pt x="53" y="1"/>
                      <a:pt x="50" y="0"/>
                      <a:pt x="48"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sp>
        <p:nvSpPr>
          <p:cNvPr id="319" name="TextBox 318">
            <a:extLst>
              <a:ext uri="{FF2B5EF4-FFF2-40B4-BE49-F238E27FC236}">
                <a16:creationId xmlns:a16="http://schemas.microsoft.com/office/drawing/2014/main" id="{C54BC711-605A-414C-88AE-3264CE9CB0AB}"/>
              </a:ext>
            </a:extLst>
          </p:cNvPr>
          <p:cNvSpPr txBox="1"/>
          <p:nvPr/>
        </p:nvSpPr>
        <p:spPr>
          <a:xfrm>
            <a:off x="4357763" y="2262151"/>
            <a:ext cx="3474720" cy="2425015"/>
          </a:xfrm>
          <a:prstGeom prst="rect">
            <a:avLst/>
          </a:prstGeom>
          <a:noFill/>
          <a:ln w="6350">
            <a:solidFill>
              <a:schemeClr val="bg1">
                <a:lumMod val="75000"/>
              </a:schemeClr>
            </a:solidFill>
          </a:ln>
        </p:spPr>
        <p:txBody>
          <a:bodyPr wrap="square" lIns="0" tIns="0" rIns="0" bIns="0" rtlCol="0" anchor="ctr">
            <a:noAutofit/>
          </a:bodyPr>
          <a:lstStyle/>
          <a:p>
            <a:pPr algn="ctr"/>
            <a:endParaRPr lang="en-US" sz="2400" b="1" dirty="0">
              <a:solidFill>
                <a:schemeClr val="bg1"/>
              </a:solidFill>
            </a:endParaRPr>
          </a:p>
        </p:txBody>
      </p:sp>
      <p:sp>
        <p:nvSpPr>
          <p:cNvPr id="767" name="TextBox 766">
            <a:extLst>
              <a:ext uri="{FF2B5EF4-FFF2-40B4-BE49-F238E27FC236}">
                <a16:creationId xmlns:a16="http://schemas.microsoft.com/office/drawing/2014/main" id="{7566E713-BA17-4158-AB17-D3A5EE62FF1C}"/>
              </a:ext>
            </a:extLst>
          </p:cNvPr>
          <p:cNvSpPr txBox="1"/>
          <p:nvPr/>
        </p:nvSpPr>
        <p:spPr>
          <a:xfrm>
            <a:off x="8129024" y="2262151"/>
            <a:ext cx="3474720" cy="2425015"/>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a:endParaRPr lang="en-US" sz="2400" b="1" dirty="0">
              <a:solidFill>
                <a:schemeClr val="bg1"/>
              </a:solidFill>
            </a:endParaRPr>
          </a:p>
        </p:txBody>
      </p:sp>
      <p:sp>
        <p:nvSpPr>
          <p:cNvPr id="318" name="TextBox 317">
            <a:extLst>
              <a:ext uri="{FF2B5EF4-FFF2-40B4-BE49-F238E27FC236}">
                <a16:creationId xmlns:a16="http://schemas.microsoft.com/office/drawing/2014/main" id="{62A73716-D624-440D-9B57-4238AC1D96C5}"/>
              </a:ext>
            </a:extLst>
          </p:cNvPr>
          <p:cNvSpPr txBox="1"/>
          <p:nvPr/>
        </p:nvSpPr>
        <p:spPr>
          <a:xfrm>
            <a:off x="586501" y="1795782"/>
            <a:ext cx="3474720" cy="471156"/>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2000" b="1" dirty="0">
                <a:solidFill>
                  <a:schemeClr val="bg1"/>
                </a:solidFill>
              </a:rPr>
              <a:t>Infrastructure</a:t>
            </a:r>
          </a:p>
        </p:txBody>
      </p:sp>
      <p:sp>
        <p:nvSpPr>
          <p:cNvPr id="629" name="TextBox 628">
            <a:extLst>
              <a:ext uri="{FF2B5EF4-FFF2-40B4-BE49-F238E27FC236}">
                <a16:creationId xmlns:a16="http://schemas.microsoft.com/office/drawing/2014/main" id="{B883A530-9432-4D64-B3C6-4035DD756B62}"/>
              </a:ext>
            </a:extLst>
          </p:cNvPr>
          <p:cNvSpPr txBox="1"/>
          <p:nvPr/>
        </p:nvSpPr>
        <p:spPr>
          <a:xfrm>
            <a:off x="4357763" y="1795877"/>
            <a:ext cx="3474720" cy="471156"/>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2000" b="1" dirty="0">
                <a:solidFill>
                  <a:schemeClr val="bg1"/>
                </a:solidFill>
              </a:rPr>
              <a:t>Licensing</a:t>
            </a:r>
          </a:p>
        </p:txBody>
      </p:sp>
      <p:sp>
        <p:nvSpPr>
          <p:cNvPr id="769" name="TextBox 768">
            <a:extLst>
              <a:ext uri="{FF2B5EF4-FFF2-40B4-BE49-F238E27FC236}">
                <a16:creationId xmlns:a16="http://schemas.microsoft.com/office/drawing/2014/main" id="{53CB0267-EE4A-4703-83A7-CA4358EE31ED}"/>
              </a:ext>
            </a:extLst>
          </p:cNvPr>
          <p:cNvSpPr txBox="1"/>
          <p:nvPr/>
        </p:nvSpPr>
        <p:spPr>
          <a:xfrm>
            <a:off x="8129024" y="1795877"/>
            <a:ext cx="3474720" cy="471156"/>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2000" b="1" dirty="0">
                <a:solidFill>
                  <a:schemeClr val="bg1"/>
                </a:solidFill>
              </a:rPr>
              <a:t>Labor</a:t>
            </a:r>
          </a:p>
        </p:txBody>
      </p:sp>
      <p:sp>
        <p:nvSpPr>
          <p:cNvPr id="2" name="Oval 1">
            <a:extLst>
              <a:ext uri="{FF2B5EF4-FFF2-40B4-BE49-F238E27FC236}">
                <a16:creationId xmlns:a16="http://schemas.microsoft.com/office/drawing/2014/main" id="{6F48A8D4-49A0-43F1-B577-79AA05A3CA1D}"/>
              </a:ext>
            </a:extLst>
          </p:cNvPr>
          <p:cNvSpPr>
            <a:spLocks noChangeAspect="1"/>
          </p:cNvSpPr>
          <p:nvPr/>
        </p:nvSpPr>
        <p:spPr bwMode="auto">
          <a:xfrm>
            <a:off x="2675627" y="3387067"/>
            <a:ext cx="1235812" cy="123581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i="1" dirty="0">
                <a:solidFill>
                  <a:schemeClr val="bg1"/>
                </a:solidFill>
                <a:ea typeface="Segoe UI" pitchFamily="34" charset="0"/>
                <a:cs typeface="Segoe UI" pitchFamily="34" charset="0"/>
              </a:rPr>
              <a:t>~70%* Savings</a:t>
            </a:r>
          </a:p>
        </p:txBody>
      </p:sp>
      <p:sp>
        <p:nvSpPr>
          <p:cNvPr id="631" name="Oval 630">
            <a:extLst>
              <a:ext uri="{FF2B5EF4-FFF2-40B4-BE49-F238E27FC236}">
                <a16:creationId xmlns:a16="http://schemas.microsoft.com/office/drawing/2014/main" id="{73B069E9-E8A6-40E5-88E5-11DD4874DBF4}"/>
              </a:ext>
            </a:extLst>
          </p:cNvPr>
          <p:cNvSpPr>
            <a:spLocks noChangeAspect="1"/>
          </p:cNvSpPr>
          <p:nvPr/>
        </p:nvSpPr>
        <p:spPr bwMode="auto">
          <a:xfrm>
            <a:off x="6449820" y="3387067"/>
            <a:ext cx="1235812" cy="1235812"/>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i="1" dirty="0">
                <a:solidFill>
                  <a:schemeClr val="bg1"/>
                </a:solidFill>
                <a:ea typeface="Segoe UI" pitchFamily="34" charset="0"/>
                <a:cs typeface="Segoe UI" pitchFamily="34" charset="0"/>
              </a:rPr>
              <a:t>~60%* Savings</a:t>
            </a:r>
          </a:p>
        </p:txBody>
      </p:sp>
      <p:sp>
        <p:nvSpPr>
          <p:cNvPr id="632" name="Oval 631">
            <a:extLst>
              <a:ext uri="{FF2B5EF4-FFF2-40B4-BE49-F238E27FC236}">
                <a16:creationId xmlns:a16="http://schemas.microsoft.com/office/drawing/2014/main" id="{5EBE9468-46DE-4218-9B15-51F008BB6E3E}"/>
              </a:ext>
            </a:extLst>
          </p:cNvPr>
          <p:cNvSpPr>
            <a:spLocks noChangeAspect="1"/>
          </p:cNvSpPr>
          <p:nvPr/>
        </p:nvSpPr>
        <p:spPr bwMode="auto">
          <a:xfrm>
            <a:off x="10226557" y="3387067"/>
            <a:ext cx="1235812" cy="123581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i="1" dirty="0">
                <a:solidFill>
                  <a:schemeClr val="bg1"/>
                </a:solidFill>
                <a:ea typeface="Segoe UI" pitchFamily="34" charset="0"/>
                <a:cs typeface="Segoe UI" pitchFamily="34" charset="0"/>
              </a:rPr>
              <a:t>~60%** Savings</a:t>
            </a:r>
          </a:p>
        </p:txBody>
      </p:sp>
      <p:pic>
        <p:nvPicPr>
          <p:cNvPr id="9226" name="Picture 10" descr="Image result for license icon">
            <a:extLst>
              <a:ext uri="{FF2B5EF4-FFF2-40B4-BE49-F238E27FC236}">
                <a16:creationId xmlns:a16="http://schemas.microsoft.com/office/drawing/2014/main" id="{D1DA375E-DCFB-4F69-A3DE-288758D90D7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95992" y="2454465"/>
            <a:ext cx="1316980" cy="1316980"/>
          </a:xfrm>
          <a:prstGeom prst="rect">
            <a:avLst/>
          </a:prstGeom>
          <a:noFill/>
          <a:extLst>
            <a:ext uri="{909E8E84-426E-40DD-AFC4-6F175D3DCCD1}">
              <a14:hiddenFill xmlns:a14="http://schemas.microsoft.com/office/drawing/2010/main">
                <a:solidFill>
                  <a:srgbClr val="FFFFFF"/>
                </a:solidFill>
              </a14:hiddenFill>
            </a:ext>
          </a:extLst>
        </p:spPr>
      </p:pic>
      <p:grpSp>
        <p:nvGrpSpPr>
          <p:cNvPr id="404" name="Group 403">
            <a:extLst>
              <a:ext uri="{FF2B5EF4-FFF2-40B4-BE49-F238E27FC236}">
                <a16:creationId xmlns:a16="http://schemas.microsoft.com/office/drawing/2014/main" id="{85FC91FF-CF80-4B70-8AD5-321F30AFAFDA}"/>
              </a:ext>
            </a:extLst>
          </p:cNvPr>
          <p:cNvGrpSpPr/>
          <p:nvPr/>
        </p:nvGrpSpPr>
        <p:grpSpPr>
          <a:xfrm>
            <a:off x="8327302" y="2521712"/>
            <a:ext cx="1964602" cy="1301391"/>
            <a:chOff x="6130420" y="2616202"/>
            <a:chExt cx="1703052" cy="1128135"/>
          </a:xfrm>
        </p:grpSpPr>
        <p:grpSp>
          <p:nvGrpSpPr>
            <p:cNvPr id="405" name="Group 50">
              <a:extLst>
                <a:ext uri="{FF2B5EF4-FFF2-40B4-BE49-F238E27FC236}">
                  <a16:creationId xmlns:a16="http://schemas.microsoft.com/office/drawing/2014/main" id="{49AC61A0-B5B4-452C-88B6-518F93BC2D99}"/>
                </a:ext>
              </a:extLst>
            </p:cNvPr>
            <p:cNvGrpSpPr>
              <a:grpSpLocks noChangeAspect="1"/>
            </p:cNvGrpSpPr>
            <p:nvPr/>
          </p:nvGrpSpPr>
          <p:grpSpPr bwMode="auto">
            <a:xfrm>
              <a:off x="6602413" y="2616202"/>
              <a:ext cx="839787" cy="574676"/>
              <a:chOff x="4159" y="1648"/>
              <a:chExt cx="529" cy="362"/>
            </a:xfrm>
          </p:grpSpPr>
          <p:sp>
            <p:nvSpPr>
              <p:cNvPr id="482" name="AutoShape 49">
                <a:extLst>
                  <a:ext uri="{FF2B5EF4-FFF2-40B4-BE49-F238E27FC236}">
                    <a16:creationId xmlns:a16="http://schemas.microsoft.com/office/drawing/2014/main" id="{4B38F83E-1C51-4B27-A63C-36820B0BC2C1}"/>
                  </a:ext>
                </a:extLst>
              </p:cNvPr>
              <p:cNvSpPr>
                <a:spLocks noChangeAspect="1" noChangeArrowheads="1" noTextEdit="1"/>
              </p:cNvSpPr>
              <p:nvPr/>
            </p:nvSpPr>
            <p:spPr bwMode="auto">
              <a:xfrm>
                <a:off x="4159" y="1648"/>
                <a:ext cx="529" cy="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3" name="Freeform 51">
                <a:extLst>
                  <a:ext uri="{FF2B5EF4-FFF2-40B4-BE49-F238E27FC236}">
                    <a16:creationId xmlns:a16="http://schemas.microsoft.com/office/drawing/2014/main" id="{CFEFDEEC-1473-4D32-8B20-7CF87B7B1113}"/>
                  </a:ext>
                </a:extLst>
              </p:cNvPr>
              <p:cNvSpPr>
                <a:spLocks/>
              </p:cNvSpPr>
              <p:nvPr/>
            </p:nvSpPr>
            <p:spPr bwMode="auto">
              <a:xfrm>
                <a:off x="4306" y="1834"/>
                <a:ext cx="235" cy="176"/>
              </a:xfrm>
              <a:custGeom>
                <a:avLst/>
                <a:gdLst>
                  <a:gd name="T0" fmla="*/ 147 w 222"/>
                  <a:gd name="T1" fmla="*/ 154 h 165"/>
                  <a:gd name="T2" fmla="*/ 123 w 222"/>
                  <a:gd name="T3" fmla="*/ 130 h 165"/>
                  <a:gd name="T4" fmla="*/ 123 w 222"/>
                  <a:gd name="T5" fmla="*/ 0 h 165"/>
                  <a:gd name="T6" fmla="*/ 97 w 222"/>
                  <a:gd name="T7" fmla="*/ 0 h 165"/>
                  <a:gd name="T8" fmla="*/ 97 w 222"/>
                  <a:gd name="T9" fmla="*/ 130 h 165"/>
                  <a:gd name="T10" fmla="*/ 73 w 222"/>
                  <a:gd name="T11" fmla="*/ 154 h 165"/>
                  <a:gd name="T12" fmla="*/ 0 w 222"/>
                  <a:gd name="T13" fmla="*/ 154 h 165"/>
                  <a:gd name="T14" fmla="*/ 0 w 222"/>
                  <a:gd name="T15" fmla="*/ 165 h 165"/>
                  <a:gd name="T16" fmla="*/ 222 w 222"/>
                  <a:gd name="T17" fmla="*/ 165 h 165"/>
                  <a:gd name="T18" fmla="*/ 222 w 222"/>
                  <a:gd name="T19" fmla="*/ 154 h 165"/>
                  <a:gd name="T20" fmla="*/ 147 w 222"/>
                  <a:gd name="T21" fmla="*/ 154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2" h="165">
                    <a:moveTo>
                      <a:pt x="147" y="154"/>
                    </a:moveTo>
                    <a:cubicBezTo>
                      <a:pt x="134" y="154"/>
                      <a:pt x="123" y="143"/>
                      <a:pt x="123" y="130"/>
                    </a:cubicBezTo>
                    <a:cubicBezTo>
                      <a:pt x="123" y="0"/>
                      <a:pt x="123" y="0"/>
                      <a:pt x="123" y="0"/>
                    </a:cubicBezTo>
                    <a:cubicBezTo>
                      <a:pt x="97" y="0"/>
                      <a:pt x="97" y="0"/>
                      <a:pt x="97" y="0"/>
                    </a:cubicBezTo>
                    <a:cubicBezTo>
                      <a:pt x="97" y="130"/>
                      <a:pt x="97" y="130"/>
                      <a:pt x="97" y="130"/>
                    </a:cubicBezTo>
                    <a:cubicBezTo>
                      <a:pt x="97" y="143"/>
                      <a:pt x="86" y="154"/>
                      <a:pt x="73" y="154"/>
                    </a:cubicBezTo>
                    <a:cubicBezTo>
                      <a:pt x="0" y="154"/>
                      <a:pt x="0" y="154"/>
                      <a:pt x="0" y="154"/>
                    </a:cubicBezTo>
                    <a:cubicBezTo>
                      <a:pt x="0" y="165"/>
                      <a:pt x="0" y="165"/>
                      <a:pt x="0" y="165"/>
                    </a:cubicBezTo>
                    <a:cubicBezTo>
                      <a:pt x="222" y="165"/>
                      <a:pt x="222" y="165"/>
                      <a:pt x="222" y="165"/>
                    </a:cubicBezTo>
                    <a:cubicBezTo>
                      <a:pt x="222" y="154"/>
                      <a:pt x="222" y="154"/>
                      <a:pt x="222" y="154"/>
                    </a:cubicBezTo>
                    <a:lnTo>
                      <a:pt x="147" y="15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4" name="Freeform 52">
                <a:extLst>
                  <a:ext uri="{FF2B5EF4-FFF2-40B4-BE49-F238E27FC236}">
                    <a16:creationId xmlns:a16="http://schemas.microsoft.com/office/drawing/2014/main" id="{B1ADE56E-F7D0-44C5-A987-EF8B46B0F1A2}"/>
                  </a:ext>
                </a:extLst>
              </p:cNvPr>
              <p:cNvSpPr>
                <a:spLocks/>
              </p:cNvSpPr>
              <p:nvPr/>
            </p:nvSpPr>
            <p:spPr bwMode="auto">
              <a:xfrm>
                <a:off x="4403" y="1937"/>
                <a:ext cx="33" cy="36"/>
              </a:xfrm>
              <a:custGeom>
                <a:avLst/>
                <a:gdLst>
                  <a:gd name="T0" fmla="*/ 0 w 33"/>
                  <a:gd name="T1" fmla="*/ 4 h 36"/>
                  <a:gd name="T2" fmla="*/ 33 w 33"/>
                  <a:gd name="T3" fmla="*/ 36 h 36"/>
                  <a:gd name="T4" fmla="*/ 33 w 33"/>
                  <a:gd name="T5" fmla="*/ 0 h 36"/>
                  <a:gd name="T6" fmla="*/ 0 w 33"/>
                  <a:gd name="T7" fmla="*/ 0 h 36"/>
                  <a:gd name="T8" fmla="*/ 0 w 33"/>
                  <a:gd name="T9" fmla="*/ 4 h 36"/>
                </a:gdLst>
                <a:ahLst/>
                <a:cxnLst>
                  <a:cxn ang="0">
                    <a:pos x="T0" y="T1"/>
                  </a:cxn>
                  <a:cxn ang="0">
                    <a:pos x="T2" y="T3"/>
                  </a:cxn>
                  <a:cxn ang="0">
                    <a:pos x="T4" y="T5"/>
                  </a:cxn>
                  <a:cxn ang="0">
                    <a:pos x="T6" y="T7"/>
                  </a:cxn>
                  <a:cxn ang="0">
                    <a:pos x="T8" y="T9"/>
                  </a:cxn>
                </a:cxnLst>
                <a:rect l="0" t="0" r="r" b="b"/>
                <a:pathLst>
                  <a:path w="33" h="36">
                    <a:moveTo>
                      <a:pt x="0" y="4"/>
                    </a:moveTo>
                    <a:lnTo>
                      <a:pt x="33" y="36"/>
                    </a:lnTo>
                    <a:lnTo>
                      <a:pt x="33" y="0"/>
                    </a:lnTo>
                    <a:lnTo>
                      <a:pt x="0" y="0"/>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5" name="Rectangle 53">
                <a:extLst>
                  <a:ext uri="{FF2B5EF4-FFF2-40B4-BE49-F238E27FC236}">
                    <a16:creationId xmlns:a16="http://schemas.microsoft.com/office/drawing/2014/main" id="{8E10C6C6-CF83-4D6D-8835-679A0B21EFC0}"/>
                  </a:ext>
                </a:extLst>
              </p:cNvPr>
              <p:cNvSpPr>
                <a:spLocks noChangeArrowheads="1"/>
              </p:cNvSpPr>
              <p:nvPr/>
            </p:nvSpPr>
            <p:spPr bwMode="auto">
              <a:xfrm>
                <a:off x="4159" y="1648"/>
                <a:ext cx="528" cy="29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6" name="Freeform 54">
                <a:extLst>
                  <a:ext uri="{FF2B5EF4-FFF2-40B4-BE49-F238E27FC236}">
                    <a16:creationId xmlns:a16="http://schemas.microsoft.com/office/drawing/2014/main" id="{C7164712-F2B3-46DC-9A32-6793C67A4CCC}"/>
                  </a:ext>
                </a:extLst>
              </p:cNvPr>
              <p:cNvSpPr>
                <a:spLocks/>
              </p:cNvSpPr>
              <p:nvPr/>
            </p:nvSpPr>
            <p:spPr bwMode="auto">
              <a:xfrm>
                <a:off x="4170" y="1660"/>
                <a:ext cx="506" cy="263"/>
              </a:xfrm>
              <a:custGeom>
                <a:avLst/>
                <a:gdLst>
                  <a:gd name="T0" fmla="*/ 477 w 477"/>
                  <a:gd name="T1" fmla="*/ 241 h 247"/>
                  <a:gd name="T2" fmla="*/ 471 w 477"/>
                  <a:gd name="T3" fmla="*/ 247 h 247"/>
                  <a:gd name="T4" fmla="*/ 6 w 477"/>
                  <a:gd name="T5" fmla="*/ 247 h 247"/>
                  <a:gd name="T6" fmla="*/ 0 w 477"/>
                  <a:gd name="T7" fmla="*/ 241 h 247"/>
                  <a:gd name="T8" fmla="*/ 0 w 477"/>
                  <a:gd name="T9" fmla="*/ 6 h 247"/>
                  <a:gd name="T10" fmla="*/ 6 w 477"/>
                  <a:gd name="T11" fmla="*/ 0 h 247"/>
                  <a:gd name="T12" fmla="*/ 471 w 477"/>
                  <a:gd name="T13" fmla="*/ 0 h 247"/>
                  <a:gd name="T14" fmla="*/ 477 w 477"/>
                  <a:gd name="T15" fmla="*/ 6 h 247"/>
                  <a:gd name="T16" fmla="*/ 477 w 477"/>
                  <a:gd name="T17" fmla="*/ 24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247">
                    <a:moveTo>
                      <a:pt x="477" y="241"/>
                    </a:moveTo>
                    <a:cubicBezTo>
                      <a:pt x="477" y="244"/>
                      <a:pt x="475" y="247"/>
                      <a:pt x="471" y="247"/>
                    </a:cubicBezTo>
                    <a:cubicBezTo>
                      <a:pt x="6" y="247"/>
                      <a:pt x="6" y="247"/>
                      <a:pt x="6" y="247"/>
                    </a:cubicBezTo>
                    <a:cubicBezTo>
                      <a:pt x="3" y="247"/>
                      <a:pt x="0" y="244"/>
                      <a:pt x="0" y="241"/>
                    </a:cubicBezTo>
                    <a:cubicBezTo>
                      <a:pt x="0" y="6"/>
                      <a:pt x="0" y="6"/>
                      <a:pt x="0" y="6"/>
                    </a:cubicBezTo>
                    <a:cubicBezTo>
                      <a:pt x="0" y="3"/>
                      <a:pt x="3" y="0"/>
                      <a:pt x="6" y="0"/>
                    </a:cubicBezTo>
                    <a:cubicBezTo>
                      <a:pt x="471" y="0"/>
                      <a:pt x="471" y="0"/>
                      <a:pt x="471" y="0"/>
                    </a:cubicBezTo>
                    <a:cubicBezTo>
                      <a:pt x="475" y="0"/>
                      <a:pt x="477" y="3"/>
                      <a:pt x="477" y="6"/>
                    </a:cubicBezTo>
                    <a:lnTo>
                      <a:pt x="477" y="241"/>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06" name="Group 405">
              <a:extLst>
                <a:ext uri="{FF2B5EF4-FFF2-40B4-BE49-F238E27FC236}">
                  <a16:creationId xmlns:a16="http://schemas.microsoft.com/office/drawing/2014/main" id="{814D4A02-C37C-43A0-8DFD-FFAE04E1489E}"/>
                </a:ext>
              </a:extLst>
            </p:cNvPr>
            <p:cNvGrpSpPr/>
            <p:nvPr/>
          </p:nvGrpSpPr>
          <p:grpSpPr>
            <a:xfrm>
              <a:off x="7098460" y="3004193"/>
              <a:ext cx="735012" cy="422274"/>
              <a:chOff x="7018338" y="2859088"/>
              <a:chExt cx="735012" cy="422274"/>
            </a:xfrm>
          </p:grpSpPr>
          <p:sp>
            <p:nvSpPr>
              <p:cNvPr id="448" name="Rectangle 447">
                <a:extLst>
                  <a:ext uri="{FF2B5EF4-FFF2-40B4-BE49-F238E27FC236}">
                    <a16:creationId xmlns:a16="http://schemas.microsoft.com/office/drawing/2014/main" id="{F1425C5F-EF13-45AA-B824-CDA9C7ECDBB4}"/>
                  </a:ext>
                </a:extLst>
              </p:cNvPr>
              <p:cNvSpPr>
                <a:spLocks noChangeArrowheads="1"/>
              </p:cNvSpPr>
              <p:nvPr/>
            </p:nvSpPr>
            <p:spPr bwMode="auto">
              <a:xfrm>
                <a:off x="7124700" y="2886075"/>
                <a:ext cx="531812" cy="34290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9" name="Rectangle 448">
                <a:extLst>
                  <a:ext uri="{FF2B5EF4-FFF2-40B4-BE49-F238E27FC236}">
                    <a16:creationId xmlns:a16="http://schemas.microsoft.com/office/drawing/2014/main" id="{571791CD-A036-4C19-9ED4-E09713FFBB1A}"/>
                  </a:ext>
                </a:extLst>
              </p:cNvPr>
              <p:cNvSpPr>
                <a:spLocks noChangeArrowheads="1"/>
              </p:cNvSpPr>
              <p:nvPr/>
            </p:nvSpPr>
            <p:spPr bwMode="auto">
              <a:xfrm>
                <a:off x="7124700" y="3205163"/>
                <a:ext cx="531812" cy="238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0" name="Freeform 11">
                <a:extLst>
                  <a:ext uri="{FF2B5EF4-FFF2-40B4-BE49-F238E27FC236}">
                    <a16:creationId xmlns:a16="http://schemas.microsoft.com/office/drawing/2014/main" id="{1A5C9918-B6B2-4E9C-93BA-A85386DF9884}"/>
                  </a:ext>
                </a:extLst>
              </p:cNvPr>
              <p:cNvSpPr>
                <a:spLocks/>
              </p:cNvSpPr>
              <p:nvPr/>
            </p:nvSpPr>
            <p:spPr bwMode="auto">
              <a:xfrm>
                <a:off x="7138988" y="3208338"/>
                <a:ext cx="15875" cy="14287"/>
              </a:xfrm>
              <a:custGeom>
                <a:avLst/>
                <a:gdLst>
                  <a:gd name="T0" fmla="*/ 10 w 10"/>
                  <a:gd name="T1" fmla="*/ 0 h 9"/>
                  <a:gd name="T2" fmla="*/ 0 w 10"/>
                  <a:gd name="T3" fmla="*/ 2 h 9"/>
                  <a:gd name="T4" fmla="*/ 0 w 10"/>
                  <a:gd name="T5" fmla="*/ 8 h 9"/>
                  <a:gd name="T6" fmla="*/ 10 w 10"/>
                  <a:gd name="T7" fmla="*/ 9 h 9"/>
                  <a:gd name="T8" fmla="*/ 10 w 10"/>
                  <a:gd name="T9" fmla="*/ 0 h 9"/>
                </a:gdLst>
                <a:ahLst/>
                <a:cxnLst>
                  <a:cxn ang="0">
                    <a:pos x="T0" y="T1"/>
                  </a:cxn>
                  <a:cxn ang="0">
                    <a:pos x="T2" y="T3"/>
                  </a:cxn>
                  <a:cxn ang="0">
                    <a:pos x="T4" y="T5"/>
                  </a:cxn>
                  <a:cxn ang="0">
                    <a:pos x="T6" y="T7"/>
                  </a:cxn>
                  <a:cxn ang="0">
                    <a:pos x="T8" y="T9"/>
                  </a:cxn>
                </a:cxnLst>
                <a:rect l="0" t="0" r="r" b="b"/>
                <a:pathLst>
                  <a:path w="10" h="9">
                    <a:moveTo>
                      <a:pt x="10" y="0"/>
                    </a:moveTo>
                    <a:lnTo>
                      <a:pt x="0" y="2"/>
                    </a:lnTo>
                    <a:lnTo>
                      <a:pt x="0" y="8"/>
                    </a:lnTo>
                    <a:lnTo>
                      <a:pt x="10" y="9"/>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1" name="Rectangle 450">
                <a:extLst>
                  <a:ext uri="{FF2B5EF4-FFF2-40B4-BE49-F238E27FC236}">
                    <a16:creationId xmlns:a16="http://schemas.microsoft.com/office/drawing/2014/main" id="{BD37F22B-BAE6-42CA-ABA3-1F67AE668482}"/>
                  </a:ext>
                </a:extLst>
              </p:cNvPr>
              <p:cNvSpPr>
                <a:spLocks noChangeArrowheads="1"/>
              </p:cNvSpPr>
              <p:nvPr/>
            </p:nvSpPr>
            <p:spPr bwMode="auto">
              <a:xfrm>
                <a:off x="7167563" y="3214688"/>
                <a:ext cx="133350" cy="4762"/>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2" name="Oval 451">
                <a:extLst>
                  <a:ext uri="{FF2B5EF4-FFF2-40B4-BE49-F238E27FC236}">
                    <a16:creationId xmlns:a16="http://schemas.microsoft.com/office/drawing/2014/main" id="{482E1170-B7BA-482A-BFED-A76084139C5F}"/>
                  </a:ext>
                </a:extLst>
              </p:cNvPr>
              <p:cNvSpPr>
                <a:spLocks noChangeArrowheads="1"/>
              </p:cNvSpPr>
              <p:nvPr/>
            </p:nvSpPr>
            <p:spPr bwMode="auto">
              <a:xfrm>
                <a:off x="7404100" y="3211513"/>
                <a:ext cx="12700" cy="1270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3" name="Oval 452">
                <a:extLst>
                  <a:ext uri="{FF2B5EF4-FFF2-40B4-BE49-F238E27FC236}">
                    <a16:creationId xmlns:a16="http://schemas.microsoft.com/office/drawing/2014/main" id="{BC0CF2F0-3048-4C1B-816C-895BEB255FDD}"/>
                  </a:ext>
                </a:extLst>
              </p:cNvPr>
              <p:cNvSpPr>
                <a:spLocks noChangeArrowheads="1"/>
              </p:cNvSpPr>
              <p:nvPr/>
            </p:nvSpPr>
            <p:spPr bwMode="auto">
              <a:xfrm>
                <a:off x="7370763" y="3211513"/>
                <a:ext cx="12700" cy="12700"/>
              </a:xfrm>
              <a:prstGeom prst="ellipse">
                <a:avLst/>
              </a:pr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4" name="Rectangle 453">
                <a:extLst>
                  <a:ext uri="{FF2B5EF4-FFF2-40B4-BE49-F238E27FC236}">
                    <a16:creationId xmlns:a16="http://schemas.microsoft.com/office/drawing/2014/main" id="{36D509C4-CBB7-429A-8881-D201F1CFCA2A}"/>
                  </a:ext>
                </a:extLst>
              </p:cNvPr>
              <p:cNvSpPr>
                <a:spLocks noChangeArrowheads="1"/>
              </p:cNvSpPr>
              <p:nvPr/>
            </p:nvSpPr>
            <p:spPr bwMode="auto">
              <a:xfrm>
                <a:off x="7434263" y="3211513"/>
                <a:ext cx="15875" cy="127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5" name="Rectangle 454">
                <a:extLst>
                  <a:ext uri="{FF2B5EF4-FFF2-40B4-BE49-F238E27FC236}">
                    <a16:creationId xmlns:a16="http://schemas.microsoft.com/office/drawing/2014/main" id="{27A75752-8FD1-4FB7-A39D-8AA049E9BE4D}"/>
                  </a:ext>
                </a:extLst>
              </p:cNvPr>
              <p:cNvSpPr>
                <a:spLocks noChangeArrowheads="1"/>
              </p:cNvSpPr>
              <p:nvPr/>
            </p:nvSpPr>
            <p:spPr bwMode="auto">
              <a:xfrm>
                <a:off x="7467600" y="3211513"/>
                <a:ext cx="15875"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6" name="Rectangle 455">
                <a:extLst>
                  <a:ext uri="{FF2B5EF4-FFF2-40B4-BE49-F238E27FC236}">
                    <a16:creationId xmlns:a16="http://schemas.microsoft.com/office/drawing/2014/main" id="{6FF8F4AD-0F6B-4B40-8217-0B08E4D13AC8}"/>
                  </a:ext>
                </a:extLst>
              </p:cNvPr>
              <p:cNvSpPr>
                <a:spLocks noChangeArrowheads="1"/>
              </p:cNvSpPr>
              <p:nvPr/>
            </p:nvSpPr>
            <p:spPr bwMode="auto">
              <a:xfrm>
                <a:off x="7124700" y="2968625"/>
                <a:ext cx="274637" cy="2603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7" name="Oval 456">
                <a:extLst>
                  <a:ext uri="{FF2B5EF4-FFF2-40B4-BE49-F238E27FC236}">
                    <a16:creationId xmlns:a16="http://schemas.microsoft.com/office/drawing/2014/main" id="{93E01FA0-DC1C-4A00-B1E1-BD0AF7878FDA}"/>
                  </a:ext>
                </a:extLst>
              </p:cNvPr>
              <p:cNvSpPr>
                <a:spLocks noChangeArrowheads="1"/>
              </p:cNvSpPr>
              <p:nvPr/>
            </p:nvSpPr>
            <p:spPr bwMode="auto">
              <a:xfrm>
                <a:off x="7138988" y="2998788"/>
                <a:ext cx="26987" cy="25400"/>
              </a:xfrm>
              <a:prstGeom prst="ellipse">
                <a:avLst/>
              </a:prstGeom>
              <a:solidFill>
                <a:srgbClr val="E3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8" name="Rectangle 457">
                <a:extLst>
                  <a:ext uri="{FF2B5EF4-FFF2-40B4-BE49-F238E27FC236}">
                    <a16:creationId xmlns:a16="http://schemas.microsoft.com/office/drawing/2014/main" id="{88BB235A-0C87-4C54-ABB7-CE49F9FA4599}"/>
                  </a:ext>
                </a:extLst>
              </p:cNvPr>
              <p:cNvSpPr>
                <a:spLocks noChangeArrowheads="1"/>
              </p:cNvSpPr>
              <p:nvPr/>
            </p:nvSpPr>
            <p:spPr bwMode="auto">
              <a:xfrm>
                <a:off x="7321550" y="2992438"/>
                <a:ext cx="53975" cy="47625"/>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9" name="Rectangle 458">
                <a:extLst>
                  <a:ext uri="{FF2B5EF4-FFF2-40B4-BE49-F238E27FC236}">
                    <a16:creationId xmlns:a16="http://schemas.microsoft.com/office/drawing/2014/main" id="{133BCF30-87D2-4845-AE49-E5F7B3934E08}"/>
                  </a:ext>
                </a:extLst>
              </p:cNvPr>
              <p:cNvSpPr>
                <a:spLocks noChangeArrowheads="1"/>
              </p:cNvSpPr>
              <p:nvPr/>
            </p:nvSpPr>
            <p:spPr bwMode="auto">
              <a:xfrm>
                <a:off x="7216775" y="3160713"/>
                <a:ext cx="55562" cy="44450"/>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0" name="Rectangle 459">
                <a:extLst>
                  <a:ext uri="{FF2B5EF4-FFF2-40B4-BE49-F238E27FC236}">
                    <a16:creationId xmlns:a16="http://schemas.microsoft.com/office/drawing/2014/main" id="{F43AD135-EC2B-4597-BF7D-F1F6633A8F87}"/>
                  </a:ext>
                </a:extLst>
              </p:cNvPr>
              <p:cNvSpPr>
                <a:spLocks noChangeArrowheads="1"/>
              </p:cNvSpPr>
              <p:nvPr/>
            </p:nvSpPr>
            <p:spPr bwMode="auto">
              <a:xfrm>
                <a:off x="7323138" y="3160713"/>
                <a:ext cx="52387" cy="44450"/>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1" name="Rectangle 460">
                <a:extLst>
                  <a:ext uri="{FF2B5EF4-FFF2-40B4-BE49-F238E27FC236}">
                    <a16:creationId xmlns:a16="http://schemas.microsoft.com/office/drawing/2014/main" id="{EF1B0DDA-2CD7-49B9-969E-D1ABF099CD25}"/>
                  </a:ext>
                </a:extLst>
              </p:cNvPr>
              <p:cNvSpPr>
                <a:spLocks noChangeArrowheads="1"/>
              </p:cNvSpPr>
              <p:nvPr/>
            </p:nvSpPr>
            <p:spPr bwMode="auto">
              <a:xfrm>
                <a:off x="7272338" y="3160713"/>
                <a:ext cx="28575" cy="2063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2" name="Rectangle 461">
                <a:extLst>
                  <a:ext uri="{FF2B5EF4-FFF2-40B4-BE49-F238E27FC236}">
                    <a16:creationId xmlns:a16="http://schemas.microsoft.com/office/drawing/2014/main" id="{D1D80EC0-5B62-45A1-A525-194338504A3F}"/>
                  </a:ext>
                </a:extLst>
              </p:cNvPr>
              <p:cNvSpPr>
                <a:spLocks noChangeArrowheads="1"/>
              </p:cNvSpPr>
              <p:nvPr/>
            </p:nvSpPr>
            <p:spPr bwMode="auto">
              <a:xfrm>
                <a:off x="7297738" y="3160713"/>
                <a:ext cx="25400" cy="2063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3" name="Rectangle 462">
                <a:extLst>
                  <a:ext uri="{FF2B5EF4-FFF2-40B4-BE49-F238E27FC236}">
                    <a16:creationId xmlns:a16="http://schemas.microsoft.com/office/drawing/2014/main" id="{E482B253-6F5C-40EE-83AD-EDB4EFD3DD1B}"/>
                  </a:ext>
                </a:extLst>
              </p:cNvPr>
              <p:cNvSpPr>
                <a:spLocks noChangeArrowheads="1"/>
              </p:cNvSpPr>
              <p:nvPr/>
            </p:nvSpPr>
            <p:spPr bwMode="auto">
              <a:xfrm>
                <a:off x="7272338" y="3181350"/>
                <a:ext cx="25400" cy="238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4" name="Rectangle 463">
                <a:extLst>
                  <a:ext uri="{FF2B5EF4-FFF2-40B4-BE49-F238E27FC236}">
                    <a16:creationId xmlns:a16="http://schemas.microsoft.com/office/drawing/2014/main" id="{12B3DFE4-52CF-45D0-9A39-D3C82E39D49C}"/>
                  </a:ext>
                </a:extLst>
              </p:cNvPr>
              <p:cNvSpPr>
                <a:spLocks noChangeArrowheads="1"/>
              </p:cNvSpPr>
              <p:nvPr/>
            </p:nvSpPr>
            <p:spPr bwMode="auto">
              <a:xfrm>
                <a:off x="7297738" y="3176588"/>
                <a:ext cx="25400" cy="28575"/>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5" name="Rectangle 464">
                <a:extLst>
                  <a:ext uri="{FF2B5EF4-FFF2-40B4-BE49-F238E27FC236}">
                    <a16:creationId xmlns:a16="http://schemas.microsoft.com/office/drawing/2014/main" id="{A6B440D8-1CD3-49A6-B5FA-A0177199CBAA}"/>
                  </a:ext>
                </a:extLst>
              </p:cNvPr>
              <p:cNvSpPr>
                <a:spLocks noChangeArrowheads="1"/>
              </p:cNvSpPr>
              <p:nvPr/>
            </p:nvSpPr>
            <p:spPr bwMode="auto">
              <a:xfrm>
                <a:off x="7318375" y="3089275"/>
                <a:ext cx="30162" cy="2063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6" name="Rectangle 465">
                <a:extLst>
                  <a:ext uri="{FF2B5EF4-FFF2-40B4-BE49-F238E27FC236}">
                    <a16:creationId xmlns:a16="http://schemas.microsoft.com/office/drawing/2014/main" id="{1BC893A3-B1E7-45E7-8C36-F99A0C891010}"/>
                  </a:ext>
                </a:extLst>
              </p:cNvPr>
              <p:cNvSpPr>
                <a:spLocks noChangeArrowheads="1"/>
              </p:cNvSpPr>
              <p:nvPr/>
            </p:nvSpPr>
            <p:spPr bwMode="auto">
              <a:xfrm>
                <a:off x="7348538" y="3089275"/>
                <a:ext cx="26987" cy="206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7" name="Rectangle 466">
                <a:extLst>
                  <a:ext uri="{FF2B5EF4-FFF2-40B4-BE49-F238E27FC236}">
                    <a16:creationId xmlns:a16="http://schemas.microsoft.com/office/drawing/2014/main" id="{45B88539-C92A-4D66-862F-78B8BBA3801C}"/>
                  </a:ext>
                </a:extLst>
              </p:cNvPr>
              <p:cNvSpPr>
                <a:spLocks noChangeArrowheads="1"/>
              </p:cNvSpPr>
              <p:nvPr/>
            </p:nvSpPr>
            <p:spPr bwMode="auto">
              <a:xfrm>
                <a:off x="7216775" y="3125788"/>
                <a:ext cx="28575" cy="2063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8" name="Rectangle 467">
                <a:extLst>
                  <a:ext uri="{FF2B5EF4-FFF2-40B4-BE49-F238E27FC236}">
                    <a16:creationId xmlns:a16="http://schemas.microsoft.com/office/drawing/2014/main" id="{6F0F839E-4D96-4463-9B34-FE0389033835}"/>
                  </a:ext>
                </a:extLst>
              </p:cNvPr>
              <p:cNvSpPr>
                <a:spLocks noChangeArrowheads="1"/>
              </p:cNvSpPr>
              <p:nvPr/>
            </p:nvSpPr>
            <p:spPr bwMode="auto">
              <a:xfrm>
                <a:off x="7245350" y="3125788"/>
                <a:ext cx="25400" cy="20637"/>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9" name="Rectangle 468">
                <a:extLst>
                  <a:ext uri="{FF2B5EF4-FFF2-40B4-BE49-F238E27FC236}">
                    <a16:creationId xmlns:a16="http://schemas.microsoft.com/office/drawing/2014/main" id="{CF32C249-7386-4BEC-A261-87F40035F9FE}"/>
                  </a:ext>
                </a:extLst>
              </p:cNvPr>
              <p:cNvSpPr>
                <a:spLocks noChangeArrowheads="1"/>
              </p:cNvSpPr>
              <p:nvPr/>
            </p:nvSpPr>
            <p:spPr bwMode="auto">
              <a:xfrm>
                <a:off x="7270750" y="3125788"/>
                <a:ext cx="25400" cy="20637"/>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0" name="Rectangle 469">
                <a:extLst>
                  <a:ext uri="{FF2B5EF4-FFF2-40B4-BE49-F238E27FC236}">
                    <a16:creationId xmlns:a16="http://schemas.microsoft.com/office/drawing/2014/main" id="{12AAE29C-7566-4D71-B877-70053AB749A5}"/>
                  </a:ext>
                </a:extLst>
              </p:cNvPr>
              <p:cNvSpPr>
                <a:spLocks noChangeArrowheads="1"/>
              </p:cNvSpPr>
              <p:nvPr/>
            </p:nvSpPr>
            <p:spPr bwMode="auto">
              <a:xfrm>
                <a:off x="7296150" y="3125788"/>
                <a:ext cx="28575" cy="2063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1" name="Rectangle 470">
                <a:extLst>
                  <a:ext uri="{FF2B5EF4-FFF2-40B4-BE49-F238E27FC236}">
                    <a16:creationId xmlns:a16="http://schemas.microsoft.com/office/drawing/2014/main" id="{4708EBDA-B922-4470-88F6-5F31BE0672D8}"/>
                  </a:ext>
                </a:extLst>
              </p:cNvPr>
              <p:cNvSpPr>
                <a:spLocks noChangeArrowheads="1"/>
              </p:cNvSpPr>
              <p:nvPr/>
            </p:nvSpPr>
            <p:spPr bwMode="auto">
              <a:xfrm>
                <a:off x="7324725" y="3125788"/>
                <a:ext cx="25400" cy="206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2" name="Rectangle 471">
                <a:extLst>
                  <a:ext uri="{FF2B5EF4-FFF2-40B4-BE49-F238E27FC236}">
                    <a16:creationId xmlns:a16="http://schemas.microsoft.com/office/drawing/2014/main" id="{41B8F7E7-2C62-4175-AEA0-CDCECCC2FC6B}"/>
                  </a:ext>
                </a:extLst>
              </p:cNvPr>
              <p:cNvSpPr>
                <a:spLocks noChangeArrowheads="1"/>
              </p:cNvSpPr>
              <p:nvPr/>
            </p:nvSpPr>
            <p:spPr bwMode="auto">
              <a:xfrm>
                <a:off x="7350125" y="3125788"/>
                <a:ext cx="25400" cy="2063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3" name="Rectangle 472">
                <a:extLst>
                  <a:ext uri="{FF2B5EF4-FFF2-40B4-BE49-F238E27FC236}">
                    <a16:creationId xmlns:a16="http://schemas.microsoft.com/office/drawing/2014/main" id="{68BF8D04-5541-4342-9555-838629D5C738}"/>
                  </a:ext>
                </a:extLst>
              </p:cNvPr>
              <p:cNvSpPr>
                <a:spLocks noChangeArrowheads="1"/>
              </p:cNvSpPr>
              <p:nvPr/>
            </p:nvSpPr>
            <p:spPr bwMode="auto">
              <a:xfrm>
                <a:off x="7321550" y="3040063"/>
                <a:ext cx="53975" cy="49212"/>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4" name="Rectangle 473">
                <a:extLst>
                  <a:ext uri="{FF2B5EF4-FFF2-40B4-BE49-F238E27FC236}">
                    <a16:creationId xmlns:a16="http://schemas.microsoft.com/office/drawing/2014/main" id="{A6222498-A10A-4E6D-86F0-2B5E45761999}"/>
                  </a:ext>
                </a:extLst>
              </p:cNvPr>
              <p:cNvSpPr>
                <a:spLocks noChangeArrowheads="1"/>
              </p:cNvSpPr>
              <p:nvPr/>
            </p:nvSpPr>
            <p:spPr bwMode="auto">
              <a:xfrm>
                <a:off x="7216775" y="2992438"/>
                <a:ext cx="104775" cy="117475"/>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5" name="Rectangle 474">
                <a:extLst>
                  <a:ext uri="{FF2B5EF4-FFF2-40B4-BE49-F238E27FC236}">
                    <a16:creationId xmlns:a16="http://schemas.microsoft.com/office/drawing/2014/main" id="{A0C09CBA-C83D-4C22-843F-75FFC600F492}"/>
                  </a:ext>
                </a:extLst>
              </p:cNvPr>
              <p:cNvSpPr>
                <a:spLocks noChangeArrowheads="1"/>
              </p:cNvSpPr>
              <p:nvPr/>
            </p:nvSpPr>
            <p:spPr bwMode="auto">
              <a:xfrm>
                <a:off x="7143750" y="3035300"/>
                <a:ext cx="19050" cy="4445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6" name="Rectangle 475">
                <a:extLst>
                  <a:ext uri="{FF2B5EF4-FFF2-40B4-BE49-F238E27FC236}">
                    <a16:creationId xmlns:a16="http://schemas.microsoft.com/office/drawing/2014/main" id="{19C57DE1-ECBF-42B8-8549-B81312F4B2CC}"/>
                  </a:ext>
                </a:extLst>
              </p:cNvPr>
              <p:cNvSpPr>
                <a:spLocks noChangeArrowheads="1"/>
              </p:cNvSpPr>
              <p:nvPr/>
            </p:nvSpPr>
            <p:spPr bwMode="auto">
              <a:xfrm>
                <a:off x="7143750" y="3079750"/>
                <a:ext cx="19050" cy="25400"/>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7" name="Rectangle 476">
                <a:extLst>
                  <a:ext uri="{FF2B5EF4-FFF2-40B4-BE49-F238E27FC236}">
                    <a16:creationId xmlns:a16="http://schemas.microsoft.com/office/drawing/2014/main" id="{A857293F-99FB-4B5A-856B-A4CA9EBD3660}"/>
                  </a:ext>
                </a:extLst>
              </p:cNvPr>
              <p:cNvSpPr>
                <a:spLocks noChangeArrowheads="1"/>
              </p:cNvSpPr>
              <p:nvPr/>
            </p:nvSpPr>
            <p:spPr bwMode="auto">
              <a:xfrm>
                <a:off x="7143750" y="3105150"/>
                <a:ext cx="19050" cy="4127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Rectangle 477">
                <a:extLst>
                  <a:ext uri="{FF2B5EF4-FFF2-40B4-BE49-F238E27FC236}">
                    <a16:creationId xmlns:a16="http://schemas.microsoft.com/office/drawing/2014/main" id="{C5E54AD9-898F-4FA2-8C8C-14A198CBAB9A}"/>
                  </a:ext>
                </a:extLst>
              </p:cNvPr>
              <p:cNvSpPr>
                <a:spLocks noChangeArrowheads="1"/>
              </p:cNvSpPr>
              <p:nvPr/>
            </p:nvSpPr>
            <p:spPr bwMode="auto">
              <a:xfrm>
                <a:off x="7216775" y="2981325"/>
                <a:ext cx="55562" cy="4762"/>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Freeform 40">
                <a:extLst>
                  <a:ext uri="{FF2B5EF4-FFF2-40B4-BE49-F238E27FC236}">
                    <a16:creationId xmlns:a16="http://schemas.microsoft.com/office/drawing/2014/main" id="{174900A7-8377-4D74-B278-40AE9E48E654}"/>
                  </a:ext>
                </a:extLst>
              </p:cNvPr>
              <p:cNvSpPr>
                <a:spLocks noEditPoints="1"/>
              </p:cNvSpPr>
              <p:nvPr/>
            </p:nvSpPr>
            <p:spPr bwMode="auto">
              <a:xfrm>
                <a:off x="7105650" y="2859088"/>
                <a:ext cx="569912" cy="398462"/>
              </a:xfrm>
              <a:custGeom>
                <a:avLst/>
                <a:gdLst>
                  <a:gd name="T0" fmla="*/ 359 w 359"/>
                  <a:gd name="T1" fmla="*/ 251 h 251"/>
                  <a:gd name="T2" fmla="*/ 0 w 359"/>
                  <a:gd name="T3" fmla="*/ 251 h 251"/>
                  <a:gd name="T4" fmla="*/ 0 w 359"/>
                  <a:gd name="T5" fmla="*/ 0 h 251"/>
                  <a:gd name="T6" fmla="*/ 359 w 359"/>
                  <a:gd name="T7" fmla="*/ 0 h 251"/>
                  <a:gd name="T8" fmla="*/ 359 w 359"/>
                  <a:gd name="T9" fmla="*/ 251 h 251"/>
                  <a:gd name="T10" fmla="*/ 12 w 359"/>
                  <a:gd name="T11" fmla="*/ 233 h 251"/>
                  <a:gd name="T12" fmla="*/ 347 w 359"/>
                  <a:gd name="T13" fmla="*/ 233 h 251"/>
                  <a:gd name="T14" fmla="*/ 347 w 359"/>
                  <a:gd name="T15" fmla="*/ 17 h 251"/>
                  <a:gd name="T16" fmla="*/ 12 w 359"/>
                  <a:gd name="T17" fmla="*/ 17 h 251"/>
                  <a:gd name="T18" fmla="*/ 12 w 359"/>
                  <a:gd name="T19" fmla="*/ 233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9" h="251">
                    <a:moveTo>
                      <a:pt x="359" y="251"/>
                    </a:moveTo>
                    <a:lnTo>
                      <a:pt x="0" y="251"/>
                    </a:lnTo>
                    <a:lnTo>
                      <a:pt x="0" y="0"/>
                    </a:lnTo>
                    <a:lnTo>
                      <a:pt x="359" y="0"/>
                    </a:lnTo>
                    <a:lnTo>
                      <a:pt x="359" y="251"/>
                    </a:lnTo>
                    <a:close/>
                    <a:moveTo>
                      <a:pt x="12" y="233"/>
                    </a:moveTo>
                    <a:lnTo>
                      <a:pt x="347" y="233"/>
                    </a:lnTo>
                    <a:lnTo>
                      <a:pt x="347" y="17"/>
                    </a:lnTo>
                    <a:lnTo>
                      <a:pt x="12" y="17"/>
                    </a:lnTo>
                    <a:lnTo>
                      <a:pt x="12" y="23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Oval 479">
                <a:extLst>
                  <a:ext uri="{FF2B5EF4-FFF2-40B4-BE49-F238E27FC236}">
                    <a16:creationId xmlns:a16="http://schemas.microsoft.com/office/drawing/2014/main" id="{4312F2BD-714B-4D3E-B61F-7820AE83DF7A}"/>
                  </a:ext>
                </a:extLst>
              </p:cNvPr>
              <p:cNvSpPr>
                <a:spLocks noChangeArrowheads="1"/>
              </p:cNvSpPr>
              <p:nvPr/>
            </p:nvSpPr>
            <p:spPr bwMode="auto">
              <a:xfrm>
                <a:off x="7385050" y="2867025"/>
                <a:ext cx="11112" cy="11112"/>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1" name="Freeform 42">
                <a:extLst>
                  <a:ext uri="{FF2B5EF4-FFF2-40B4-BE49-F238E27FC236}">
                    <a16:creationId xmlns:a16="http://schemas.microsoft.com/office/drawing/2014/main" id="{232C3DA6-865D-4AB5-97C2-19F059931FFE}"/>
                  </a:ext>
                </a:extLst>
              </p:cNvPr>
              <p:cNvSpPr>
                <a:spLocks/>
              </p:cNvSpPr>
              <p:nvPr/>
            </p:nvSpPr>
            <p:spPr bwMode="auto">
              <a:xfrm>
                <a:off x="7018338" y="3251200"/>
                <a:ext cx="735012" cy="30162"/>
              </a:xfrm>
              <a:custGeom>
                <a:avLst/>
                <a:gdLst>
                  <a:gd name="T0" fmla="*/ 0 w 454"/>
                  <a:gd name="T1" fmla="*/ 0 h 18"/>
                  <a:gd name="T2" fmla="*/ 0 w 454"/>
                  <a:gd name="T3" fmla="*/ 1 h 18"/>
                  <a:gd name="T4" fmla="*/ 17 w 454"/>
                  <a:gd name="T5" fmla="*/ 18 h 18"/>
                  <a:gd name="T6" fmla="*/ 437 w 454"/>
                  <a:gd name="T7" fmla="*/ 18 h 18"/>
                  <a:gd name="T8" fmla="*/ 454 w 454"/>
                  <a:gd name="T9" fmla="*/ 1 h 18"/>
                  <a:gd name="T10" fmla="*/ 454 w 454"/>
                  <a:gd name="T11" fmla="*/ 0 h 18"/>
                  <a:gd name="T12" fmla="*/ 0 w 4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54" h="18">
                    <a:moveTo>
                      <a:pt x="0" y="0"/>
                    </a:moveTo>
                    <a:cubicBezTo>
                      <a:pt x="0" y="1"/>
                      <a:pt x="0" y="1"/>
                      <a:pt x="0" y="1"/>
                    </a:cubicBezTo>
                    <a:cubicBezTo>
                      <a:pt x="0" y="10"/>
                      <a:pt x="8" y="18"/>
                      <a:pt x="17" y="18"/>
                    </a:cubicBezTo>
                    <a:cubicBezTo>
                      <a:pt x="437" y="18"/>
                      <a:pt x="437" y="18"/>
                      <a:pt x="437" y="18"/>
                    </a:cubicBezTo>
                    <a:cubicBezTo>
                      <a:pt x="446" y="18"/>
                      <a:pt x="454" y="10"/>
                      <a:pt x="454" y="1"/>
                    </a:cubicBezTo>
                    <a:cubicBezTo>
                      <a:pt x="454" y="0"/>
                      <a:pt x="454" y="0"/>
                      <a:pt x="454"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07" name="Group 406">
              <a:extLst>
                <a:ext uri="{FF2B5EF4-FFF2-40B4-BE49-F238E27FC236}">
                  <a16:creationId xmlns:a16="http://schemas.microsoft.com/office/drawing/2014/main" id="{8991DEB5-F95F-4BD9-AB9E-7453AF94321A}"/>
                </a:ext>
              </a:extLst>
            </p:cNvPr>
            <p:cNvGrpSpPr/>
            <p:nvPr/>
          </p:nvGrpSpPr>
          <p:grpSpPr>
            <a:xfrm>
              <a:off x="6130420" y="2758062"/>
              <a:ext cx="978405" cy="986275"/>
              <a:chOff x="1789325" y="5019853"/>
              <a:chExt cx="772133" cy="778344"/>
            </a:xfrm>
          </p:grpSpPr>
          <p:sp>
            <p:nvSpPr>
              <p:cNvPr id="408" name="Freeform 340">
                <a:extLst>
                  <a:ext uri="{FF2B5EF4-FFF2-40B4-BE49-F238E27FC236}">
                    <a16:creationId xmlns:a16="http://schemas.microsoft.com/office/drawing/2014/main" id="{2F29A833-9CA4-4EB3-90A4-6F0380E2F711}"/>
                  </a:ext>
                </a:extLst>
              </p:cNvPr>
              <p:cNvSpPr>
                <a:spLocks/>
              </p:cNvSpPr>
              <p:nvPr/>
            </p:nvSpPr>
            <p:spPr bwMode="auto">
              <a:xfrm>
                <a:off x="2203337" y="5090235"/>
                <a:ext cx="358121" cy="469904"/>
              </a:xfrm>
              <a:custGeom>
                <a:avLst/>
                <a:gdLst>
                  <a:gd name="T0" fmla="*/ 405 w 416"/>
                  <a:gd name="T1" fmla="*/ 111 h 544"/>
                  <a:gd name="T2" fmla="*/ 364 w 416"/>
                  <a:gd name="T3" fmla="*/ 60 h 544"/>
                  <a:gd name="T4" fmla="*/ 395 w 416"/>
                  <a:gd name="T5" fmla="*/ 23 h 544"/>
                  <a:gd name="T6" fmla="*/ 394 w 416"/>
                  <a:gd name="T7" fmla="*/ 6 h 544"/>
                  <a:gd name="T8" fmla="*/ 376 w 416"/>
                  <a:gd name="T9" fmla="*/ 5 h 544"/>
                  <a:gd name="T10" fmla="*/ 309 w 416"/>
                  <a:gd name="T11" fmla="*/ 63 h 544"/>
                  <a:gd name="T12" fmla="*/ 279 w 416"/>
                  <a:gd name="T13" fmla="*/ 73 h 544"/>
                  <a:gd name="T14" fmla="*/ 259 w 416"/>
                  <a:gd name="T15" fmla="*/ 96 h 544"/>
                  <a:gd name="T16" fmla="*/ 238 w 416"/>
                  <a:gd name="T17" fmla="*/ 179 h 544"/>
                  <a:gd name="T18" fmla="*/ 238 w 416"/>
                  <a:gd name="T19" fmla="*/ 179 h 544"/>
                  <a:gd name="T20" fmla="*/ 191 w 416"/>
                  <a:gd name="T21" fmla="*/ 389 h 544"/>
                  <a:gd name="T22" fmla="*/ 14 w 416"/>
                  <a:gd name="T23" fmla="*/ 308 h 544"/>
                  <a:gd name="T24" fmla="*/ 0 w 416"/>
                  <a:gd name="T25" fmla="*/ 423 h 544"/>
                  <a:gd name="T26" fmla="*/ 233 w 416"/>
                  <a:gd name="T27" fmla="*/ 533 h 544"/>
                  <a:gd name="T28" fmla="*/ 291 w 416"/>
                  <a:gd name="T29" fmla="*/ 497 h 544"/>
                  <a:gd name="T30" fmla="*/ 307 w 416"/>
                  <a:gd name="T31" fmla="*/ 223 h 544"/>
                  <a:gd name="T32" fmla="*/ 359 w 416"/>
                  <a:gd name="T33" fmla="*/ 201 h 544"/>
                  <a:gd name="T34" fmla="*/ 388 w 416"/>
                  <a:gd name="T35" fmla="*/ 178 h 544"/>
                  <a:gd name="T36" fmla="*/ 407 w 416"/>
                  <a:gd name="T37" fmla="*/ 153 h 544"/>
                  <a:gd name="T38" fmla="*/ 405 w 416"/>
                  <a:gd name="T39" fmla="*/ 111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6" h="544">
                    <a:moveTo>
                      <a:pt x="405" y="111"/>
                    </a:moveTo>
                    <a:cubicBezTo>
                      <a:pt x="364" y="60"/>
                      <a:pt x="364" y="60"/>
                      <a:pt x="364" y="60"/>
                    </a:cubicBezTo>
                    <a:cubicBezTo>
                      <a:pt x="395" y="23"/>
                      <a:pt x="395" y="23"/>
                      <a:pt x="395" y="23"/>
                    </a:cubicBezTo>
                    <a:cubicBezTo>
                      <a:pt x="399" y="18"/>
                      <a:pt x="398" y="11"/>
                      <a:pt x="394" y="6"/>
                    </a:cubicBezTo>
                    <a:cubicBezTo>
                      <a:pt x="390" y="1"/>
                      <a:pt x="382" y="0"/>
                      <a:pt x="376" y="5"/>
                    </a:cubicBezTo>
                    <a:cubicBezTo>
                      <a:pt x="309" y="63"/>
                      <a:pt x="309" y="63"/>
                      <a:pt x="309" y="63"/>
                    </a:cubicBezTo>
                    <a:cubicBezTo>
                      <a:pt x="279" y="73"/>
                      <a:pt x="279" y="73"/>
                      <a:pt x="279" y="73"/>
                    </a:cubicBezTo>
                    <a:cubicBezTo>
                      <a:pt x="269" y="77"/>
                      <a:pt x="261" y="85"/>
                      <a:pt x="259" y="96"/>
                    </a:cubicBezTo>
                    <a:cubicBezTo>
                      <a:pt x="238" y="179"/>
                      <a:pt x="238" y="179"/>
                      <a:pt x="238" y="179"/>
                    </a:cubicBezTo>
                    <a:cubicBezTo>
                      <a:pt x="238" y="179"/>
                      <a:pt x="238" y="179"/>
                      <a:pt x="238" y="179"/>
                    </a:cubicBezTo>
                    <a:cubicBezTo>
                      <a:pt x="191" y="389"/>
                      <a:pt x="191" y="389"/>
                      <a:pt x="191" y="389"/>
                    </a:cubicBezTo>
                    <a:cubicBezTo>
                      <a:pt x="14" y="308"/>
                      <a:pt x="14" y="308"/>
                      <a:pt x="14" y="308"/>
                    </a:cubicBezTo>
                    <a:cubicBezTo>
                      <a:pt x="0" y="423"/>
                      <a:pt x="0" y="423"/>
                      <a:pt x="0" y="423"/>
                    </a:cubicBezTo>
                    <a:cubicBezTo>
                      <a:pt x="233" y="533"/>
                      <a:pt x="233" y="533"/>
                      <a:pt x="233" y="533"/>
                    </a:cubicBezTo>
                    <a:cubicBezTo>
                      <a:pt x="260" y="544"/>
                      <a:pt x="289" y="526"/>
                      <a:pt x="291" y="497"/>
                    </a:cubicBezTo>
                    <a:cubicBezTo>
                      <a:pt x="307" y="223"/>
                      <a:pt x="307" y="223"/>
                      <a:pt x="307" y="223"/>
                    </a:cubicBezTo>
                    <a:cubicBezTo>
                      <a:pt x="359" y="201"/>
                      <a:pt x="359" y="201"/>
                      <a:pt x="359" y="201"/>
                    </a:cubicBezTo>
                    <a:cubicBezTo>
                      <a:pt x="371" y="196"/>
                      <a:pt x="380" y="188"/>
                      <a:pt x="388" y="178"/>
                    </a:cubicBezTo>
                    <a:cubicBezTo>
                      <a:pt x="407" y="153"/>
                      <a:pt x="407" y="153"/>
                      <a:pt x="407" y="153"/>
                    </a:cubicBezTo>
                    <a:cubicBezTo>
                      <a:pt x="416" y="140"/>
                      <a:pt x="415" y="123"/>
                      <a:pt x="405" y="111"/>
                    </a:cubicBezTo>
                  </a:path>
                </a:pathLst>
              </a:custGeom>
              <a:solidFill>
                <a:srgbClr val="FADC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09" name="Freeform 341">
                <a:extLst>
                  <a:ext uri="{FF2B5EF4-FFF2-40B4-BE49-F238E27FC236}">
                    <a16:creationId xmlns:a16="http://schemas.microsoft.com/office/drawing/2014/main" id="{58F90AEB-A53B-469E-A359-7FB73B6812C9}"/>
                  </a:ext>
                </a:extLst>
              </p:cNvPr>
              <p:cNvSpPr>
                <a:spLocks/>
              </p:cNvSpPr>
              <p:nvPr/>
            </p:nvSpPr>
            <p:spPr bwMode="auto">
              <a:xfrm>
                <a:off x="2451054" y="5192358"/>
                <a:ext cx="89703" cy="68312"/>
              </a:xfrm>
              <a:custGeom>
                <a:avLst/>
                <a:gdLst>
                  <a:gd name="T0" fmla="*/ 27 w 104"/>
                  <a:gd name="T1" fmla="*/ 0 h 79"/>
                  <a:gd name="T2" fmla="*/ 39 w 104"/>
                  <a:gd name="T3" fmla="*/ 12 h 79"/>
                  <a:gd name="T4" fmla="*/ 56 w 104"/>
                  <a:gd name="T5" fmla="*/ 13 h 79"/>
                  <a:gd name="T6" fmla="*/ 67 w 104"/>
                  <a:gd name="T7" fmla="*/ 24 h 79"/>
                  <a:gd name="T8" fmla="*/ 85 w 104"/>
                  <a:gd name="T9" fmla="*/ 26 h 79"/>
                  <a:gd name="T10" fmla="*/ 88 w 104"/>
                  <a:gd name="T11" fmla="*/ 38 h 79"/>
                  <a:gd name="T12" fmla="*/ 99 w 104"/>
                  <a:gd name="T13" fmla="*/ 51 h 79"/>
                  <a:gd name="T14" fmla="*/ 104 w 104"/>
                  <a:gd name="T15" fmla="*/ 53 h 79"/>
                  <a:gd name="T16" fmla="*/ 88 w 104"/>
                  <a:gd name="T17" fmla="*/ 77 h 79"/>
                  <a:gd name="T18" fmla="*/ 85 w 104"/>
                  <a:gd name="T19" fmla="*/ 78 h 79"/>
                  <a:gd name="T20" fmla="*/ 28 w 104"/>
                  <a:gd name="T21" fmla="*/ 44 h 79"/>
                  <a:gd name="T22" fmla="*/ 10 w 104"/>
                  <a:gd name="T23" fmla="*/ 41 h 79"/>
                  <a:gd name="T24" fmla="*/ 0 w 104"/>
                  <a:gd name="T25" fmla="*/ 31 h 79"/>
                  <a:gd name="T26" fmla="*/ 27 w 104"/>
                  <a:gd name="T2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79">
                    <a:moveTo>
                      <a:pt x="27" y="0"/>
                    </a:moveTo>
                    <a:cubicBezTo>
                      <a:pt x="39" y="12"/>
                      <a:pt x="39" y="12"/>
                      <a:pt x="39" y="12"/>
                    </a:cubicBezTo>
                    <a:cubicBezTo>
                      <a:pt x="43" y="17"/>
                      <a:pt x="51" y="18"/>
                      <a:pt x="56" y="13"/>
                    </a:cubicBezTo>
                    <a:cubicBezTo>
                      <a:pt x="67" y="24"/>
                      <a:pt x="67" y="24"/>
                      <a:pt x="67" y="24"/>
                    </a:cubicBezTo>
                    <a:cubicBezTo>
                      <a:pt x="71" y="30"/>
                      <a:pt x="79" y="30"/>
                      <a:pt x="85" y="26"/>
                    </a:cubicBezTo>
                    <a:cubicBezTo>
                      <a:pt x="88" y="38"/>
                      <a:pt x="88" y="38"/>
                      <a:pt x="88" y="38"/>
                    </a:cubicBezTo>
                    <a:cubicBezTo>
                      <a:pt x="90" y="44"/>
                      <a:pt x="94" y="48"/>
                      <a:pt x="99" y="51"/>
                    </a:cubicBezTo>
                    <a:cubicBezTo>
                      <a:pt x="104" y="53"/>
                      <a:pt x="104" y="53"/>
                      <a:pt x="104" y="53"/>
                    </a:cubicBezTo>
                    <a:cubicBezTo>
                      <a:pt x="88" y="77"/>
                      <a:pt x="88" y="77"/>
                      <a:pt x="88" y="77"/>
                    </a:cubicBezTo>
                    <a:cubicBezTo>
                      <a:pt x="88" y="78"/>
                      <a:pt x="86" y="78"/>
                      <a:pt x="85" y="78"/>
                    </a:cubicBezTo>
                    <a:cubicBezTo>
                      <a:pt x="63" y="79"/>
                      <a:pt x="45" y="58"/>
                      <a:pt x="28" y="44"/>
                    </a:cubicBezTo>
                    <a:cubicBezTo>
                      <a:pt x="22" y="47"/>
                      <a:pt x="15" y="46"/>
                      <a:pt x="10" y="41"/>
                    </a:cubicBezTo>
                    <a:cubicBezTo>
                      <a:pt x="0" y="31"/>
                      <a:pt x="0" y="31"/>
                      <a:pt x="0" y="31"/>
                    </a:cubicBezTo>
                    <a:lnTo>
                      <a:pt x="27" y="0"/>
                    </a:lnTo>
                    <a:close/>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10" name="Freeform 342">
                <a:extLst>
                  <a:ext uri="{FF2B5EF4-FFF2-40B4-BE49-F238E27FC236}">
                    <a16:creationId xmlns:a16="http://schemas.microsoft.com/office/drawing/2014/main" id="{673384DE-6CBC-4CB5-9B48-1A5C4D2C3858}"/>
                  </a:ext>
                </a:extLst>
              </p:cNvPr>
              <p:cNvSpPr>
                <a:spLocks/>
              </p:cNvSpPr>
              <p:nvPr/>
            </p:nvSpPr>
            <p:spPr bwMode="auto">
              <a:xfrm>
                <a:off x="1881787" y="5326222"/>
                <a:ext cx="446444" cy="460934"/>
              </a:xfrm>
              <a:custGeom>
                <a:avLst/>
                <a:gdLst>
                  <a:gd name="T0" fmla="*/ 363 w 519"/>
                  <a:gd name="T1" fmla="*/ 24 h 534"/>
                  <a:gd name="T2" fmla="*/ 331 w 519"/>
                  <a:gd name="T3" fmla="*/ 16 h 534"/>
                  <a:gd name="T4" fmla="*/ 301 w 519"/>
                  <a:gd name="T5" fmla="*/ 11 h 534"/>
                  <a:gd name="T6" fmla="*/ 96 w 519"/>
                  <a:gd name="T7" fmla="*/ 46 h 534"/>
                  <a:gd name="T8" fmla="*/ 94 w 519"/>
                  <a:gd name="T9" fmla="*/ 48 h 534"/>
                  <a:gd name="T10" fmla="*/ 55 w 519"/>
                  <a:gd name="T11" fmla="*/ 77 h 534"/>
                  <a:gd name="T12" fmla="*/ 15 w 519"/>
                  <a:gd name="T13" fmla="*/ 234 h 534"/>
                  <a:gd name="T14" fmla="*/ 74 w 519"/>
                  <a:gd name="T15" fmla="*/ 458 h 534"/>
                  <a:gd name="T16" fmla="*/ 182 w 519"/>
                  <a:gd name="T17" fmla="*/ 521 h 534"/>
                  <a:gd name="T18" fmla="*/ 258 w 519"/>
                  <a:gd name="T19" fmla="*/ 521 h 534"/>
                  <a:gd name="T20" fmla="*/ 450 w 519"/>
                  <a:gd name="T21" fmla="*/ 410 h 534"/>
                  <a:gd name="T22" fmla="*/ 439 w 519"/>
                  <a:gd name="T23" fmla="*/ 195 h 534"/>
                  <a:gd name="T24" fmla="*/ 461 w 519"/>
                  <a:gd name="T25" fmla="*/ 201 h 534"/>
                  <a:gd name="T26" fmla="*/ 519 w 519"/>
                  <a:gd name="T27" fmla="*/ 86 h 534"/>
                  <a:gd name="T28" fmla="*/ 363 w 519"/>
                  <a:gd name="T29" fmla="*/ 2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9" h="534">
                    <a:moveTo>
                      <a:pt x="363" y="24"/>
                    </a:moveTo>
                    <a:cubicBezTo>
                      <a:pt x="354" y="20"/>
                      <a:pt x="344" y="18"/>
                      <a:pt x="331" y="16"/>
                    </a:cubicBezTo>
                    <a:cubicBezTo>
                      <a:pt x="301" y="11"/>
                      <a:pt x="301" y="11"/>
                      <a:pt x="301" y="11"/>
                    </a:cubicBezTo>
                    <a:cubicBezTo>
                      <a:pt x="231" y="0"/>
                      <a:pt x="159" y="13"/>
                      <a:pt x="96" y="46"/>
                    </a:cubicBezTo>
                    <a:cubicBezTo>
                      <a:pt x="94" y="48"/>
                      <a:pt x="94" y="48"/>
                      <a:pt x="94" y="48"/>
                    </a:cubicBezTo>
                    <a:cubicBezTo>
                      <a:pt x="79" y="55"/>
                      <a:pt x="66" y="65"/>
                      <a:pt x="55" y="77"/>
                    </a:cubicBezTo>
                    <a:cubicBezTo>
                      <a:pt x="14" y="118"/>
                      <a:pt x="0" y="178"/>
                      <a:pt x="15" y="234"/>
                    </a:cubicBezTo>
                    <a:cubicBezTo>
                      <a:pt x="74" y="458"/>
                      <a:pt x="74" y="458"/>
                      <a:pt x="74" y="458"/>
                    </a:cubicBezTo>
                    <a:cubicBezTo>
                      <a:pt x="182" y="521"/>
                      <a:pt x="182" y="521"/>
                      <a:pt x="182" y="521"/>
                    </a:cubicBezTo>
                    <a:cubicBezTo>
                      <a:pt x="206" y="534"/>
                      <a:pt x="235" y="534"/>
                      <a:pt x="258" y="521"/>
                    </a:cubicBezTo>
                    <a:cubicBezTo>
                      <a:pt x="450" y="410"/>
                      <a:pt x="450" y="410"/>
                      <a:pt x="450" y="410"/>
                    </a:cubicBezTo>
                    <a:cubicBezTo>
                      <a:pt x="453" y="347"/>
                      <a:pt x="453" y="261"/>
                      <a:pt x="439" y="195"/>
                    </a:cubicBezTo>
                    <a:cubicBezTo>
                      <a:pt x="461" y="201"/>
                      <a:pt x="461" y="201"/>
                      <a:pt x="461" y="201"/>
                    </a:cubicBezTo>
                    <a:cubicBezTo>
                      <a:pt x="461" y="201"/>
                      <a:pt x="510" y="165"/>
                      <a:pt x="519" y="86"/>
                    </a:cubicBezTo>
                    <a:cubicBezTo>
                      <a:pt x="459" y="58"/>
                      <a:pt x="394" y="35"/>
                      <a:pt x="363" y="24"/>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11" name="Freeform 343">
                <a:extLst>
                  <a:ext uri="{FF2B5EF4-FFF2-40B4-BE49-F238E27FC236}">
                    <a16:creationId xmlns:a16="http://schemas.microsoft.com/office/drawing/2014/main" id="{C0B54AE1-3DED-455F-9BCC-DDAEA1BC3B08}"/>
                  </a:ext>
                </a:extLst>
              </p:cNvPr>
              <p:cNvSpPr>
                <a:spLocks/>
              </p:cNvSpPr>
              <p:nvPr/>
            </p:nvSpPr>
            <p:spPr bwMode="auto">
              <a:xfrm>
                <a:off x="2021861" y="5265500"/>
                <a:ext cx="158015" cy="144215"/>
              </a:xfrm>
              <a:custGeom>
                <a:avLst/>
                <a:gdLst>
                  <a:gd name="T0" fmla="*/ 40 w 184"/>
                  <a:gd name="T1" fmla="*/ 0 h 167"/>
                  <a:gd name="T2" fmla="*/ 31 w 184"/>
                  <a:gd name="T3" fmla="*/ 50 h 167"/>
                  <a:gd name="T4" fmla="*/ 16 w 184"/>
                  <a:gd name="T5" fmla="*/ 78 h 167"/>
                  <a:gd name="T6" fmla="*/ 0 w 184"/>
                  <a:gd name="T7" fmla="*/ 91 h 167"/>
                  <a:gd name="T8" fmla="*/ 123 w 184"/>
                  <a:gd name="T9" fmla="*/ 167 h 167"/>
                  <a:gd name="T10" fmla="*/ 184 w 184"/>
                  <a:gd name="T11" fmla="*/ 89 h 167"/>
                  <a:gd name="T12" fmla="*/ 157 w 184"/>
                  <a:gd name="T13" fmla="*/ 50 h 167"/>
                  <a:gd name="T14" fmla="*/ 152 w 184"/>
                  <a:gd name="T15" fmla="*/ 4 h 167"/>
                  <a:gd name="T16" fmla="*/ 40 w 184"/>
                  <a:gd name="T1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167">
                    <a:moveTo>
                      <a:pt x="40" y="0"/>
                    </a:moveTo>
                    <a:cubicBezTo>
                      <a:pt x="31" y="50"/>
                      <a:pt x="31" y="50"/>
                      <a:pt x="31" y="50"/>
                    </a:cubicBezTo>
                    <a:cubicBezTo>
                      <a:pt x="29" y="61"/>
                      <a:pt x="24" y="71"/>
                      <a:pt x="16" y="78"/>
                    </a:cubicBezTo>
                    <a:cubicBezTo>
                      <a:pt x="0" y="91"/>
                      <a:pt x="0" y="91"/>
                      <a:pt x="0" y="91"/>
                    </a:cubicBezTo>
                    <a:cubicBezTo>
                      <a:pt x="123" y="167"/>
                      <a:pt x="123" y="167"/>
                      <a:pt x="123" y="167"/>
                    </a:cubicBezTo>
                    <a:cubicBezTo>
                      <a:pt x="184" y="89"/>
                      <a:pt x="184" y="89"/>
                      <a:pt x="184" y="89"/>
                    </a:cubicBezTo>
                    <a:cubicBezTo>
                      <a:pt x="169" y="82"/>
                      <a:pt x="159" y="67"/>
                      <a:pt x="157" y="50"/>
                    </a:cubicBezTo>
                    <a:cubicBezTo>
                      <a:pt x="152" y="4"/>
                      <a:pt x="152" y="4"/>
                      <a:pt x="152" y="4"/>
                    </a:cubicBezTo>
                    <a:lnTo>
                      <a:pt x="40" y="0"/>
                    </a:lnTo>
                    <a:close/>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12" name="Freeform 344">
                <a:extLst>
                  <a:ext uri="{FF2B5EF4-FFF2-40B4-BE49-F238E27FC236}">
                    <a16:creationId xmlns:a16="http://schemas.microsoft.com/office/drawing/2014/main" id="{68C4C3BE-3BE6-410C-BF4E-01ABFB157DF8}"/>
                  </a:ext>
                </a:extLst>
              </p:cNvPr>
              <p:cNvSpPr>
                <a:spLocks/>
              </p:cNvSpPr>
              <p:nvPr/>
            </p:nvSpPr>
            <p:spPr bwMode="auto">
              <a:xfrm>
                <a:off x="2021861" y="5265500"/>
                <a:ext cx="133174" cy="100053"/>
              </a:xfrm>
              <a:custGeom>
                <a:avLst/>
                <a:gdLst>
                  <a:gd name="T0" fmla="*/ 16 w 155"/>
                  <a:gd name="T1" fmla="*/ 78 h 116"/>
                  <a:gd name="T2" fmla="*/ 0 w 155"/>
                  <a:gd name="T3" fmla="*/ 91 h 116"/>
                  <a:gd name="T4" fmla="*/ 39 w 155"/>
                  <a:gd name="T5" fmla="*/ 116 h 116"/>
                  <a:gd name="T6" fmla="*/ 155 w 155"/>
                  <a:gd name="T7" fmla="*/ 30 h 116"/>
                  <a:gd name="T8" fmla="*/ 40 w 155"/>
                  <a:gd name="T9" fmla="*/ 0 h 116"/>
                  <a:gd name="T10" fmla="*/ 31 w 155"/>
                  <a:gd name="T11" fmla="*/ 50 h 116"/>
                  <a:gd name="T12" fmla="*/ 16 w 155"/>
                  <a:gd name="T13" fmla="*/ 78 h 116"/>
                </a:gdLst>
                <a:ahLst/>
                <a:cxnLst>
                  <a:cxn ang="0">
                    <a:pos x="T0" y="T1"/>
                  </a:cxn>
                  <a:cxn ang="0">
                    <a:pos x="T2" y="T3"/>
                  </a:cxn>
                  <a:cxn ang="0">
                    <a:pos x="T4" y="T5"/>
                  </a:cxn>
                  <a:cxn ang="0">
                    <a:pos x="T6" y="T7"/>
                  </a:cxn>
                  <a:cxn ang="0">
                    <a:pos x="T8" y="T9"/>
                  </a:cxn>
                  <a:cxn ang="0">
                    <a:pos x="T10" y="T11"/>
                  </a:cxn>
                  <a:cxn ang="0">
                    <a:pos x="T12" y="T13"/>
                  </a:cxn>
                </a:cxnLst>
                <a:rect l="0" t="0" r="r" b="b"/>
                <a:pathLst>
                  <a:path w="155" h="116">
                    <a:moveTo>
                      <a:pt x="16" y="78"/>
                    </a:moveTo>
                    <a:cubicBezTo>
                      <a:pt x="0" y="91"/>
                      <a:pt x="0" y="91"/>
                      <a:pt x="0" y="91"/>
                    </a:cubicBezTo>
                    <a:cubicBezTo>
                      <a:pt x="39" y="116"/>
                      <a:pt x="39" y="116"/>
                      <a:pt x="39" y="116"/>
                    </a:cubicBezTo>
                    <a:cubicBezTo>
                      <a:pt x="109" y="109"/>
                      <a:pt x="155" y="30"/>
                      <a:pt x="155" y="30"/>
                    </a:cubicBezTo>
                    <a:cubicBezTo>
                      <a:pt x="40" y="0"/>
                      <a:pt x="40" y="0"/>
                      <a:pt x="40" y="0"/>
                    </a:cubicBezTo>
                    <a:cubicBezTo>
                      <a:pt x="31" y="50"/>
                      <a:pt x="31" y="50"/>
                      <a:pt x="31" y="50"/>
                    </a:cubicBezTo>
                    <a:cubicBezTo>
                      <a:pt x="29" y="61"/>
                      <a:pt x="24" y="71"/>
                      <a:pt x="16" y="78"/>
                    </a:cubicBezTo>
                  </a:path>
                </a:pathLst>
              </a:custGeom>
              <a:solidFill>
                <a:srgbClr val="FADC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13" name="Freeform 345">
                <a:extLst>
                  <a:ext uri="{FF2B5EF4-FFF2-40B4-BE49-F238E27FC236}">
                    <a16:creationId xmlns:a16="http://schemas.microsoft.com/office/drawing/2014/main" id="{0FAE0E85-7817-4769-BEA5-E43E4E0AB75A}"/>
                  </a:ext>
                </a:extLst>
              </p:cNvPr>
              <p:cNvSpPr>
                <a:spLocks/>
              </p:cNvSpPr>
              <p:nvPr/>
            </p:nvSpPr>
            <p:spPr bwMode="auto">
              <a:xfrm>
                <a:off x="1951479" y="5019853"/>
                <a:ext cx="267038" cy="303609"/>
              </a:xfrm>
              <a:custGeom>
                <a:avLst/>
                <a:gdLst>
                  <a:gd name="T0" fmla="*/ 306 w 311"/>
                  <a:gd name="T1" fmla="*/ 221 h 352"/>
                  <a:gd name="T2" fmla="*/ 300 w 311"/>
                  <a:gd name="T3" fmla="*/ 140 h 352"/>
                  <a:gd name="T4" fmla="*/ 144 w 311"/>
                  <a:gd name="T5" fmla="*/ 6 h 352"/>
                  <a:gd name="T6" fmla="*/ 9 w 311"/>
                  <a:gd name="T7" fmla="*/ 144 h 352"/>
                  <a:gd name="T8" fmla="*/ 1 w 311"/>
                  <a:gd name="T9" fmla="*/ 163 h 352"/>
                  <a:gd name="T10" fmla="*/ 3 w 311"/>
                  <a:gd name="T11" fmla="*/ 185 h 352"/>
                  <a:gd name="T12" fmla="*/ 13 w 311"/>
                  <a:gd name="T13" fmla="*/ 207 h 352"/>
                  <a:gd name="T14" fmla="*/ 13 w 311"/>
                  <a:gd name="T15" fmla="*/ 211 h 352"/>
                  <a:gd name="T16" fmla="*/ 169 w 311"/>
                  <a:gd name="T17" fmla="*/ 345 h 352"/>
                  <a:gd name="T18" fmla="*/ 202 w 311"/>
                  <a:gd name="T19" fmla="*/ 343 h 352"/>
                  <a:gd name="T20" fmla="*/ 306 w 311"/>
                  <a:gd name="T21" fmla="*/ 22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352">
                    <a:moveTo>
                      <a:pt x="306" y="221"/>
                    </a:moveTo>
                    <a:cubicBezTo>
                      <a:pt x="300" y="140"/>
                      <a:pt x="300" y="140"/>
                      <a:pt x="300" y="140"/>
                    </a:cubicBezTo>
                    <a:cubicBezTo>
                      <a:pt x="294" y="60"/>
                      <a:pt x="224" y="0"/>
                      <a:pt x="144" y="6"/>
                    </a:cubicBezTo>
                    <a:cubicBezTo>
                      <a:pt x="70" y="12"/>
                      <a:pt x="13" y="72"/>
                      <a:pt x="9" y="144"/>
                    </a:cubicBezTo>
                    <a:cubicBezTo>
                      <a:pt x="4" y="148"/>
                      <a:pt x="0" y="155"/>
                      <a:pt x="1" y="163"/>
                    </a:cubicBezTo>
                    <a:cubicBezTo>
                      <a:pt x="3" y="185"/>
                      <a:pt x="3" y="185"/>
                      <a:pt x="3" y="185"/>
                    </a:cubicBezTo>
                    <a:cubicBezTo>
                      <a:pt x="3" y="194"/>
                      <a:pt x="7" y="201"/>
                      <a:pt x="13" y="207"/>
                    </a:cubicBezTo>
                    <a:cubicBezTo>
                      <a:pt x="13" y="211"/>
                      <a:pt x="13" y="211"/>
                      <a:pt x="13" y="211"/>
                    </a:cubicBezTo>
                    <a:cubicBezTo>
                      <a:pt x="19" y="291"/>
                      <a:pt x="89" y="352"/>
                      <a:pt x="169" y="345"/>
                    </a:cubicBezTo>
                    <a:cubicBezTo>
                      <a:pt x="202" y="343"/>
                      <a:pt x="202" y="343"/>
                      <a:pt x="202" y="343"/>
                    </a:cubicBezTo>
                    <a:cubicBezTo>
                      <a:pt x="264" y="338"/>
                      <a:pt x="311" y="284"/>
                      <a:pt x="306" y="221"/>
                    </a:cubicBezTo>
                  </a:path>
                </a:pathLst>
              </a:custGeom>
              <a:solidFill>
                <a:srgbClr val="FADC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14" name="Freeform 346">
                <a:extLst>
                  <a:ext uri="{FF2B5EF4-FFF2-40B4-BE49-F238E27FC236}">
                    <a16:creationId xmlns:a16="http://schemas.microsoft.com/office/drawing/2014/main" id="{142EDA9B-1D28-44E4-9463-0488D6C7AE4D}"/>
                  </a:ext>
                </a:extLst>
              </p:cNvPr>
              <p:cNvSpPr>
                <a:spLocks/>
              </p:cNvSpPr>
              <p:nvPr/>
            </p:nvSpPr>
            <p:spPr bwMode="auto">
              <a:xfrm>
                <a:off x="2123295" y="5112316"/>
                <a:ext cx="95223" cy="203556"/>
              </a:xfrm>
              <a:custGeom>
                <a:avLst/>
                <a:gdLst>
                  <a:gd name="T0" fmla="*/ 10 w 111"/>
                  <a:gd name="T1" fmla="*/ 230 h 236"/>
                  <a:gd name="T2" fmla="*/ 0 w 111"/>
                  <a:gd name="T3" fmla="*/ 236 h 236"/>
                  <a:gd name="T4" fmla="*/ 2 w 111"/>
                  <a:gd name="T5" fmla="*/ 236 h 236"/>
                  <a:gd name="T6" fmla="*/ 106 w 111"/>
                  <a:gd name="T7" fmla="*/ 114 h 236"/>
                  <a:gd name="T8" fmla="*/ 100 w 111"/>
                  <a:gd name="T9" fmla="*/ 33 h 236"/>
                  <a:gd name="T10" fmla="*/ 97 w 111"/>
                  <a:gd name="T11" fmla="*/ 12 h 236"/>
                  <a:gd name="T12" fmla="*/ 93 w 111"/>
                  <a:gd name="T13" fmla="*/ 10 h 236"/>
                  <a:gd name="T14" fmla="*/ 24 w 111"/>
                  <a:gd name="T15" fmla="*/ 14 h 236"/>
                  <a:gd name="T16" fmla="*/ 22 w 111"/>
                  <a:gd name="T17" fmla="*/ 16 h 236"/>
                  <a:gd name="T18" fmla="*/ 18 w 111"/>
                  <a:gd name="T19" fmla="*/ 39 h 236"/>
                  <a:gd name="T20" fmla="*/ 40 w 111"/>
                  <a:gd name="T21" fmla="*/ 61 h 236"/>
                  <a:gd name="T22" fmla="*/ 33 w 111"/>
                  <a:gd name="T23" fmla="*/ 97 h 236"/>
                  <a:gd name="T24" fmla="*/ 19 w 111"/>
                  <a:gd name="T25" fmla="*/ 103 h 236"/>
                  <a:gd name="T26" fmla="*/ 36 w 111"/>
                  <a:gd name="T27" fmla="*/ 156 h 236"/>
                  <a:gd name="T28" fmla="*/ 38 w 111"/>
                  <a:gd name="T29" fmla="*/ 178 h 236"/>
                  <a:gd name="T30" fmla="*/ 10 w 111"/>
                  <a:gd name="T31" fmla="*/ 23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1" h="236">
                    <a:moveTo>
                      <a:pt x="10" y="230"/>
                    </a:moveTo>
                    <a:cubicBezTo>
                      <a:pt x="0" y="236"/>
                      <a:pt x="0" y="236"/>
                      <a:pt x="0" y="236"/>
                    </a:cubicBezTo>
                    <a:cubicBezTo>
                      <a:pt x="2" y="236"/>
                      <a:pt x="2" y="236"/>
                      <a:pt x="2" y="236"/>
                    </a:cubicBezTo>
                    <a:cubicBezTo>
                      <a:pt x="64" y="231"/>
                      <a:pt x="111" y="177"/>
                      <a:pt x="106" y="114"/>
                    </a:cubicBezTo>
                    <a:cubicBezTo>
                      <a:pt x="100" y="33"/>
                      <a:pt x="100" y="33"/>
                      <a:pt x="100" y="33"/>
                    </a:cubicBezTo>
                    <a:cubicBezTo>
                      <a:pt x="100" y="26"/>
                      <a:pt x="98" y="19"/>
                      <a:pt x="97" y="12"/>
                    </a:cubicBezTo>
                    <a:cubicBezTo>
                      <a:pt x="93" y="10"/>
                      <a:pt x="93" y="10"/>
                      <a:pt x="93" y="10"/>
                    </a:cubicBezTo>
                    <a:cubicBezTo>
                      <a:pt x="71" y="0"/>
                      <a:pt x="45" y="2"/>
                      <a:pt x="24" y="14"/>
                    </a:cubicBezTo>
                    <a:cubicBezTo>
                      <a:pt x="22" y="16"/>
                      <a:pt x="22" y="16"/>
                      <a:pt x="22" y="16"/>
                    </a:cubicBezTo>
                    <a:cubicBezTo>
                      <a:pt x="13" y="21"/>
                      <a:pt x="12" y="32"/>
                      <a:pt x="18" y="39"/>
                    </a:cubicBezTo>
                    <a:cubicBezTo>
                      <a:pt x="40" y="61"/>
                      <a:pt x="40" y="61"/>
                      <a:pt x="40" y="61"/>
                    </a:cubicBezTo>
                    <a:cubicBezTo>
                      <a:pt x="51" y="72"/>
                      <a:pt x="47" y="91"/>
                      <a:pt x="33" y="97"/>
                    </a:cubicBezTo>
                    <a:cubicBezTo>
                      <a:pt x="19" y="103"/>
                      <a:pt x="19" y="103"/>
                      <a:pt x="19" y="103"/>
                    </a:cubicBezTo>
                    <a:cubicBezTo>
                      <a:pt x="36" y="156"/>
                      <a:pt x="36" y="156"/>
                      <a:pt x="36" y="156"/>
                    </a:cubicBezTo>
                    <a:cubicBezTo>
                      <a:pt x="38" y="178"/>
                      <a:pt x="38" y="178"/>
                      <a:pt x="38" y="178"/>
                    </a:cubicBezTo>
                    <a:cubicBezTo>
                      <a:pt x="40" y="199"/>
                      <a:pt x="29" y="220"/>
                      <a:pt x="10" y="230"/>
                    </a:cubicBezTo>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15" name="Freeform 347">
                <a:extLst>
                  <a:ext uri="{FF2B5EF4-FFF2-40B4-BE49-F238E27FC236}">
                    <a16:creationId xmlns:a16="http://schemas.microsoft.com/office/drawing/2014/main" id="{CDE9BE1F-3EEF-4DB6-AFDE-E2B133940CA8}"/>
                  </a:ext>
                </a:extLst>
              </p:cNvPr>
              <p:cNvSpPr>
                <a:spLocks/>
              </p:cNvSpPr>
              <p:nvPr/>
            </p:nvSpPr>
            <p:spPr bwMode="auto">
              <a:xfrm>
                <a:off x="2055673" y="5141987"/>
                <a:ext cx="22771" cy="23461"/>
              </a:xfrm>
              <a:custGeom>
                <a:avLst/>
                <a:gdLst>
                  <a:gd name="T0" fmla="*/ 26 w 27"/>
                  <a:gd name="T1" fmla="*/ 13 h 27"/>
                  <a:gd name="T2" fmla="*/ 15 w 27"/>
                  <a:gd name="T3" fmla="*/ 27 h 27"/>
                  <a:gd name="T4" fmla="*/ 1 w 27"/>
                  <a:gd name="T5" fmla="*/ 15 h 27"/>
                  <a:gd name="T6" fmla="*/ 13 w 27"/>
                  <a:gd name="T7" fmla="*/ 1 h 27"/>
                  <a:gd name="T8" fmla="*/ 26 w 27"/>
                  <a:gd name="T9" fmla="*/ 13 h 27"/>
                </a:gdLst>
                <a:ahLst/>
                <a:cxnLst>
                  <a:cxn ang="0">
                    <a:pos x="T0" y="T1"/>
                  </a:cxn>
                  <a:cxn ang="0">
                    <a:pos x="T2" y="T3"/>
                  </a:cxn>
                  <a:cxn ang="0">
                    <a:pos x="T4" y="T5"/>
                  </a:cxn>
                  <a:cxn ang="0">
                    <a:pos x="T6" y="T7"/>
                  </a:cxn>
                  <a:cxn ang="0">
                    <a:pos x="T8" y="T9"/>
                  </a:cxn>
                </a:cxnLst>
                <a:rect l="0" t="0" r="r" b="b"/>
                <a:pathLst>
                  <a:path w="27" h="27">
                    <a:moveTo>
                      <a:pt x="26" y="13"/>
                    </a:moveTo>
                    <a:cubicBezTo>
                      <a:pt x="27" y="20"/>
                      <a:pt x="22" y="26"/>
                      <a:pt x="15" y="27"/>
                    </a:cubicBezTo>
                    <a:cubicBezTo>
                      <a:pt x="7" y="27"/>
                      <a:pt x="1" y="22"/>
                      <a:pt x="1" y="15"/>
                    </a:cubicBezTo>
                    <a:cubicBezTo>
                      <a:pt x="0" y="8"/>
                      <a:pt x="5" y="1"/>
                      <a:pt x="13" y="1"/>
                    </a:cubicBezTo>
                    <a:cubicBezTo>
                      <a:pt x="20" y="0"/>
                      <a:pt x="26" y="6"/>
                      <a:pt x="26" y="13"/>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16" name="Freeform 348">
                <a:extLst>
                  <a:ext uri="{FF2B5EF4-FFF2-40B4-BE49-F238E27FC236}">
                    <a16:creationId xmlns:a16="http://schemas.microsoft.com/office/drawing/2014/main" id="{4D16DE76-FD09-479B-9049-618FB1FEF2FF}"/>
                  </a:ext>
                </a:extLst>
              </p:cNvPr>
              <p:cNvSpPr>
                <a:spLocks/>
              </p:cNvSpPr>
              <p:nvPr/>
            </p:nvSpPr>
            <p:spPr bwMode="auto">
              <a:xfrm>
                <a:off x="1959070" y="5022613"/>
                <a:ext cx="259448" cy="300849"/>
              </a:xfrm>
              <a:custGeom>
                <a:avLst/>
                <a:gdLst>
                  <a:gd name="T0" fmla="*/ 297 w 302"/>
                  <a:gd name="T1" fmla="*/ 218 h 349"/>
                  <a:gd name="T2" fmla="*/ 297 w 302"/>
                  <a:gd name="T3" fmla="*/ 214 h 349"/>
                  <a:gd name="T4" fmla="*/ 259 w 302"/>
                  <a:gd name="T5" fmla="*/ 247 h 349"/>
                  <a:gd name="T6" fmla="*/ 254 w 302"/>
                  <a:gd name="T7" fmla="*/ 239 h 349"/>
                  <a:gd name="T8" fmla="*/ 208 w 302"/>
                  <a:gd name="T9" fmla="*/ 214 h 349"/>
                  <a:gd name="T10" fmla="*/ 193 w 302"/>
                  <a:gd name="T11" fmla="*/ 215 h 349"/>
                  <a:gd name="T12" fmla="*/ 154 w 302"/>
                  <a:gd name="T13" fmla="*/ 240 h 349"/>
                  <a:gd name="T14" fmla="*/ 147 w 302"/>
                  <a:gd name="T15" fmla="*/ 252 h 349"/>
                  <a:gd name="T16" fmla="*/ 98 w 302"/>
                  <a:gd name="T17" fmla="*/ 241 h 349"/>
                  <a:gd name="T18" fmla="*/ 55 w 302"/>
                  <a:gd name="T19" fmla="*/ 191 h 349"/>
                  <a:gd name="T20" fmla="*/ 51 w 302"/>
                  <a:gd name="T21" fmla="*/ 138 h 349"/>
                  <a:gd name="T22" fmla="*/ 65 w 302"/>
                  <a:gd name="T23" fmla="*/ 91 h 349"/>
                  <a:gd name="T24" fmla="*/ 70 w 302"/>
                  <a:gd name="T25" fmla="*/ 84 h 349"/>
                  <a:gd name="T26" fmla="*/ 126 w 302"/>
                  <a:gd name="T27" fmla="*/ 63 h 349"/>
                  <a:gd name="T28" fmla="*/ 248 w 302"/>
                  <a:gd name="T29" fmla="*/ 44 h 349"/>
                  <a:gd name="T30" fmla="*/ 135 w 302"/>
                  <a:gd name="T31" fmla="*/ 3 h 349"/>
                  <a:gd name="T32" fmla="*/ 0 w 302"/>
                  <a:gd name="T33" fmla="*/ 141 h 349"/>
                  <a:gd name="T34" fmla="*/ 13 w 302"/>
                  <a:gd name="T35" fmla="*/ 136 h 349"/>
                  <a:gd name="T36" fmla="*/ 37 w 302"/>
                  <a:gd name="T37" fmla="*/ 157 h 349"/>
                  <a:gd name="T38" fmla="*/ 41 w 302"/>
                  <a:gd name="T39" fmla="*/ 213 h 349"/>
                  <a:gd name="T40" fmla="*/ 30 w 302"/>
                  <a:gd name="T41" fmla="*/ 213 h 349"/>
                  <a:gd name="T42" fmla="*/ 4 w 302"/>
                  <a:gd name="T43" fmla="*/ 204 h 349"/>
                  <a:gd name="T44" fmla="*/ 4 w 302"/>
                  <a:gd name="T45" fmla="*/ 208 h 349"/>
                  <a:gd name="T46" fmla="*/ 160 w 302"/>
                  <a:gd name="T47" fmla="*/ 342 h 349"/>
                  <a:gd name="T48" fmla="*/ 193 w 302"/>
                  <a:gd name="T49" fmla="*/ 340 h 349"/>
                  <a:gd name="T50" fmla="*/ 297 w 302"/>
                  <a:gd name="T51" fmla="*/ 21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2" h="349">
                    <a:moveTo>
                      <a:pt x="297" y="218"/>
                    </a:moveTo>
                    <a:cubicBezTo>
                      <a:pt x="297" y="214"/>
                      <a:pt x="297" y="214"/>
                      <a:pt x="297" y="214"/>
                    </a:cubicBezTo>
                    <a:cubicBezTo>
                      <a:pt x="259" y="247"/>
                      <a:pt x="259" y="247"/>
                      <a:pt x="259" y="247"/>
                    </a:cubicBezTo>
                    <a:cubicBezTo>
                      <a:pt x="254" y="239"/>
                      <a:pt x="254" y="239"/>
                      <a:pt x="254" y="239"/>
                    </a:cubicBezTo>
                    <a:cubicBezTo>
                      <a:pt x="245" y="222"/>
                      <a:pt x="227" y="212"/>
                      <a:pt x="208" y="214"/>
                    </a:cubicBezTo>
                    <a:cubicBezTo>
                      <a:pt x="193" y="215"/>
                      <a:pt x="193" y="215"/>
                      <a:pt x="193" y="215"/>
                    </a:cubicBezTo>
                    <a:cubicBezTo>
                      <a:pt x="176" y="216"/>
                      <a:pt x="162" y="225"/>
                      <a:pt x="154" y="240"/>
                    </a:cubicBezTo>
                    <a:cubicBezTo>
                      <a:pt x="147" y="252"/>
                      <a:pt x="147" y="252"/>
                      <a:pt x="147" y="252"/>
                    </a:cubicBezTo>
                    <a:cubicBezTo>
                      <a:pt x="98" y="241"/>
                      <a:pt x="98" y="241"/>
                      <a:pt x="98" y="241"/>
                    </a:cubicBezTo>
                    <a:cubicBezTo>
                      <a:pt x="74" y="235"/>
                      <a:pt x="57" y="215"/>
                      <a:pt x="55" y="191"/>
                    </a:cubicBezTo>
                    <a:cubicBezTo>
                      <a:pt x="51" y="138"/>
                      <a:pt x="51" y="138"/>
                      <a:pt x="51" y="138"/>
                    </a:cubicBezTo>
                    <a:cubicBezTo>
                      <a:pt x="50" y="121"/>
                      <a:pt x="55" y="104"/>
                      <a:pt x="65" y="91"/>
                    </a:cubicBezTo>
                    <a:cubicBezTo>
                      <a:pt x="70" y="84"/>
                      <a:pt x="70" y="84"/>
                      <a:pt x="70" y="84"/>
                    </a:cubicBezTo>
                    <a:cubicBezTo>
                      <a:pt x="83" y="67"/>
                      <a:pt x="105" y="59"/>
                      <a:pt x="126" y="63"/>
                    </a:cubicBezTo>
                    <a:cubicBezTo>
                      <a:pt x="167" y="71"/>
                      <a:pt x="210" y="64"/>
                      <a:pt x="248" y="44"/>
                    </a:cubicBezTo>
                    <a:cubicBezTo>
                      <a:pt x="219" y="16"/>
                      <a:pt x="178" y="0"/>
                      <a:pt x="135" y="3"/>
                    </a:cubicBezTo>
                    <a:cubicBezTo>
                      <a:pt x="61" y="9"/>
                      <a:pt x="4" y="69"/>
                      <a:pt x="0" y="141"/>
                    </a:cubicBezTo>
                    <a:cubicBezTo>
                      <a:pt x="4" y="138"/>
                      <a:pt x="8" y="136"/>
                      <a:pt x="13" y="136"/>
                    </a:cubicBezTo>
                    <a:cubicBezTo>
                      <a:pt x="25" y="135"/>
                      <a:pt x="36" y="144"/>
                      <a:pt x="37" y="157"/>
                    </a:cubicBezTo>
                    <a:cubicBezTo>
                      <a:pt x="41" y="213"/>
                      <a:pt x="41" y="213"/>
                      <a:pt x="41" y="213"/>
                    </a:cubicBezTo>
                    <a:cubicBezTo>
                      <a:pt x="30" y="213"/>
                      <a:pt x="30" y="213"/>
                      <a:pt x="30" y="213"/>
                    </a:cubicBezTo>
                    <a:cubicBezTo>
                      <a:pt x="20" y="214"/>
                      <a:pt x="10" y="210"/>
                      <a:pt x="4" y="204"/>
                    </a:cubicBezTo>
                    <a:cubicBezTo>
                      <a:pt x="4" y="208"/>
                      <a:pt x="4" y="208"/>
                      <a:pt x="4" y="208"/>
                    </a:cubicBezTo>
                    <a:cubicBezTo>
                      <a:pt x="10" y="288"/>
                      <a:pt x="80" y="349"/>
                      <a:pt x="160" y="342"/>
                    </a:cubicBezTo>
                    <a:cubicBezTo>
                      <a:pt x="193" y="340"/>
                      <a:pt x="193" y="340"/>
                      <a:pt x="193" y="340"/>
                    </a:cubicBezTo>
                    <a:cubicBezTo>
                      <a:pt x="255" y="335"/>
                      <a:pt x="302" y="281"/>
                      <a:pt x="297" y="21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17" name="Freeform 349">
                <a:extLst>
                  <a:ext uri="{FF2B5EF4-FFF2-40B4-BE49-F238E27FC236}">
                    <a16:creationId xmlns:a16="http://schemas.microsoft.com/office/drawing/2014/main" id="{4C48800D-C723-41CC-9B11-AF7B3B8ADFBD}"/>
                  </a:ext>
                </a:extLst>
              </p:cNvPr>
              <p:cNvSpPr>
                <a:spLocks/>
              </p:cNvSpPr>
              <p:nvPr/>
            </p:nvSpPr>
            <p:spPr bwMode="auto">
              <a:xfrm>
                <a:off x="2164696" y="5134396"/>
                <a:ext cx="23461" cy="23461"/>
              </a:xfrm>
              <a:custGeom>
                <a:avLst/>
                <a:gdLst>
                  <a:gd name="T0" fmla="*/ 27 w 27"/>
                  <a:gd name="T1" fmla="*/ 13 h 27"/>
                  <a:gd name="T2" fmla="*/ 15 w 27"/>
                  <a:gd name="T3" fmla="*/ 27 h 27"/>
                  <a:gd name="T4" fmla="*/ 1 w 27"/>
                  <a:gd name="T5" fmla="*/ 15 h 27"/>
                  <a:gd name="T6" fmla="*/ 13 w 27"/>
                  <a:gd name="T7" fmla="*/ 1 h 27"/>
                  <a:gd name="T8" fmla="*/ 27 w 27"/>
                  <a:gd name="T9" fmla="*/ 13 h 27"/>
                </a:gdLst>
                <a:ahLst/>
                <a:cxnLst>
                  <a:cxn ang="0">
                    <a:pos x="T0" y="T1"/>
                  </a:cxn>
                  <a:cxn ang="0">
                    <a:pos x="T2" y="T3"/>
                  </a:cxn>
                  <a:cxn ang="0">
                    <a:pos x="T4" y="T5"/>
                  </a:cxn>
                  <a:cxn ang="0">
                    <a:pos x="T6" y="T7"/>
                  </a:cxn>
                  <a:cxn ang="0">
                    <a:pos x="T8" y="T9"/>
                  </a:cxn>
                </a:cxnLst>
                <a:rect l="0" t="0" r="r" b="b"/>
                <a:pathLst>
                  <a:path w="27" h="27">
                    <a:moveTo>
                      <a:pt x="27" y="13"/>
                    </a:moveTo>
                    <a:cubicBezTo>
                      <a:pt x="27" y="20"/>
                      <a:pt x="22" y="26"/>
                      <a:pt x="15" y="27"/>
                    </a:cubicBezTo>
                    <a:cubicBezTo>
                      <a:pt x="8" y="27"/>
                      <a:pt x="1" y="22"/>
                      <a:pt x="1" y="15"/>
                    </a:cubicBezTo>
                    <a:cubicBezTo>
                      <a:pt x="0" y="8"/>
                      <a:pt x="6" y="2"/>
                      <a:pt x="13" y="1"/>
                    </a:cubicBezTo>
                    <a:cubicBezTo>
                      <a:pt x="20" y="0"/>
                      <a:pt x="26" y="6"/>
                      <a:pt x="27" y="13"/>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18" name="Freeform 350">
                <a:extLst>
                  <a:ext uri="{FF2B5EF4-FFF2-40B4-BE49-F238E27FC236}">
                    <a16:creationId xmlns:a16="http://schemas.microsoft.com/office/drawing/2014/main" id="{7DE8ABE9-437B-4F3A-A0E4-E121090BBAA2}"/>
                  </a:ext>
                </a:extLst>
              </p:cNvPr>
              <p:cNvSpPr>
                <a:spLocks/>
              </p:cNvSpPr>
              <p:nvPr/>
            </p:nvSpPr>
            <p:spPr bwMode="auto">
              <a:xfrm>
                <a:off x="2104664" y="5236519"/>
                <a:ext cx="62792" cy="21391"/>
              </a:xfrm>
              <a:custGeom>
                <a:avLst/>
                <a:gdLst>
                  <a:gd name="T0" fmla="*/ 53 w 73"/>
                  <a:gd name="T1" fmla="*/ 22 h 25"/>
                  <a:gd name="T2" fmla="*/ 21 w 73"/>
                  <a:gd name="T3" fmla="*/ 24 h 25"/>
                  <a:gd name="T4" fmla="*/ 0 w 73"/>
                  <a:gd name="T5" fmla="*/ 7 h 25"/>
                  <a:gd name="T6" fmla="*/ 0 w 73"/>
                  <a:gd name="T7" fmla="*/ 5 h 25"/>
                  <a:gd name="T8" fmla="*/ 72 w 73"/>
                  <a:gd name="T9" fmla="*/ 0 h 25"/>
                  <a:gd name="T10" fmla="*/ 53 w 73"/>
                  <a:gd name="T11" fmla="*/ 22 h 25"/>
                </a:gdLst>
                <a:ahLst/>
                <a:cxnLst>
                  <a:cxn ang="0">
                    <a:pos x="T0" y="T1"/>
                  </a:cxn>
                  <a:cxn ang="0">
                    <a:pos x="T2" y="T3"/>
                  </a:cxn>
                  <a:cxn ang="0">
                    <a:pos x="T4" y="T5"/>
                  </a:cxn>
                  <a:cxn ang="0">
                    <a:pos x="T6" y="T7"/>
                  </a:cxn>
                  <a:cxn ang="0">
                    <a:pos x="T8" y="T9"/>
                  </a:cxn>
                  <a:cxn ang="0">
                    <a:pos x="T10" y="T11"/>
                  </a:cxn>
                </a:cxnLst>
                <a:rect l="0" t="0" r="r" b="b"/>
                <a:pathLst>
                  <a:path w="73" h="25">
                    <a:moveTo>
                      <a:pt x="53" y="22"/>
                    </a:moveTo>
                    <a:cubicBezTo>
                      <a:pt x="21" y="24"/>
                      <a:pt x="21" y="24"/>
                      <a:pt x="21" y="24"/>
                    </a:cubicBezTo>
                    <a:cubicBezTo>
                      <a:pt x="11" y="25"/>
                      <a:pt x="1" y="17"/>
                      <a:pt x="0" y="7"/>
                    </a:cubicBezTo>
                    <a:cubicBezTo>
                      <a:pt x="0" y="5"/>
                      <a:pt x="0" y="5"/>
                      <a:pt x="0" y="5"/>
                    </a:cubicBezTo>
                    <a:cubicBezTo>
                      <a:pt x="72" y="0"/>
                      <a:pt x="72" y="0"/>
                      <a:pt x="72" y="0"/>
                    </a:cubicBezTo>
                    <a:cubicBezTo>
                      <a:pt x="73" y="11"/>
                      <a:pt x="64" y="21"/>
                      <a:pt x="53" y="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19" name="Freeform 351">
                <a:extLst>
                  <a:ext uri="{FF2B5EF4-FFF2-40B4-BE49-F238E27FC236}">
                    <a16:creationId xmlns:a16="http://schemas.microsoft.com/office/drawing/2014/main" id="{7455E93F-8DA9-424B-A96E-7939AB7CDA97}"/>
                  </a:ext>
                </a:extLst>
              </p:cNvPr>
              <p:cNvSpPr>
                <a:spLocks/>
              </p:cNvSpPr>
              <p:nvPr/>
            </p:nvSpPr>
            <p:spPr bwMode="auto">
              <a:xfrm>
                <a:off x="2023241" y="5106796"/>
                <a:ext cx="74522" cy="34501"/>
              </a:xfrm>
              <a:custGeom>
                <a:avLst/>
                <a:gdLst>
                  <a:gd name="T0" fmla="*/ 8 w 86"/>
                  <a:gd name="T1" fmla="*/ 40 h 40"/>
                  <a:gd name="T2" fmla="*/ 4 w 86"/>
                  <a:gd name="T3" fmla="*/ 39 h 40"/>
                  <a:gd name="T4" fmla="*/ 2 w 86"/>
                  <a:gd name="T5" fmla="*/ 29 h 40"/>
                  <a:gd name="T6" fmla="*/ 81 w 86"/>
                  <a:gd name="T7" fmla="*/ 10 h 40"/>
                  <a:gd name="T8" fmla="*/ 84 w 86"/>
                  <a:gd name="T9" fmla="*/ 19 h 40"/>
                  <a:gd name="T10" fmla="*/ 76 w 86"/>
                  <a:gd name="T11" fmla="*/ 22 h 40"/>
                  <a:gd name="T12" fmla="*/ 13 w 86"/>
                  <a:gd name="T13" fmla="*/ 37 h 40"/>
                  <a:gd name="T14" fmla="*/ 8 w 86"/>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40">
                    <a:moveTo>
                      <a:pt x="8" y="40"/>
                    </a:moveTo>
                    <a:cubicBezTo>
                      <a:pt x="6" y="40"/>
                      <a:pt x="5" y="40"/>
                      <a:pt x="4" y="39"/>
                    </a:cubicBezTo>
                    <a:cubicBezTo>
                      <a:pt x="1" y="36"/>
                      <a:pt x="0" y="32"/>
                      <a:pt x="2" y="29"/>
                    </a:cubicBezTo>
                    <a:cubicBezTo>
                      <a:pt x="18" y="9"/>
                      <a:pt x="55" y="0"/>
                      <a:pt x="81" y="10"/>
                    </a:cubicBezTo>
                    <a:cubicBezTo>
                      <a:pt x="84" y="11"/>
                      <a:pt x="86" y="15"/>
                      <a:pt x="84" y="19"/>
                    </a:cubicBezTo>
                    <a:cubicBezTo>
                      <a:pt x="83" y="22"/>
                      <a:pt x="79" y="24"/>
                      <a:pt x="76" y="22"/>
                    </a:cubicBezTo>
                    <a:cubicBezTo>
                      <a:pt x="56" y="14"/>
                      <a:pt x="25" y="22"/>
                      <a:pt x="13" y="37"/>
                    </a:cubicBezTo>
                    <a:cubicBezTo>
                      <a:pt x="12" y="39"/>
                      <a:pt x="10" y="40"/>
                      <a:pt x="8" y="4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20" name="Freeform 352">
                <a:extLst>
                  <a:ext uri="{FF2B5EF4-FFF2-40B4-BE49-F238E27FC236}">
                    <a16:creationId xmlns:a16="http://schemas.microsoft.com/office/drawing/2014/main" id="{8F414A47-A9B0-4E5F-B32D-6BF367710D61}"/>
                  </a:ext>
                </a:extLst>
              </p:cNvPr>
              <p:cNvSpPr>
                <a:spLocks/>
              </p:cNvSpPr>
              <p:nvPr/>
            </p:nvSpPr>
            <p:spPr bwMode="auto">
              <a:xfrm>
                <a:off x="2139855" y="5102655"/>
                <a:ext cx="62792" cy="24841"/>
              </a:xfrm>
              <a:custGeom>
                <a:avLst/>
                <a:gdLst>
                  <a:gd name="T0" fmla="*/ 7 w 73"/>
                  <a:gd name="T1" fmla="*/ 29 h 29"/>
                  <a:gd name="T2" fmla="*/ 2 w 73"/>
                  <a:gd name="T3" fmla="*/ 27 h 29"/>
                  <a:gd name="T4" fmla="*/ 3 w 73"/>
                  <a:gd name="T5" fmla="*/ 18 h 29"/>
                  <a:gd name="T6" fmla="*/ 69 w 73"/>
                  <a:gd name="T7" fmla="*/ 13 h 29"/>
                  <a:gd name="T8" fmla="*/ 71 w 73"/>
                  <a:gd name="T9" fmla="*/ 22 h 29"/>
                  <a:gd name="T10" fmla="*/ 62 w 73"/>
                  <a:gd name="T11" fmla="*/ 24 h 29"/>
                  <a:gd name="T12" fmla="*/ 11 w 73"/>
                  <a:gd name="T13" fmla="*/ 28 h 29"/>
                  <a:gd name="T14" fmla="*/ 7 w 73"/>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29">
                    <a:moveTo>
                      <a:pt x="7" y="29"/>
                    </a:moveTo>
                    <a:cubicBezTo>
                      <a:pt x="5" y="29"/>
                      <a:pt x="3" y="28"/>
                      <a:pt x="2" y="27"/>
                    </a:cubicBezTo>
                    <a:cubicBezTo>
                      <a:pt x="0" y="24"/>
                      <a:pt x="0" y="20"/>
                      <a:pt x="3" y="18"/>
                    </a:cubicBezTo>
                    <a:cubicBezTo>
                      <a:pt x="22" y="2"/>
                      <a:pt x="48" y="0"/>
                      <a:pt x="69" y="13"/>
                    </a:cubicBezTo>
                    <a:cubicBezTo>
                      <a:pt x="72" y="14"/>
                      <a:pt x="73" y="18"/>
                      <a:pt x="71" y="22"/>
                    </a:cubicBezTo>
                    <a:cubicBezTo>
                      <a:pt x="69" y="25"/>
                      <a:pt x="65" y="26"/>
                      <a:pt x="62" y="24"/>
                    </a:cubicBezTo>
                    <a:cubicBezTo>
                      <a:pt x="46" y="15"/>
                      <a:pt x="26" y="16"/>
                      <a:pt x="11" y="28"/>
                    </a:cubicBezTo>
                    <a:cubicBezTo>
                      <a:pt x="10" y="29"/>
                      <a:pt x="9" y="29"/>
                      <a:pt x="7" y="2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21" name="Freeform 353">
                <a:extLst>
                  <a:ext uri="{FF2B5EF4-FFF2-40B4-BE49-F238E27FC236}">
                    <a16:creationId xmlns:a16="http://schemas.microsoft.com/office/drawing/2014/main" id="{1B58A296-193F-462A-81EA-81E113120DF3}"/>
                  </a:ext>
                </a:extLst>
              </p:cNvPr>
              <p:cNvSpPr>
                <a:spLocks/>
              </p:cNvSpPr>
              <p:nvPr/>
            </p:nvSpPr>
            <p:spPr bwMode="auto">
              <a:xfrm>
                <a:off x="1789325" y="5430416"/>
                <a:ext cx="162845" cy="298779"/>
              </a:xfrm>
              <a:custGeom>
                <a:avLst/>
                <a:gdLst>
                  <a:gd name="T0" fmla="*/ 132 w 189"/>
                  <a:gd name="T1" fmla="*/ 0 h 346"/>
                  <a:gd name="T2" fmla="*/ 14 w 189"/>
                  <a:gd name="T3" fmla="*/ 223 h 346"/>
                  <a:gd name="T4" fmla="*/ 39 w 189"/>
                  <a:gd name="T5" fmla="*/ 293 h 346"/>
                  <a:gd name="T6" fmla="*/ 168 w 189"/>
                  <a:gd name="T7" fmla="*/ 346 h 346"/>
                  <a:gd name="T8" fmla="*/ 165 w 189"/>
                  <a:gd name="T9" fmla="*/ 280 h 346"/>
                  <a:gd name="T10" fmla="*/ 112 w 189"/>
                  <a:gd name="T11" fmla="*/ 232 h 346"/>
                  <a:gd name="T12" fmla="*/ 189 w 189"/>
                  <a:gd name="T13" fmla="*/ 118 h 346"/>
                  <a:gd name="T14" fmla="*/ 132 w 189"/>
                  <a:gd name="T15" fmla="*/ 0 h 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346">
                    <a:moveTo>
                      <a:pt x="132" y="0"/>
                    </a:moveTo>
                    <a:cubicBezTo>
                      <a:pt x="14" y="223"/>
                      <a:pt x="14" y="223"/>
                      <a:pt x="14" y="223"/>
                    </a:cubicBezTo>
                    <a:cubicBezTo>
                      <a:pt x="0" y="249"/>
                      <a:pt x="11" y="281"/>
                      <a:pt x="39" y="293"/>
                    </a:cubicBezTo>
                    <a:cubicBezTo>
                      <a:pt x="168" y="346"/>
                      <a:pt x="168" y="346"/>
                      <a:pt x="168" y="346"/>
                    </a:cubicBezTo>
                    <a:cubicBezTo>
                      <a:pt x="165" y="280"/>
                      <a:pt x="165" y="280"/>
                      <a:pt x="165" y="280"/>
                    </a:cubicBezTo>
                    <a:cubicBezTo>
                      <a:pt x="112" y="232"/>
                      <a:pt x="112" y="232"/>
                      <a:pt x="112" y="232"/>
                    </a:cubicBezTo>
                    <a:cubicBezTo>
                      <a:pt x="189" y="118"/>
                      <a:pt x="189" y="118"/>
                      <a:pt x="189" y="118"/>
                    </a:cubicBezTo>
                    <a:lnTo>
                      <a:pt x="132" y="0"/>
                    </a:lnTo>
                    <a:close/>
                  </a:path>
                </a:pathLst>
              </a:custGeom>
              <a:solidFill>
                <a:srgbClr val="FADC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22" name="Freeform 354">
                <a:extLst>
                  <a:ext uri="{FF2B5EF4-FFF2-40B4-BE49-F238E27FC236}">
                    <a16:creationId xmlns:a16="http://schemas.microsoft.com/office/drawing/2014/main" id="{E6180E2D-3384-481C-9B5A-52131E1582DE}"/>
                  </a:ext>
                </a:extLst>
              </p:cNvPr>
              <p:cNvSpPr>
                <a:spLocks/>
              </p:cNvSpPr>
              <p:nvPr/>
            </p:nvSpPr>
            <p:spPr bwMode="auto">
              <a:xfrm>
                <a:off x="1859016" y="5485617"/>
                <a:ext cx="93843" cy="108333"/>
              </a:xfrm>
              <a:custGeom>
                <a:avLst/>
                <a:gdLst>
                  <a:gd name="T0" fmla="*/ 3 w 109"/>
                  <a:gd name="T1" fmla="*/ 25 h 125"/>
                  <a:gd name="T2" fmla="*/ 60 w 109"/>
                  <a:gd name="T3" fmla="*/ 125 h 125"/>
                  <a:gd name="T4" fmla="*/ 109 w 109"/>
                  <a:gd name="T5" fmla="*/ 48 h 125"/>
                  <a:gd name="T6" fmla="*/ 17 w 109"/>
                  <a:gd name="T7" fmla="*/ 0 h 125"/>
                  <a:gd name="T8" fmla="*/ 3 w 109"/>
                  <a:gd name="T9" fmla="*/ 25 h 125"/>
                </a:gdLst>
                <a:ahLst/>
                <a:cxnLst>
                  <a:cxn ang="0">
                    <a:pos x="T0" y="T1"/>
                  </a:cxn>
                  <a:cxn ang="0">
                    <a:pos x="T2" y="T3"/>
                  </a:cxn>
                  <a:cxn ang="0">
                    <a:pos x="T4" y="T5"/>
                  </a:cxn>
                  <a:cxn ang="0">
                    <a:pos x="T6" y="T7"/>
                  </a:cxn>
                  <a:cxn ang="0">
                    <a:pos x="T8" y="T9"/>
                  </a:cxn>
                </a:cxnLst>
                <a:rect l="0" t="0" r="r" b="b"/>
                <a:pathLst>
                  <a:path w="109" h="125">
                    <a:moveTo>
                      <a:pt x="3" y="25"/>
                    </a:moveTo>
                    <a:cubicBezTo>
                      <a:pt x="3" y="25"/>
                      <a:pt x="0" y="100"/>
                      <a:pt x="60" y="125"/>
                    </a:cubicBezTo>
                    <a:cubicBezTo>
                      <a:pt x="73" y="106"/>
                      <a:pt x="109" y="48"/>
                      <a:pt x="109" y="48"/>
                    </a:cubicBezTo>
                    <a:cubicBezTo>
                      <a:pt x="17" y="0"/>
                      <a:pt x="17" y="0"/>
                      <a:pt x="17" y="0"/>
                    </a:cubicBezTo>
                    <a:lnTo>
                      <a:pt x="3" y="25"/>
                    </a:lnTo>
                    <a:close/>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23" name="Freeform 355">
                <a:extLst>
                  <a:ext uri="{FF2B5EF4-FFF2-40B4-BE49-F238E27FC236}">
                    <a16:creationId xmlns:a16="http://schemas.microsoft.com/office/drawing/2014/main" id="{CF4CA8DE-DFF9-46AA-809D-ECAA9430C98A}"/>
                  </a:ext>
                </a:extLst>
              </p:cNvPr>
              <p:cNvSpPr>
                <a:spLocks/>
              </p:cNvSpPr>
              <p:nvPr/>
            </p:nvSpPr>
            <p:spPr bwMode="auto">
              <a:xfrm>
                <a:off x="1857636" y="5405575"/>
                <a:ext cx="139384" cy="142144"/>
              </a:xfrm>
              <a:custGeom>
                <a:avLst/>
                <a:gdLst>
                  <a:gd name="T0" fmla="*/ 70 w 162"/>
                  <a:gd name="T1" fmla="*/ 0 h 165"/>
                  <a:gd name="T2" fmla="*/ 0 w 162"/>
                  <a:gd name="T3" fmla="*/ 98 h 165"/>
                  <a:gd name="T4" fmla="*/ 131 w 162"/>
                  <a:gd name="T5" fmla="*/ 165 h 165"/>
                  <a:gd name="T6" fmla="*/ 150 w 162"/>
                  <a:gd name="T7" fmla="*/ 41 h 165"/>
                  <a:gd name="T8" fmla="*/ 70 w 162"/>
                  <a:gd name="T9" fmla="*/ 0 h 165"/>
                </a:gdLst>
                <a:ahLst/>
                <a:cxnLst>
                  <a:cxn ang="0">
                    <a:pos x="T0" y="T1"/>
                  </a:cxn>
                  <a:cxn ang="0">
                    <a:pos x="T2" y="T3"/>
                  </a:cxn>
                  <a:cxn ang="0">
                    <a:pos x="T4" y="T5"/>
                  </a:cxn>
                  <a:cxn ang="0">
                    <a:pos x="T6" y="T7"/>
                  </a:cxn>
                  <a:cxn ang="0">
                    <a:pos x="T8" y="T9"/>
                  </a:cxn>
                </a:cxnLst>
                <a:rect l="0" t="0" r="r" b="b"/>
                <a:pathLst>
                  <a:path w="162" h="165">
                    <a:moveTo>
                      <a:pt x="70" y="0"/>
                    </a:moveTo>
                    <a:cubicBezTo>
                      <a:pt x="0" y="98"/>
                      <a:pt x="0" y="98"/>
                      <a:pt x="0" y="98"/>
                    </a:cubicBezTo>
                    <a:cubicBezTo>
                      <a:pt x="0" y="98"/>
                      <a:pt x="42" y="154"/>
                      <a:pt x="131" y="165"/>
                    </a:cubicBezTo>
                    <a:cubicBezTo>
                      <a:pt x="162" y="96"/>
                      <a:pt x="150" y="41"/>
                      <a:pt x="150" y="41"/>
                    </a:cubicBezTo>
                    <a:lnTo>
                      <a:pt x="70" y="0"/>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24" name="Freeform 356">
                <a:extLst>
                  <a:ext uri="{FF2B5EF4-FFF2-40B4-BE49-F238E27FC236}">
                    <a16:creationId xmlns:a16="http://schemas.microsoft.com/office/drawing/2014/main" id="{16DE075D-A58C-439A-BEE6-B78C6CEFA367}"/>
                  </a:ext>
                </a:extLst>
              </p:cNvPr>
              <p:cNvSpPr>
                <a:spLocks/>
              </p:cNvSpPr>
              <p:nvPr/>
            </p:nvSpPr>
            <p:spPr bwMode="auto">
              <a:xfrm>
                <a:off x="1885927" y="5401435"/>
                <a:ext cx="377442" cy="396762"/>
              </a:xfrm>
              <a:custGeom>
                <a:avLst/>
                <a:gdLst>
                  <a:gd name="T0" fmla="*/ 226 w 439"/>
                  <a:gd name="T1" fmla="*/ 452 h 460"/>
                  <a:gd name="T2" fmla="*/ 6 w 439"/>
                  <a:gd name="T3" fmla="*/ 171 h 460"/>
                  <a:gd name="T4" fmla="*/ 9 w 439"/>
                  <a:gd name="T5" fmla="*/ 148 h 460"/>
                  <a:gd name="T6" fmla="*/ 190 w 439"/>
                  <a:gd name="T7" fmla="*/ 6 h 460"/>
                  <a:gd name="T8" fmla="*/ 213 w 439"/>
                  <a:gd name="T9" fmla="*/ 8 h 460"/>
                  <a:gd name="T10" fmla="*/ 433 w 439"/>
                  <a:gd name="T11" fmla="*/ 289 h 460"/>
                  <a:gd name="T12" fmla="*/ 430 w 439"/>
                  <a:gd name="T13" fmla="*/ 312 h 460"/>
                  <a:gd name="T14" fmla="*/ 249 w 439"/>
                  <a:gd name="T15" fmla="*/ 454 h 460"/>
                  <a:gd name="T16" fmla="*/ 226 w 439"/>
                  <a:gd name="T17" fmla="*/ 452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9" h="460">
                    <a:moveTo>
                      <a:pt x="226" y="452"/>
                    </a:moveTo>
                    <a:cubicBezTo>
                      <a:pt x="6" y="171"/>
                      <a:pt x="6" y="171"/>
                      <a:pt x="6" y="171"/>
                    </a:cubicBezTo>
                    <a:cubicBezTo>
                      <a:pt x="0" y="164"/>
                      <a:pt x="1" y="154"/>
                      <a:pt x="9" y="148"/>
                    </a:cubicBezTo>
                    <a:cubicBezTo>
                      <a:pt x="190" y="6"/>
                      <a:pt x="190" y="6"/>
                      <a:pt x="190" y="6"/>
                    </a:cubicBezTo>
                    <a:cubicBezTo>
                      <a:pt x="197" y="0"/>
                      <a:pt x="208" y="1"/>
                      <a:pt x="213" y="8"/>
                    </a:cubicBezTo>
                    <a:cubicBezTo>
                      <a:pt x="433" y="289"/>
                      <a:pt x="433" y="289"/>
                      <a:pt x="433" y="289"/>
                    </a:cubicBezTo>
                    <a:cubicBezTo>
                      <a:pt x="439" y="296"/>
                      <a:pt x="438" y="306"/>
                      <a:pt x="430" y="312"/>
                    </a:cubicBezTo>
                    <a:cubicBezTo>
                      <a:pt x="249" y="454"/>
                      <a:pt x="249" y="454"/>
                      <a:pt x="249" y="454"/>
                    </a:cubicBezTo>
                    <a:cubicBezTo>
                      <a:pt x="242" y="460"/>
                      <a:pt x="231" y="459"/>
                      <a:pt x="226" y="452"/>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25" name="Freeform 357">
                <a:extLst>
                  <a:ext uri="{FF2B5EF4-FFF2-40B4-BE49-F238E27FC236}">
                    <a16:creationId xmlns:a16="http://schemas.microsoft.com/office/drawing/2014/main" id="{3361343F-24B7-42E5-92B8-4CC06E030CAB}"/>
                  </a:ext>
                </a:extLst>
              </p:cNvPr>
              <p:cNvSpPr>
                <a:spLocks/>
              </p:cNvSpPr>
              <p:nvPr/>
            </p:nvSpPr>
            <p:spPr bwMode="auto">
              <a:xfrm>
                <a:off x="1913528" y="5429725"/>
                <a:ext cx="322240" cy="340180"/>
              </a:xfrm>
              <a:custGeom>
                <a:avLst/>
                <a:gdLst>
                  <a:gd name="T0" fmla="*/ 255 w 467"/>
                  <a:gd name="T1" fmla="*/ 493 h 493"/>
                  <a:gd name="T2" fmla="*/ 0 w 467"/>
                  <a:gd name="T3" fmla="*/ 166 h 493"/>
                  <a:gd name="T4" fmla="*/ 212 w 467"/>
                  <a:gd name="T5" fmla="*/ 0 h 493"/>
                  <a:gd name="T6" fmla="*/ 467 w 467"/>
                  <a:gd name="T7" fmla="*/ 327 h 493"/>
                  <a:gd name="T8" fmla="*/ 255 w 467"/>
                  <a:gd name="T9" fmla="*/ 493 h 493"/>
                </a:gdLst>
                <a:ahLst/>
                <a:cxnLst>
                  <a:cxn ang="0">
                    <a:pos x="T0" y="T1"/>
                  </a:cxn>
                  <a:cxn ang="0">
                    <a:pos x="T2" y="T3"/>
                  </a:cxn>
                  <a:cxn ang="0">
                    <a:pos x="T4" y="T5"/>
                  </a:cxn>
                  <a:cxn ang="0">
                    <a:pos x="T6" y="T7"/>
                  </a:cxn>
                  <a:cxn ang="0">
                    <a:pos x="T8" y="T9"/>
                  </a:cxn>
                </a:cxnLst>
                <a:rect l="0" t="0" r="r" b="b"/>
                <a:pathLst>
                  <a:path w="467" h="493">
                    <a:moveTo>
                      <a:pt x="255" y="493"/>
                    </a:moveTo>
                    <a:lnTo>
                      <a:pt x="0" y="166"/>
                    </a:lnTo>
                    <a:lnTo>
                      <a:pt x="212" y="0"/>
                    </a:lnTo>
                    <a:lnTo>
                      <a:pt x="467" y="327"/>
                    </a:lnTo>
                    <a:lnTo>
                      <a:pt x="255" y="49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26" name="Freeform 358">
                <a:extLst>
                  <a:ext uri="{FF2B5EF4-FFF2-40B4-BE49-F238E27FC236}">
                    <a16:creationId xmlns:a16="http://schemas.microsoft.com/office/drawing/2014/main" id="{44785450-E50E-4C55-8D6C-3BC536EB3C1C}"/>
                  </a:ext>
                </a:extLst>
              </p:cNvPr>
              <p:cNvSpPr>
                <a:spLocks/>
              </p:cNvSpPr>
              <p:nvPr/>
            </p:nvSpPr>
            <p:spPr bwMode="auto">
              <a:xfrm>
                <a:off x="1913528" y="5429036"/>
                <a:ext cx="154565" cy="126964"/>
              </a:xfrm>
              <a:custGeom>
                <a:avLst/>
                <a:gdLst>
                  <a:gd name="T0" fmla="*/ 12 w 224"/>
                  <a:gd name="T1" fmla="*/ 184 h 184"/>
                  <a:gd name="T2" fmla="*/ 224 w 224"/>
                  <a:gd name="T3" fmla="*/ 15 h 184"/>
                  <a:gd name="T4" fmla="*/ 213 w 224"/>
                  <a:gd name="T5" fmla="*/ 0 h 184"/>
                  <a:gd name="T6" fmla="*/ 0 w 224"/>
                  <a:gd name="T7" fmla="*/ 167 h 184"/>
                  <a:gd name="T8" fmla="*/ 12 w 224"/>
                  <a:gd name="T9" fmla="*/ 184 h 184"/>
                </a:gdLst>
                <a:ahLst/>
                <a:cxnLst>
                  <a:cxn ang="0">
                    <a:pos x="T0" y="T1"/>
                  </a:cxn>
                  <a:cxn ang="0">
                    <a:pos x="T2" y="T3"/>
                  </a:cxn>
                  <a:cxn ang="0">
                    <a:pos x="T4" y="T5"/>
                  </a:cxn>
                  <a:cxn ang="0">
                    <a:pos x="T6" y="T7"/>
                  </a:cxn>
                  <a:cxn ang="0">
                    <a:pos x="T8" y="T9"/>
                  </a:cxn>
                </a:cxnLst>
                <a:rect l="0" t="0" r="r" b="b"/>
                <a:pathLst>
                  <a:path w="224" h="184">
                    <a:moveTo>
                      <a:pt x="12" y="184"/>
                    </a:moveTo>
                    <a:lnTo>
                      <a:pt x="224" y="15"/>
                    </a:lnTo>
                    <a:lnTo>
                      <a:pt x="213" y="0"/>
                    </a:lnTo>
                    <a:lnTo>
                      <a:pt x="0" y="167"/>
                    </a:lnTo>
                    <a:lnTo>
                      <a:pt x="12" y="184"/>
                    </a:lnTo>
                    <a:close/>
                  </a:path>
                </a:pathLst>
              </a:custGeom>
              <a:solidFill>
                <a:srgbClr val="2770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27" name="Freeform 359">
                <a:extLst>
                  <a:ext uri="{FF2B5EF4-FFF2-40B4-BE49-F238E27FC236}">
                    <a16:creationId xmlns:a16="http://schemas.microsoft.com/office/drawing/2014/main" id="{E79E6F76-D854-43B9-943A-22E01D9569D2}"/>
                  </a:ext>
                </a:extLst>
              </p:cNvPr>
              <p:cNvSpPr>
                <a:spLocks/>
              </p:cNvSpPr>
              <p:nvPr/>
            </p:nvSpPr>
            <p:spPr bwMode="auto">
              <a:xfrm>
                <a:off x="2068783" y="5561520"/>
                <a:ext cx="78662" cy="63482"/>
              </a:xfrm>
              <a:custGeom>
                <a:avLst/>
                <a:gdLst>
                  <a:gd name="T0" fmla="*/ 5 w 114"/>
                  <a:gd name="T1" fmla="*/ 92 h 92"/>
                  <a:gd name="T2" fmla="*/ 114 w 114"/>
                  <a:gd name="T3" fmla="*/ 5 h 92"/>
                  <a:gd name="T4" fmla="*/ 109 w 114"/>
                  <a:gd name="T5" fmla="*/ 0 h 92"/>
                  <a:gd name="T6" fmla="*/ 0 w 114"/>
                  <a:gd name="T7" fmla="*/ 86 h 92"/>
                  <a:gd name="T8" fmla="*/ 5 w 114"/>
                  <a:gd name="T9" fmla="*/ 92 h 92"/>
                </a:gdLst>
                <a:ahLst/>
                <a:cxnLst>
                  <a:cxn ang="0">
                    <a:pos x="T0" y="T1"/>
                  </a:cxn>
                  <a:cxn ang="0">
                    <a:pos x="T2" y="T3"/>
                  </a:cxn>
                  <a:cxn ang="0">
                    <a:pos x="T4" y="T5"/>
                  </a:cxn>
                  <a:cxn ang="0">
                    <a:pos x="T6" y="T7"/>
                  </a:cxn>
                  <a:cxn ang="0">
                    <a:pos x="T8" y="T9"/>
                  </a:cxn>
                </a:cxnLst>
                <a:rect l="0" t="0" r="r" b="b"/>
                <a:pathLst>
                  <a:path w="114" h="92">
                    <a:moveTo>
                      <a:pt x="5" y="92"/>
                    </a:moveTo>
                    <a:lnTo>
                      <a:pt x="114" y="5"/>
                    </a:lnTo>
                    <a:lnTo>
                      <a:pt x="109" y="0"/>
                    </a:lnTo>
                    <a:lnTo>
                      <a:pt x="0" y="86"/>
                    </a:lnTo>
                    <a:lnTo>
                      <a:pt x="5" y="9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28" name="Freeform 360">
                <a:extLst>
                  <a:ext uri="{FF2B5EF4-FFF2-40B4-BE49-F238E27FC236}">
                    <a16:creationId xmlns:a16="http://schemas.microsoft.com/office/drawing/2014/main" id="{7DCC81B7-8738-43D7-B083-17DD7CCEB25E}"/>
                  </a:ext>
                </a:extLst>
              </p:cNvPr>
              <p:cNvSpPr>
                <a:spLocks/>
              </p:cNvSpPr>
              <p:nvPr/>
            </p:nvSpPr>
            <p:spPr bwMode="auto">
              <a:xfrm>
                <a:off x="2032902" y="5577390"/>
                <a:ext cx="126274" cy="100743"/>
              </a:xfrm>
              <a:custGeom>
                <a:avLst/>
                <a:gdLst>
                  <a:gd name="T0" fmla="*/ 4 w 183"/>
                  <a:gd name="T1" fmla="*/ 146 h 146"/>
                  <a:gd name="T2" fmla="*/ 183 w 183"/>
                  <a:gd name="T3" fmla="*/ 5 h 146"/>
                  <a:gd name="T4" fmla="*/ 180 w 183"/>
                  <a:gd name="T5" fmla="*/ 0 h 146"/>
                  <a:gd name="T6" fmla="*/ 0 w 183"/>
                  <a:gd name="T7" fmla="*/ 141 h 146"/>
                  <a:gd name="T8" fmla="*/ 4 w 183"/>
                  <a:gd name="T9" fmla="*/ 146 h 146"/>
                </a:gdLst>
                <a:ahLst/>
                <a:cxnLst>
                  <a:cxn ang="0">
                    <a:pos x="T0" y="T1"/>
                  </a:cxn>
                  <a:cxn ang="0">
                    <a:pos x="T2" y="T3"/>
                  </a:cxn>
                  <a:cxn ang="0">
                    <a:pos x="T4" y="T5"/>
                  </a:cxn>
                  <a:cxn ang="0">
                    <a:pos x="T6" y="T7"/>
                  </a:cxn>
                  <a:cxn ang="0">
                    <a:pos x="T8" y="T9"/>
                  </a:cxn>
                </a:cxnLst>
                <a:rect l="0" t="0" r="r" b="b"/>
                <a:pathLst>
                  <a:path w="183" h="146">
                    <a:moveTo>
                      <a:pt x="4" y="146"/>
                    </a:moveTo>
                    <a:lnTo>
                      <a:pt x="183" y="5"/>
                    </a:lnTo>
                    <a:lnTo>
                      <a:pt x="180" y="0"/>
                    </a:lnTo>
                    <a:lnTo>
                      <a:pt x="0" y="141"/>
                    </a:lnTo>
                    <a:lnTo>
                      <a:pt x="4" y="146"/>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29" name="Freeform 361">
                <a:extLst>
                  <a:ext uri="{FF2B5EF4-FFF2-40B4-BE49-F238E27FC236}">
                    <a16:creationId xmlns:a16="http://schemas.microsoft.com/office/drawing/2014/main" id="{767A50A2-9562-4C82-AEF6-E2843BF75942}"/>
                  </a:ext>
                </a:extLst>
              </p:cNvPr>
              <p:cNvSpPr>
                <a:spLocks/>
              </p:cNvSpPr>
              <p:nvPr/>
            </p:nvSpPr>
            <p:spPr bwMode="auto">
              <a:xfrm>
                <a:off x="2045322" y="5591880"/>
                <a:ext cx="126274" cy="102123"/>
              </a:xfrm>
              <a:custGeom>
                <a:avLst/>
                <a:gdLst>
                  <a:gd name="T0" fmla="*/ 3 w 183"/>
                  <a:gd name="T1" fmla="*/ 148 h 148"/>
                  <a:gd name="T2" fmla="*/ 183 w 183"/>
                  <a:gd name="T3" fmla="*/ 5 h 148"/>
                  <a:gd name="T4" fmla="*/ 178 w 183"/>
                  <a:gd name="T5" fmla="*/ 0 h 148"/>
                  <a:gd name="T6" fmla="*/ 0 w 183"/>
                  <a:gd name="T7" fmla="*/ 143 h 148"/>
                  <a:gd name="T8" fmla="*/ 3 w 183"/>
                  <a:gd name="T9" fmla="*/ 148 h 148"/>
                </a:gdLst>
                <a:ahLst/>
                <a:cxnLst>
                  <a:cxn ang="0">
                    <a:pos x="T0" y="T1"/>
                  </a:cxn>
                  <a:cxn ang="0">
                    <a:pos x="T2" y="T3"/>
                  </a:cxn>
                  <a:cxn ang="0">
                    <a:pos x="T4" y="T5"/>
                  </a:cxn>
                  <a:cxn ang="0">
                    <a:pos x="T6" y="T7"/>
                  </a:cxn>
                  <a:cxn ang="0">
                    <a:pos x="T8" y="T9"/>
                  </a:cxn>
                </a:cxnLst>
                <a:rect l="0" t="0" r="r" b="b"/>
                <a:pathLst>
                  <a:path w="183" h="148">
                    <a:moveTo>
                      <a:pt x="3" y="148"/>
                    </a:moveTo>
                    <a:lnTo>
                      <a:pt x="183" y="5"/>
                    </a:lnTo>
                    <a:lnTo>
                      <a:pt x="178" y="0"/>
                    </a:lnTo>
                    <a:lnTo>
                      <a:pt x="0" y="143"/>
                    </a:lnTo>
                    <a:lnTo>
                      <a:pt x="3"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30" name="Freeform 362">
                <a:extLst>
                  <a:ext uri="{FF2B5EF4-FFF2-40B4-BE49-F238E27FC236}">
                    <a16:creationId xmlns:a16="http://schemas.microsoft.com/office/drawing/2014/main" id="{DC55B561-745B-4FCB-839B-32A8A0FF671A}"/>
                  </a:ext>
                </a:extLst>
              </p:cNvPr>
              <p:cNvSpPr>
                <a:spLocks/>
              </p:cNvSpPr>
              <p:nvPr/>
            </p:nvSpPr>
            <p:spPr bwMode="auto">
              <a:xfrm>
                <a:off x="2057053" y="5607751"/>
                <a:ext cx="126274" cy="100743"/>
              </a:xfrm>
              <a:custGeom>
                <a:avLst/>
                <a:gdLst>
                  <a:gd name="T0" fmla="*/ 4 w 183"/>
                  <a:gd name="T1" fmla="*/ 146 h 146"/>
                  <a:gd name="T2" fmla="*/ 183 w 183"/>
                  <a:gd name="T3" fmla="*/ 5 h 146"/>
                  <a:gd name="T4" fmla="*/ 178 w 183"/>
                  <a:gd name="T5" fmla="*/ 0 h 146"/>
                  <a:gd name="T6" fmla="*/ 0 w 183"/>
                  <a:gd name="T7" fmla="*/ 141 h 146"/>
                  <a:gd name="T8" fmla="*/ 4 w 183"/>
                  <a:gd name="T9" fmla="*/ 146 h 146"/>
                </a:gdLst>
                <a:ahLst/>
                <a:cxnLst>
                  <a:cxn ang="0">
                    <a:pos x="T0" y="T1"/>
                  </a:cxn>
                  <a:cxn ang="0">
                    <a:pos x="T2" y="T3"/>
                  </a:cxn>
                  <a:cxn ang="0">
                    <a:pos x="T4" y="T5"/>
                  </a:cxn>
                  <a:cxn ang="0">
                    <a:pos x="T6" y="T7"/>
                  </a:cxn>
                  <a:cxn ang="0">
                    <a:pos x="T8" y="T9"/>
                  </a:cxn>
                </a:cxnLst>
                <a:rect l="0" t="0" r="r" b="b"/>
                <a:pathLst>
                  <a:path w="183" h="146">
                    <a:moveTo>
                      <a:pt x="4" y="146"/>
                    </a:moveTo>
                    <a:lnTo>
                      <a:pt x="183" y="5"/>
                    </a:lnTo>
                    <a:lnTo>
                      <a:pt x="178" y="0"/>
                    </a:lnTo>
                    <a:lnTo>
                      <a:pt x="0" y="141"/>
                    </a:lnTo>
                    <a:lnTo>
                      <a:pt x="4" y="146"/>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31" name="Freeform 363">
                <a:extLst>
                  <a:ext uri="{FF2B5EF4-FFF2-40B4-BE49-F238E27FC236}">
                    <a16:creationId xmlns:a16="http://schemas.microsoft.com/office/drawing/2014/main" id="{282C5A7D-3C96-4005-A5B4-F8A43E5C7080}"/>
                  </a:ext>
                </a:extLst>
              </p:cNvPr>
              <p:cNvSpPr>
                <a:spLocks/>
              </p:cNvSpPr>
              <p:nvPr/>
            </p:nvSpPr>
            <p:spPr bwMode="auto">
              <a:xfrm>
                <a:off x="2068093" y="5622241"/>
                <a:ext cx="126964" cy="102123"/>
              </a:xfrm>
              <a:custGeom>
                <a:avLst/>
                <a:gdLst>
                  <a:gd name="T0" fmla="*/ 5 w 184"/>
                  <a:gd name="T1" fmla="*/ 148 h 148"/>
                  <a:gd name="T2" fmla="*/ 184 w 184"/>
                  <a:gd name="T3" fmla="*/ 5 h 148"/>
                  <a:gd name="T4" fmla="*/ 180 w 184"/>
                  <a:gd name="T5" fmla="*/ 0 h 148"/>
                  <a:gd name="T6" fmla="*/ 0 w 184"/>
                  <a:gd name="T7" fmla="*/ 143 h 148"/>
                  <a:gd name="T8" fmla="*/ 5 w 184"/>
                  <a:gd name="T9" fmla="*/ 148 h 148"/>
                </a:gdLst>
                <a:ahLst/>
                <a:cxnLst>
                  <a:cxn ang="0">
                    <a:pos x="T0" y="T1"/>
                  </a:cxn>
                  <a:cxn ang="0">
                    <a:pos x="T2" y="T3"/>
                  </a:cxn>
                  <a:cxn ang="0">
                    <a:pos x="T4" y="T5"/>
                  </a:cxn>
                  <a:cxn ang="0">
                    <a:pos x="T6" y="T7"/>
                  </a:cxn>
                  <a:cxn ang="0">
                    <a:pos x="T8" y="T9"/>
                  </a:cxn>
                </a:cxnLst>
                <a:rect l="0" t="0" r="r" b="b"/>
                <a:pathLst>
                  <a:path w="184" h="148">
                    <a:moveTo>
                      <a:pt x="5" y="148"/>
                    </a:moveTo>
                    <a:lnTo>
                      <a:pt x="184" y="5"/>
                    </a:lnTo>
                    <a:lnTo>
                      <a:pt x="180" y="0"/>
                    </a:lnTo>
                    <a:lnTo>
                      <a:pt x="0" y="143"/>
                    </a:lnTo>
                    <a:lnTo>
                      <a:pt x="5"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32" name="Freeform 364">
                <a:extLst>
                  <a:ext uri="{FF2B5EF4-FFF2-40B4-BE49-F238E27FC236}">
                    <a16:creationId xmlns:a16="http://schemas.microsoft.com/office/drawing/2014/main" id="{0C453DE5-E005-4450-9900-9B1D3D3255A0}"/>
                  </a:ext>
                </a:extLst>
              </p:cNvPr>
              <p:cNvSpPr>
                <a:spLocks/>
              </p:cNvSpPr>
              <p:nvPr/>
            </p:nvSpPr>
            <p:spPr bwMode="auto">
              <a:xfrm>
                <a:off x="2080513" y="5638112"/>
                <a:ext cx="126274" cy="100743"/>
              </a:xfrm>
              <a:custGeom>
                <a:avLst/>
                <a:gdLst>
                  <a:gd name="T0" fmla="*/ 5 w 183"/>
                  <a:gd name="T1" fmla="*/ 146 h 146"/>
                  <a:gd name="T2" fmla="*/ 183 w 183"/>
                  <a:gd name="T3" fmla="*/ 5 h 146"/>
                  <a:gd name="T4" fmla="*/ 179 w 183"/>
                  <a:gd name="T5" fmla="*/ 0 h 146"/>
                  <a:gd name="T6" fmla="*/ 0 w 183"/>
                  <a:gd name="T7" fmla="*/ 141 h 146"/>
                  <a:gd name="T8" fmla="*/ 5 w 183"/>
                  <a:gd name="T9" fmla="*/ 146 h 146"/>
                </a:gdLst>
                <a:ahLst/>
                <a:cxnLst>
                  <a:cxn ang="0">
                    <a:pos x="T0" y="T1"/>
                  </a:cxn>
                  <a:cxn ang="0">
                    <a:pos x="T2" y="T3"/>
                  </a:cxn>
                  <a:cxn ang="0">
                    <a:pos x="T4" y="T5"/>
                  </a:cxn>
                  <a:cxn ang="0">
                    <a:pos x="T6" y="T7"/>
                  </a:cxn>
                  <a:cxn ang="0">
                    <a:pos x="T8" y="T9"/>
                  </a:cxn>
                </a:cxnLst>
                <a:rect l="0" t="0" r="r" b="b"/>
                <a:pathLst>
                  <a:path w="183" h="146">
                    <a:moveTo>
                      <a:pt x="5" y="146"/>
                    </a:moveTo>
                    <a:lnTo>
                      <a:pt x="183" y="5"/>
                    </a:lnTo>
                    <a:lnTo>
                      <a:pt x="179" y="0"/>
                    </a:lnTo>
                    <a:lnTo>
                      <a:pt x="0" y="141"/>
                    </a:lnTo>
                    <a:lnTo>
                      <a:pt x="5" y="146"/>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33" name="Freeform 365">
                <a:extLst>
                  <a:ext uri="{FF2B5EF4-FFF2-40B4-BE49-F238E27FC236}">
                    <a16:creationId xmlns:a16="http://schemas.microsoft.com/office/drawing/2014/main" id="{A28A57D4-E700-4FA2-A7AA-B3CDDAEB095E}"/>
                  </a:ext>
                </a:extLst>
              </p:cNvPr>
              <p:cNvSpPr>
                <a:spLocks/>
              </p:cNvSpPr>
              <p:nvPr/>
            </p:nvSpPr>
            <p:spPr bwMode="auto">
              <a:xfrm>
                <a:off x="1976320" y="5560829"/>
                <a:ext cx="95913" cy="102813"/>
              </a:xfrm>
              <a:custGeom>
                <a:avLst/>
                <a:gdLst>
                  <a:gd name="T0" fmla="*/ 108 w 112"/>
                  <a:gd name="T1" fmla="*/ 69 h 119"/>
                  <a:gd name="T2" fmla="*/ 81 w 112"/>
                  <a:gd name="T3" fmla="*/ 91 h 119"/>
                  <a:gd name="T4" fmla="*/ 73 w 112"/>
                  <a:gd name="T5" fmla="*/ 36 h 119"/>
                  <a:gd name="T6" fmla="*/ 21 w 112"/>
                  <a:gd name="T7" fmla="*/ 15 h 119"/>
                  <a:gd name="T8" fmla="*/ 19 w 112"/>
                  <a:gd name="T9" fmla="*/ 16 h 119"/>
                  <a:gd name="T10" fmla="*/ 28 w 112"/>
                  <a:gd name="T11" fmla="*/ 72 h 119"/>
                  <a:gd name="T12" fmla="*/ 79 w 112"/>
                  <a:gd name="T13" fmla="*/ 92 h 119"/>
                  <a:gd name="T14" fmla="*/ 52 w 112"/>
                  <a:gd name="T15" fmla="*/ 114 h 119"/>
                  <a:gd name="T16" fmla="*/ 55 w 112"/>
                  <a:gd name="T17" fmla="*/ 119 h 119"/>
                  <a:gd name="T18" fmla="*/ 112 w 112"/>
                  <a:gd name="T19" fmla="*/ 74 h 119"/>
                  <a:gd name="T20" fmla="*/ 108 w 112"/>
                  <a:gd name="T21" fmla="*/ 6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19">
                    <a:moveTo>
                      <a:pt x="108" y="69"/>
                    </a:moveTo>
                    <a:cubicBezTo>
                      <a:pt x="81" y="91"/>
                      <a:pt x="81" y="91"/>
                      <a:pt x="81" y="91"/>
                    </a:cubicBezTo>
                    <a:cubicBezTo>
                      <a:pt x="80" y="87"/>
                      <a:pt x="79" y="74"/>
                      <a:pt x="73" y="36"/>
                    </a:cubicBezTo>
                    <a:cubicBezTo>
                      <a:pt x="70" y="11"/>
                      <a:pt x="40" y="0"/>
                      <a:pt x="21" y="15"/>
                    </a:cubicBezTo>
                    <a:cubicBezTo>
                      <a:pt x="19" y="16"/>
                      <a:pt x="19" y="16"/>
                      <a:pt x="19" y="16"/>
                    </a:cubicBezTo>
                    <a:cubicBezTo>
                      <a:pt x="0" y="32"/>
                      <a:pt x="4" y="63"/>
                      <a:pt x="28" y="72"/>
                    </a:cubicBezTo>
                    <a:cubicBezTo>
                      <a:pt x="28" y="72"/>
                      <a:pt x="28" y="72"/>
                      <a:pt x="79" y="92"/>
                    </a:cubicBezTo>
                    <a:cubicBezTo>
                      <a:pt x="52" y="114"/>
                      <a:pt x="52" y="114"/>
                      <a:pt x="52" y="114"/>
                    </a:cubicBezTo>
                    <a:cubicBezTo>
                      <a:pt x="55" y="119"/>
                      <a:pt x="55" y="119"/>
                      <a:pt x="55" y="119"/>
                    </a:cubicBezTo>
                    <a:cubicBezTo>
                      <a:pt x="112" y="74"/>
                      <a:pt x="112" y="74"/>
                      <a:pt x="112" y="74"/>
                    </a:cubicBezTo>
                    <a:lnTo>
                      <a:pt x="108" y="69"/>
                    </a:lnTo>
                    <a:close/>
                  </a:path>
                </a:pathLst>
              </a:custGeom>
              <a:solidFill>
                <a:srgbClr val="5E2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34" name="Freeform 366">
                <a:extLst>
                  <a:ext uri="{FF2B5EF4-FFF2-40B4-BE49-F238E27FC236}">
                    <a16:creationId xmlns:a16="http://schemas.microsoft.com/office/drawing/2014/main" id="{A64E9717-0FE2-457E-BF46-7A1B54B50CAD}"/>
                  </a:ext>
                </a:extLst>
              </p:cNvPr>
              <p:cNvSpPr>
                <a:spLocks/>
              </p:cNvSpPr>
              <p:nvPr/>
            </p:nvSpPr>
            <p:spPr bwMode="auto">
              <a:xfrm>
                <a:off x="1997711" y="5584290"/>
                <a:ext cx="33811" cy="37261"/>
              </a:xfrm>
              <a:custGeom>
                <a:avLst/>
                <a:gdLst>
                  <a:gd name="T0" fmla="*/ 8 w 39"/>
                  <a:gd name="T1" fmla="*/ 5 h 43"/>
                  <a:gd name="T2" fmla="*/ 4 w 39"/>
                  <a:gd name="T3" fmla="*/ 26 h 43"/>
                  <a:gd name="T4" fmla="*/ 7 w 39"/>
                  <a:gd name="T5" fmla="*/ 30 h 43"/>
                  <a:gd name="T6" fmla="*/ 24 w 39"/>
                  <a:gd name="T7" fmla="*/ 35 h 43"/>
                  <a:gd name="T8" fmla="*/ 26 w 39"/>
                  <a:gd name="T9" fmla="*/ 37 h 43"/>
                  <a:gd name="T10" fmla="*/ 21 w 39"/>
                  <a:gd name="T11" fmla="*/ 41 h 43"/>
                  <a:gd name="T12" fmla="*/ 34 w 39"/>
                  <a:gd name="T13" fmla="*/ 40 h 43"/>
                  <a:gd name="T14" fmla="*/ 38 w 39"/>
                  <a:gd name="T15" fmla="*/ 28 h 43"/>
                  <a:gd name="T16" fmla="*/ 33 w 39"/>
                  <a:gd name="T17" fmla="*/ 32 h 43"/>
                  <a:gd name="T18" fmla="*/ 32 w 39"/>
                  <a:gd name="T19" fmla="*/ 29 h 43"/>
                  <a:gd name="T20" fmla="*/ 31 w 39"/>
                  <a:gd name="T21" fmla="*/ 12 h 43"/>
                  <a:gd name="T22" fmla="*/ 29 w 39"/>
                  <a:gd name="T23" fmla="*/ 8 h 43"/>
                  <a:gd name="T24" fmla="*/ 8 w 39"/>
                  <a:gd name="T25"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3">
                    <a:moveTo>
                      <a:pt x="8" y="5"/>
                    </a:moveTo>
                    <a:cubicBezTo>
                      <a:pt x="1" y="10"/>
                      <a:pt x="0" y="19"/>
                      <a:pt x="4" y="26"/>
                    </a:cubicBezTo>
                    <a:cubicBezTo>
                      <a:pt x="7" y="30"/>
                      <a:pt x="7" y="30"/>
                      <a:pt x="7" y="30"/>
                    </a:cubicBezTo>
                    <a:cubicBezTo>
                      <a:pt x="11" y="35"/>
                      <a:pt x="18" y="37"/>
                      <a:pt x="24" y="35"/>
                    </a:cubicBezTo>
                    <a:cubicBezTo>
                      <a:pt x="26" y="37"/>
                      <a:pt x="26" y="37"/>
                      <a:pt x="26" y="37"/>
                    </a:cubicBezTo>
                    <a:cubicBezTo>
                      <a:pt x="21" y="41"/>
                      <a:pt x="21" y="41"/>
                      <a:pt x="21" y="41"/>
                    </a:cubicBezTo>
                    <a:cubicBezTo>
                      <a:pt x="25" y="43"/>
                      <a:pt x="30" y="43"/>
                      <a:pt x="34" y="40"/>
                    </a:cubicBezTo>
                    <a:cubicBezTo>
                      <a:pt x="38" y="37"/>
                      <a:pt x="39" y="33"/>
                      <a:pt x="38" y="28"/>
                    </a:cubicBezTo>
                    <a:cubicBezTo>
                      <a:pt x="33" y="32"/>
                      <a:pt x="33" y="32"/>
                      <a:pt x="33" y="32"/>
                    </a:cubicBezTo>
                    <a:cubicBezTo>
                      <a:pt x="32" y="29"/>
                      <a:pt x="32" y="29"/>
                      <a:pt x="32" y="29"/>
                    </a:cubicBezTo>
                    <a:cubicBezTo>
                      <a:pt x="35" y="24"/>
                      <a:pt x="35" y="17"/>
                      <a:pt x="31" y="12"/>
                    </a:cubicBezTo>
                    <a:cubicBezTo>
                      <a:pt x="29" y="8"/>
                      <a:pt x="29" y="8"/>
                      <a:pt x="29" y="8"/>
                    </a:cubicBezTo>
                    <a:cubicBezTo>
                      <a:pt x="24" y="1"/>
                      <a:pt x="14" y="0"/>
                      <a:pt x="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35" name="Freeform 367">
                <a:extLst>
                  <a:ext uri="{FF2B5EF4-FFF2-40B4-BE49-F238E27FC236}">
                    <a16:creationId xmlns:a16="http://schemas.microsoft.com/office/drawing/2014/main" id="{C14BC71C-D611-4257-94A6-64D5243ABEF5}"/>
                  </a:ext>
                </a:extLst>
              </p:cNvPr>
              <p:cNvSpPr>
                <a:spLocks/>
              </p:cNvSpPr>
              <p:nvPr/>
            </p:nvSpPr>
            <p:spPr bwMode="auto">
              <a:xfrm>
                <a:off x="2104664" y="5571180"/>
                <a:ext cx="33121" cy="37261"/>
              </a:xfrm>
              <a:custGeom>
                <a:avLst/>
                <a:gdLst>
                  <a:gd name="T0" fmla="*/ 8 w 39"/>
                  <a:gd name="T1" fmla="*/ 5 h 43"/>
                  <a:gd name="T2" fmla="*/ 5 w 39"/>
                  <a:gd name="T3" fmla="*/ 26 h 43"/>
                  <a:gd name="T4" fmla="*/ 8 w 39"/>
                  <a:gd name="T5" fmla="*/ 30 h 43"/>
                  <a:gd name="T6" fmla="*/ 24 w 39"/>
                  <a:gd name="T7" fmla="*/ 35 h 43"/>
                  <a:gd name="T8" fmla="*/ 26 w 39"/>
                  <a:gd name="T9" fmla="*/ 38 h 43"/>
                  <a:gd name="T10" fmla="*/ 21 w 39"/>
                  <a:gd name="T11" fmla="*/ 41 h 43"/>
                  <a:gd name="T12" fmla="*/ 34 w 39"/>
                  <a:gd name="T13" fmla="*/ 41 h 43"/>
                  <a:gd name="T14" fmla="*/ 38 w 39"/>
                  <a:gd name="T15" fmla="*/ 29 h 43"/>
                  <a:gd name="T16" fmla="*/ 33 w 39"/>
                  <a:gd name="T17" fmla="*/ 32 h 43"/>
                  <a:gd name="T18" fmla="*/ 32 w 39"/>
                  <a:gd name="T19" fmla="*/ 30 h 43"/>
                  <a:gd name="T20" fmla="*/ 32 w 39"/>
                  <a:gd name="T21" fmla="*/ 12 h 43"/>
                  <a:gd name="T22" fmla="*/ 29 w 39"/>
                  <a:gd name="T23" fmla="*/ 8 h 43"/>
                  <a:gd name="T24" fmla="*/ 8 w 39"/>
                  <a:gd name="T25"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3">
                    <a:moveTo>
                      <a:pt x="8" y="5"/>
                    </a:moveTo>
                    <a:cubicBezTo>
                      <a:pt x="1" y="10"/>
                      <a:pt x="0" y="20"/>
                      <a:pt x="5" y="26"/>
                    </a:cubicBezTo>
                    <a:cubicBezTo>
                      <a:pt x="8" y="30"/>
                      <a:pt x="8" y="30"/>
                      <a:pt x="8" y="30"/>
                    </a:cubicBezTo>
                    <a:cubicBezTo>
                      <a:pt x="12" y="35"/>
                      <a:pt x="18" y="37"/>
                      <a:pt x="24" y="35"/>
                    </a:cubicBezTo>
                    <a:cubicBezTo>
                      <a:pt x="26" y="38"/>
                      <a:pt x="26" y="38"/>
                      <a:pt x="26" y="38"/>
                    </a:cubicBezTo>
                    <a:cubicBezTo>
                      <a:pt x="21" y="41"/>
                      <a:pt x="21" y="41"/>
                      <a:pt x="21" y="41"/>
                    </a:cubicBezTo>
                    <a:cubicBezTo>
                      <a:pt x="25" y="43"/>
                      <a:pt x="30" y="43"/>
                      <a:pt x="34" y="41"/>
                    </a:cubicBezTo>
                    <a:cubicBezTo>
                      <a:pt x="38" y="38"/>
                      <a:pt x="39" y="33"/>
                      <a:pt x="38" y="29"/>
                    </a:cubicBezTo>
                    <a:cubicBezTo>
                      <a:pt x="33" y="32"/>
                      <a:pt x="33" y="32"/>
                      <a:pt x="33" y="32"/>
                    </a:cubicBezTo>
                    <a:cubicBezTo>
                      <a:pt x="32" y="30"/>
                      <a:pt x="32" y="30"/>
                      <a:pt x="32" y="30"/>
                    </a:cubicBezTo>
                    <a:cubicBezTo>
                      <a:pt x="35" y="25"/>
                      <a:pt x="36" y="18"/>
                      <a:pt x="32" y="12"/>
                    </a:cubicBezTo>
                    <a:cubicBezTo>
                      <a:pt x="29" y="8"/>
                      <a:pt x="29" y="8"/>
                      <a:pt x="29" y="8"/>
                    </a:cubicBezTo>
                    <a:cubicBezTo>
                      <a:pt x="24" y="2"/>
                      <a:pt x="14" y="0"/>
                      <a:pt x="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36" name="Freeform 368">
                <a:extLst>
                  <a:ext uri="{FF2B5EF4-FFF2-40B4-BE49-F238E27FC236}">
                    <a16:creationId xmlns:a16="http://schemas.microsoft.com/office/drawing/2014/main" id="{7317D772-2C26-4C57-A692-6B68EC7E4C11}"/>
                  </a:ext>
                </a:extLst>
              </p:cNvPr>
              <p:cNvSpPr>
                <a:spLocks/>
              </p:cNvSpPr>
              <p:nvPr/>
            </p:nvSpPr>
            <p:spPr bwMode="auto">
              <a:xfrm>
                <a:off x="2083963" y="5549789"/>
                <a:ext cx="99363" cy="105573"/>
              </a:xfrm>
              <a:custGeom>
                <a:avLst/>
                <a:gdLst>
                  <a:gd name="T0" fmla="*/ 112 w 116"/>
                  <a:gd name="T1" fmla="*/ 67 h 122"/>
                  <a:gd name="T2" fmla="*/ 81 w 116"/>
                  <a:gd name="T3" fmla="*/ 91 h 122"/>
                  <a:gd name="T4" fmla="*/ 73 w 116"/>
                  <a:gd name="T5" fmla="*/ 37 h 122"/>
                  <a:gd name="T6" fmla="*/ 20 w 116"/>
                  <a:gd name="T7" fmla="*/ 16 h 122"/>
                  <a:gd name="T8" fmla="*/ 20 w 116"/>
                  <a:gd name="T9" fmla="*/ 16 h 122"/>
                  <a:gd name="T10" fmla="*/ 28 w 116"/>
                  <a:gd name="T11" fmla="*/ 73 h 122"/>
                  <a:gd name="T12" fmla="*/ 79 w 116"/>
                  <a:gd name="T13" fmla="*/ 93 h 122"/>
                  <a:gd name="T14" fmla="*/ 48 w 116"/>
                  <a:gd name="T15" fmla="*/ 118 h 122"/>
                  <a:gd name="T16" fmla="*/ 51 w 116"/>
                  <a:gd name="T17" fmla="*/ 122 h 122"/>
                  <a:gd name="T18" fmla="*/ 116 w 116"/>
                  <a:gd name="T19" fmla="*/ 71 h 122"/>
                  <a:gd name="T20" fmla="*/ 112 w 116"/>
                  <a:gd name="T21" fmla="*/ 6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22">
                    <a:moveTo>
                      <a:pt x="112" y="67"/>
                    </a:moveTo>
                    <a:cubicBezTo>
                      <a:pt x="81" y="91"/>
                      <a:pt x="81" y="91"/>
                      <a:pt x="81" y="91"/>
                    </a:cubicBezTo>
                    <a:cubicBezTo>
                      <a:pt x="80" y="87"/>
                      <a:pt x="79" y="74"/>
                      <a:pt x="73" y="37"/>
                    </a:cubicBezTo>
                    <a:cubicBezTo>
                      <a:pt x="69" y="12"/>
                      <a:pt x="40" y="0"/>
                      <a:pt x="20" y="16"/>
                    </a:cubicBezTo>
                    <a:cubicBezTo>
                      <a:pt x="20" y="16"/>
                      <a:pt x="20" y="16"/>
                      <a:pt x="20" y="16"/>
                    </a:cubicBezTo>
                    <a:cubicBezTo>
                      <a:pt x="0" y="32"/>
                      <a:pt x="4" y="64"/>
                      <a:pt x="28" y="73"/>
                    </a:cubicBezTo>
                    <a:cubicBezTo>
                      <a:pt x="28" y="73"/>
                      <a:pt x="28" y="73"/>
                      <a:pt x="79" y="93"/>
                    </a:cubicBezTo>
                    <a:cubicBezTo>
                      <a:pt x="48" y="118"/>
                      <a:pt x="48" y="118"/>
                      <a:pt x="48" y="118"/>
                    </a:cubicBezTo>
                    <a:cubicBezTo>
                      <a:pt x="51" y="122"/>
                      <a:pt x="51" y="122"/>
                      <a:pt x="51" y="122"/>
                    </a:cubicBezTo>
                    <a:cubicBezTo>
                      <a:pt x="116" y="71"/>
                      <a:pt x="116" y="71"/>
                      <a:pt x="116" y="71"/>
                    </a:cubicBezTo>
                    <a:lnTo>
                      <a:pt x="112" y="67"/>
                    </a:lnTo>
                    <a:close/>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37" name="Freeform 369">
                <a:extLst>
                  <a:ext uri="{FF2B5EF4-FFF2-40B4-BE49-F238E27FC236}">
                    <a16:creationId xmlns:a16="http://schemas.microsoft.com/office/drawing/2014/main" id="{2ABB7DAF-4078-4E98-96D5-330A67545FF6}"/>
                  </a:ext>
                </a:extLst>
              </p:cNvPr>
              <p:cNvSpPr>
                <a:spLocks/>
              </p:cNvSpPr>
              <p:nvPr/>
            </p:nvSpPr>
            <p:spPr bwMode="auto">
              <a:xfrm>
                <a:off x="2066713" y="5651912"/>
                <a:ext cx="33121" cy="36571"/>
              </a:xfrm>
              <a:custGeom>
                <a:avLst/>
                <a:gdLst>
                  <a:gd name="T0" fmla="*/ 8 w 39"/>
                  <a:gd name="T1" fmla="*/ 5 h 43"/>
                  <a:gd name="T2" fmla="*/ 5 w 39"/>
                  <a:gd name="T3" fmla="*/ 26 h 43"/>
                  <a:gd name="T4" fmla="*/ 8 w 39"/>
                  <a:gd name="T5" fmla="*/ 30 h 43"/>
                  <a:gd name="T6" fmla="*/ 25 w 39"/>
                  <a:gd name="T7" fmla="*/ 35 h 43"/>
                  <a:gd name="T8" fmla="*/ 26 w 39"/>
                  <a:gd name="T9" fmla="*/ 38 h 43"/>
                  <a:gd name="T10" fmla="*/ 21 w 39"/>
                  <a:gd name="T11" fmla="*/ 41 h 43"/>
                  <a:gd name="T12" fmla="*/ 34 w 39"/>
                  <a:gd name="T13" fmla="*/ 40 h 43"/>
                  <a:gd name="T14" fmla="*/ 38 w 39"/>
                  <a:gd name="T15" fmla="*/ 29 h 43"/>
                  <a:gd name="T16" fmla="*/ 34 w 39"/>
                  <a:gd name="T17" fmla="*/ 32 h 43"/>
                  <a:gd name="T18" fmla="*/ 32 w 39"/>
                  <a:gd name="T19" fmla="*/ 30 h 43"/>
                  <a:gd name="T20" fmla="*/ 32 w 39"/>
                  <a:gd name="T21" fmla="*/ 12 h 43"/>
                  <a:gd name="T22" fmla="*/ 29 w 39"/>
                  <a:gd name="T23" fmla="*/ 8 h 43"/>
                  <a:gd name="T24" fmla="*/ 8 w 39"/>
                  <a:gd name="T25"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3">
                    <a:moveTo>
                      <a:pt x="8" y="5"/>
                    </a:moveTo>
                    <a:cubicBezTo>
                      <a:pt x="1" y="10"/>
                      <a:pt x="0" y="20"/>
                      <a:pt x="5" y="26"/>
                    </a:cubicBezTo>
                    <a:cubicBezTo>
                      <a:pt x="8" y="30"/>
                      <a:pt x="8" y="30"/>
                      <a:pt x="8" y="30"/>
                    </a:cubicBezTo>
                    <a:cubicBezTo>
                      <a:pt x="12" y="35"/>
                      <a:pt x="19" y="37"/>
                      <a:pt x="25" y="35"/>
                    </a:cubicBezTo>
                    <a:cubicBezTo>
                      <a:pt x="26" y="38"/>
                      <a:pt x="26" y="38"/>
                      <a:pt x="26" y="38"/>
                    </a:cubicBezTo>
                    <a:cubicBezTo>
                      <a:pt x="21" y="41"/>
                      <a:pt x="21" y="41"/>
                      <a:pt x="21" y="41"/>
                    </a:cubicBezTo>
                    <a:cubicBezTo>
                      <a:pt x="25" y="43"/>
                      <a:pt x="30" y="43"/>
                      <a:pt x="34" y="40"/>
                    </a:cubicBezTo>
                    <a:cubicBezTo>
                      <a:pt x="38" y="38"/>
                      <a:pt x="39" y="33"/>
                      <a:pt x="38" y="29"/>
                    </a:cubicBezTo>
                    <a:cubicBezTo>
                      <a:pt x="34" y="32"/>
                      <a:pt x="34" y="32"/>
                      <a:pt x="34" y="32"/>
                    </a:cubicBezTo>
                    <a:cubicBezTo>
                      <a:pt x="32" y="30"/>
                      <a:pt x="32" y="30"/>
                      <a:pt x="32" y="30"/>
                    </a:cubicBezTo>
                    <a:cubicBezTo>
                      <a:pt x="36" y="25"/>
                      <a:pt x="36" y="17"/>
                      <a:pt x="32" y="12"/>
                    </a:cubicBezTo>
                    <a:cubicBezTo>
                      <a:pt x="29" y="8"/>
                      <a:pt x="29" y="8"/>
                      <a:pt x="29" y="8"/>
                    </a:cubicBezTo>
                    <a:cubicBezTo>
                      <a:pt x="24" y="2"/>
                      <a:pt x="14" y="0"/>
                      <a:pt x="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38" name="Freeform 370">
                <a:extLst>
                  <a:ext uri="{FF2B5EF4-FFF2-40B4-BE49-F238E27FC236}">
                    <a16:creationId xmlns:a16="http://schemas.microsoft.com/office/drawing/2014/main" id="{7395DD52-0AE9-4E48-8D84-DB95B9627511}"/>
                  </a:ext>
                </a:extLst>
              </p:cNvPr>
              <p:cNvSpPr>
                <a:spLocks/>
              </p:cNvSpPr>
              <p:nvPr/>
            </p:nvSpPr>
            <p:spPr bwMode="auto">
              <a:xfrm>
                <a:off x="2046012" y="5629831"/>
                <a:ext cx="105573" cy="109023"/>
              </a:xfrm>
              <a:custGeom>
                <a:avLst/>
                <a:gdLst>
                  <a:gd name="T0" fmla="*/ 120 w 123"/>
                  <a:gd name="T1" fmla="*/ 60 h 126"/>
                  <a:gd name="T2" fmla="*/ 81 w 123"/>
                  <a:gd name="T3" fmla="*/ 90 h 126"/>
                  <a:gd name="T4" fmla="*/ 73 w 123"/>
                  <a:gd name="T5" fmla="*/ 36 h 126"/>
                  <a:gd name="T6" fmla="*/ 20 w 123"/>
                  <a:gd name="T7" fmla="*/ 15 h 126"/>
                  <a:gd name="T8" fmla="*/ 19 w 123"/>
                  <a:gd name="T9" fmla="*/ 16 h 126"/>
                  <a:gd name="T10" fmla="*/ 28 w 123"/>
                  <a:gd name="T11" fmla="*/ 72 h 126"/>
                  <a:gd name="T12" fmla="*/ 79 w 123"/>
                  <a:gd name="T13" fmla="*/ 92 h 126"/>
                  <a:gd name="T14" fmla="*/ 40 w 123"/>
                  <a:gd name="T15" fmla="*/ 122 h 126"/>
                  <a:gd name="T16" fmla="*/ 44 w 123"/>
                  <a:gd name="T17" fmla="*/ 126 h 126"/>
                  <a:gd name="T18" fmla="*/ 123 w 123"/>
                  <a:gd name="T19" fmla="*/ 64 h 126"/>
                  <a:gd name="T20" fmla="*/ 120 w 123"/>
                  <a:gd name="T21" fmla="*/ 6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 h="126">
                    <a:moveTo>
                      <a:pt x="120" y="60"/>
                    </a:moveTo>
                    <a:cubicBezTo>
                      <a:pt x="81" y="90"/>
                      <a:pt x="81" y="90"/>
                      <a:pt x="81" y="90"/>
                    </a:cubicBezTo>
                    <a:cubicBezTo>
                      <a:pt x="80" y="85"/>
                      <a:pt x="78" y="72"/>
                      <a:pt x="73" y="36"/>
                    </a:cubicBezTo>
                    <a:cubicBezTo>
                      <a:pt x="70" y="11"/>
                      <a:pt x="40" y="0"/>
                      <a:pt x="20" y="15"/>
                    </a:cubicBezTo>
                    <a:cubicBezTo>
                      <a:pt x="19" y="16"/>
                      <a:pt x="19" y="16"/>
                      <a:pt x="19" y="16"/>
                    </a:cubicBezTo>
                    <a:cubicBezTo>
                      <a:pt x="0" y="32"/>
                      <a:pt x="4" y="63"/>
                      <a:pt x="28" y="72"/>
                    </a:cubicBezTo>
                    <a:cubicBezTo>
                      <a:pt x="28" y="72"/>
                      <a:pt x="28" y="72"/>
                      <a:pt x="79" y="92"/>
                    </a:cubicBezTo>
                    <a:cubicBezTo>
                      <a:pt x="40" y="122"/>
                      <a:pt x="40" y="122"/>
                      <a:pt x="40" y="122"/>
                    </a:cubicBezTo>
                    <a:cubicBezTo>
                      <a:pt x="44" y="126"/>
                      <a:pt x="44" y="126"/>
                      <a:pt x="44" y="126"/>
                    </a:cubicBezTo>
                    <a:cubicBezTo>
                      <a:pt x="123" y="64"/>
                      <a:pt x="123" y="64"/>
                      <a:pt x="123" y="64"/>
                    </a:cubicBezTo>
                    <a:lnTo>
                      <a:pt x="120" y="60"/>
                    </a:lnTo>
                    <a:close/>
                  </a:path>
                </a:pathLst>
              </a:custGeom>
              <a:solidFill>
                <a:srgbClr val="2770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39" name="Freeform 371">
                <a:extLst>
                  <a:ext uri="{FF2B5EF4-FFF2-40B4-BE49-F238E27FC236}">
                    <a16:creationId xmlns:a16="http://schemas.microsoft.com/office/drawing/2014/main" id="{DB148A4B-7726-4121-A959-7EFF6C5F23A1}"/>
                  </a:ext>
                </a:extLst>
              </p:cNvPr>
              <p:cNvSpPr>
                <a:spLocks/>
              </p:cNvSpPr>
              <p:nvPr/>
            </p:nvSpPr>
            <p:spPr bwMode="auto">
              <a:xfrm>
                <a:off x="2066713" y="5651912"/>
                <a:ext cx="33121" cy="36571"/>
              </a:xfrm>
              <a:custGeom>
                <a:avLst/>
                <a:gdLst>
                  <a:gd name="T0" fmla="*/ 8 w 39"/>
                  <a:gd name="T1" fmla="*/ 5 h 43"/>
                  <a:gd name="T2" fmla="*/ 5 w 39"/>
                  <a:gd name="T3" fmla="*/ 26 h 43"/>
                  <a:gd name="T4" fmla="*/ 8 w 39"/>
                  <a:gd name="T5" fmla="*/ 30 h 43"/>
                  <a:gd name="T6" fmla="*/ 25 w 39"/>
                  <a:gd name="T7" fmla="*/ 35 h 43"/>
                  <a:gd name="T8" fmla="*/ 26 w 39"/>
                  <a:gd name="T9" fmla="*/ 38 h 43"/>
                  <a:gd name="T10" fmla="*/ 21 w 39"/>
                  <a:gd name="T11" fmla="*/ 41 h 43"/>
                  <a:gd name="T12" fmla="*/ 34 w 39"/>
                  <a:gd name="T13" fmla="*/ 40 h 43"/>
                  <a:gd name="T14" fmla="*/ 38 w 39"/>
                  <a:gd name="T15" fmla="*/ 29 h 43"/>
                  <a:gd name="T16" fmla="*/ 34 w 39"/>
                  <a:gd name="T17" fmla="*/ 32 h 43"/>
                  <a:gd name="T18" fmla="*/ 32 w 39"/>
                  <a:gd name="T19" fmla="*/ 30 h 43"/>
                  <a:gd name="T20" fmla="*/ 32 w 39"/>
                  <a:gd name="T21" fmla="*/ 12 h 43"/>
                  <a:gd name="T22" fmla="*/ 29 w 39"/>
                  <a:gd name="T23" fmla="*/ 8 h 43"/>
                  <a:gd name="T24" fmla="*/ 8 w 39"/>
                  <a:gd name="T25"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3">
                    <a:moveTo>
                      <a:pt x="8" y="5"/>
                    </a:moveTo>
                    <a:cubicBezTo>
                      <a:pt x="1" y="10"/>
                      <a:pt x="0" y="20"/>
                      <a:pt x="5" y="26"/>
                    </a:cubicBezTo>
                    <a:cubicBezTo>
                      <a:pt x="8" y="30"/>
                      <a:pt x="8" y="30"/>
                      <a:pt x="8" y="30"/>
                    </a:cubicBezTo>
                    <a:cubicBezTo>
                      <a:pt x="12" y="35"/>
                      <a:pt x="19" y="37"/>
                      <a:pt x="25" y="35"/>
                    </a:cubicBezTo>
                    <a:cubicBezTo>
                      <a:pt x="26" y="38"/>
                      <a:pt x="26" y="38"/>
                      <a:pt x="26" y="38"/>
                    </a:cubicBezTo>
                    <a:cubicBezTo>
                      <a:pt x="21" y="41"/>
                      <a:pt x="21" y="41"/>
                      <a:pt x="21" y="41"/>
                    </a:cubicBezTo>
                    <a:cubicBezTo>
                      <a:pt x="25" y="43"/>
                      <a:pt x="30" y="43"/>
                      <a:pt x="34" y="40"/>
                    </a:cubicBezTo>
                    <a:cubicBezTo>
                      <a:pt x="38" y="38"/>
                      <a:pt x="39" y="33"/>
                      <a:pt x="38" y="29"/>
                    </a:cubicBezTo>
                    <a:cubicBezTo>
                      <a:pt x="34" y="32"/>
                      <a:pt x="34" y="32"/>
                      <a:pt x="34" y="32"/>
                    </a:cubicBezTo>
                    <a:cubicBezTo>
                      <a:pt x="32" y="30"/>
                      <a:pt x="32" y="30"/>
                      <a:pt x="32" y="30"/>
                    </a:cubicBezTo>
                    <a:cubicBezTo>
                      <a:pt x="36" y="25"/>
                      <a:pt x="36" y="17"/>
                      <a:pt x="32" y="12"/>
                    </a:cubicBezTo>
                    <a:cubicBezTo>
                      <a:pt x="29" y="8"/>
                      <a:pt x="29" y="8"/>
                      <a:pt x="29" y="8"/>
                    </a:cubicBezTo>
                    <a:cubicBezTo>
                      <a:pt x="24" y="2"/>
                      <a:pt x="14" y="0"/>
                      <a:pt x="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40" name="Freeform 372">
                <a:extLst>
                  <a:ext uri="{FF2B5EF4-FFF2-40B4-BE49-F238E27FC236}">
                    <a16:creationId xmlns:a16="http://schemas.microsoft.com/office/drawing/2014/main" id="{BAD34283-D213-4A52-857B-4AF44471581A}"/>
                  </a:ext>
                </a:extLst>
              </p:cNvPr>
              <p:cNvSpPr>
                <a:spLocks/>
              </p:cNvSpPr>
              <p:nvPr/>
            </p:nvSpPr>
            <p:spPr bwMode="auto">
              <a:xfrm>
                <a:off x="1994261" y="5464917"/>
                <a:ext cx="80733" cy="66932"/>
              </a:xfrm>
              <a:custGeom>
                <a:avLst/>
                <a:gdLst>
                  <a:gd name="T0" fmla="*/ 5 w 117"/>
                  <a:gd name="T1" fmla="*/ 97 h 97"/>
                  <a:gd name="T2" fmla="*/ 117 w 117"/>
                  <a:gd name="T3" fmla="*/ 7 h 97"/>
                  <a:gd name="T4" fmla="*/ 112 w 117"/>
                  <a:gd name="T5" fmla="*/ 0 h 97"/>
                  <a:gd name="T6" fmla="*/ 0 w 117"/>
                  <a:gd name="T7" fmla="*/ 90 h 97"/>
                  <a:gd name="T8" fmla="*/ 5 w 117"/>
                  <a:gd name="T9" fmla="*/ 97 h 97"/>
                </a:gdLst>
                <a:ahLst/>
                <a:cxnLst>
                  <a:cxn ang="0">
                    <a:pos x="T0" y="T1"/>
                  </a:cxn>
                  <a:cxn ang="0">
                    <a:pos x="T2" y="T3"/>
                  </a:cxn>
                  <a:cxn ang="0">
                    <a:pos x="T4" y="T5"/>
                  </a:cxn>
                  <a:cxn ang="0">
                    <a:pos x="T6" y="T7"/>
                  </a:cxn>
                  <a:cxn ang="0">
                    <a:pos x="T8" y="T9"/>
                  </a:cxn>
                </a:cxnLst>
                <a:rect l="0" t="0" r="r" b="b"/>
                <a:pathLst>
                  <a:path w="117" h="97">
                    <a:moveTo>
                      <a:pt x="5" y="97"/>
                    </a:moveTo>
                    <a:lnTo>
                      <a:pt x="117" y="7"/>
                    </a:lnTo>
                    <a:lnTo>
                      <a:pt x="112" y="0"/>
                    </a:lnTo>
                    <a:lnTo>
                      <a:pt x="0" y="90"/>
                    </a:lnTo>
                    <a:lnTo>
                      <a:pt x="5" y="97"/>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41" name="Freeform 373">
                <a:extLst>
                  <a:ext uri="{FF2B5EF4-FFF2-40B4-BE49-F238E27FC236}">
                    <a16:creationId xmlns:a16="http://schemas.microsoft.com/office/drawing/2014/main" id="{003D15C0-D493-4662-A311-B0DFCF53EAF9}"/>
                  </a:ext>
                </a:extLst>
              </p:cNvPr>
              <p:cNvSpPr>
                <a:spLocks/>
              </p:cNvSpPr>
              <p:nvPr/>
            </p:nvSpPr>
            <p:spPr bwMode="auto">
              <a:xfrm>
                <a:off x="1948029" y="5551169"/>
                <a:ext cx="18631" cy="17251"/>
              </a:xfrm>
              <a:custGeom>
                <a:avLst/>
                <a:gdLst>
                  <a:gd name="T0" fmla="*/ 5 w 27"/>
                  <a:gd name="T1" fmla="*/ 25 h 25"/>
                  <a:gd name="T2" fmla="*/ 27 w 27"/>
                  <a:gd name="T3" fmla="*/ 7 h 25"/>
                  <a:gd name="T4" fmla="*/ 22 w 27"/>
                  <a:gd name="T5" fmla="*/ 0 h 25"/>
                  <a:gd name="T6" fmla="*/ 0 w 27"/>
                  <a:gd name="T7" fmla="*/ 19 h 25"/>
                  <a:gd name="T8" fmla="*/ 5 w 27"/>
                  <a:gd name="T9" fmla="*/ 25 h 25"/>
                </a:gdLst>
                <a:ahLst/>
                <a:cxnLst>
                  <a:cxn ang="0">
                    <a:pos x="T0" y="T1"/>
                  </a:cxn>
                  <a:cxn ang="0">
                    <a:pos x="T2" y="T3"/>
                  </a:cxn>
                  <a:cxn ang="0">
                    <a:pos x="T4" y="T5"/>
                  </a:cxn>
                  <a:cxn ang="0">
                    <a:pos x="T6" y="T7"/>
                  </a:cxn>
                  <a:cxn ang="0">
                    <a:pos x="T8" y="T9"/>
                  </a:cxn>
                </a:cxnLst>
                <a:rect l="0" t="0" r="r" b="b"/>
                <a:pathLst>
                  <a:path w="27" h="25">
                    <a:moveTo>
                      <a:pt x="5" y="25"/>
                    </a:moveTo>
                    <a:lnTo>
                      <a:pt x="27" y="7"/>
                    </a:lnTo>
                    <a:lnTo>
                      <a:pt x="22" y="0"/>
                    </a:lnTo>
                    <a:lnTo>
                      <a:pt x="0" y="19"/>
                    </a:lnTo>
                    <a:lnTo>
                      <a:pt x="5" y="25"/>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42" name="Freeform 374">
                <a:extLst>
                  <a:ext uri="{FF2B5EF4-FFF2-40B4-BE49-F238E27FC236}">
                    <a16:creationId xmlns:a16="http://schemas.microsoft.com/office/drawing/2014/main" id="{926368A0-9BEE-4379-B397-ECD4FED7E49F}"/>
                  </a:ext>
                </a:extLst>
              </p:cNvPr>
              <p:cNvSpPr>
                <a:spLocks/>
              </p:cNvSpPr>
              <p:nvPr/>
            </p:nvSpPr>
            <p:spPr bwMode="auto">
              <a:xfrm>
                <a:off x="1970800" y="5533228"/>
                <a:ext cx="19321" cy="16560"/>
              </a:xfrm>
              <a:custGeom>
                <a:avLst/>
                <a:gdLst>
                  <a:gd name="T0" fmla="*/ 5 w 28"/>
                  <a:gd name="T1" fmla="*/ 24 h 24"/>
                  <a:gd name="T2" fmla="*/ 28 w 28"/>
                  <a:gd name="T3" fmla="*/ 6 h 24"/>
                  <a:gd name="T4" fmla="*/ 23 w 28"/>
                  <a:gd name="T5" fmla="*/ 0 h 24"/>
                  <a:gd name="T6" fmla="*/ 0 w 28"/>
                  <a:gd name="T7" fmla="*/ 18 h 24"/>
                  <a:gd name="T8" fmla="*/ 5 w 28"/>
                  <a:gd name="T9" fmla="*/ 24 h 24"/>
                </a:gdLst>
                <a:ahLst/>
                <a:cxnLst>
                  <a:cxn ang="0">
                    <a:pos x="T0" y="T1"/>
                  </a:cxn>
                  <a:cxn ang="0">
                    <a:pos x="T2" y="T3"/>
                  </a:cxn>
                  <a:cxn ang="0">
                    <a:pos x="T4" y="T5"/>
                  </a:cxn>
                  <a:cxn ang="0">
                    <a:pos x="T6" y="T7"/>
                  </a:cxn>
                  <a:cxn ang="0">
                    <a:pos x="T8" y="T9"/>
                  </a:cxn>
                </a:cxnLst>
                <a:rect l="0" t="0" r="r" b="b"/>
                <a:pathLst>
                  <a:path w="28" h="24">
                    <a:moveTo>
                      <a:pt x="5" y="24"/>
                    </a:moveTo>
                    <a:lnTo>
                      <a:pt x="28" y="6"/>
                    </a:lnTo>
                    <a:lnTo>
                      <a:pt x="23" y="0"/>
                    </a:lnTo>
                    <a:lnTo>
                      <a:pt x="0" y="18"/>
                    </a:lnTo>
                    <a:lnTo>
                      <a:pt x="5" y="24"/>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43" name="Freeform 375">
                <a:extLst>
                  <a:ext uri="{FF2B5EF4-FFF2-40B4-BE49-F238E27FC236}">
                    <a16:creationId xmlns:a16="http://schemas.microsoft.com/office/drawing/2014/main" id="{8FF112CD-E730-49C6-AA80-532734DCC597}"/>
                  </a:ext>
                </a:extLst>
              </p:cNvPr>
              <p:cNvSpPr>
                <a:spLocks/>
              </p:cNvSpPr>
              <p:nvPr/>
            </p:nvSpPr>
            <p:spPr bwMode="auto">
              <a:xfrm>
                <a:off x="1905938" y="5602921"/>
                <a:ext cx="190446" cy="126274"/>
              </a:xfrm>
              <a:custGeom>
                <a:avLst/>
                <a:gdLst>
                  <a:gd name="T0" fmla="*/ 221 w 222"/>
                  <a:gd name="T1" fmla="*/ 54 h 146"/>
                  <a:gd name="T2" fmla="*/ 208 w 222"/>
                  <a:gd name="T3" fmla="*/ 44 h 146"/>
                  <a:gd name="T4" fmla="*/ 129 w 222"/>
                  <a:gd name="T5" fmla="*/ 51 h 146"/>
                  <a:gd name="T6" fmla="*/ 189 w 222"/>
                  <a:gd name="T7" fmla="*/ 26 h 146"/>
                  <a:gd name="T8" fmla="*/ 196 w 222"/>
                  <a:gd name="T9" fmla="*/ 11 h 146"/>
                  <a:gd name="T10" fmla="*/ 181 w 222"/>
                  <a:gd name="T11" fmla="*/ 3 h 146"/>
                  <a:gd name="T12" fmla="*/ 122 w 222"/>
                  <a:gd name="T13" fmla="*/ 21 h 146"/>
                  <a:gd name="T14" fmla="*/ 75 w 222"/>
                  <a:gd name="T15" fmla="*/ 38 h 146"/>
                  <a:gd name="T16" fmla="*/ 58 w 222"/>
                  <a:gd name="T17" fmla="*/ 33 h 146"/>
                  <a:gd name="T18" fmla="*/ 49 w 222"/>
                  <a:gd name="T19" fmla="*/ 21 h 146"/>
                  <a:gd name="T20" fmla="*/ 0 w 222"/>
                  <a:gd name="T21" fmla="*/ 81 h 146"/>
                  <a:gd name="T22" fmla="*/ 33 w 222"/>
                  <a:gd name="T23" fmla="*/ 146 h 146"/>
                  <a:gd name="T24" fmla="*/ 147 w 222"/>
                  <a:gd name="T25" fmla="*/ 144 h 146"/>
                  <a:gd name="T26" fmla="*/ 188 w 222"/>
                  <a:gd name="T27" fmla="*/ 139 h 146"/>
                  <a:gd name="T28" fmla="*/ 196 w 222"/>
                  <a:gd name="T29" fmla="*/ 130 h 146"/>
                  <a:gd name="T30" fmla="*/ 188 w 222"/>
                  <a:gd name="T31" fmla="*/ 121 h 146"/>
                  <a:gd name="T32" fmla="*/ 149 w 222"/>
                  <a:gd name="T33" fmla="*/ 116 h 146"/>
                  <a:gd name="T34" fmla="*/ 148 w 222"/>
                  <a:gd name="T35" fmla="*/ 111 h 146"/>
                  <a:gd name="T36" fmla="*/ 201 w 222"/>
                  <a:gd name="T37" fmla="*/ 103 h 146"/>
                  <a:gd name="T38" fmla="*/ 211 w 222"/>
                  <a:gd name="T39" fmla="*/ 90 h 146"/>
                  <a:gd name="T40" fmla="*/ 199 w 222"/>
                  <a:gd name="T41" fmla="*/ 79 h 146"/>
                  <a:gd name="T42" fmla="*/ 138 w 222"/>
                  <a:gd name="T43" fmla="*/ 84 h 146"/>
                  <a:gd name="T44" fmla="*/ 212 w 222"/>
                  <a:gd name="T45" fmla="*/ 67 h 146"/>
                  <a:gd name="T46" fmla="*/ 221 w 222"/>
                  <a:gd name="T47" fmla="*/ 5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2" h="146">
                    <a:moveTo>
                      <a:pt x="221" y="54"/>
                    </a:moveTo>
                    <a:cubicBezTo>
                      <a:pt x="220" y="47"/>
                      <a:pt x="214" y="43"/>
                      <a:pt x="208" y="44"/>
                    </a:cubicBezTo>
                    <a:cubicBezTo>
                      <a:pt x="129" y="51"/>
                      <a:pt x="129" y="51"/>
                      <a:pt x="129" y="51"/>
                    </a:cubicBezTo>
                    <a:cubicBezTo>
                      <a:pt x="189" y="26"/>
                      <a:pt x="189" y="26"/>
                      <a:pt x="189" y="26"/>
                    </a:cubicBezTo>
                    <a:cubicBezTo>
                      <a:pt x="194" y="23"/>
                      <a:pt x="198" y="17"/>
                      <a:pt x="196" y="11"/>
                    </a:cubicBezTo>
                    <a:cubicBezTo>
                      <a:pt x="194" y="4"/>
                      <a:pt x="187" y="0"/>
                      <a:pt x="181" y="3"/>
                    </a:cubicBezTo>
                    <a:cubicBezTo>
                      <a:pt x="122" y="21"/>
                      <a:pt x="122" y="21"/>
                      <a:pt x="122" y="21"/>
                    </a:cubicBezTo>
                    <a:cubicBezTo>
                      <a:pt x="75" y="38"/>
                      <a:pt x="75" y="38"/>
                      <a:pt x="75" y="38"/>
                    </a:cubicBezTo>
                    <a:cubicBezTo>
                      <a:pt x="69" y="40"/>
                      <a:pt x="62" y="38"/>
                      <a:pt x="58" y="33"/>
                    </a:cubicBezTo>
                    <a:cubicBezTo>
                      <a:pt x="49" y="21"/>
                      <a:pt x="49" y="21"/>
                      <a:pt x="49" y="21"/>
                    </a:cubicBezTo>
                    <a:cubicBezTo>
                      <a:pt x="0" y="81"/>
                      <a:pt x="0" y="81"/>
                      <a:pt x="0" y="81"/>
                    </a:cubicBezTo>
                    <a:cubicBezTo>
                      <a:pt x="33" y="146"/>
                      <a:pt x="33" y="146"/>
                      <a:pt x="33" y="146"/>
                    </a:cubicBezTo>
                    <a:cubicBezTo>
                      <a:pt x="147" y="144"/>
                      <a:pt x="147" y="144"/>
                      <a:pt x="147" y="144"/>
                    </a:cubicBezTo>
                    <a:cubicBezTo>
                      <a:pt x="188" y="139"/>
                      <a:pt x="188" y="139"/>
                      <a:pt x="188" y="139"/>
                    </a:cubicBezTo>
                    <a:cubicBezTo>
                      <a:pt x="192" y="139"/>
                      <a:pt x="196" y="135"/>
                      <a:pt x="196" y="130"/>
                    </a:cubicBezTo>
                    <a:cubicBezTo>
                      <a:pt x="195" y="126"/>
                      <a:pt x="192" y="122"/>
                      <a:pt x="188" y="121"/>
                    </a:cubicBezTo>
                    <a:cubicBezTo>
                      <a:pt x="149" y="116"/>
                      <a:pt x="149" y="116"/>
                      <a:pt x="149" y="116"/>
                    </a:cubicBezTo>
                    <a:cubicBezTo>
                      <a:pt x="148" y="111"/>
                      <a:pt x="148" y="111"/>
                      <a:pt x="148" y="111"/>
                    </a:cubicBezTo>
                    <a:cubicBezTo>
                      <a:pt x="201" y="103"/>
                      <a:pt x="201" y="103"/>
                      <a:pt x="201" y="103"/>
                    </a:cubicBezTo>
                    <a:cubicBezTo>
                      <a:pt x="207" y="102"/>
                      <a:pt x="212" y="96"/>
                      <a:pt x="211" y="90"/>
                    </a:cubicBezTo>
                    <a:cubicBezTo>
                      <a:pt x="211" y="84"/>
                      <a:pt x="205" y="79"/>
                      <a:pt x="199" y="79"/>
                    </a:cubicBezTo>
                    <a:cubicBezTo>
                      <a:pt x="138" y="84"/>
                      <a:pt x="138" y="84"/>
                      <a:pt x="138" y="84"/>
                    </a:cubicBezTo>
                    <a:cubicBezTo>
                      <a:pt x="212" y="67"/>
                      <a:pt x="212" y="67"/>
                      <a:pt x="212" y="67"/>
                    </a:cubicBezTo>
                    <a:cubicBezTo>
                      <a:pt x="218" y="65"/>
                      <a:pt x="222" y="60"/>
                      <a:pt x="221" y="54"/>
                    </a:cubicBezTo>
                  </a:path>
                </a:pathLst>
              </a:custGeom>
              <a:solidFill>
                <a:srgbClr val="FADC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44" name="Freeform 376">
                <a:extLst>
                  <a:ext uri="{FF2B5EF4-FFF2-40B4-BE49-F238E27FC236}">
                    <a16:creationId xmlns:a16="http://schemas.microsoft.com/office/drawing/2014/main" id="{9B380C72-17D4-464E-8682-E8A5BF0B2E78}"/>
                  </a:ext>
                </a:extLst>
              </p:cNvPr>
              <p:cNvSpPr>
                <a:spLocks/>
              </p:cNvSpPr>
              <p:nvPr/>
            </p:nvSpPr>
            <p:spPr bwMode="auto">
              <a:xfrm>
                <a:off x="2413103" y="5141987"/>
                <a:ext cx="111094" cy="84873"/>
              </a:xfrm>
              <a:custGeom>
                <a:avLst/>
                <a:gdLst>
                  <a:gd name="T0" fmla="*/ 87 w 129"/>
                  <a:gd name="T1" fmla="*/ 3 h 98"/>
                  <a:gd name="T2" fmla="*/ 120 w 129"/>
                  <a:gd name="T3" fmla="*/ 0 h 98"/>
                  <a:gd name="T4" fmla="*/ 129 w 129"/>
                  <a:gd name="T5" fmla="*/ 55 h 98"/>
                  <a:gd name="T6" fmla="*/ 124 w 129"/>
                  <a:gd name="T7" fmla="*/ 56 h 98"/>
                  <a:gd name="T8" fmla="*/ 105 w 129"/>
                  <a:gd name="T9" fmla="*/ 44 h 98"/>
                  <a:gd name="T10" fmla="*/ 99 w 129"/>
                  <a:gd name="T11" fmla="*/ 24 h 98"/>
                  <a:gd name="T12" fmla="*/ 85 w 129"/>
                  <a:gd name="T13" fmla="*/ 31 h 98"/>
                  <a:gd name="T14" fmla="*/ 33 w 129"/>
                  <a:gd name="T15" fmla="*/ 92 h 98"/>
                  <a:gd name="T16" fmla="*/ 0 w 129"/>
                  <a:gd name="T17" fmla="*/ 98 h 98"/>
                  <a:gd name="T18" fmla="*/ 17 w 129"/>
                  <a:gd name="T19" fmla="*/ 26 h 98"/>
                  <a:gd name="T20" fmla="*/ 38 w 129"/>
                  <a:gd name="T21" fmla="*/ 8 h 98"/>
                  <a:gd name="T22" fmla="*/ 87 w 129"/>
                  <a:gd name="T23" fmla="*/ 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9" h="98">
                    <a:moveTo>
                      <a:pt x="87" y="3"/>
                    </a:moveTo>
                    <a:cubicBezTo>
                      <a:pt x="120" y="0"/>
                      <a:pt x="120" y="0"/>
                      <a:pt x="120" y="0"/>
                    </a:cubicBezTo>
                    <a:cubicBezTo>
                      <a:pt x="129" y="55"/>
                      <a:pt x="129" y="55"/>
                      <a:pt x="129" y="55"/>
                    </a:cubicBezTo>
                    <a:cubicBezTo>
                      <a:pt x="124" y="56"/>
                      <a:pt x="124" y="56"/>
                      <a:pt x="124" y="56"/>
                    </a:cubicBezTo>
                    <a:cubicBezTo>
                      <a:pt x="115" y="57"/>
                      <a:pt x="108" y="52"/>
                      <a:pt x="105" y="44"/>
                    </a:cubicBezTo>
                    <a:cubicBezTo>
                      <a:pt x="99" y="24"/>
                      <a:pt x="99" y="24"/>
                      <a:pt x="99" y="24"/>
                    </a:cubicBezTo>
                    <a:cubicBezTo>
                      <a:pt x="85" y="31"/>
                      <a:pt x="85" y="31"/>
                      <a:pt x="85" y="31"/>
                    </a:cubicBezTo>
                    <a:cubicBezTo>
                      <a:pt x="85" y="61"/>
                      <a:pt x="63" y="87"/>
                      <a:pt x="33" y="92"/>
                    </a:cubicBezTo>
                    <a:cubicBezTo>
                      <a:pt x="0" y="98"/>
                      <a:pt x="0" y="98"/>
                      <a:pt x="0" y="98"/>
                    </a:cubicBezTo>
                    <a:cubicBezTo>
                      <a:pt x="17" y="26"/>
                      <a:pt x="17" y="26"/>
                      <a:pt x="17" y="26"/>
                    </a:cubicBezTo>
                    <a:cubicBezTo>
                      <a:pt x="19" y="16"/>
                      <a:pt x="28" y="9"/>
                      <a:pt x="38" y="8"/>
                    </a:cubicBezTo>
                    <a:lnTo>
                      <a:pt x="87" y="3"/>
                    </a:lnTo>
                    <a:close/>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45" name="Freeform 377">
                <a:extLst>
                  <a:ext uri="{FF2B5EF4-FFF2-40B4-BE49-F238E27FC236}">
                    <a16:creationId xmlns:a16="http://schemas.microsoft.com/office/drawing/2014/main" id="{125B9B34-3E20-4220-B8AD-0383FF0B7AD4}"/>
                  </a:ext>
                </a:extLst>
              </p:cNvPr>
              <p:cNvSpPr>
                <a:spLocks/>
              </p:cNvSpPr>
              <p:nvPr/>
            </p:nvSpPr>
            <p:spPr bwMode="auto">
              <a:xfrm>
                <a:off x="2367562" y="5296552"/>
                <a:ext cx="38641" cy="142835"/>
              </a:xfrm>
              <a:custGeom>
                <a:avLst/>
                <a:gdLst>
                  <a:gd name="T0" fmla="*/ 0 w 45"/>
                  <a:gd name="T1" fmla="*/ 150 h 165"/>
                  <a:gd name="T2" fmla="*/ 26 w 45"/>
                  <a:gd name="T3" fmla="*/ 165 h 165"/>
                  <a:gd name="T4" fmla="*/ 34 w 45"/>
                  <a:gd name="T5" fmla="*/ 0 h 165"/>
                  <a:gd name="T6" fmla="*/ 0 w 45"/>
                  <a:gd name="T7" fmla="*/ 150 h 165"/>
                </a:gdLst>
                <a:ahLst/>
                <a:cxnLst>
                  <a:cxn ang="0">
                    <a:pos x="T0" y="T1"/>
                  </a:cxn>
                  <a:cxn ang="0">
                    <a:pos x="T2" y="T3"/>
                  </a:cxn>
                  <a:cxn ang="0">
                    <a:pos x="T4" y="T5"/>
                  </a:cxn>
                  <a:cxn ang="0">
                    <a:pos x="T6" y="T7"/>
                  </a:cxn>
                </a:cxnLst>
                <a:rect l="0" t="0" r="r" b="b"/>
                <a:pathLst>
                  <a:path w="45" h="165">
                    <a:moveTo>
                      <a:pt x="0" y="150"/>
                    </a:moveTo>
                    <a:cubicBezTo>
                      <a:pt x="26" y="165"/>
                      <a:pt x="26" y="165"/>
                      <a:pt x="26" y="165"/>
                    </a:cubicBezTo>
                    <a:cubicBezTo>
                      <a:pt x="26" y="165"/>
                      <a:pt x="45" y="74"/>
                      <a:pt x="34" y="0"/>
                    </a:cubicBezTo>
                    <a:cubicBezTo>
                      <a:pt x="21" y="54"/>
                      <a:pt x="0" y="150"/>
                      <a:pt x="0" y="150"/>
                    </a:cubicBezTo>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46" name="Freeform 378">
                <a:extLst>
                  <a:ext uri="{FF2B5EF4-FFF2-40B4-BE49-F238E27FC236}">
                    <a16:creationId xmlns:a16="http://schemas.microsoft.com/office/drawing/2014/main" id="{61581006-F437-470F-BB9E-1989A9B43D98}"/>
                  </a:ext>
                </a:extLst>
              </p:cNvPr>
              <p:cNvSpPr>
                <a:spLocks/>
              </p:cNvSpPr>
              <p:nvPr/>
            </p:nvSpPr>
            <p:spPr bwMode="auto">
              <a:xfrm>
                <a:off x="2242668" y="5435936"/>
                <a:ext cx="64862" cy="63482"/>
              </a:xfrm>
              <a:custGeom>
                <a:avLst/>
                <a:gdLst>
                  <a:gd name="T0" fmla="*/ 20 w 75"/>
                  <a:gd name="T1" fmla="*/ 70 h 74"/>
                  <a:gd name="T2" fmla="*/ 0 w 75"/>
                  <a:gd name="T3" fmla="*/ 0 h 74"/>
                  <a:gd name="T4" fmla="*/ 75 w 75"/>
                  <a:gd name="T5" fmla="*/ 33 h 74"/>
                  <a:gd name="T6" fmla="*/ 41 w 75"/>
                  <a:gd name="T7" fmla="*/ 74 h 74"/>
                  <a:gd name="T8" fmla="*/ 20 w 75"/>
                  <a:gd name="T9" fmla="*/ 70 h 74"/>
                </a:gdLst>
                <a:ahLst/>
                <a:cxnLst>
                  <a:cxn ang="0">
                    <a:pos x="T0" y="T1"/>
                  </a:cxn>
                  <a:cxn ang="0">
                    <a:pos x="T2" y="T3"/>
                  </a:cxn>
                  <a:cxn ang="0">
                    <a:pos x="T4" y="T5"/>
                  </a:cxn>
                  <a:cxn ang="0">
                    <a:pos x="T6" y="T7"/>
                  </a:cxn>
                  <a:cxn ang="0">
                    <a:pos x="T8" y="T9"/>
                  </a:cxn>
                </a:cxnLst>
                <a:rect l="0" t="0" r="r" b="b"/>
                <a:pathLst>
                  <a:path w="75" h="74">
                    <a:moveTo>
                      <a:pt x="20" y="70"/>
                    </a:moveTo>
                    <a:cubicBezTo>
                      <a:pt x="0" y="0"/>
                      <a:pt x="0" y="0"/>
                      <a:pt x="0" y="0"/>
                    </a:cubicBezTo>
                    <a:cubicBezTo>
                      <a:pt x="75" y="33"/>
                      <a:pt x="75" y="33"/>
                      <a:pt x="75" y="33"/>
                    </a:cubicBezTo>
                    <a:cubicBezTo>
                      <a:pt x="75" y="33"/>
                      <a:pt x="61" y="61"/>
                      <a:pt x="41" y="74"/>
                    </a:cubicBezTo>
                    <a:lnTo>
                      <a:pt x="20" y="70"/>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sp>
            <p:nvSpPr>
              <p:cNvPr id="447" name="Freeform 379">
                <a:extLst>
                  <a:ext uri="{FF2B5EF4-FFF2-40B4-BE49-F238E27FC236}">
                    <a16:creationId xmlns:a16="http://schemas.microsoft.com/office/drawing/2014/main" id="{8F7E4CEF-AB42-439F-986F-835E3160FEAA}"/>
                  </a:ext>
                </a:extLst>
              </p:cNvPr>
              <p:cNvSpPr>
                <a:spLocks/>
              </p:cNvSpPr>
              <p:nvPr/>
            </p:nvSpPr>
            <p:spPr bwMode="auto">
              <a:xfrm>
                <a:off x="2106734" y="5573940"/>
                <a:ext cx="33811" cy="37951"/>
              </a:xfrm>
              <a:custGeom>
                <a:avLst/>
                <a:gdLst>
                  <a:gd name="T0" fmla="*/ 4 w 39"/>
                  <a:gd name="T1" fmla="*/ 8 h 44"/>
                  <a:gd name="T2" fmla="*/ 5 w 39"/>
                  <a:gd name="T3" fmla="*/ 27 h 44"/>
                  <a:gd name="T4" fmla="*/ 7 w 39"/>
                  <a:gd name="T5" fmla="*/ 30 h 44"/>
                  <a:gd name="T6" fmla="*/ 24 w 39"/>
                  <a:gd name="T7" fmla="*/ 35 h 44"/>
                  <a:gd name="T8" fmla="*/ 25 w 39"/>
                  <a:gd name="T9" fmla="*/ 38 h 44"/>
                  <a:gd name="T10" fmla="*/ 21 w 39"/>
                  <a:gd name="T11" fmla="*/ 41 h 44"/>
                  <a:gd name="T12" fmla="*/ 33 w 39"/>
                  <a:gd name="T13" fmla="*/ 41 h 44"/>
                  <a:gd name="T14" fmla="*/ 38 w 39"/>
                  <a:gd name="T15" fmla="*/ 29 h 44"/>
                  <a:gd name="T16" fmla="*/ 33 w 39"/>
                  <a:gd name="T17" fmla="*/ 32 h 44"/>
                  <a:gd name="T18" fmla="*/ 31 w 39"/>
                  <a:gd name="T19" fmla="*/ 30 h 44"/>
                  <a:gd name="T20" fmla="*/ 31 w 39"/>
                  <a:gd name="T21" fmla="*/ 12 h 44"/>
                  <a:gd name="T22" fmla="*/ 28 w 39"/>
                  <a:gd name="T23" fmla="*/ 8 h 44"/>
                  <a:gd name="T24" fmla="*/ 4 w 39"/>
                  <a:gd name="T25"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4">
                    <a:moveTo>
                      <a:pt x="4" y="8"/>
                    </a:moveTo>
                    <a:cubicBezTo>
                      <a:pt x="0" y="13"/>
                      <a:pt x="0" y="21"/>
                      <a:pt x="5" y="27"/>
                    </a:cubicBezTo>
                    <a:cubicBezTo>
                      <a:pt x="7" y="30"/>
                      <a:pt x="7" y="30"/>
                      <a:pt x="7" y="30"/>
                    </a:cubicBezTo>
                    <a:cubicBezTo>
                      <a:pt x="11" y="36"/>
                      <a:pt x="18" y="37"/>
                      <a:pt x="24" y="35"/>
                    </a:cubicBezTo>
                    <a:cubicBezTo>
                      <a:pt x="25" y="38"/>
                      <a:pt x="25" y="38"/>
                      <a:pt x="25" y="38"/>
                    </a:cubicBezTo>
                    <a:cubicBezTo>
                      <a:pt x="21" y="41"/>
                      <a:pt x="21" y="41"/>
                      <a:pt x="21" y="41"/>
                    </a:cubicBezTo>
                    <a:cubicBezTo>
                      <a:pt x="25" y="44"/>
                      <a:pt x="30" y="43"/>
                      <a:pt x="33" y="41"/>
                    </a:cubicBezTo>
                    <a:cubicBezTo>
                      <a:pt x="37" y="38"/>
                      <a:pt x="39" y="33"/>
                      <a:pt x="38" y="29"/>
                    </a:cubicBezTo>
                    <a:cubicBezTo>
                      <a:pt x="33" y="32"/>
                      <a:pt x="33" y="32"/>
                      <a:pt x="33" y="32"/>
                    </a:cubicBezTo>
                    <a:cubicBezTo>
                      <a:pt x="31" y="30"/>
                      <a:pt x="31" y="30"/>
                      <a:pt x="31" y="30"/>
                    </a:cubicBezTo>
                    <a:cubicBezTo>
                      <a:pt x="35" y="25"/>
                      <a:pt x="35" y="18"/>
                      <a:pt x="31" y="12"/>
                    </a:cubicBezTo>
                    <a:cubicBezTo>
                      <a:pt x="28" y="8"/>
                      <a:pt x="28" y="8"/>
                      <a:pt x="28" y="8"/>
                    </a:cubicBezTo>
                    <a:cubicBezTo>
                      <a:pt x="22" y="1"/>
                      <a:pt x="11" y="0"/>
                      <a:pt x="4"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cs typeface="Segoe UI Semilight" panose="020B0402040204020203" pitchFamily="34" charset="0"/>
                </a:endParaRPr>
              </a:p>
            </p:txBody>
          </p:sp>
        </p:grpSp>
      </p:grpSp>
      <p:sp>
        <p:nvSpPr>
          <p:cNvPr id="487" name="Rectangle 486">
            <a:extLst>
              <a:ext uri="{FF2B5EF4-FFF2-40B4-BE49-F238E27FC236}">
                <a16:creationId xmlns:a16="http://schemas.microsoft.com/office/drawing/2014/main" id="{6052D2B2-83EF-4B82-8D12-318AE14F3A19}"/>
              </a:ext>
            </a:extLst>
          </p:cNvPr>
          <p:cNvSpPr/>
          <p:nvPr/>
        </p:nvSpPr>
        <p:spPr>
          <a:xfrm>
            <a:off x="585216" y="6129476"/>
            <a:ext cx="11018521" cy="461665"/>
          </a:xfrm>
          <a:prstGeom prst="rect">
            <a:avLst/>
          </a:prstGeom>
        </p:spPr>
        <p:txBody>
          <a:bodyPr wrap="square" lIns="0" tIns="0" rIns="0" bIns="0" anchor="t">
            <a:noAutofit/>
          </a:bodyPr>
          <a:lstStyle/>
          <a:p>
            <a:r>
              <a:rPr lang="en-US" sz="1000" dirty="0"/>
              <a:t>Note: Infrastructure includes compute, storage (IaaS/PaaS), and networking</a:t>
            </a:r>
          </a:p>
          <a:p>
            <a:r>
              <a:rPr lang="en-US" sz="1000" dirty="0"/>
              <a:t>*See </a:t>
            </a:r>
            <a:r>
              <a:rPr lang="en-US" sz="1000" dirty="0">
                <a:hlinkClick r:id="rId9" action="ppaction://hlinksldjump"/>
              </a:rPr>
              <a:t>Example Scenario: WVD Economic Benefits</a:t>
            </a:r>
            <a:endParaRPr lang="en-US" sz="1000" dirty="0"/>
          </a:p>
          <a:p>
            <a:r>
              <a:rPr lang="en-US" sz="1000" dirty="0"/>
              <a:t>** </a:t>
            </a:r>
            <a:r>
              <a:rPr lang="en-US" altLang="zh-CN" sz="1000" dirty="0"/>
              <a:t>industry analysis</a:t>
            </a:r>
            <a:endParaRPr lang="en-US" sz="1000" dirty="0"/>
          </a:p>
        </p:txBody>
      </p:sp>
      <p:sp>
        <p:nvSpPr>
          <p:cNvPr id="316" name="TextBox 315">
            <a:extLst>
              <a:ext uri="{FF2B5EF4-FFF2-40B4-BE49-F238E27FC236}">
                <a16:creationId xmlns:a16="http://schemas.microsoft.com/office/drawing/2014/main" id="{72A0A14A-31A9-42BB-A942-0C4CC5DA931D}"/>
              </a:ext>
            </a:extLst>
          </p:cNvPr>
          <p:cNvSpPr txBox="1"/>
          <p:nvPr/>
        </p:nvSpPr>
        <p:spPr>
          <a:xfrm>
            <a:off x="586501" y="4687166"/>
            <a:ext cx="3474720" cy="1330176"/>
          </a:xfrm>
          <a:prstGeom prst="rect">
            <a:avLst/>
          </a:prstGeom>
          <a:solidFill>
            <a:schemeClr val="bg1">
              <a:lumMod val="95000"/>
            </a:schemeClr>
          </a:solidFill>
          <a:ln w="6350">
            <a:solidFill>
              <a:schemeClr val="bg1">
                <a:lumMod val="95000"/>
              </a:schemeClr>
            </a:solidFill>
          </a:ln>
        </p:spPr>
        <p:txBody>
          <a:bodyPr wrap="square" lIns="91440" tIns="91440" rIns="91440" bIns="45720" rtlCol="0" anchor="t">
            <a:noAutofit/>
          </a:bodyPr>
          <a:lstStyle/>
          <a:p>
            <a:pPr marL="171450" indent="-171450">
              <a:spcBef>
                <a:spcPts val="500"/>
              </a:spcBef>
              <a:buFont typeface="Arial" panose="020B0604020202020204" pitchFamily="34" charset="0"/>
              <a:buChar char="•"/>
            </a:pPr>
            <a:r>
              <a:rPr lang="en-US" sz="1200" dirty="0"/>
              <a:t>Windows 10 experience at multi-session cost</a:t>
            </a:r>
          </a:p>
          <a:p>
            <a:pPr marL="171450" indent="-171450">
              <a:spcBef>
                <a:spcPts val="500"/>
              </a:spcBef>
              <a:buFont typeface="Arial" panose="020B0604020202020204" pitchFamily="34" charset="0"/>
              <a:buChar char="•"/>
            </a:pPr>
            <a:r>
              <a:rPr lang="en-US" sz="1200" dirty="0"/>
              <a:t>Cost effective compute and storage</a:t>
            </a:r>
          </a:p>
          <a:p>
            <a:pPr marL="171450" indent="-171450">
              <a:spcBef>
                <a:spcPts val="500"/>
              </a:spcBef>
              <a:buFont typeface="Arial" panose="020B0604020202020204" pitchFamily="34" charset="0"/>
              <a:buChar char="•"/>
            </a:pPr>
            <a:r>
              <a:rPr lang="en-US" sz="1200" dirty="0"/>
              <a:t>Flexible network provisioning</a:t>
            </a:r>
          </a:p>
          <a:p>
            <a:pPr marL="171450" indent="-171450">
              <a:spcBef>
                <a:spcPts val="500"/>
              </a:spcBef>
              <a:buFont typeface="Arial" panose="020B0604020202020204" pitchFamily="34" charset="0"/>
              <a:buChar char="•"/>
            </a:pPr>
            <a:r>
              <a:rPr lang="en-US" sz="1200" dirty="0"/>
              <a:t>Best value compute rate</a:t>
            </a:r>
          </a:p>
          <a:p>
            <a:pPr marL="171450" indent="-171450">
              <a:spcBef>
                <a:spcPts val="500"/>
              </a:spcBef>
              <a:buFont typeface="Arial" panose="020B0604020202020204" pitchFamily="34" charset="0"/>
              <a:buChar char="•"/>
            </a:pPr>
            <a:r>
              <a:rPr lang="en-US" sz="1200" dirty="0"/>
              <a:t>Opex spend aligned to business usage</a:t>
            </a:r>
          </a:p>
        </p:txBody>
      </p:sp>
      <p:sp>
        <p:nvSpPr>
          <p:cNvPr id="628" name="TextBox 627">
            <a:extLst>
              <a:ext uri="{FF2B5EF4-FFF2-40B4-BE49-F238E27FC236}">
                <a16:creationId xmlns:a16="http://schemas.microsoft.com/office/drawing/2014/main" id="{F47D09FE-DA34-4A52-B3DE-3E72AE25E49E}"/>
              </a:ext>
            </a:extLst>
          </p:cNvPr>
          <p:cNvSpPr txBox="1"/>
          <p:nvPr/>
        </p:nvSpPr>
        <p:spPr>
          <a:xfrm>
            <a:off x="4357763" y="4687166"/>
            <a:ext cx="3474720" cy="1330176"/>
          </a:xfrm>
          <a:prstGeom prst="rect">
            <a:avLst/>
          </a:prstGeom>
          <a:solidFill>
            <a:schemeClr val="bg1">
              <a:lumMod val="95000"/>
            </a:schemeClr>
          </a:solidFill>
          <a:ln w="6350">
            <a:solidFill>
              <a:schemeClr val="bg1">
                <a:lumMod val="95000"/>
              </a:schemeClr>
            </a:solidFill>
          </a:ln>
        </p:spPr>
        <p:txBody>
          <a:bodyPr wrap="square" lIns="91440" tIns="91440" rIns="91440" bIns="45720" rtlCol="0" anchor="t">
            <a:noAutofit/>
          </a:bodyPr>
          <a:lstStyle/>
          <a:p>
            <a:pPr marL="171450" indent="-171450">
              <a:spcBef>
                <a:spcPts val="500"/>
              </a:spcBef>
              <a:buFont typeface="Arial" panose="020B0604020202020204" pitchFamily="34" charset="0"/>
              <a:buChar char="•"/>
            </a:pPr>
            <a:r>
              <a:rPr lang="en-US" sz="1200" dirty="0"/>
              <a:t>WVD management service included with the licenses you already own</a:t>
            </a:r>
          </a:p>
          <a:p>
            <a:pPr marL="171450" indent="-171450">
              <a:spcBef>
                <a:spcPts val="500"/>
              </a:spcBef>
              <a:buFont typeface="Arial" panose="020B0604020202020204" pitchFamily="34" charset="0"/>
              <a:buChar char="•"/>
            </a:pPr>
            <a:r>
              <a:rPr lang="en-US" sz="1200" dirty="0"/>
              <a:t>Savings on RDS CAL with multi-session deployment</a:t>
            </a:r>
          </a:p>
          <a:p>
            <a:pPr marL="171450" indent="-171450">
              <a:spcBef>
                <a:spcPts val="500"/>
              </a:spcBef>
              <a:buFont typeface="Arial" panose="020B0604020202020204" pitchFamily="34" charset="0"/>
              <a:buChar char="•"/>
            </a:pPr>
            <a:r>
              <a:rPr lang="en-US" sz="1200" dirty="0"/>
              <a:t>3-year Windows 7 ESU included</a:t>
            </a:r>
          </a:p>
        </p:txBody>
      </p:sp>
      <p:sp>
        <p:nvSpPr>
          <p:cNvPr id="768" name="TextBox 767">
            <a:extLst>
              <a:ext uri="{FF2B5EF4-FFF2-40B4-BE49-F238E27FC236}">
                <a16:creationId xmlns:a16="http://schemas.microsoft.com/office/drawing/2014/main" id="{12E68555-92B5-492B-A572-19CA79AB4902}"/>
              </a:ext>
            </a:extLst>
          </p:cNvPr>
          <p:cNvSpPr txBox="1"/>
          <p:nvPr/>
        </p:nvSpPr>
        <p:spPr>
          <a:xfrm>
            <a:off x="8129024" y="4687166"/>
            <a:ext cx="3474720" cy="1330176"/>
          </a:xfrm>
          <a:prstGeom prst="rect">
            <a:avLst/>
          </a:prstGeom>
          <a:solidFill>
            <a:schemeClr val="bg1">
              <a:lumMod val="95000"/>
            </a:schemeClr>
          </a:solidFill>
          <a:ln w="6350">
            <a:solidFill>
              <a:schemeClr val="bg1">
                <a:lumMod val="95000"/>
              </a:schemeClr>
            </a:solidFill>
          </a:ln>
        </p:spPr>
        <p:txBody>
          <a:bodyPr wrap="square" lIns="91440" tIns="91440" rIns="91440" bIns="45720" rtlCol="0" anchor="t">
            <a:noAutofit/>
          </a:bodyPr>
          <a:lstStyle/>
          <a:p>
            <a:pPr marL="171450" indent="-171450">
              <a:spcBef>
                <a:spcPts val="500"/>
              </a:spcBef>
              <a:buFont typeface="Arial" panose="020B0604020202020204" pitchFamily="34" charset="0"/>
              <a:buChar char="•"/>
            </a:pPr>
            <a:r>
              <a:rPr lang="en-US" sz="1200" dirty="0"/>
              <a:t>Lower labor cost because compute and storage move to cloud</a:t>
            </a:r>
          </a:p>
          <a:p>
            <a:pPr marL="171450" indent="-171450">
              <a:spcBef>
                <a:spcPts val="500"/>
              </a:spcBef>
              <a:buFont typeface="Arial" panose="020B0604020202020204" pitchFamily="34" charset="0"/>
              <a:buChar char="•"/>
            </a:pPr>
            <a:r>
              <a:rPr lang="en-US" sz="1200" dirty="0"/>
              <a:t>Lower labor cost when you use PaaS services</a:t>
            </a:r>
          </a:p>
        </p:txBody>
      </p:sp>
      <p:grpSp>
        <p:nvGrpSpPr>
          <p:cNvPr id="488" name="Group 487">
            <a:extLst>
              <a:ext uri="{FF2B5EF4-FFF2-40B4-BE49-F238E27FC236}">
                <a16:creationId xmlns:a16="http://schemas.microsoft.com/office/drawing/2014/main" id="{9E5168B1-3C77-4431-A35B-FAE995A174A8}"/>
              </a:ext>
            </a:extLst>
          </p:cNvPr>
          <p:cNvGrpSpPr/>
          <p:nvPr/>
        </p:nvGrpSpPr>
        <p:grpSpPr>
          <a:xfrm>
            <a:off x="10052458" y="146014"/>
            <a:ext cx="2033626" cy="1015650"/>
            <a:chOff x="10052458" y="146014"/>
            <a:chExt cx="2033626" cy="1015650"/>
          </a:xfrm>
        </p:grpSpPr>
        <p:pic>
          <p:nvPicPr>
            <p:cNvPr id="489" name="Picture 488">
              <a:extLst>
                <a:ext uri="{FF2B5EF4-FFF2-40B4-BE49-F238E27FC236}">
                  <a16:creationId xmlns:a16="http://schemas.microsoft.com/office/drawing/2014/main" id="{173B9451-E9CA-4CD0-9912-BEFCE1B70900}"/>
                </a:ext>
              </a:extLst>
            </p:cNvPr>
            <p:cNvPicPr>
              <a:picLocks noChangeAspect="1"/>
            </p:cNvPicPr>
            <p:nvPr/>
          </p:nvPicPr>
          <p:blipFill>
            <a:blip r:embed="rId10"/>
            <a:stretch>
              <a:fillRect/>
            </a:stretch>
          </p:blipFill>
          <p:spPr>
            <a:xfrm>
              <a:off x="10052458" y="146014"/>
              <a:ext cx="2033626" cy="1015650"/>
            </a:xfrm>
            <a:prstGeom prst="rect">
              <a:avLst/>
            </a:prstGeom>
          </p:spPr>
        </p:pic>
        <p:sp>
          <p:nvSpPr>
            <p:cNvPr id="490" name="Rectangle 489">
              <a:extLst>
                <a:ext uri="{FF2B5EF4-FFF2-40B4-BE49-F238E27FC236}">
                  <a16:creationId xmlns:a16="http://schemas.microsoft.com/office/drawing/2014/main" id="{DEACB108-FE00-49F4-9E63-CFAB71F67A53}"/>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3737899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00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89999999999999991118E+00&quot;&gt;&lt;m_msothmcolidx val=&quot;0&quot;/&gt;&lt;m_rgb r=&quot;3A&quot; g=&quot;E6&quot; b=&quot;3A&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KzOQmcej0yfMKdvf2TzQ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PE0rcSO1sPQclrQPzvTVM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qMicItDLmYO8X4j0J6DP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9sBmkLjZG8aUvAALZvaFd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VfJNCggkf1Ydntf7dt5z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ZSNvie3_GaUTIc9i_9I9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1F8384Rgit2iFoU8gg_kC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oHYKVC2QeHNqUTPkb16G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c1F.6jxH9mczYMFIZzaw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1EAqwzwpuKBzEYKNGiw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NDnyGS81vwQyJblb_gbY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afRRpQYUxzv2Y.kUqTOV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hpLWTLCpaO1rdrj6HPAT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S7_H0t1jvtyu86dA_fooV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KzOQmcej0yfMKdvf2TzQ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61ihFJYYQntgPKdaaRcjE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uoHYKVC2QeHNqUTPkb16G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1F8384Rgit2iFoU8gg_kC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fJNCggkf1Ydntf7dt5z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ZSNvie3_GaUTIc9i_9I9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E0rcSO1sPQclrQPzvTVM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wiYf.qU1TagCjLilJ8oc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uqMicItDLmYO8X4j0J6DP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c1F.6jxH9mczYMFIZzaw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1EAqwzwpuKBzEYKNGiwh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MKLyEPNvuEPHtWRLY.xVL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wj5yVjU7uoF8_gfEe8dW9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HT00ds1uGQ0rphU4G7hc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2wQOVu94IQ1xJ7av4Ow.3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rSOnX5ADC96dVQ0h8YW0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VbOye0r.G8Lrk006MdO.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dOmPQhq87rOVA7RocD76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FpnuiP.s3eVhcgcSGWh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8rmesFoDZsYLtHGQStuGh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xrizet7nqAj1JVMEClgva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1u3W_eW7Qsl6hTXX_ty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2ApI36DQJx3sSNsjFz62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hqKltnFJfKBwethrQEk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73kxT4SjQP4O66zyHHCyC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59vPBi0bLyMvxVxpHS35Z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bvZqWIBBGKrrTiqeh.FqL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EVpnGuXLuSn8iUG2ZH4P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DgbRF9CK4It5DFkigDBR5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b3j1likS.WbyQg7wzEtfv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gLPdpIwTdzyZUBwtzXFmN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b4vfV5a4Cf8E.26GXy4w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umXaOTJS4T2dLTVpsP_L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LasJvucP1oNrwf5Hl6QoW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J1.DlclmBTT5hxR3oJ6Y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SJHsHWn34Llv5KiKN4Qz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oWOTij56Uxd_7IL01aL3z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BnTc2iyq9FCnGE4D0WcEF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TJTHSO2Y0WJNYiG0GFWM4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mAeAJnktoyFgi.NWfooyL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lDL9BprA_OC0yMgjDuUg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FXRWfHmHwPxhYUyWUlyh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FvIx5EhRsGMP4dKbmIim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eAxETcglYG7YW.jnxfXI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9N82E6AXK.jnp_2yYgU06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eRuXY933_OX.M1x58R6K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8ztUDNqP9Q7uHhXeHLi5J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NIQVCAzaf4EXHm0j51bql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0kFUrF.pmsS4nSynBrjRw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bH0MhawRYDYtcfe.TABG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M.mqOoqY2jfNkfI3cQz5C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tIaU34L3zDUMlyQK0HI8B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tCkVybQ85n5D.NQsNATwH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7PR6WFImchspBE9q2sZ9l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dUluWbPEtkX.GDueQ_jj2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UXm3ZQH6KrtNREvnvFqQ5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IVoSYLbesV4WqGltwQ86o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ecdzH2DdLIPGzKQHA9lSf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NKNhdPl53Vylk0wsFqiPI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GxcEZjCj9ofU6y3bVMQ0M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Gv_oqQCjQBCMbR87pb.h1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jc5qexEBR3Wa5HqRl7.Nx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jc5qexEBR3Wa5HqRl7.Nx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TLOzrQxHet7ubiWnfT3vy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WeCHPd8mKR41FCebI1YY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iIP_cmbhujlbnBkWBuHg1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L2Hu8mQHkx0r3DgWHXeY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UrDSokdoQFeP5Evoj0PyA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SGoBQy_2pgwo3c5jVC9xe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qNqw6B.zDe4zpn65t2jQq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v2huQCADd3Ko3sWHZNVQD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_qc0II5Q3z4.VRjuw4DVu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QYRvnpKomdes1YNumvQpg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gkxqOsXGB9UdAY38_5yV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8kL9OkRGNCHp8MzF2Fbz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WgNAKlIqA6QpYS_gPn3O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7TuD38eyXWc86W_kfvoFg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rDSokdoQFeP5Evoj0PyA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UrDSokdoQFeP5Evoj0PyA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UrDSokdoQFeP5Evoj0PyA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y27ATBOIAS_JD69slgAc7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0SfCQaAIs2JR.Hp04u2Q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0SfCQaAIs2JR.Hp04u2Q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yND_Cr3tbZ5YD9zqLq3m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AjCSG7fRQKoJ3Frya5.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Tun1r_DSFqcS_0ZNqF97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yND_Cr3tbZ5YD9zqLq3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AjCSG7fRQKoJ3Frya5.4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AjCSG7fRQKoJ3Frya5.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Hm0tj0mBIAnZOmFz4Pl9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9q2mYUyqIz_IqzrxaIhD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AA2UtkGfRl91nfPPTtA0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2OiV_Z1wposlvn4jvs8s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9TQnfSFOwXnoR52IVfT5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eta7z7DpsbKNkcZJt7y2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u.jgH5.fjaKbE1Zcnrfv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aGSiClrA8VKrxgI3xBl1E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q34JRWGeSphADiUeicS1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pXU0UoYmMFy6G82e6bG1w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hpLWTLCpaO1rdrj6HPAT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S7_H0t1jvtyu86dA_fooVg"/>
</p:tagLst>
</file>

<file path=ppt/theme/theme1.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24ce65f2-f4ee-4734-b023-07c740501d9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63FA498C683E94696A9F9E86390AA5F" ma:contentTypeVersion="5" ma:contentTypeDescription="Create a new document." ma:contentTypeScope="" ma:versionID="91abef37ac3c4a289a82c715eca548e5">
  <xsd:schema xmlns:xsd="http://www.w3.org/2001/XMLSchema" xmlns:xs="http://www.w3.org/2001/XMLSchema" xmlns:p="http://schemas.microsoft.com/office/2006/metadata/properties" xmlns:ns2="24ce65f2-f4ee-4734-b023-07c740501d91" targetNamespace="http://schemas.microsoft.com/office/2006/metadata/properties" ma:root="true" ma:fieldsID="93780468c6c271b3523095b5e6847ddd" ns2:_="">
    <xsd:import namespace="24ce65f2-f4ee-4734-b023-07c740501d9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ce65f2-f4ee-4734-b023-07c740501d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2933FBC5-5A72-4652-AE6E-0B3AA52A16AB}">
  <ds:schemaRefs>
    <ds:schemaRef ds:uri="http://www.w3.org/XML/1998/namespace"/>
    <ds:schemaRef ds:uri="http://purl.org/dc/elements/1.1/"/>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schemas.microsoft.com/office/infopath/2007/PartnerControls"/>
    <ds:schemaRef ds:uri="d9a72a3d-9991-47f3-bece-27d3c9d949a5"/>
    <ds:schemaRef ds:uri="http://purl.org/dc/dcmitype/"/>
  </ds:schemaRefs>
</ds:datastoreItem>
</file>

<file path=customXml/itemProps2.xml><?xml version="1.0" encoding="utf-8"?>
<ds:datastoreItem xmlns:ds="http://schemas.openxmlformats.org/officeDocument/2006/customXml" ds:itemID="{D86D19A7-0ADF-4A9A-934E-DCFEF4D50BA3}"/>
</file>

<file path=customXml/itemProps3.xml><?xml version="1.0" encoding="utf-8"?>
<ds:datastoreItem xmlns:ds="http://schemas.openxmlformats.org/officeDocument/2006/customXml" ds:itemID="{96ECF4C4-5382-4A06-8BD3-5201538C106E}">
  <ds:schemaRefs>
    <ds:schemaRef ds:uri="http://schemas.microsoft.com/sharepoint/v3/contenttype/forms"/>
  </ds:schemaRefs>
</ds:datastoreItem>
</file>

<file path=customXml/itemProps4.xml><?xml version="1.0" encoding="utf-8"?>
<ds:datastoreItem xmlns:ds="http://schemas.openxmlformats.org/officeDocument/2006/customXml" ds:itemID="{853DB283-8411-4701-8ECD-8DFAD5650E77}"/>
</file>

<file path=customXml/itemProps5.xml><?xml version="1.0" encoding="utf-8"?>
<ds:datastoreItem xmlns:ds="http://schemas.openxmlformats.org/officeDocument/2006/customXml" ds:itemID="{55AE7562-57E8-4E2B-AD9B-05FF2F6A5348}"/>
</file>

<file path=docProps/app.xml><?xml version="1.0" encoding="utf-8"?>
<Properties xmlns="http://schemas.openxmlformats.org/officeDocument/2006/extended-properties" xmlns:vt="http://schemas.openxmlformats.org/officeDocument/2006/docPropsVTypes">
  <TotalTime>16238</TotalTime>
  <Words>10208</Words>
  <Application>Microsoft Office PowerPoint</Application>
  <PresentationFormat>Widescreen</PresentationFormat>
  <Paragraphs>1538</Paragraphs>
  <Slides>60</Slides>
  <Notes>44</Notes>
  <HiddenSlides>1</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73" baseType="lpstr">
      <vt:lpstr>Arial</vt:lpstr>
      <vt:lpstr>Calibri</vt:lpstr>
      <vt:lpstr>Consolas</vt:lpstr>
      <vt:lpstr>Segoe Pro Semibold</vt:lpstr>
      <vt:lpstr>Segoe UI</vt:lpstr>
      <vt:lpstr>Segoe UI Light</vt:lpstr>
      <vt:lpstr>Segoe UI Semibold</vt:lpstr>
      <vt:lpstr>Segoe UI Semilight</vt:lpstr>
      <vt:lpstr>Symbol</vt:lpstr>
      <vt:lpstr>Times New Roman</vt:lpstr>
      <vt:lpstr>Wingdings</vt:lpstr>
      <vt:lpstr>White Template</vt:lpstr>
      <vt:lpstr>think-cell Slide</vt:lpstr>
      <vt:lpstr>Windows Virtual Desktop</vt:lpstr>
      <vt:lpstr>Virtualization can address a broad range of business needs</vt:lpstr>
      <vt:lpstr>WVD is Microsoft’s virtualization service and delivers compelling value</vt:lpstr>
      <vt:lpstr>Content Navigator</vt:lpstr>
      <vt:lpstr>Best Virtualized End-user Experience</vt:lpstr>
      <vt:lpstr>Enhanced Security with Simplified Configuration</vt:lpstr>
      <vt:lpstr>Efficient and Simplified Management</vt:lpstr>
      <vt:lpstr>Built on Azure: Standardized, Global, and Secure Cloud</vt:lpstr>
      <vt:lpstr>Superior Economics from Significant Cost Savings</vt:lpstr>
      <vt:lpstr>Extensive Partner Ecosystem with Strong Virtual Desktop Expertise</vt:lpstr>
      <vt:lpstr>PowerPoint Presentation</vt:lpstr>
      <vt:lpstr>Platform of choice</vt:lpstr>
      <vt:lpstr>Differentiated Windows Experience</vt:lpstr>
      <vt:lpstr>Enhanced WVD / remote desktop protocol</vt:lpstr>
      <vt:lpstr>Containerized user profiles enable fast VHD load times</vt:lpstr>
      <vt:lpstr>Outlook Enhancements, OneDrive &amp; Desktop Search Improvements</vt:lpstr>
      <vt:lpstr>Teams Enhancements (Coming soon)</vt:lpstr>
      <vt:lpstr>PowerPoint Presentation</vt:lpstr>
      <vt:lpstr>Azure AD security services are readily available</vt:lpstr>
      <vt:lpstr>The attack surface is reduced, compared to on-prem</vt:lpstr>
      <vt:lpstr>Granular access control enables role-based administration</vt:lpstr>
      <vt:lpstr>User sessions are isolated</vt:lpstr>
      <vt:lpstr>PowerPoint Presentation</vt:lpstr>
      <vt:lpstr>One service supports both desktop &amp; RemoteApp experience</vt:lpstr>
      <vt:lpstr>Readily-available VM management tools</vt:lpstr>
      <vt:lpstr>Simplified and Efficient Troubleshooting with Diagnostic Service</vt:lpstr>
      <vt:lpstr>Extensive 3rd Party Value-added Services Enabled by APIs </vt:lpstr>
      <vt:lpstr>PowerPoint Presentation</vt:lpstr>
      <vt:lpstr>Built on Azure: Standardized, Global, and Secure Cloud</vt:lpstr>
      <vt:lpstr>PowerPoint Presentation</vt:lpstr>
      <vt:lpstr>Windows 10 Experience at Multi-session Cost</vt:lpstr>
      <vt:lpstr>Cost Effective Compute and Storage*</vt:lpstr>
      <vt:lpstr>Flexible Network Provisioning</vt:lpstr>
      <vt:lpstr>Best Value Compute Rate</vt:lpstr>
      <vt:lpstr>Opex Spend Aligned to Business Usage</vt:lpstr>
      <vt:lpstr>Management Service Included With the Licenses you Already Own</vt:lpstr>
      <vt:lpstr>Savings on RDS CAL with Multi-session Deployment</vt:lpstr>
      <vt:lpstr>3-year Win7 ESU Included</vt:lpstr>
      <vt:lpstr>Reduced Labor Requirements</vt:lpstr>
      <vt:lpstr>Example Scenario: WVD Economic Benefits</vt:lpstr>
      <vt:lpstr>PowerPoint Presentation</vt:lpstr>
      <vt:lpstr>Extensive Partner Ecosystem</vt:lpstr>
      <vt:lpstr>Strong Expertise in Virtual Desktop Deployment and Management</vt:lpstr>
      <vt:lpstr>Thank You</vt:lpstr>
      <vt:lpstr>Appendix</vt:lpstr>
      <vt:lpstr>Windows Virtual Desktop  The best virtual desktop and app experience, delivered on Azure</vt:lpstr>
      <vt:lpstr>The ONLY multi-session Windows 10 experience</vt:lpstr>
      <vt:lpstr>WVD Architectural Overview</vt:lpstr>
      <vt:lpstr>Citrix &amp; VMware integration</vt:lpstr>
      <vt:lpstr>Many customers are already eligible for WVD</vt:lpstr>
      <vt:lpstr>All discounts and benefits of Azure apply to WVD</vt:lpstr>
      <vt:lpstr>Azure Enhances Productivity</vt:lpstr>
      <vt:lpstr>Microsoft is Your Trusted Technology Partner</vt:lpstr>
      <vt:lpstr>Microsoft is committed to WVD as the future of the Windows platform</vt:lpstr>
      <vt:lpstr>Calculation Backups</vt:lpstr>
      <vt:lpstr>WVD Infrastructure Cost* at a Glance</vt:lpstr>
      <vt:lpstr>WVD Cost Estimation for Win10 multi-session vs. Win10 single-session(1/3)</vt:lpstr>
      <vt:lpstr>WVD Cost Estimation for Win10 multi-session vs. Win10 single-session(2/3)</vt:lpstr>
      <vt:lpstr>WVD Cost Estimation for Win10 multi-session vs. Win10 single-session(3/3)</vt:lpstr>
      <vt:lpstr>Default Values (Microsoft Guidance) for WVD Cost Estim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Virtual Desktop Partner Pitch Deck</dc:title>
  <dc:creator>Mike Tomazic</dc:creator>
  <cp:keywords/>
  <cp:lastModifiedBy>Naren Narendra</cp:lastModifiedBy>
  <cp:revision>1454</cp:revision>
  <dcterms:created xsi:type="dcterms:W3CDTF">2019-06-20T15:36:14Z</dcterms:created>
  <dcterms:modified xsi:type="dcterms:W3CDTF">2019-09-23T22:1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3FA498C683E94696A9F9E86390AA5F</vt:lpwstr>
  </property>
  <property fmtid="{D5CDD505-2E9C-101B-9397-08002B2CF9AE}" pid="3" name="_CopySource">
    <vt:lpwstr>http://null</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narena@microsoft.com</vt:lpwstr>
  </property>
  <property fmtid="{D5CDD505-2E9C-101B-9397-08002B2CF9AE}" pid="7" name="MSIP_Label_f42aa342-8706-4288-bd11-ebb85995028c_SetDate">
    <vt:lpwstr>2019-09-23T22:13:30.0556910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ActionId">
    <vt:lpwstr>36662811-3b1f-4d1a-8a81-35a58dcf6453</vt:lpwstr>
  </property>
  <property fmtid="{D5CDD505-2E9C-101B-9397-08002B2CF9AE}" pid="11" name="MSIP_Label_f42aa342-8706-4288-bd11-ebb85995028c_Extended_MSFT_Method">
    <vt:lpwstr>Automatic</vt:lpwstr>
  </property>
  <property fmtid="{D5CDD505-2E9C-101B-9397-08002B2CF9AE}" pid="12" name="Sensitivity">
    <vt:lpwstr>General</vt:lpwstr>
  </property>
  <property fmtid="{D5CDD505-2E9C-101B-9397-08002B2CF9AE}" pid="13" name="Expire Review">
    <vt:lpwstr>2020-09-26T00:00:00Z</vt:lpwstr>
  </property>
  <property fmtid="{D5CDD505-2E9C-101B-9397-08002B2CF9AE}" pid="14" name="AutoApprove">
    <vt:bool>true</vt:bool>
  </property>
  <property fmtid="{D5CDD505-2E9C-101B-9397-08002B2CF9AE}" pid="15" name="_dlc_policyId">
    <vt:lpwstr/>
  </property>
  <property fmtid="{D5CDD505-2E9C-101B-9397-08002B2CF9AE}" pid="16" name="GenericBoolean1">
    <vt:bool>true</vt:bool>
  </property>
  <property fmtid="{D5CDD505-2E9C-101B-9397-08002B2CF9AE}" pid="17" name="Confidentiality">
    <vt:lpwstr>5;#internal users|461efa83-0283-486a-a8d5-943328f3693f</vt:lpwstr>
  </property>
  <property fmtid="{D5CDD505-2E9C-101B-9397-08002B2CF9AE}" pid="18" name="GenericBoolean2">
    <vt:bool>true</vt:bool>
  </property>
  <property fmtid="{D5CDD505-2E9C-101B-9397-08002B2CF9AE}" pid="19" name="Blogallday">
    <vt:bool>false</vt:bool>
  </property>
  <property fmtid="{D5CDD505-2E9C-101B-9397-08002B2CF9AE}" pid="20" name="FeaturedNews">
    <vt:bool>false</vt:bool>
  </property>
  <property fmtid="{D5CDD505-2E9C-101B-9397-08002B2CF9AE}" pid="21" name="Hide Page Title">
    <vt:bool>true</vt:bool>
  </property>
  <property fmtid="{D5CDD505-2E9C-101B-9397-08002B2CF9AE}" pid="22" name="GenericMultiChoice2">
    <vt:lpwstr>Default</vt:lpwstr>
  </property>
  <property fmtid="{D5CDD505-2E9C-101B-9397-08002B2CF9AE}" pid="23" name="IsPrivate">
    <vt:bool>false</vt:bool>
  </property>
  <property fmtid="{D5CDD505-2E9C-101B-9397-08002B2CF9AE}" pid="24" name="Private">
    <vt:bool>true</vt:bool>
  </property>
  <property fmtid="{D5CDD505-2E9C-101B-9397-08002B2CF9AE}" pid="25" name="Publish Date">
    <vt:lpwstr>2019-09-27T15:31:34Z</vt:lpwstr>
  </property>
  <property fmtid="{D5CDD505-2E9C-101B-9397-08002B2CF9AE}" pid="26" name="BatchUpdate">
    <vt:bool>true</vt:bool>
  </property>
  <property fmtid="{D5CDD505-2E9C-101B-9397-08002B2CF9AE}" pid="27" name="GenericMultiChoice1">
    <vt:lpwstr>Default</vt:lpwstr>
  </property>
  <property fmtid="{D5CDD505-2E9C-101B-9397-08002B2CF9AE}" pid="28" name="ItemRetentionFormula">
    <vt:lpwstr/>
  </property>
  <property fmtid="{D5CDD505-2E9C-101B-9397-08002B2CF9AE}" pid="29" name="_dlc_DocIdItemGuid">
    <vt:lpwstr>f832d3ae-5be6-4147-a53d-96814496867c</vt:lpwstr>
  </property>
  <property fmtid="{D5CDD505-2E9C-101B-9397-08002B2CF9AE}" pid="30" name="TaxKeyword">
    <vt:lpwstr/>
  </property>
  <property fmtid="{D5CDD505-2E9C-101B-9397-08002B2CF9AE}" pid="31" name="NewsType">
    <vt:lpwstr/>
  </property>
  <property fmtid="{D5CDD505-2E9C-101B-9397-08002B2CF9AE}" pid="32" name="Region">
    <vt:lpwstr/>
  </property>
  <property fmtid="{D5CDD505-2E9C-101B-9397-08002B2CF9AE}" pid="33" name="ItemType">
    <vt:lpwstr>1167;#Exclude from Learning Search Center|69c92ece-05b4-474f-a692-5ac4c9f64a8c</vt:lpwstr>
  </property>
  <property fmtid="{D5CDD505-2E9C-101B-9397-08002B2CF9AE}" pid="34" name="Industries">
    <vt:lpwstr/>
  </property>
  <property fmtid="{D5CDD505-2E9C-101B-9397-08002B2CF9AE}" pid="35" name="MSProducts">
    <vt:lpwstr/>
  </property>
  <property fmtid="{D5CDD505-2E9C-101B-9397-08002B2CF9AE}" pid="36" name="Competitors">
    <vt:lpwstr/>
  </property>
  <property fmtid="{D5CDD505-2E9C-101B-9397-08002B2CF9AE}" pid="37" name="SMSGDomain">
    <vt:lpwstr>1063;#Gear Up|5bd03d8b-c198-4367-bd72-be9dad12d703;#814;#Windows Server Domain|f7029b15-78c2-45c1-a268-42c7aadf8b14</vt:lpwstr>
  </property>
  <property fmtid="{D5CDD505-2E9C-101B-9397-08002B2CF9AE}" pid="38" name="ExperienceContentType">
    <vt:lpwstr/>
  </property>
  <property fmtid="{D5CDD505-2E9C-101B-9397-08002B2CF9AE}" pid="39" name="BusinessArchitecture">
    <vt:lpwstr/>
  </property>
  <property fmtid="{D5CDD505-2E9C-101B-9397-08002B2CF9AE}" pid="40" name="Products">
    <vt:lpwstr>1270;#Windows Virtual PC|82b14654-ef9b-4403-8d0e-46cf4d29d255</vt:lpwstr>
  </property>
  <property fmtid="{D5CDD505-2E9C-101B-9397-08002B2CF9AE}" pid="41" name="l6f004f21209409da86a713c0f24627d">
    <vt:lpwstr/>
  </property>
  <property fmtid="{D5CDD505-2E9C-101B-9397-08002B2CF9AE}" pid="42" name="MSProductsTaxHTField0">
    <vt:lpwstr/>
  </property>
  <property fmtid="{D5CDD505-2E9C-101B-9397-08002B2CF9AE}" pid="43" name="e8080b0481964c759b2c36ae49591b31">
    <vt:lpwstr/>
  </property>
  <property fmtid="{D5CDD505-2E9C-101B-9397-08002B2CF9AE}" pid="44" name="TechnicalLevel">
    <vt:lpwstr/>
  </property>
  <property fmtid="{D5CDD505-2E9C-101B-9397-08002B2CF9AE}" pid="45" name="Audiences">
    <vt:lpwstr/>
  </property>
  <property fmtid="{D5CDD505-2E9C-101B-9397-08002B2CF9AE}" pid="46" name="SMSG Items">
    <vt:lpwstr/>
  </property>
  <property fmtid="{D5CDD505-2E9C-101B-9397-08002B2CF9AE}" pid="47" name="ldac8aee9d1f469e8cd8c3f8d6a615f2">
    <vt:lpwstr/>
  </property>
  <property fmtid="{D5CDD505-2E9C-101B-9397-08002B2CF9AE}" pid="48" name="Solution Areas">
    <vt:lpwstr/>
  </property>
  <property fmtid="{D5CDD505-2E9C-101B-9397-08002B2CF9AE}" pid="49" name="EmployeeRole">
    <vt:lpwstr/>
  </property>
  <property fmtid="{D5CDD505-2E9C-101B-9397-08002B2CF9AE}" pid="50" name="NewsTopic">
    <vt:lpwstr/>
  </property>
  <property fmtid="{D5CDD505-2E9C-101B-9397-08002B2CF9AE}" pid="51" name="Roles">
    <vt:lpwstr/>
  </property>
  <property fmtid="{D5CDD505-2E9C-101B-9397-08002B2CF9AE}" pid="52" name="NewsSource">
    <vt:lpwstr/>
  </property>
  <property fmtid="{D5CDD505-2E9C-101B-9397-08002B2CF9AE}" pid="53" name="MSProfessions">
    <vt:lpwstr/>
  </property>
  <property fmtid="{D5CDD505-2E9C-101B-9397-08002B2CF9AE}" pid="54" name="SMSGTags">
    <vt:lpwstr/>
  </property>
  <property fmtid="{D5CDD505-2E9C-101B-9397-08002B2CF9AE}" pid="55" name="MSPhysicalGeography">
    <vt:lpwstr/>
  </property>
  <property fmtid="{D5CDD505-2E9C-101B-9397-08002B2CF9AE}" pid="56" name="EnterpriseDomainTags">
    <vt:lpwstr/>
  </property>
  <property fmtid="{D5CDD505-2E9C-101B-9397-08002B2CF9AE}" pid="57" name="j3562c58ee414e028925bc902cfc01a1">
    <vt:lpwstr/>
  </property>
  <property fmtid="{D5CDD505-2E9C-101B-9397-08002B2CF9AE}" pid="58" name="Segments">
    <vt:lpwstr/>
  </property>
  <property fmtid="{D5CDD505-2E9C-101B-9397-08002B2CF9AE}" pid="59" name="Partners">
    <vt:lpwstr/>
  </property>
  <property fmtid="{D5CDD505-2E9C-101B-9397-08002B2CF9AE}" pid="60" name="ActivitiesAndPrograms">
    <vt:lpwstr/>
  </property>
  <property fmtid="{D5CDD505-2E9C-101B-9397-08002B2CF9AE}" pid="61" name="la4444b61d19467597d63190b69ac227">
    <vt:lpwstr/>
  </property>
  <property fmtid="{D5CDD505-2E9C-101B-9397-08002B2CF9AE}" pid="62" name="Topics">
    <vt:lpwstr>26;#hub subset|c6bfd112-b986-4a0a-aa8d-90e767bfdfa6</vt:lpwstr>
  </property>
  <property fmtid="{D5CDD505-2E9C-101B-9397-08002B2CF9AE}" pid="63" name="Groups">
    <vt:lpwstr/>
  </property>
  <property fmtid="{D5CDD505-2E9C-101B-9397-08002B2CF9AE}" pid="64" name="Languages">
    <vt:lpwstr/>
  </property>
  <property fmtid="{D5CDD505-2E9C-101B-9397-08002B2CF9AE}" pid="65" name="of67e5d4b76f4a9db8769983fda9cec0">
    <vt:lpwstr/>
  </property>
  <property fmtid="{D5CDD505-2E9C-101B-9397-08002B2CF9AE}" pid="66" name="_docset_NoMedatataSyncRequired">
    <vt:lpwstr>False</vt:lpwstr>
  </property>
</Properties>
</file>